
<file path=[Content_Types].xml><?xml version="1.0" encoding="utf-8"?>
<Types xmlns="http://schemas.openxmlformats.org/package/2006/content-types"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theme/theme2.xml" ContentType="application/vnd.openxmlformats-officedocument.theme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5182" r:id="rId1"/>
    <p:sldMasterId id="2147485195" r:id="rId2"/>
    <p:sldMasterId id="2147485199" r:id="rId3"/>
  </p:sldMasterIdLst>
  <p:notesMasterIdLst>
    <p:notesMasterId r:id="rId44"/>
  </p:notesMasterIdLst>
  <p:handoutMasterIdLst>
    <p:handoutMasterId r:id="rId45"/>
  </p:handoutMasterIdLst>
  <p:sldIdLst>
    <p:sldId id="1000" r:id="rId4"/>
    <p:sldId id="1001" r:id="rId5"/>
    <p:sldId id="258" r:id="rId6"/>
    <p:sldId id="1002" r:id="rId7"/>
    <p:sldId id="1003" r:id="rId8"/>
    <p:sldId id="1004" r:id="rId9"/>
    <p:sldId id="1005" r:id="rId10"/>
    <p:sldId id="263" r:id="rId11"/>
    <p:sldId id="264" r:id="rId12"/>
    <p:sldId id="265" r:id="rId13"/>
    <p:sldId id="1006" r:id="rId14"/>
    <p:sldId id="1007" r:id="rId15"/>
    <p:sldId id="268" r:id="rId16"/>
    <p:sldId id="1008" r:id="rId17"/>
    <p:sldId id="270" r:id="rId18"/>
    <p:sldId id="271" r:id="rId19"/>
    <p:sldId id="275" r:id="rId20"/>
    <p:sldId id="272" r:id="rId21"/>
    <p:sldId id="273" r:id="rId22"/>
    <p:sldId id="274" r:id="rId23"/>
    <p:sldId id="1009" r:id="rId24"/>
    <p:sldId id="276" r:id="rId25"/>
    <p:sldId id="283" r:id="rId26"/>
    <p:sldId id="262" r:id="rId27"/>
    <p:sldId id="261" r:id="rId28"/>
    <p:sldId id="279" r:id="rId29"/>
    <p:sldId id="282" r:id="rId30"/>
    <p:sldId id="289" r:id="rId31"/>
    <p:sldId id="285" r:id="rId32"/>
    <p:sldId id="266" r:id="rId33"/>
    <p:sldId id="281" r:id="rId34"/>
    <p:sldId id="284" r:id="rId35"/>
    <p:sldId id="257" r:id="rId36"/>
    <p:sldId id="277" r:id="rId37"/>
    <p:sldId id="269" r:id="rId38"/>
    <p:sldId id="259" r:id="rId39"/>
    <p:sldId id="267" r:id="rId40"/>
    <p:sldId id="278" r:id="rId41"/>
    <p:sldId id="288" r:id="rId42"/>
    <p:sldId id="260" r:id="rId43"/>
  </p:sldIdLst>
  <p:sldSz cx="24384000" cy="13716000"/>
  <p:notesSz cx="6858000" cy="9144000"/>
  <p:custDataLst>
    <p:tags r:id="rId46"/>
  </p:custDataLst>
  <p:defaultTextStyle>
    <a:lvl1pPr algn="ctr" defTabSz="825500">
      <a:defRPr sz="5000">
        <a:latin typeface="+mn-lt"/>
        <a:ea typeface="+mn-ea"/>
        <a:cs typeface="+mn-cs"/>
        <a:sym typeface="Helvetica Light"/>
      </a:defRPr>
    </a:lvl1pPr>
    <a:lvl2pPr indent="228600" algn="ctr" defTabSz="825500">
      <a:defRPr sz="5000">
        <a:latin typeface="+mn-lt"/>
        <a:ea typeface="+mn-ea"/>
        <a:cs typeface="+mn-cs"/>
        <a:sym typeface="Helvetica Light"/>
      </a:defRPr>
    </a:lvl2pPr>
    <a:lvl3pPr indent="457200" algn="ctr" defTabSz="825500">
      <a:defRPr sz="5000">
        <a:latin typeface="+mn-lt"/>
        <a:ea typeface="+mn-ea"/>
        <a:cs typeface="+mn-cs"/>
        <a:sym typeface="Helvetica Light"/>
      </a:defRPr>
    </a:lvl3pPr>
    <a:lvl4pPr indent="685800" algn="ctr" defTabSz="825500">
      <a:defRPr sz="5000">
        <a:latin typeface="+mn-lt"/>
        <a:ea typeface="+mn-ea"/>
        <a:cs typeface="+mn-cs"/>
        <a:sym typeface="Helvetica Light"/>
      </a:defRPr>
    </a:lvl4pPr>
    <a:lvl5pPr indent="914400" algn="ctr" defTabSz="825500">
      <a:defRPr sz="5000">
        <a:latin typeface="+mn-lt"/>
        <a:ea typeface="+mn-ea"/>
        <a:cs typeface="+mn-cs"/>
        <a:sym typeface="Helvetica Light"/>
      </a:defRPr>
    </a:lvl5pPr>
    <a:lvl6pPr indent="1143000" algn="ctr" defTabSz="825500">
      <a:defRPr sz="5000">
        <a:latin typeface="+mn-lt"/>
        <a:ea typeface="+mn-ea"/>
        <a:cs typeface="+mn-cs"/>
        <a:sym typeface="Helvetica Light"/>
      </a:defRPr>
    </a:lvl6pPr>
    <a:lvl7pPr indent="1371600" algn="ctr" defTabSz="825500">
      <a:defRPr sz="5000">
        <a:latin typeface="+mn-lt"/>
        <a:ea typeface="+mn-ea"/>
        <a:cs typeface="+mn-cs"/>
        <a:sym typeface="Helvetica Light"/>
      </a:defRPr>
    </a:lvl7pPr>
    <a:lvl8pPr indent="1600200" algn="ctr" defTabSz="825500">
      <a:defRPr sz="5000">
        <a:latin typeface="+mn-lt"/>
        <a:ea typeface="+mn-ea"/>
        <a:cs typeface="+mn-cs"/>
        <a:sym typeface="Helvetica Light"/>
      </a:defRPr>
    </a:lvl8pPr>
    <a:lvl9pPr indent="1828800" algn="ctr" defTabSz="825500">
      <a:defRPr sz="5000"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4343" userDrawn="1">
          <p15:clr>
            <a:srgbClr val="A4A3A4"/>
          </p15:clr>
        </p15:guide>
        <p15:guide id="2" pos="76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BAB1"/>
    <a:srgbClr val="00B0F0"/>
    <a:srgbClr val="73D3F7"/>
    <a:srgbClr val="FFB631"/>
    <a:srgbClr val="CF6200"/>
    <a:srgbClr val="FF87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00882B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15" autoAdjust="0"/>
    <p:restoredTop sz="98605" autoAdjust="0"/>
  </p:normalViewPr>
  <p:slideViewPr>
    <p:cSldViewPr snapToGrid="0" snapToObjects="1">
      <p:cViewPr varScale="1">
        <p:scale>
          <a:sx n="39" d="100"/>
          <a:sy n="39" d="100"/>
        </p:scale>
        <p:origin x="720" y="72"/>
      </p:cViewPr>
      <p:guideLst>
        <p:guide orient="horz" pos="4343"/>
        <p:guide pos="76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viewProps" Target="viewProps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86C-434F-A48B-C0271028C56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86C-434F-A48B-C0271028C56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86C-434F-A48B-C0271028C56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86C-434F-A48B-C0271028C560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86C-434F-A48B-C0271028C5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E4D-4D97-B0BF-6946E4E6563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E4D-4D97-B0BF-6946E4E6563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E4D-4D97-B0BF-6946E4E6563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E4D-4D97-B0BF-6946E4E65638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E4D-4D97-B0BF-6946E4E656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F35-4C35-A90A-6A8FF599F5B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F35-4C35-A90A-6A8FF599F5B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F35-4C35-A90A-6A8FF599F5B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F35-4C35-A90A-6A8FF599F5B6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35-4C35-A90A-6A8FF599F5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C10C1F-6246-5D40-94EF-E27E2A9DB8A0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89C3EB-6031-7B49-8DFF-764CD887F4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6191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2903695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4D6F74-634D-4233-BDBC-8BE3983B5CC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7700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 </a:t>
            </a:r>
            <a:r>
              <a:rPr lang="en-US" dirty="0" err="1"/>
              <a:t>gnti</a:t>
            </a:r>
            <a:r>
              <a:rPr lang="en-US" dirty="0"/>
              <a:t> pie cha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2B6E6E-F651-494A-985D-68FB1486C3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9672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34513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1650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6846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7562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43661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07184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72877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47908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2830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5487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36813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76458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2575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32039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19353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71241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36575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68884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787199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7083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473618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044016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328945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598216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63788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27710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45771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741551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414965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499888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8711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866779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0867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47394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97131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91960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9286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8708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5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9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9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6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60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1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1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4022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8982076"/>
            <a:ext cx="18288000" cy="3311524"/>
          </a:xfrm>
        </p:spPr>
        <p:txBody>
          <a:bodyPr>
            <a:normAutofit/>
          </a:bodyPr>
          <a:lstStyle>
            <a:lvl1pPr marL="0" indent="0" algn="ctr">
              <a:buNone/>
              <a:defRPr sz="4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3486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24383998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2380344" y="3802740"/>
            <a:ext cx="9376228" cy="5050972"/>
          </a:xfrm>
          <a:custGeom>
            <a:avLst/>
            <a:gdLst>
              <a:gd name="connsiteX0" fmla="*/ 2714172 w 4688114"/>
              <a:gd name="connsiteY0" fmla="*/ 0 h 2525486"/>
              <a:gd name="connsiteX1" fmla="*/ 4688114 w 4688114"/>
              <a:gd name="connsiteY1" fmla="*/ 972457 h 2525486"/>
              <a:gd name="connsiteX2" fmla="*/ 2002971 w 4688114"/>
              <a:gd name="connsiteY2" fmla="*/ 2525486 h 2525486"/>
              <a:gd name="connsiteX3" fmla="*/ 0 w 4688114"/>
              <a:gd name="connsiteY3" fmla="*/ 1349829 h 2525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88114" h="2525486">
                <a:moveTo>
                  <a:pt x="2714172" y="0"/>
                </a:moveTo>
                <a:lnTo>
                  <a:pt x="4688114" y="972457"/>
                </a:lnTo>
                <a:lnTo>
                  <a:pt x="2002971" y="2525486"/>
                </a:lnTo>
                <a:lnTo>
                  <a:pt x="0" y="134982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7414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7315198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160252" y="3396585"/>
            <a:ext cx="8526556" cy="479359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97086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7892704" cy="129540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2496800" y="515016"/>
            <a:ext cx="102108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96800" y="1175416"/>
            <a:ext cx="10210800" cy="272916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29983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417720" y="3"/>
            <a:ext cx="8427520" cy="8314578"/>
          </a:xfrm>
          <a:custGeom>
            <a:avLst/>
            <a:gdLst>
              <a:gd name="connsiteX0" fmla="*/ 0 w 4213760"/>
              <a:gd name="connsiteY0" fmla="*/ 0 h 4157289"/>
              <a:gd name="connsiteX1" fmla="*/ 4213760 w 4213760"/>
              <a:gd name="connsiteY1" fmla="*/ 0 h 4157289"/>
              <a:gd name="connsiteX2" fmla="*/ 4213760 w 4213760"/>
              <a:gd name="connsiteY2" fmla="*/ 2050414 h 4157289"/>
              <a:gd name="connsiteX3" fmla="*/ 2106880 w 4213760"/>
              <a:gd name="connsiteY3" fmla="*/ 4157289 h 4157289"/>
              <a:gd name="connsiteX4" fmla="*/ 0 w 4213760"/>
              <a:gd name="connsiteY4" fmla="*/ 2050414 h 415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3760" h="4157289">
                <a:moveTo>
                  <a:pt x="0" y="0"/>
                </a:moveTo>
                <a:lnTo>
                  <a:pt x="4213760" y="0"/>
                </a:lnTo>
                <a:lnTo>
                  <a:pt x="4213760" y="2050414"/>
                </a:lnTo>
                <a:cubicBezTo>
                  <a:pt x="4213760" y="3214012"/>
                  <a:pt x="3270480" y="4157289"/>
                  <a:pt x="2106880" y="4157289"/>
                </a:cubicBezTo>
                <a:cubicBezTo>
                  <a:pt x="943279" y="4157289"/>
                  <a:pt x="0" y="3214012"/>
                  <a:pt x="0" y="2050414"/>
                </a:cubicBez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070908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24384000" cy="583311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94697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3462000" cy="129540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96656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-1"/>
            <a:ext cx="24384000" cy="12954002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8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39119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24384000" cy="12954002"/>
          </a:xfrm>
          <a:prstGeom prst="rect">
            <a:avLst/>
          </a:prstGeom>
          <a:gradFill>
            <a:gsLst>
              <a:gs pos="100000">
                <a:srgbClr val="59D8D5"/>
              </a:gs>
              <a:gs pos="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65748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 flipV="1">
            <a:off x="0" y="1"/>
            <a:ext cx="24384000" cy="12954002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43199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 flipV="1">
            <a:off x="0" y="1"/>
            <a:ext cx="24384000" cy="12954002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15440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1658605" y="3"/>
            <a:ext cx="12725398" cy="12954002"/>
          </a:xfrm>
          <a:custGeom>
            <a:avLst/>
            <a:gdLst>
              <a:gd name="connsiteX0" fmla="*/ 6348531 w 6362699"/>
              <a:gd name="connsiteY0" fmla="*/ 0 h 6477001"/>
              <a:gd name="connsiteX1" fmla="*/ 6362699 w 6362699"/>
              <a:gd name="connsiteY1" fmla="*/ 0 h 6477001"/>
              <a:gd name="connsiteX2" fmla="*/ 6362699 w 6362699"/>
              <a:gd name="connsiteY2" fmla="*/ 6477001 h 6477001"/>
              <a:gd name="connsiteX3" fmla="*/ 0 w 6362699"/>
              <a:gd name="connsiteY3" fmla="*/ 6477001 h 6477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62699" h="6477001">
                <a:moveTo>
                  <a:pt x="6348531" y="0"/>
                </a:moveTo>
                <a:lnTo>
                  <a:pt x="6362699" y="0"/>
                </a:lnTo>
                <a:lnTo>
                  <a:pt x="6362699" y="6477001"/>
                </a:lnTo>
                <a:lnTo>
                  <a:pt x="0" y="6477001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8512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24383998" cy="821254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0882030" y="3915253"/>
            <a:ext cx="4035572" cy="707911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94104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12230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586155" y="2319124"/>
            <a:ext cx="3540370" cy="251973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23645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471386" y="2368798"/>
            <a:ext cx="6366328" cy="9589280"/>
          </a:xfrm>
          <a:custGeom>
            <a:avLst/>
            <a:gdLst>
              <a:gd name="connsiteX0" fmla="*/ 1420487 w 3183164"/>
              <a:gd name="connsiteY0" fmla="*/ 0 h 4794640"/>
              <a:gd name="connsiteX1" fmla="*/ 1494098 w 3183164"/>
              <a:gd name="connsiteY1" fmla="*/ 0 h 4794640"/>
              <a:gd name="connsiteX2" fmla="*/ 1585614 w 3183164"/>
              <a:gd name="connsiteY2" fmla="*/ 3979 h 4794640"/>
              <a:gd name="connsiteX3" fmla="*/ 1673151 w 3183164"/>
              <a:gd name="connsiteY3" fmla="*/ 5969 h 4794640"/>
              <a:gd name="connsiteX4" fmla="*/ 1752730 w 3183164"/>
              <a:gd name="connsiteY4" fmla="*/ 11937 h 4794640"/>
              <a:gd name="connsiteX5" fmla="*/ 1828330 w 3183164"/>
              <a:gd name="connsiteY5" fmla="*/ 21884 h 4794640"/>
              <a:gd name="connsiteX6" fmla="*/ 1897962 w 3183164"/>
              <a:gd name="connsiteY6" fmla="*/ 33821 h 4794640"/>
              <a:gd name="connsiteX7" fmla="*/ 1965604 w 3183164"/>
              <a:gd name="connsiteY7" fmla="*/ 47748 h 4794640"/>
              <a:gd name="connsiteX8" fmla="*/ 2027278 w 3183164"/>
              <a:gd name="connsiteY8" fmla="*/ 63663 h 4794640"/>
              <a:gd name="connsiteX9" fmla="*/ 2084973 w 3183164"/>
              <a:gd name="connsiteY9" fmla="*/ 81569 h 4794640"/>
              <a:gd name="connsiteX10" fmla="*/ 2138688 w 3183164"/>
              <a:gd name="connsiteY10" fmla="*/ 99474 h 4794640"/>
              <a:gd name="connsiteX11" fmla="*/ 2190415 w 3183164"/>
              <a:gd name="connsiteY11" fmla="*/ 119369 h 4794640"/>
              <a:gd name="connsiteX12" fmla="*/ 2236173 w 3183164"/>
              <a:gd name="connsiteY12" fmla="*/ 139264 h 4794640"/>
              <a:gd name="connsiteX13" fmla="*/ 2281931 w 3183164"/>
              <a:gd name="connsiteY13" fmla="*/ 161148 h 4794640"/>
              <a:gd name="connsiteX14" fmla="*/ 2367478 w 3183164"/>
              <a:gd name="connsiteY14" fmla="*/ 206906 h 4794640"/>
              <a:gd name="connsiteX15" fmla="*/ 2447057 w 3183164"/>
              <a:gd name="connsiteY15" fmla="*/ 252664 h 4794640"/>
              <a:gd name="connsiteX16" fmla="*/ 2516689 w 3183164"/>
              <a:gd name="connsiteY16" fmla="*/ 292453 h 4794640"/>
              <a:gd name="connsiteX17" fmla="*/ 2574384 w 3183164"/>
              <a:gd name="connsiteY17" fmla="*/ 322295 h 4794640"/>
              <a:gd name="connsiteX18" fmla="*/ 2598258 w 3183164"/>
              <a:gd name="connsiteY18" fmla="*/ 332243 h 4794640"/>
              <a:gd name="connsiteX19" fmla="*/ 2624121 w 3183164"/>
              <a:gd name="connsiteY19" fmla="*/ 338211 h 4794640"/>
              <a:gd name="connsiteX20" fmla="*/ 2644016 w 3183164"/>
              <a:gd name="connsiteY20" fmla="*/ 344180 h 4794640"/>
              <a:gd name="connsiteX21" fmla="*/ 2665900 w 3183164"/>
              <a:gd name="connsiteY21" fmla="*/ 344180 h 4794640"/>
              <a:gd name="connsiteX22" fmla="*/ 2681816 w 3183164"/>
              <a:gd name="connsiteY22" fmla="*/ 344180 h 4794640"/>
              <a:gd name="connsiteX23" fmla="*/ 2695742 w 3183164"/>
              <a:gd name="connsiteY23" fmla="*/ 340201 h 4794640"/>
              <a:gd name="connsiteX24" fmla="*/ 2707679 w 3183164"/>
              <a:gd name="connsiteY24" fmla="*/ 334232 h 4794640"/>
              <a:gd name="connsiteX25" fmla="*/ 2719616 w 3183164"/>
              <a:gd name="connsiteY25" fmla="*/ 326274 h 4794640"/>
              <a:gd name="connsiteX26" fmla="*/ 2733542 w 3183164"/>
              <a:gd name="connsiteY26" fmla="*/ 316327 h 4794640"/>
              <a:gd name="connsiteX27" fmla="*/ 2741500 w 3183164"/>
              <a:gd name="connsiteY27" fmla="*/ 304390 h 4794640"/>
              <a:gd name="connsiteX28" fmla="*/ 2759405 w 3183164"/>
              <a:gd name="connsiteY28" fmla="*/ 270569 h 4794640"/>
              <a:gd name="connsiteX29" fmla="*/ 2779300 w 3183164"/>
              <a:gd name="connsiteY29" fmla="*/ 230780 h 4794640"/>
              <a:gd name="connsiteX30" fmla="*/ 2791237 w 3183164"/>
              <a:gd name="connsiteY30" fmla="*/ 183032 h 4794640"/>
              <a:gd name="connsiteX31" fmla="*/ 2803174 w 3183164"/>
              <a:gd name="connsiteY31" fmla="*/ 125337 h 4794640"/>
              <a:gd name="connsiteX32" fmla="*/ 2811132 w 3183164"/>
              <a:gd name="connsiteY32" fmla="*/ 57695 h 4794640"/>
              <a:gd name="connsiteX33" fmla="*/ 2964322 w 3183164"/>
              <a:gd name="connsiteY33" fmla="*/ 57695 h 4794640"/>
              <a:gd name="connsiteX34" fmla="*/ 2954374 w 3183164"/>
              <a:gd name="connsiteY34" fmla="*/ 159158 h 4794640"/>
              <a:gd name="connsiteX35" fmla="*/ 2948406 w 3183164"/>
              <a:gd name="connsiteY35" fmla="*/ 270569 h 4794640"/>
              <a:gd name="connsiteX36" fmla="*/ 2942437 w 3183164"/>
              <a:gd name="connsiteY36" fmla="*/ 397896 h 4794640"/>
              <a:gd name="connsiteX37" fmla="*/ 2936469 w 3183164"/>
              <a:gd name="connsiteY37" fmla="*/ 553075 h 4794640"/>
              <a:gd name="connsiteX38" fmla="*/ 2930500 w 3183164"/>
              <a:gd name="connsiteY38" fmla="*/ 960918 h 4794640"/>
              <a:gd name="connsiteX39" fmla="*/ 2928511 w 3183164"/>
              <a:gd name="connsiteY39" fmla="*/ 1545824 h 4794640"/>
              <a:gd name="connsiteX40" fmla="*/ 2779300 w 3183164"/>
              <a:gd name="connsiteY40" fmla="*/ 1545824 h 4794640"/>
              <a:gd name="connsiteX41" fmla="*/ 2771342 w 3183164"/>
              <a:gd name="connsiteY41" fmla="*/ 1482161 h 4794640"/>
              <a:gd name="connsiteX42" fmla="*/ 2765374 w 3183164"/>
              <a:gd name="connsiteY42" fmla="*/ 1418497 h 4794640"/>
              <a:gd name="connsiteX43" fmla="*/ 2757416 w 3183164"/>
              <a:gd name="connsiteY43" fmla="*/ 1352845 h 4794640"/>
              <a:gd name="connsiteX44" fmla="*/ 2745479 w 3183164"/>
              <a:gd name="connsiteY44" fmla="*/ 1289181 h 4794640"/>
              <a:gd name="connsiteX45" fmla="*/ 2733542 w 3183164"/>
              <a:gd name="connsiteY45" fmla="*/ 1229497 h 4794640"/>
              <a:gd name="connsiteX46" fmla="*/ 2719616 w 3183164"/>
              <a:gd name="connsiteY46" fmla="*/ 1165834 h 4794640"/>
              <a:gd name="connsiteX47" fmla="*/ 2701711 w 3183164"/>
              <a:gd name="connsiteY47" fmla="*/ 1104160 h 4794640"/>
              <a:gd name="connsiteX48" fmla="*/ 2683805 w 3183164"/>
              <a:gd name="connsiteY48" fmla="*/ 1044476 h 4794640"/>
              <a:gd name="connsiteX49" fmla="*/ 2661921 w 3183164"/>
              <a:gd name="connsiteY49" fmla="*/ 982802 h 4794640"/>
              <a:gd name="connsiteX50" fmla="*/ 2642026 w 3183164"/>
              <a:gd name="connsiteY50" fmla="*/ 921128 h 4794640"/>
              <a:gd name="connsiteX51" fmla="*/ 2616163 w 3183164"/>
              <a:gd name="connsiteY51" fmla="*/ 863433 h 4794640"/>
              <a:gd name="connsiteX52" fmla="*/ 2592289 w 3183164"/>
              <a:gd name="connsiteY52" fmla="*/ 805738 h 4794640"/>
              <a:gd name="connsiteX53" fmla="*/ 2564437 w 3183164"/>
              <a:gd name="connsiteY53" fmla="*/ 752022 h 4794640"/>
              <a:gd name="connsiteX54" fmla="*/ 2534594 w 3183164"/>
              <a:gd name="connsiteY54" fmla="*/ 700296 h 4794640"/>
              <a:gd name="connsiteX55" fmla="*/ 2500773 w 3183164"/>
              <a:gd name="connsiteY55" fmla="*/ 648570 h 4794640"/>
              <a:gd name="connsiteX56" fmla="*/ 2468942 w 3183164"/>
              <a:gd name="connsiteY56" fmla="*/ 596843 h 4794640"/>
              <a:gd name="connsiteX57" fmla="*/ 2435121 w 3183164"/>
              <a:gd name="connsiteY57" fmla="*/ 547106 h 4794640"/>
              <a:gd name="connsiteX58" fmla="*/ 2395331 w 3183164"/>
              <a:gd name="connsiteY58" fmla="*/ 501348 h 4794640"/>
              <a:gd name="connsiteX59" fmla="*/ 2355541 w 3183164"/>
              <a:gd name="connsiteY59" fmla="*/ 459569 h 4794640"/>
              <a:gd name="connsiteX60" fmla="*/ 2315752 w 3183164"/>
              <a:gd name="connsiteY60" fmla="*/ 415801 h 4794640"/>
              <a:gd name="connsiteX61" fmla="*/ 2273973 w 3183164"/>
              <a:gd name="connsiteY61" fmla="*/ 378001 h 4794640"/>
              <a:gd name="connsiteX62" fmla="*/ 2228215 w 3183164"/>
              <a:gd name="connsiteY62" fmla="*/ 340201 h 4794640"/>
              <a:gd name="connsiteX63" fmla="*/ 2178478 w 3183164"/>
              <a:gd name="connsiteY63" fmla="*/ 306380 h 4794640"/>
              <a:gd name="connsiteX64" fmla="*/ 2130731 w 3183164"/>
              <a:gd name="connsiteY64" fmla="*/ 276537 h 4794640"/>
              <a:gd name="connsiteX65" fmla="*/ 2079004 w 3183164"/>
              <a:gd name="connsiteY65" fmla="*/ 248685 h 4794640"/>
              <a:gd name="connsiteX66" fmla="*/ 2027278 w 3183164"/>
              <a:gd name="connsiteY66" fmla="*/ 224811 h 4794640"/>
              <a:gd name="connsiteX67" fmla="*/ 1971572 w 3183164"/>
              <a:gd name="connsiteY67" fmla="*/ 206906 h 4794640"/>
              <a:gd name="connsiteX68" fmla="*/ 1913878 w 3183164"/>
              <a:gd name="connsiteY68" fmla="*/ 189001 h 4794640"/>
              <a:gd name="connsiteX69" fmla="*/ 1856183 w 3183164"/>
              <a:gd name="connsiteY69" fmla="*/ 173085 h 4794640"/>
              <a:gd name="connsiteX70" fmla="*/ 1794509 w 3183164"/>
              <a:gd name="connsiteY70" fmla="*/ 165127 h 4794640"/>
              <a:gd name="connsiteX71" fmla="*/ 1734825 w 3183164"/>
              <a:gd name="connsiteY71" fmla="*/ 159158 h 4794640"/>
              <a:gd name="connsiteX72" fmla="*/ 1671161 w 3183164"/>
              <a:gd name="connsiteY72" fmla="*/ 155179 h 4794640"/>
              <a:gd name="connsiteX73" fmla="*/ 1591582 w 3183164"/>
              <a:gd name="connsiteY73" fmla="*/ 159158 h 4794640"/>
              <a:gd name="connsiteX74" fmla="*/ 1517972 w 3183164"/>
              <a:gd name="connsiteY74" fmla="*/ 167116 h 4794640"/>
              <a:gd name="connsiteX75" fmla="*/ 1448340 w 3183164"/>
              <a:gd name="connsiteY75" fmla="*/ 183032 h 4794640"/>
              <a:gd name="connsiteX76" fmla="*/ 1380698 w 3183164"/>
              <a:gd name="connsiteY76" fmla="*/ 200937 h 4794640"/>
              <a:gd name="connsiteX77" fmla="*/ 1317034 w 3183164"/>
              <a:gd name="connsiteY77" fmla="*/ 228790 h 4794640"/>
              <a:gd name="connsiteX78" fmla="*/ 1259339 w 3183164"/>
              <a:gd name="connsiteY78" fmla="*/ 258632 h 4794640"/>
              <a:gd name="connsiteX79" fmla="*/ 1205624 w 3183164"/>
              <a:gd name="connsiteY79" fmla="*/ 292453 h 4794640"/>
              <a:gd name="connsiteX80" fmla="*/ 1153897 w 3183164"/>
              <a:gd name="connsiteY80" fmla="*/ 334232 h 4794640"/>
              <a:gd name="connsiteX81" fmla="*/ 1108139 w 3183164"/>
              <a:gd name="connsiteY81" fmla="*/ 379990 h 4794640"/>
              <a:gd name="connsiteX82" fmla="*/ 1068350 w 3183164"/>
              <a:gd name="connsiteY82" fmla="*/ 429727 h 4794640"/>
              <a:gd name="connsiteX83" fmla="*/ 1034528 w 3183164"/>
              <a:gd name="connsiteY83" fmla="*/ 483443 h 4794640"/>
              <a:gd name="connsiteX84" fmla="*/ 1004686 w 3183164"/>
              <a:gd name="connsiteY84" fmla="*/ 545117 h 4794640"/>
              <a:gd name="connsiteX85" fmla="*/ 982802 w 3183164"/>
              <a:gd name="connsiteY85" fmla="*/ 608780 h 4794640"/>
              <a:gd name="connsiteX86" fmla="*/ 964897 w 3183164"/>
              <a:gd name="connsiteY86" fmla="*/ 674433 h 4794640"/>
              <a:gd name="connsiteX87" fmla="*/ 954949 w 3183164"/>
              <a:gd name="connsiteY87" fmla="*/ 746054 h 4794640"/>
              <a:gd name="connsiteX88" fmla="*/ 952960 w 3183164"/>
              <a:gd name="connsiteY88" fmla="*/ 821654 h 4794640"/>
              <a:gd name="connsiteX89" fmla="*/ 952960 w 3183164"/>
              <a:gd name="connsiteY89" fmla="*/ 869402 h 4794640"/>
              <a:gd name="connsiteX90" fmla="*/ 954949 w 3183164"/>
              <a:gd name="connsiteY90" fmla="*/ 919139 h 4794640"/>
              <a:gd name="connsiteX91" fmla="*/ 960918 w 3183164"/>
              <a:gd name="connsiteY91" fmla="*/ 960918 h 4794640"/>
              <a:gd name="connsiteX92" fmla="*/ 970865 w 3183164"/>
              <a:gd name="connsiteY92" fmla="*/ 1006676 h 4794640"/>
              <a:gd name="connsiteX93" fmla="*/ 980813 w 3183164"/>
              <a:gd name="connsiteY93" fmla="*/ 1046465 h 4794640"/>
              <a:gd name="connsiteX94" fmla="*/ 994739 w 3183164"/>
              <a:gd name="connsiteY94" fmla="*/ 1088244 h 4794640"/>
              <a:gd name="connsiteX95" fmla="*/ 1010655 w 3183164"/>
              <a:gd name="connsiteY95" fmla="*/ 1128034 h 4794640"/>
              <a:gd name="connsiteX96" fmla="*/ 1024581 w 3183164"/>
              <a:gd name="connsiteY96" fmla="*/ 1167823 h 4794640"/>
              <a:gd name="connsiteX97" fmla="*/ 1046465 w 3183164"/>
              <a:gd name="connsiteY97" fmla="*/ 1205623 h 4794640"/>
              <a:gd name="connsiteX98" fmla="*/ 1068350 w 3183164"/>
              <a:gd name="connsiteY98" fmla="*/ 1241434 h 4794640"/>
              <a:gd name="connsiteX99" fmla="*/ 1090234 w 3183164"/>
              <a:gd name="connsiteY99" fmla="*/ 1277245 h 4794640"/>
              <a:gd name="connsiteX100" fmla="*/ 1116097 w 3183164"/>
              <a:gd name="connsiteY100" fmla="*/ 1315045 h 4794640"/>
              <a:gd name="connsiteX101" fmla="*/ 1143950 w 3183164"/>
              <a:gd name="connsiteY101" fmla="*/ 1346876 h 4794640"/>
              <a:gd name="connsiteX102" fmla="*/ 1173792 w 3183164"/>
              <a:gd name="connsiteY102" fmla="*/ 1380697 h 4794640"/>
              <a:gd name="connsiteX103" fmla="*/ 1241434 w 3183164"/>
              <a:gd name="connsiteY103" fmla="*/ 1450329 h 4794640"/>
              <a:gd name="connsiteX104" fmla="*/ 1317034 w 3183164"/>
              <a:gd name="connsiteY104" fmla="*/ 1517971 h 4794640"/>
              <a:gd name="connsiteX105" fmla="*/ 1402582 w 3183164"/>
              <a:gd name="connsiteY105" fmla="*/ 1585613 h 4794640"/>
              <a:gd name="connsiteX106" fmla="*/ 1494098 w 3183164"/>
              <a:gd name="connsiteY106" fmla="*/ 1655245 h 4794640"/>
              <a:gd name="connsiteX107" fmla="*/ 1597551 w 3183164"/>
              <a:gd name="connsiteY107" fmla="*/ 1728856 h 4794640"/>
              <a:gd name="connsiteX108" fmla="*/ 1822362 w 3183164"/>
              <a:gd name="connsiteY108" fmla="*/ 1880056 h 4794640"/>
              <a:gd name="connsiteX109" fmla="*/ 2080994 w 3183164"/>
              <a:gd name="connsiteY109" fmla="*/ 2051151 h 4794640"/>
              <a:gd name="connsiteX110" fmla="*/ 2305805 w 3183164"/>
              <a:gd name="connsiteY110" fmla="*/ 2202351 h 4794640"/>
              <a:gd name="connsiteX111" fmla="*/ 2413236 w 3183164"/>
              <a:gd name="connsiteY111" fmla="*/ 2277951 h 4794640"/>
              <a:gd name="connsiteX112" fmla="*/ 2512710 w 3183164"/>
              <a:gd name="connsiteY112" fmla="*/ 2355541 h 4794640"/>
              <a:gd name="connsiteX113" fmla="*/ 2610195 w 3183164"/>
              <a:gd name="connsiteY113" fmla="*/ 2433131 h 4794640"/>
              <a:gd name="connsiteX114" fmla="*/ 2701711 w 3183164"/>
              <a:gd name="connsiteY114" fmla="*/ 2512710 h 4794640"/>
              <a:gd name="connsiteX115" fmla="*/ 2785269 w 3183164"/>
              <a:gd name="connsiteY115" fmla="*/ 2592289 h 4794640"/>
              <a:gd name="connsiteX116" fmla="*/ 2825058 w 3183164"/>
              <a:gd name="connsiteY116" fmla="*/ 2634068 h 4794640"/>
              <a:gd name="connsiteX117" fmla="*/ 2862858 w 3183164"/>
              <a:gd name="connsiteY117" fmla="*/ 2677836 h 4794640"/>
              <a:gd name="connsiteX118" fmla="*/ 2900658 w 3183164"/>
              <a:gd name="connsiteY118" fmla="*/ 2719615 h 4794640"/>
              <a:gd name="connsiteX119" fmla="*/ 2934479 w 3183164"/>
              <a:gd name="connsiteY119" fmla="*/ 2765373 h 4794640"/>
              <a:gd name="connsiteX120" fmla="*/ 2966311 w 3183164"/>
              <a:gd name="connsiteY120" fmla="*/ 2807152 h 4794640"/>
              <a:gd name="connsiteX121" fmla="*/ 2998143 w 3183164"/>
              <a:gd name="connsiteY121" fmla="*/ 2856889 h 4794640"/>
              <a:gd name="connsiteX122" fmla="*/ 3024006 w 3183164"/>
              <a:gd name="connsiteY122" fmla="*/ 2902647 h 4794640"/>
              <a:gd name="connsiteX123" fmla="*/ 3051859 w 3183164"/>
              <a:gd name="connsiteY123" fmla="*/ 2950395 h 4794640"/>
              <a:gd name="connsiteX124" fmla="*/ 3075732 w 3183164"/>
              <a:gd name="connsiteY124" fmla="*/ 3002121 h 4794640"/>
              <a:gd name="connsiteX125" fmla="*/ 3097617 w 3183164"/>
              <a:gd name="connsiteY125" fmla="*/ 3053848 h 4794640"/>
              <a:gd name="connsiteX126" fmla="*/ 3115522 w 3183164"/>
              <a:gd name="connsiteY126" fmla="*/ 3105574 h 4794640"/>
              <a:gd name="connsiteX127" fmla="*/ 3135417 w 3183164"/>
              <a:gd name="connsiteY127" fmla="*/ 3161279 h 4794640"/>
              <a:gd name="connsiteX128" fmla="*/ 3149343 w 3183164"/>
              <a:gd name="connsiteY128" fmla="*/ 3214995 h 4794640"/>
              <a:gd name="connsiteX129" fmla="*/ 3161280 w 3183164"/>
              <a:gd name="connsiteY129" fmla="*/ 3272690 h 4794640"/>
              <a:gd name="connsiteX130" fmla="*/ 3171227 w 3183164"/>
              <a:gd name="connsiteY130" fmla="*/ 3334364 h 4794640"/>
              <a:gd name="connsiteX131" fmla="*/ 3177196 w 3183164"/>
              <a:gd name="connsiteY131" fmla="*/ 3396038 h 4794640"/>
              <a:gd name="connsiteX132" fmla="*/ 3179185 w 3183164"/>
              <a:gd name="connsiteY132" fmla="*/ 3459701 h 4794640"/>
              <a:gd name="connsiteX133" fmla="*/ 3183164 w 3183164"/>
              <a:gd name="connsiteY133" fmla="*/ 3523364 h 4794640"/>
              <a:gd name="connsiteX134" fmla="*/ 3179185 w 3183164"/>
              <a:gd name="connsiteY134" fmla="*/ 3602943 h 4794640"/>
              <a:gd name="connsiteX135" fmla="*/ 3173217 w 3183164"/>
              <a:gd name="connsiteY135" fmla="*/ 3680533 h 4794640"/>
              <a:gd name="connsiteX136" fmla="*/ 3165259 w 3183164"/>
              <a:gd name="connsiteY136" fmla="*/ 3754144 h 4794640"/>
              <a:gd name="connsiteX137" fmla="*/ 3149343 w 3183164"/>
              <a:gd name="connsiteY137" fmla="*/ 3823775 h 4794640"/>
              <a:gd name="connsiteX138" fmla="*/ 3131438 w 3183164"/>
              <a:gd name="connsiteY138" fmla="*/ 3893407 h 4794640"/>
              <a:gd name="connsiteX139" fmla="*/ 3109553 w 3183164"/>
              <a:gd name="connsiteY139" fmla="*/ 3961049 h 4794640"/>
              <a:gd name="connsiteX140" fmla="*/ 3083690 w 3183164"/>
              <a:gd name="connsiteY140" fmla="*/ 4024712 h 4794640"/>
              <a:gd name="connsiteX141" fmla="*/ 3051859 w 3183164"/>
              <a:gd name="connsiteY141" fmla="*/ 4086386 h 4794640"/>
              <a:gd name="connsiteX142" fmla="*/ 3018037 w 3183164"/>
              <a:gd name="connsiteY142" fmla="*/ 4144081 h 4794640"/>
              <a:gd name="connsiteX143" fmla="*/ 2986206 w 3183164"/>
              <a:gd name="connsiteY143" fmla="*/ 4197797 h 4794640"/>
              <a:gd name="connsiteX144" fmla="*/ 2946416 w 3183164"/>
              <a:gd name="connsiteY144" fmla="*/ 4253502 h 4794640"/>
              <a:gd name="connsiteX145" fmla="*/ 2902648 w 3183164"/>
              <a:gd name="connsiteY145" fmla="*/ 4305229 h 4794640"/>
              <a:gd name="connsiteX146" fmla="*/ 2856890 w 3183164"/>
              <a:gd name="connsiteY146" fmla="*/ 4352976 h 4794640"/>
              <a:gd name="connsiteX147" fmla="*/ 2809142 w 3183164"/>
              <a:gd name="connsiteY147" fmla="*/ 4398734 h 4794640"/>
              <a:gd name="connsiteX148" fmla="*/ 2757416 w 3183164"/>
              <a:gd name="connsiteY148" fmla="*/ 4442503 h 4794640"/>
              <a:gd name="connsiteX149" fmla="*/ 2701711 w 3183164"/>
              <a:gd name="connsiteY149" fmla="*/ 4480303 h 4794640"/>
              <a:gd name="connsiteX150" fmla="*/ 2644016 w 3183164"/>
              <a:gd name="connsiteY150" fmla="*/ 4520092 h 4794640"/>
              <a:gd name="connsiteX151" fmla="*/ 2586321 w 3183164"/>
              <a:gd name="connsiteY151" fmla="*/ 4553914 h 4794640"/>
              <a:gd name="connsiteX152" fmla="*/ 2526637 w 3183164"/>
              <a:gd name="connsiteY152" fmla="*/ 4587735 h 4794640"/>
              <a:gd name="connsiteX153" fmla="*/ 2460984 w 3183164"/>
              <a:gd name="connsiteY153" fmla="*/ 4617577 h 4794640"/>
              <a:gd name="connsiteX154" fmla="*/ 2395331 w 3183164"/>
              <a:gd name="connsiteY154" fmla="*/ 4649408 h 4794640"/>
              <a:gd name="connsiteX155" fmla="*/ 2327689 w 3183164"/>
              <a:gd name="connsiteY155" fmla="*/ 4673282 h 4794640"/>
              <a:gd name="connsiteX156" fmla="*/ 2258057 w 3183164"/>
              <a:gd name="connsiteY156" fmla="*/ 4697156 h 4794640"/>
              <a:gd name="connsiteX157" fmla="*/ 2188425 w 3183164"/>
              <a:gd name="connsiteY157" fmla="*/ 4715061 h 4794640"/>
              <a:gd name="connsiteX158" fmla="*/ 2114815 w 3183164"/>
              <a:gd name="connsiteY158" fmla="*/ 4732966 h 4794640"/>
              <a:gd name="connsiteX159" fmla="*/ 2039215 w 3183164"/>
              <a:gd name="connsiteY159" fmla="*/ 4752861 h 4794640"/>
              <a:gd name="connsiteX160" fmla="*/ 1963614 w 3183164"/>
              <a:gd name="connsiteY160" fmla="*/ 4764798 h 4794640"/>
              <a:gd name="connsiteX161" fmla="*/ 1886025 w 3183164"/>
              <a:gd name="connsiteY161" fmla="*/ 4776735 h 4794640"/>
              <a:gd name="connsiteX162" fmla="*/ 1808435 w 3183164"/>
              <a:gd name="connsiteY162" fmla="*/ 4782703 h 4794640"/>
              <a:gd name="connsiteX163" fmla="*/ 1724877 w 3183164"/>
              <a:gd name="connsiteY163" fmla="*/ 4788672 h 4794640"/>
              <a:gd name="connsiteX164" fmla="*/ 1647288 w 3183164"/>
              <a:gd name="connsiteY164" fmla="*/ 4794640 h 4794640"/>
              <a:gd name="connsiteX165" fmla="*/ 1563730 w 3183164"/>
              <a:gd name="connsiteY165" fmla="*/ 4794640 h 4794640"/>
              <a:gd name="connsiteX166" fmla="*/ 1466245 w 3183164"/>
              <a:gd name="connsiteY166" fmla="*/ 4794640 h 4794640"/>
              <a:gd name="connsiteX167" fmla="*/ 1372740 w 3183164"/>
              <a:gd name="connsiteY167" fmla="*/ 4788672 h 4794640"/>
              <a:gd name="connsiteX168" fmla="*/ 1285203 w 3183164"/>
              <a:gd name="connsiteY168" fmla="*/ 4782703 h 4794640"/>
              <a:gd name="connsiteX169" fmla="*/ 1201645 w 3183164"/>
              <a:gd name="connsiteY169" fmla="*/ 4772756 h 4794640"/>
              <a:gd name="connsiteX170" fmla="*/ 1126044 w 3183164"/>
              <a:gd name="connsiteY170" fmla="*/ 4760819 h 4794640"/>
              <a:gd name="connsiteX171" fmla="*/ 1052434 w 3183164"/>
              <a:gd name="connsiteY171" fmla="*/ 4748882 h 4794640"/>
              <a:gd name="connsiteX172" fmla="*/ 982802 w 3183164"/>
              <a:gd name="connsiteY172" fmla="*/ 4732966 h 4794640"/>
              <a:gd name="connsiteX173" fmla="*/ 919139 w 3183164"/>
              <a:gd name="connsiteY173" fmla="*/ 4719040 h 4794640"/>
              <a:gd name="connsiteX174" fmla="*/ 857465 w 3183164"/>
              <a:gd name="connsiteY174" fmla="*/ 4701135 h 4794640"/>
              <a:gd name="connsiteX175" fmla="*/ 799770 w 3183164"/>
              <a:gd name="connsiteY175" fmla="*/ 4681240 h 4794640"/>
              <a:gd name="connsiteX176" fmla="*/ 748044 w 3183164"/>
              <a:gd name="connsiteY176" fmla="*/ 4661345 h 4794640"/>
              <a:gd name="connsiteX177" fmla="*/ 696317 w 3183164"/>
              <a:gd name="connsiteY177" fmla="*/ 4639461 h 4794640"/>
              <a:gd name="connsiteX178" fmla="*/ 602812 w 3183164"/>
              <a:gd name="connsiteY178" fmla="*/ 4597682 h 4794640"/>
              <a:gd name="connsiteX179" fmla="*/ 515275 w 3183164"/>
              <a:gd name="connsiteY179" fmla="*/ 4551924 h 4794640"/>
              <a:gd name="connsiteX180" fmla="*/ 443654 w 3183164"/>
              <a:gd name="connsiteY180" fmla="*/ 4508156 h 4794640"/>
              <a:gd name="connsiteX181" fmla="*/ 383969 w 3183164"/>
              <a:gd name="connsiteY181" fmla="*/ 4480303 h 4794640"/>
              <a:gd name="connsiteX182" fmla="*/ 358106 w 3183164"/>
              <a:gd name="connsiteY182" fmla="*/ 4472345 h 4794640"/>
              <a:gd name="connsiteX183" fmla="*/ 334232 w 3183164"/>
              <a:gd name="connsiteY183" fmla="*/ 4466377 h 4794640"/>
              <a:gd name="connsiteX184" fmla="*/ 314338 w 3183164"/>
              <a:gd name="connsiteY184" fmla="*/ 4460408 h 4794640"/>
              <a:gd name="connsiteX185" fmla="*/ 292453 w 3183164"/>
              <a:gd name="connsiteY185" fmla="*/ 4460408 h 4794640"/>
              <a:gd name="connsiteX186" fmla="*/ 276537 w 3183164"/>
              <a:gd name="connsiteY186" fmla="*/ 4460408 h 4794640"/>
              <a:gd name="connsiteX187" fmla="*/ 262611 w 3183164"/>
              <a:gd name="connsiteY187" fmla="*/ 4466377 h 4794640"/>
              <a:gd name="connsiteX188" fmla="*/ 248685 w 3183164"/>
              <a:gd name="connsiteY188" fmla="*/ 4468366 h 4794640"/>
              <a:gd name="connsiteX189" fmla="*/ 236748 w 3183164"/>
              <a:gd name="connsiteY189" fmla="*/ 4478313 h 4794640"/>
              <a:gd name="connsiteX190" fmla="*/ 224811 w 3183164"/>
              <a:gd name="connsiteY190" fmla="*/ 4488261 h 4794640"/>
              <a:gd name="connsiteX191" fmla="*/ 216853 w 3183164"/>
              <a:gd name="connsiteY191" fmla="*/ 4502187 h 4794640"/>
              <a:gd name="connsiteX192" fmla="*/ 196958 w 3183164"/>
              <a:gd name="connsiteY192" fmla="*/ 4532029 h 4794640"/>
              <a:gd name="connsiteX193" fmla="*/ 183032 w 3183164"/>
              <a:gd name="connsiteY193" fmla="*/ 4571819 h 4794640"/>
              <a:gd name="connsiteX194" fmla="*/ 171095 w 3183164"/>
              <a:gd name="connsiteY194" fmla="*/ 4623545 h 4794640"/>
              <a:gd name="connsiteX195" fmla="*/ 159158 w 3183164"/>
              <a:gd name="connsiteY195" fmla="*/ 4681240 h 4794640"/>
              <a:gd name="connsiteX196" fmla="*/ 149211 w 3183164"/>
              <a:gd name="connsiteY196" fmla="*/ 4746893 h 4794640"/>
              <a:gd name="connsiteX197" fmla="*/ 0 w 3183164"/>
              <a:gd name="connsiteY197" fmla="*/ 4746893 h 4794640"/>
              <a:gd name="connsiteX198" fmla="*/ 5969 w 3183164"/>
              <a:gd name="connsiteY198" fmla="*/ 4627524 h 4794640"/>
              <a:gd name="connsiteX199" fmla="*/ 11937 w 3183164"/>
              <a:gd name="connsiteY199" fmla="*/ 4488261 h 4794640"/>
              <a:gd name="connsiteX200" fmla="*/ 17905 w 3183164"/>
              <a:gd name="connsiteY200" fmla="*/ 4140102 h 4794640"/>
              <a:gd name="connsiteX201" fmla="*/ 23874 w 3183164"/>
              <a:gd name="connsiteY201" fmla="*/ 3656659 h 4794640"/>
              <a:gd name="connsiteX202" fmla="*/ 23874 w 3183164"/>
              <a:gd name="connsiteY202" fmla="*/ 2984216 h 4794640"/>
              <a:gd name="connsiteX203" fmla="*/ 173085 w 3183164"/>
              <a:gd name="connsiteY203" fmla="*/ 2984216 h 4794640"/>
              <a:gd name="connsiteX204" fmla="*/ 189000 w 3183164"/>
              <a:gd name="connsiteY204" fmla="*/ 3145364 h 4794640"/>
              <a:gd name="connsiteX205" fmla="*/ 206906 w 3183164"/>
              <a:gd name="connsiteY205" fmla="*/ 3304522 h 4794640"/>
              <a:gd name="connsiteX206" fmla="*/ 218843 w 3183164"/>
              <a:gd name="connsiteY206" fmla="*/ 3382111 h 4794640"/>
              <a:gd name="connsiteX207" fmla="*/ 234758 w 3183164"/>
              <a:gd name="connsiteY207" fmla="*/ 3459701 h 4794640"/>
              <a:gd name="connsiteX208" fmla="*/ 248685 w 3183164"/>
              <a:gd name="connsiteY208" fmla="*/ 3535301 h 4794640"/>
              <a:gd name="connsiteX209" fmla="*/ 264601 w 3183164"/>
              <a:gd name="connsiteY209" fmla="*/ 3608912 h 4794640"/>
              <a:gd name="connsiteX210" fmla="*/ 286485 w 3183164"/>
              <a:gd name="connsiteY210" fmla="*/ 3680533 h 4794640"/>
              <a:gd name="connsiteX211" fmla="*/ 306380 w 3183164"/>
              <a:gd name="connsiteY211" fmla="*/ 3750165 h 4794640"/>
              <a:gd name="connsiteX212" fmla="*/ 328264 w 3183164"/>
              <a:gd name="connsiteY212" fmla="*/ 3817807 h 4794640"/>
              <a:gd name="connsiteX213" fmla="*/ 356117 w 3183164"/>
              <a:gd name="connsiteY213" fmla="*/ 3885449 h 4794640"/>
              <a:gd name="connsiteX214" fmla="*/ 379990 w 3183164"/>
              <a:gd name="connsiteY214" fmla="*/ 3949112 h 4794640"/>
              <a:gd name="connsiteX215" fmla="*/ 411822 w 3183164"/>
              <a:gd name="connsiteY215" fmla="*/ 4012776 h 4794640"/>
              <a:gd name="connsiteX216" fmla="*/ 441664 w 3183164"/>
              <a:gd name="connsiteY216" fmla="*/ 4074449 h 4794640"/>
              <a:gd name="connsiteX217" fmla="*/ 477475 w 3183164"/>
              <a:gd name="connsiteY217" fmla="*/ 4132144 h 4794640"/>
              <a:gd name="connsiteX218" fmla="*/ 511296 w 3183164"/>
              <a:gd name="connsiteY218" fmla="*/ 4185860 h 4794640"/>
              <a:gd name="connsiteX219" fmla="*/ 551085 w 3183164"/>
              <a:gd name="connsiteY219" fmla="*/ 4237587 h 4794640"/>
              <a:gd name="connsiteX220" fmla="*/ 590875 w 3183164"/>
              <a:gd name="connsiteY220" fmla="*/ 4287324 h 4794640"/>
              <a:gd name="connsiteX221" fmla="*/ 636633 w 3183164"/>
              <a:gd name="connsiteY221" fmla="*/ 4335071 h 4794640"/>
              <a:gd name="connsiteX222" fmla="*/ 682391 w 3183164"/>
              <a:gd name="connsiteY222" fmla="*/ 4378840 h 4794640"/>
              <a:gd name="connsiteX223" fmla="*/ 728149 w 3183164"/>
              <a:gd name="connsiteY223" fmla="*/ 4416640 h 4794640"/>
              <a:gd name="connsiteX224" fmla="*/ 779875 w 3183164"/>
              <a:gd name="connsiteY224" fmla="*/ 4454440 h 4794640"/>
              <a:gd name="connsiteX225" fmla="*/ 833591 w 3183164"/>
              <a:gd name="connsiteY225" fmla="*/ 4490250 h 4794640"/>
              <a:gd name="connsiteX226" fmla="*/ 889297 w 3183164"/>
              <a:gd name="connsiteY226" fmla="*/ 4520092 h 4794640"/>
              <a:gd name="connsiteX227" fmla="*/ 948981 w 3183164"/>
              <a:gd name="connsiteY227" fmla="*/ 4545956 h 4794640"/>
              <a:gd name="connsiteX228" fmla="*/ 1010655 w 3183164"/>
              <a:gd name="connsiteY228" fmla="*/ 4569829 h 4794640"/>
              <a:gd name="connsiteX229" fmla="*/ 1074318 w 3183164"/>
              <a:gd name="connsiteY229" fmla="*/ 4587735 h 4794640"/>
              <a:gd name="connsiteX230" fmla="*/ 1141960 w 3183164"/>
              <a:gd name="connsiteY230" fmla="*/ 4603650 h 4794640"/>
              <a:gd name="connsiteX231" fmla="*/ 1213581 w 3183164"/>
              <a:gd name="connsiteY231" fmla="*/ 4615587 h 4794640"/>
              <a:gd name="connsiteX232" fmla="*/ 1287192 w 3183164"/>
              <a:gd name="connsiteY232" fmla="*/ 4621556 h 4794640"/>
              <a:gd name="connsiteX233" fmla="*/ 1362792 w 3183164"/>
              <a:gd name="connsiteY233" fmla="*/ 4621556 h 4794640"/>
              <a:gd name="connsiteX234" fmla="*/ 1448340 w 3183164"/>
              <a:gd name="connsiteY234" fmla="*/ 4621556 h 4794640"/>
              <a:gd name="connsiteX235" fmla="*/ 1527919 w 3183164"/>
              <a:gd name="connsiteY235" fmla="*/ 4611608 h 4794640"/>
              <a:gd name="connsiteX236" fmla="*/ 1607498 w 3183164"/>
              <a:gd name="connsiteY236" fmla="*/ 4597682 h 4794640"/>
              <a:gd name="connsiteX237" fmla="*/ 1683098 w 3183164"/>
              <a:gd name="connsiteY237" fmla="*/ 4577787 h 4794640"/>
              <a:gd name="connsiteX238" fmla="*/ 1752730 w 3183164"/>
              <a:gd name="connsiteY238" fmla="*/ 4551924 h 4794640"/>
              <a:gd name="connsiteX239" fmla="*/ 1820372 w 3183164"/>
              <a:gd name="connsiteY239" fmla="*/ 4520092 h 4794640"/>
              <a:gd name="connsiteX240" fmla="*/ 1850214 w 3183164"/>
              <a:gd name="connsiteY240" fmla="*/ 4502187 h 4794640"/>
              <a:gd name="connsiteX241" fmla="*/ 1880056 w 3183164"/>
              <a:gd name="connsiteY241" fmla="*/ 4484282 h 4794640"/>
              <a:gd name="connsiteX242" fmla="*/ 1911888 w 3183164"/>
              <a:gd name="connsiteY242" fmla="*/ 4462398 h 4794640"/>
              <a:gd name="connsiteX243" fmla="*/ 1937751 w 3183164"/>
              <a:gd name="connsiteY243" fmla="*/ 4442503 h 4794640"/>
              <a:gd name="connsiteX244" fmla="*/ 1965604 w 3183164"/>
              <a:gd name="connsiteY244" fmla="*/ 4416640 h 4794640"/>
              <a:gd name="connsiteX245" fmla="*/ 1989478 w 3183164"/>
              <a:gd name="connsiteY245" fmla="*/ 4392766 h 4794640"/>
              <a:gd name="connsiteX246" fmla="*/ 2015341 w 3183164"/>
              <a:gd name="connsiteY246" fmla="*/ 4364913 h 4794640"/>
              <a:gd name="connsiteX247" fmla="*/ 2035236 w 3183164"/>
              <a:gd name="connsiteY247" fmla="*/ 4339050 h 4794640"/>
              <a:gd name="connsiteX248" fmla="*/ 2057120 w 3183164"/>
              <a:gd name="connsiteY248" fmla="*/ 4307218 h 4794640"/>
              <a:gd name="connsiteX249" fmla="*/ 2075025 w 3183164"/>
              <a:gd name="connsiteY249" fmla="*/ 4277376 h 4794640"/>
              <a:gd name="connsiteX250" fmla="*/ 2092931 w 3183164"/>
              <a:gd name="connsiteY250" fmla="*/ 4247534 h 4794640"/>
              <a:gd name="connsiteX251" fmla="*/ 2108846 w 3183164"/>
              <a:gd name="connsiteY251" fmla="*/ 4213713 h 4794640"/>
              <a:gd name="connsiteX252" fmla="*/ 2124762 w 3183164"/>
              <a:gd name="connsiteY252" fmla="*/ 4177902 h 4794640"/>
              <a:gd name="connsiteX253" fmla="*/ 2136699 w 3183164"/>
              <a:gd name="connsiteY253" fmla="*/ 4140102 h 4794640"/>
              <a:gd name="connsiteX254" fmla="*/ 2148636 w 3183164"/>
              <a:gd name="connsiteY254" fmla="*/ 4104292 h 4794640"/>
              <a:gd name="connsiteX255" fmla="*/ 2158583 w 3183164"/>
              <a:gd name="connsiteY255" fmla="*/ 4064502 h 4794640"/>
              <a:gd name="connsiteX256" fmla="*/ 2164552 w 3183164"/>
              <a:gd name="connsiteY256" fmla="*/ 4024712 h 4794640"/>
              <a:gd name="connsiteX257" fmla="*/ 2170520 w 3183164"/>
              <a:gd name="connsiteY257" fmla="*/ 3982933 h 4794640"/>
              <a:gd name="connsiteX258" fmla="*/ 2172510 w 3183164"/>
              <a:gd name="connsiteY258" fmla="*/ 3937175 h 4794640"/>
              <a:gd name="connsiteX259" fmla="*/ 2172510 w 3183164"/>
              <a:gd name="connsiteY259" fmla="*/ 3893407 h 4794640"/>
              <a:gd name="connsiteX260" fmla="*/ 2172510 w 3183164"/>
              <a:gd name="connsiteY260" fmla="*/ 3841681 h 4794640"/>
              <a:gd name="connsiteX261" fmla="*/ 2166541 w 3183164"/>
              <a:gd name="connsiteY261" fmla="*/ 3795923 h 4794640"/>
              <a:gd name="connsiteX262" fmla="*/ 2164552 w 3183164"/>
              <a:gd name="connsiteY262" fmla="*/ 3748175 h 4794640"/>
              <a:gd name="connsiteX263" fmla="*/ 2154604 w 3183164"/>
              <a:gd name="connsiteY263" fmla="*/ 3702417 h 4794640"/>
              <a:gd name="connsiteX264" fmla="*/ 2144657 w 3183164"/>
              <a:gd name="connsiteY264" fmla="*/ 3656659 h 4794640"/>
              <a:gd name="connsiteX265" fmla="*/ 2130731 w 3183164"/>
              <a:gd name="connsiteY265" fmla="*/ 3614880 h 4794640"/>
              <a:gd name="connsiteX266" fmla="*/ 2118794 w 3183164"/>
              <a:gd name="connsiteY266" fmla="*/ 3571112 h 4794640"/>
              <a:gd name="connsiteX267" fmla="*/ 2098899 w 3183164"/>
              <a:gd name="connsiteY267" fmla="*/ 3529333 h 4794640"/>
              <a:gd name="connsiteX268" fmla="*/ 2080994 w 3183164"/>
              <a:gd name="connsiteY268" fmla="*/ 3489543 h 4794640"/>
              <a:gd name="connsiteX269" fmla="*/ 2061099 w 3183164"/>
              <a:gd name="connsiteY269" fmla="*/ 3449754 h 4794640"/>
              <a:gd name="connsiteX270" fmla="*/ 2039215 w 3183164"/>
              <a:gd name="connsiteY270" fmla="*/ 3409964 h 4794640"/>
              <a:gd name="connsiteX271" fmla="*/ 2015341 w 3183164"/>
              <a:gd name="connsiteY271" fmla="*/ 3370174 h 4794640"/>
              <a:gd name="connsiteX272" fmla="*/ 1987488 w 3183164"/>
              <a:gd name="connsiteY272" fmla="*/ 3334364 h 4794640"/>
              <a:gd name="connsiteX273" fmla="*/ 1959636 w 3183164"/>
              <a:gd name="connsiteY273" fmla="*/ 3298553 h 4794640"/>
              <a:gd name="connsiteX274" fmla="*/ 1897962 w 3183164"/>
              <a:gd name="connsiteY274" fmla="*/ 3224943 h 4794640"/>
              <a:gd name="connsiteX275" fmla="*/ 1832309 w 3183164"/>
              <a:gd name="connsiteY275" fmla="*/ 3155311 h 4794640"/>
              <a:gd name="connsiteX276" fmla="*/ 1756709 w 3183164"/>
              <a:gd name="connsiteY276" fmla="*/ 3085679 h 4794640"/>
              <a:gd name="connsiteX277" fmla="*/ 1677130 w 3183164"/>
              <a:gd name="connsiteY277" fmla="*/ 3018037 h 4794640"/>
              <a:gd name="connsiteX278" fmla="*/ 1587603 w 3183164"/>
              <a:gd name="connsiteY278" fmla="*/ 2950395 h 4794640"/>
              <a:gd name="connsiteX279" fmla="*/ 1498077 w 3183164"/>
              <a:gd name="connsiteY279" fmla="*/ 2884742 h 4794640"/>
              <a:gd name="connsiteX280" fmla="*/ 1400592 w 3183164"/>
              <a:gd name="connsiteY280" fmla="*/ 2817100 h 4794640"/>
              <a:gd name="connsiteX281" fmla="*/ 1195676 w 3183164"/>
              <a:gd name="connsiteY281" fmla="*/ 2679826 h 4794640"/>
              <a:gd name="connsiteX282" fmla="*/ 964897 w 3183164"/>
              <a:gd name="connsiteY282" fmla="*/ 2530615 h 4794640"/>
              <a:gd name="connsiteX283" fmla="*/ 855475 w 3183164"/>
              <a:gd name="connsiteY283" fmla="*/ 2458994 h 4794640"/>
              <a:gd name="connsiteX284" fmla="*/ 752023 w 3183164"/>
              <a:gd name="connsiteY284" fmla="*/ 2381404 h 4794640"/>
              <a:gd name="connsiteX285" fmla="*/ 648570 w 3183164"/>
              <a:gd name="connsiteY285" fmla="*/ 2305804 h 4794640"/>
              <a:gd name="connsiteX286" fmla="*/ 553075 w 3183164"/>
              <a:gd name="connsiteY286" fmla="*/ 2226225 h 4794640"/>
              <a:gd name="connsiteX287" fmla="*/ 463548 w 3183164"/>
              <a:gd name="connsiteY287" fmla="*/ 2144657 h 4794640"/>
              <a:gd name="connsiteX288" fmla="*/ 419780 w 3183164"/>
              <a:gd name="connsiteY288" fmla="*/ 2102878 h 4794640"/>
              <a:gd name="connsiteX289" fmla="*/ 379990 w 3183164"/>
              <a:gd name="connsiteY289" fmla="*/ 2059109 h 4794640"/>
              <a:gd name="connsiteX290" fmla="*/ 340201 w 3183164"/>
              <a:gd name="connsiteY290" fmla="*/ 2017330 h 4794640"/>
              <a:gd name="connsiteX291" fmla="*/ 304390 w 3183164"/>
              <a:gd name="connsiteY291" fmla="*/ 1971572 h 4794640"/>
              <a:gd name="connsiteX292" fmla="*/ 268580 w 3183164"/>
              <a:gd name="connsiteY292" fmla="*/ 1925814 h 4794640"/>
              <a:gd name="connsiteX293" fmla="*/ 234758 w 3183164"/>
              <a:gd name="connsiteY293" fmla="*/ 1878067 h 4794640"/>
              <a:gd name="connsiteX294" fmla="*/ 202927 w 3183164"/>
              <a:gd name="connsiteY294" fmla="*/ 1828330 h 4794640"/>
              <a:gd name="connsiteX295" fmla="*/ 177064 w 3183164"/>
              <a:gd name="connsiteY295" fmla="*/ 1780582 h 4794640"/>
              <a:gd name="connsiteX296" fmla="*/ 149211 w 3183164"/>
              <a:gd name="connsiteY296" fmla="*/ 1728856 h 4794640"/>
              <a:gd name="connsiteX297" fmla="*/ 125337 w 3183164"/>
              <a:gd name="connsiteY297" fmla="*/ 1677129 h 4794640"/>
              <a:gd name="connsiteX298" fmla="*/ 103453 w 3183164"/>
              <a:gd name="connsiteY298" fmla="*/ 1621424 h 4794640"/>
              <a:gd name="connsiteX299" fmla="*/ 85548 w 3183164"/>
              <a:gd name="connsiteY299" fmla="*/ 1563729 h 4794640"/>
              <a:gd name="connsiteX300" fmla="*/ 69632 w 3183164"/>
              <a:gd name="connsiteY300" fmla="*/ 1506034 h 4794640"/>
              <a:gd name="connsiteX301" fmla="*/ 55705 w 3183164"/>
              <a:gd name="connsiteY301" fmla="*/ 1448340 h 4794640"/>
              <a:gd name="connsiteX302" fmla="*/ 45758 w 3183164"/>
              <a:gd name="connsiteY302" fmla="*/ 1386666 h 4794640"/>
              <a:gd name="connsiteX303" fmla="*/ 35811 w 3183164"/>
              <a:gd name="connsiteY303" fmla="*/ 1323003 h 4794640"/>
              <a:gd name="connsiteX304" fmla="*/ 33821 w 3183164"/>
              <a:gd name="connsiteY304" fmla="*/ 1259339 h 4794640"/>
              <a:gd name="connsiteX305" fmla="*/ 29842 w 3183164"/>
              <a:gd name="connsiteY305" fmla="*/ 1191697 h 4794640"/>
              <a:gd name="connsiteX306" fmla="*/ 33821 w 3183164"/>
              <a:gd name="connsiteY306" fmla="*/ 1116097 h 4794640"/>
              <a:gd name="connsiteX307" fmla="*/ 39790 w 3183164"/>
              <a:gd name="connsiteY307" fmla="*/ 1044476 h 4794640"/>
              <a:gd name="connsiteX308" fmla="*/ 47748 w 3183164"/>
              <a:gd name="connsiteY308" fmla="*/ 972854 h 4794640"/>
              <a:gd name="connsiteX309" fmla="*/ 63663 w 3183164"/>
              <a:gd name="connsiteY309" fmla="*/ 903223 h 4794640"/>
              <a:gd name="connsiteX310" fmla="*/ 79579 w 3183164"/>
              <a:gd name="connsiteY310" fmla="*/ 839560 h 4794640"/>
              <a:gd name="connsiteX311" fmla="*/ 99474 w 3183164"/>
              <a:gd name="connsiteY311" fmla="*/ 775896 h 4794640"/>
              <a:gd name="connsiteX312" fmla="*/ 125337 w 3183164"/>
              <a:gd name="connsiteY312" fmla="*/ 718201 h 4794640"/>
              <a:gd name="connsiteX313" fmla="*/ 151200 w 3183164"/>
              <a:gd name="connsiteY313" fmla="*/ 660507 h 4794640"/>
              <a:gd name="connsiteX314" fmla="*/ 183032 w 3183164"/>
              <a:gd name="connsiteY314" fmla="*/ 602812 h 4794640"/>
              <a:gd name="connsiteX315" fmla="*/ 216853 w 3183164"/>
              <a:gd name="connsiteY315" fmla="*/ 551085 h 4794640"/>
              <a:gd name="connsiteX316" fmla="*/ 252664 w 3183164"/>
              <a:gd name="connsiteY316" fmla="*/ 501348 h 4794640"/>
              <a:gd name="connsiteX317" fmla="*/ 292453 w 3183164"/>
              <a:gd name="connsiteY317" fmla="*/ 453601 h 4794640"/>
              <a:gd name="connsiteX318" fmla="*/ 334232 w 3183164"/>
              <a:gd name="connsiteY318" fmla="*/ 407843 h 4794640"/>
              <a:gd name="connsiteX319" fmla="*/ 379990 w 3183164"/>
              <a:gd name="connsiteY319" fmla="*/ 366064 h 4794640"/>
              <a:gd name="connsiteX320" fmla="*/ 425748 w 3183164"/>
              <a:gd name="connsiteY320" fmla="*/ 326274 h 4794640"/>
              <a:gd name="connsiteX321" fmla="*/ 475485 w 3183164"/>
              <a:gd name="connsiteY321" fmla="*/ 288474 h 4794640"/>
              <a:gd name="connsiteX322" fmla="*/ 527212 w 3183164"/>
              <a:gd name="connsiteY322" fmla="*/ 252664 h 4794640"/>
              <a:gd name="connsiteX323" fmla="*/ 580928 w 3183164"/>
              <a:gd name="connsiteY323" fmla="*/ 218843 h 4794640"/>
              <a:gd name="connsiteX324" fmla="*/ 636633 w 3183164"/>
              <a:gd name="connsiteY324" fmla="*/ 189001 h 4794640"/>
              <a:gd name="connsiteX325" fmla="*/ 694328 w 3183164"/>
              <a:gd name="connsiteY325" fmla="*/ 161148 h 4794640"/>
              <a:gd name="connsiteX326" fmla="*/ 754012 w 3183164"/>
              <a:gd name="connsiteY326" fmla="*/ 133295 h 4794640"/>
              <a:gd name="connsiteX327" fmla="*/ 815686 w 3183164"/>
              <a:gd name="connsiteY327" fmla="*/ 113400 h 4794640"/>
              <a:gd name="connsiteX328" fmla="*/ 879349 w 3183164"/>
              <a:gd name="connsiteY328" fmla="*/ 91516 h 4794640"/>
              <a:gd name="connsiteX329" fmla="*/ 943012 w 3183164"/>
              <a:gd name="connsiteY329" fmla="*/ 69632 h 4794640"/>
              <a:gd name="connsiteX330" fmla="*/ 1006676 w 3183164"/>
              <a:gd name="connsiteY330" fmla="*/ 55706 h 4794640"/>
              <a:gd name="connsiteX331" fmla="*/ 1074318 w 3183164"/>
              <a:gd name="connsiteY331" fmla="*/ 39790 h 4794640"/>
              <a:gd name="connsiteX332" fmla="*/ 1143950 w 3183164"/>
              <a:gd name="connsiteY332" fmla="*/ 27853 h 4794640"/>
              <a:gd name="connsiteX333" fmla="*/ 1211592 w 3183164"/>
              <a:gd name="connsiteY333" fmla="*/ 17905 h 4794640"/>
              <a:gd name="connsiteX334" fmla="*/ 1281224 w 3183164"/>
              <a:gd name="connsiteY334" fmla="*/ 9947 h 4794640"/>
              <a:gd name="connsiteX335" fmla="*/ 1350855 w 3183164"/>
              <a:gd name="connsiteY335" fmla="*/ 5969 h 4794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3183164" h="4794640">
                <a:moveTo>
                  <a:pt x="1420487" y="0"/>
                </a:moveTo>
                <a:lnTo>
                  <a:pt x="1494098" y="0"/>
                </a:lnTo>
                <a:lnTo>
                  <a:pt x="1585614" y="3979"/>
                </a:lnTo>
                <a:lnTo>
                  <a:pt x="1673151" y="5969"/>
                </a:lnTo>
                <a:lnTo>
                  <a:pt x="1752730" y="11937"/>
                </a:lnTo>
                <a:lnTo>
                  <a:pt x="1828330" y="21884"/>
                </a:lnTo>
                <a:lnTo>
                  <a:pt x="1897962" y="33821"/>
                </a:lnTo>
                <a:lnTo>
                  <a:pt x="1965604" y="47748"/>
                </a:lnTo>
                <a:lnTo>
                  <a:pt x="2027278" y="63663"/>
                </a:lnTo>
                <a:lnTo>
                  <a:pt x="2084973" y="81569"/>
                </a:lnTo>
                <a:lnTo>
                  <a:pt x="2138688" y="99474"/>
                </a:lnTo>
                <a:lnTo>
                  <a:pt x="2190415" y="119369"/>
                </a:lnTo>
                <a:lnTo>
                  <a:pt x="2236173" y="139264"/>
                </a:lnTo>
                <a:lnTo>
                  <a:pt x="2281931" y="161148"/>
                </a:lnTo>
                <a:lnTo>
                  <a:pt x="2367478" y="206906"/>
                </a:lnTo>
                <a:lnTo>
                  <a:pt x="2447057" y="252664"/>
                </a:lnTo>
                <a:lnTo>
                  <a:pt x="2516689" y="292453"/>
                </a:lnTo>
                <a:lnTo>
                  <a:pt x="2574384" y="322295"/>
                </a:lnTo>
                <a:lnTo>
                  <a:pt x="2598258" y="332243"/>
                </a:lnTo>
                <a:lnTo>
                  <a:pt x="2624121" y="338211"/>
                </a:lnTo>
                <a:lnTo>
                  <a:pt x="2644016" y="344180"/>
                </a:lnTo>
                <a:lnTo>
                  <a:pt x="2665900" y="344180"/>
                </a:lnTo>
                <a:lnTo>
                  <a:pt x="2681816" y="344180"/>
                </a:lnTo>
                <a:lnTo>
                  <a:pt x="2695742" y="340201"/>
                </a:lnTo>
                <a:lnTo>
                  <a:pt x="2707679" y="334232"/>
                </a:lnTo>
                <a:lnTo>
                  <a:pt x="2719616" y="326274"/>
                </a:lnTo>
                <a:lnTo>
                  <a:pt x="2733542" y="316327"/>
                </a:lnTo>
                <a:lnTo>
                  <a:pt x="2741500" y="304390"/>
                </a:lnTo>
                <a:lnTo>
                  <a:pt x="2759405" y="270569"/>
                </a:lnTo>
                <a:lnTo>
                  <a:pt x="2779300" y="230780"/>
                </a:lnTo>
                <a:lnTo>
                  <a:pt x="2791237" y="183032"/>
                </a:lnTo>
                <a:lnTo>
                  <a:pt x="2803174" y="125337"/>
                </a:lnTo>
                <a:lnTo>
                  <a:pt x="2811132" y="57695"/>
                </a:lnTo>
                <a:lnTo>
                  <a:pt x="2964322" y="57695"/>
                </a:lnTo>
                <a:lnTo>
                  <a:pt x="2954374" y="159158"/>
                </a:lnTo>
                <a:lnTo>
                  <a:pt x="2948406" y="270569"/>
                </a:lnTo>
                <a:lnTo>
                  <a:pt x="2942437" y="397896"/>
                </a:lnTo>
                <a:lnTo>
                  <a:pt x="2936469" y="553075"/>
                </a:lnTo>
                <a:lnTo>
                  <a:pt x="2930500" y="960918"/>
                </a:lnTo>
                <a:lnTo>
                  <a:pt x="2928511" y="1545824"/>
                </a:lnTo>
                <a:lnTo>
                  <a:pt x="2779300" y="1545824"/>
                </a:lnTo>
                <a:lnTo>
                  <a:pt x="2771342" y="1482161"/>
                </a:lnTo>
                <a:lnTo>
                  <a:pt x="2765374" y="1418497"/>
                </a:lnTo>
                <a:lnTo>
                  <a:pt x="2757416" y="1352845"/>
                </a:lnTo>
                <a:lnTo>
                  <a:pt x="2745479" y="1289181"/>
                </a:lnTo>
                <a:lnTo>
                  <a:pt x="2733542" y="1229497"/>
                </a:lnTo>
                <a:lnTo>
                  <a:pt x="2719616" y="1165834"/>
                </a:lnTo>
                <a:lnTo>
                  <a:pt x="2701711" y="1104160"/>
                </a:lnTo>
                <a:lnTo>
                  <a:pt x="2683805" y="1044476"/>
                </a:lnTo>
                <a:lnTo>
                  <a:pt x="2661921" y="982802"/>
                </a:lnTo>
                <a:lnTo>
                  <a:pt x="2642026" y="921128"/>
                </a:lnTo>
                <a:lnTo>
                  <a:pt x="2616163" y="863433"/>
                </a:lnTo>
                <a:lnTo>
                  <a:pt x="2592289" y="805738"/>
                </a:lnTo>
                <a:lnTo>
                  <a:pt x="2564437" y="752022"/>
                </a:lnTo>
                <a:lnTo>
                  <a:pt x="2534594" y="700296"/>
                </a:lnTo>
                <a:lnTo>
                  <a:pt x="2500773" y="648570"/>
                </a:lnTo>
                <a:lnTo>
                  <a:pt x="2468942" y="596843"/>
                </a:lnTo>
                <a:lnTo>
                  <a:pt x="2435121" y="547106"/>
                </a:lnTo>
                <a:lnTo>
                  <a:pt x="2395331" y="501348"/>
                </a:lnTo>
                <a:lnTo>
                  <a:pt x="2355541" y="459569"/>
                </a:lnTo>
                <a:lnTo>
                  <a:pt x="2315752" y="415801"/>
                </a:lnTo>
                <a:lnTo>
                  <a:pt x="2273973" y="378001"/>
                </a:lnTo>
                <a:lnTo>
                  <a:pt x="2228215" y="340201"/>
                </a:lnTo>
                <a:lnTo>
                  <a:pt x="2178478" y="306380"/>
                </a:lnTo>
                <a:lnTo>
                  <a:pt x="2130731" y="276537"/>
                </a:lnTo>
                <a:lnTo>
                  <a:pt x="2079004" y="248685"/>
                </a:lnTo>
                <a:lnTo>
                  <a:pt x="2027278" y="224811"/>
                </a:lnTo>
                <a:lnTo>
                  <a:pt x="1971572" y="206906"/>
                </a:lnTo>
                <a:lnTo>
                  <a:pt x="1913878" y="189001"/>
                </a:lnTo>
                <a:lnTo>
                  <a:pt x="1856183" y="173085"/>
                </a:lnTo>
                <a:lnTo>
                  <a:pt x="1794509" y="165127"/>
                </a:lnTo>
                <a:lnTo>
                  <a:pt x="1734825" y="159158"/>
                </a:lnTo>
                <a:lnTo>
                  <a:pt x="1671161" y="155179"/>
                </a:lnTo>
                <a:lnTo>
                  <a:pt x="1591582" y="159158"/>
                </a:lnTo>
                <a:lnTo>
                  <a:pt x="1517972" y="167116"/>
                </a:lnTo>
                <a:lnTo>
                  <a:pt x="1448340" y="183032"/>
                </a:lnTo>
                <a:lnTo>
                  <a:pt x="1380698" y="200937"/>
                </a:lnTo>
                <a:lnTo>
                  <a:pt x="1317034" y="228790"/>
                </a:lnTo>
                <a:lnTo>
                  <a:pt x="1259339" y="258632"/>
                </a:lnTo>
                <a:lnTo>
                  <a:pt x="1205624" y="292453"/>
                </a:lnTo>
                <a:lnTo>
                  <a:pt x="1153897" y="334232"/>
                </a:lnTo>
                <a:lnTo>
                  <a:pt x="1108139" y="379990"/>
                </a:lnTo>
                <a:lnTo>
                  <a:pt x="1068350" y="429727"/>
                </a:lnTo>
                <a:lnTo>
                  <a:pt x="1034528" y="483443"/>
                </a:lnTo>
                <a:lnTo>
                  <a:pt x="1004686" y="545117"/>
                </a:lnTo>
                <a:lnTo>
                  <a:pt x="982802" y="608780"/>
                </a:lnTo>
                <a:lnTo>
                  <a:pt x="964897" y="674433"/>
                </a:lnTo>
                <a:lnTo>
                  <a:pt x="954949" y="746054"/>
                </a:lnTo>
                <a:lnTo>
                  <a:pt x="952960" y="821654"/>
                </a:lnTo>
                <a:lnTo>
                  <a:pt x="952960" y="869402"/>
                </a:lnTo>
                <a:lnTo>
                  <a:pt x="954949" y="919139"/>
                </a:lnTo>
                <a:lnTo>
                  <a:pt x="960918" y="960918"/>
                </a:lnTo>
                <a:lnTo>
                  <a:pt x="970865" y="1006676"/>
                </a:lnTo>
                <a:lnTo>
                  <a:pt x="980813" y="1046465"/>
                </a:lnTo>
                <a:lnTo>
                  <a:pt x="994739" y="1088244"/>
                </a:lnTo>
                <a:lnTo>
                  <a:pt x="1010655" y="1128034"/>
                </a:lnTo>
                <a:lnTo>
                  <a:pt x="1024581" y="1167823"/>
                </a:lnTo>
                <a:lnTo>
                  <a:pt x="1046465" y="1205623"/>
                </a:lnTo>
                <a:lnTo>
                  <a:pt x="1068350" y="1241434"/>
                </a:lnTo>
                <a:lnTo>
                  <a:pt x="1090234" y="1277245"/>
                </a:lnTo>
                <a:lnTo>
                  <a:pt x="1116097" y="1315045"/>
                </a:lnTo>
                <a:lnTo>
                  <a:pt x="1143950" y="1346876"/>
                </a:lnTo>
                <a:lnTo>
                  <a:pt x="1173792" y="1380697"/>
                </a:lnTo>
                <a:lnTo>
                  <a:pt x="1241434" y="1450329"/>
                </a:lnTo>
                <a:lnTo>
                  <a:pt x="1317034" y="1517971"/>
                </a:lnTo>
                <a:lnTo>
                  <a:pt x="1402582" y="1585613"/>
                </a:lnTo>
                <a:lnTo>
                  <a:pt x="1494098" y="1655245"/>
                </a:lnTo>
                <a:lnTo>
                  <a:pt x="1597551" y="1728856"/>
                </a:lnTo>
                <a:lnTo>
                  <a:pt x="1822362" y="1880056"/>
                </a:lnTo>
                <a:lnTo>
                  <a:pt x="2080994" y="2051151"/>
                </a:lnTo>
                <a:lnTo>
                  <a:pt x="2305805" y="2202351"/>
                </a:lnTo>
                <a:lnTo>
                  <a:pt x="2413236" y="2277951"/>
                </a:lnTo>
                <a:lnTo>
                  <a:pt x="2512710" y="2355541"/>
                </a:lnTo>
                <a:lnTo>
                  <a:pt x="2610195" y="2433131"/>
                </a:lnTo>
                <a:lnTo>
                  <a:pt x="2701711" y="2512710"/>
                </a:lnTo>
                <a:lnTo>
                  <a:pt x="2785269" y="2592289"/>
                </a:lnTo>
                <a:lnTo>
                  <a:pt x="2825058" y="2634068"/>
                </a:lnTo>
                <a:lnTo>
                  <a:pt x="2862858" y="2677836"/>
                </a:lnTo>
                <a:lnTo>
                  <a:pt x="2900658" y="2719615"/>
                </a:lnTo>
                <a:lnTo>
                  <a:pt x="2934479" y="2765373"/>
                </a:lnTo>
                <a:lnTo>
                  <a:pt x="2966311" y="2807152"/>
                </a:lnTo>
                <a:lnTo>
                  <a:pt x="2998143" y="2856889"/>
                </a:lnTo>
                <a:lnTo>
                  <a:pt x="3024006" y="2902647"/>
                </a:lnTo>
                <a:lnTo>
                  <a:pt x="3051859" y="2950395"/>
                </a:lnTo>
                <a:lnTo>
                  <a:pt x="3075732" y="3002121"/>
                </a:lnTo>
                <a:lnTo>
                  <a:pt x="3097617" y="3053848"/>
                </a:lnTo>
                <a:lnTo>
                  <a:pt x="3115522" y="3105574"/>
                </a:lnTo>
                <a:lnTo>
                  <a:pt x="3135417" y="3161279"/>
                </a:lnTo>
                <a:lnTo>
                  <a:pt x="3149343" y="3214995"/>
                </a:lnTo>
                <a:lnTo>
                  <a:pt x="3161280" y="3272690"/>
                </a:lnTo>
                <a:lnTo>
                  <a:pt x="3171227" y="3334364"/>
                </a:lnTo>
                <a:lnTo>
                  <a:pt x="3177196" y="3396038"/>
                </a:lnTo>
                <a:lnTo>
                  <a:pt x="3179185" y="3459701"/>
                </a:lnTo>
                <a:lnTo>
                  <a:pt x="3183164" y="3523364"/>
                </a:lnTo>
                <a:lnTo>
                  <a:pt x="3179185" y="3602943"/>
                </a:lnTo>
                <a:lnTo>
                  <a:pt x="3173217" y="3680533"/>
                </a:lnTo>
                <a:lnTo>
                  <a:pt x="3165259" y="3754144"/>
                </a:lnTo>
                <a:lnTo>
                  <a:pt x="3149343" y="3823775"/>
                </a:lnTo>
                <a:lnTo>
                  <a:pt x="3131438" y="3893407"/>
                </a:lnTo>
                <a:lnTo>
                  <a:pt x="3109553" y="3961049"/>
                </a:lnTo>
                <a:lnTo>
                  <a:pt x="3083690" y="4024712"/>
                </a:lnTo>
                <a:lnTo>
                  <a:pt x="3051859" y="4086386"/>
                </a:lnTo>
                <a:lnTo>
                  <a:pt x="3018037" y="4144081"/>
                </a:lnTo>
                <a:lnTo>
                  <a:pt x="2986206" y="4197797"/>
                </a:lnTo>
                <a:lnTo>
                  <a:pt x="2946416" y="4253502"/>
                </a:lnTo>
                <a:lnTo>
                  <a:pt x="2902648" y="4305229"/>
                </a:lnTo>
                <a:lnTo>
                  <a:pt x="2856890" y="4352976"/>
                </a:lnTo>
                <a:lnTo>
                  <a:pt x="2809142" y="4398734"/>
                </a:lnTo>
                <a:lnTo>
                  <a:pt x="2757416" y="4442503"/>
                </a:lnTo>
                <a:lnTo>
                  <a:pt x="2701711" y="4480303"/>
                </a:lnTo>
                <a:lnTo>
                  <a:pt x="2644016" y="4520092"/>
                </a:lnTo>
                <a:lnTo>
                  <a:pt x="2586321" y="4553914"/>
                </a:lnTo>
                <a:lnTo>
                  <a:pt x="2526637" y="4587735"/>
                </a:lnTo>
                <a:lnTo>
                  <a:pt x="2460984" y="4617577"/>
                </a:lnTo>
                <a:lnTo>
                  <a:pt x="2395331" y="4649408"/>
                </a:lnTo>
                <a:lnTo>
                  <a:pt x="2327689" y="4673282"/>
                </a:lnTo>
                <a:lnTo>
                  <a:pt x="2258057" y="4697156"/>
                </a:lnTo>
                <a:lnTo>
                  <a:pt x="2188425" y="4715061"/>
                </a:lnTo>
                <a:lnTo>
                  <a:pt x="2114815" y="4732966"/>
                </a:lnTo>
                <a:lnTo>
                  <a:pt x="2039215" y="4752861"/>
                </a:lnTo>
                <a:lnTo>
                  <a:pt x="1963614" y="4764798"/>
                </a:lnTo>
                <a:lnTo>
                  <a:pt x="1886025" y="4776735"/>
                </a:lnTo>
                <a:lnTo>
                  <a:pt x="1808435" y="4782703"/>
                </a:lnTo>
                <a:lnTo>
                  <a:pt x="1724877" y="4788672"/>
                </a:lnTo>
                <a:lnTo>
                  <a:pt x="1647288" y="4794640"/>
                </a:lnTo>
                <a:lnTo>
                  <a:pt x="1563730" y="4794640"/>
                </a:lnTo>
                <a:lnTo>
                  <a:pt x="1466245" y="4794640"/>
                </a:lnTo>
                <a:lnTo>
                  <a:pt x="1372740" y="4788672"/>
                </a:lnTo>
                <a:lnTo>
                  <a:pt x="1285203" y="4782703"/>
                </a:lnTo>
                <a:lnTo>
                  <a:pt x="1201645" y="4772756"/>
                </a:lnTo>
                <a:lnTo>
                  <a:pt x="1126044" y="4760819"/>
                </a:lnTo>
                <a:lnTo>
                  <a:pt x="1052434" y="4748882"/>
                </a:lnTo>
                <a:lnTo>
                  <a:pt x="982802" y="4732966"/>
                </a:lnTo>
                <a:lnTo>
                  <a:pt x="919139" y="4719040"/>
                </a:lnTo>
                <a:lnTo>
                  <a:pt x="857465" y="4701135"/>
                </a:lnTo>
                <a:lnTo>
                  <a:pt x="799770" y="4681240"/>
                </a:lnTo>
                <a:lnTo>
                  <a:pt x="748044" y="4661345"/>
                </a:lnTo>
                <a:lnTo>
                  <a:pt x="696317" y="4639461"/>
                </a:lnTo>
                <a:lnTo>
                  <a:pt x="602812" y="4597682"/>
                </a:lnTo>
                <a:lnTo>
                  <a:pt x="515275" y="4551924"/>
                </a:lnTo>
                <a:lnTo>
                  <a:pt x="443654" y="4508156"/>
                </a:lnTo>
                <a:lnTo>
                  <a:pt x="383969" y="4480303"/>
                </a:lnTo>
                <a:lnTo>
                  <a:pt x="358106" y="4472345"/>
                </a:lnTo>
                <a:lnTo>
                  <a:pt x="334232" y="4466377"/>
                </a:lnTo>
                <a:lnTo>
                  <a:pt x="314338" y="4460408"/>
                </a:lnTo>
                <a:lnTo>
                  <a:pt x="292453" y="4460408"/>
                </a:lnTo>
                <a:lnTo>
                  <a:pt x="276537" y="4460408"/>
                </a:lnTo>
                <a:lnTo>
                  <a:pt x="262611" y="4466377"/>
                </a:lnTo>
                <a:lnTo>
                  <a:pt x="248685" y="4468366"/>
                </a:lnTo>
                <a:lnTo>
                  <a:pt x="236748" y="4478313"/>
                </a:lnTo>
                <a:lnTo>
                  <a:pt x="224811" y="4488261"/>
                </a:lnTo>
                <a:lnTo>
                  <a:pt x="216853" y="4502187"/>
                </a:lnTo>
                <a:lnTo>
                  <a:pt x="196958" y="4532029"/>
                </a:lnTo>
                <a:lnTo>
                  <a:pt x="183032" y="4571819"/>
                </a:lnTo>
                <a:lnTo>
                  <a:pt x="171095" y="4623545"/>
                </a:lnTo>
                <a:lnTo>
                  <a:pt x="159158" y="4681240"/>
                </a:lnTo>
                <a:lnTo>
                  <a:pt x="149211" y="4746893"/>
                </a:lnTo>
                <a:lnTo>
                  <a:pt x="0" y="4746893"/>
                </a:lnTo>
                <a:lnTo>
                  <a:pt x="5969" y="4627524"/>
                </a:lnTo>
                <a:lnTo>
                  <a:pt x="11937" y="4488261"/>
                </a:lnTo>
                <a:lnTo>
                  <a:pt x="17905" y="4140102"/>
                </a:lnTo>
                <a:lnTo>
                  <a:pt x="23874" y="3656659"/>
                </a:lnTo>
                <a:lnTo>
                  <a:pt x="23874" y="2984216"/>
                </a:lnTo>
                <a:lnTo>
                  <a:pt x="173085" y="2984216"/>
                </a:lnTo>
                <a:lnTo>
                  <a:pt x="189000" y="3145364"/>
                </a:lnTo>
                <a:lnTo>
                  <a:pt x="206906" y="3304522"/>
                </a:lnTo>
                <a:lnTo>
                  <a:pt x="218843" y="3382111"/>
                </a:lnTo>
                <a:lnTo>
                  <a:pt x="234758" y="3459701"/>
                </a:lnTo>
                <a:lnTo>
                  <a:pt x="248685" y="3535301"/>
                </a:lnTo>
                <a:lnTo>
                  <a:pt x="264601" y="3608912"/>
                </a:lnTo>
                <a:lnTo>
                  <a:pt x="286485" y="3680533"/>
                </a:lnTo>
                <a:lnTo>
                  <a:pt x="306380" y="3750165"/>
                </a:lnTo>
                <a:lnTo>
                  <a:pt x="328264" y="3817807"/>
                </a:lnTo>
                <a:lnTo>
                  <a:pt x="356117" y="3885449"/>
                </a:lnTo>
                <a:lnTo>
                  <a:pt x="379990" y="3949112"/>
                </a:lnTo>
                <a:lnTo>
                  <a:pt x="411822" y="4012776"/>
                </a:lnTo>
                <a:lnTo>
                  <a:pt x="441664" y="4074449"/>
                </a:lnTo>
                <a:lnTo>
                  <a:pt x="477475" y="4132144"/>
                </a:lnTo>
                <a:lnTo>
                  <a:pt x="511296" y="4185860"/>
                </a:lnTo>
                <a:lnTo>
                  <a:pt x="551085" y="4237587"/>
                </a:lnTo>
                <a:lnTo>
                  <a:pt x="590875" y="4287324"/>
                </a:lnTo>
                <a:lnTo>
                  <a:pt x="636633" y="4335071"/>
                </a:lnTo>
                <a:lnTo>
                  <a:pt x="682391" y="4378840"/>
                </a:lnTo>
                <a:lnTo>
                  <a:pt x="728149" y="4416640"/>
                </a:lnTo>
                <a:lnTo>
                  <a:pt x="779875" y="4454440"/>
                </a:lnTo>
                <a:lnTo>
                  <a:pt x="833591" y="4490250"/>
                </a:lnTo>
                <a:lnTo>
                  <a:pt x="889297" y="4520092"/>
                </a:lnTo>
                <a:lnTo>
                  <a:pt x="948981" y="4545956"/>
                </a:lnTo>
                <a:lnTo>
                  <a:pt x="1010655" y="4569829"/>
                </a:lnTo>
                <a:lnTo>
                  <a:pt x="1074318" y="4587735"/>
                </a:lnTo>
                <a:lnTo>
                  <a:pt x="1141960" y="4603650"/>
                </a:lnTo>
                <a:lnTo>
                  <a:pt x="1213581" y="4615587"/>
                </a:lnTo>
                <a:lnTo>
                  <a:pt x="1287192" y="4621556"/>
                </a:lnTo>
                <a:lnTo>
                  <a:pt x="1362792" y="4621556"/>
                </a:lnTo>
                <a:lnTo>
                  <a:pt x="1448340" y="4621556"/>
                </a:lnTo>
                <a:lnTo>
                  <a:pt x="1527919" y="4611608"/>
                </a:lnTo>
                <a:lnTo>
                  <a:pt x="1607498" y="4597682"/>
                </a:lnTo>
                <a:lnTo>
                  <a:pt x="1683098" y="4577787"/>
                </a:lnTo>
                <a:lnTo>
                  <a:pt x="1752730" y="4551924"/>
                </a:lnTo>
                <a:lnTo>
                  <a:pt x="1820372" y="4520092"/>
                </a:lnTo>
                <a:lnTo>
                  <a:pt x="1850214" y="4502187"/>
                </a:lnTo>
                <a:lnTo>
                  <a:pt x="1880056" y="4484282"/>
                </a:lnTo>
                <a:lnTo>
                  <a:pt x="1911888" y="4462398"/>
                </a:lnTo>
                <a:lnTo>
                  <a:pt x="1937751" y="4442503"/>
                </a:lnTo>
                <a:lnTo>
                  <a:pt x="1965604" y="4416640"/>
                </a:lnTo>
                <a:lnTo>
                  <a:pt x="1989478" y="4392766"/>
                </a:lnTo>
                <a:lnTo>
                  <a:pt x="2015341" y="4364913"/>
                </a:lnTo>
                <a:lnTo>
                  <a:pt x="2035236" y="4339050"/>
                </a:lnTo>
                <a:lnTo>
                  <a:pt x="2057120" y="4307218"/>
                </a:lnTo>
                <a:lnTo>
                  <a:pt x="2075025" y="4277376"/>
                </a:lnTo>
                <a:lnTo>
                  <a:pt x="2092931" y="4247534"/>
                </a:lnTo>
                <a:lnTo>
                  <a:pt x="2108846" y="4213713"/>
                </a:lnTo>
                <a:lnTo>
                  <a:pt x="2124762" y="4177902"/>
                </a:lnTo>
                <a:lnTo>
                  <a:pt x="2136699" y="4140102"/>
                </a:lnTo>
                <a:lnTo>
                  <a:pt x="2148636" y="4104292"/>
                </a:lnTo>
                <a:lnTo>
                  <a:pt x="2158583" y="4064502"/>
                </a:lnTo>
                <a:lnTo>
                  <a:pt x="2164552" y="4024712"/>
                </a:lnTo>
                <a:lnTo>
                  <a:pt x="2170520" y="3982933"/>
                </a:lnTo>
                <a:lnTo>
                  <a:pt x="2172510" y="3937175"/>
                </a:lnTo>
                <a:lnTo>
                  <a:pt x="2172510" y="3893407"/>
                </a:lnTo>
                <a:lnTo>
                  <a:pt x="2172510" y="3841681"/>
                </a:lnTo>
                <a:lnTo>
                  <a:pt x="2166541" y="3795923"/>
                </a:lnTo>
                <a:lnTo>
                  <a:pt x="2164552" y="3748175"/>
                </a:lnTo>
                <a:lnTo>
                  <a:pt x="2154604" y="3702417"/>
                </a:lnTo>
                <a:lnTo>
                  <a:pt x="2144657" y="3656659"/>
                </a:lnTo>
                <a:lnTo>
                  <a:pt x="2130731" y="3614880"/>
                </a:lnTo>
                <a:lnTo>
                  <a:pt x="2118794" y="3571112"/>
                </a:lnTo>
                <a:lnTo>
                  <a:pt x="2098899" y="3529333"/>
                </a:lnTo>
                <a:lnTo>
                  <a:pt x="2080994" y="3489543"/>
                </a:lnTo>
                <a:lnTo>
                  <a:pt x="2061099" y="3449754"/>
                </a:lnTo>
                <a:lnTo>
                  <a:pt x="2039215" y="3409964"/>
                </a:lnTo>
                <a:lnTo>
                  <a:pt x="2015341" y="3370174"/>
                </a:lnTo>
                <a:lnTo>
                  <a:pt x="1987488" y="3334364"/>
                </a:lnTo>
                <a:lnTo>
                  <a:pt x="1959636" y="3298553"/>
                </a:lnTo>
                <a:lnTo>
                  <a:pt x="1897962" y="3224943"/>
                </a:lnTo>
                <a:lnTo>
                  <a:pt x="1832309" y="3155311"/>
                </a:lnTo>
                <a:lnTo>
                  <a:pt x="1756709" y="3085679"/>
                </a:lnTo>
                <a:lnTo>
                  <a:pt x="1677130" y="3018037"/>
                </a:lnTo>
                <a:lnTo>
                  <a:pt x="1587603" y="2950395"/>
                </a:lnTo>
                <a:lnTo>
                  <a:pt x="1498077" y="2884742"/>
                </a:lnTo>
                <a:lnTo>
                  <a:pt x="1400592" y="2817100"/>
                </a:lnTo>
                <a:lnTo>
                  <a:pt x="1195676" y="2679826"/>
                </a:lnTo>
                <a:lnTo>
                  <a:pt x="964897" y="2530615"/>
                </a:lnTo>
                <a:lnTo>
                  <a:pt x="855475" y="2458994"/>
                </a:lnTo>
                <a:lnTo>
                  <a:pt x="752023" y="2381404"/>
                </a:lnTo>
                <a:lnTo>
                  <a:pt x="648570" y="2305804"/>
                </a:lnTo>
                <a:lnTo>
                  <a:pt x="553075" y="2226225"/>
                </a:lnTo>
                <a:lnTo>
                  <a:pt x="463548" y="2144657"/>
                </a:lnTo>
                <a:lnTo>
                  <a:pt x="419780" y="2102878"/>
                </a:lnTo>
                <a:lnTo>
                  <a:pt x="379990" y="2059109"/>
                </a:lnTo>
                <a:lnTo>
                  <a:pt x="340201" y="2017330"/>
                </a:lnTo>
                <a:lnTo>
                  <a:pt x="304390" y="1971572"/>
                </a:lnTo>
                <a:lnTo>
                  <a:pt x="268580" y="1925814"/>
                </a:lnTo>
                <a:lnTo>
                  <a:pt x="234758" y="1878067"/>
                </a:lnTo>
                <a:lnTo>
                  <a:pt x="202927" y="1828330"/>
                </a:lnTo>
                <a:lnTo>
                  <a:pt x="177064" y="1780582"/>
                </a:lnTo>
                <a:lnTo>
                  <a:pt x="149211" y="1728856"/>
                </a:lnTo>
                <a:lnTo>
                  <a:pt x="125337" y="1677129"/>
                </a:lnTo>
                <a:lnTo>
                  <a:pt x="103453" y="1621424"/>
                </a:lnTo>
                <a:lnTo>
                  <a:pt x="85548" y="1563729"/>
                </a:lnTo>
                <a:lnTo>
                  <a:pt x="69632" y="1506034"/>
                </a:lnTo>
                <a:lnTo>
                  <a:pt x="55705" y="1448340"/>
                </a:lnTo>
                <a:lnTo>
                  <a:pt x="45758" y="1386666"/>
                </a:lnTo>
                <a:lnTo>
                  <a:pt x="35811" y="1323003"/>
                </a:lnTo>
                <a:lnTo>
                  <a:pt x="33821" y="1259339"/>
                </a:lnTo>
                <a:lnTo>
                  <a:pt x="29842" y="1191697"/>
                </a:lnTo>
                <a:lnTo>
                  <a:pt x="33821" y="1116097"/>
                </a:lnTo>
                <a:lnTo>
                  <a:pt x="39790" y="1044476"/>
                </a:lnTo>
                <a:lnTo>
                  <a:pt x="47748" y="972854"/>
                </a:lnTo>
                <a:lnTo>
                  <a:pt x="63663" y="903223"/>
                </a:lnTo>
                <a:lnTo>
                  <a:pt x="79579" y="839560"/>
                </a:lnTo>
                <a:lnTo>
                  <a:pt x="99474" y="775896"/>
                </a:lnTo>
                <a:lnTo>
                  <a:pt x="125337" y="718201"/>
                </a:lnTo>
                <a:lnTo>
                  <a:pt x="151200" y="660507"/>
                </a:lnTo>
                <a:lnTo>
                  <a:pt x="183032" y="602812"/>
                </a:lnTo>
                <a:lnTo>
                  <a:pt x="216853" y="551085"/>
                </a:lnTo>
                <a:lnTo>
                  <a:pt x="252664" y="501348"/>
                </a:lnTo>
                <a:lnTo>
                  <a:pt x="292453" y="453601"/>
                </a:lnTo>
                <a:lnTo>
                  <a:pt x="334232" y="407843"/>
                </a:lnTo>
                <a:lnTo>
                  <a:pt x="379990" y="366064"/>
                </a:lnTo>
                <a:lnTo>
                  <a:pt x="425748" y="326274"/>
                </a:lnTo>
                <a:lnTo>
                  <a:pt x="475485" y="288474"/>
                </a:lnTo>
                <a:lnTo>
                  <a:pt x="527212" y="252664"/>
                </a:lnTo>
                <a:lnTo>
                  <a:pt x="580928" y="218843"/>
                </a:lnTo>
                <a:lnTo>
                  <a:pt x="636633" y="189001"/>
                </a:lnTo>
                <a:lnTo>
                  <a:pt x="694328" y="161148"/>
                </a:lnTo>
                <a:lnTo>
                  <a:pt x="754012" y="133295"/>
                </a:lnTo>
                <a:lnTo>
                  <a:pt x="815686" y="113400"/>
                </a:lnTo>
                <a:lnTo>
                  <a:pt x="879349" y="91516"/>
                </a:lnTo>
                <a:lnTo>
                  <a:pt x="943012" y="69632"/>
                </a:lnTo>
                <a:lnTo>
                  <a:pt x="1006676" y="55706"/>
                </a:lnTo>
                <a:lnTo>
                  <a:pt x="1074318" y="39790"/>
                </a:lnTo>
                <a:lnTo>
                  <a:pt x="1143950" y="27853"/>
                </a:lnTo>
                <a:lnTo>
                  <a:pt x="1211592" y="17905"/>
                </a:lnTo>
                <a:lnTo>
                  <a:pt x="1281224" y="9947"/>
                </a:lnTo>
                <a:lnTo>
                  <a:pt x="1350855" y="596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25901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0450512" y="2117724"/>
            <a:ext cx="12814300" cy="9232900"/>
          </a:xfrm>
          <a:custGeom>
            <a:avLst/>
            <a:gdLst>
              <a:gd name="connsiteX0" fmla="*/ 0 w 6407150"/>
              <a:gd name="connsiteY0" fmla="*/ 0 h 4616450"/>
              <a:gd name="connsiteX1" fmla="*/ 212725 w 6407150"/>
              <a:gd name="connsiteY1" fmla="*/ 9525 h 4616450"/>
              <a:gd name="connsiteX2" fmla="*/ 457200 w 6407150"/>
              <a:gd name="connsiteY2" fmla="*/ 15875 h 4616450"/>
              <a:gd name="connsiteX3" fmla="*/ 714375 w 6407150"/>
              <a:gd name="connsiteY3" fmla="*/ 19050 h 4616450"/>
              <a:gd name="connsiteX4" fmla="*/ 968375 w 6407150"/>
              <a:gd name="connsiteY4" fmla="*/ 19050 h 4616450"/>
              <a:gd name="connsiteX5" fmla="*/ 1216025 w 6407150"/>
              <a:gd name="connsiteY5" fmla="*/ 19050 h 4616450"/>
              <a:gd name="connsiteX6" fmla="*/ 1435100 w 6407150"/>
              <a:gd name="connsiteY6" fmla="*/ 15875 h 4616450"/>
              <a:gd name="connsiteX7" fmla="*/ 1619250 w 6407150"/>
              <a:gd name="connsiteY7" fmla="*/ 9525 h 4616450"/>
              <a:gd name="connsiteX8" fmla="*/ 1768475 w 6407150"/>
              <a:gd name="connsiteY8" fmla="*/ 0 h 4616450"/>
              <a:gd name="connsiteX9" fmla="*/ 1768475 w 6407150"/>
              <a:gd name="connsiteY9" fmla="*/ 130175 h 4616450"/>
              <a:gd name="connsiteX10" fmla="*/ 1736725 w 6407150"/>
              <a:gd name="connsiteY10" fmla="*/ 136525 h 4616450"/>
              <a:gd name="connsiteX11" fmla="*/ 1711325 w 6407150"/>
              <a:gd name="connsiteY11" fmla="*/ 142875 h 4616450"/>
              <a:gd name="connsiteX12" fmla="*/ 1685925 w 6407150"/>
              <a:gd name="connsiteY12" fmla="*/ 149225 h 4616450"/>
              <a:gd name="connsiteX13" fmla="*/ 1660525 w 6407150"/>
              <a:gd name="connsiteY13" fmla="*/ 158750 h 4616450"/>
              <a:gd name="connsiteX14" fmla="*/ 1641475 w 6407150"/>
              <a:gd name="connsiteY14" fmla="*/ 171450 h 4616450"/>
              <a:gd name="connsiteX15" fmla="*/ 1622425 w 6407150"/>
              <a:gd name="connsiteY15" fmla="*/ 184150 h 4616450"/>
              <a:gd name="connsiteX16" fmla="*/ 1606550 w 6407150"/>
              <a:gd name="connsiteY16" fmla="*/ 200025 h 4616450"/>
              <a:gd name="connsiteX17" fmla="*/ 1590675 w 6407150"/>
              <a:gd name="connsiteY17" fmla="*/ 215900 h 4616450"/>
              <a:gd name="connsiteX18" fmla="*/ 1577975 w 6407150"/>
              <a:gd name="connsiteY18" fmla="*/ 231775 h 4616450"/>
              <a:gd name="connsiteX19" fmla="*/ 1568450 w 6407150"/>
              <a:gd name="connsiteY19" fmla="*/ 250825 h 4616450"/>
              <a:gd name="connsiteX20" fmla="*/ 1558925 w 6407150"/>
              <a:gd name="connsiteY20" fmla="*/ 269875 h 4616450"/>
              <a:gd name="connsiteX21" fmla="*/ 1552575 w 6407150"/>
              <a:gd name="connsiteY21" fmla="*/ 288925 h 4616450"/>
              <a:gd name="connsiteX22" fmla="*/ 1543050 w 6407150"/>
              <a:gd name="connsiteY22" fmla="*/ 336550 h 4616450"/>
              <a:gd name="connsiteX23" fmla="*/ 1539875 w 6407150"/>
              <a:gd name="connsiteY23" fmla="*/ 384175 h 4616450"/>
              <a:gd name="connsiteX24" fmla="*/ 1539875 w 6407150"/>
              <a:gd name="connsiteY24" fmla="*/ 415925 h 4616450"/>
              <a:gd name="connsiteX25" fmla="*/ 1543050 w 6407150"/>
              <a:gd name="connsiteY25" fmla="*/ 450850 h 4616450"/>
              <a:gd name="connsiteX26" fmla="*/ 1555750 w 6407150"/>
              <a:gd name="connsiteY26" fmla="*/ 520700 h 4616450"/>
              <a:gd name="connsiteX27" fmla="*/ 1574800 w 6407150"/>
              <a:gd name="connsiteY27" fmla="*/ 596900 h 4616450"/>
              <a:gd name="connsiteX28" fmla="*/ 1600200 w 6407150"/>
              <a:gd name="connsiteY28" fmla="*/ 676275 h 4616450"/>
              <a:gd name="connsiteX29" fmla="*/ 2543175 w 6407150"/>
              <a:gd name="connsiteY29" fmla="*/ 3425825 h 4616450"/>
              <a:gd name="connsiteX30" fmla="*/ 3206750 w 6407150"/>
              <a:gd name="connsiteY30" fmla="*/ 1492250 h 4616450"/>
              <a:gd name="connsiteX31" fmla="*/ 2870200 w 6407150"/>
              <a:gd name="connsiteY31" fmla="*/ 479425 h 4616450"/>
              <a:gd name="connsiteX32" fmla="*/ 2854325 w 6407150"/>
              <a:gd name="connsiteY32" fmla="*/ 431800 h 4616450"/>
              <a:gd name="connsiteX33" fmla="*/ 2835275 w 6407150"/>
              <a:gd name="connsiteY33" fmla="*/ 387350 h 4616450"/>
              <a:gd name="connsiteX34" fmla="*/ 2816225 w 6407150"/>
              <a:gd name="connsiteY34" fmla="*/ 349250 h 4616450"/>
              <a:gd name="connsiteX35" fmla="*/ 2797175 w 6407150"/>
              <a:gd name="connsiteY35" fmla="*/ 311150 h 4616450"/>
              <a:gd name="connsiteX36" fmla="*/ 2778125 w 6407150"/>
              <a:gd name="connsiteY36" fmla="*/ 279400 h 4616450"/>
              <a:gd name="connsiteX37" fmla="*/ 2755900 w 6407150"/>
              <a:gd name="connsiteY37" fmla="*/ 254000 h 4616450"/>
              <a:gd name="connsiteX38" fmla="*/ 2733675 w 6407150"/>
              <a:gd name="connsiteY38" fmla="*/ 228600 h 4616450"/>
              <a:gd name="connsiteX39" fmla="*/ 2711450 w 6407150"/>
              <a:gd name="connsiteY39" fmla="*/ 206375 h 4616450"/>
              <a:gd name="connsiteX40" fmla="*/ 2689225 w 6407150"/>
              <a:gd name="connsiteY40" fmla="*/ 190500 h 4616450"/>
              <a:gd name="connsiteX41" fmla="*/ 2667000 w 6407150"/>
              <a:gd name="connsiteY41" fmla="*/ 174625 h 4616450"/>
              <a:gd name="connsiteX42" fmla="*/ 2641600 w 6407150"/>
              <a:gd name="connsiteY42" fmla="*/ 161925 h 4616450"/>
              <a:gd name="connsiteX43" fmla="*/ 2619375 w 6407150"/>
              <a:gd name="connsiteY43" fmla="*/ 152400 h 4616450"/>
              <a:gd name="connsiteX44" fmla="*/ 2593975 w 6407150"/>
              <a:gd name="connsiteY44" fmla="*/ 142875 h 4616450"/>
              <a:gd name="connsiteX45" fmla="*/ 2568575 w 6407150"/>
              <a:gd name="connsiteY45" fmla="*/ 136525 h 4616450"/>
              <a:gd name="connsiteX46" fmla="*/ 2517775 w 6407150"/>
              <a:gd name="connsiteY46" fmla="*/ 130175 h 4616450"/>
              <a:gd name="connsiteX47" fmla="*/ 2517775 w 6407150"/>
              <a:gd name="connsiteY47" fmla="*/ 0 h 4616450"/>
              <a:gd name="connsiteX48" fmla="*/ 2714625 w 6407150"/>
              <a:gd name="connsiteY48" fmla="*/ 9525 h 4616450"/>
              <a:gd name="connsiteX49" fmla="*/ 2946400 w 6407150"/>
              <a:gd name="connsiteY49" fmla="*/ 15875 h 4616450"/>
              <a:gd name="connsiteX50" fmla="*/ 3194050 w 6407150"/>
              <a:gd name="connsiteY50" fmla="*/ 19050 h 4616450"/>
              <a:gd name="connsiteX51" fmla="*/ 3444875 w 6407150"/>
              <a:gd name="connsiteY51" fmla="*/ 19050 h 4616450"/>
              <a:gd name="connsiteX52" fmla="*/ 3724275 w 6407150"/>
              <a:gd name="connsiteY52" fmla="*/ 19050 h 4616450"/>
              <a:gd name="connsiteX53" fmla="*/ 3978275 w 6407150"/>
              <a:gd name="connsiteY53" fmla="*/ 15875 h 4616450"/>
              <a:gd name="connsiteX54" fmla="*/ 4200525 w 6407150"/>
              <a:gd name="connsiteY54" fmla="*/ 9525 h 4616450"/>
              <a:gd name="connsiteX55" fmla="*/ 4381500 w 6407150"/>
              <a:gd name="connsiteY55" fmla="*/ 0 h 4616450"/>
              <a:gd name="connsiteX56" fmla="*/ 4381500 w 6407150"/>
              <a:gd name="connsiteY56" fmla="*/ 130175 h 4616450"/>
              <a:gd name="connsiteX57" fmla="*/ 4279900 w 6407150"/>
              <a:gd name="connsiteY57" fmla="*/ 136525 h 4616450"/>
              <a:gd name="connsiteX58" fmla="*/ 4187825 w 6407150"/>
              <a:gd name="connsiteY58" fmla="*/ 146050 h 4616450"/>
              <a:gd name="connsiteX59" fmla="*/ 4149725 w 6407150"/>
              <a:gd name="connsiteY59" fmla="*/ 152400 h 4616450"/>
              <a:gd name="connsiteX60" fmla="*/ 4111625 w 6407150"/>
              <a:gd name="connsiteY60" fmla="*/ 161925 h 4616450"/>
              <a:gd name="connsiteX61" fmla="*/ 4079875 w 6407150"/>
              <a:gd name="connsiteY61" fmla="*/ 171450 h 4616450"/>
              <a:gd name="connsiteX62" fmla="*/ 4051300 w 6407150"/>
              <a:gd name="connsiteY62" fmla="*/ 180975 h 4616450"/>
              <a:gd name="connsiteX63" fmla="*/ 4022725 w 6407150"/>
              <a:gd name="connsiteY63" fmla="*/ 196850 h 4616450"/>
              <a:gd name="connsiteX64" fmla="*/ 4000500 w 6407150"/>
              <a:gd name="connsiteY64" fmla="*/ 212725 h 4616450"/>
              <a:gd name="connsiteX65" fmla="*/ 3981450 w 6407150"/>
              <a:gd name="connsiteY65" fmla="*/ 231775 h 4616450"/>
              <a:gd name="connsiteX66" fmla="*/ 3965575 w 6407150"/>
              <a:gd name="connsiteY66" fmla="*/ 254000 h 4616450"/>
              <a:gd name="connsiteX67" fmla="*/ 3952875 w 6407150"/>
              <a:gd name="connsiteY67" fmla="*/ 276225 h 4616450"/>
              <a:gd name="connsiteX68" fmla="*/ 3943350 w 6407150"/>
              <a:gd name="connsiteY68" fmla="*/ 304800 h 4616450"/>
              <a:gd name="connsiteX69" fmla="*/ 3940175 w 6407150"/>
              <a:gd name="connsiteY69" fmla="*/ 336550 h 4616450"/>
              <a:gd name="connsiteX70" fmla="*/ 3937000 w 6407150"/>
              <a:gd name="connsiteY70" fmla="*/ 371475 h 4616450"/>
              <a:gd name="connsiteX71" fmla="*/ 3937000 w 6407150"/>
              <a:gd name="connsiteY71" fmla="*/ 400050 h 4616450"/>
              <a:gd name="connsiteX72" fmla="*/ 3940175 w 6407150"/>
              <a:gd name="connsiteY72" fmla="*/ 431800 h 4616450"/>
              <a:gd name="connsiteX73" fmla="*/ 3952875 w 6407150"/>
              <a:gd name="connsiteY73" fmla="*/ 504825 h 4616450"/>
              <a:gd name="connsiteX74" fmla="*/ 3975100 w 6407150"/>
              <a:gd name="connsiteY74" fmla="*/ 584200 h 4616450"/>
              <a:gd name="connsiteX75" fmla="*/ 4003675 w 6407150"/>
              <a:gd name="connsiteY75" fmla="*/ 676275 h 4616450"/>
              <a:gd name="connsiteX76" fmla="*/ 4895850 w 6407150"/>
              <a:gd name="connsiteY76" fmla="*/ 3397250 h 4616450"/>
              <a:gd name="connsiteX77" fmla="*/ 5514975 w 6407150"/>
              <a:gd name="connsiteY77" fmla="*/ 1428750 h 4616450"/>
              <a:gd name="connsiteX78" fmla="*/ 5549900 w 6407150"/>
              <a:gd name="connsiteY78" fmla="*/ 1314450 h 4616450"/>
              <a:gd name="connsiteX79" fmla="*/ 5578475 w 6407150"/>
              <a:gd name="connsiteY79" fmla="*/ 1203325 h 4616450"/>
              <a:gd name="connsiteX80" fmla="*/ 5603875 w 6407150"/>
              <a:gd name="connsiteY80" fmla="*/ 1101725 h 4616450"/>
              <a:gd name="connsiteX81" fmla="*/ 5626100 w 6407150"/>
              <a:gd name="connsiteY81" fmla="*/ 1003300 h 4616450"/>
              <a:gd name="connsiteX82" fmla="*/ 5641975 w 6407150"/>
              <a:gd name="connsiteY82" fmla="*/ 911225 h 4616450"/>
              <a:gd name="connsiteX83" fmla="*/ 5651500 w 6407150"/>
              <a:gd name="connsiteY83" fmla="*/ 825500 h 4616450"/>
              <a:gd name="connsiteX84" fmla="*/ 5657850 w 6407150"/>
              <a:gd name="connsiteY84" fmla="*/ 746125 h 4616450"/>
              <a:gd name="connsiteX85" fmla="*/ 5661025 w 6407150"/>
              <a:gd name="connsiteY85" fmla="*/ 673100 h 4616450"/>
              <a:gd name="connsiteX86" fmla="*/ 5657850 w 6407150"/>
              <a:gd name="connsiteY86" fmla="*/ 603250 h 4616450"/>
              <a:gd name="connsiteX87" fmla="*/ 5651500 w 6407150"/>
              <a:gd name="connsiteY87" fmla="*/ 539750 h 4616450"/>
              <a:gd name="connsiteX88" fmla="*/ 5638800 w 6407150"/>
              <a:gd name="connsiteY88" fmla="*/ 479425 h 4616450"/>
              <a:gd name="connsiteX89" fmla="*/ 5622925 w 6407150"/>
              <a:gd name="connsiteY89" fmla="*/ 425450 h 4616450"/>
              <a:gd name="connsiteX90" fmla="*/ 5603875 w 6407150"/>
              <a:gd name="connsiteY90" fmla="*/ 374650 h 4616450"/>
              <a:gd name="connsiteX91" fmla="*/ 5578475 w 6407150"/>
              <a:gd name="connsiteY91" fmla="*/ 333375 h 4616450"/>
              <a:gd name="connsiteX92" fmla="*/ 5549900 w 6407150"/>
              <a:gd name="connsiteY92" fmla="*/ 292100 h 4616450"/>
              <a:gd name="connsiteX93" fmla="*/ 5514975 w 6407150"/>
              <a:gd name="connsiteY93" fmla="*/ 260350 h 4616450"/>
              <a:gd name="connsiteX94" fmla="*/ 5480050 w 6407150"/>
              <a:gd name="connsiteY94" fmla="*/ 228600 h 4616450"/>
              <a:gd name="connsiteX95" fmla="*/ 5435600 w 6407150"/>
              <a:gd name="connsiteY95" fmla="*/ 203200 h 4616450"/>
              <a:gd name="connsiteX96" fmla="*/ 5391150 w 6407150"/>
              <a:gd name="connsiteY96" fmla="*/ 180975 h 4616450"/>
              <a:gd name="connsiteX97" fmla="*/ 5340350 w 6407150"/>
              <a:gd name="connsiteY97" fmla="*/ 165100 h 4616450"/>
              <a:gd name="connsiteX98" fmla="*/ 5286375 w 6407150"/>
              <a:gd name="connsiteY98" fmla="*/ 149225 h 4616450"/>
              <a:gd name="connsiteX99" fmla="*/ 5229225 w 6407150"/>
              <a:gd name="connsiteY99" fmla="*/ 139700 h 4616450"/>
              <a:gd name="connsiteX100" fmla="*/ 5168900 w 6407150"/>
              <a:gd name="connsiteY100" fmla="*/ 133350 h 4616450"/>
              <a:gd name="connsiteX101" fmla="*/ 5102225 w 6407150"/>
              <a:gd name="connsiteY101" fmla="*/ 130175 h 4616450"/>
              <a:gd name="connsiteX102" fmla="*/ 5102225 w 6407150"/>
              <a:gd name="connsiteY102" fmla="*/ 0 h 4616450"/>
              <a:gd name="connsiteX103" fmla="*/ 5314950 w 6407150"/>
              <a:gd name="connsiteY103" fmla="*/ 9525 h 4616450"/>
              <a:gd name="connsiteX104" fmla="*/ 5514975 w 6407150"/>
              <a:gd name="connsiteY104" fmla="*/ 15875 h 4616450"/>
              <a:gd name="connsiteX105" fmla="*/ 5711825 w 6407150"/>
              <a:gd name="connsiteY105" fmla="*/ 19050 h 4616450"/>
              <a:gd name="connsiteX106" fmla="*/ 5911850 w 6407150"/>
              <a:gd name="connsiteY106" fmla="*/ 19050 h 4616450"/>
              <a:gd name="connsiteX107" fmla="*/ 6051550 w 6407150"/>
              <a:gd name="connsiteY107" fmla="*/ 19050 h 4616450"/>
              <a:gd name="connsiteX108" fmla="*/ 6181725 w 6407150"/>
              <a:gd name="connsiteY108" fmla="*/ 15875 h 4616450"/>
              <a:gd name="connsiteX109" fmla="*/ 6302375 w 6407150"/>
              <a:gd name="connsiteY109" fmla="*/ 9525 h 4616450"/>
              <a:gd name="connsiteX110" fmla="*/ 6407150 w 6407150"/>
              <a:gd name="connsiteY110" fmla="*/ 0 h 4616450"/>
              <a:gd name="connsiteX111" fmla="*/ 6407150 w 6407150"/>
              <a:gd name="connsiteY111" fmla="*/ 130175 h 4616450"/>
              <a:gd name="connsiteX112" fmla="*/ 6372225 w 6407150"/>
              <a:gd name="connsiteY112" fmla="*/ 146050 h 4616450"/>
              <a:gd name="connsiteX113" fmla="*/ 6334125 w 6407150"/>
              <a:gd name="connsiteY113" fmla="*/ 165100 h 4616450"/>
              <a:gd name="connsiteX114" fmla="*/ 6299200 w 6407150"/>
              <a:gd name="connsiteY114" fmla="*/ 187325 h 4616450"/>
              <a:gd name="connsiteX115" fmla="*/ 6261100 w 6407150"/>
              <a:gd name="connsiteY115" fmla="*/ 212725 h 4616450"/>
              <a:gd name="connsiteX116" fmla="*/ 6223000 w 6407150"/>
              <a:gd name="connsiteY116" fmla="*/ 241300 h 4616450"/>
              <a:gd name="connsiteX117" fmla="*/ 6184900 w 6407150"/>
              <a:gd name="connsiteY117" fmla="*/ 276225 h 4616450"/>
              <a:gd name="connsiteX118" fmla="*/ 6146800 w 6407150"/>
              <a:gd name="connsiteY118" fmla="*/ 314325 h 4616450"/>
              <a:gd name="connsiteX119" fmla="*/ 6108700 w 6407150"/>
              <a:gd name="connsiteY119" fmla="*/ 358775 h 4616450"/>
              <a:gd name="connsiteX120" fmla="*/ 6070600 w 6407150"/>
              <a:gd name="connsiteY120" fmla="*/ 406400 h 4616450"/>
              <a:gd name="connsiteX121" fmla="*/ 6035675 w 6407150"/>
              <a:gd name="connsiteY121" fmla="*/ 460375 h 4616450"/>
              <a:gd name="connsiteX122" fmla="*/ 5997575 w 6407150"/>
              <a:gd name="connsiteY122" fmla="*/ 520700 h 4616450"/>
              <a:gd name="connsiteX123" fmla="*/ 5965825 w 6407150"/>
              <a:gd name="connsiteY123" fmla="*/ 584200 h 4616450"/>
              <a:gd name="connsiteX124" fmla="*/ 5930900 w 6407150"/>
              <a:gd name="connsiteY124" fmla="*/ 654050 h 4616450"/>
              <a:gd name="connsiteX125" fmla="*/ 5899150 w 6407150"/>
              <a:gd name="connsiteY125" fmla="*/ 730250 h 4616450"/>
              <a:gd name="connsiteX126" fmla="*/ 5867400 w 6407150"/>
              <a:gd name="connsiteY126" fmla="*/ 812800 h 4616450"/>
              <a:gd name="connsiteX127" fmla="*/ 5838825 w 6407150"/>
              <a:gd name="connsiteY127" fmla="*/ 901700 h 4616450"/>
              <a:gd name="connsiteX128" fmla="*/ 4692650 w 6407150"/>
              <a:gd name="connsiteY128" fmla="*/ 4616450 h 4616450"/>
              <a:gd name="connsiteX129" fmla="*/ 4581525 w 6407150"/>
              <a:gd name="connsiteY129" fmla="*/ 4613275 h 4616450"/>
              <a:gd name="connsiteX130" fmla="*/ 4464050 w 6407150"/>
              <a:gd name="connsiteY130" fmla="*/ 4610100 h 4616450"/>
              <a:gd name="connsiteX131" fmla="*/ 4349750 w 6407150"/>
              <a:gd name="connsiteY131" fmla="*/ 4613275 h 4616450"/>
              <a:gd name="connsiteX132" fmla="*/ 4241800 w 6407150"/>
              <a:gd name="connsiteY132" fmla="*/ 4616450 h 4616450"/>
              <a:gd name="connsiteX133" fmla="*/ 3282950 w 6407150"/>
              <a:gd name="connsiteY133" fmla="*/ 1724025 h 4616450"/>
              <a:gd name="connsiteX134" fmla="*/ 2317750 w 6407150"/>
              <a:gd name="connsiteY134" fmla="*/ 4616450 h 4616450"/>
              <a:gd name="connsiteX135" fmla="*/ 2206625 w 6407150"/>
              <a:gd name="connsiteY135" fmla="*/ 4613275 h 4616450"/>
              <a:gd name="connsiteX136" fmla="*/ 2089150 w 6407150"/>
              <a:gd name="connsiteY136" fmla="*/ 4610100 h 4616450"/>
              <a:gd name="connsiteX137" fmla="*/ 1974850 w 6407150"/>
              <a:gd name="connsiteY137" fmla="*/ 4613275 h 4616450"/>
              <a:gd name="connsiteX138" fmla="*/ 1866900 w 6407150"/>
              <a:gd name="connsiteY138" fmla="*/ 4616450 h 4616450"/>
              <a:gd name="connsiteX139" fmla="*/ 409575 w 6407150"/>
              <a:gd name="connsiteY139" fmla="*/ 546100 h 4616450"/>
              <a:gd name="connsiteX140" fmla="*/ 387350 w 6407150"/>
              <a:gd name="connsiteY140" fmla="*/ 488950 h 4616450"/>
              <a:gd name="connsiteX141" fmla="*/ 365125 w 6407150"/>
              <a:gd name="connsiteY141" fmla="*/ 438150 h 4616450"/>
              <a:gd name="connsiteX142" fmla="*/ 339725 w 6407150"/>
              <a:gd name="connsiteY142" fmla="*/ 390525 h 4616450"/>
              <a:gd name="connsiteX143" fmla="*/ 314325 w 6407150"/>
              <a:gd name="connsiteY143" fmla="*/ 349250 h 4616450"/>
              <a:gd name="connsiteX144" fmla="*/ 288925 w 6407150"/>
              <a:gd name="connsiteY144" fmla="*/ 311150 h 4616450"/>
              <a:gd name="connsiteX145" fmla="*/ 263525 w 6407150"/>
              <a:gd name="connsiteY145" fmla="*/ 279400 h 4616450"/>
              <a:gd name="connsiteX146" fmla="*/ 234950 w 6407150"/>
              <a:gd name="connsiteY146" fmla="*/ 247650 h 4616450"/>
              <a:gd name="connsiteX147" fmla="*/ 209550 w 6407150"/>
              <a:gd name="connsiteY147" fmla="*/ 222250 h 4616450"/>
              <a:gd name="connsiteX148" fmla="*/ 180975 w 6407150"/>
              <a:gd name="connsiteY148" fmla="*/ 200025 h 4616450"/>
              <a:gd name="connsiteX149" fmla="*/ 152400 w 6407150"/>
              <a:gd name="connsiteY149" fmla="*/ 180975 h 4616450"/>
              <a:gd name="connsiteX150" fmla="*/ 127000 w 6407150"/>
              <a:gd name="connsiteY150" fmla="*/ 165100 h 4616450"/>
              <a:gd name="connsiteX151" fmla="*/ 101600 w 6407150"/>
              <a:gd name="connsiteY151" fmla="*/ 152400 h 4616450"/>
              <a:gd name="connsiteX152" fmla="*/ 73025 w 6407150"/>
              <a:gd name="connsiteY152" fmla="*/ 142875 h 4616450"/>
              <a:gd name="connsiteX153" fmla="*/ 47625 w 6407150"/>
              <a:gd name="connsiteY153" fmla="*/ 136525 h 4616450"/>
              <a:gd name="connsiteX154" fmla="*/ 22225 w 6407150"/>
              <a:gd name="connsiteY154" fmla="*/ 133350 h 4616450"/>
              <a:gd name="connsiteX155" fmla="*/ 0 w 6407150"/>
              <a:gd name="connsiteY155" fmla="*/ 130175 h 4616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6407150" h="4616450">
                <a:moveTo>
                  <a:pt x="0" y="0"/>
                </a:moveTo>
                <a:lnTo>
                  <a:pt x="212725" y="9525"/>
                </a:lnTo>
                <a:lnTo>
                  <a:pt x="457200" y="15875"/>
                </a:lnTo>
                <a:lnTo>
                  <a:pt x="714375" y="19050"/>
                </a:lnTo>
                <a:lnTo>
                  <a:pt x="968375" y="19050"/>
                </a:lnTo>
                <a:lnTo>
                  <a:pt x="1216025" y="19050"/>
                </a:lnTo>
                <a:lnTo>
                  <a:pt x="1435100" y="15875"/>
                </a:lnTo>
                <a:lnTo>
                  <a:pt x="1619250" y="9525"/>
                </a:lnTo>
                <a:lnTo>
                  <a:pt x="1768475" y="0"/>
                </a:lnTo>
                <a:lnTo>
                  <a:pt x="1768475" y="130175"/>
                </a:lnTo>
                <a:lnTo>
                  <a:pt x="1736725" y="136525"/>
                </a:lnTo>
                <a:lnTo>
                  <a:pt x="1711325" y="142875"/>
                </a:lnTo>
                <a:lnTo>
                  <a:pt x="1685925" y="149225"/>
                </a:lnTo>
                <a:lnTo>
                  <a:pt x="1660525" y="158750"/>
                </a:lnTo>
                <a:lnTo>
                  <a:pt x="1641475" y="171450"/>
                </a:lnTo>
                <a:lnTo>
                  <a:pt x="1622425" y="184150"/>
                </a:lnTo>
                <a:lnTo>
                  <a:pt x="1606550" y="200025"/>
                </a:lnTo>
                <a:lnTo>
                  <a:pt x="1590675" y="215900"/>
                </a:lnTo>
                <a:lnTo>
                  <a:pt x="1577975" y="231775"/>
                </a:lnTo>
                <a:lnTo>
                  <a:pt x="1568450" y="250825"/>
                </a:lnTo>
                <a:lnTo>
                  <a:pt x="1558925" y="269875"/>
                </a:lnTo>
                <a:lnTo>
                  <a:pt x="1552575" y="288925"/>
                </a:lnTo>
                <a:lnTo>
                  <a:pt x="1543050" y="336550"/>
                </a:lnTo>
                <a:lnTo>
                  <a:pt x="1539875" y="384175"/>
                </a:lnTo>
                <a:lnTo>
                  <a:pt x="1539875" y="415925"/>
                </a:lnTo>
                <a:lnTo>
                  <a:pt x="1543050" y="450850"/>
                </a:lnTo>
                <a:lnTo>
                  <a:pt x="1555750" y="520700"/>
                </a:lnTo>
                <a:lnTo>
                  <a:pt x="1574800" y="596900"/>
                </a:lnTo>
                <a:lnTo>
                  <a:pt x="1600200" y="676275"/>
                </a:lnTo>
                <a:lnTo>
                  <a:pt x="2543175" y="3425825"/>
                </a:lnTo>
                <a:lnTo>
                  <a:pt x="3206750" y="1492250"/>
                </a:lnTo>
                <a:lnTo>
                  <a:pt x="2870200" y="479425"/>
                </a:lnTo>
                <a:lnTo>
                  <a:pt x="2854325" y="431800"/>
                </a:lnTo>
                <a:lnTo>
                  <a:pt x="2835275" y="387350"/>
                </a:lnTo>
                <a:lnTo>
                  <a:pt x="2816225" y="349250"/>
                </a:lnTo>
                <a:lnTo>
                  <a:pt x="2797175" y="311150"/>
                </a:lnTo>
                <a:lnTo>
                  <a:pt x="2778125" y="279400"/>
                </a:lnTo>
                <a:lnTo>
                  <a:pt x="2755900" y="254000"/>
                </a:lnTo>
                <a:lnTo>
                  <a:pt x="2733675" y="228600"/>
                </a:lnTo>
                <a:lnTo>
                  <a:pt x="2711450" y="206375"/>
                </a:lnTo>
                <a:lnTo>
                  <a:pt x="2689225" y="190500"/>
                </a:lnTo>
                <a:lnTo>
                  <a:pt x="2667000" y="174625"/>
                </a:lnTo>
                <a:lnTo>
                  <a:pt x="2641600" y="161925"/>
                </a:lnTo>
                <a:lnTo>
                  <a:pt x="2619375" y="152400"/>
                </a:lnTo>
                <a:lnTo>
                  <a:pt x="2593975" y="142875"/>
                </a:lnTo>
                <a:lnTo>
                  <a:pt x="2568575" y="136525"/>
                </a:lnTo>
                <a:lnTo>
                  <a:pt x="2517775" y="130175"/>
                </a:lnTo>
                <a:lnTo>
                  <a:pt x="2517775" y="0"/>
                </a:lnTo>
                <a:lnTo>
                  <a:pt x="2714625" y="9525"/>
                </a:lnTo>
                <a:lnTo>
                  <a:pt x="2946400" y="15875"/>
                </a:lnTo>
                <a:lnTo>
                  <a:pt x="3194050" y="19050"/>
                </a:lnTo>
                <a:lnTo>
                  <a:pt x="3444875" y="19050"/>
                </a:lnTo>
                <a:lnTo>
                  <a:pt x="3724275" y="19050"/>
                </a:lnTo>
                <a:lnTo>
                  <a:pt x="3978275" y="15875"/>
                </a:lnTo>
                <a:lnTo>
                  <a:pt x="4200525" y="9525"/>
                </a:lnTo>
                <a:lnTo>
                  <a:pt x="4381500" y="0"/>
                </a:lnTo>
                <a:lnTo>
                  <a:pt x="4381500" y="130175"/>
                </a:lnTo>
                <a:lnTo>
                  <a:pt x="4279900" y="136525"/>
                </a:lnTo>
                <a:lnTo>
                  <a:pt x="4187825" y="146050"/>
                </a:lnTo>
                <a:lnTo>
                  <a:pt x="4149725" y="152400"/>
                </a:lnTo>
                <a:lnTo>
                  <a:pt x="4111625" y="161925"/>
                </a:lnTo>
                <a:lnTo>
                  <a:pt x="4079875" y="171450"/>
                </a:lnTo>
                <a:lnTo>
                  <a:pt x="4051300" y="180975"/>
                </a:lnTo>
                <a:lnTo>
                  <a:pt x="4022725" y="196850"/>
                </a:lnTo>
                <a:lnTo>
                  <a:pt x="4000500" y="212725"/>
                </a:lnTo>
                <a:lnTo>
                  <a:pt x="3981450" y="231775"/>
                </a:lnTo>
                <a:lnTo>
                  <a:pt x="3965575" y="254000"/>
                </a:lnTo>
                <a:lnTo>
                  <a:pt x="3952875" y="276225"/>
                </a:lnTo>
                <a:lnTo>
                  <a:pt x="3943350" y="304800"/>
                </a:lnTo>
                <a:lnTo>
                  <a:pt x="3940175" y="336550"/>
                </a:lnTo>
                <a:lnTo>
                  <a:pt x="3937000" y="371475"/>
                </a:lnTo>
                <a:lnTo>
                  <a:pt x="3937000" y="400050"/>
                </a:lnTo>
                <a:lnTo>
                  <a:pt x="3940175" y="431800"/>
                </a:lnTo>
                <a:lnTo>
                  <a:pt x="3952875" y="504825"/>
                </a:lnTo>
                <a:lnTo>
                  <a:pt x="3975100" y="584200"/>
                </a:lnTo>
                <a:lnTo>
                  <a:pt x="4003675" y="676275"/>
                </a:lnTo>
                <a:lnTo>
                  <a:pt x="4895850" y="3397250"/>
                </a:lnTo>
                <a:lnTo>
                  <a:pt x="5514975" y="1428750"/>
                </a:lnTo>
                <a:lnTo>
                  <a:pt x="5549900" y="1314450"/>
                </a:lnTo>
                <a:lnTo>
                  <a:pt x="5578475" y="1203325"/>
                </a:lnTo>
                <a:lnTo>
                  <a:pt x="5603875" y="1101725"/>
                </a:lnTo>
                <a:lnTo>
                  <a:pt x="5626100" y="1003300"/>
                </a:lnTo>
                <a:lnTo>
                  <a:pt x="5641975" y="911225"/>
                </a:lnTo>
                <a:lnTo>
                  <a:pt x="5651500" y="825500"/>
                </a:lnTo>
                <a:lnTo>
                  <a:pt x="5657850" y="746125"/>
                </a:lnTo>
                <a:lnTo>
                  <a:pt x="5661025" y="673100"/>
                </a:lnTo>
                <a:lnTo>
                  <a:pt x="5657850" y="603250"/>
                </a:lnTo>
                <a:lnTo>
                  <a:pt x="5651500" y="539750"/>
                </a:lnTo>
                <a:lnTo>
                  <a:pt x="5638800" y="479425"/>
                </a:lnTo>
                <a:lnTo>
                  <a:pt x="5622925" y="425450"/>
                </a:lnTo>
                <a:lnTo>
                  <a:pt x="5603875" y="374650"/>
                </a:lnTo>
                <a:lnTo>
                  <a:pt x="5578475" y="333375"/>
                </a:lnTo>
                <a:lnTo>
                  <a:pt x="5549900" y="292100"/>
                </a:lnTo>
                <a:lnTo>
                  <a:pt x="5514975" y="260350"/>
                </a:lnTo>
                <a:lnTo>
                  <a:pt x="5480050" y="228600"/>
                </a:lnTo>
                <a:lnTo>
                  <a:pt x="5435600" y="203200"/>
                </a:lnTo>
                <a:lnTo>
                  <a:pt x="5391150" y="180975"/>
                </a:lnTo>
                <a:lnTo>
                  <a:pt x="5340350" y="165100"/>
                </a:lnTo>
                <a:lnTo>
                  <a:pt x="5286375" y="149225"/>
                </a:lnTo>
                <a:lnTo>
                  <a:pt x="5229225" y="139700"/>
                </a:lnTo>
                <a:lnTo>
                  <a:pt x="5168900" y="133350"/>
                </a:lnTo>
                <a:lnTo>
                  <a:pt x="5102225" y="130175"/>
                </a:lnTo>
                <a:lnTo>
                  <a:pt x="5102225" y="0"/>
                </a:lnTo>
                <a:lnTo>
                  <a:pt x="5314950" y="9525"/>
                </a:lnTo>
                <a:lnTo>
                  <a:pt x="5514975" y="15875"/>
                </a:lnTo>
                <a:lnTo>
                  <a:pt x="5711825" y="19050"/>
                </a:lnTo>
                <a:lnTo>
                  <a:pt x="5911850" y="19050"/>
                </a:lnTo>
                <a:lnTo>
                  <a:pt x="6051550" y="19050"/>
                </a:lnTo>
                <a:lnTo>
                  <a:pt x="6181725" y="15875"/>
                </a:lnTo>
                <a:lnTo>
                  <a:pt x="6302375" y="9525"/>
                </a:lnTo>
                <a:lnTo>
                  <a:pt x="6407150" y="0"/>
                </a:lnTo>
                <a:lnTo>
                  <a:pt x="6407150" y="130175"/>
                </a:lnTo>
                <a:lnTo>
                  <a:pt x="6372225" y="146050"/>
                </a:lnTo>
                <a:lnTo>
                  <a:pt x="6334125" y="165100"/>
                </a:lnTo>
                <a:lnTo>
                  <a:pt x="6299200" y="187325"/>
                </a:lnTo>
                <a:lnTo>
                  <a:pt x="6261100" y="212725"/>
                </a:lnTo>
                <a:lnTo>
                  <a:pt x="6223000" y="241300"/>
                </a:lnTo>
                <a:lnTo>
                  <a:pt x="6184900" y="276225"/>
                </a:lnTo>
                <a:lnTo>
                  <a:pt x="6146800" y="314325"/>
                </a:lnTo>
                <a:lnTo>
                  <a:pt x="6108700" y="358775"/>
                </a:lnTo>
                <a:lnTo>
                  <a:pt x="6070600" y="406400"/>
                </a:lnTo>
                <a:lnTo>
                  <a:pt x="6035675" y="460375"/>
                </a:lnTo>
                <a:lnTo>
                  <a:pt x="5997575" y="520700"/>
                </a:lnTo>
                <a:lnTo>
                  <a:pt x="5965825" y="584200"/>
                </a:lnTo>
                <a:lnTo>
                  <a:pt x="5930900" y="654050"/>
                </a:lnTo>
                <a:lnTo>
                  <a:pt x="5899150" y="730250"/>
                </a:lnTo>
                <a:lnTo>
                  <a:pt x="5867400" y="812800"/>
                </a:lnTo>
                <a:lnTo>
                  <a:pt x="5838825" y="901700"/>
                </a:lnTo>
                <a:lnTo>
                  <a:pt x="4692650" y="4616450"/>
                </a:lnTo>
                <a:lnTo>
                  <a:pt x="4581525" y="4613275"/>
                </a:lnTo>
                <a:lnTo>
                  <a:pt x="4464050" y="4610100"/>
                </a:lnTo>
                <a:lnTo>
                  <a:pt x="4349750" y="4613275"/>
                </a:lnTo>
                <a:lnTo>
                  <a:pt x="4241800" y="4616450"/>
                </a:lnTo>
                <a:lnTo>
                  <a:pt x="3282950" y="1724025"/>
                </a:lnTo>
                <a:lnTo>
                  <a:pt x="2317750" y="4616450"/>
                </a:lnTo>
                <a:lnTo>
                  <a:pt x="2206625" y="4613275"/>
                </a:lnTo>
                <a:lnTo>
                  <a:pt x="2089150" y="4610100"/>
                </a:lnTo>
                <a:lnTo>
                  <a:pt x="1974850" y="4613275"/>
                </a:lnTo>
                <a:lnTo>
                  <a:pt x="1866900" y="4616450"/>
                </a:lnTo>
                <a:lnTo>
                  <a:pt x="409575" y="546100"/>
                </a:lnTo>
                <a:lnTo>
                  <a:pt x="387350" y="488950"/>
                </a:lnTo>
                <a:lnTo>
                  <a:pt x="365125" y="438150"/>
                </a:lnTo>
                <a:lnTo>
                  <a:pt x="339725" y="390525"/>
                </a:lnTo>
                <a:lnTo>
                  <a:pt x="314325" y="349250"/>
                </a:lnTo>
                <a:lnTo>
                  <a:pt x="288925" y="311150"/>
                </a:lnTo>
                <a:lnTo>
                  <a:pt x="263525" y="279400"/>
                </a:lnTo>
                <a:lnTo>
                  <a:pt x="234950" y="247650"/>
                </a:lnTo>
                <a:lnTo>
                  <a:pt x="209550" y="222250"/>
                </a:lnTo>
                <a:lnTo>
                  <a:pt x="180975" y="200025"/>
                </a:lnTo>
                <a:lnTo>
                  <a:pt x="152400" y="180975"/>
                </a:lnTo>
                <a:lnTo>
                  <a:pt x="127000" y="165100"/>
                </a:lnTo>
                <a:lnTo>
                  <a:pt x="101600" y="152400"/>
                </a:lnTo>
                <a:lnTo>
                  <a:pt x="73025" y="142875"/>
                </a:lnTo>
                <a:lnTo>
                  <a:pt x="47625" y="136525"/>
                </a:lnTo>
                <a:lnTo>
                  <a:pt x="22225" y="133350"/>
                </a:lnTo>
                <a:lnTo>
                  <a:pt x="0" y="130175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747604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7445374" y="1914524"/>
            <a:ext cx="9493252" cy="9886952"/>
          </a:xfrm>
          <a:custGeom>
            <a:avLst/>
            <a:gdLst>
              <a:gd name="connsiteX0" fmla="*/ 2373313 w 4746626"/>
              <a:gd name="connsiteY0" fmla="*/ 134937 h 4943476"/>
              <a:gd name="connsiteX1" fmla="*/ 1103312 w 4746626"/>
              <a:gd name="connsiteY1" fmla="*/ 2471737 h 4943476"/>
              <a:gd name="connsiteX2" fmla="*/ 2373313 w 4746626"/>
              <a:gd name="connsiteY2" fmla="*/ 4808537 h 4943476"/>
              <a:gd name="connsiteX3" fmla="*/ 3643314 w 4746626"/>
              <a:gd name="connsiteY3" fmla="*/ 2471737 h 4943476"/>
              <a:gd name="connsiteX4" fmla="*/ 2373313 w 4746626"/>
              <a:gd name="connsiteY4" fmla="*/ 134937 h 4943476"/>
              <a:gd name="connsiteX5" fmla="*/ 2373313 w 4746626"/>
              <a:gd name="connsiteY5" fmla="*/ 0 h 4943476"/>
              <a:gd name="connsiteX6" fmla="*/ 4746626 w 4746626"/>
              <a:gd name="connsiteY6" fmla="*/ 2471738 h 4943476"/>
              <a:gd name="connsiteX7" fmla="*/ 2373313 w 4746626"/>
              <a:gd name="connsiteY7" fmla="*/ 4943476 h 4943476"/>
              <a:gd name="connsiteX8" fmla="*/ 0 w 4746626"/>
              <a:gd name="connsiteY8" fmla="*/ 2471738 h 4943476"/>
              <a:gd name="connsiteX9" fmla="*/ 2373313 w 4746626"/>
              <a:gd name="connsiteY9" fmla="*/ 0 h 494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6626" h="4943476">
                <a:moveTo>
                  <a:pt x="2373313" y="134937"/>
                </a:moveTo>
                <a:cubicBezTo>
                  <a:pt x="1671911" y="134937"/>
                  <a:pt x="1103312" y="1181158"/>
                  <a:pt x="1103312" y="2471737"/>
                </a:cubicBezTo>
                <a:cubicBezTo>
                  <a:pt x="1103312" y="3762316"/>
                  <a:pt x="1671911" y="4808537"/>
                  <a:pt x="2373313" y="4808537"/>
                </a:cubicBezTo>
                <a:cubicBezTo>
                  <a:pt x="3074715" y="4808537"/>
                  <a:pt x="3643314" y="3762316"/>
                  <a:pt x="3643314" y="2471737"/>
                </a:cubicBezTo>
                <a:cubicBezTo>
                  <a:pt x="3643314" y="1181158"/>
                  <a:pt x="3074715" y="134937"/>
                  <a:pt x="2373313" y="134937"/>
                </a:cubicBezTo>
                <a:close/>
                <a:moveTo>
                  <a:pt x="2373313" y="0"/>
                </a:moveTo>
                <a:cubicBezTo>
                  <a:pt x="3684058" y="0"/>
                  <a:pt x="4746626" y="1106635"/>
                  <a:pt x="4746626" y="2471738"/>
                </a:cubicBezTo>
                <a:cubicBezTo>
                  <a:pt x="4746626" y="3836841"/>
                  <a:pt x="3684058" y="4943476"/>
                  <a:pt x="2373313" y="4943476"/>
                </a:cubicBezTo>
                <a:cubicBezTo>
                  <a:pt x="1062568" y="4943476"/>
                  <a:pt x="0" y="3836841"/>
                  <a:pt x="0" y="2471738"/>
                </a:cubicBezTo>
                <a:cubicBezTo>
                  <a:pt x="0" y="1106635"/>
                  <a:pt x="1062568" y="0"/>
                  <a:pt x="2373313" y="0"/>
                </a:cubicBez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21987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5428912" y="2583545"/>
            <a:ext cx="7835900" cy="8985250"/>
          </a:xfrm>
          <a:custGeom>
            <a:avLst/>
            <a:gdLst>
              <a:gd name="connsiteX0" fmla="*/ 0 w 3917950"/>
              <a:gd name="connsiteY0" fmla="*/ 0 h 4492625"/>
              <a:gd name="connsiteX1" fmla="*/ 225425 w 3917950"/>
              <a:gd name="connsiteY1" fmla="*/ 6350 h 4492625"/>
              <a:gd name="connsiteX2" fmla="*/ 466725 w 3917950"/>
              <a:gd name="connsiteY2" fmla="*/ 9525 h 4492625"/>
              <a:gd name="connsiteX3" fmla="*/ 984250 w 3917950"/>
              <a:gd name="connsiteY3" fmla="*/ 15875 h 4492625"/>
              <a:gd name="connsiteX4" fmla="*/ 1495425 w 3917950"/>
              <a:gd name="connsiteY4" fmla="*/ 15875 h 4492625"/>
              <a:gd name="connsiteX5" fmla="*/ 1962150 w 3917950"/>
              <a:gd name="connsiteY5" fmla="*/ 19050 h 4492625"/>
              <a:gd name="connsiteX6" fmla="*/ 2425700 w 3917950"/>
              <a:gd name="connsiteY6" fmla="*/ 15875 h 4492625"/>
              <a:gd name="connsiteX7" fmla="*/ 2936875 w 3917950"/>
              <a:gd name="connsiteY7" fmla="*/ 15875 h 4492625"/>
              <a:gd name="connsiteX8" fmla="*/ 3451225 w 3917950"/>
              <a:gd name="connsiteY8" fmla="*/ 9525 h 4492625"/>
              <a:gd name="connsiteX9" fmla="*/ 3692525 w 3917950"/>
              <a:gd name="connsiteY9" fmla="*/ 6350 h 4492625"/>
              <a:gd name="connsiteX10" fmla="*/ 3917950 w 3917950"/>
              <a:gd name="connsiteY10" fmla="*/ 0 h 4492625"/>
              <a:gd name="connsiteX11" fmla="*/ 3895725 w 3917950"/>
              <a:gd name="connsiteY11" fmla="*/ 320675 h 4492625"/>
              <a:gd name="connsiteX12" fmla="*/ 3879850 w 3917950"/>
              <a:gd name="connsiteY12" fmla="*/ 622300 h 4492625"/>
              <a:gd name="connsiteX13" fmla="*/ 3873500 w 3917950"/>
              <a:gd name="connsiteY13" fmla="*/ 879475 h 4492625"/>
              <a:gd name="connsiteX14" fmla="*/ 3870325 w 3917950"/>
              <a:gd name="connsiteY14" fmla="*/ 1076325 h 4492625"/>
              <a:gd name="connsiteX15" fmla="*/ 3873500 w 3917950"/>
              <a:gd name="connsiteY15" fmla="*/ 1216025 h 4492625"/>
              <a:gd name="connsiteX16" fmla="*/ 3876675 w 3917950"/>
              <a:gd name="connsiteY16" fmla="*/ 1346200 h 4492625"/>
              <a:gd name="connsiteX17" fmla="*/ 3879850 w 3917950"/>
              <a:gd name="connsiteY17" fmla="*/ 1463675 h 4492625"/>
              <a:gd name="connsiteX18" fmla="*/ 3889375 w 3917950"/>
              <a:gd name="connsiteY18" fmla="*/ 1562100 h 4492625"/>
              <a:gd name="connsiteX19" fmla="*/ 3743325 w 3917950"/>
              <a:gd name="connsiteY19" fmla="*/ 1562100 h 4492625"/>
              <a:gd name="connsiteX20" fmla="*/ 3702050 w 3917950"/>
              <a:gd name="connsiteY20" fmla="*/ 1368425 h 4492625"/>
              <a:gd name="connsiteX21" fmla="*/ 3657600 w 3917950"/>
              <a:gd name="connsiteY21" fmla="*/ 1193800 h 4492625"/>
              <a:gd name="connsiteX22" fmla="*/ 3635375 w 3917950"/>
              <a:gd name="connsiteY22" fmla="*/ 1111250 h 4492625"/>
              <a:gd name="connsiteX23" fmla="*/ 3609975 w 3917950"/>
              <a:gd name="connsiteY23" fmla="*/ 1035050 h 4492625"/>
              <a:gd name="connsiteX24" fmla="*/ 3584575 w 3917950"/>
              <a:gd name="connsiteY24" fmla="*/ 958850 h 4492625"/>
              <a:gd name="connsiteX25" fmla="*/ 3559175 w 3917950"/>
              <a:gd name="connsiteY25" fmla="*/ 889000 h 4492625"/>
              <a:gd name="connsiteX26" fmla="*/ 3530600 w 3917950"/>
              <a:gd name="connsiteY26" fmla="*/ 822325 h 4492625"/>
              <a:gd name="connsiteX27" fmla="*/ 3505200 w 3917950"/>
              <a:gd name="connsiteY27" fmla="*/ 758825 h 4492625"/>
              <a:gd name="connsiteX28" fmla="*/ 3473450 w 3917950"/>
              <a:gd name="connsiteY28" fmla="*/ 698500 h 4492625"/>
              <a:gd name="connsiteX29" fmla="*/ 3444875 w 3917950"/>
              <a:gd name="connsiteY29" fmla="*/ 644525 h 4492625"/>
              <a:gd name="connsiteX30" fmla="*/ 3413125 w 3917950"/>
              <a:gd name="connsiteY30" fmla="*/ 590550 h 4492625"/>
              <a:gd name="connsiteX31" fmla="*/ 3381375 w 3917950"/>
              <a:gd name="connsiteY31" fmla="*/ 539750 h 4492625"/>
              <a:gd name="connsiteX32" fmla="*/ 3349625 w 3917950"/>
              <a:gd name="connsiteY32" fmla="*/ 495300 h 4492625"/>
              <a:gd name="connsiteX33" fmla="*/ 3314700 w 3917950"/>
              <a:gd name="connsiteY33" fmla="*/ 450850 h 4492625"/>
              <a:gd name="connsiteX34" fmla="*/ 3279775 w 3917950"/>
              <a:gd name="connsiteY34" fmla="*/ 412750 h 4492625"/>
              <a:gd name="connsiteX35" fmla="*/ 3244850 w 3917950"/>
              <a:gd name="connsiteY35" fmla="*/ 374650 h 4492625"/>
              <a:gd name="connsiteX36" fmla="*/ 3206750 w 3917950"/>
              <a:gd name="connsiteY36" fmla="*/ 342900 h 4492625"/>
              <a:gd name="connsiteX37" fmla="*/ 3168650 w 3917950"/>
              <a:gd name="connsiteY37" fmla="*/ 311150 h 4492625"/>
              <a:gd name="connsiteX38" fmla="*/ 3127375 w 3917950"/>
              <a:gd name="connsiteY38" fmla="*/ 282575 h 4492625"/>
              <a:gd name="connsiteX39" fmla="*/ 3086100 w 3917950"/>
              <a:gd name="connsiteY39" fmla="*/ 257175 h 4492625"/>
              <a:gd name="connsiteX40" fmla="*/ 3044825 w 3917950"/>
              <a:gd name="connsiteY40" fmla="*/ 234950 h 4492625"/>
              <a:gd name="connsiteX41" fmla="*/ 3000375 w 3917950"/>
              <a:gd name="connsiteY41" fmla="*/ 215900 h 4492625"/>
              <a:gd name="connsiteX42" fmla="*/ 2955925 w 3917950"/>
              <a:gd name="connsiteY42" fmla="*/ 200025 h 4492625"/>
              <a:gd name="connsiteX43" fmla="*/ 2911475 w 3917950"/>
              <a:gd name="connsiteY43" fmla="*/ 184150 h 4492625"/>
              <a:gd name="connsiteX44" fmla="*/ 2863850 w 3917950"/>
              <a:gd name="connsiteY44" fmla="*/ 171450 h 4492625"/>
              <a:gd name="connsiteX45" fmla="*/ 2813050 w 3917950"/>
              <a:gd name="connsiteY45" fmla="*/ 161925 h 4492625"/>
              <a:gd name="connsiteX46" fmla="*/ 2762250 w 3917950"/>
              <a:gd name="connsiteY46" fmla="*/ 155575 h 4492625"/>
              <a:gd name="connsiteX47" fmla="*/ 2711450 w 3917950"/>
              <a:gd name="connsiteY47" fmla="*/ 149225 h 4492625"/>
              <a:gd name="connsiteX48" fmla="*/ 2657475 w 3917950"/>
              <a:gd name="connsiteY48" fmla="*/ 146050 h 4492625"/>
              <a:gd name="connsiteX49" fmla="*/ 2603500 w 3917950"/>
              <a:gd name="connsiteY49" fmla="*/ 146050 h 4492625"/>
              <a:gd name="connsiteX50" fmla="*/ 2463800 w 3917950"/>
              <a:gd name="connsiteY50" fmla="*/ 146050 h 4492625"/>
              <a:gd name="connsiteX51" fmla="*/ 2463800 w 3917950"/>
              <a:gd name="connsiteY51" fmla="*/ 3768725 h 4492625"/>
              <a:gd name="connsiteX52" fmla="*/ 2463800 w 3917950"/>
              <a:gd name="connsiteY52" fmla="*/ 3860800 h 4492625"/>
              <a:gd name="connsiteX53" fmla="*/ 2470150 w 3917950"/>
              <a:gd name="connsiteY53" fmla="*/ 3943350 h 4492625"/>
              <a:gd name="connsiteX54" fmla="*/ 2476500 w 3917950"/>
              <a:gd name="connsiteY54" fmla="*/ 4016375 h 4492625"/>
              <a:gd name="connsiteX55" fmla="*/ 2489200 w 3917950"/>
              <a:gd name="connsiteY55" fmla="*/ 4079875 h 4492625"/>
              <a:gd name="connsiteX56" fmla="*/ 2508250 w 3917950"/>
              <a:gd name="connsiteY56" fmla="*/ 4133850 h 4492625"/>
              <a:gd name="connsiteX57" fmla="*/ 2517775 w 3917950"/>
              <a:gd name="connsiteY57" fmla="*/ 4159250 h 4492625"/>
              <a:gd name="connsiteX58" fmla="*/ 2530475 w 3917950"/>
              <a:gd name="connsiteY58" fmla="*/ 4184650 h 4492625"/>
              <a:gd name="connsiteX59" fmla="*/ 2543175 w 3917950"/>
              <a:gd name="connsiteY59" fmla="*/ 4203700 h 4492625"/>
              <a:gd name="connsiteX60" fmla="*/ 2559050 w 3917950"/>
              <a:gd name="connsiteY60" fmla="*/ 4225925 h 4492625"/>
              <a:gd name="connsiteX61" fmla="*/ 2574925 w 3917950"/>
              <a:gd name="connsiteY61" fmla="*/ 4241800 h 4492625"/>
              <a:gd name="connsiteX62" fmla="*/ 2590800 w 3917950"/>
              <a:gd name="connsiteY62" fmla="*/ 4260850 h 4492625"/>
              <a:gd name="connsiteX63" fmla="*/ 2609850 w 3917950"/>
              <a:gd name="connsiteY63" fmla="*/ 4273550 h 4492625"/>
              <a:gd name="connsiteX64" fmla="*/ 2632075 w 3917950"/>
              <a:gd name="connsiteY64" fmla="*/ 4289425 h 4492625"/>
              <a:gd name="connsiteX65" fmla="*/ 2654300 w 3917950"/>
              <a:gd name="connsiteY65" fmla="*/ 4298950 h 4492625"/>
              <a:gd name="connsiteX66" fmla="*/ 2679700 w 3917950"/>
              <a:gd name="connsiteY66" fmla="*/ 4311650 h 4492625"/>
              <a:gd name="connsiteX67" fmla="*/ 2733675 w 3917950"/>
              <a:gd name="connsiteY67" fmla="*/ 4330700 h 4492625"/>
              <a:gd name="connsiteX68" fmla="*/ 2797175 w 3917950"/>
              <a:gd name="connsiteY68" fmla="*/ 4343400 h 4492625"/>
              <a:gd name="connsiteX69" fmla="*/ 2870200 w 3917950"/>
              <a:gd name="connsiteY69" fmla="*/ 4352925 h 4492625"/>
              <a:gd name="connsiteX70" fmla="*/ 2952750 w 3917950"/>
              <a:gd name="connsiteY70" fmla="*/ 4359275 h 4492625"/>
              <a:gd name="connsiteX71" fmla="*/ 3041650 w 3917950"/>
              <a:gd name="connsiteY71" fmla="*/ 4365625 h 4492625"/>
              <a:gd name="connsiteX72" fmla="*/ 3143250 w 3917950"/>
              <a:gd name="connsiteY72" fmla="*/ 4365625 h 4492625"/>
              <a:gd name="connsiteX73" fmla="*/ 3143250 w 3917950"/>
              <a:gd name="connsiteY73" fmla="*/ 4492625 h 4492625"/>
              <a:gd name="connsiteX74" fmla="*/ 2905125 w 3917950"/>
              <a:gd name="connsiteY74" fmla="*/ 4486275 h 4492625"/>
              <a:gd name="connsiteX75" fmla="*/ 2613025 w 3917950"/>
              <a:gd name="connsiteY75" fmla="*/ 4479925 h 4492625"/>
              <a:gd name="connsiteX76" fmla="*/ 2282825 w 3917950"/>
              <a:gd name="connsiteY76" fmla="*/ 4476750 h 4492625"/>
              <a:gd name="connsiteX77" fmla="*/ 1933575 w 3917950"/>
              <a:gd name="connsiteY77" fmla="*/ 4476750 h 4492625"/>
              <a:gd name="connsiteX78" fmla="*/ 1590675 w 3917950"/>
              <a:gd name="connsiteY78" fmla="*/ 4476750 h 4492625"/>
              <a:gd name="connsiteX79" fmla="*/ 1273175 w 3917950"/>
              <a:gd name="connsiteY79" fmla="*/ 4479925 h 4492625"/>
              <a:gd name="connsiteX80" fmla="*/ 996950 w 3917950"/>
              <a:gd name="connsiteY80" fmla="*/ 4486275 h 4492625"/>
              <a:gd name="connsiteX81" fmla="*/ 774700 w 3917950"/>
              <a:gd name="connsiteY81" fmla="*/ 4492625 h 4492625"/>
              <a:gd name="connsiteX82" fmla="*/ 774700 w 3917950"/>
              <a:gd name="connsiteY82" fmla="*/ 4365625 h 4492625"/>
              <a:gd name="connsiteX83" fmla="*/ 876300 w 3917950"/>
              <a:gd name="connsiteY83" fmla="*/ 4365625 h 4492625"/>
              <a:gd name="connsiteX84" fmla="*/ 965200 w 3917950"/>
              <a:gd name="connsiteY84" fmla="*/ 4359275 h 4492625"/>
              <a:gd name="connsiteX85" fmla="*/ 1047750 w 3917950"/>
              <a:gd name="connsiteY85" fmla="*/ 4352925 h 4492625"/>
              <a:gd name="connsiteX86" fmla="*/ 1117600 w 3917950"/>
              <a:gd name="connsiteY86" fmla="*/ 4343400 h 4492625"/>
              <a:gd name="connsiteX87" fmla="*/ 1181100 w 3917950"/>
              <a:gd name="connsiteY87" fmla="*/ 4330700 h 4492625"/>
              <a:gd name="connsiteX88" fmla="*/ 1238250 w 3917950"/>
              <a:gd name="connsiteY88" fmla="*/ 4311650 h 4492625"/>
              <a:gd name="connsiteX89" fmla="*/ 1260475 w 3917950"/>
              <a:gd name="connsiteY89" fmla="*/ 4298950 h 4492625"/>
              <a:gd name="connsiteX90" fmla="*/ 1285875 w 3917950"/>
              <a:gd name="connsiteY90" fmla="*/ 4289425 h 4492625"/>
              <a:gd name="connsiteX91" fmla="*/ 1304925 w 3917950"/>
              <a:gd name="connsiteY91" fmla="*/ 4273550 h 4492625"/>
              <a:gd name="connsiteX92" fmla="*/ 1323975 w 3917950"/>
              <a:gd name="connsiteY92" fmla="*/ 4260850 h 4492625"/>
              <a:gd name="connsiteX93" fmla="*/ 1343025 w 3917950"/>
              <a:gd name="connsiteY93" fmla="*/ 4241800 h 4492625"/>
              <a:gd name="connsiteX94" fmla="*/ 1358900 w 3917950"/>
              <a:gd name="connsiteY94" fmla="*/ 4225925 h 4492625"/>
              <a:gd name="connsiteX95" fmla="*/ 1374775 w 3917950"/>
              <a:gd name="connsiteY95" fmla="*/ 4203700 h 4492625"/>
              <a:gd name="connsiteX96" fmla="*/ 1387475 w 3917950"/>
              <a:gd name="connsiteY96" fmla="*/ 4184650 h 4492625"/>
              <a:gd name="connsiteX97" fmla="*/ 1400175 w 3917950"/>
              <a:gd name="connsiteY97" fmla="*/ 4159250 h 4492625"/>
              <a:gd name="connsiteX98" fmla="*/ 1409700 w 3917950"/>
              <a:gd name="connsiteY98" fmla="*/ 4133850 h 4492625"/>
              <a:gd name="connsiteX99" fmla="*/ 1425575 w 3917950"/>
              <a:gd name="connsiteY99" fmla="*/ 4079875 h 4492625"/>
              <a:gd name="connsiteX100" fmla="*/ 1438275 w 3917950"/>
              <a:gd name="connsiteY100" fmla="*/ 4016375 h 4492625"/>
              <a:gd name="connsiteX101" fmla="*/ 1447800 w 3917950"/>
              <a:gd name="connsiteY101" fmla="*/ 3943350 h 4492625"/>
              <a:gd name="connsiteX102" fmla="*/ 1450975 w 3917950"/>
              <a:gd name="connsiteY102" fmla="*/ 3860800 h 4492625"/>
              <a:gd name="connsiteX103" fmla="*/ 1454150 w 3917950"/>
              <a:gd name="connsiteY103" fmla="*/ 3768725 h 4492625"/>
              <a:gd name="connsiteX104" fmla="*/ 1454150 w 3917950"/>
              <a:gd name="connsiteY104" fmla="*/ 146050 h 4492625"/>
              <a:gd name="connsiteX105" fmla="*/ 1314450 w 3917950"/>
              <a:gd name="connsiteY105" fmla="*/ 146050 h 4492625"/>
              <a:gd name="connsiteX106" fmla="*/ 1257300 w 3917950"/>
              <a:gd name="connsiteY106" fmla="*/ 146050 h 4492625"/>
              <a:gd name="connsiteX107" fmla="*/ 1203325 w 3917950"/>
              <a:gd name="connsiteY107" fmla="*/ 149225 h 4492625"/>
              <a:gd name="connsiteX108" fmla="*/ 1152525 w 3917950"/>
              <a:gd name="connsiteY108" fmla="*/ 155575 h 4492625"/>
              <a:gd name="connsiteX109" fmla="*/ 1101725 w 3917950"/>
              <a:gd name="connsiteY109" fmla="*/ 161925 h 4492625"/>
              <a:gd name="connsiteX110" fmla="*/ 1050925 w 3917950"/>
              <a:gd name="connsiteY110" fmla="*/ 171450 h 4492625"/>
              <a:gd name="connsiteX111" fmla="*/ 1003300 w 3917950"/>
              <a:gd name="connsiteY111" fmla="*/ 184150 h 4492625"/>
              <a:gd name="connsiteX112" fmla="*/ 958850 w 3917950"/>
              <a:gd name="connsiteY112" fmla="*/ 196850 h 4492625"/>
              <a:gd name="connsiteX113" fmla="*/ 914400 w 3917950"/>
              <a:gd name="connsiteY113" fmla="*/ 215900 h 4492625"/>
              <a:gd name="connsiteX114" fmla="*/ 869950 w 3917950"/>
              <a:gd name="connsiteY114" fmla="*/ 234950 h 4492625"/>
              <a:gd name="connsiteX115" fmla="*/ 825500 w 3917950"/>
              <a:gd name="connsiteY115" fmla="*/ 257175 h 4492625"/>
              <a:gd name="connsiteX116" fmla="*/ 787400 w 3917950"/>
              <a:gd name="connsiteY116" fmla="*/ 282575 h 4492625"/>
              <a:gd name="connsiteX117" fmla="*/ 746125 w 3917950"/>
              <a:gd name="connsiteY117" fmla="*/ 311150 h 4492625"/>
              <a:gd name="connsiteX118" fmla="*/ 708025 w 3917950"/>
              <a:gd name="connsiteY118" fmla="*/ 339725 h 4492625"/>
              <a:gd name="connsiteX119" fmla="*/ 669925 w 3917950"/>
              <a:gd name="connsiteY119" fmla="*/ 374650 h 4492625"/>
              <a:gd name="connsiteX120" fmla="*/ 635000 w 3917950"/>
              <a:gd name="connsiteY120" fmla="*/ 412750 h 4492625"/>
              <a:gd name="connsiteX121" fmla="*/ 600075 w 3917950"/>
              <a:gd name="connsiteY121" fmla="*/ 450850 h 4492625"/>
              <a:gd name="connsiteX122" fmla="*/ 565150 w 3917950"/>
              <a:gd name="connsiteY122" fmla="*/ 495300 h 4492625"/>
              <a:gd name="connsiteX123" fmla="*/ 533400 w 3917950"/>
              <a:gd name="connsiteY123" fmla="*/ 539750 h 4492625"/>
              <a:gd name="connsiteX124" fmla="*/ 501650 w 3917950"/>
              <a:gd name="connsiteY124" fmla="*/ 590550 h 4492625"/>
              <a:gd name="connsiteX125" fmla="*/ 469900 w 3917950"/>
              <a:gd name="connsiteY125" fmla="*/ 641350 h 4492625"/>
              <a:gd name="connsiteX126" fmla="*/ 438150 w 3917950"/>
              <a:gd name="connsiteY126" fmla="*/ 698500 h 4492625"/>
              <a:gd name="connsiteX127" fmla="*/ 409575 w 3917950"/>
              <a:gd name="connsiteY127" fmla="*/ 758825 h 4492625"/>
              <a:gd name="connsiteX128" fmla="*/ 384175 w 3917950"/>
              <a:gd name="connsiteY128" fmla="*/ 822325 h 4492625"/>
              <a:gd name="connsiteX129" fmla="*/ 355600 w 3917950"/>
              <a:gd name="connsiteY129" fmla="*/ 889000 h 4492625"/>
              <a:gd name="connsiteX130" fmla="*/ 330200 w 3917950"/>
              <a:gd name="connsiteY130" fmla="*/ 958850 h 4492625"/>
              <a:gd name="connsiteX131" fmla="*/ 304800 w 3917950"/>
              <a:gd name="connsiteY131" fmla="*/ 1031875 h 4492625"/>
              <a:gd name="connsiteX132" fmla="*/ 257175 w 3917950"/>
              <a:gd name="connsiteY132" fmla="*/ 1193800 h 4492625"/>
              <a:gd name="connsiteX133" fmla="*/ 212725 w 3917950"/>
              <a:gd name="connsiteY133" fmla="*/ 1368425 h 4492625"/>
              <a:gd name="connsiteX134" fmla="*/ 168275 w 3917950"/>
              <a:gd name="connsiteY134" fmla="*/ 1562100 h 4492625"/>
              <a:gd name="connsiteX135" fmla="*/ 25400 w 3917950"/>
              <a:gd name="connsiteY135" fmla="*/ 1562100 h 4492625"/>
              <a:gd name="connsiteX136" fmla="*/ 31750 w 3917950"/>
              <a:gd name="connsiteY136" fmla="*/ 1463675 h 4492625"/>
              <a:gd name="connsiteX137" fmla="*/ 38100 w 3917950"/>
              <a:gd name="connsiteY137" fmla="*/ 1346200 h 4492625"/>
              <a:gd name="connsiteX138" fmla="*/ 41275 w 3917950"/>
              <a:gd name="connsiteY138" fmla="*/ 1216025 h 4492625"/>
              <a:gd name="connsiteX139" fmla="*/ 41275 w 3917950"/>
              <a:gd name="connsiteY139" fmla="*/ 1076325 h 4492625"/>
              <a:gd name="connsiteX140" fmla="*/ 41275 w 3917950"/>
              <a:gd name="connsiteY140" fmla="*/ 879475 h 4492625"/>
              <a:gd name="connsiteX141" fmla="*/ 31750 w 3917950"/>
              <a:gd name="connsiteY141" fmla="*/ 622300 h 4492625"/>
              <a:gd name="connsiteX142" fmla="*/ 19050 w 3917950"/>
              <a:gd name="connsiteY142" fmla="*/ 320675 h 4492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3917950" h="4492625">
                <a:moveTo>
                  <a:pt x="0" y="0"/>
                </a:moveTo>
                <a:lnTo>
                  <a:pt x="225425" y="6350"/>
                </a:lnTo>
                <a:lnTo>
                  <a:pt x="466725" y="9525"/>
                </a:lnTo>
                <a:lnTo>
                  <a:pt x="984250" y="15875"/>
                </a:lnTo>
                <a:lnTo>
                  <a:pt x="1495425" y="15875"/>
                </a:lnTo>
                <a:lnTo>
                  <a:pt x="1962150" y="19050"/>
                </a:lnTo>
                <a:lnTo>
                  <a:pt x="2425700" y="15875"/>
                </a:lnTo>
                <a:lnTo>
                  <a:pt x="2936875" y="15875"/>
                </a:lnTo>
                <a:lnTo>
                  <a:pt x="3451225" y="9525"/>
                </a:lnTo>
                <a:lnTo>
                  <a:pt x="3692525" y="6350"/>
                </a:lnTo>
                <a:lnTo>
                  <a:pt x="3917950" y="0"/>
                </a:lnTo>
                <a:lnTo>
                  <a:pt x="3895725" y="320675"/>
                </a:lnTo>
                <a:lnTo>
                  <a:pt x="3879850" y="622300"/>
                </a:lnTo>
                <a:lnTo>
                  <a:pt x="3873500" y="879475"/>
                </a:lnTo>
                <a:lnTo>
                  <a:pt x="3870325" y="1076325"/>
                </a:lnTo>
                <a:lnTo>
                  <a:pt x="3873500" y="1216025"/>
                </a:lnTo>
                <a:lnTo>
                  <a:pt x="3876675" y="1346200"/>
                </a:lnTo>
                <a:lnTo>
                  <a:pt x="3879850" y="1463675"/>
                </a:lnTo>
                <a:lnTo>
                  <a:pt x="3889375" y="1562100"/>
                </a:lnTo>
                <a:lnTo>
                  <a:pt x="3743325" y="1562100"/>
                </a:lnTo>
                <a:lnTo>
                  <a:pt x="3702050" y="1368425"/>
                </a:lnTo>
                <a:lnTo>
                  <a:pt x="3657600" y="1193800"/>
                </a:lnTo>
                <a:lnTo>
                  <a:pt x="3635375" y="1111250"/>
                </a:lnTo>
                <a:lnTo>
                  <a:pt x="3609975" y="1035050"/>
                </a:lnTo>
                <a:lnTo>
                  <a:pt x="3584575" y="958850"/>
                </a:lnTo>
                <a:lnTo>
                  <a:pt x="3559175" y="889000"/>
                </a:lnTo>
                <a:lnTo>
                  <a:pt x="3530600" y="822325"/>
                </a:lnTo>
                <a:lnTo>
                  <a:pt x="3505200" y="758825"/>
                </a:lnTo>
                <a:lnTo>
                  <a:pt x="3473450" y="698500"/>
                </a:lnTo>
                <a:lnTo>
                  <a:pt x="3444875" y="644525"/>
                </a:lnTo>
                <a:lnTo>
                  <a:pt x="3413125" y="590550"/>
                </a:lnTo>
                <a:lnTo>
                  <a:pt x="3381375" y="539750"/>
                </a:lnTo>
                <a:lnTo>
                  <a:pt x="3349625" y="495300"/>
                </a:lnTo>
                <a:lnTo>
                  <a:pt x="3314700" y="450850"/>
                </a:lnTo>
                <a:lnTo>
                  <a:pt x="3279775" y="412750"/>
                </a:lnTo>
                <a:lnTo>
                  <a:pt x="3244850" y="374650"/>
                </a:lnTo>
                <a:lnTo>
                  <a:pt x="3206750" y="342900"/>
                </a:lnTo>
                <a:lnTo>
                  <a:pt x="3168650" y="311150"/>
                </a:lnTo>
                <a:lnTo>
                  <a:pt x="3127375" y="282575"/>
                </a:lnTo>
                <a:lnTo>
                  <a:pt x="3086100" y="257175"/>
                </a:lnTo>
                <a:lnTo>
                  <a:pt x="3044825" y="234950"/>
                </a:lnTo>
                <a:lnTo>
                  <a:pt x="3000375" y="215900"/>
                </a:lnTo>
                <a:lnTo>
                  <a:pt x="2955925" y="200025"/>
                </a:lnTo>
                <a:lnTo>
                  <a:pt x="2911475" y="184150"/>
                </a:lnTo>
                <a:lnTo>
                  <a:pt x="2863850" y="171450"/>
                </a:lnTo>
                <a:lnTo>
                  <a:pt x="2813050" y="161925"/>
                </a:lnTo>
                <a:lnTo>
                  <a:pt x="2762250" y="155575"/>
                </a:lnTo>
                <a:lnTo>
                  <a:pt x="2711450" y="149225"/>
                </a:lnTo>
                <a:lnTo>
                  <a:pt x="2657475" y="146050"/>
                </a:lnTo>
                <a:lnTo>
                  <a:pt x="2603500" y="146050"/>
                </a:lnTo>
                <a:lnTo>
                  <a:pt x="2463800" y="146050"/>
                </a:lnTo>
                <a:lnTo>
                  <a:pt x="2463800" y="3768725"/>
                </a:lnTo>
                <a:lnTo>
                  <a:pt x="2463800" y="3860800"/>
                </a:lnTo>
                <a:lnTo>
                  <a:pt x="2470150" y="3943350"/>
                </a:lnTo>
                <a:lnTo>
                  <a:pt x="2476500" y="4016375"/>
                </a:lnTo>
                <a:lnTo>
                  <a:pt x="2489200" y="4079875"/>
                </a:lnTo>
                <a:lnTo>
                  <a:pt x="2508250" y="4133850"/>
                </a:lnTo>
                <a:lnTo>
                  <a:pt x="2517775" y="4159250"/>
                </a:lnTo>
                <a:lnTo>
                  <a:pt x="2530475" y="4184650"/>
                </a:lnTo>
                <a:lnTo>
                  <a:pt x="2543175" y="4203700"/>
                </a:lnTo>
                <a:lnTo>
                  <a:pt x="2559050" y="4225925"/>
                </a:lnTo>
                <a:lnTo>
                  <a:pt x="2574925" y="4241800"/>
                </a:lnTo>
                <a:lnTo>
                  <a:pt x="2590800" y="4260850"/>
                </a:lnTo>
                <a:lnTo>
                  <a:pt x="2609850" y="4273550"/>
                </a:lnTo>
                <a:lnTo>
                  <a:pt x="2632075" y="4289425"/>
                </a:lnTo>
                <a:lnTo>
                  <a:pt x="2654300" y="4298950"/>
                </a:lnTo>
                <a:lnTo>
                  <a:pt x="2679700" y="4311650"/>
                </a:lnTo>
                <a:lnTo>
                  <a:pt x="2733675" y="4330700"/>
                </a:lnTo>
                <a:lnTo>
                  <a:pt x="2797175" y="4343400"/>
                </a:lnTo>
                <a:lnTo>
                  <a:pt x="2870200" y="4352925"/>
                </a:lnTo>
                <a:lnTo>
                  <a:pt x="2952750" y="4359275"/>
                </a:lnTo>
                <a:lnTo>
                  <a:pt x="3041650" y="4365625"/>
                </a:lnTo>
                <a:lnTo>
                  <a:pt x="3143250" y="4365625"/>
                </a:lnTo>
                <a:lnTo>
                  <a:pt x="3143250" y="4492625"/>
                </a:lnTo>
                <a:lnTo>
                  <a:pt x="2905125" y="4486275"/>
                </a:lnTo>
                <a:lnTo>
                  <a:pt x="2613025" y="4479925"/>
                </a:lnTo>
                <a:lnTo>
                  <a:pt x="2282825" y="4476750"/>
                </a:lnTo>
                <a:lnTo>
                  <a:pt x="1933575" y="4476750"/>
                </a:lnTo>
                <a:lnTo>
                  <a:pt x="1590675" y="4476750"/>
                </a:lnTo>
                <a:lnTo>
                  <a:pt x="1273175" y="4479925"/>
                </a:lnTo>
                <a:lnTo>
                  <a:pt x="996950" y="4486275"/>
                </a:lnTo>
                <a:lnTo>
                  <a:pt x="774700" y="4492625"/>
                </a:lnTo>
                <a:lnTo>
                  <a:pt x="774700" y="4365625"/>
                </a:lnTo>
                <a:lnTo>
                  <a:pt x="876300" y="4365625"/>
                </a:lnTo>
                <a:lnTo>
                  <a:pt x="965200" y="4359275"/>
                </a:lnTo>
                <a:lnTo>
                  <a:pt x="1047750" y="4352925"/>
                </a:lnTo>
                <a:lnTo>
                  <a:pt x="1117600" y="4343400"/>
                </a:lnTo>
                <a:lnTo>
                  <a:pt x="1181100" y="4330700"/>
                </a:lnTo>
                <a:lnTo>
                  <a:pt x="1238250" y="4311650"/>
                </a:lnTo>
                <a:lnTo>
                  <a:pt x="1260475" y="4298950"/>
                </a:lnTo>
                <a:lnTo>
                  <a:pt x="1285875" y="4289425"/>
                </a:lnTo>
                <a:lnTo>
                  <a:pt x="1304925" y="4273550"/>
                </a:lnTo>
                <a:lnTo>
                  <a:pt x="1323975" y="4260850"/>
                </a:lnTo>
                <a:lnTo>
                  <a:pt x="1343025" y="4241800"/>
                </a:lnTo>
                <a:lnTo>
                  <a:pt x="1358900" y="4225925"/>
                </a:lnTo>
                <a:lnTo>
                  <a:pt x="1374775" y="4203700"/>
                </a:lnTo>
                <a:lnTo>
                  <a:pt x="1387475" y="4184650"/>
                </a:lnTo>
                <a:lnTo>
                  <a:pt x="1400175" y="4159250"/>
                </a:lnTo>
                <a:lnTo>
                  <a:pt x="1409700" y="4133850"/>
                </a:lnTo>
                <a:lnTo>
                  <a:pt x="1425575" y="4079875"/>
                </a:lnTo>
                <a:lnTo>
                  <a:pt x="1438275" y="4016375"/>
                </a:lnTo>
                <a:lnTo>
                  <a:pt x="1447800" y="3943350"/>
                </a:lnTo>
                <a:lnTo>
                  <a:pt x="1450975" y="3860800"/>
                </a:lnTo>
                <a:lnTo>
                  <a:pt x="1454150" y="3768725"/>
                </a:lnTo>
                <a:lnTo>
                  <a:pt x="1454150" y="146050"/>
                </a:lnTo>
                <a:lnTo>
                  <a:pt x="1314450" y="146050"/>
                </a:lnTo>
                <a:lnTo>
                  <a:pt x="1257300" y="146050"/>
                </a:lnTo>
                <a:lnTo>
                  <a:pt x="1203325" y="149225"/>
                </a:lnTo>
                <a:lnTo>
                  <a:pt x="1152525" y="155575"/>
                </a:lnTo>
                <a:lnTo>
                  <a:pt x="1101725" y="161925"/>
                </a:lnTo>
                <a:lnTo>
                  <a:pt x="1050925" y="171450"/>
                </a:lnTo>
                <a:lnTo>
                  <a:pt x="1003300" y="184150"/>
                </a:lnTo>
                <a:lnTo>
                  <a:pt x="958850" y="196850"/>
                </a:lnTo>
                <a:lnTo>
                  <a:pt x="914400" y="215900"/>
                </a:lnTo>
                <a:lnTo>
                  <a:pt x="869950" y="234950"/>
                </a:lnTo>
                <a:lnTo>
                  <a:pt x="825500" y="257175"/>
                </a:lnTo>
                <a:lnTo>
                  <a:pt x="787400" y="282575"/>
                </a:lnTo>
                <a:lnTo>
                  <a:pt x="746125" y="311150"/>
                </a:lnTo>
                <a:lnTo>
                  <a:pt x="708025" y="339725"/>
                </a:lnTo>
                <a:lnTo>
                  <a:pt x="669925" y="374650"/>
                </a:lnTo>
                <a:lnTo>
                  <a:pt x="635000" y="412750"/>
                </a:lnTo>
                <a:lnTo>
                  <a:pt x="600075" y="450850"/>
                </a:lnTo>
                <a:lnTo>
                  <a:pt x="565150" y="495300"/>
                </a:lnTo>
                <a:lnTo>
                  <a:pt x="533400" y="539750"/>
                </a:lnTo>
                <a:lnTo>
                  <a:pt x="501650" y="590550"/>
                </a:lnTo>
                <a:lnTo>
                  <a:pt x="469900" y="641350"/>
                </a:lnTo>
                <a:lnTo>
                  <a:pt x="438150" y="698500"/>
                </a:lnTo>
                <a:lnTo>
                  <a:pt x="409575" y="758825"/>
                </a:lnTo>
                <a:lnTo>
                  <a:pt x="384175" y="822325"/>
                </a:lnTo>
                <a:lnTo>
                  <a:pt x="355600" y="889000"/>
                </a:lnTo>
                <a:lnTo>
                  <a:pt x="330200" y="958850"/>
                </a:lnTo>
                <a:lnTo>
                  <a:pt x="304800" y="1031875"/>
                </a:lnTo>
                <a:lnTo>
                  <a:pt x="257175" y="1193800"/>
                </a:lnTo>
                <a:lnTo>
                  <a:pt x="212725" y="1368425"/>
                </a:lnTo>
                <a:lnTo>
                  <a:pt x="168275" y="1562100"/>
                </a:lnTo>
                <a:lnTo>
                  <a:pt x="25400" y="1562100"/>
                </a:lnTo>
                <a:lnTo>
                  <a:pt x="31750" y="1463675"/>
                </a:lnTo>
                <a:lnTo>
                  <a:pt x="38100" y="1346200"/>
                </a:lnTo>
                <a:lnTo>
                  <a:pt x="41275" y="1216025"/>
                </a:lnTo>
                <a:lnTo>
                  <a:pt x="41275" y="1076325"/>
                </a:lnTo>
                <a:lnTo>
                  <a:pt x="41275" y="879475"/>
                </a:lnTo>
                <a:lnTo>
                  <a:pt x="31750" y="622300"/>
                </a:lnTo>
                <a:lnTo>
                  <a:pt x="19050" y="320675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62466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-1" y="5816602"/>
            <a:ext cx="7402134" cy="39116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367581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68400" y="1"/>
            <a:ext cx="6273800" cy="129540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612458" y="2009280"/>
            <a:ext cx="5750312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12458" y="2846679"/>
            <a:ext cx="5750312" cy="353181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551507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199443" y="3733800"/>
            <a:ext cx="9985114" cy="6248400"/>
          </a:xfrm>
          <a:prstGeom prst="roundRect">
            <a:avLst>
              <a:gd name="adj" fmla="val 50000"/>
            </a:avLst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70234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119255" y="5454993"/>
            <a:ext cx="3140478" cy="3140478"/>
          </a:xfrm>
          <a:prstGeom prst="ellipse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3167353" y="5454993"/>
            <a:ext cx="3140478" cy="3140478"/>
          </a:xfrm>
          <a:prstGeom prst="ellipse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3518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266280" y="4621868"/>
            <a:ext cx="5186732" cy="5186732"/>
          </a:xfrm>
          <a:custGeom>
            <a:avLst/>
            <a:gdLst>
              <a:gd name="connsiteX0" fmla="*/ 1296683 w 2593366"/>
              <a:gd name="connsiteY0" fmla="*/ 0 h 2593366"/>
              <a:gd name="connsiteX1" fmla="*/ 2593366 w 2593366"/>
              <a:gd name="connsiteY1" fmla="*/ 1296683 h 2593366"/>
              <a:gd name="connsiteX2" fmla="*/ 1296683 w 2593366"/>
              <a:gd name="connsiteY2" fmla="*/ 2593366 h 2593366"/>
              <a:gd name="connsiteX3" fmla="*/ 0 w 2593366"/>
              <a:gd name="connsiteY3" fmla="*/ 1296683 h 2593366"/>
              <a:gd name="connsiteX4" fmla="*/ 1296683 w 2593366"/>
              <a:gd name="connsiteY4" fmla="*/ 0 h 2593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3366" h="2593366">
                <a:moveTo>
                  <a:pt x="1296683" y="0"/>
                </a:moveTo>
                <a:cubicBezTo>
                  <a:pt x="2012821" y="0"/>
                  <a:pt x="2593366" y="580545"/>
                  <a:pt x="2593366" y="1296683"/>
                </a:cubicBezTo>
                <a:cubicBezTo>
                  <a:pt x="2593366" y="2012821"/>
                  <a:pt x="2012821" y="2593366"/>
                  <a:pt x="1296683" y="2593366"/>
                </a:cubicBezTo>
                <a:cubicBezTo>
                  <a:pt x="580545" y="2593366"/>
                  <a:pt x="0" y="2012821"/>
                  <a:pt x="0" y="1296683"/>
                </a:cubicBezTo>
                <a:cubicBezTo>
                  <a:pt x="0" y="580545"/>
                  <a:pt x="580545" y="0"/>
                  <a:pt x="1296683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143558" y="3894884"/>
            <a:ext cx="19240440" cy="6629752"/>
          </a:xfrm>
          <a:custGeom>
            <a:avLst/>
            <a:gdLst>
              <a:gd name="connsiteX0" fmla="*/ 0 w 9620220"/>
              <a:gd name="connsiteY0" fmla="*/ 0 h 3314876"/>
              <a:gd name="connsiteX1" fmla="*/ 9620220 w 9620220"/>
              <a:gd name="connsiteY1" fmla="*/ 0 h 3314876"/>
              <a:gd name="connsiteX2" fmla="*/ 9620220 w 9620220"/>
              <a:gd name="connsiteY2" fmla="*/ 3314876 h 3314876"/>
              <a:gd name="connsiteX3" fmla="*/ 0 w 9620220"/>
              <a:gd name="connsiteY3" fmla="*/ 3314876 h 3314876"/>
              <a:gd name="connsiteX4" fmla="*/ 0 w 9620220"/>
              <a:gd name="connsiteY4" fmla="*/ 3308765 h 3314876"/>
              <a:gd name="connsiteX5" fmla="*/ 47567 w 9620220"/>
              <a:gd name="connsiteY5" fmla="*/ 3306320 h 3314876"/>
              <a:gd name="connsiteX6" fmla="*/ 1509487 w 9620220"/>
              <a:gd name="connsiteY6" fmla="*/ 1657438 h 3314876"/>
              <a:gd name="connsiteX7" fmla="*/ 47567 w 9620220"/>
              <a:gd name="connsiteY7" fmla="*/ 8556 h 3314876"/>
              <a:gd name="connsiteX8" fmla="*/ 0 w 9620220"/>
              <a:gd name="connsiteY8" fmla="*/ 6112 h 3314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620220" h="3314876">
                <a:moveTo>
                  <a:pt x="0" y="0"/>
                </a:moveTo>
                <a:lnTo>
                  <a:pt x="9620220" y="0"/>
                </a:lnTo>
                <a:lnTo>
                  <a:pt x="9620220" y="3314876"/>
                </a:lnTo>
                <a:lnTo>
                  <a:pt x="0" y="3314876"/>
                </a:lnTo>
                <a:lnTo>
                  <a:pt x="0" y="3308765"/>
                </a:lnTo>
                <a:lnTo>
                  <a:pt x="47567" y="3306320"/>
                </a:lnTo>
                <a:cubicBezTo>
                  <a:pt x="868705" y="3221443"/>
                  <a:pt x="1509487" y="2515605"/>
                  <a:pt x="1509487" y="1657438"/>
                </a:cubicBezTo>
                <a:cubicBezTo>
                  <a:pt x="1509487" y="799271"/>
                  <a:pt x="868705" y="93434"/>
                  <a:pt x="47567" y="8556"/>
                </a:cubicBezTo>
                <a:lnTo>
                  <a:pt x="0" y="6112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99384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14378" y="1"/>
            <a:ext cx="7467600" cy="129540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144392" y="2053884"/>
            <a:ext cx="6043568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392" y="2714283"/>
            <a:ext cx="6043568" cy="3418886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99444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>
            <a:spLocks/>
          </p:cNvSpPr>
          <p:nvPr userDrawn="1"/>
        </p:nvSpPr>
        <p:spPr bwMode="auto">
          <a:xfrm rot="16200000" flipV="1">
            <a:off x="6150952" y="-4517047"/>
            <a:ext cx="12082092" cy="24384002"/>
          </a:xfrm>
          <a:custGeom>
            <a:avLst/>
            <a:gdLst>
              <a:gd name="T0" fmla="*/ 8532 w 19881"/>
              <a:gd name="T1" fmla="*/ 21600 h 21600"/>
              <a:gd name="T2" fmla="*/ 0 w 19881"/>
              <a:gd name="T3" fmla="*/ 21600 h 21600"/>
              <a:gd name="T4" fmla="*/ 0 w 19881"/>
              <a:gd name="T5" fmla="*/ 0 h 21600"/>
              <a:gd name="T6" fmla="*/ 17551 w 19881"/>
              <a:gd name="T7" fmla="*/ 0 h 21600"/>
              <a:gd name="T8" fmla="*/ 12828 w 19881"/>
              <a:gd name="T9" fmla="*/ 11913 h 21600"/>
              <a:gd name="T10" fmla="*/ 8532 w 19881"/>
              <a:gd name="T11" fmla="*/ 21600 h 21600"/>
              <a:gd name="T12" fmla="*/ 8532 w 19881"/>
              <a:gd name="T13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81" h="21600">
                <a:moveTo>
                  <a:pt x="8532" y="21600"/>
                </a:moveTo>
                <a:lnTo>
                  <a:pt x="0" y="21600"/>
                </a:lnTo>
                <a:lnTo>
                  <a:pt x="0" y="0"/>
                </a:lnTo>
                <a:lnTo>
                  <a:pt x="17551" y="0"/>
                </a:lnTo>
                <a:cubicBezTo>
                  <a:pt x="21600" y="3139"/>
                  <a:pt x="20585" y="8662"/>
                  <a:pt x="12828" y="11913"/>
                </a:cubicBezTo>
                <a:cubicBezTo>
                  <a:pt x="7154" y="14291"/>
                  <a:pt x="6151" y="18919"/>
                  <a:pt x="8532" y="21600"/>
                </a:cubicBezTo>
                <a:close/>
                <a:moveTo>
                  <a:pt x="8532" y="21600"/>
                </a:moveTo>
              </a:path>
            </a:pathLst>
          </a:custGeom>
          <a:solidFill>
            <a:schemeClr val="accent1">
              <a:alpha val="18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31596" y="5014676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495602" y="5014676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919904" y="6525224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1657910" y="5014676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6812792" y="5014676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9071392" y="6525224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4227970" y="6525224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19306836" y="6525224"/>
            <a:ext cx="3675668" cy="3655076"/>
          </a:xfrm>
          <a:prstGeom prst="diamond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206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92551" y="1"/>
            <a:ext cx="4863846" cy="85344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-2" y="1"/>
            <a:ext cx="4913896" cy="85344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779581" y="1"/>
            <a:ext cx="4799818" cy="85344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4533033" y="1"/>
            <a:ext cx="4913894" cy="85344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9421903" y="1"/>
            <a:ext cx="4913894" cy="85344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" y="8534402"/>
            <a:ext cx="4913892" cy="4419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3" name="Rectangle 12"/>
          <p:cNvSpPr/>
          <p:nvPr userDrawn="1"/>
        </p:nvSpPr>
        <p:spPr>
          <a:xfrm>
            <a:off x="4867530" y="8534402"/>
            <a:ext cx="4913892" cy="441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4" name="Rectangle 13"/>
          <p:cNvSpPr/>
          <p:nvPr userDrawn="1"/>
        </p:nvSpPr>
        <p:spPr>
          <a:xfrm>
            <a:off x="9735056" y="8534402"/>
            <a:ext cx="4913892" cy="441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5" name="Rectangle 14"/>
          <p:cNvSpPr/>
          <p:nvPr userDrawn="1"/>
        </p:nvSpPr>
        <p:spPr>
          <a:xfrm>
            <a:off x="14602584" y="8534402"/>
            <a:ext cx="4913892" cy="441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6" name="Rectangle 15"/>
          <p:cNvSpPr/>
          <p:nvPr userDrawn="1"/>
        </p:nvSpPr>
        <p:spPr>
          <a:xfrm>
            <a:off x="19470110" y="8534402"/>
            <a:ext cx="4913892" cy="4419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52799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2233535" y="3615799"/>
            <a:ext cx="19898506" cy="3852674"/>
            <a:chOff x="1116767" y="1807899"/>
            <a:chExt cx="9949253" cy="1926337"/>
          </a:xfrm>
        </p:grpSpPr>
        <p:sp>
          <p:nvSpPr>
            <p:cNvPr id="6" name="Rounded Rectangle 5"/>
            <p:cNvSpPr>
              <a:spLocks noChangeAspect="1"/>
            </p:cNvSpPr>
            <p:nvPr userDrawn="1"/>
          </p:nvSpPr>
          <p:spPr>
            <a:xfrm>
              <a:off x="1116767" y="1807899"/>
              <a:ext cx="1926340" cy="1926337"/>
            </a:xfrm>
            <a:prstGeom prst="roundRect">
              <a:avLst/>
            </a:prstGeom>
            <a:solidFill>
              <a:schemeClr val="accent1"/>
            </a:solidFill>
            <a:ln w="127000" cap="sq" cmpd="sng">
              <a:noFill/>
              <a:bevel/>
              <a:headEnd type="none"/>
              <a:tailEnd type="non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400" dirty="0"/>
            </a:p>
          </p:txBody>
        </p:sp>
        <p:sp>
          <p:nvSpPr>
            <p:cNvPr id="7" name="Rounded Rectangle 6"/>
            <p:cNvSpPr>
              <a:spLocks noChangeAspect="1"/>
            </p:cNvSpPr>
            <p:nvPr userDrawn="1"/>
          </p:nvSpPr>
          <p:spPr>
            <a:xfrm>
              <a:off x="3788000" y="1807899"/>
              <a:ext cx="1926340" cy="1926337"/>
            </a:xfrm>
            <a:prstGeom prst="roundRect">
              <a:avLst/>
            </a:prstGeom>
            <a:solidFill>
              <a:schemeClr val="accent2"/>
            </a:solidFill>
            <a:ln w="127000" cap="sq" cmpd="sng">
              <a:noFill/>
              <a:bevel/>
              <a:headEnd type="none"/>
              <a:tailEnd type="non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400" dirty="0"/>
            </a:p>
          </p:txBody>
        </p:sp>
        <p:sp>
          <p:nvSpPr>
            <p:cNvPr id="8" name="Rounded Rectangle 7"/>
            <p:cNvSpPr>
              <a:spLocks noChangeAspect="1"/>
            </p:cNvSpPr>
            <p:nvPr userDrawn="1"/>
          </p:nvSpPr>
          <p:spPr>
            <a:xfrm>
              <a:off x="6459233" y="1807899"/>
              <a:ext cx="1926340" cy="1926337"/>
            </a:xfrm>
            <a:prstGeom prst="roundRect">
              <a:avLst/>
            </a:prstGeom>
            <a:solidFill>
              <a:schemeClr val="accent3"/>
            </a:solidFill>
            <a:ln w="127000" cap="sq" cmpd="sng">
              <a:noFill/>
              <a:bevel/>
              <a:headEnd type="none"/>
              <a:tailEnd type="non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400" dirty="0"/>
            </a:p>
          </p:txBody>
        </p:sp>
        <p:sp>
          <p:nvSpPr>
            <p:cNvPr id="10" name="Rounded Rectangle 9"/>
            <p:cNvSpPr>
              <a:spLocks noChangeAspect="1"/>
            </p:cNvSpPr>
            <p:nvPr userDrawn="1"/>
          </p:nvSpPr>
          <p:spPr>
            <a:xfrm>
              <a:off x="9139680" y="1807899"/>
              <a:ext cx="1926340" cy="1926337"/>
            </a:xfrm>
            <a:prstGeom prst="roundRect">
              <a:avLst/>
            </a:prstGeom>
            <a:solidFill>
              <a:schemeClr val="accent4"/>
            </a:solidFill>
            <a:ln w="127000" cap="sq" cmpd="sng">
              <a:noFill/>
              <a:bevel/>
              <a:headEnd type="none"/>
              <a:tailEnd type="non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400"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663550" y="3994843"/>
            <a:ext cx="2990396" cy="3081442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992168" y="3994843"/>
            <a:ext cx="2990396" cy="3081442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3354042" y="3994843"/>
            <a:ext cx="2990396" cy="3081442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8682660" y="3994843"/>
            <a:ext cx="2990396" cy="3081442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527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1519116" y="4495800"/>
            <a:ext cx="21345768" cy="2616200"/>
            <a:chOff x="759558" y="2247900"/>
            <a:chExt cx="10672884" cy="1308100"/>
          </a:xfrm>
        </p:grpSpPr>
        <p:sp>
          <p:nvSpPr>
            <p:cNvPr id="6" name="Rectangle 5"/>
            <p:cNvSpPr/>
            <p:nvPr userDrawn="1"/>
          </p:nvSpPr>
          <p:spPr>
            <a:xfrm>
              <a:off x="759558" y="2247900"/>
              <a:ext cx="3124200" cy="130810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4533900" y="2247900"/>
              <a:ext cx="3124200" cy="130810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8308242" y="2247900"/>
              <a:ext cx="3124200" cy="1308100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</p:grp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19116" y="4165599"/>
            <a:ext cx="3098800" cy="29318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067800" y="4165599"/>
            <a:ext cx="3098800" cy="29318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6616484" y="4165599"/>
            <a:ext cx="3098800" cy="29318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21251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6255998" y="4284219"/>
            <a:ext cx="8128000" cy="421208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284219"/>
            <a:ext cx="8128000" cy="421208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128002" y="4254500"/>
            <a:ext cx="8128000" cy="4241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8128000" cy="428421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1" name="Rectangle 10"/>
          <p:cNvSpPr/>
          <p:nvPr userDrawn="1"/>
        </p:nvSpPr>
        <p:spPr>
          <a:xfrm>
            <a:off x="16256000" y="8508999"/>
            <a:ext cx="8128000" cy="4445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0614708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50858" y="3642372"/>
            <a:ext cx="4847772" cy="4282428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0798630" y="493485"/>
            <a:ext cx="13266056" cy="743131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5950858" y="493487"/>
            <a:ext cx="4847772" cy="31488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950858" y="8444242"/>
            <a:ext cx="18113828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0858" y="8790988"/>
            <a:ext cx="18113828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85559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>
            <a:spLocks/>
          </p:cNvSpPr>
          <p:nvPr userDrawn="1"/>
        </p:nvSpPr>
        <p:spPr bwMode="auto">
          <a:xfrm rot="5400000">
            <a:off x="6150952" y="-6150953"/>
            <a:ext cx="12082092" cy="24384002"/>
          </a:xfrm>
          <a:custGeom>
            <a:avLst/>
            <a:gdLst>
              <a:gd name="T0" fmla="*/ 8532 w 19881"/>
              <a:gd name="T1" fmla="*/ 21600 h 21600"/>
              <a:gd name="T2" fmla="*/ 0 w 19881"/>
              <a:gd name="T3" fmla="*/ 21600 h 21600"/>
              <a:gd name="T4" fmla="*/ 0 w 19881"/>
              <a:gd name="T5" fmla="*/ 0 h 21600"/>
              <a:gd name="T6" fmla="*/ 17551 w 19881"/>
              <a:gd name="T7" fmla="*/ 0 h 21600"/>
              <a:gd name="T8" fmla="*/ 12828 w 19881"/>
              <a:gd name="T9" fmla="*/ 11913 h 21600"/>
              <a:gd name="T10" fmla="*/ 8532 w 19881"/>
              <a:gd name="T11" fmla="*/ 21600 h 21600"/>
              <a:gd name="T12" fmla="*/ 8532 w 19881"/>
              <a:gd name="T13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81" h="21600">
                <a:moveTo>
                  <a:pt x="8532" y="21600"/>
                </a:moveTo>
                <a:lnTo>
                  <a:pt x="0" y="21600"/>
                </a:lnTo>
                <a:lnTo>
                  <a:pt x="0" y="0"/>
                </a:lnTo>
                <a:lnTo>
                  <a:pt x="17551" y="0"/>
                </a:lnTo>
                <a:cubicBezTo>
                  <a:pt x="21600" y="3139"/>
                  <a:pt x="20585" y="8662"/>
                  <a:pt x="12828" y="11913"/>
                </a:cubicBezTo>
                <a:cubicBezTo>
                  <a:pt x="7154" y="14291"/>
                  <a:pt x="6151" y="18919"/>
                  <a:pt x="8532" y="21600"/>
                </a:cubicBezTo>
                <a:close/>
                <a:moveTo>
                  <a:pt x="8532" y="21600"/>
                </a:moveTo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lIns="0" tIns="0" rIns="0" bIns="0"/>
          <a:lstStyle/>
          <a:p>
            <a:endParaRPr lang="en-US" sz="1000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062711" y="1897143"/>
            <a:ext cx="5424594" cy="5424594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95294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-306656"/>
            <a:ext cx="29493028" cy="14022656"/>
          </a:xfrm>
          <a:custGeom>
            <a:avLst/>
            <a:gdLst>
              <a:gd name="connsiteX0" fmla="*/ 3903108 w 14746514"/>
              <a:gd name="connsiteY0" fmla="*/ 1849 h 7011328"/>
              <a:gd name="connsiteX1" fmla="*/ 14684282 w 14746514"/>
              <a:gd name="connsiteY1" fmla="*/ 6846540 h 7011328"/>
              <a:gd name="connsiteX2" fmla="*/ 14746514 w 14746514"/>
              <a:gd name="connsiteY2" fmla="*/ 7011328 h 7011328"/>
              <a:gd name="connsiteX3" fmla="*/ 0 w 14746514"/>
              <a:gd name="connsiteY3" fmla="*/ 7011328 h 7011328"/>
              <a:gd name="connsiteX4" fmla="*/ 0 w 14746514"/>
              <a:gd name="connsiteY4" fmla="*/ 723317 h 7011328"/>
              <a:gd name="connsiteX5" fmla="*/ 530380 w 14746514"/>
              <a:gd name="connsiteY5" fmla="*/ 544112 h 7011328"/>
              <a:gd name="connsiteX6" fmla="*/ 3903108 w 14746514"/>
              <a:gd name="connsiteY6" fmla="*/ 1849 h 701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46514" h="7011328">
                <a:moveTo>
                  <a:pt x="3903108" y="1849"/>
                </a:moveTo>
                <a:cubicBezTo>
                  <a:pt x="8578544" y="-79857"/>
                  <a:pt x="13014679" y="2552015"/>
                  <a:pt x="14684282" y="6846540"/>
                </a:cubicBezTo>
                <a:cubicBezTo>
                  <a:pt x="14705482" y="6901209"/>
                  <a:pt x="14726682" y="6956269"/>
                  <a:pt x="14746514" y="7011328"/>
                </a:cubicBezTo>
                <a:lnTo>
                  <a:pt x="0" y="7011328"/>
                </a:lnTo>
                <a:lnTo>
                  <a:pt x="0" y="723317"/>
                </a:lnTo>
                <a:lnTo>
                  <a:pt x="530380" y="544112"/>
                </a:lnTo>
                <a:cubicBezTo>
                  <a:pt x="1645115" y="197370"/>
                  <a:pt x="2781004" y="21459"/>
                  <a:pt x="3903108" y="1849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367159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5737488" y="7944838"/>
            <a:ext cx="5603644" cy="364048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159618" y="7944838"/>
            <a:ext cx="5603644" cy="364048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433570" y="7944838"/>
            <a:ext cx="5603644" cy="364048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1060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61244" y="9283779"/>
            <a:ext cx="23661512" cy="4432222"/>
          </a:xfrm>
          <a:prstGeom prst="round2SameRect">
            <a:avLst>
              <a:gd name="adj1" fmla="val 11844"/>
              <a:gd name="adj2" fmla="val 0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00379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24384000" cy="8842536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477760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3"/>
            <a:ext cx="24384000" cy="7519026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230030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10340618" cy="1373051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0340621" y="0"/>
            <a:ext cx="14043378" cy="13716000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endParaRPr lang="en-US" sz="32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11538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6707556" cy="12954002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8100000" scaled="1"/>
            <a:tileRect/>
          </a:gradFill>
          <a:ln w="12700">
            <a:miter lim="400000"/>
          </a:ln>
        </p:spPr>
        <p:txBody>
          <a:bodyPr lIns="50800" tIns="50800" rIns="50800" bIns="50800" anchor="ctr"/>
          <a:lstStyle/>
          <a:p>
            <a:endParaRPr lang="en-US" sz="320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553243" y="1151979"/>
            <a:ext cx="10927646" cy="10734706"/>
          </a:xfr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16000" y="1454816"/>
            <a:ext cx="91440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2461962"/>
            <a:ext cx="91440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524121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661851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389259" y="6618514"/>
            <a:ext cx="7605486" cy="63354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60265380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7082385" y="1848769"/>
            <a:ext cx="3604142" cy="3604142"/>
          </a:xfrm>
          <a:prstGeom prst="ellipse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025070" y="1"/>
            <a:ext cx="6894132" cy="1295400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1533114"/>
            <a:ext cx="579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2193514"/>
            <a:ext cx="5791200" cy="2920252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53215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3" y="780144"/>
            <a:ext cx="12047878" cy="11292112"/>
          </a:xfrm>
          <a:custGeom>
            <a:avLst/>
            <a:gdLst>
              <a:gd name="connsiteX0" fmla="*/ 0 w 6023939"/>
              <a:gd name="connsiteY0" fmla="*/ 0 h 5646056"/>
              <a:gd name="connsiteX1" fmla="*/ 3200911 w 6023939"/>
              <a:gd name="connsiteY1" fmla="*/ 0 h 5646056"/>
              <a:gd name="connsiteX2" fmla="*/ 6023939 w 6023939"/>
              <a:gd name="connsiteY2" fmla="*/ 2823028 h 5646056"/>
              <a:gd name="connsiteX3" fmla="*/ 3200911 w 6023939"/>
              <a:gd name="connsiteY3" fmla="*/ 5646056 h 5646056"/>
              <a:gd name="connsiteX4" fmla="*/ 0 w 6023939"/>
              <a:gd name="connsiteY4" fmla="*/ 5646056 h 5646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3939" h="5646056">
                <a:moveTo>
                  <a:pt x="0" y="0"/>
                </a:moveTo>
                <a:lnTo>
                  <a:pt x="3200911" y="0"/>
                </a:lnTo>
                <a:cubicBezTo>
                  <a:pt x="4760026" y="0"/>
                  <a:pt x="6023939" y="1263913"/>
                  <a:pt x="6023939" y="2823028"/>
                </a:cubicBezTo>
                <a:cubicBezTo>
                  <a:pt x="6023939" y="4382143"/>
                  <a:pt x="4760026" y="5646056"/>
                  <a:pt x="3200911" y="5646056"/>
                </a:cubicBezTo>
                <a:lnTo>
                  <a:pt x="0" y="5646056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4392362"/>
            <a:ext cx="70104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052761"/>
            <a:ext cx="7010400" cy="249103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824032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9405258" cy="1295400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79657" y="515016"/>
            <a:ext cx="5867402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9658" y="1175417"/>
            <a:ext cx="5867400" cy="340543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823541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133941" y="0"/>
            <a:ext cx="12250058" cy="13716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473200" y="1623760"/>
            <a:ext cx="69088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3200" y="2284161"/>
            <a:ext cx="6908800" cy="431983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8800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0193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06285" y="0"/>
            <a:ext cx="8069946" cy="5921828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306285" y="10980059"/>
            <a:ext cx="8069946" cy="1948538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06285" y="6441818"/>
            <a:ext cx="769983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6285" y="7123228"/>
            <a:ext cx="769983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1766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6251530" y="4206966"/>
            <a:ext cx="3354252" cy="5127172"/>
          </a:xfrm>
          <a:custGeom>
            <a:avLst/>
            <a:gdLst>
              <a:gd name="connsiteX0" fmla="*/ 1677126 w 1677126"/>
              <a:gd name="connsiteY0" fmla="*/ 0 h 2563586"/>
              <a:gd name="connsiteX1" fmla="*/ 1677126 w 1677126"/>
              <a:gd name="connsiteY1" fmla="*/ 2563586 h 2563586"/>
              <a:gd name="connsiteX2" fmla="*/ 0 w 1677126"/>
              <a:gd name="connsiteY2" fmla="*/ 2403566 h 2563586"/>
              <a:gd name="connsiteX3" fmla="*/ 0 w 1677126"/>
              <a:gd name="connsiteY3" fmla="*/ 182880 h 256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126" h="2563586">
                <a:moveTo>
                  <a:pt x="1677126" y="0"/>
                </a:moveTo>
                <a:lnTo>
                  <a:pt x="1677126" y="2563586"/>
                </a:lnTo>
                <a:lnTo>
                  <a:pt x="0" y="2403566"/>
                </a:lnTo>
                <a:lnTo>
                  <a:pt x="0" y="18288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3DD0E9F-03BA-4633-AB40-3B66057A0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5987" y="2399249"/>
            <a:ext cx="10273914" cy="9813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54418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3048002"/>
            <a:ext cx="24384000" cy="6441836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839326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8190" y="7839182"/>
            <a:ext cx="8331200" cy="38862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9659392" y="7839182"/>
            <a:ext cx="5402808" cy="3886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Rectangle 7"/>
          <p:cNvSpPr/>
          <p:nvPr userDrawn="1"/>
        </p:nvSpPr>
        <p:spPr>
          <a:xfrm>
            <a:off x="15062199" y="7839182"/>
            <a:ext cx="8202614" cy="3886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24672268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3098799"/>
            <a:ext cx="24384000" cy="469900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0196240" y="1"/>
            <a:ext cx="14187760" cy="12953998"/>
          </a:xfrm>
          <a:custGeom>
            <a:avLst/>
            <a:gdLst>
              <a:gd name="connsiteX0" fmla="*/ 3787649 w 7093880"/>
              <a:gd name="connsiteY0" fmla="*/ 0 h 6476999"/>
              <a:gd name="connsiteX1" fmla="*/ 7093880 w 7093880"/>
              <a:gd name="connsiteY1" fmla="*/ 0 h 6476999"/>
              <a:gd name="connsiteX2" fmla="*/ 7093880 w 7093880"/>
              <a:gd name="connsiteY2" fmla="*/ 6476999 h 6476999"/>
              <a:gd name="connsiteX3" fmla="*/ 0 w 7093880"/>
              <a:gd name="connsiteY3" fmla="*/ 6476999 h 647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93880" h="6476999">
                <a:moveTo>
                  <a:pt x="3787649" y="0"/>
                </a:moveTo>
                <a:lnTo>
                  <a:pt x="7093880" y="0"/>
                </a:lnTo>
                <a:lnTo>
                  <a:pt x="7093880" y="6476999"/>
                </a:lnTo>
                <a:lnTo>
                  <a:pt x="0" y="6476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4541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81800" y="2"/>
            <a:ext cx="7188200" cy="12954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4216400" cy="653384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68401"/>
            <a:ext cx="4216400" cy="416743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46161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24384000" cy="9525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557465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19200" y="2946400"/>
            <a:ext cx="7182040" cy="96266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2192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336331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58368" y="436675"/>
            <a:ext cx="11103836" cy="1284357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07237" y="2661532"/>
            <a:ext cx="7322458" cy="6743724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8000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591934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1373051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0738214" y="7269414"/>
            <a:ext cx="3244052" cy="324405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4156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7539486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115151" y="5262139"/>
            <a:ext cx="3568458" cy="3568458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79282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4696164" y="1164367"/>
            <a:ext cx="9140372" cy="591860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3198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786494" y="2573867"/>
            <a:ext cx="4099364" cy="8536094"/>
          </a:xfrm>
          <a:custGeom>
            <a:avLst/>
            <a:gdLst>
              <a:gd name="connsiteX0" fmla="*/ 6366 w 2049682"/>
              <a:gd name="connsiteY0" fmla="*/ 0 h 4268047"/>
              <a:gd name="connsiteX1" fmla="*/ 2011489 w 2049682"/>
              <a:gd name="connsiteY1" fmla="*/ 160198 h 4268047"/>
              <a:gd name="connsiteX2" fmla="*/ 2049682 w 2049682"/>
              <a:gd name="connsiteY2" fmla="*/ 4204393 h 4268047"/>
              <a:gd name="connsiteX3" fmla="*/ 0 w 2049682"/>
              <a:gd name="connsiteY3" fmla="*/ 4268047 h 4268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9682" h="4268047">
                <a:moveTo>
                  <a:pt x="6366" y="0"/>
                </a:moveTo>
                <a:lnTo>
                  <a:pt x="2011489" y="160198"/>
                </a:lnTo>
                <a:lnTo>
                  <a:pt x="2049682" y="4204393"/>
                </a:lnTo>
                <a:lnTo>
                  <a:pt x="0" y="426804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08" t="7866" r="29913" b="9089"/>
          <a:stretch/>
        </p:blipFill>
        <p:spPr>
          <a:xfrm>
            <a:off x="1235892" y="1189590"/>
            <a:ext cx="7315200" cy="11212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2870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790"/>
            <a:ext cx="24384000" cy="6856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605852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6859788"/>
            <a:ext cx="24384000" cy="6856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782891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6121400"/>
            <a:ext cx="24384000" cy="75946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961070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789"/>
            <a:ext cx="24384000" cy="1295221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01044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122838" y="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5501256" y="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9879674" y="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1122838" y="342900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5501256" y="342900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9879674" y="342900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9879674" y="685800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11122838" y="1028700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15501256" y="1028700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19879674" y="10287000"/>
            <a:ext cx="4441372" cy="34290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27820" y="1054100"/>
            <a:ext cx="58166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7820" y="1960565"/>
            <a:ext cx="5816600" cy="401503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61903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788"/>
            <a:ext cx="12033956" cy="13714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2033957" y="1790"/>
            <a:ext cx="6175022" cy="6856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208979" y="1790"/>
            <a:ext cx="6175022" cy="6856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2033957" y="6859790"/>
            <a:ext cx="6175022" cy="6856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8208979" y="6859790"/>
            <a:ext cx="6175022" cy="6856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6934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75417"/>
            <a:ext cx="6934200" cy="312603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538192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789"/>
            <a:ext cx="24384000" cy="1295221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108363" y="1808403"/>
            <a:ext cx="11209346" cy="10099194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405283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057400" y="2683548"/>
            <a:ext cx="8915400" cy="940685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33241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"/>
            <a:ext cx="24384000" cy="12475816"/>
          </a:xfrm>
          <a:prstGeom prst="rect">
            <a:avLst/>
          </a:prstGeom>
          <a:gradFill flip="none" rotWithShape="1">
            <a:gsLst>
              <a:gs pos="58000">
                <a:srgbClr val="FFFFFF"/>
              </a:gs>
              <a:gs pos="100000">
                <a:srgbClr val="D4D7DD"/>
              </a:gs>
              <a:gs pos="0">
                <a:srgbClr val="A9AFBA"/>
              </a:gs>
            </a:gsLst>
            <a:path path="circle">
              <a:fillToRect l="50000" t="50000" r="50000" b="50000"/>
            </a:path>
            <a:tileRect/>
          </a:gradFill>
          <a:ln w="63500">
            <a:noFill/>
            <a:miter lim="400000"/>
          </a:ln>
        </p:spPr>
        <p:txBody>
          <a:bodyPr lIns="50800" tIns="50800" rIns="50800" bIns="50800" anchor="ctr"/>
          <a:lstStyle/>
          <a:p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353784" y="714394"/>
            <a:ext cx="15839216" cy="10123076"/>
          </a:xfrm>
          <a:custGeom>
            <a:avLst/>
            <a:gdLst>
              <a:gd name="connsiteX0" fmla="*/ 969383 w 7919608"/>
              <a:gd name="connsiteY0" fmla="*/ 0 h 5061538"/>
              <a:gd name="connsiteX1" fmla="*/ 980114 w 7919608"/>
              <a:gd name="connsiteY1" fmla="*/ 0 h 5061538"/>
              <a:gd name="connsiteX2" fmla="*/ 994423 w 7919608"/>
              <a:gd name="connsiteY2" fmla="*/ 3577 h 5061538"/>
              <a:gd name="connsiteX3" fmla="*/ 1001577 w 7919608"/>
              <a:gd name="connsiteY3" fmla="*/ 17885 h 5061538"/>
              <a:gd name="connsiteX4" fmla="*/ 1030193 w 7919608"/>
              <a:gd name="connsiteY4" fmla="*/ 46502 h 5061538"/>
              <a:gd name="connsiteX5" fmla="*/ 1044501 w 7919608"/>
              <a:gd name="connsiteY5" fmla="*/ 82272 h 5061538"/>
              <a:gd name="connsiteX6" fmla="*/ 1055233 w 7919608"/>
              <a:gd name="connsiteY6" fmla="*/ 100158 h 5061538"/>
              <a:gd name="connsiteX7" fmla="*/ 1058810 w 7919608"/>
              <a:gd name="connsiteY7" fmla="*/ 118043 h 5061538"/>
              <a:gd name="connsiteX8" fmla="*/ 1058810 w 7919608"/>
              <a:gd name="connsiteY8" fmla="*/ 132351 h 5061538"/>
              <a:gd name="connsiteX9" fmla="*/ 1058810 w 7919608"/>
              <a:gd name="connsiteY9" fmla="*/ 157391 h 5061538"/>
              <a:gd name="connsiteX10" fmla="*/ 1058810 w 7919608"/>
              <a:gd name="connsiteY10" fmla="*/ 168122 h 5061538"/>
              <a:gd name="connsiteX11" fmla="*/ 1062387 w 7919608"/>
              <a:gd name="connsiteY11" fmla="*/ 182430 h 5061538"/>
              <a:gd name="connsiteX12" fmla="*/ 1073118 w 7919608"/>
              <a:gd name="connsiteY12" fmla="*/ 207469 h 5061538"/>
              <a:gd name="connsiteX13" fmla="*/ 1098157 w 7919608"/>
              <a:gd name="connsiteY13" fmla="*/ 296896 h 5061538"/>
              <a:gd name="connsiteX14" fmla="*/ 1105311 w 7919608"/>
              <a:gd name="connsiteY14" fmla="*/ 318358 h 5061538"/>
              <a:gd name="connsiteX15" fmla="*/ 1126774 w 7919608"/>
              <a:gd name="connsiteY15" fmla="*/ 307627 h 5061538"/>
              <a:gd name="connsiteX16" fmla="*/ 1144659 w 7919608"/>
              <a:gd name="connsiteY16" fmla="*/ 289742 h 5061538"/>
              <a:gd name="connsiteX17" fmla="*/ 1158967 w 7919608"/>
              <a:gd name="connsiteY17" fmla="*/ 268279 h 5061538"/>
              <a:gd name="connsiteX18" fmla="*/ 1162544 w 7919608"/>
              <a:gd name="connsiteY18" fmla="*/ 246817 h 5061538"/>
              <a:gd name="connsiteX19" fmla="*/ 1162544 w 7919608"/>
              <a:gd name="connsiteY19" fmla="*/ 225355 h 5061538"/>
              <a:gd name="connsiteX20" fmla="*/ 1162544 w 7919608"/>
              <a:gd name="connsiteY20" fmla="*/ 207469 h 5061538"/>
              <a:gd name="connsiteX21" fmla="*/ 1169699 w 7919608"/>
              <a:gd name="connsiteY21" fmla="*/ 193161 h 5061538"/>
              <a:gd name="connsiteX22" fmla="*/ 1180430 w 7919608"/>
              <a:gd name="connsiteY22" fmla="*/ 178853 h 5061538"/>
              <a:gd name="connsiteX23" fmla="*/ 1191161 w 7919608"/>
              <a:gd name="connsiteY23" fmla="*/ 186007 h 5061538"/>
              <a:gd name="connsiteX24" fmla="*/ 1191161 w 7919608"/>
              <a:gd name="connsiteY24" fmla="*/ 211047 h 5061538"/>
              <a:gd name="connsiteX25" fmla="*/ 1198315 w 7919608"/>
              <a:gd name="connsiteY25" fmla="*/ 236086 h 5061538"/>
              <a:gd name="connsiteX26" fmla="*/ 1205469 w 7919608"/>
              <a:gd name="connsiteY26" fmla="*/ 261125 h 5061538"/>
              <a:gd name="connsiteX27" fmla="*/ 1219777 w 7919608"/>
              <a:gd name="connsiteY27" fmla="*/ 275434 h 5061538"/>
              <a:gd name="connsiteX28" fmla="*/ 1230509 w 7919608"/>
              <a:gd name="connsiteY28" fmla="*/ 293319 h 5061538"/>
              <a:gd name="connsiteX29" fmla="*/ 1248394 w 7919608"/>
              <a:gd name="connsiteY29" fmla="*/ 311204 h 5061538"/>
              <a:gd name="connsiteX30" fmla="*/ 1269856 w 7919608"/>
              <a:gd name="connsiteY30" fmla="*/ 325512 h 5061538"/>
              <a:gd name="connsiteX31" fmla="*/ 1291318 w 7919608"/>
              <a:gd name="connsiteY31" fmla="*/ 336244 h 5061538"/>
              <a:gd name="connsiteX32" fmla="*/ 1305627 w 7919608"/>
              <a:gd name="connsiteY32" fmla="*/ 346975 h 5061538"/>
              <a:gd name="connsiteX33" fmla="*/ 1319935 w 7919608"/>
              <a:gd name="connsiteY33" fmla="*/ 357706 h 5061538"/>
              <a:gd name="connsiteX34" fmla="*/ 1323512 w 7919608"/>
              <a:gd name="connsiteY34" fmla="*/ 372014 h 5061538"/>
              <a:gd name="connsiteX35" fmla="*/ 1323512 w 7919608"/>
              <a:gd name="connsiteY35" fmla="*/ 386322 h 5061538"/>
              <a:gd name="connsiteX36" fmla="*/ 1319935 w 7919608"/>
              <a:gd name="connsiteY36" fmla="*/ 407785 h 5061538"/>
              <a:gd name="connsiteX37" fmla="*/ 1323512 w 7919608"/>
              <a:gd name="connsiteY37" fmla="*/ 422093 h 5061538"/>
              <a:gd name="connsiteX38" fmla="*/ 1327089 w 7919608"/>
              <a:gd name="connsiteY38" fmla="*/ 439978 h 5061538"/>
              <a:gd name="connsiteX39" fmla="*/ 1334243 w 7919608"/>
              <a:gd name="connsiteY39" fmla="*/ 457864 h 5061538"/>
              <a:gd name="connsiteX40" fmla="*/ 1352129 w 7919608"/>
              <a:gd name="connsiteY40" fmla="*/ 482903 h 5061538"/>
              <a:gd name="connsiteX41" fmla="*/ 1373591 w 7919608"/>
              <a:gd name="connsiteY41" fmla="*/ 515097 h 5061538"/>
              <a:gd name="connsiteX42" fmla="*/ 1395053 w 7919608"/>
              <a:gd name="connsiteY42" fmla="*/ 536559 h 5061538"/>
              <a:gd name="connsiteX43" fmla="*/ 1416516 w 7919608"/>
              <a:gd name="connsiteY43" fmla="*/ 558021 h 5061538"/>
              <a:gd name="connsiteX44" fmla="*/ 1445132 w 7919608"/>
              <a:gd name="connsiteY44" fmla="*/ 572329 h 5061538"/>
              <a:gd name="connsiteX45" fmla="*/ 1473748 w 7919608"/>
              <a:gd name="connsiteY45" fmla="*/ 583061 h 5061538"/>
              <a:gd name="connsiteX46" fmla="*/ 1491634 w 7919608"/>
              <a:gd name="connsiteY46" fmla="*/ 597369 h 5061538"/>
              <a:gd name="connsiteX47" fmla="*/ 1509519 w 7919608"/>
              <a:gd name="connsiteY47" fmla="*/ 604523 h 5061538"/>
              <a:gd name="connsiteX48" fmla="*/ 1527404 w 7919608"/>
              <a:gd name="connsiteY48" fmla="*/ 622408 h 5061538"/>
              <a:gd name="connsiteX49" fmla="*/ 1534559 w 7919608"/>
              <a:gd name="connsiteY49" fmla="*/ 643871 h 5061538"/>
              <a:gd name="connsiteX50" fmla="*/ 1541713 w 7919608"/>
              <a:gd name="connsiteY50" fmla="*/ 651025 h 5061538"/>
              <a:gd name="connsiteX51" fmla="*/ 1552444 w 7919608"/>
              <a:gd name="connsiteY51" fmla="*/ 665333 h 5061538"/>
              <a:gd name="connsiteX52" fmla="*/ 1573906 w 7919608"/>
              <a:gd name="connsiteY52" fmla="*/ 683218 h 5061538"/>
              <a:gd name="connsiteX53" fmla="*/ 1591791 w 7919608"/>
              <a:gd name="connsiteY53" fmla="*/ 686795 h 5061538"/>
              <a:gd name="connsiteX54" fmla="*/ 1598946 w 7919608"/>
              <a:gd name="connsiteY54" fmla="*/ 683218 h 5061538"/>
              <a:gd name="connsiteX55" fmla="*/ 1602523 w 7919608"/>
              <a:gd name="connsiteY55" fmla="*/ 683218 h 5061538"/>
              <a:gd name="connsiteX56" fmla="*/ 1613254 w 7919608"/>
              <a:gd name="connsiteY56" fmla="*/ 665333 h 5061538"/>
              <a:gd name="connsiteX57" fmla="*/ 1616831 w 7919608"/>
              <a:gd name="connsiteY57" fmla="*/ 658179 h 5061538"/>
              <a:gd name="connsiteX58" fmla="*/ 1616831 w 7919608"/>
              <a:gd name="connsiteY58" fmla="*/ 647448 h 5061538"/>
              <a:gd name="connsiteX59" fmla="*/ 1598946 w 7919608"/>
              <a:gd name="connsiteY59" fmla="*/ 618831 h 5061538"/>
              <a:gd name="connsiteX60" fmla="*/ 1581060 w 7919608"/>
              <a:gd name="connsiteY60" fmla="*/ 586638 h 5061538"/>
              <a:gd name="connsiteX61" fmla="*/ 1563175 w 7919608"/>
              <a:gd name="connsiteY61" fmla="*/ 561598 h 5061538"/>
              <a:gd name="connsiteX62" fmla="*/ 1559598 w 7919608"/>
              <a:gd name="connsiteY62" fmla="*/ 536559 h 5061538"/>
              <a:gd name="connsiteX63" fmla="*/ 1556021 w 7919608"/>
              <a:gd name="connsiteY63" fmla="*/ 511519 h 5061538"/>
              <a:gd name="connsiteX64" fmla="*/ 1559598 w 7919608"/>
              <a:gd name="connsiteY64" fmla="*/ 479326 h 5061538"/>
              <a:gd name="connsiteX65" fmla="*/ 1563175 w 7919608"/>
              <a:gd name="connsiteY65" fmla="*/ 472172 h 5061538"/>
              <a:gd name="connsiteX66" fmla="*/ 1570329 w 7919608"/>
              <a:gd name="connsiteY66" fmla="*/ 457864 h 5061538"/>
              <a:gd name="connsiteX67" fmla="*/ 1584637 w 7919608"/>
              <a:gd name="connsiteY67" fmla="*/ 439978 h 5061538"/>
              <a:gd name="connsiteX68" fmla="*/ 1598946 w 7919608"/>
              <a:gd name="connsiteY68" fmla="*/ 429247 h 5061538"/>
              <a:gd name="connsiteX69" fmla="*/ 1613254 w 7919608"/>
              <a:gd name="connsiteY69" fmla="*/ 429247 h 5061538"/>
              <a:gd name="connsiteX70" fmla="*/ 1620408 w 7919608"/>
              <a:gd name="connsiteY70" fmla="*/ 436401 h 5061538"/>
              <a:gd name="connsiteX71" fmla="*/ 1634716 w 7919608"/>
              <a:gd name="connsiteY71" fmla="*/ 450709 h 5061538"/>
              <a:gd name="connsiteX72" fmla="*/ 1659755 w 7919608"/>
              <a:gd name="connsiteY72" fmla="*/ 500788 h 5061538"/>
              <a:gd name="connsiteX73" fmla="*/ 1688372 w 7919608"/>
              <a:gd name="connsiteY73" fmla="*/ 547290 h 5061538"/>
              <a:gd name="connsiteX74" fmla="*/ 1702680 w 7919608"/>
              <a:gd name="connsiteY74" fmla="*/ 561598 h 5061538"/>
              <a:gd name="connsiteX75" fmla="*/ 1716988 w 7919608"/>
              <a:gd name="connsiteY75" fmla="*/ 572329 h 5061538"/>
              <a:gd name="connsiteX76" fmla="*/ 1734874 w 7919608"/>
              <a:gd name="connsiteY76" fmla="*/ 572329 h 5061538"/>
              <a:gd name="connsiteX77" fmla="*/ 1749182 w 7919608"/>
              <a:gd name="connsiteY77" fmla="*/ 558021 h 5061538"/>
              <a:gd name="connsiteX78" fmla="*/ 1763490 w 7919608"/>
              <a:gd name="connsiteY78" fmla="*/ 547290 h 5061538"/>
              <a:gd name="connsiteX79" fmla="*/ 1777798 w 7919608"/>
              <a:gd name="connsiteY79" fmla="*/ 540136 h 5061538"/>
              <a:gd name="connsiteX80" fmla="*/ 1802838 w 7919608"/>
              <a:gd name="connsiteY80" fmla="*/ 532982 h 5061538"/>
              <a:gd name="connsiteX81" fmla="*/ 1831454 w 7919608"/>
              <a:gd name="connsiteY81" fmla="*/ 532982 h 5061538"/>
              <a:gd name="connsiteX82" fmla="*/ 1860071 w 7919608"/>
              <a:gd name="connsiteY82" fmla="*/ 532982 h 5061538"/>
              <a:gd name="connsiteX83" fmla="*/ 1881533 w 7919608"/>
              <a:gd name="connsiteY83" fmla="*/ 536559 h 5061538"/>
              <a:gd name="connsiteX84" fmla="*/ 1888687 w 7919608"/>
              <a:gd name="connsiteY84" fmla="*/ 543713 h 5061538"/>
              <a:gd name="connsiteX85" fmla="*/ 1895841 w 7919608"/>
              <a:gd name="connsiteY85" fmla="*/ 558021 h 5061538"/>
              <a:gd name="connsiteX86" fmla="*/ 1892264 w 7919608"/>
              <a:gd name="connsiteY86" fmla="*/ 575907 h 5061538"/>
              <a:gd name="connsiteX87" fmla="*/ 1888687 w 7919608"/>
              <a:gd name="connsiteY87" fmla="*/ 604523 h 5061538"/>
              <a:gd name="connsiteX88" fmla="*/ 1881533 w 7919608"/>
              <a:gd name="connsiteY88" fmla="*/ 629562 h 5061538"/>
              <a:gd name="connsiteX89" fmla="*/ 1867225 w 7919608"/>
              <a:gd name="connsiteY89" fmla="*/ 651025 h 5061538"/>
              <a:gd name="connsiteX90" fmla="*/ 1845762 w 7919608"/>
              <a:gd name="connsiteY90" fmla="*/ 668910 h 5061538"/>
              <a:gd name="connsiteX91" fmla="*/ 1860071 w 7919608"/>
              <a:gd name="connsiteY91" fmla="*/ 690372 h 5061538"/>
              <a:gd name="connsiteX92" fmla="*/ 1870802 w 7919608"/>
              <a:gd name="connsiteY92" fmla="*/ 708258 h 5061538"/>
              <a:gd name="connsiteX93" fmla="*/ 1885110 w 7919608"/>
              <a:gd name="connsiteY93" fmla="*/ 718989 h 5061538"/>
              <a:gd name="connsiteX94" fmla="*/ 1895841 w 7919608"/>
              <a:gd name="connsiteY94" fmla="*/ 722566 h 5061538"/>
              <a:gd name="connsiteX95" fmla="*/ 1913727 w 7919608"/>
              <a:gd name="connsiteY95" fmla="*/ 722566 h 5061538"/>
              <a:gd name="connsiteX96" fmla="*/ 1931612 w 7919608"/>
              <a:gd name="connsiteY96" fmla="*/ 718989 h 5061538"/>
              <a:gd name="connsiteX97" fmla="*/ 1945920 w 7919608"/>
              <a:gd name="connsiteY97" fmla="*/ 708258 h 5061538"/>
              <a:gd name="connsiteX98" fmla="*/ 1967383 w 7919608"/>
              <a:gd name="connsiteY98" fmla="*/ 690372 h 5061538"/>
              <a:gd name="connsiteX99" fmla="*/ 1995999 w 7919608"/>
              <a:gd name="connsiteY99" fmla="*/ 658179 h 5061538"/>
              <a:gd name="connsiteX100" fmla="*/ 2028192 w 7919608"/>
              <a:gd name="connsiteY100" fmla="*/ 618831 h 5061538"/>
              <a:gd name="connsiteX101" fmla="*/ 2038924 w 7919608"/>
              <a:gd name="connsiteY101" fmla="*/ 604523 h 5061538"/>
              <a:gd name="connsiteX102" fmla="*/ 2046078 w 7919608"/>
              <a:gd name="connsiteY102" fmla="*/ 586638 h 5061538"/>
              <a:gd name="connsiteX103" fmla="*/ 2038924 w 7919608"/>
              <a:gd name="connsiteY103" fmla="*/ 572329 h 5061538"/>
              <a:gd name="connsiteX104" fmla="*/ 2028192 w 7919608"/>
              <a:gd name="connsiteY104" fmla="*/ 558021 h 5061538"/>
              <a:gd name="connsiteX105" fmla="*/ 2010307 w 7919608"/>
              <a:gd name="connsiteY105" fmla="*/ 532982 h 5061538"/>
              <a:gd name="connsiteX106" fmla="*/ 2006730 w 7919608"/>
              <a:gd name="connsiteY106" fmla="*/ 522251 h 5061538"/>
              <a:gd name="connsiteX107" fmla="*/ 2010307 w 7919608"/>
              <a:gd name="connsiteY107" fmla="*/ 515097 h 5061538"/>
              <a:gd name="connsiteX108" fmla="*/ 2010307 w 7919608"/>
              <a:gd name="connsiteY108" fmla="*/ 504365 h 5061538"/>
              <a:gd name="connsiteX109" fmla="*/ 2017461 w 7919608"/>
              <a:gd name="connsiteY109" fmla="*/ 500788 h 5061538"/>
              <a:gd name="connsiteX110" fmla="*/ 2049655 w 7919608"/>
              <a:gd name="connsiteY110" fmla="*/ 490057 h 5061538"/>
              <a:gd name="connsiteX111" fmla="*/ 2067540 w 7919608"/>
              <a:gd name="connsiteY111" fmla="*/ 479326 h 5061538"/>
              <a:gd name="connsiteX112" fmla="*/ 2071117 w 7919608"/>
              <a:gd name="connsiteY112" fmla="*/ 457864 h 5061538"/>
              <a:gd name="connsiteX113" fmla="*/ 2078271 w 7919608"/>
              <a:gd name="connsiteY113" fmla="*/ 432824 h 5061538"/>
              <a:gd name="connsiteX114" fmla="*/ 2089002 w 7919608"/>
              <a:gd name="connsiteY114" fmla="*/ 418516 h 5061538"/>
              <a:gd name="connsiteX115" fmla="*/ 2103311 w 7919608"/>
              <a:gd name="connsiteY115" fmla="*/ 411362 h 5061538"/>
              <a:gd name="connsiteX116" fmla="*/ 2121196 w 7919608"/>
              <a:gd name="connsiteY116" fmla="*/ 407785 h 5061538"/>
              <a:gd name="connsiteX117" fmla="*/ 2142658 w 7919608"/>
              <a:gd name="connsiteY117" fmla="*/ 414939 h 5061538"/>
              <a:gd name="connsiteX118" fmla="*/ 2160544 w 7919608"/>
              <a:gd name="connsiteY118" fmla="*/ 429247 h 5061538"/>
              <a:gd name="connsiteX119" fmla="*/ 2171275 w 7919608"/>
              <a:gd name="connsiteY119" fmla="*/ 450709 h 5061538"/>
              <a:gd name="connsiteX120" fmla="*/ 2174852 w 7919608"/>
              <a:gd name="connsiteY120" fmla="*/ 472172 h 5061538"/>
              <a:gd name="connsiteX121" fmla="*/ 2174852 w 7919608"/>
              <a:gd name="connsiteY121" fmla="*/ 500788 h 5061538"/>
              <a:gd name="connsiteX122" fmla="*/ 2182006 w 7919608"/>
              <a:gd name="connsiteY122" fmla="*/ 525828 h 5061538"/>
              <a:gd name="connsiteX123" fmla="*/ 2196314 w 7919608"/>
              <a:gd name="connsiteY123" fmla="*/ 558021 h 5061538"/>
              <a:gd name="connsiteX124" fmla="*/ 2207045 w 7919608"/>
              <a:gd name="connsiteY124" fmla="*/ 583061 h 5061538"/>
              <a:gd name="connsiteX125" fmla="*/ 2239239 w 7919608"/>
              <a:gd name="connsiteY125" fmla="*/ 640294 h 5061538"/>
              <a:gd name="connsiteX126" fmla="*/ 2253547 w 7919608"/>
              <a:gd name="connsiteY126" fmla="*/ 668910 h 5061538"/>
              <a:gd name="connsiteX127" fmla="*/ 2260701 w 7919608"/>
              <a:gd name="connsiteY127" fmla="*/ 704681 h 5061538"/>
              <a:gd name="connsiteX128" fmla="*/ 2264278 w 7919608"/>
              <a:gd name="connsiteY128" fmla="*/ 718989 h 5061538"/>
              <a:gd name="connsiteX129" fmla="*/ 2275009 w 7919608"/>
              <a:gd name="connsiteY129" fmla="*/ 729720 h 5061538"/>
              <a:gd name="connsiteX130" fmla="*/ 2282164 w 7919608"/>
              <a:gd name="connsiteY130" fmla="*/ 740451 h 5061538"/>
              <a:gd name="connsiteX131" fmla="*/ 2296472 w 7919608"/>
              <a:gd name="connsiteY131" fmla="*/ 747605 h 5061538"/>
              <a:gd name="connsiteX132" fmla="*/ 2307203 w 7919608"/>
              <a:gd name="connsiteY132" fmla="*/ 747605 h 5061538"/>
              <a:gd name="connsiteX133" fmla="*/ 2321511 w 7919608"/>
              <a:gd name="connsiteY133" fmla="*/ 747605 h 5061538"/>
              <a:gd name="connsiteX134" fmla="*/ 2332242 w 7919608"/>
              <a:gd name="connsiteY134" fmla="*/ 744028 h 5061538"/>
              <a:gd name="connsiteX135" fmla="*/ 2346551 w 7919608"/>
              <a:gd name="connsiteY135" fmla="*/ 733297 h 5061538"/>
              <a:gd name="connsiteX136" fmla="*/ 2371590 w 7919608"/>
              <a:gd name="connsiteY136" fmla="*/ 708258 h 5061538"/>
              <a:gd name="connsiteX137" fmla="*/ 2400207 w 7919608"/>
              <a:gd name="connsiteY137" fmla="*/ 679641 h 5061538"/>
              <a:gd name="connsiteX138" fmla="*/ 2357282 w 7919608"/>
              <a:gd name="connsiteY138" fmla="*/ 661756 h 5061538"/>
              <a:gd name="connsiteX139" fmla="*/ 2332242 w 7919608"/>
              <a:gd name="connsiteY139" fmla="*/ 651025 h 5061538"/>
              <a:gd name="connsiteX140" fmla="*/ 2310780 w 7919608"/>
              <a:gd name="connsiteY140" fmla="*/ 640294 h 5061538"/>
              <a:gd name="connsiteX141" fmla="*/ 2289318 w 7919608"/>
              <a:gd name="connsiteY141" fmla="*/ 615254 h 5061538"/>
              <a:gd name="connsiteX142" fmla="*/ 2285741 w 7919608"/>
              <a:gd name="connsiteY142" fmla="*/ 604523 h 5061538"/>
              <a:gd name="connsiteX143" fmla="*/ 2285741 w 7919608"/>
              <a:gd name="connsiteY143" fmla="*/ 597369 h 5061538"/>
              <a:gd name="connsiteX144" fmla="*/ 2289318 w 7919608"/>
              <a:gd name="connsiteY144" fmla="*/ 593792 h 5061538"/>
              <a:gd name="connsiteX145" fmla="*/ 2296472 w 7919608"/>
              <a:gd name="connsiteY145" fmla="*/ 583061 h 5061538"/>
              <a:gd name="connsiteX146" fmla="*/ 2325088 w 7919608"/>
              <a:gd name="connsiteY146" fmla="*/ 572329 h 5061538"/>
              <a:gd name="connsiteX147" fmla="*/ 2342974 w 7919608"/>
              <a:gd name="connsiteY147" fmla="*/ 561598 h 5061538"/>
              <a:gd name="connsiteX148" fmla="*/ 2350128 w 7919608"/>
              <a:gd name="connsiteY148" fmla="*/ 547290 h 5061538"/>
              <a:gd name="connsiteX149" fmla="*/ 2357282 w 7919608"/>
              <a:gd name="connsiteY149" fmla="*/ 536559 h 5061538"/>
              <a:gd name="connsiteX150" fmla="*/ 2360859 w 7919608"/>
              <a:gd name="connsiteY150" fmla="*/ 518674 h 5061538"/>
              <a:gd name="connsiteX151" fmla="*/ 2364436 w 7919608"/>
              <a:gd name="connsiteY151" fmla="*/ 490057 h 5061538"/>
              <a:gd name="connsiteX152" fmla="*/ 2368013 w 7919608"/>
              <a:gd name="connsiteY152" fmla="*/ 475749 h 5061538"/>
              <a:gd name="connsiteX153" fmla="*/ 2371590 w 7919608"/>
              <a:gd name="connsiteY153" fmla="*/ 468595 h 5061538"/>
              <a:gd name="connsiteX154" fmla="*/ 2382321 w 7919608"/>
              <a:gd name="connsiteY154" fmla="*/ 457864 h 5061538"/>
              <a:gd name="connsiteX155" fmla="*/ 2393052 w 7919608"/>
              <a:gd name="connsiteY155" fmla="*/ 454287 h 5061538"/>
              <a:gd name="connsiteX156" fmla="*/ 2425246 w 7919608"/>
              <a:gd name="connsiteY156" fmla="*/ 450709 h 5061538"/>
              <a:gd name="connsiteX157" fmla="*/ 2446708 w 7919608"/>
              <a:gd name="connsiteY157" fmla="*/ 450709 h 5061538"/>
              <a:gd name="connsiteX158" fmla="*/ 2464594 w 7919608"/>
              <a:gd name="connsiteY158" fmla="*/ 454287 h 5061538"/>
              <a:gd name="connsiteX159" fmla="*/ 2486056 w 7919608"/>
              <a:gd name="connsiteY159" fmla="*/ 461441 h 5061538"/>
              <a:gd name="connsiteX160" fmla="*/ 2503941 w 7919608"/>
              <a:gd name="connsiteY160" fmla="*/ 472172 h 5061538"/>
              <a:gd name="connsiteX161" fmla="*/ 2532558 w 7919608"/>
              <a:gd name="connsiteY161" fmla="*/ 493634 h 5061538"/>
              <a:gd name="connsiteX162" fmla="*/ 2564751 w 7919608"/>
              <a:gd name="connsiteY162" fmla="*/ 511519 h 5061538"/>
              <a:gd name="connsiteX163" fmla="*/ 2596945 w 7919608"/>
              <a:gd name="connsiteY163" fmla="*/ 518674 h 5061538"/>
              <a:gd name="connsiteX164" fmla="*/ 2632715 w 7919608"/>
              <a:gd name="connsiteY164" fmla="*/ 522251 h 5061538"/>
              <a:gd name="connsiteX165" fmla="*/ 2650601 w 7919608"/>
              <a:gd name="connsiteY165" fmla="*/ 522251 h 5061538"/>
              <a:gd name="connsiteX166" fmla="*/ 2668486 w 7919608"/>
              <a:gd name="connsiteY166" fmla="*/ 525828 h 5061538"/>
              <a:gd name="connsiteX167" fmla="*/ 2675640 w 7919608"/>
              <a:gd name="connsiteY167" fmla="*/ 511519 h 5061538"/>
              <a:gd name="connsiteX168" fmla="*/ 2682794 w 7919608"/>
              <a:gd name="connsiteY168" fmla="*/ 497211 h 5061538"/>
              <a:gd name="connsiteX169" fmla="*/ 2689948 w 7919608"/>
              <a:gd name="connsiteY169" fmla="*/ 482903 h 5061538"/>
              <a:gd name="connsiteX170" fmla="*/ 2689948 w 7919608"/>
              <a:gd name="connsiteY170" fmla="*/ 472172 h 5061538"/>
              <a:gd name="connsiteX171" fmla="*/ 2682794 w 7919608"/>
              <a:gd name="connsiteY171" fmla="*/ 457864 h 5061538"/>
              <a:gd name="connsiteX172" fmla="*/ 2672063 w 7919608"/>
              <a:gd name="connsiteY172" fmla="*/ 450709 h 5061538"/>
              <a:gd name="connsiteX173" fmla="*/ 2657755 w 7919608"/>
              <a:gd name="connsiteY173" fmla="*/ 443555 h 5061538"/>
              <a:gd name="connsiteX174" fmla="*/ 2639869 w 7919608"/>
              <a:gd name="connsiteY174" fmla="*/ 436401 h 5061538"/>
              <a:gd name="connsiteX175" fmla="*/ 2607676 w 7919608"/>
              <a:gd name="connsiteY175" fmla="*/ 432824 h 5061538"/>
              <a:gd name="connsiteX176" fmla="*/ 2571905 w 7919608"/>
              <a:gd name="connsiteY176" fmla="*/ 422093 h 5061538"/>
              <a:gd name="connsiteX177" fmla="*/ 2557597 w 7919608"/>
              <a:gd name="connsiteY177" fmla="*/ 422093 h 5061538"/>
              <a:gd name="connsiteX178" fmla="*/ 2546866 w 7919608"/>
              <a:gd name="connsiteY178" fmla="*/ 414939 h 5061538"/>
              <a:gd name="connsiteX179" fmla="*/ 2539712 w 7919608"/>
              <a:gd name="connsiteY179" fmla="*/ 407785 h 5061538"/>
              <a:gd name="connsiteX180" fmla="*/ 2536135 w 7919608"/>
              <a:gd name="connsiteY180" fmla="*/ 393477 h 5061538"/>
              <a:gd name="connsiteX181" fmla="*/ 2536135 w 7919608"/>
              <a:gd name="connsiteY181" fmla="*/ 379168 h 5061538"/>
              <a:gd name="connsiteX182" fmla="*/ 2539712 w 7919608"/>
              <a:gd name="connsiteY182" fmla="*/ 368437 h 5061538"/>
              <a:gd name="connsiteX183" fmla="*/ 2550443 w 7919608"/>
              <a:gd name="connsiteY183" fmla="*/ 364860 h 5061538"/>
              <a:gd name="connsiteX184" fmla="*/ 2564751 w 7919608"/>
              <a:gd name="connsiteY184" fmla="*/ 354129 h 5061538"/>
              <a:gd name="connsiteX185" fmla="*/ 2614830 w 7919608"/>
              <a:gd name="connsiteY185" fmla="*/ 329089 h 5061538"/>
              <a:gd name="connsiteX186" fmla="*/ 2661332 w 7919608"/>
              <a:gd name="connsiteY186" fmla="*/ 296896 h 5061538"/>
              <a:gd name="connsiteX187" fmla="*/ 2675640 w 7919608"/>
              <a:gd name="connsiteY187" fmla="*/ 286165 h 5061538"/>
              <a:gd name="connsiteX188" fmla="*/ 2679217 w 7919608"/>
              <a:gd name="connsiteY188" fmla="*/ 264702 h 5061538"/>
              <a:gd name="connsiteX189" fmla="*/ 2682794 w 7919608"/>
              <a:gd name="connsiteY189" fmla="*/ 246817 h 5061538"/>
              <a:gd name="connsiteX190" fmla="*/ 2689948 w 7919608"/>
              <a:gd name="connsiteY190" fmla="*/ 225355 h 5061538"/>
              <a:gd name="connsiteX191" fmla="*/ 2697102 w 7919608"/>
              <a:gd name="connsiteY191" fmla="*/ 207469 h 5061538"/>
              <a:gd name="connsiteX192" fmla="*/ 2704257 w 7919608"/>
              <a:gd name="connsiteY192" fmla="*/ 200315 h 5061538"/>
              <a:gd name="connsiteX193" fmla="*/ 2722142 w 7919608"/>
              <a:gd name="connsiteY193" fmla="*/ 200315 h 5061538"/>
              <a:gd name="connsiteX194" fmla="*/ 2740027 w 7919608"/>
              <a:gd name="connsiteY194" fmla="*/ 207469 h 5061538"/>
              <a:gd name="connsiteX195" fmla="*/ 2775798 w 7919608"/>
              <a:gd name="connsiteY195" fmla="*/ 228932 h 5061538"/>
              <a:gd name="connsiteX196" fmla="*/ 2775798 w 7919608"/>
              <a:gd name="connsiteY196" fmla="*/ 236086 h 5061538"/>
              <a:gd name="connsiteX197" fmla="*/ 2772221 w 7919608"/>
              <a:gd name="connsiteY197" fmla="*/ 246817 h 5061538"/>
              <a:gd name="connsiteX198" fmla="*/ 2757912 w 7919608"/>
              <a:gd name="connsiteY198" fmla="*/ 268279 h 5061538"/>
              <a:gd name="connsiteX199" fmla="*/ 2757912 w 7919608"/>
              <a:gd name="connsiteY199" fmla="*/ 286165 h 5061538"/>
              <a:gd name="connsiteX200" fmla="*/ 2757912 w 7919608"/>
              <a:gd name="connsiteY200" fmla="*/ 304050 h 5061538"/>
              <a:gd name="connsiteX201" fmla="*/ 2772221 w 7919608"/>
              <a:gd name="connsiteY201" fmla="*/ 325512 h 5061538"/>
              <a:gd name="connsiteX202" fmla="*/ 2786529 w 7919608"/>
              <a:gd name="connsiteY202" fmla="*/ 357706 h 5061538"/>
              <a:gd name="connsiteX203" fmla="*/ 2793683 w 7919608"/>
              <a:gd name="connsiteY203" fmla="*/ 372014 h 5061538"/>
              <a:gd name="connsiteX204" fmla="*/ 2797260 w 7919608"/>
              <a:gd name="connsiteY204" fmla="*/ 386322 h 5061538"/>
              <a:gd name="connsiteX205" fmla="*/ 2793683 w 7919608"/>
              <a:gd name="connsiteY205" fmla="*/ 393477 h 5061538"/>
              <a:gd name="connsiteX206" fmla="*/ 2786529 w 7919608"/>
              <a:gd name="connsiteY206" fmla="*/ 407785 h 5061538"/>
              <a:gd name="connsiteX207" fmla="*/ 2761489 w 7919608"/>
              <a:gd name="connsiteY207" fmla="*/ 439978 h 5061538"/>
              <a:gd name="connsiteX208" fmla="*/ 2747181 w 7919608"/>
              <a:gd name="connsiteY208" fmla="*/ 472172 h 5061538"/>
              <a:gd name="connsiteX209" fmla="*/ 2736450 w 7919608"/>
              <a:gd name="connsiteY209" fmla="*/ 500788 h 5061538"/>
              <a:gd name="connsiteX210" fmla="*/ 2765067 w 7919608"/>
              <a:gd name="connsiteY210" fmla="*/ 525828 h 5061538"/>
              <a:gd name="connsiteX211" fmla="*/ 2779375 w 7919608"/>
              <a:gd name="connsiteY211" fmla="*/ 540136 h 5061538"/>
              <a:gd name="connsiteX212" fmla="*/ 2786529 w 7919608"/>
              <a:gd name="connsiteY212" fmla="*/ 554444 h 5061538"/>
              <a:gd name="connsiteX213" fmla="*/ 2793683 w 7919608"/>
              <a:gd name="connsiteY213" fmla="*/ 572329 h 5061538"/>
              <a:gd name="connsiteX214" fmla="*/ 2793683 w 7919608"/>
              <a:gd name="connsiteY214" fmla="*/ 586638 h 5061538"/>
              <a:gd name="connsiteX215" fmla="*/ 2793683 w 7919608"/>
              <a:gd name="connsiteY215" fmla="*/ 622408 h 5061538"/>
              <a:gd name="connsiteX216" fmla="*/ 2843762 w 7919608"/>
              <a:gd name="connsiteY216" fmla="*/ 618831 h 5061538"/>
              <a:gd name="connsiteX217" fmla="*/ 2858070 w 7919608"/>
              <a:gd name="connsiteY217" fmla="*/ 618831 h 5061538"/>
              <a:gd name="connsiteX218" fmla="*/ 2868801 w 7919608"/>
              <a:gd name="connsiteY218" fmla="*/ 622408 h 5061538"/>
              <a:gd name="connsiteX219" fmla="*/ 2879532 w 7919608"/>
              <a:gd name="connsiteY219" fmla="*/ 629562 h 5061538"/>
              <a:gd name="connsiteX220" fmla="*/ 2883109 w 7919608"/>
              <a:gd name="connsiteY220" fmla="*/ 647448 h 5061538"/>
              <a:gd name="connsiteX221" fmla="*/ 2897418 w 7919608"/>
              <a:gd name="connsiteY221" fmla="*/ 697527 h 5061538"/>
              <a:gd name="connsiteX222" fmla="*/ 2904572 w 7919608"/>
              <a:gd name="connsiteY222" fmla="*/ 718989 h 5061538"/>
              <a:gd name="connsiteX223" fmla="*/ 2918880 w 7919608"/>
              <a:gd name="connsiteY223" fmla="*/ 711835 h 5061538"/>
              <a:gd name="connsiteX224" fmla="*/ 2929611 w 7919608"/>
              <a:gd name="connsiteY224" fmla="*/ 708258 h 5061538"/>
              <a:gd name="connsiteX225" fmla="*/ 2954651 w 7919608"/>
              <a:gd name="connsiteY225" fmla="*/ 690372 h 5061538"/>
              <a:gd name="connsiteX226" fmla="*/ 2979690 w 7919608"/>
              <a:gd name="connsiteY226" fmla="*/ 679641 h 5061538"/>
              <a:gd name="connsiteX227" fmla="*/ 3004729 w 7919608"/>
              <a:gd name="connsiteY227" fmla="*/ 668910 h 5061538"/>
              <a:gd name="connsiteX228" fmla="*/ 3015461 w 7919608"/>
              <a:gd name="connsiteY228" fmla="*/ 668910 h 5061538"/>
              <a:gd name="connsiteX229" fmla="*/ 3033346 w 7919608"/>
              <a:gd name="connsiteY229" fmla="*/ 668910 h 5061538"/>
              <a:gd name="connsiteX230" fmla="*/ 3047654 w 7919608"/>
              <a:gd name="connsiteY230" fmla="*/ 668910 h 5061538"/>
              <a:gd name="connsiteX231" fmla="*/ 3054808 w 7919608"/>
              <a:gd name="connsiteY231" fmla="*/ 661756 h 5061538"/>
              <a:gd name="connsiteX232" fmla="*/ 3076271 w 7919608"/>
              <a:gd name="connsiteY232" fmla="*/ 651025 h 5061538"/>
              <a:gd name="connsiteX233" fmla="*/ 3097733 w 7919608"/>
              <a:gd name="connsiteY233" fmla="*/ 651025 h 5061538"/>
              <a:gd name="connsiteX234" fmla="*/ 3119195 w 7919608"/>
              <a:gd name="connsiteY234" fmla="*/ 658179 h 5061538"/>
              <a:gd name="connsiteX235" fmla="*/ 3137081 w 7919608"/>
              <a:gd name="connsiteY235" fmla="*/ 651025 h 5061538"/>
              <a:gd name="connsiteX236" fmla="*/ 3151389 w 7919608"/>
              <a:gd name="connsiteY236" fmla="*/ 647448 h 5061538"/>
              <a:gd name="connsiteX237" fmla="*/ 3162120 w 7919608"/>
              <a:gd name="connsiteY237" fmla="*/ 640294 h 5061538"/>
              <a:gd name="connsiteX238" fmla="*/ 3172851 w 7919608"/>
              <a:gd name="connsiteY238" fmla="*/ 625985 h 5061538"/>
              <a:gd name="connsiteX239" fmla="*/ 3176428 w 7919608"/>
              <a:gd name="connsiteY239" fmla="*/ 608100 h 5061538"/>
              <a:gd name="connsiteX240" fmla="*/ 3176428 w 7919608"/>
              <a:gd name="connsiteY240" fmla="*/ 593792 h 5061538"/>
              <a:gd name="connsiteX241" fmla="*/ 3176428 w 7919608"/>
              <a:gd name="connsiteY241" fmla="*/ 575907 h 5061538"/>
              <a:gd name="connsiteX242" fmla="*/ 3172851 w 7919608"/>
              <a:gd name="connsiteY242" fmla="*/ 547290 h 5061538"/>
              <a:gd name="connsiteX243" fmla="*/ 3172851 w 7919608"/>
              <a:gd name="connsiteY243" fmla="*/ 525828 h 5061538"/>
              <a:gd name="connsiteX244" fmla="*/ 3169274 w 7919608"/>
              <a:gd name="connsiteY244" fmla="*/ 500788 h 5061538"/>
              <a:gd name="connsiteX245" fmla="*/ 3158543 w 7919608"/>
              <a:gd name="connsiteY245" fmla="*/ 475749 h 5061538"/>
              <a:gd name="connsiteX246" fmla="*/ 3151389 w 7919608"/>
              <a:gd name="connsiteY246" fmla="*/ 457864 h 5061538"/>
              <a:gd name="connsiteX247" fmla="*/ 3151389 w 7919608"/>
              <a:gd name="connsiteY247" fmla="*/ 443555 h 5061538"/>
              <a:gd name="connsiteX248" fmla="*/ 3154966 w 7919608"/>
              <a:gd name="connsiteY248" fmla="*/ 432824 h 5061538"/>
              <a:gd name="connsiteX249" fmla="*/ 3162120 w 7919608"/>
              <a:gd name="connsiteY249" fmla="*/ 422093 h 5061538"/>
              <a:gd name="connsiteX250" fmla="*/ 3187159 w 7919608"/>
              <a:gd name="connsiteY250" fmla="*/ 418516 h 5061538"/>
              <a:gd name="connsiteX251" fmla="*/ 3201468 w 7919608"/>
              <a:gd name="connsiteY251" fmla="*/ 418516 h 5061538"/>
              <a:gd name="connsiteX252" fmla="*/ 3219353 w 7919608"/>
              <a:gd name="connsiteY252" fmla="*/ 429247 h 5061538"/>
              <a:gd name="connsiteX253" fmla="*/ 3233661 w 7919608"/>
              <a:gd name="connsiteY253" fmla="*/ 443555 h 5061538"/>
              <a:gd name="connsiteX254" fmla="*/ 3233661 w 7919608"/>
              <a:gd name="connsiteY254" fmla="*/ 468595 h 5061538"/>
              <a:gd name="connsiteX255" fmla="*/ 3237238 w 7919608"/>
              <a:gd name="connsiteY255" fmla="*/ 490057 h 5061538"/>
              <a:gd name="connsiteX256" fmla="*/ 3244392 w 7919608"/>
              <a:gd name="connsiteY256" fmla="*/ 518674 h 5061538"/>
              <a:gd name="connsiteX257" fmla="*/ 3255124 w 7919608"/>
              <a:gd name="connsiteY257" fmla="*/ 525828 h 5061538"/>
              <a:gd name="connsiteX258" fmla="*/ 3262278 w 7919608"/>
              <a:gd name="connsiteY258" fmla="*/ 536559 h 5061538"/>
              <a:gd name="connsiteX259" fmla="*/ 3290894 w 7919608"/>
              <a:gd name="connsiteY259" fmla="*/ 561598 h 5061538"/>
              <a:gd name="connsiteX260" fmla="*/ 3315934 w 7919608"/>
              <a:gd name="connsiteY260" fmla="*/ 593792 h 5061538"/>
              <a:gd name="connsiteX261" fmla="*/ 3333819 w 7919608"/>
              <a:gd name="connsiteY261" fmla="*/ 622408 h 5061538"/>
              <a:gd name="connsiteX262" fmla="*/ 3340973 w 7919608"/>
              <a:gd name="connsiteY262" fmla="*/ 658179 h 5061538"/>
              <a:gd name="connsiteX263" fmla="*/ 3344550 w 7919608"/>
              <a:gd name="connsiteY263" fmla="*/ 665333 h 5061538"/>
              <a:gd name="connsiteX264" fmla="*/ 3358858 w 7919608"/>
              <a:gd name="connsiteY264" fmla="*/ 683218 h 5061538"/>
              <a:gd name="connsiteX265" fmla="*/ 3398206 w 7919608"/>
              <a:gd name="connsiteY265" fmla="*/ 629562 h 5061538"/>
              <a:gd name="connsiteX266" fmla="*/ 3401783 w 7919608"/>
              <a:gd name="connsiteY266" fmla="*/ 618831 h 5061538"/>
              <a:gd name="connsiteX267" fmla="*/ 3401783 w 7919608"/>
              <a:gd name="connsiteY267" fmla="*/ 604523 h 5061538"/>
              <a:gd name="connsiteX268" fmla="*/ 3394629 w 7919608"/>
              <a:gd name="connsiteY268" fmla="*/ 579484 h 5061538"/>
              <a:gd name="connsiteX269" fmla="*/ 3394629 w 7919608"/>
              <a:gd name="connsiteY269" fmla="*/ 561598 h 5061538"/>
              <a:gd name="connsiteX270" fmla="*/ 3398206 w 7919608"/>
              <a:gd name="connsiteY270" fmla="*/ 547290 h 5061538"/>
              <a:gd name="connsiteX271" fmla="*/ 3405360 w 7919608"/>
              <a:gd name="connsiteY271" fmla="*/ 543713 h 5061538"/>
              <a:gd name="connsiteX272" fmla="*/ 3426822 w 7919608"/>
              <a:gd name="connsiteY272" fmla="*/ 543713 h 5061538"/>
              <a:gd name="connsiteX273" fmla="*/ 3473324 w 7919608"/>
              <a:gd name="connsiteY273" fmla="*/ 547290 h 5061538"/>
              <a:gd name="connsiteX274" fmla="*/ 3469747 w 7919608"/>
              <a:gd name="connsiteY274" fmla="*/ 547290 h 5061538"/>
              <a:gd name="connsiteX275" fmla="*/ 3469747 w 7919608"/>
              <a:gd name="connsiteY275" fmla="*/ 597369 h 5061538"/>
              <a:gd name="connsiteX276" fmla="*/ 3473324 w 7919608"/>
              <a:gd name="connsiteY276" fmla="*/ 640294 h 5061538"/>
              <a:gd name="connsiteX277" fmla="*/ 3480478 w 7919608"/>
              <a:gd name="connsiteY277" fmla="*/ 658179 h 5061538"/>
              <a:gd name="connsiteX278" fmla="*/ 3484055 w 7919608"/>
              <a:gd name="connsiteY278" fmla="*/ 668910 h 5061538"/>
              <a:gd name="connsiteX279" fmla="*/ 3498364 w 7919608"/>
              <a:gd name="connsiteY279" fmla="*/ 676064 h 5061538"/>
              <a:gd name="connsiteX280" fmla="*/ 3512672 w 7919608"/>
              <a:gd name="connsiteY280" fmla="*/ 679641 h 5061538"/>
              <a:gd name="connsiteX281" fmla="*/ 3526980 w 7919608"/>
              <a:gd name="connsiteY281" fmla="*/ 683218 h 5061538"/>
              <a:gd name="connsiteX282" fmla="*/ 3541288 w 7919608"/>
              <a:gd name="connsiteY282" fmla="*/ 690372 h 5061538"/>
              <a:gd name="connsiteX283" fmla="*/ 3569905 w 7919608"/>
              <a:gd name="connsiteY283" fmla="*/ 704681 h 5061538"/>
              <a:gd name="connsiteX284" fmla="*/ 3602098 w 7919608"/>
              <a:gd name="connsiteY284" fmla="*/ 722566 h 5061538"/>
              <a:gd name="connsiteX285" fmla="*/ 3612829 w 7919608"/>
              <a:gd name="connsiteY285" fmla="*/ 722566 h 5061538"/>
              <a:gd name="connsiteX286" fmla="*/ 3623561 w 7919608"/>
              <a:gd name="connsiteY286" fmla="*/ 722566 h 5061538"/>
              <a:gd name="connsiteX287" fmla="*/ 3630715 w 7919608"/>
              <a:gd name="connsiteY287" fmla="*/ 711835 h 5061538"/>
              <a:gd name="connsiteX288" fmla="*/ 3634292 w 7919608"/>
              <a:gd name="connsiteY288" fmla="*/ 704681 h 5061538"/>
              <a:gd name="connsiteX289" fmla="*/ 3648600 w 7919608"/>
              <a:gd name="connsiteY289" fmla="*/ 676064 h 5061538"/>
              <a:gd name="connsiteX290" fmla="*/ 3652177 w 7919608"/>
              <a:gd name="connsiteY290" fmla="*/ 661756 h 5061538"/>
              <a:gd name="connsiteX291" fmla="*/ 3659331 w 7919608"/>
              <a:gd name="connsiteY291" fmla="*/ 647448 h 5061538"/>
              <a:gd name="connsiteX292" fmla="*/ 3673639 w 7919608"/>
              <a:gd name="connsiteY292" fmla="*/ 636717 h 5061538"/>
              <a:gd name="connsiteX293" fmla="*/ 3691525 w 7919608"/>
              <a:gd name="connsiteY293" fmla="*/ 636717 h 5061538"/>
              <a:gd name="connsiteX294" fmla="*/ 3705833 w 7919608"/>
              <a:gd name="connsiteY294" fmla="*/ 643871 h 5061538"/>
              <a:gd name="connsiteX295" fmla="*/ 3709410 w 7919608"/>
              <a:gd name="connsiteY295" fmla="*/ 651025 h 5061538"/>
              <a:gd name="connsiteX296" fmla="*/ 3712987 w 7919608"/>
              <a:gd name="connsiteY296" fmla="*/ 661756 h 5061538"/>
              <a:gd name="connsiteX297" fmla="*/ 3712987 w 7919608"/>
              <a:gd name="connsiteY297" fmla="*/ 690372 h 5061538"/>
              <a:gd name="connsiteX298" fmla="*/ 3709410 w 7919608"/>
              <a:gd name="connsiteY298" fmla="*/ 722566 h 5061538"/>
              <a:gd name="connsiteX299" fmla="*/ 3698679 w 7919608"/>
              <a:gd name="connsiteY299" fmla="*/ 754760 h 5061538"/>
              <a:gd name="connsiteX300" fmla="*/ 3698679 w 7919608"/>
              <a:gd name="connsiteY300" fmla="*/ 769068 h 5061538"/>
              <a:gd name="connsiteX301" fmla="*/ 3705833 w 7919608"/>
              <a:gd name="connsiteY301" fmla="*/ 779799 h 5061538"/>
              <a:gd name="connsiteX302" fmla="*/ 3712987 w 7919608"/>
              <a:gd name="connsiteY302" fmla="*/ 786953 h 5061538"/>
              <a:gd name="connsiteX303" fmla="*/ 3730872 w 7919608"/>
              <a:gd name="connsiteY303" fmla="*/ 801261 h 5061538"/>
              <a:gd name="connsiteX304" fmla="*/ 3748758 w 7919608"/>
              <a:gd name="connsiteY304" fmla="*/ 801261 h 5061538"/>
              <a:gd name="connsiteX305" fmla="*/ 3770220 w 7919608"/>
              <a:gd name="connsiteY305" fmla="*/ 794107 h 5061538"/>
              <a:gd name="connsiteX306" fmla="*/ 3784528 w 7919608"/>
              <a:gd name="connsiteY306" fmla="*/ 790530 h 5061538"/>
              <a:gd name="connsiteX307" fmla="*/ 3820299 w 7919608"/>
              <a:gd name="connsiteY307" fmla="*/ 779799 h 5061538"/>
              <a:gd name="connsiteX308" fmla="*/ 3852492 w 7919608"/>
              <a:gd name="connsiteY308" fmla="*/ 769068 h 5061538"/>
              <a:gd name="connsiteX309" fmla="*/ 3863224 w 7919608"/>
              <a:gd name="connsiteY309" fmla="*/ 769068 h 5061538"/>
              <a:gd name="connsiteX310" fmla="*/ 3877532 w 7919608"/>
              <a:gd name="connsiteY310" fmla="*/ 772645 h 5061538"/>
              <a:gd name="connsiteX311" fmla="*/ 3884686 w 7919608"/>
              <a:gd name="connsiteY311" fmla="*/ 779799 h 5061538"/>
              <a:gd name="connsiteX312" fmla="*/ 3895417 w 7919608"/>
              <a:gd name="connsiteY312" fmla="*/ 790530 h 5061538"/>
              <a:gd name="connsiteX313" fmla="*/ 3902571 w 7919608"/>
              <a:gd name="connsiteY313" fmla="*/ 801261 h 5061538"/>
              <a:gd name="connsiteX314" fmla="*/ 3906148 w 7919608"/>
              <a:gd name="connsiteY314" fmla="*/ 815570 h 5061538"/>
              <a:gd name="connsiteX315" fmla="*/ 3913302 w 7919608"/>
              <a:gd name="connsiteY315" fmla="*/ 837032 h 5061538"/>
              <a:gd name="connsiteX316" fmla="*/ 3920456 w 7919608"/>
              <a:gd name="connsiteY316" fmla="*/ 858494 h 5061538"/>
              <a:gd name="connsiteX317" fmla="*/ 3934765 w 7919608"/>
              <a:gd name="connsiteY317" fmla="*/ 872802 h 5061538"/>
              <a:gd name="connsiteX318" fmla="*/ 3945496 w 7919608"/>
              <a:gd name="connsiteY318" fmla="*/ 887111 h 5061538"/>
              <a:gd name="connsiteX319" fmla="*/ 3959804 w 7919608"/>
              <a:gd name="connsiteY319" fmla="*/ 890688 h 5061538"/>
              <a:gd name="connsiteX320" fmla="*/ 3977689 w 7919608"/>
              <a:gd name="connsiteY320" fmla="*/ 897842 h 5061538"/>
              <a:gd name="connsiteX321" fmla="*/ 4024191 w 7919608"/>
              <a:gd name="connsiteY321" fmla="*/ 904996 h 5061538"/>
              <a:gd name="connsiteX322" fmla="*/ 4081424 w 7919608"/>
              <a:gd name="connsiteY322" fmla="*/ 904996 h 5061538"/>
              <a:gd name="connsiteX323" fmla="*/ 4135080 w 7919608"/>
              <a:gd name="connsiteY323" fmla="*/ 897842 h 5061538"/>
              <a:gd name="connsiteX324" fmla="*/ 4192313 w 7919608"/>
              <a:gd name="connsiteY324" fmla="*/ 890688 h 5061538"/>
              <a:gd name="connsiteX325" fmla="*/ 4249546 w 7919608"/>
              <a:gd name="connsiteY325" fmla="*/ 887111 h 5061538"/>
              <a:gd name="connsiteX326" fmla="*/ 4288894 w 7919608"/>
              <a:gd name="connsiteY326" fmla="*/ 883534 h 5061538"/>
              <a:gd name="connsiteX327" fmla="*/ 4331818 w 7919608"/>
              <a:gd name="connsiteY327" fmla="*/ 876380 h 5061538"/>
              <a:gd name="connsiteX328" fmla="*/ 4349704 w 7919608"/>
              <a:gd name="connsiteY328" fmla="*/ 869225 h 5061538"/>
              <a:gd name="connsiteX329" fmla="*/ 4364012 w 7919608"/>
              <a:gd name="connsiteY329" fmla="*/ 858494 h 5061538"/>
              <a:gd name="connsiteX330" fmla="*/ 4385474 w 7919608"/>
              <a:gd name="connsiteY330" fmla="*/ 847763 h 5061538"/>
              <a:gd name="connsiteX331" fmla="*/ 4399782 w 7919608"/>
              <a:gd name="connsiteY331" fmla="*/ 833455 h 5061538"/>
              <a:gd name="connsiteX332" fmla="*/ 4421245 w 7919608"/>
              <a:gd name="connsiteY332" fmla="*/ 815570 h 5061538"/>
              <a:gd name="connsiteX333" fmla="*/ 4446284 w 7919608"/>
              <a:gd name="connsiteY333" fmla="*/ 808415 h 5061538"/>
              <a:gd name="connsiteX334" fmla="*/ 4499940 w 7919608"/>
              <a:gd name="connsiteY334" fmla="*/ 794107 h 5061538"/>
              <a:gd name="connsiteX335" fmla="*/ 4521402 w 7919608"/>
              <a:gd name="connsiteY335" fmla="*/ 790530 h 5061538"/>
              <a:gd name="connsiteX336" fmla="*/ 4542865 w 7919608"/>
              <a:gd name="connsiteY336" fmla="*/ 801261 h 5061538"/>
              <a:gd name="connsiteX337" fmla="*/ 4550019 w 7919608"/>
              <a:gd name="connsiteY337" fmla="*/ 804838 h 5061538"/>
              <a:gd name="connsiteX338" fmla="*/ 4557173 w 7919608"/>
              <a:gd name="connsiteY338" fmla="*/ 811992 h 5061538"/>
              <a:gd name="connsiteX339" fmla="*/ 4557173 w 7919608"/>
              <a:gd name="connsiteY339" fmla="*/ 822724 h 5061538"/>
              <a:gd name="connsiteX340" fmla="*/ 4550019 w 7919608"/>
              <a:gd name="connsiteY340" fmla="*/ 829878 h 5061538"/>
              <a:gd name="connsiteX341" fmla="*/ 4524980 w 7919608"/>
              <a:gd name="connsiteY341" fmla="*/ 851340 h 5061538"/>
              <a:gd name="connsiteX342" fmla="*/ 4496363 w 7919608"/>
              <a:gd name="connsiteY342" fmla="*/ 872802 h 5061538"/>
              <a:gd name="connsiteX343" fmla="*/ 4464170 w 7919608"/>
              <a:gd name="connsiteY343" fmla="*/ 890688 h 5061538"/>
              <a:gd name="connsiteX344" fmla="*/ 4446284 w 7919608"/>
              <a:gd name="connsiteY344" fmla="*/ 894265 h 5061538"/>
              <a:gd name="connsiteX345" fmla="*/ 4431976 w 7919608"/>
              <a:gd name="connsiteY345" fmla="*/ 894265 h 5061538"/>
              <a:gd name="connsiteX346" fmla="*/ 4399782 w 7919608"/>
              <a:gd name="connsiteY346" fmla="*/ 897842 h 5061538"/>
              <a:gd name="connsiteX347" fmla="*/ 4374743 w 7919608"/>
              <a:gd name="connsiteY347" fmla="*/ 908573 h 5061538"/>
              <a:gd name="connsiteX348" fmla="*/ 4342550 w 7919608"/>
              <a:gd name="connsiteY348" fmla="*/ 915727 h 5061538"/>
              <a:gd name="connsiteX349" fmla="*/ 4317510 w 7919608"/>
              <a:gd name="connsiteY349" fmla="*/ 933612 h 5061538"/>
              <a:gd name="connsiteX350" fmla="*/ 4303202 w 7919608"/>
              <a:gd name="connsiteY350" fmla="*/ 940767 h 5061538"/>
              <a:gd name="connsiteX351" fmla="*/ 4288894 w 7919608"/>
              <a:gd name="connsiteY351" fmla="*/ 947921 h 5061538"/>
              <a:gd name="connsiteX352" fmla="*/ 4274585 w 7919608"/>
              <a:gd name="connsiteY352" fmla="*/ 947921 h 5061538"/>
              <a:gd name="connsiteX353" fmla="*/ 4256700 w 7919608"/>
              <a:gd name="connsiteY353" fmla="*/ 937190 h 5061538"/>
              <a:gd name="connsiteX354" fmla="*/ 4235238 w 7919608"/>
              <a:gd name="connsiteY354" fmla="*/ 926458 h 5061538"/>
              <a:gd name="connsiteX355" fmla="*/ 4213775 w 7919608"/>
              <a:gd name="connsiteY355" fmla="*/ 926458 h 5061538"/>
              <a:gd name="connsiteX356" fmla="*/ 4192313 w 7919608"/>
              <a:gd name="connsiteY356" fmla="*/ 926458 h 5061538"/>
              <a:gd name="connsiteX357" fmla="*/ 4170851 w 7919608"/>
              <a:gd name="connsiteY357" fmla="*/ 933612 h 5061538"/>
              <a:gd name="connsiteX358" fmla="*/ 4149388 w 7919608"/>
              <a:gd name="connsiteY358" fmla="*/ 947921 h 5061538"/>
              <a:gd name="connsiteX359" fmla="*/ 4124349 w 7919608"/>
              <a:gd name="connsiteY359" fmla="*/ 955075 h 5061538"/>
              <a:gd name="connsiteX360" fmla="*/ 4102886 w 7919608"/>
              <a:gd name="connsiteY360" fmla="*/ 955075 h 5061538"/>
              <a:gd name="connsiteX361" fmla="*/ 4088578 w 7919608"/>
              <a:gd name="connsiteY361" fmla="*/ 951498 h 5061538"/>
              <a:gd name="connsiteX362" fmla="*/ 4074270 w 7919608"/>
              <a:gd name="connsiteY362" fmla="*/ 947921 h 5061538"/>
              <a:gd name="connsiteX363" fmla="*/ 4059962 w 7919608"/>
              <a:gd name="connsiteY363" fmla="*/ 947921 h 5061538"/>
              <a:gd name="connsiteX364" fmla="*/ 4049231 w 7919608"/>
              <a:gd name="connsiteY364" fmla="*/ 951498 h 5061538"/>
              <a:gd name="connsiteX365" fmla="*/ 4042076 w 7919608"/>
              <a:gd name="connsiteY365" fmla="*/ 962229 h 5061538"/>
              <a:gd name="connsiteX366" fmla="*/ 4042076 w 7919608"/>
              <a:gd name="connsiteY366" fmla="*/ 976537 h 5061538"/>
              <a:gd name="connsiteX367" fmla="*/ 4045654 w 7919608"/>
              <a:gd name="connsiteY367" fmla="*/ 1001577 h 5061538"/>
              <a:gd name="connsiteX368" fmla="*/ 4059962 w 7919608"/>
              <a:gd name="connsiteY368" fmla="*/ 1019462 h 5061538"/>
              <a:gd name="connsiteX369" fmla="*/ 4081424 w 7919608"/>
              <a:gd name="connsiteY369" fmla="*/ 1030193 h 5061538"/>
              <a:gd name="connsiteX370" fmla="*/ 4106464 w 7919608"/>
              <a:gd name="connsiteY370" fmla="*/ 1030193 h 5061538"/>
              <a:gd name="connsiteX371" fmla="*/ 4170851 w 7919608"/>
              <a:gd name="connsiteY371" fmla="*/ 1015885 h 5061538"/>
              <a:gd name="connsiteX372" fmla="*/ 4238815 w 7919608"/>
              <a:gd name="connsiteY372" fmla="*/ 1001577 h 5061538"/>
              <a:gd name="connsiteX373" fmla="*/ 4267431 w 7919608"/>
              <a:gd name="connsiteY373" fmla="*/ 998000 h 5061538"/>
              <a:gd name="connsiteX374" fmla="*/ 4278162 w 7919608"/>
              <a:gd name="connsiteY374" fmla="*/ 998000 h 5061538"/>
              <a:gd name="connsiteX375" fmla="*/ 4292471 w 7919608"/>
              <a:gd name="connsiteY375" fmla="*/ 1008731 h 5061538"/>
              <a:gd name="connsiteX376" fmla="*/ 4310356 w 7919608"/>
              <a:gd name="connsiteY376" fmla="*/ 1019462 h 5061538"/>
              <a:gd name="connsiteX377" fmla="*/ 4331818 w 7919608"/>
              <a:gd name="connsiteY377" fmla="*/ 1030193 h 5061538"/>
              <a:gd name="connsiteX378" fmla="*/ 4349704 w 7919608"/>
              <a:gd name="connsiteY378" fmla="*/ 1037347 h 5061538"/>
              <a:gd name="connsiteX379" fmla="*/ 4371166 w 7919608"/>
              <a:gd name="connsiteY379" fmla="*/ 1037347 h 5061538"/>
              <a:gd name="connsiteX380" fmla="*/ 4392628 w 7919608"/>
              <a:gd name="connsiteY380" fmla="*/ 1037347 h 5061538"/>
              <a:gd name="connsiteX381" fmla="*/ 4406937 w 7919608"/>
              <a:gd name="connsiteY381" fmla="*/ 1033770 h 5061538"/>
              <a:gd name="connsiteX382" fmla="*/ 4453438 w 7919608"/>
              <a:gd name="connsiteY382" fmla="*/ 1015885 h 5061538"/>
              <a:gd name="connsiteX383" fmla="*/ 4507094 w 7919608"/>
              <a:gd name="connsiteY383" fmla="*/ 994422 h 5061538"/>
              <a:gd name="connsiteX384" fmla="*/ 4528557 w 7919608"/>
              <a:gd name="connsiteY384" fmla="*/ 990845 h 5061538"/>
              <a:gd name="connsiteX385" fmla="*/ 4539288 w 7919608"/>
              <a:gd name="connsiteY385" fmla="*/ 987268 h 5061538"/>
              <a:gd name="connsiteX386" fmla="*/ 4546442 w 7919608"/>
              <a:gd name="connsiteY386" fmla="*/ 990845 h 5061538"/>
              <a:gd name="connsiteX387" fmla="*/ 4564327 w 7919608"/>
              <a:gd name="connsiteY387" fmla="*/ 994422 h 5061538"/>
              <a:gd name="connsiteX388" fmla="*/ 4582212 w 7919608"/>
              <a:gd name="connsiteY388" fmla="*/ 994422 h 5061538"/>
              <a:gd name="connsiteX389" fmla="*/ 4610829 w 7919608"/>
              <a:gd name="connsiteY389" fmla="*/ 994422 h 5061538"/>
              <a:gd name="connsiteX390" fmla="*/ 4643022 w 7919608"/>
              <a:gd name="connsiteY390" fmla="*/ 980114 h 5061538"/>
              <a:gd name="connsiteX391" fmla="*/ 4671639 w 7919608"/>
              <a:gd name="connsiteY391" fmla="*/ 962229 h 5061538"/>
              <a:gd name="connsiteX392" fmla="*/ 4689524 w 7919608"/>
              <a:gd name="connsiteY392" fmla="*/ 955075 h 5061538"/>
              <a:gd name="connsiteX393" fmla="*/ 4707410 w 7919608"/>
              <a:gd name="connsiteY393" fmla="*/ 951498 h 5061538"/>
              <a:gd name="connsiteX394" fmla="*/ 4750334 w 7919608"/>
              <a:gd name="connsiteY394" fmla="*/ 940767 h 5061538"/>
              <a:gd name="connsiteX395" fmla="*/ 4807567 w 7919608"/>
              <a:gd name="connsiteY395" fmla="*/ 930035 h 5061538"/>
              <a:gd name="connsiteX396" fmla="*/ 4857646 w 7919608"/>
              <a:gd name="connsiteY396" fmla="*/ 912150 h 5061538"/>
              <a:gd name="connsiteX397" fmla="*/ 4882685 w 7919608"/>
              <a:gd name="connsiteY397" fmla="*/ 897842 h 5061538"/>
              <a:gd name="connsiteX398" fmla="*/ 4904148 w 7919608"/>
              <a:gd name="connsiteY398" fmla="*/ 887111 h 5061538"/>
              <a:gd name="connsiteX399" fmla="*/ 4932764 w 7919608"/>
              <a:gd name="connsiteY399" fmla="*/ 869225 h 5061538"/>
              <a:gd name="connsiteX400" fmla="*/ 4950650 w 7919608"/>
              <a:gd name="connsiteY400" fmla="*/ 851340 h 5061538"/>
              <a:gd name="connsiteX401" fmla="*/ 4961381 w 7919608"/>
              <a:gd name="connsiteY401" fmla="*/ 837032 h 5061538"/>
              <a:gd name="connsiteX402" fmla="*/ 4979266 w 7919608"/>
              <a:gd name="connsiteY402" fmla="*/ 833455 h 5061538"/>
              <a:gd name="connsiteX403" fmla="*/ 4997151 w 7919608"/>
              <a:gd name="connsiteY403" fmla="*/ 826301 h 5061538"/>
              <a:gd name="connsiteX404" fmla="*/ 5015037 w 7919608"/>
              <a:gd name="connsiteY404" fmla="*/ 811992 h 5061538"/>
              <a:gd name="connsiteX405" fmla="*/ 5025768 w 7919608"/>
              <a:gd name="connsiteY405" fmla="*/ 794107 h 5061538"/>
              <a:gd name="connsiteX406" fmla="*/ 5036499 w 7919608"/>
              <a:gd name="connsiteY406" fmla="*/ 772645 h 5061538"/>
              <a:gd name="connsiteX407" fmla="*/ 5040076 w 7919608"/>
              <a:gd name="connsiteY407" fmla="*/ 754760 h 5061538"/>
              <a:gd name="connsiteX408" fmla="*/ 5047230 w 7919608"/>
              <a:gd name="connsiteY408" fmla="*/ 744028 h 5061538"/>
              <a:gd name="connsiteX409" fmla="*/ 5068692 w 7919608"/>
              <a:gd name="connsiteY409" fmla="*/ 722566 h 5061538"/>
              <a:gd name="connsiteX410" fmla="*/ 5097309 w 7919608"/>
              <a:gd name="connsiteY410" fmla="*/ 708258 h 5061538"/>
              <a:gd name="connsiteX411" fmla="*/ 5125925 w 7919608"/>
              <a:gd name="connsiteY411" fmla="*/ 701104 h 5061538"/>
              <a:gd name="connsiteX412" fmla="*/ 5129502 w 7919608"/>
              <a:gd name="connsiteY412" fmla="*/ 701104 h 5061538"/>
              <a:gd name="connsiteX413" fmla="*/ 5140234 w 7919608"/>
              <a:gd name="connsiteY413" fmla="*/ 701104 h 5061538"/>
              <a:gd name="connsiteX414" fmla="*/ 5158119 w 7919608"/>
              <a:gd name="connsiteY414" fmla="*/ 708258 h 5061538"/>
              <a:gd name="connsiteX415" fmla="*/ 5147388 w 7919608"/>
              <a:gd name="connsiteY415" fmla="*/ 726143 h 5061538"/>
              <a:gd name="connsiteX416" fmla="*/ 5140234 w 7919608"/>
              <a:gd name="connsiteY416" fmla="*/ 740451 h 5061538"/>
              <a:gd name="connsiteX417" fmla="*/ 5125925 w 7919608"/>
              <a:gd name="connsiteY417" fmla="*/ 747605 h 5061538"/>
              <a:gd name="connsiteX418" fmla="*/ 5118771 w 7919608"/>
              <a:gd name="connsiteY418" fmla="*/ 751182 h 5061538"/>
              <a:gd name="connsiteX419" fmla="*/ 5108040 w 7919608"/>
              <a:gd name="connsiteY419" fmla="*/ 754760 h 5061538"/>
              <a:gd name="connsiteX420" fmla="*/ 5097309 w 7919608"/>
              <a:gd name="connsiteY420" fmla="*/ 772645 h 5061538"/>
              <a:gd name="connsiteX421" fmla="*/ 5090155 w 7919608"/>
              <a:gd name="connsiteY421" fmla="*/ 783376 h 5061538"/>
              <a:gd name="connsiteX422" fmla="*/ 5090155 w 7919608"/>
              <a:gd name="connsiteY422" fmla="*/ 794107 h 5061538"/>
              <a:gd name="connsiteX423" fmla="*/ 5097309 w 7919608"/>
              <a:gd name="connsiteY423" fmla="*/ 801261 h 5061538"/>
              <a:gd name="connsiteX424" fmla="*/ 5104463 w 7919608"/>
              <a:gd name="connsiteY424" fmla="*/ 804838 h 5061538"/>
              <a:gd name="connsiteX425" fmla="*/ 5122348 w 7919608"/>
              <a:gd name="connsiteY425" fmla="*/ 815570 h 5061538"/>
              <a:gd name="connsiteX426" fmla="*/ 5133080 w 7919608"/>
              <a:gd name="connsiteY426" fmla="*/ 815570 h 5061538"/>
              <a:gd name="connsiteX427" fmla="*/ 5143811 w 7919608"/>
              <a:gd name="connsiteY427" fmla="*/ 815570 h 5061538"/>
              <a:gd name="connsiteX428" fmla="*/ 5165273 w 7919608"/>
              <a:gd name="connsiteY428" fmla="*/ 833455 h 5061538"/>
              <a:gd name="connsiteX429" fmla="*/ 5186735 w 7919608"/>
              <a:gd name="connsiteY429" fmla="*/ 844186 h 5061538"/>
              <a:gd name="connsiteX430" fmla="*/ 5208198 w 7919608"/>
              <a:gd name="connsiteY430" fmla="*/ 847763 h 5061538"/>
              <a:gd name="connsiteX431" fmla="*/ 5233237 w 7919608"/>
              <a:gd name="connsiteY431" fmla="*/ 847763 h 5061538"/>
              <a:gd name="connsiteX432" fmla="*/ 5276162 w 7919608"/>
              <a:gd name="connsiteY432" fmla="*/ 847763 h 5061538"/>
              <a:gd name="connsiteX433" fmla="*/ 5326241 w 7919608"/>
              <a:gd name="connsiteY433" fmla="*/ 847763 h 5061538"/>
              <a:gd name="connsiteX434" fmla="*/ 5333395 w 7919608"/>
              <a:gd name="connsiteY434" fmla="*/ 876380 h 5061538"/>
              <a:gd name="connsiteX435" fmla="*/ 5336972 w 7919608"/>
              <a:gd name="connsiteY435" fmla="*/ 890688 h 5061538"/>
              <a:gd name="connsiteX436" fmla="*/ 5347703 w 7919608"/>
              <a:gd name="connsiteY436" fmla="*/ 904996 h 5061538"/>
              <a:gd name="connsiteX437" fmla="*/ 5379897 w 7919608"/>
              <a:gd name="connsiteY437" fmla="*/ 933612 h 5061538"/>
              <a:gd name="connsiteX438" fmla="*/ 5397782 w 7919608"/>
              <a:gd name="connsiteY438" fmla="*/ 940767 h 5061538"/>
              <a:gd name="connsiteX439" fmla="*/ 5419244 w 7919608"/>
              <a:gd name="connsiteY439" fmla="*/ 955075 h 5061538"/>
              <a:gd name="connsiteX440" fmla="*/ 5433552 w 7919608"/>
              <a:gd name="connsiteY440" fmla="*/ 955075 h 5061538"/>
              <a:gd name="connsiteX441" fmla="*/ 5451438 w 7919608"/>
              <a:gd name="connsiteY441" fmla="*/ 955075 h 5061538"/>
              <a:gd name="connsiteX442" fmla="*/ 5483631 w 7919608"/>
              <a:gd name="connsiteY442" fmla="*/ 940767 h 5061538"/>
              <a:gd name="connsiteX443" fmla="*/ 5490785 w 7919608"/>
              <a:gd name="connsiteY443" fmla="*/ 940767 h 5061538"/>
              <a:gd name="connsiteX444" fmla="*/ 5497939 w 7919608"/>
              <a:gd name="connsiteY444" fmla="*/ 933612 h 5061538"/>
              <a:gd name="connsiteX445" fmla="*/ 5501517 w 7919608"/>
              <a:gd name="connsiteY445" fmla="*/ 919304 h 5061538"/>
              <a:gd name="connsiteX446" fmla="*/ 5501517 w 7919608"/>
              <a:gd name="connsiteY446" fmla="*/ 890688 h 5061538"/>
              <a:gd name="connsiteX447" fmla="*/ 5512248 w 7919608"/>
              <a:gd name="connsiteY447" fmla="*/ 833455 h 5061538"/>
              <a:gd name="connsiteX448" fmla="*/ 5522979 w 7919608"/>
              <a:gd name="connsiteY448" fmla="*/ 772645 h 5061538"/>
              <a:gd name="connsiteX449" fmla="*/ 5533710 w 7919608"/>
              <a:gd name="connsiteY449" fmla="*/ 754760 h 5061538"/>
              <a:gd name="connsiteX450" fmla="*/ 5544441 w 7919608"/>
              <a:gd name="connsiteY450" fmla="*/ 744028 h 5061538"/>
              <a:gd name="connsiteX451" fmla="*/ 5562327 w 7919608"/>
              <a:gd name="connsiteY451" fmla="*/ 733297 h 5061538"/>
              <a:gd name="connsiteX452" fmla="*/ 5580212 w 7919608"/>
              <a:gd name="connsiteY452" fmla="*/ 726143 h 5061538"/>
              <a:gd name="connsiteX453" fmla="*/ 5605251 w 7919608"/>
              <a:gd name="connsiteY453" fmla="*/ 718989 h 5061538"/>
              <a:gd name="connsiteX454" fmla="*/ 5630291 w 7919608"/>
              <a:gd name="connsiteY454" fmla="*/ 701104 h 5061538"/>
              <a:gd name="connsiteX455" fmla="*/ 5648176 w 7919608"/>
              <a:gd name="connsiteY455" fmla="*/ 679641 h 5061538"/>
              <a:gd name="connsiteX456" fmla="*/ 5662484 w 7919608"/>
              <a:gd name="connsiteY456" fmla="*/ 647448 h 5061538"/>
              <a:gd name="connsiteX457" fmla="*/ 5666061 w 7919608"/>
              <a:gd name="connsiteY457" fmla="*/ 640294 h 5061538"/>
              <a:gd name="connsiteX458" fmla="*/ 5676792 w 7919608"/>
              <a:gd name="connsiteY458" fmla="*/ 625985 h 5061538"/>
              <a:gd name="connsiteX459" fmla="*/ 5687524 w 7919608"/>
              <a:gd name="connsiteY459" fmla="*/ 615254 h 5061538"/>
              <a:gd name="connsiteX460" fmla="*/ 5701832 w 7919608"/>
              <a:gd name="connsiteY460" fmla="*/ 608100 h 5061538"/>
              <a:gd name="connsiteX461" fmla="*/ 5712563 w 7919608"/>
              <a:gd name="connsiteY461" fmla="*/ 615254 h 5061538"/>
              <a:gd name="connsiteX462" fmla="*/ 5726871 w 7919608"/>
              <a:gd name="connsiteY462" fmla="*/ 625985 h 5061538"/>
              <a:gd name="connsiteX463" fmla="*/ 5755488 w 7919608"/>
              <a:gd name="connsiteY463" fmla="*/ 661756 h 5061538"/>
              <a:gd name="connsiteX464" fmla="*/ 5794835 w 7919608"/>
              <a:gd name="connsiteY464" fmla="*/ 686795 h 5061538"/>
              <a:gd name="connsiteX465" fmla="*/ 5834183 w 7919608"/>
              <a:gd name="connsiteY465" fmla="*/ 708258 h 5061538"/>
              <a:gd name="connsiteX466" fmla="*/ 5877108 w 7919608"/>
              <a:gd name="connsiteY466" fmla="*/ 726143 h 5061538"/>
              <a:gd name="connsiteX467" fmla="*/ 5905724 w 7919608"/>
              <a:gd name="connsiteY467" fmla="*/ 733297 h 5061538"/>
              <a:gd name="connsiteX468" fmla="*/ 5916455 w 7919608"/>
              <a:gd name="connsiteY468" fmla="*/ 733297 h 5061538"/>
              <a:gd name="connsiteX469" fmla="*/ 5930764 w 7919608"/>
              <a:gd name="connsiteY469" fmla="*/ 722566 h 5061538"/>
              <a:gd name="connsiteX470" fmla="*/ 5941495 w 7919608"/>
              <a:gd name="connsiteY470" fmla="*/ 704681 h 5061538"/>
              <a:gd name="connsiteX471" fmla="*/ 5962957 w 7919608"/>
              <a:gd name="connsiteY471" fmla="*/ 679641 h 5061538"/>
              <a:gd name="connsiteX472" fmla="*/ 5991574 w 7919608"/>
              <a:gd name="connsiteY472" fmla="*/ 665333 h 5061538"/>
              <a:gd name="connsiteX473" fmla="*/ 6016613 w 7919608"/>
              <a:gd name="connsiteY473" fmla="*/ 658179 h 5061538"/>
              <a:gd name="connsiteX474" fmla="*/ 6045229 w 7919608"/>
              <a:gd name="connsiteY474" fmla="*/ 651025 h 5061538"/>
              <a:gd name="connsiteX475" fmla="*/ 6073846 w 7919608"/>
              <a:gd name="connsiteY475" fmla="*/ 647448 h 5061538"/>
              <a:gd name="connsiteX476" fmla="*/ 6091731 w 7919608"/>
              <a:gd name="connsiteY476" fmla="*/ 636717 h 5061538"/>
              <a:gd name="connsiteX477" fmla="*/ 6102462 w 7919608"/>
              <a:gd name="connsiteY477" fmla="*/ 618831 h 5061538"/>
              <a:gd name="connsiteX478" fmla="*/ 6113194 w 7919608"/>
              <a:gd name="connsiteY478" fmla="*/ 597369 h 5061538"/>
              <a:gd name="connsiteX479" fmla="*/ 6120348 w 7919608"/>
              <a:gd name="connsiteY479" fmla="*/ 572329 h 5061538"/>
              <a:gd name="connsiteX480" fmla="*/ 6138233 w 7919608"/>
              <a:gd name="connsiteY480" fmla="*/ 554444 h 5061538"/>
              <a:gd name="connsiteX481" fmla="*/ 6156118 w 7919608"/>
              <a:gd name="connsiteY481" fmla="*/ 536559 h 5061538"/>
              <a:gd name="connsiteX482" fmla="*/ 6177581 w 7919608"/>
              <a:gd name="connsiteY482" fmla="*/ 522251 h 5061538"/>
              <a:gd name="connsiteX483" fmla="*/ 6195466 w 7919608"/>
              <a:gd name="connsiteY483" fmla="*/ 518674 h 5061538"/>
              <a:gd name="connsiteX484" fmla="*/ 6206197 w 7919608"/>
              <a:gd name="connsiteY484" fmla="*/ 518674 h 5061538"/>
              <a:gd name="connsiteX485" fmla="*/ 6220505 w 7919608"/>
              <a:gd name="connsiteY485" fmla="*/ 522251 h 5061538"/>
              <a:gd name="connsiteX486" fmla="*/ 6227659 w 7919608"/>
              <a:gd name="connsiteY486" fmla="*/ 540136 h 5061538"/>
              <a:gd name="connsiteX487" fmla="*/ 6238390 w 7919608"/>
              <a:gd name="connsiteY487" fmla="*/ 558021 h 5061538"/>
              <a:gd name="connsiteX488" fmla="*/ 6245544 w 7919608"/>
              <a:gd name="connsiteY488" fmla="*/ 572329 h 5061538"/>
              <a:gd name="connsiteX489" fmla="*/ 6259853 w 7919608"/>
              <a:gd name="connsiteY489" fmla="*/ 583061 h 5061538"/>
              <a:gd name="connsiteX490" fmla="*/ 6270584 w 7919608"/>
              <a:gd name="connsiteY490" fmla="*/ 586638 h 5061538"/>
              <a:gd name="connsiteX491" fmla="*/ 6292046 w 7919608"/>
              <a:gd name="connsiteY491" fmla="*/ 586638 h 5061538"/>
              <a:gd name="connsiteX492" fmla="*/ 6309932 w 7919608"/>
              <a:gd name="connsiteY492" fmla="*/ 579484 h 5061538"/>
              <a:gd name="connsiteX493" fmla="*/ 6327817 w 7919608"/>
              <a:gd name="connsiteY493" fmla="*/ 572329 h 5061538"/>
              <a:gd name="connsiteX494" fmla="*/ 6342125 w 7919608"/>
              <a:gd name="connsiteY494" fmla="*/ 554444 h 5061538"/>
              <a:gd name="connsiteX495" fmla="*/ 6342125 w 7919608"/>
              <a:gd name="connsiteY495" fmla="*/ 532982 h 5061538"/>
              <a:gd name="connsiteX496" fmla="*/ 6345702 w 7919608"/>
              <a:gd name="connsiteY496" fmla="*/ 479326 h 5061538"/>
              <a:gd name="connsiteX497" fmla="*/ 6352856 w 7919608"/>
              <a:gd name="connsiteY497" fmla="*/ 432824 h 5061538"/>
              <a:gd name="connsiteX498" fmla="*/ 6370742 w 7919608"/>
              <a:gd name="connsiteY498" fmla="*/ 329089 h 5061538"/>
              <a:gd name="connsiteX499" fmla="*/ 6374318 w 7919608"/>
              <a:gd name="connsiteY499" fmla="*/ 314781 h 5061538"/>
              <a:gd name="connsiteX500" fmla="*/ 6385050 w 7919608"/>
              <a:gd name="connsiteY500" fmla="*/ 304050 h 5061538"/>
              <a:gd name="connsiteX501" fmla="*/ 6392204 w 7919608"/>
              <a:gd name="connsiteY501" fmla="*/ 293319 h 5061538"/>
              <a:gd name="connsiteX502" fmla="*/ 6402935 w 7919608"/>
              <a:gd name="connsiteY502" fmla="*/ 286165 h 5061538"/>
              <a:gd name="connsiteX503" fmla="*/ 6410089 w 7919608"/>
              <a:gd name="connsiteY503" fmla="*/ 286165 h 5061538"/>
              <a:gd name="connsiteX504" fmla="*/ 6424398 w 7919608"/>
              <a:gd name="connsiteY504" fmla="*/ 286165 h 5061538"/>
              <a:gd name="connsiteX505" fmla="*/ 6435128 w 7919608"/>
              <a:gd name="connsiteY505" fmla="*/ 289742 h 5061538"/>
              <a:gd name="connsiteX506" fmla="*/ 6453014 w 7919608"/>
              <a:gd name="connsiteY506" fmla="*/ 296896 h 5061538"/>
              <a:gd name="connsiteX507" fmla="*/ 6470899 w 7919608"/>
              <a:gd name="connsiteY507" fmla="*/ 311204 h 5061538"/>
              <a:gd name="connsiteX508" fmla="*/ 6481630 w 7919608"/>
              <a:gd name="connsiteY508" fmla="*/ 329089 h 5061538"/>
              <a:gd name="connsiteX509" fmla="*/ 6492362 w 7919608"/>
              <a:gd name="connsiteY509" fmla="*/ 346975 h 5061538"/>
              <a:gd name="connsiteX510" fmla="*/ 6495938 w 7919608"/>
              <a:gd name="connsiteY510" fmla="*/ 364860 h 5061538"/>
              <a:gd name="connsiteX511" fmla="*/ 6495938 w 7919608"/>
              <a:gd name="connsiteY511" fmla="*/ 386322 h 5061538"/>
              <a:gd name="connsiteX512" fmla="*/ 6492362 w 7919608"/>
              <a:gd name="connsiteY512" fmla="*/ 400631 h 5061538"/>
              <a:gd name="connsiteX513" fmla="*/ 6488784 w 7919608"/>
              <a:gd name="connsiteY513" fmla="*/ 422093 h 5061538"/>
              <a:gd name="connsiteX514" fmla="*/ 6474476 w 7919608"/>
              <a:gd name="connsiteY514" fmla="*/ 439978 h 5061538"/>
              <a:gd name="connsiteX515" fmla="*/ 6460168 w 7919608"/>
              <a:gd name="connsiteY515" fmla="*/ 457864 h 5061538"/>
              <a:gd name="connsiteX516" fmla="*/ 6445860 w 7919608"/>
              <a:gd name="connsiteY516" fmla="*/ 468595 h 5061538"/>
              <a:gd name="connsiteX517" fmla="*/ 6424398 w 7919608"/>
              <a:gd name="connsiteY517" fmla="*/ 482903 h 5061538"/>
              <a:gd name="connsiteX518" fmla="*/ 6413666 w 7919608"/>
              <a:gd name="connsiteY518" fmla="*/ 504365 h 5061538"/>
              <a:gd name="connsiteX519" fmla="*/ 6410089 w 7919608"/>
              <a:gd name="connsiteY519" fmla="*/ 525828 h 5061538"/>
              <a:gd name="connsiteX520" fmla="*/ 6417244 w 7919608"/>
              <a:gd name="connsiteY520" fmla="*/ 547290 h 5061538"/>
              <a:gd name="connsiteX521" fmla="*/ 6427974 w 7919608"/>
              <a:gd name="connsiteY521" fmla="*/ 575907 h 5061538"/>
              <a:gd name="connsiteX522" fmla="*/ 6431552 w 7919608"/>
              <a:gd name="connsiteY522" fmla="*/ 604523 h 5061538"/>
              <a:gd name="connsiteX523" fmla="*/ 6435128 w 7919608"/>
              <a:gd name="connsiteY523" fmla="*/ 629562 h 5061538"/>
              <a:gd name="connsiteX524" fmla="*/ 6431552 w 7919608"/>
              <a:gd name="connsiteY524" fmla="*/ 658179 h 5061538"/>
              <a:gd name="connsiteX525" fmla="*/ 6431552 w 7919608"/>
              <a:gd name="connsiteY525" fmla="*/ 676064 h 5061538"/>
              <a:gd name="connsiteX526" fmla="*/ 6435128 w 7919608"/>
              <a:gd name="connsiteY526" fmla="*/ 686795 h 5061538"/>
              <a:gd name="connsiteX527" fmla="*/ 6445860 w 7919608"/>
              <a:gd name="connsiteY527" fmla="*/ 697527 h 5061538"/>
              <a:gd name="connsiteX528" fmla="*/ 6456591 w 7919608"/>
              <a:gd name="connsiteY528" fmla="*/ 704681 h 5061538"/>
              <a:gd name="connsiteX529" fmla="*/ 6513824 w 7919608"/>
              <a:gd name="connsiteY529" fmla="*/ 729720 h 5061538"/>
              <a:gd name="connsiteX530" fmla="*/ 6563902 w 7919608"/>
              <a:gd name="connsiteY530" fmla="*/ 751182 h 5061538"/>
              <a:gd name="connsiteX531" fmla="*/ 6592519 w 7919608"/>
              <a:gd name="connsiteY531" fmla="*/ 765491 h 5061538"/>
              <a:gd name="connsiteX532" fmla="*/ 6610404 w 7919608"/>
              <a:gd name="connsiteY532" fmla="*/ 779799 h 5061538"/>
              <a:gd name="connsiteX533" fmla="*/ 6624712 w 7919608"/>
              <a:gd name="connsiteY533" fmla="*/ 794107 h 5061538"/>
              <a:gd name="connsiteX534" fmla="*/ 6642598 w 7919608"/>
              <a:gd name="connsiteY534" fmla="*/ 815570 h 5061538"/>
              <a:gd name="connsiteX535" fmla="*/ 6667638 w 7919608"/>
              <a:gd name="connsiteY535" fmla="*/ 865648 h 5061538"/>
              <a:gd name="connsiteX536" fmla="*/ 6685522 w 7919608"/>
              <a:gd name="connsiteY536" fmla="*/ 887111 h 5061538"/>
              <a:gd name="connsiteX537" fmla="*/ 6706985 w 7919608"/>
              <a:gd name="connsiteY537" fmla="*/ 908573 h 5061538"/>
              <a:gd name="connsiteX538" fmla="*/ 6717716 w 7919608"/>
              <a:gd name="connsiteY538" fmla="*/ 915727 h 5061538"/>
              <a:gd name="connsiteX539" fmla="*/ 6724870 w 7919608"/>
              <a:gd name="connsiteY539" fmla="*/ 926458 h 5061538"/>
              <a:gd name="connsiteX540" fmla="*/ 6728448 w 7919608"/>
              <a:gd name="connsiteY540" fmla="*/ 951498 h 5061538"/>
              <a:gd name="connsiteX541" fmla="*/ 6724870 w 7919608"/>
              <a:gd name="connsiteY541" fmla="*/ 998000 h 5061538"/>
              <a:gd name="connsiteX542" fmla="*/ 6717716 w 7919608"/>
              <a:gd name="connsiteY542" fmla="*/ 1044501 h 5061538"/>
              <a:gd name="connsiteX543" fmla="*/ 6714139 w 7919608"/>
              <a:gd name="connsiteY543" fmla="*/ 1065964 h 5061538"/>
              <a:gd name="connsiteX544" fmla="*/ 6717716 w 7919608"/>
              <a:gd name="connsiteY544" fmla="*/ 1091003 h 5061538"/>
              <a:gd name="connsiteX545" fmla="*/ 6724870 w 7919608"/>
              <a:gd name="connsiteY545" fmla="*/ 1105311 h 5061538"/>
              <a:gd name="connsiteX546" fmla="*/ 6739178 w 7919608"/>
              <a:gd name="connsiteY546" fmla="*/ 1123197 h 5061538"/>
              <a:gd name="connsiteX547" fmla="*/ 6757064 w 7919608"/>
              <a:gd name="connsiteY547" fmla="*/ 1137505 h 5061538"/>
              <a:gd name="connsiteX548" fmla="*/ 6778526 w 7919608"/>
              <a:gd name="connsiteY548" fmla="*/ 1141082 h 5061538"/>
              <a:gd name="connsiteX549" fmla="*/ 6792834 w 7919608"/>
              <a:gd name="connsiteY549" fmla="*/ 1141082 h 5061538"/>
              <a:gd name="connsiteX550" fmla="*/ 6817874 w 7919608"/>
              <a:gd name="connsiteY550" fmla="*/ 1133928 h 5061538"/>
              <a:gd name="connsiteX551" fmla="*/ 6846490 w 7919608"/>
              <a:gd name="connsiteY551" fmla="*/ 1119620 h 5061538"/>
              <a:gd name="connsiteX552" fmla="*/ 6875107 w 7919608"/>
              <a:gd name="connsiteY552" fmla="*/ 1105311 h 5061538"/>
              <a:gd name="connsiteX553" fmla="*/ 6896569 w 7919608"/>
              <a:gd name="connsiteY553" fmla="*/ 1091003 h 5061538"/>
              <a:gd name="connsiteX554" fmla="*/ 6907300 w 7919608"/>
              <a:gd name="connsiteY554" fmla="*/ 1083849 h 5061538"/>
              <a:gd name="connsiteX555" fmla="*/ 6910878 w 7919608"/>
              <a:gd name="connsiteY555" fmla="*/ 1076695 h 5061538"/>
              <a:gd name="connsiteX556" fmla="*/ 6910878 w 7919608"/>
              <a:gd name="connsiteY556" fmla="*/ 1062387 h 5061538"/>
              <a:gd name="connsiteX557" fmla="*/ 6910878 w 7919608"/>
              <a:gd name="connsiteY557" fmla="*/ 1055232 h 5061538"/>
              <a:gd name="connsiteX558" fmla="*/ 6896569 w 7919608"/>
              <a:gd name="connsiteY558" fmla="*/ 1030193 h 5061538"/>
              <a:gd name="connsiteX559" fmla="*/ 6892992 w 7919608"/>
              <a:gd name="connsiteY559" fmla="*/ 1015885 h 5061538"/>
              <a:gd name="connsiteX560" fmla="*/ 6910878 w 7919608"/>
              <a:gd name="connsiteY560" fmla="*/ 1001577 h 5061538"/>
              <a:gd name="connsiteX561" fmla="*/ 6928762 w 7919608"/>
              <a:gd name="connsiteY561" fmla="*/ 990845 h 5061538"/>
              <a:gd name="connsiteX562" fmla="*/ 6946648 w 7919608"/>
              <a:gd name="connsiteY562" fmla="*/ 987268 h 5061538"/>
              <a:gd name="connsiteX563" fmla="*/ 6957379 w 7919608"/>
              <a:gd name="connsiteY563" fmla="*/ 990845 h 5061538"/>
              <a:gd name="connsiteX564" fmla="*/ 6971688 w 7919608"/>
              <a:gd name="connsiteY564" fmla="*/ 994422 h 5061538"/>
              <a:gd name="connsiteX565" fmla="*/ 6978842 w 7919608"/>
              <a:gd name="connsiteY565" fmla="*/ 1001577 h 5061538"/>
              <a:gd name="connsiteX566" fmla="*/ 6993150 w 7919608"/>
              <a:gd name="connsiteY566" fmla="*/ 1015885 h 5061538"/>
              <a:gd name="connsiteX567" fmla="*/ 7000304 w 7919608"/>
              <a:gd name="connsiteY567" fmla="*/ 1037347 h 5061538"/>
              <a:gd name="connsiteX568" fmla="*/ 7011035 w 7919608"/>
              <a:gd name="connsiteY568" fmla="*/ 1062387 h 5061538"/>
              <a:gd name="connsiteX569" fmla="*/ 7018189 w 7919608"/>
              <a:gd name="connsiteY569" fmla="*/ 1076695 h 5061538"/>
              <a:gd name="connsiteX570" fmla="*/ 7032498 w 7919608"/>
              <a:gd name="connsiteY570" fmla="*/ 1080272 h 5061538"/>
              <a:gd name="connsiteX571" fmla="*/ 7039652 w 7919608"/>
              <a:gd name="connsiteY571" fmla="*/ 1083849 h 5061538"/>
              <a:gd name="connsiteX572" fmla="*/ 7053960 w 7919608"/>
              <a:gd name="connsiteY572" fmla="*/ 1080272 h 5061538"/>
              <a:gd name="connsiteX573" fmla="*/ 7071845 w 7919608"/>
              <a:gd name="connsiteY573" fmla="*/ 1073118 h 5061538"/>
              <a:gd name="connsiteX574" fmla="*/ 7089730 w 7919608"/>
              <a:gd name="connsiteY574" fmla="*/ 1065964 h 5061538"/>
              <a:gd name="connsiteX575" fmla="*/ 7100462 w 7919608"/>
              <a:gd name="connsiteY575" fmla="*/ 1065964 h 5061538"/>
              <a:gd name="connsiteX576" fmla="*/ 7114770 w 7919608"/>
              <a:gd name="connsiteY576" fmla="*/ 1073118 h 5061538"/>
              <a:gd name="connsiteX577" fmla="*/ 7129078 w 7919608"/>
              <a:gd name="connsiteY577" fmla="*/ 1080272 h 5061538"/>
              <a:gd name="connsiteX578" fmla="*/ 7132655 w 7919608"/>
              <a:gd name="connsiteY578" fmla="*/ 1094580 h 5061538"/>
              <a:gd name="connsiteX579" fmla="*/ 7132655 w 7919608"/>
              <a:gd name="connsiteY579" fmla="*/ 1105311 h 5061538"/>
              <a:gd name="connsiteX580" fmla="*/ 7129078 w 7919608"/>
              <a:gd name="connsiteY580" fmla="*/ 1116042 h 5061538"/>
              <a:gd name="connsiteX581" fmla="*/ 7114770 w 7919608"/>
              <a:gd name="connsiteY581" fmla="*/ 1123197 h 5061538"/>
              <a:gd name="connsiteX582" fmla="*/ 7100462 w 7919608"/>
              <a:gd name="connsiteY582" fmla="*/ 1126774 h 5061538"/>
              <a:gd name="connsiteX583" fmla="*/ 7053960 w 7919608"/>
              <a:gd name="connsiteY583" fmla="*/ 1141082 h 5061538"/>
              <a:gd name="connsiteX584" fmla="*/ 7007458 w 7919608"/>
              <a:gd name="connsiteY584" fmla="*/ 1158967 h 5061538"/>
              <a:gd name="connsiteX585" fmla="*/ 6996727 w 7919608"/>
              <a:gd name="connsiteY585" fmla="*/ 1166121 h 5061538"/>
              <a:gd name="connsiteX586" fmla="*/ 6989572 w 7919608"/>
              <a:gd name="connsiteY586" fmla="*/ 1180430 h 5061538"/>
              <a:gd name="connsiteX587" fmla="*/ 6968110 w 7919608"/>
              <a:gd name="connsiteY587" fmla="*/ 1223354 h 5061538"/>
              <a:gd name="connsiteX588" fmla="*/ 6950225 w 7919608"/>
              <a:gd name="connsiteY588" fmla="*/ 1269856 h 5061538"/>
              <a:gd name="connsiteX589" fmla="*/ 6946648 w 7919608"/>
              <a:gd name="connsiteY589" fmla="*/ 1305627 h 5061538"/>
              <a:gd name="connsiteX590" fmla="*/ 6935917 w 7919608"/>
              <a:gd name="connsiteY590" fmla="*/ 1352128 h 5061538"/>
              <a:gd name="connsiteX591" fmla="*/ 6964534 w 7919608"/>
              <a:gd name="connsiteY591" fmla="*/ 1341397 h 5061538"/>
              <a:gd name="connsiteX592" fmla="*/ 6975264 w 7919608"/>
              <a:gd name="connsiteY592" fmla="*/ 1327089 h 5061538"/>
              <a:gd name="connsiteX593" fmla="*/ 6989572 w 7919608"/>
              <a:gd name="connsiteY593" fmla="*/ 1302050 h 5061538"/>
              <a:gd name="connsiteX594" fmla="*/ 7000304 w 7919608"/>
              <a:gd name="connsiteY594" fmla="*/ 1269856 h 5061538"/>
              <a:gd name="connsiteX595" fmla="*/ 7014612 w 7919608"/>
              <a:gd name="connsiteY595" fmla="*/ 1251971 h 5061538"/>
              <a:gd name="connsiteX596" fmla="*/ 7028920 w 7919608"/>
              <a:gd name="connsiteY596" fmla="*/ 1244817 h 5061538"/>
              <a:gd name="connsiteX597" fmla="*/ 7039652 w 7919608"/>
              <a:gd name="connsiteY597" fmla="*/ 1237662 h 5061538"/>
              <a:gd name="connsiteX598" fmla="*/ 7057537 w 7919608"/>
              <a:gd name="connsiteY598" fmla="*/ 1230508 h 5061538"/>
              <a:gd name="connsiteX599" fmla="*/ 7071845 w 7919608"/>
              <a:gd name="connsiteY599" fmla="*/ 1237662 h 5061538"/>
              <a:gd name="connsiteX600" fmla="*/ 7082576 w 7919608"/>
              <a:gd name="connsiteY600" fmla="*/ 1241240 h 5061538"/>
              <a:gd name="connsiteX601" fmla="*/ 7096884 w 7919608"/>
              <a:gd name="connsiteY601" fmla="*/ 1251971 h 5061538"/>
              <a:gd name="connsiteX602" fmla="*/ 7111192 w 7919608"/>
              <a:gd name="connsiteY602" fmla="*/ 1269856 h 5061538"/>
              <a:gd name="connsiteX603" fmla="*/ 7129078 w 7919608"/>
              <a:gd name="connsiteY603" fmla="*/ 1298472 h 5061538"/>
              <a:gd name="connsiteX604" fmla="*/ 7150540 w 7919608"/>
              <a:gd name="connsiteY604" fmla="*/ 1312781 h 5061538"/>
              <a:gd name="connsiteX605" fmla="*/ 7172002 w 7919608"/>
              <a:gd name="connsiteY605" fmla="*/ 1323512 h 5061538"/>
              <a:gd name="connsiteX606" fmla="*/ 7200619 w 7919608"/>
              <a:gd name="connsiteY606" fmla="*/ 1327089 h 5061538"/>
              <a:gd name="connsiteX607" fmla="*/ 7225658 w 7919608"/>
              <a:gd name="connsiteY607" fmla="*/ 1327089 h 5061538"/>
              <a:gd name="connsiteX608" fmla="*/ 7275738 w 7919608"/>
              <a:gd name="connsiteY608" fmla="*/ 1323512 h 5061538"/>
              <a:gd name="connsiteX609" fmla="*/ 7325816 w 7919608"/>
              <a:gd name="connsiteY609" fmla="*/ 1323512 h 5061538"/>
              <a:gd name="connsiteX610" fmla="*/ 7350856 w 7919608"/>
              <a:gd name="connsiteY610" fmla="*/ 1323512 h 5061538"/>
              <a:gd name="connsiteX611" fmla="*/ 7365164 w 7919608"/>
              <a:gd name="connsiteY611" fmla="*/ 1330666 h 5061538"/>
              <a:gd name="connsiteX612" fmla="*/ 7372318 w 7919608"/>
              <a:gd name="connsiteY612" fmla="*/ 1348551 h 5061538"/>
              <a:gd name="connsiteX613" fmla="*/ 7379472 w 7919608"/>
              <a:gd name="connsiteY613" fmla="*/ 1370014 h 5061538"/>
              <a:gd name="connsiteX614" fmla="*/ 7379472 w 7919608"/>
              <a:gd name="connsiteY614" fmla="*/ 1395053 h 5061538"/>
              <a:gd name="connsiteX615" fmla="*/ 7386626 w 7919608"/>
              <a:gd name="connsiteY615" fmla="*/ 1423670 h 5061538"/>
              <a:gd name="connsiteX616" fmla="*/ 7393780 w 7919608"/>
              <a:gd name="connsiteY616" fmla="*/ 1445132 h 5061538"/>
              <a:gd name="connsiteX617" fmla="*/ 7408088 w 7919608"/>
              <a:gd name="connsiteY617" fmla="*/ 1466594 h 5061538"/>
              <a:gd name="connsiteX618" fmla="*/ 7422397 w 7919608"/>
              <a:gd name="connsiteY618" fmla="*/ 1488056 h 5061538"/>
              <a:gd name="connsiteX619" fmla="*/ 7433128 w 7919608"/>
              <a:gd name="connsiteY619" fmla="*/ 1513096 h 5061538"/>
              <a:gd name="connsiteX620" fmla="*/ 7454590 w 7919608"/>
              <a:gd name="connsiteY620" fmla="*/ 1559598 h 5061538"/>
              <a:gd name="connsiteX621" fmla="*/ 7465322 w 7919608"/>
              <a:gd name="connsiteY621" fmla="*/ 1577483 h 5061538"/>
              <a:gd name="connsiteX622" fmla="*/ 7476052 w 7919608"/>
              <a:gd name="connsiteY622" fmla="*/ 1595368 h 5061538"/>
              <a:gd name="connsiteX623" fmla="*/ 7493938 w 7919608"/>
              <a:gd name="connsiteY623" fmla="*/ 1609676 h 5061538"/>
              <a:gd name="connsiteX624" fmla="*/ 7511824 w 7919608"/>
              <a:gd name="connsiteY624" fmla="*/ 1616831 h 5061538"/>
              <a:gd name="connsiteX625" fmla="*/ 7529708 w 7919608"/>
              <a:gd name="connsiteY625" fmla="*/ 1634716 h 5061538"/>
              <a:gd name="connsiteX626" fmla="*/ 7536862 w 7919608"/>
              <a:gd name="connsiteY626" fmla="*/ 1645447 h 5061538"/>
              <a:gd name="connsiteX627" fmla="*/ 7544017 w 7919608"/>
              <a:gd name="connsiteY627" fmla="*/ 1663332 h 5061538"/>
              <a:gd name="connsiteX628" fmla="*/ 7533286 w 7919608"/>
              <a:gd name="connsiteY628" fmla="*/ 1695526 h 5061538"/>
              <a:gd name="connsiteX629" fmla="*/ 7493938 w 7919608"/>
              <a:gd name="connsiteY629" fmla="*/ 1695526 h 5061538"/>
              <a:gd name="connsiteX630" fmla="*/ 7454590 w 7919608"/>
              <a:gd name="connsiteY630" fmla="*/ 1688372 h 5061538"/>
              <a:gd name="connsiteX631" fmla="*/ 7429551 w 7919608"/>
              <a:gd name="connsiteY631" fmla="*/ 1681218 h 5061538"/>
              <a:gd name="connsiteX632" fmla="*/ 7415242 w 7919608"/>
              <a:gd name="connsiteY632" fmla="*/ 1666910 h 5061538"/>
              <a:gd name="connsiteX633" fmla="*/ 7404512 w 7919608"/>
              <a:gd name="connsiteY633" fmla="*/ 1652601 h 5061538"/>
              <a:gd name="connsiteX634" fmla="*/ 7400934 w 7919608"/>
              <a:gd name="connsiteY634" fmla="*/ 1623985 h 5061538"/>
              <a:gd name="connsiteX635" fmla="*/ 7400934 w 7919608"/>
              <a:gd name="connsiteY635" fmla="*/ 1602522 h 5061538"/>
              <a:gd name="connsiteX636" fmla="*/ 7393780 w 7919608"/>
              <a:gd name="connsiteY636" fmla="*/ 1584637 h 5061538"/>
              <a:gd name="connsiteX637" fmla="*/ 7386626 w 7919608"/>
              <a:gd name="connsiteY637" fmla="*/ 1570329 h 5061538"/>
              <a:gd name="connsiteX638" fmla="*/ 7379472 w 7919608"/>
              <a:gd name="connsiteY638" fmla="*/ 1563175 h 5061538"/>
              <a:gd name="connsiteX639" fmla="*/ 7365164 w 7919608"/>
              <a:gd name="connsiteY639" fmla="*/ 1559598 h 5061538"/>
              <a:gd name="connsiteX640" fmla="*/ 7347278 w 7919608"/>
              <a:gd name="connsiteY640" fmla="*/ 1559598 h 5061538"/>
              <a:gd name="connsiteX641" fmla="*/ 7329394 w 7919608"/>
              <a:gd name="connsiteY641" fmla="*/ 1563175 h 5061538"/>
              <a:gd name="connsiteX642" fmla="*/ 7311508 w 7919608"/>
              <a:gd name="connsiteY642" fmla="*/ 1577483 h 5061538"/>
              <a:gd name="connsiteX643" fmla="*/ 7297200 w 7919608"/>
              <a:gd name="connsiteY643" fmla="*/ 1602522 h 5061538"/>
              <a:gd name="connsiteX644" fmla="*/ 7300777 w 7919608"/>
              <a:gd name="connsiteY644" fmla="*/ 1613254 h 5061538"/>
              <a:gd name="connsiteX645" fmla="*/ 7300777 w 7919608"/>
              <a:gd name="connsiteY645" fmla="*/ 1616831 h 5061538"/>
              <a:gd name="connsiteX646" fmla="*/ 7329394 w 7919608"/>
              <a:gd name="connsiteY646" fmla="*/ 1641870 h 5061538"/>
              <a:gd name="connsiteX647" fmla="*/ 7358010 w 7919608"/>
              <a:gd name="connsiteY647" fmla="*/ 1674064 h 5061538"/>
              <a:gd name="connsiteX648" fmla="*/ 7372318 w 7919608"/>
              <a:gd name="connsiteY648" fmla="*/ 1706257 h 5061538"/>
              <a:gd name="connsiteX649" fmla="*/ 7390204 w 7919608"/>
              <a:gd name="connsiteY649" fmla="*/ 1745605 h 5061538"/>
              <a:gd name="connsiteX650" fmla="*/ 7408088 w 7919608"/>
              <a:gd name="connsiteY650" fmla="*/ 1767067 h 5061538"/>
              <a:gd name="connsiteX651" fmla="*/ 7425974 w 7919608"/>
              <a:gd name="connsiteY651" fmla="*/ 1788530 h 5061538"/>
              <a:gd name="connsiteX652" fmla="*/ 7443859 w 7919608"/>
              <a:gd name="connsiteY652" fmla="*/ 1806415 h 5061538"/>
              <a:gd name="connsiteX653" fmla="*/ 7454590 w 7919608"/>
              <a:gd name="connsiteY653" fmla="*/ 1824300 h 5061538"/>
              <a:gd name="connsiteX654" fmla="*/ 7472476 w 7919608"/>
              <a:gd name="connsiteY654" fmla="*/ 1860071 h 5061538"/>
              <a:gd name="connsiteX655" fmla="*/ 7476052 w 7919608"/>
              <a:gd name="connsiteY655" fmla="*/ 1874379 h 5061538"/>
              <a:gd name="connsiteX656" fmla="*/ 7490361 w 7919608"/>
              <a:gd name="connsiteY656" fmla="*/ 1888687 h 5061538"/>
              <a:gd name="connsiteX657" fmla="*/ 7504669 w 7919608"/>
              <a:gd name="connsiteY657" fmla="*/ 1902995 h 5061538"/>
              <a:gd name="connsiteX658" fmla="*/ 7515400 w 7919608"/>
              <a:gd name="connsiteY658" fmla="*/ 1910150 h 5061538"/>
              <a:gd name="connsiteX659" fmla="*/ 7551171 w 7919608"/>
              <a:gd name="connsiteY659" fmla="*/ 1931612 h 5061538"/>
              <a:gd name="connsiteX660" fmla="*/ 7558325 w 7919608"/>
              <a:gd name="connsiteY660" fmla="*/ 1942343 h 5061538"/>
              <a:gd name="connsiteX661" fmla="*/ 7558325 w 7919608"/>
              <a:gd name="connsiteY661" fmla="*/ 1949497 h 5061538"/>
              <a:gd name="connsiteX662" fmla="*/ 7558325 w 7919608"/>
              <a:gd name="connsiteY662" fmla="*/ 1963805 h 5061538"/>
              <a:gd name="connsiteX663" fmla="*/ 7554748 w 7919608"/>
              <a:gd name="connsiteY663" fmla="*/ 1970960 h 5061538"/>
              <a:gd name="connsiteX664" fmla="*/ 7526132 w 7919608"/>
              <a:gd name="connsiteY664" fmla="*/ 2013884 h 5061538"/>
              <a:gd name="connsiteX665" fmla="*/ 7536862 w 7919608"/>
              <a:gd name="connsiteY665" fmla="*/ 2024615 h 5061538"/>
              <a:gd name="connsiteX666" fmla="*/ 7547594 w 7919608"/>
              <a:gd name="connsiteY666" fmla="*/ 2031770 h 5061538"/>
              <a:gd name="connsiteX667" fmla="*/ 7554748 w 7919608"/>
              <a:gd name="connsiteY667" fmla="*/ 2056809 h 5061538"/>
              <a:gd name="connsiteX668" fmla="*/ 7565479 w 7919608"/>
              <a:gd name="connsiteY668" fmla="*/ 2110465 h 5061538"/>
              <a:gd name="connsiteX669" fmla="*/ 7572634 w 7919608"/>
              <a:gd name="connsiteY669" fmla="*/ 2149813 h 5061538"/>
              <a:gd name="connsiteX670" fmla="*/ 7586942 w 7919608"/>
              <a:gd name="connsiteY670" fmla="*/ 2192737 h 5061538"/>
              <a:gd name="connsiteX671" fmla="*/ 7615558 w 7919608"/>
              <a:gd name="connsiteY671" fmla="*/ 2275009 h 5061538"/>
              <a:gd name="connsiteX672" fmla="*/ 7629866 w 7919608"/>
              <a:gd name="connsiteY672" fmla="*/ 2307203 h 5061538"/>
              <a:gd name="connsiteX673" fmla="*/ 7629866 w 7919608"/>
              <a:gd name="connsiteY673" fmla="*/ 2325088 h 5061538"/>
              <a:gd name="connsiteX674" fmla="*/ 7629866 w 7919608"/>
              <a:gd name="connsiteY674" fmla="*/ 2339396 h 5061538"/>
              <a:gd name="connsiteX675" fmla="*/ 7622712 w 7919608"/>
              <a:gd name="connsiteY675" fmla="*/ 2357282 h 5061538"/>
              <a:gd name="connsiteX676" fmla="*/ 7619135 w 7919608"/>
              <a:gd name="connsiteY676" fmla="*/ 2368013 h 5061538"/>
              <a:gd name="connsiteX677" fmla="*/ 7608404 w 7919608"/>
              <a:gd name="connsiteY677" fmla="*/ 2382321 h 5061538"/>
              <a:gd name="connsiteX678" fmla="*/ 7594096 w 7919608"/>
              <a:gd name="connsiteY678" fmla="*/ 2400206 h 5061538"/>
              <a:gd name="connsiteX679" fmla="*/ 7579788 w 7919608"/>
              <a:gd name="connsiteY679" fmla="*/ 2410938 h 5061538"/>
              <a:gd name="connsiteX680" fmla="*/ 7572634 w 7919608"/>
              <a:gd name="connsiteY680" fmla="*/ 2432400 h 5061538"/>
              <a:gd name="connsiteX681" fmla="*/ 7536862 w 7919608"/>
              <a:gd name="connsiteY681" fmla="*/ 2496787 h 5061538"/>
              <a:gd name="connsiteX682" fmla="*/ 7533286 w 7919608"/>
              <a:gd name="connsiteY682" fmla="*/ 2514673 h 5061538"/>
              <a:gd name="connsiteX683" fmla="*/ 7529708 w 7919608"/>
              <a:gd name="connsiteY683" fmla="*/ 2528981 h 5061538"/>
              <a:gd name="connsiteX684" fmla="*/ 7529708 w 7919608"/>
              <a:gd name="connsiteY684" fmla="*/ 2543289 h 5061538"/>
              <a:gd name="connsiteX685" fmla="*/ 7536862 w 7919608"/>
              <a:gd name="connsiteY685" fmla="*/ 2554020 h 5061538"/>
              <a:gd name="connsiteX686" fmla="*/ 7551171 w 7919608"/>
              <a:gd name="connsiteY686" fmla="*/ 2554020 h 5061538"/>
              <a:gd name="connsiteX687" fmla="*/ 7565479 w 7919608"/>
              <a:gd name="connsiteY687" fmla="*/ 2550443 h 5061538"/>
              <a:gd name="connsiteX688" fmla="*/ 7579788 w 7919608"/>
              <a:gd name="connsiteY688" fmla="*/ 2532558 h 5061538"/>
              <a:gd name="connsiteX689" fmla="*/ 7597672 w 7919608"/>
              <a:gd name="connsiteY689" fmla="*/ 2514673 h 5061538"/>
              <a:gd name="connsiteX690" fmla="*/ 7608404 w 7919608"/>
              <a:gd name="connsiteY690" fmla="*/ 2493210 h 5061538"/>
              <a:gd name="connsiteX691" fmla="*/ 7615558 w 7919608"/>
              <a:gd name="connsiteY691" fmla="*/ 2471748 h 5061538"/>
              <a:gd name="connsiteX692" fmla="*/ 7622712 w 7919608"/>
              <a:gd name="connsiteY692" fmla="*/ 2446708 h 5061538"/>
              <a:gd name="connsiteX693" fmla="*/ 7640598 w 7919608"/>
              <a:gd name="connsiteY693" fmla="*/ 2421669 h 5061538"/>
              <a:gd name="connsiteX694" fmla="*/ 7662060 w 7919608"/>
              <a:gd name="connsiteY694" fmla="*/ 2403784 h 5061538"/>
              <a:gd name="connsiteX695" fmla="*/ 7690676 w 7919608"/>
              <a:gd name="connsiteY695" fmla="*/ 2385898 h 5061538"/>
              <a:gd name="connsiteX696" fmla="*/ 7737178 w 7919608"/>
              <a:gd name="connsiteY696" fmla="*/ 2360859 h 5061538"/>
              <a:gd name="connsiteX697" fmla="*/ 7783680 w 7919608"/>
              <a:gd name="connsiteY697" fmla="*/ 2335819 h 5061538"/>
              <a:gd name="connsiteX698" fmla="*/ 7826604 w 7919608"/>
              <a:gd name="connsiteY698" fmla="*/ 2300049 h 5061538"/>
              <a:gd name="connsiteX699" fmla="*/ 7844490 w 7919608"/>
              <a:gd name="connsiteY699" fmla="*/ 2282164 h 5061538"/>
              <a:gd name="connsiteX700" fmla="*/ 7862375 w 7919608"/>
              <a:gd name="connsiteY700" fmla="*/ 2260701 h 5061538"/>
              <a:gd name="connsiteX701" fmla="*/ 7869529 w 7919608"/>
              <a:gd name="connsiteY701" fmla="*/ 2246393 h 5061538"/>
              <a:gd name="connsiteX702" fmla="*/ 7880260 w 7919608"/>
              <a:gd name="connsiteY702" fmla="*/ 2242816 h 5061538"/>
              <a:gd name="connsiteX703" fmla="*/ 7898146 w 7919608"/>
              <a:gd name="connsiteY703" fmla="*/ 2242816 h 5061538"/>
              <a:gd name="connsiteX704" fmla="*/ 7912454 w 7919608"/>
              <a:gd name="connsiteY704" fmla="*/ 2246393 h 5061538"/>
              <a:gd name="connsiteX705" fmla="*/ 7919608 w 7919608"/>
              <a:gd name="connsiteY705" fmla="*/ 2253547 h 5061538"/>
              <a:gd name="connsiteX706" fmla="*/ 7919608 w 7919608"/>
              <a:gd name="connsiteY706" fmla="*/ 2260701 h 5061538"/>
              <a:gd name="connsiteX707" fmla="*/ 7919608 w 7919608"/>
              <a:gd name="connsiteY707" fmla="*/ 2267855 h 5061538"/>
              <a:gd name="connsiteX708" fmla="*/ 7912454 w 7919608"/>
              <a:gd name="connsiteY708" fmla="*/ 2278586 h 5061538"/>
              <a:gd name="connsiteX709" fmla="*/ 7898146 w 7919608"/>
              <a:gd name="connsiteY709" fmla="*/ 2300049 h 5061538"/>
              <a:gd name="connsiteX710" fmla="*/ 7890992 w 7919608"/>
              <a:gd name="connsiteY710" fmla="*/ 2328665 h 5061538"/>
              <a:gd name="connsiteX711" fmla="*/ 7890992 w 7919608"/>
              <a:gd name="connsiteY711" fmla="*/ 2357282 h 5061538"/>
              <a:gd name="connsiteX712" fmla="*/ 7901722 w 7919608"/>
              <a:gd name="connsiteY712" fmla="*/ 2385898 h 5061538"/>
              <a:gd name="connsiteX713" fmla="*/ 7905300 w 7919608"/>
              <a:gd name="connsiteY713" fmla="*/ 2393053 h 5061538"/>
              <a:gd name="connsiteX714" fmla="*/ 7901722 w 7919608"/>
              <a:gd name="connsiteY714" fmla="*/ 2407361 h 5061538"/>
              <a:gd name="connsiteX715" fmla="*/ 7890992 w 7919608"/>
              <a:gd name="connsiteY715" fmla="*/ 2432400 h 5061538"/>
              <a:gd name="connsiteX716" fmla="*/ 7890992 w 7919608"/>
              <a:gd name="connsiteY716" fmla="*/ 2464594 h 5061538"/>
              <a:gd name="connsiteX717" fmla="*/ 7887414 w 7919608"/>
              <a:gd name="connsiteY717" fmla="*/ 2528981 h 5061538"/>
              <a:gd name="connsiteX718" fmla="*/ 7880260 w 7919608"/>
              <a:gd name="connsiteY718" fmla="*/ 2586214 h 5061538"/>
              <a:gd name="connsiteX719" fmla="*/ 7883838 w 7919608"/>
              <a:gd name="connsiteY719" fmla="*/ 2647024 h 5061538"/>
              <a:gd name="connsiteX720" fmla="*/ 7883838 w 7919608"/>
              <a:gd name="connsiteY720" fmla="*/ 2668486 h 5061538"/>
              <a:gd name="connsiteX721" fmla="*/ 7883838 w 7919608"/>
              <a:gd name="connsiteY721" fmla="*/ 2693525 h 5061538"/>
              <a:gd name="connsiteX722" fmla="*/ 7876684 w 7919608"/>
              <a:gd name="connsiteY722" fmla="*/ 2714988 h 5061538"/>
              <a:gd name="connsiteX723" fmla="*/ 7865952 w 7919608"/>
              <a:gd name="connsiteY723" fmla="*/ 2736450 h 5061538"/>
              <a:gd name="connsiteX724" fmla="*/ 7855221 w 7919608"/>
              <a:gd name="connsiteY724" fmla="*/ 2754335 h 5061538"/>
              <a:gd name="connsiteX725" fmla="*/ 7837336 w 7919608"/>
              <a:gd name="connsiteY725" fmla="*/ 2772221 h 5061538"/>
              <a:gd name="connsiteX726" fmla="*/ 7819450 w 7919608"/>
              <a:gd name="connsiteY726" fmla="*/ 2786529 h 5061538"/>
              <a:gd name="connsiteX727" fmla="*/ 7797988 w 7919608"/>
              <a:gd name="connsiteY727" fmla="*/ 2800837 h 5061538"/>
              <a:gd name="connsiteX728" fmla="*/ 7783680 w 7919608"/>
              <a:gd name="connsiteY728" fmla="*/ 2807991 h 5061538"/>
              <a:gd name="connsiteX729" fmla="*/ 7772948 w 7919608"/>
              <a:gd name="connsiteY729" fmla="*/ 2818723 h 5061538"/>
              <a:gd name="connsiteX730" fmla="*/ 7762218 w 7919608"/>
              <a:gd name="connsiteY730" fmla="*/ 2836608 h 5061538"/>
              <a:gd name="connsiteX731" fmla="*/ 7758640 w 7919608"/>
              <a:gd name="connsiteY731" fmla="*/ 2854493 h 5061538"/>
              <a:gd name="connsiteX732" fmla="*/ 7772948 w 7919608"/>
              <a:gd name="connsiteY732" fmla="*/ 2858070 h 5061538"/>
              <a:gd name="connsiteX733" fmla="*/ 7780102 w 7919608"/>
              <a:gd name="connsiteY733" fmla="*/ 2858070 h 5061538"/>
              <a:gd name="connsiteX734" fmla="*/ 7801565 w 7919608"/>
              <a:gd name="connsiteY734" fmla="*/ 2843762 h 5061538"/>
              <a:gd name="connsiteX735" fmla="*/ 7823028 w 7919608"/>
              <a:gd name="connsiteY735" fmla="*/ 2840185 h 5061538"/>
              <a:gd name="connsiteX736" fmla="*/ 7830182 w 7919608"/>
              <a:gd name="connsiteY736" fmla="*/ 2840185 h 5061538"/>
              <a:gd name="connsiteX737" fmla="*/ 7840912 w 7919608"/>
              <a:gd name="connsiteY737" fmla="*/ 2843762 h 5061538"/>
              <a:gd name="connsiteX738" fmla="*/ 7844490 w 7919608"/>
              <a:gd name="connsiteY738" fmla="*/ 2847339 h 5061538"/>
              <a:gd name="connsiteX739" fmla="*/ 7848067 w 7919608"/>
              <a:gd name="connsiteY739" fmla="*/ 2858070 h 5061538"/>
              <a:gd name="connsiteX740" fmla="*/ 7848067 w 7919608"/>
              <a:gd name="connsiteY740" fmla="*/ 2879533 h 5061538"/>
              <a:gd name="connsiteX741" fmla="*/ 7844490 w 7919608"/>
              <a:gd name="connsiteY741" fmla="*/ 2904572 h 5061538"/>
              <a:gd name="connsiteX742" fmla="*/ 7837336 w 7919608"/>
              <a:gd name="connsiteY742" fmla="*/ 2929611 h 5061538"/>
              <a:gd name="connsiteX743" fmla="*/ 7823028 w 7919608"/>
              <a:gd name="connsiteY743" fmla="*/ 2972536 h 5061538"/>
              <a:gd name="connsiteX744" fmla="*/ 7808719 w 7919608"/>
              <a:gd name="connsiteY744" fmla="*/ 3015461 h 5061538"/>
              <a:gd name="connsiteX745" fmla="*/ 7797988 w 7919608"/>
              <a:gd name="connsiteY745" fmla="*/ 3036923 h 5061538"/>
              <a:gd name="connsiteX746" fmla="*/ 7787257 w 7919608"/>
              <a:gd name="connsiteY746" fmla="*/ 3054808 h 5061538"/>
              <a:gd name="connsiteX747" fmla="*/ 7776526 w 7919608"/>
              <a:gd name="connsiteY747" fmla="*/ 3076271 h 5061538"/>
              <a:gd name="connsiteX748" fmla="*/ 7755064 w 7919608"/>
              <a:gd name="connsiteY748" fmla="*/ 3090579 h 5061538"/>
              <a:gd name="connsiteX749" fmla="*/ 7744332 w 7919608"/>
              <a:gd name="connsiteY749" fmla="*/ 3104887 h 5061538"/>
              <a:gd name="connsiteX750" fmla="*/ 7740755 w 7919608"/>
              <a:gd name="connsiteY750" fmla="*/ 3119195 h 5061538"/>
              <a:gd name="connsiteX751" fmla="*/ 7740755 w 7919608"/>
              <a:gd name="connsiteY751" fmla="*/ 3208622 h 5061538"/>
              <a:gd name="connsiteX752" fmla="*/ 7744332 w 7919608"/>
              <a:gd name="connsiteY752" fmla="*/ 3219353 h 5061538"/>
              <a:gd name="connsiteX753" fmla="*/ 7751486 w 7919608"/>
              <a:gd name="connsiteY753" fmla="*/ 3233661 h 5061538"/>
              <a:gd name="connsiteX754" fmla="*/ 7758640 w 7919608"/>
              <a:gd name="connsiteY754" fmla="*/ 3240815 h 5061538"/>
              <a:gd name="connsiteX755" fmla="*/ 7776526 w 7919608"/>
              <a:gd name="connsiteY755" fmla="*/ 3247969 h 5061538"/>
              <a:gd name="connsiteX756" fmla="*/ 7794411 w 7919608"/>
              <a:gd name="connsiteY756" fmla="*/ 3247969 h 5061538"/>
              <a:gd name="connsiteX757" fmla="*/ 7837336 w 7919608"/>
              <a:gd name="connsiteY757" fmla="*/ 3255124 h 5061538"/>
              <a:gd name="connsiteX758" fmla="*/ 7855221 w 7919608"/>
              <a:gd name="connsiteY758" fmla="*/ 3262278 h 5061538"/>
              <a:gd name="connsiteX759" fmla="*/ 7865952 w 7919608"/>
              <a:gd name="connsiteY759" fmla="*/ 3273009 h 5061538"/>
              <a:gd name="connsiteX760" fmla="*/ 7880260 w 7919608"/>
              <a:gd name="connsiteY760" fmla="*/ 3283740 h 5061538"/>
              <a:gd name="connsiteX761" fmla="*/ 7890992 w 7919608"/>
              <a:gd name="connsiteY761" fmla="*/ 3301625 h 5061538"/>
              <a:gd name="connsiteX762" fmla="*/ 7898146 w 7919608"/>
              <a:gd name="connsiteY762" fmla="*/ 3319511 h 5061538"/>
              <a:gd name="connsiteX763" fmla="*/ 7905300 w 7919608"/>
              <a:gd name="connsiteY763" fmla="*/ 3340973 h 5061538"/>
              <a:gd name="connsiteX764" fmla="*/ 7905300 w 7919608"/>
              <a:gd name="connsiteY764" fmla="*/ 3351704 h 5061538"/>
              <a:gd name="connsiteX765" fmla="*/ 7905300 w 7919608"/>
              <a:gd name="connsiteY765" fmla="*/ 3362435 h 5061538"/>
              <a:gd name="connsiteX766" fmla="*/ 7890992 w 7919608"/>
              <a:gd name="connsiteY766" fmla="*/ 3380321 h 5061538"/>
              <a:gd name="connsiteX767" fmla="*/ 7865952 w 7919608"/>
              <a:gd name="connsiteY767" fmla="*/ 3405360 h 5061538"/>
              <a:gd name="connsiteX768" fmla="*/ 7837336 w 7919608"/>
              <a:gd name="connsiteY768" fmla="*/ 3426822 h 5061538"/>
              <a:gd name="connsiteX769" fmla="*/ 7794411 w 7919608"/>
              <a:gd name="connsiteY769" fmla="*/ 3455439 h 5061538"/>
              <a:gd name="connsiteX770" fmla="*/ 7823028 w 7919608"/>
              <a:gd name="connsiteY770" fmla="*/ 3491209 h 5061538"/>
              <a:gd name="connsiteX771" fmla="*/ 7837336 w 7919608"/>
              <a:gd name="connsiteY771" fmla="*/ 3505518 h 5061538"/>
              <a:gd name="connsiteX772" fmla="*/ 7837336 w 7919608"/>
              <a:gd name="connsiteY772" fmla="*/ 3519826 h 5061538"/>
              <a:gd name="connsiteX773" fmla="*/ 7837336 w 7919608"/>
              <a:gd name="connsiteY773" fmla="*/ 3530557 h 5061538"/>
              <a:gd name="connsiteX774" fmla="*/ 7826604 w 7919608"/>
              <a:gd name="connsiteY774" fmla="*/ 3544865 h 5061538"/>
              <a:gd name="connsiteX775" fmla="*/ 7787257 w 7919608"/>
              <a:gd name="connsiteY775" fmla="*/ 3594944 h 5061538"/>
              <a:gd name="connsiteX776" fmla="*/ 7783680 w 7919608"/>
              <a:gd name="connsiteY776" fmla="*/ 3609252 h 5061538"/>
              <a:gd name="connsiteX777" fmla="*/ 7780102 w 7919608"/>
              <a:gd name="connsiteY777" fmla="*/ 3623561 h 5061538"/>
              <a:gd name="connsiteX778" fmla="*/ 7783680 w 7919608"/>
              <a:gd name="connsiteY778" fmla="*/ 3634292 h 5061538"/>
              <a:gd name="connsiteX779" fmla="*/ 7797988 w 7919608"/>
              <a:gd name="connsiteY779" fmla="*/ 3648600 h 5061538"/>
              <a:gd name="connsiteX780" fmla="*/ 7808719 w 7919608"/>
              <a:gd name="connsiteY780" fmla="*/ 3666485 h 5061538"/>
              <a:gd name="connsiteX781" fmla="*/ 7819450 w 7919608"/>
              <a:gd name="connsiteY781" fmla="*/ 3684371 h 5061538"/>
              <a:gd name="connsiteX782" fmla="*/ 7823028 w 7919608"/>
              <a:gd name="connsiteY782" fmla="*/ 3705833 h 5061538"/>
              <a:gd name="connsiteX783" fmla="*/ 7819450 w 7919608"/>
              <a:gd name="connsiteY783" fmla="*/ 3727295 h 5061538"/>
              <a:gd name="connsiteX784" fmla="*/ 7823028 w 7919608"/>
              <a:gd name="connsiteY784" fmla="*/ 3748758 h 5061538"/>
              <a:gd name="connsiteX785" fmla="*/ 7826604 w 7919608"/>
              <a:gd name="connsiteY785" fmla="*/ 3773797 h 5061538"/>
              <a:gd name="connsiteX786" fmla="*/ 7837336 w 7919608"/>
              <a:gd name="connsiteY786" fmla="*/ 3791682 h 5061538"/>
              <a:gd name="connsiteX787" fmla="*/ 7855221 w 7919608"/>
              <a:gd name="connsiteY787" fmla="*/ 3813145 h 5061538"/>
              <a:gd name="connsiteX788" fmla="*/ 7865952 w 7919608"/>
              <a:gd name="connsiteY788" fmla="*/ 3831030 h 5061538"/>
              <a:gd name="connsiteX789" fmla="*/ 7880260 w 7919608"/>
              <a:gd name="connsiteY789" fmla="*/ 3845338 h 5061538"/>
              <a:gd name="connsiteX790" fmla="*/ 7883838 w 7919608"/>
              <a:gd name="connsiteY790" fmla="*/ 3870378 h 5061538"/>
              <a:gd name="connsiteX791" fmla="*/ 7883838 w 7919608"/>
              <a:gd name="connsiteY791" fmla="*/ 3895417 h 5061538"/>
              <a:gd name="connsiteX792" fmla="*/ 7880260 w 7919608"/>
              <a:gd name="connsiteY792" fmla="*/ 3916879 h 5061538"/>
              <a:gd name="connsiteX793" fmla="*/ 7869529 w 7919608"/>
              <a:gd name="connsiteY793" fmla="*/ 3938342 h 5061538"/>
              <a:gd name="connsiteX794" fmla="*/ 7862375 w 7919608"/>
              <a:gd name="connsiteY794" fmla="*/ 3956227 h 5061538"/>
              <a:gd name="connsiteX795" fmla="*/ 7844490 w 7919608"/>
              <a:gd name="connsiteY795" fmla="*/ 3974112 h 5061538"/>
              <a:gd name="connsiteX796" fmla="*/ 7837336 w 7919608"/>
              <a:gd name="connsiteY796" fmla="*/ 3977689 h 5061538"/>
              <a:gd name="connsiteX797" fmla="*/ 7826604 w 7919608"/>
              <a:gd name="connsiteY797" fmla="*/ 3981266 h 5061538"/>
              <a:gd name="connsiteX798" fmla="*/ 7801565 w 7919608"/>
              <a:gd name="connsiteY798" fmla="*/ 3981266 h 5061538"/>
              <a:gd name="connsiteX799" fmla="*/ 7772948 w 7919608"/>
              <a:gd name="connsiteY799" fmla="*/ 3981266 h 5061538"/>
              <a:gd name="connsiteX800" fmla="*/ 7758640 w 7919608"/>
              <a:gd name="connsiteY800" fmla="*/ 3981266 h 5061538"/>
              <a:gd name="connsiteX801" fmla="*/ 7751486 w 7919608"/>
              <a:gd name="connsiteY801" fmla="*/ 3984843 h 5061538"/>
              <a:gd name="connsiteX802" fmla="*/ 7740755 w 7919608"/>
              <a:gd name="connsiteY802" fmla="*/ 3995575 h 5061538"/>
              <a:gd name="connsiteX803" fmla="*/ 7737178 w 7919608"/>
              <a:gd name="connsiteY803" fmla="*/ 4002729 h 5061538"/>
              <a:gd name="connsiteX804" fmla="*/ 7726447 w 7919608"/>
              <a:gd name="connsiteY804" fmla="*/ 4031345 h 5061538"/>
              <a:gd name="connsiteX805" fmla="*/ 7722870 w 7919608"/>
              <a:gd name="connsiteY805" fmla="*/ 4070693 h 5061538"/>
              <a:gd name="connsiteX806" fmla="*/ 7722870 w 7919608"/>
              <a:gd name="connsiteY806" fmla="*/ 4085001 h 5061538"/>
              <a:gd name="connsiteX807" fmla="*/ 7726447 w 7919608"/>
              <a:gd name="connsiteY807" fmla="*/ 4099309 h 5061538"/>
              <a:gd name="connsiteX808" fmla="*/ 7737178 w 7919608"/>
              <a:gd name="connsiteY808" fmla="*/ 4110041 h 5061538"/>
              <a:gd name="connsiteX809" fmla="*/ 7751486 w 7919608"/>
              <a:gd name="connsiteY809" fmla="*/ 4120772 h 5061538"/>
              <a:gd name="connsiteX810" fmla="*/ 7783680 w 7919608"/>
              <a:gd name="connsiteY810" fmla="*/ 4142234 h 5061538"/>
              <a:gd name="connsiteX811" fmla="*/ 7797988 w 7919608"/>
              <a:gd name="connsiteY811" fmla="*/ 4149388 h 5061538"/>
              <a:gd name="connsiteX812" fmla="*/ 7794411 w 7919608"/>
              <a:gd name="connsiteY812" fmla="*/ 4167273 h 5061538"/>
              <a:gd name="connsiteX813" fmla="*/ 7783680 w 7919608"/>
              <a:gd name="connsiteY813" fmla="*/ 4174428 h 5061538"/>
              <a:gd name="connsiteX814" fmla="*/ 7772948 w 7919608"/>
              <a:gd name="connsiteY814" fmla="*/ 4185159 h 5061538"/>
              <a:gd name="connsiteX815" fmla="*/ 7758640 w 7919608"/>
              <a:gd name="connsiteY815" fmla="*/ 4192313 h 5061538"/>
              <a:gd name="connsiteX816" fmla="*/ 7744332 w 7919608"/>
              <a:gd name="connsiteY816" fmla="*/ 4203044 h 5061538"/>
              <a:gd name="connsiteX817" fmla="*/ 7737178 w 7919608"/>
              <a:gd name="connsiteY817" fmla="*/ 4213775 h 5061538"/>
              <a:gd name="connsiteX818" fmla="*/ 7762218 w 7919608"/>
              <a:gd name="connsiteY818" fmla="*/ 4238815 h 5061538"/>
              <a:gd name="connsiteX819" fmla="*/ 7776526 w 7919608"/>
              <a:gd name="connsiteY819" fmla="*/ 4238815 h 5061538"/>
              <a:gd name="connsiteX820" fmla="*/ 7805142 w 7919608"/>
              <a:gd name="connsiteY820" fmla="*/ 4249546 h 5061538"/>
              <a:gd name="connsiteX821" fmla="*/ 7819450 w 7919608"/>
              <a:gd name="connsiteY821" fmla="*/ 4253123 h 5061538"/>
              <a:gd name="connsiteX822" fmla="*/ 7826604 w 7919608"/>
              <a:gd name="connsiteY822" fmla="*/ 4260277 h 5061538"/>
              <a:gd name="connsiteX823" fmla="*/ 7830182 w 7919608"/>
              <a:gd name="connsiteY823" fmla="*/ 4271008 h 5061538"/>
              <a:gd name="connsiteX824" fmla="*/ 7837336 w 7919608"/>
              <a:gd name="connsiteY824" fmla="*/ 4285317 h 5061538"/>
              <a:gd name="connsiteX825" fmla="*/ 7837336 w 7919608"/>
              <a:gd name="connsiteY825" fmla="*/ 4317510 h 5061538"/>
              <a:gd name="connsiteX826" fmla="*/ 7837336 w 7919608"/>
              <a:gd name="connsiteY826" fmla="*/ 4331818 h 5061538"/>
              <a:gd name="connsiteX827" fmla="*/ 7830182 w 7919608"/>
              <a:gd name="connsiteY827" fmla="*/ 4338972 h 5061538"/>
              <a:gd name="connsiteX828" fmla="*/ 7826604 w 7919608"/>
              <a:gd name="connsiteY828" fmla="*/ 4349704 h 5061538"/>
              <a:gd name="connsiteX829" fmla="*/ 7815874 w 7919608"/>
              <a:gd name="connsiteY829" fmla="*/ 4353281 h 5061538"/>
              <a:gd name="connsiteX830" fmla="*/ 7797988 w 7919608"/>
              <a:gd name="connsiteY830" fmla="*/ 4349704 h 5061538"/>
              <a:gd name="connsiteX831" fmla="*/ 7780102 w 7919608"/>
              <a:gd name="connsiteY831" fmla="*/ 4338972 h 5061538"/>
              <a:gd name="connsiteX832" fmla="*/ 7755064 w 7919608"/>
              <a:gd name="connsiteY832" fmla="*/ 4313933 h 5061538"/>
              <a:gd name="connsiteX833" fmla="*/ 7744332 w 7919608"/>
              <a:gd name="connsiteY833" fmla="*/ 4310356 h 5061538"/>
              <a:gd name="connsiteX834" fmla="*/ 7733601 w 7919608"/>
              <a:gd name="connsiteY834" fmla="*/ 4306779 h 5061538"/>
              <a:gd name="connsiteX835" fmla="*/ 7722870 w 7919608"/>
              <a:gd name="connsiteY835" fmla="*/ 4310356 h 5061538"/>
              <a:gd name="connsiteX836" fmla="*/ 7712138 w 7919608"/>
              <a:gd name="connsiteY836" fmla="*/ 4313933 h 5061538"/>
              <a:gd name="connsiteX837" fmla="*/ 7690676 w 7919608"/>
              <a:gd name="connsiteY837" fmla="*/ 4338972 h 5061538"/>
              <a:gd name="connsiteX838" fmla="*/ 7672791 w 7919608"/>
              <a:gd name="connsiteY838" fmla="*/ 4360435 h 5061538"/>
              <a:gd name="connsiteX839" fmla="*/ 7669214 w 7919608"/>
              <a:gd name="connsiteY839" fmla="*/ 4374743 h 5061538"/>
              <a:gd name="connsiteX840" fmla="*/ 7662060 w 7919608"/>
              <a:gd name="connsiteY840" fmla="*/ 4381897 h 5061538"/>
              <a:gd name="connsiteX841" fmla="*/ 7662060 w 7919608"/>
              <a:gd name="connsiteY841" fmla="*/ 4403359 h 5061538"/>
              <a:gd name="connsiteX842" fmla="*/ 7658482 w 7919608"/>
              <a:gd name="connsiteY842" fmla="*/ 4421245 h 5061538"/>
              <a:gd name="connsiteX843" fmla="*/ 7640598 w 7919608"/>
              <a:gd name="connsiteY843" fmla="*/ 4453438 h 5061538"/>
              <a:gd name="connsiteX844" fmla="*/ 7622712 w 7919608"/>
              <a:gd name="connsiteY844" fmla="*/ 4485632 h 5061538"/>
              <a:gd name="connsiteX845" fmla="*/ 7601250 w 7919608"/>
              <a:gd name="connsiteY845" fmla="*/ 4517825 h 5061538"/>
              <a:gd name="connsiteX846" fmla="*/ 7597672 w 7919608"/>
              <a:gd name="connsiteY846" fmla="*/ 4524979 h 5061538"/>
              <a:gd name="connsiteX847" fmla="*/ 7590518 w 7919608"/>
              <a:gd name="connsiteY847" fmla="*/ 4535711 h 5061538"/>
              <a:gd name="connsiteX848" fmla="*/ 7569056 w 7919608"/>
              <a:gd name="connsiteY848" fmla="*/ 4550019 h 5061538"/>
              <a:gd name="connsiteX849" fmla="*/ 7551171 w 7919608"/>
              <a:gd name="connsiteY849" fmla="*/ 4560750 h 5061538"/>
              <a:gd name="connsiteX850" fmla="*/ 7533286 w 7919608"/>
              <a:gd name="connsiteY850" fmla="*/ 4560750 h 5061538"/>
              <a:gd name="connsiteX851" fmla="*/ 7515400 w 7919608"/>
              <a:gd name="connsiteY851" fmla="*/ 4557173 h 5061538"/>
              <a:gd name="connsiteX852" fmla="*/ 7508246 w 7919608"/>
              <a:gd name="connsiteY852" fmla="*/ 4546442 h 5061538"/>
              <a:gd name="connsiteX853" fmla="*/ 7497515 w 7919608"/>
              <a:gd name="connsiteY853" fmla="*/ 4528557 h 5061538"/>
              <a:gd name="connsiteX854" fmla="*/ 7497515 w 7919608"/>
              <a:gd name="connsiteY854" fmla="*/ 4517825 h 5061538"/>
              <a:gd name="connsiteX855" fmla="*/ 7508246 w 7919608"/>
              <a:gd name="connsiteY855" fmla="*/ 4507094 h 5061538"/>
              <a:gd name="connsiteX856" fmla="*/ 7518978 w 7919608"/>
              <a:gd name="connsiteY856" fmla="*/ 4499940 h 5061538"/>
              <a:gd name="connsiteX857" fmla="*/ 7544017 w 7919608"/>
              <a:gd name="connsiteY857" fmla="*/ 4464169 h 5061538"/>
              <a:gd name="connsiteX858" fmla="*/ 7594096 w 7919608"/>
              <a:gd name="connsiteY858" fmla="*/ 4399782 h 5061538"/>
              <a:gd name="connsiteX859" fmla="*/ 7640598 w 7919608"/>
              <a:gd name="connsiteY859" fmla="*/ 4335395 h 5061538"/>
              <a:gd name="connsiteX860" fmla="*/ 7658482 w 7919608"/>
              <a:gd name="connsiteY860" fmla="*/ 4306779 h 5061538"/>
              <a:gd name="connsiteX861" fmla="*/ 7669214 w 7919608"/>
              <a:gd name="connsiteY861" fmla="*/ 4274585 h 5061538"/>
              <a:gd name="connsiteX862" fmla="*/ 7669214 w 7919608"/>
              <a:gd name="connsiteY862" fmla="*/ 4256700 h 5061538"/>
              <a:gd name="connsiteX863" fmla="*/ 7662060 w 7919608"/>
              <a:gd name="connsiteY863" fmla="*/ 4238815 h 5061538"/>
              <a:gd name="connsiteX864" fmla="*/ 7651328 w 7919608"/>
              <a:gd name="connsiteY864" fmla="*/ 4231661 h 5061538"/>
              <a:gd name="connsiteX865" fmla="*/ 7629866 w 7919608"/>
              <a:gd name="connsiteY865" fmla="*/ 4224507 h 5061538"/>
              <a:gd name="connsiteX866" fmla="*/ 7608404 w 7919608"/>
              <a:gd name="connsiteY866" fmla="*/ 4217352 h 5061538"/>
              <a:gd name="connsiteX867" fmla="*/ 7594096 w 7919608"/>
              <a:gd name="connsiteY867" fmla="*/ 4206621 h 5061538"/>
              <a:gd name="connsiteX868" fmla="*/ 7579788 w 7919608"/>
              <a:gd name="connsiteY868" fmla="*/ 4192313 h 5061538"/>
              <a:gd name="connsiteX869" fmla="*/ 7576210 w 7919608"/>
              <a:gd name="connsiteY869" fmla="*/ 4170851 h 5061538"/>
              <a:gd name="connsiteX870" fmla="*/ 7569056 w 7919608"/>
              <a:gd name="connsiteY870" fmla="*/ 4149388 h 5061538"/>
              <a:gd name="connsiteX871" fmla="*/ 7554748 w 7919608"/>
              <a:gd name="connsiteY871" fmla="*/ 4135080 h 5061538"/>
              <a:gd name="connsiteX872" fmla="*/ 7551171 w 7919608"/>
              <a:gd name="connsiteY872" fmla="*/ 4131503 h 5061538"/>
              <a:gd name="connsiteX873" fmla="*/ 7544017 w 7919608"/>
              <a:gd name="connsiteY873" fmla="*/ 4131503 h 5061538"/>
              <a:gd name="connsiteX874" fmla="*/ 7518978 w 7919608"/>
              <a:gd name="connsiteY874" fmla="*/ 4142234 h 5061538"/>
              <a:gd name="connsiteX875" fmla="*/ 7493938 w 7919608"/>
              <a:gd name="connsiteY875" fmla="*/ 4152965 h 5061538"/>
              <a:gd name="connsiteX876" fmla="*/ 7483207 w 7919608"/>
              <a:gd name="connsiteY876" fmla="*/ 4156542 h 5061538"/>
              <a:gd name="connsiteX877" fmla="*/ 7468898 w 7919608"/>
              <a:gd name="connsiteY877" fmla="*/ 4152965 h 5061538"/>
              <a:gd name="connsiteX878" fmla="*/ 7447436 w 7919608"/>
              <a:gd name="connsiteY878" fmla="*/ 4145811 h 5061538"/>
              <a:gd name="connsiteX879" fmla="*/ 7425974 w 7919608"/>
              <a:gd name="connsiteY879" fmla="*/ 4127926 h 5061538"/>
              <a:gd name="connsiteX880" fmla="*/ 7408088 w 7919608"/>
              <a:gd name="connsiteY880" fmla="*/ 4106463 h 5061538"/>
              <a:gd name="connsiteX881" fmla="*/ 7400934 w 7919608"/>
              <a:gd name="connsiteY881" fmla="*/ 4085001 h 5061538"/>
              <a:gd name="connsiteX882" fmla="*/ 7393780 w 7919608"/>
              <a:gd name="connsiteY882" fmla="*/ 4059962 h 5061538"/>
              <a:gd name="connsiteX883" fmla="*/ 7400934 w 7919608"/>
              <a:gd name="connsiteY883" fmla="*/ 4027768 h 5061538"/>
              <a:gd name="connsiteX884" fmla="*/ 7411666 w 7919608"/>
              <a:gd name="connsiteY884" fmla="*/ 4002729 h 5061538"/>
              <a:gd name="connsiteX885" fmla="*/ 7425974 w 7919608"/>
              <a:gd name="connsiteY885" fmla="*/ 3981266 h 5061538"/>
              <a:gd name="connsiteX886" fmla="*/ 7433128 w 7919608"/>
              <a:gd name="connsiteY886" fmla="*/ 3959804 h 5061538"/>
              <a:gd name="connsiteX887" fmla="*/ 7440282 w 7919608"/>
              <a:gd name="connsiteY887" fmla="*/ 3941919 h 5061538"/>
              <a:gd name="connsiteX888" fmla="*/ 7433128 w 7919608"/>
              <a:gd name="connsiteY888" fmla="*/ 3924033 h 5061538"/>
              <a:gd name="connsiteX889" fmla="*/ 7425974 w 7919608"/>
              <a:gd name="connsiteY889" fmla="*/ 3902571 h 5061538"/>
              <a:gd name="connsiteX890" fmla="*/ 7408088 w 7919608"/>
              <a:gd name="connsiteY890" fmla="*/ 3870378 h 5061538"/>
              <a:gd name="connsiteX891" fmla="*/ 7390204 w 7919608"/>
              <a:gd name="connsiteY891" fmla="*/ 3831030 h 5061538"/>
              <a:gd name="connsiteX892" fmla="*/ 7383049 w 7919608"/>
              <a:gd name="connsiteY892" fmla="*/ 3813145 h 5061538"/>
              <a:gd name="connsiteX893" fmla="*/ 7368741 w 7919608"/>
              <a:gd name="connsiteY893" fmla="*/ 3802413 h 5061538"/>
              <a:gd name="connsiteX894" fmla="*/ 7361587 w 7919608"/>
              <a:gd name="connsiteY894" fmla="*/ 3798836 h 5061538"/>
              <a:gd name="connsiteX895" fmla="*/ 7343702 w 7919608"/>
              <a:gd name="connsiteY895" fmla="*/ 3798836 h 5061538"/>
              <a:gd name="connsiteX896" fmla="*/ 7329394 w 7919608"/>
              <a:gd name="connsiteY896" fmla="*/ 3809568 h 5061538"/>
              <a:gd name="connsiteX897" fmla="*/ 7322239 w 7919608"/>
              <a:gd name="connsiteY897" fmla="*/ 3820299 h 5061538"/>
              <a:gd name="connsiteX898" fmla="*/ 7322239 w 7919608"/>
              <a:gd name="connsiteY898" fmla="*/ 3831030 h 5061538"/>
              <a:gd name="connsiteX899" fmla="*/ 7322239 w 7919608"/>
              <a:gd name="connsiteY899" fmla="*/ 3845338 h 5061538"/>
              <a:gd name="connsiteX900" fmla="*/ 7325816 w 7919608"/>
              <a:gd name="connsiteY900" fmla="*/ 3877532 h 5061538"/>
              <a:gd name="connsiteX901" fmla="*/ 7325816 w 7919608"/>
              <a:gd name="connsiteY901" fmla="*/ 3913302 h 5061538"/>
              <a:gd name="connsiteX902" fmla="*/ 7318662 w 7919608"/>
              <a:gd name="connsiteY902" fmla="*/ 3938342 h 5061538"/>
              <a:gd name="connsiteX903" fmla="*/ 7300777 w 7919608"/>
              <a:gd name="connsiteY903" fmla="*/ 3966958 h 5061538"/>
              <a:gd name="connsiteX904" fmla="*/ 7290046 w 7919608"/>
              <a:gd name="connsiteY904" fmla="*/ 3984843 h 5061538"/>
              <a:gd name="connsiteX905" fmla="*/ 7290046 w 7919608"/>
              <a:gd name="connsiteY905" fmla="*/ 3999152 h 5061538"/>
              <a:gd name="connsiteX906" fmla="*/ 7297200 w 7919608"/>
              <a:gd name="connsiteY906" fmla="*/ 4009883 h 5061538"/>
              <a:gd name="connsiteX907" fmla="*/ 7304354 w 7919608"/>
              <a:gd name="connsiteY907" fmla="*/ 4027768 h 5061538"/>
              <a:gd name="connsiteX908" fmla="*/ 7329394 w 7919608"/>
              <a:gd name="connsiteY908" fmla="*/ 4049231 h 5061538"/>
              <a:gd name="connsiteX909" fmla="*/ 7322239 w 7919608"/>
              <a:gd name="connsiteY909" fmla="*/ 4067116 h 5061538"/>
              <a:gd name="connsiteX910" fmla="*/ 7311508 w 7919608"/>
              <a:gd name="connsiteY910" fmla="*/ 4081424 h 5061538"/>
              <a:gd name="connsiteX911" fmla="*/ 7297200 w 7919608"/>
              <a:gd name="connsiteY911" fmla="*/ 4088578 h 5061538"/>
              <a:gd name="connsiteX912" fmla="*/ 7279314 w 7919608"/>
              <a:gd name="connsiteY912" fmla="*/ 4092155 h 5061538"/>
              <a:gd name="connsiteX913" fmla="*/ 7261429 w 7919608"/>
              <a:gd name="connsiteY913" fmla="*/ 4102886 h 5061538"/>
              <a:gd name="connsiteX914" fmla="*/ 7243544 w 7919608"/>
              <a:gd name="connsiteY914" fmla="*/ 4110041 h 5061538"/>
              <a:gd name="connsiteX915" fmla="*/ 7232812 w 7919608"/>
              <a:gd name="connsiteY915" fmla="*/ 4124349 h 5061538"/>
              <a:gd name="connsiteX916" fmla="*/ 7222082 w 7919608"/>
              <a:gd name="connsiteY916" fmla="*/ 4142234 h 5061538"/>
              <a:gd name="connsiteX917" fmla="*/ 7207774 w 7919608"/>
              <a:gd name="connsiteY917" fmla="*/ 4163696 h 5061538"/>
              <a:gd name="connsiteX918" fmla="*/ 7193465 w 7919608"/>
              <a:gd name="connsiteY918" fmla="*/ 4174428 h 5061538"/>
              <a:gd name="connsiteX919" fmla="*/ 7172002 w 7919608"/>
              <a:gd name="connsiteY919" fmla="*/ 4185159 h 5061538"/>
              <a:gd name="connsiteX920" fmla="*/ 7139809 w 7919608"/>
              <a:gd name="connsiteY920" fmla="*/ 4185159 h 5061538"/>
              <a:gd name="connsiteX921" fmla="*/ 7121924 w 7919608"/>
              <a:gd name="connsiteY921" fmla="*/ 4181582 h 5061538"/>
              <a:gd name="connsiteX922" fmla="*/ 7104038 w 7919608"/>
              <a:gd name="connsiteY922" fmla="*/ 4185159 h 5061538"/>
              <a:gd name="connsiteX923" fmla="*/ 7093308 w 7919608"/>
              <a:gd name="connsiteY923" fmla="*/ 4192313 h 5061538"/>
              <a:gd name="connsiteX924" fmla="*/ 7078999 w 7919608"/>
              <a:gd name="connsiteY924" fmla="*/ 4203044 h 5061538"/>
              <a:gd name="connsiteX925" fmla="*/ 7075422 w 7919608"/>
              <a:gd name="connsiteY925" fmla="*/ 4213775 h 5061538"/>
              <a:gd name="connsiteX926" fmla="*/ 7071845 w 7919608"/>
              <a:gd name="connsiteY926" fmla="*/ 4228084 h 5061538"/>
              <a:gd name="connsiteX927" fmla="*/ 7071845 w 7919608"/>
              <a:gd name="connsiteY927" fmla="*/ 4249546 h 5061538"/>
              <a:gd name="connsiteX928" fmla="*/ 7075422 w 7919608"/>
              <a:gd name="connsiteY928" fmla="*/ 4267431 h 5061538"/>
              <a:gd name="connsiteX929" fmla="*/ 7082576 w 7919608"/>
              <a:gd name="connsiteY929" fmla="*/ 4296048 h 5061538"/>
              <a:gd name="connsiteX930" fmla="*/ 7100462 w 7919608"/>
              <a:gd name="connsiteY930" fmla="*/ 4321087 h 5061538"/>
              <a:gd name="connsiteX931" fmla="*/ 7114770 w 7919608"/>
              <a:gd name="connsiteY931" fmla="*/ 4338972 h 5061538"/>
              <a:gd name="connsiteX932" fmla="*/ 7132655 w 7919608"/>
              <a:gd name="connsiteY932" fmla="*/ 4356858 h 5061538"/>
              <a:gd name="connsiteX933" fmla="*/ 7154118 w 7919608"/>
              <a:gd name="connsiteY933" fmla="*/ 4364012 h 5061538"/>
              <a:gd name="connsiteX934" fmla="*/ 7175580 w 7919608"/>
              <a:gd name="connsiteY934" fmla="*/ 4364012 h 5061538"/>
              <a:gd name="connsiteX935" fmla="*/ 7197042 w 7919608"/>
              <a:gd name="connsiteY935" fmla="*/ 4364012 h 5061538"/>
              <a:gd name="connsiteX936" fmla="*/ 7214928 w 7919608"/>
              <a:gd name="connsiteY936" fmla="*/ 4364012 h 5061538"/>
              <a:gd name="connsiteX937" fmla="*/ 7232812 w 7919608"/>
              <a:gd name="connsiteY937" fmla="*/ 4371166 h 5061538"/>
              <a:gd name="connsiteX938" fmla="*/ 7247121 w 7919608"/>
              <a:gd name="connsiteY938" fmla="*/ 4364012 h 5061538"/>
              <a:gd name="connsiteX939" fmla="*/ 7261429 w 7919608"/>
              <a:gd name="connsiteY939" fmla="*/ 4353281 h 5061538"/>
              <a:gd name="connsiteX940" fmla="*/ 7275738 w 7919608"/>
              <a:gd name="connsiteY940" fmla="*/ 4338972 h 5061538"/>
              <a:gd name="connsiteX941" fmla="*/ 7279314 w 7919608"/>
              <a:gd name="connsiteY941" fmla="*/ 4321087 h 5061538"/>
              <a:gd name="connsiteX942" fmla="*/ 7282892 w 7919608"/>
              <a:gd name="connsiteY942" fmla="*/ 4306779 h 5061538"/>
              <a:gd name="connsiteX943" fmla="*/ 7282892 w 7919608"/>
              <a:gd name="connsiteY943" fmla="*/ 4288894 h 5061538"/>
              <a:gd name="connsiteX944" fmla="*/ 7268584 w 7919608"/>
              <a:gd name="connsiteY944" fmla="*/ 4271008 h 5061538"/>
              <a:gd name="connsiteX945" fmla="*/ 7261429 w 7919608"/>
              <a:gd name="connsiteY945" fmla="*/ 4260277 h 5061538"/>
              <a:gd name="connsiteX946" fmla="*/ 7261429 w 7919608"/>
              <a:gd name="connsiteY946" fmla="*/ 4249546 h 5061538"/>
              <a:gd name="connsiteX947" fmla="*/ 7268584 w 7919608"/>
              <a:gd name="connsiteY947" fmla="*/ 4231661 h 5061538"/>
              <a:gd name="connsiteX948" fmla="*/ 7282892 w 7919608"/>
              <a:gd name="connsiteY948" fmla="*/ 4217352 h 5061538"/>
              <a:gd name="connsiteX949" fmla="*/ 7286468 w 7919608"/>
              <a:gd name="connsiteY949" fmla="*/ 4217352 h 5061538"/>
              <a:gd name="connsiteX950" fmla="*/ 7297200 w 7919608"/>
              <a:gd name="connsiteY950" fmla="*/ 4224507 h 5061538"/>
              <a:gd name="connsiteX951" fmla="*/ 7304354 w 7919608"/>
              <a:gd name="connsiteY951" fmla="*/ 4228084 h 5061538"/>
              <a:gd name="connsiteX952" fmla="*/ 7307931 w 7919608"/>
              <a:gd name="connsiteY952" fmla="*/ 4231661 h 5061538"/>
              <a:gd name="connsiteX953" fmla="*/ 7318662 w 7919608"/>
              <a:gd name="connsiteY953" fmla="*/ 4260277 h 5061538"/>
              <a:gd name="connsiteX954" fmla="*/ 7325816 w 7919608"/>
              <a:gd name="connsiteY954" fmla="*/ 4292471 h 5061538"/>
              <a:gd name="connsiteX955" fmla="*/ 7325816 w 7919608"/>
              <a:gd name="connsiteY955" fmla="*/ 4321087 h 5061538"/>
              <a:gd name="connsiteX956" fmla="*/ 7322239 w 7919608"/>
              <a:gd name="connsiteY956" fmla="*/ 4353281 h 5061538"/>
              <a:gd name="connsiteX957" fmla="*/ 7311508 w 7919608"/>
              <a:gd name="connsiteY957" fmla="*/ 4371166 h 5061538"/>
              <a:gd name="connsiteX958" fmla="*/ 7297200 w 7919608"/>
              <a:gd name="connsiteY958" fmla="*/ 4381897 h 5061538"/>
              <a:gd name="connsiteX959" fmla="*/ 7282892 w 7919608"/>
              <a:gd name="connsiteY959" fmla="*/ 4396205 h 5061538"/>
              <a:gd name="connsiteX960" fmla="*/ 7268584 w 7919608"/>
              <a:gd name="connsiteY960" fmla="*/ 4410514 h 5061538"/>
              <a:gd name="connsiteX961" fmla="*/ 7257852 w 7919608"/>
              <a:gd name="connsiteY961" fmla="*/ 4421245 h 5061538"/>
              <a:gd name="connsiteX962" fmla="*/ 7254275 w 7919608"/>
              <a:gd name="connsiteY962" fmla="*/ 4439130 h 5061538"/>
              <a:gd name="connsiteX963" fmla="*/ 7247121 w 7919608"/>
              <a:gd name="connsiteY963" fmla="*/ 4457015 h 5061538"/>
              <a:gd name="connsiteX964" fmla="*/ 7243544 w 7919608"/>
              <a:gd name="connsiteY964" fmla="*/ 4474901 h 5061538"/>
              <a:gd name="connsiteX965" fmla="*/ 7247121 w 7919608"/>
              <a:gd name="connsiteY965" fmla="*/ 4492786 h 5061538"/>
              <a:gd name="connsiteX966" fmla="*/ 7254275 w 7919608"/>
              <a:gd name="connsiteY966" fmla="*/ 4507094 h 5061538"/>
              <a:gd name="connsiteX967" fmla="*/ 7257852 w 7919608"/>
              <a:gd name="connsiteY967" fmla="*/ 4528557 h 5061538"/>
              <a:gd name="connsiteX968" fmla="*/ 7257852 w 7919608"/>
              <a:gd name="connsiteY968" fmla="*/ 4546442 h 5061538"/>
              <a:gd name="connsiteX969" fmla="*/ 7254275 w 7919608"/>
              <a:gd name="connsiteY969" fmla="*/ 4564327 h 5061538"/>
              <a:gd name="connsiteX970" fmla="*/ 7243544 w 7919608"/>
              <a:gd name="connsiteY970" fmla="*/ 4578635 h 5061538"/>
              <a:gd name="connsiteX971" fmla="*/ 7243544 w 7919608"/>
              <a:gd name="connsiteY971" fmla="*/ 4582212 h 5061538"/>
              <a:gd name="connsiteX972" fmla="*/ 7232812 w 7919608"/>
              <a:gd name="connsiteY972" fmla="*/ 4610829 h 5061538"/>
              <a:gd name="connsiteX973" fmla="*/ 7214928 w 7919608"/>
              <a:gd name="connsiteY973" fmla="*/ 4639445 h 5061538"/>
              <a:gd name="connsiteX974" fmla="*/ 7197042 w 7919608"/>
              <a:gd name="connsiteY974" fmla="*/ 4664485 h 5061538"/>
              <a:gd name="connsiteX975" fmla="*/ 7179157 w 7919608"/>
              <a:gd name="connsiteY975" fmla="*/ 4685947 h 5061538"/>
              <a:gd name="connsiteX976" fmla="*/ 7136232 w 7919608"/>
              <a:gd name="connsiteY976" fmla="*/ 4728872 h 5061538"/>
              <a:gd name="connsiteX977" fmla="*/ 7082576 w 7919608"/>
              <a:gd name="connsiteY977" fmla="*/ 4764642 h 5061538"/>
              <a:gd name="connsiteX978" fmla="*/ 7046806 w 7919608"/>
              <a:gd name="connsiteY978" fmla="*/ 4789682 h 5061538"/>
              <a:gd name="connsiteX979" fmla="*/ 7000304 w 7919608"/>
              <a:gd name="connsiteY979" fmla="*/ 4811144 h 5061538"/>
              <a:gd name="connsiteX980" fmla="*/ 6964534 w 7919608"/>
              <a:gd name="connsiteY980" fmla="*/ 4836184 h 5061538"/>
              <a:gd name="connsiteX981" fmla="*/ 6925186 w 7919608"/>
              <a:gd name="connsiteY981" fmla="*/ 4861223 h 5061538"/>
              <a:gd name="connsiteX982" fmla="*/ 6910878 w 7919608"/>
              <a:gd name="connsiteY982" fmla="*/ 4871954 h 5061538"/>
              <a:gd name="connsiteX983" fmla="*/ 6896569 w 7919608"/>
              <a:gd name="connsiteY983" fmla="*/ 4879108 h 5061538"/>
              <a:gd name="connsiteX984" fmla="*/ 6882261 w 7919608"/>
              <a:gd name="connsiteY984" fmla="*/ 4879108 h 5061538"/>
              <a:gd name="connsiteX985" fmla="*/ 6867952 w 7919608"/>
              <a:gd name="connsiteY985" fmla="*/ 4879108 h 5061538"/>
              <a:gd name="connsiteX986" fmla="*/ 6832182 w 7919608"/>
              <a:gd name="connsiteY986" fmla="*/ 4875531 h 5061538"/>
              <a:gd name="connsiteX987" fmla="*/ 6792834 w 7919608"/>
              <a:gd name="connsiteY987" fmla="*/ 4854069 h 5061538"/>
              <a:gd name="connsiteX988" fmla="*/ 6782104 w 7919608"/>
              <a:gd name="connsiteY988" fmla="*/ 4871954 h 5061538"/>
              <a:gd name="connsiteX989" fmla="*/ 6778526 w 7919608"/>
              <a:gd name="connsiteY989" fmla="*/ 4882685 h 5061538"/>
              <a:gd name="connsiteX990" fmla="*/ 6771372 w 7919608"/>
              <a:gd name="connsiteY990" fmla="*/ 4900571 h 5061538"/>
              <a:gd name="connsiteX991" fmla="*/ 6771372 w 7919608"/>
              <a:gd name="connsiteY991" fmla="*/ 4914879 h 5061538"/>
              <a:gd name="connsiteX992" fmla="*/ 6771372 w 7919608"/>
              <a:gd name="connsiteY992" fmla="*/ 4932764 h 5061538"/>
              <a:gd name="connsiteX993" fmla="*/ 6778526 w 7919608"/>
              <a:gd name="connsiteY993" fmla="*/ 4943495 h 5061538"/>
              <a:gd name="connsiteX994" fmla="*/ 6785680 w 7919608"/>
              <a:gd name="connsiteY994" fmla="*/ 4961381 h 5061538"/>
              <a:gd name="connsiteX995" fmla="*/ 6799988 w 7919608"/>
              <a:gd name="connsiteY995" fmla="*/ 4979266 h 5061538"/>
              <a:gd name="connsiteX996" fmla="*/ 6778526 w 7919608"/>
              <a:gd name="connsiteY996" fmla="*/ 4986420 h 5061538"/>
              <a:gd name="connsiteX997" fmla="*/ 6760641 w 7919608"/>
              <a:gd name="connsiteY997" fmla="*/ 4993574 h 5061538"/>
              <a:gd name="connsiteX998" fmla="*/ 6746332 w 7919608"/>
              <a:gd name="connsiteY998" fmla="*/ 4993574 h 5061538"/>
              <a:gd name="connsiteX999" fmla="*/ 6724870 w 7919608"/>
              <a:gd name="connsiteY999" fmla="*/ 4979266 h 5061538"/>
              <a:gd name="connsiteX1000" fmla="*/ 6689100 w 7919608"/>
              <a:gd name="connsiteY1000" fmla="*/ 4961381 h 5061538"/>
              <a:gd name="connsiteX1001" fmla="*/ 6656906 w 7919608"/>
              <a:gd name="connsiteY1001" fmla="*/ 4943495 h 5061538"/>
              <a:gd name="connsiteX1002" fmla="*/ 6635444 w 7919608"/>
              <a:gd name="connsiteY1002" fmla="*/ 4932764 h 5061538"/>
              <a:gd name="connsiteX1003" fmla="*/ 6613982 w 7919608"/>
              <a:gd name="connsiteY1003" fmla="*/ 4918456 h 5061538"/>
              <a:gd name="connsiteX1004" fmla="*/ 6596096 w 7919608"/>
              <a:gd name="connsiteY1004" fmla="*/ 4900571 h 5061538"/>
              <a:gd name="connsiteX1005" fmla="*/ 6578211 w 7919608"/>
              <a:gd name="connsiteY1005" fmla="*/ 4879108 h 5061538"/>
              <a:gd name="connsiteX1006" fmla="*/ 6624712 w 7919608"/>
              <a:gd name="connsiteY1006" fmla="*/ 4861223 h 5061538"/>
              <a:gd name="connsiteX1007" fmla="*/ 6724870 w 7919608"/>
              <a:gd name="connsiteY1007" fmla="*/ 4829029 h 5061538"/>
              <a:gd name="connsiteX1008" fmla="*/ 6735602 w 7919608"/>
              <a:gd name="connsiteY1008" fmla="*/ 4825452 h 5061538"/>
              <a:gd name="connsiteX1009" fmla="*/ 6746332 w 7919608"/>
              <a:gd name="connsiteY1009" fmla="*/ 4825452 h 5061538"/>
              <a:gd name="connsiteX1010" fmla="*/ 6771372 w 7919608"/>
              <a:gd name="connsiteY1010" fmla="*/ 4818298 h 5061538"/>
              <a:gd name="connsiteX1011" fmla="*/ 6785680 w 7919608"/>
              <a:gd name="connsiteY1011" fmla="*/ 4814721 h 5061538"/>
              <a:gd name="connsiteX1012" fmla="*/ 6789258 w 7919608"/>
              <a:gd name="connsiteY1012" fmla="*/ 4807567 h 5061538"/>
              <a:gd name="connsiteX1013" fmla="*/ 6792834 w 7919608"/>
              <a:gd name="connsiteY1013" fmla="*/ 4771796 h 5061538"/>
              <a:gd name="connsiteX1014" fmla="*/ 6799988 w 7919608"/>
              <a:gd name="connsiteY1014" fmla="*/ 4736026 h 5061538"/>
              <a:gd name="connsiteX1015" fmla="*/ 6789258 w 7919608"/>
              <a:gd name="connsiteY1015" fmla="*/ 4721718 h 5061538"/>
              <a:gd name="connsiteX1016" fmla="*/ 6782104 w 7919608"/>
              <a:gd name="connsiteY1016" fmla="*/ 4703832 h 5061538"/>
              <a:gd name="connsiteX1017" fmla="*/ 6767795 w 7919608"/>
              <a:gd name="connsiteY1017" fmla="*/ 4682370 h 5061538"/>
              <a:gd name="connsiteX1018" fmla="*/ 6767795 w 7919608"/>
              <a:gd name="connsiteY1018" fmla="*/ 4653754 h 5061538"/>
              <a:gd name="connsiteX1019" fmla="*/ 6771372 w 7919608"/>
              <a:gd name="connsiteY1019" fmla="*/ 4632291 h 5061538"/>
              <a:gd name="connsiteX1020" fmla="*/ 6789258 w 7919608"/>
              <a:gd name="connsiteY1020" fmla="*/ 4610829 h 5061538"/>
              <a:gd name="connsiteX1021" fmla="*/ 6807142 w 7919608"/>
              <a:gd name="connsiteY1021" fmla="*/ 4589367 h 5061538"/>
              <a:gd name="connsiteX1022" fmla="*/ 6817874 w 7919608"/>
              <a:gd name="connsiteY1022" fmla="*/ 4567904 h 5061538"/>
              <a:gd name="connsiteX1023" fmla="*/ 6810720 w 7919608"/>
              <a:gd name="connsiteY1023" fmla="*/ 4546442 h 5061538"/>
              <a:gd name="connsiteX1024" fmla="*/ 6807142 w 7919608"/>
              <a:gd name="connsiteY1024" fmla="*/ 4539288 h 5061538"/>
              <a:gd name="connsiteX1025" fmla="*/ 6803566 w 7919608"/>
              <a:gd name="connsiteY1025" fmla="*/ 4535711 h 5061538"/>
              <a:gd name="connsiteX1026" fmla="*/ 6792834 w 7919608"/>
              <a:gd name="connsiteY1026" fmla="*/ 4524979 h 5061538"/>
              <a:gd name="connsiteX1027" fmla="*/ 6782104 w 7919608"/>
              <a:gd name="connsiteY1027" fmla="*/ 4521402 h 5061538"/>
              <a:gd name="connsiteX1028" fmla="*/ 6760641 w 7919608"/>
              <a:gd name="connsiteY1028" fmla="*/ 4517825 h 5061538"/>
              <a:gd name="connsiteX1029" fmla="*/ 6742756 w 7919608"/>
              <a:gd name="connsiteY1029" fmla="*/ 4514248 h 5061538"/>
              <a:gd name="connsiteX1030" fmla="*/ 6724870 w 7919608"/>
              <a:gd name="connsiteY1030" fmla="*/ 4503517 h 5061538"/>
              <a:gd name="connsiteX1031" fmla="*/ 6714139 w 7919608"/>
              <a:gd name="connsiteY1031" fmla="*/ 4485632 h 5061538"/>
              <a:gd name="connsiteX1032" fmla="*/ 6703408 w 7919608"/>
              <a:gd name="connsiteY1032" fmla="*/ 4482055 h 5061538"/>
              <a:gd name="connsiteX1033" fmla="*/ 6689100 w 7919608"/>
              <a:gd name="connsiteY1033" fmla="*/ 4478478 h 5061538"/>
              <a:gd name="connsiteX1034" fmla="*/ 6631867 w 7919608"/>
              <a:gd name="connsiteY1034" fmla="*/ 4492786 h 5061538"/>
              <a:gd name="connsiteX1035" fmla="*/ 6563902 w 7919608"/>
              <a:gd name="connsiteY1035" fmla="*/ 4503517 h 5061538"/>
              <a:gd name="connsiteX1036" fmla="*/ 6560326 w 7919608"/>
              <a:gd name="connsiteY1036" fmla="*/ 4507094 h 5061538"/>
              <a:gd name="connsiteX1037" fmla="*/ 6556748 w 7919608"/>
              <a:gd name="connsiteY1037" fmla="*/ 4514248 h 5061538"/>
              <a:gd name="connsiteX1038" fmla="*/ 6553172 w 7919608"/>
              <a:gd name="connsiteY1038" fmla="*/ 4521402 h 5061538"/>
              <a:gd name="connsiteX1039" fmla="*/ 6553172 w 7919608"/>
              <a:gd name="connsiteY1039" fmla="*/ 4524979 h 5061538"/>
              <a:gd name="connsiteX1040" fmla="*/ 6560326 w 7919608"/>
              <a:gd name="connsiteY1040" fmla="*/ 4542865 h 5061538"/>
              <a:gd name="connsiteX1041" fmla="*/ 6571057 w 7919608"/>
              <a:gd name="connsiteY1041" fmla="*/ 4546442 h 5061538"/>
              <a:gd name="connsiteX1042" fmla="*/ 6574634 w 7919608"/>
              <a:gd name="connsiteY1042" fmla="*/ 4546442 h 5061538"/>
              <a:gd name="connsiteX1043" fmla="*/ 6596096 w 7919608"/>
              <a:gd name="connsiteY1043" fmla="*/ 4546442 h 5061538"/>
              <a:gd name="connsiteX1044" fmla="*/ 6613982 w 7919608"/>
              <a:gd name="connsiteY1044" fmla="*/ 4550019 h 5061538"/>
              <a:gd name="connsiteX1045" fmla="*/ 6631867 w 7919608"/>
              <a:gd name="connsiteY1045" fmla="*/ 4560750 h 5061538"/>
              <a:gd name="connsiteX1046" fmla="*/ 6642598 w 7919608"/>
              <a:gd name="connsiteY1046" fmla="*/ 4567904 h 5061538"/>
              <a:gd name="connsiteX1047" fmla="*/ 6667638 w 7919608"/>
              <a:gd name="connsiteY1047" fmla="*/ 4589367 h 5061538"/>
              <a:gd name="connsiteX1048" fmla="*/ 6699831 w 7919608"/>
              <a:gd name="connsiteY1048" fmla="*/ 4610829 h 5061538"/>
              <a:gd name="connsiteX1049" fmla="*/ 6706985 w 7919608"/>
              <a:gd name="connsiteY1049" fmla="*/ 4621560 h 5061538"/>
              <a:gd name="connsiteX1050" fmla="*/ 6717716 w 7919608"/>
              <a:gd name="connsiteY1050" fmla="*/ 4628714 h 5061538"/>
              <a:gd name="connsiteX1051" fmla="*/ 6724870 w 7919608"/>
              <a:gd name="connsiteY1051" fmla="*/ 4653754 h 5061538"/>
              <a:gd name="connsiteX1052" fmla="*/ 6721294 w 7919608"/>
              <a:gd name="connsiteY1052" fmla="*/ 4664485 h 5061538"/>
              <a:gd name="connsiteX1053" fmla="*/ 6721294 w 7919608"/>
              <a:gd name="connsiteY1053" fmla="*/ 4671639 h 5061538"/>
              <a:gd name="connsiteX1054" fmla="*/ 6706985 w 7919608"/>
              <a:gd name="connsiteY1054" fmla="*/ 4685947 h 5061538"/>
              <a:gd name="connsiteX1055" fmla="*/ 6689100 w 7919608"/>
              <a:gd name="connsiteY1055" fmla="*/ 4689524 h 5061538"/>
              <a:gd name="connsiteX1056" fmla="*/ 6674792 w 7919608"/>
              <a:gd name="connsiteY1056" fmla="*/ 4693101 h 5061538"/>
              <a:gd name="connsiteX1057" fmla="*/ 6656906 w 7919608"/>
              <a:gd name="connsiteY1057" fmla="*/ 4689524 h 5061538"/>
              <a:gd name="connsiteX1058" fmla="*/ 6642598 w 7919608"/>
              <a:gd name="connsiteY1058" fmla="*/ 4682370 h 5061538"/>
              <a:gd name="connsiteX1059" fmla="*/ 6631867 w 7919608"/>
              <a:gd name="connsiteY1059" fmla="*/ 4668062 h 5061538"/>
              <a:gd name="connsiteX1060" fmla="*/ 6617558 w 7919608"/>
              <a:gd name="connsiteY1060" fmla="*/ 4660908 h 5061538"/>
              <a:gd name="connsiteX1061" fmla="*/ 6581788 w 7919608"/>
              <a:gd name="connsiteY1061" fmla="*/ 4650177 h 5061538"/>
              <a:gd name="connsiteX1062" fmla="*/ 6571057 w 7919608"/>
              <a:gd name="connsiteY1062" fmla="*/ 4646599 h 5061538"/>
              <a:gd name="connsiteX1063" fmla="*/ 6553172 w 7919608"/>
              <a:gd name="connsiteY1063" fmla="*/ 4639445 h 5061538"/>
              <a:gd name="connsiteX1064" fmla="*/ 6517401 w 7919608"/>
              <a:gd name="connsiteY1064" fmla="*/ 4621560 h 5061538"/>
              <a:gd name="connsiteX1065" fmla="*/ 6513824 w 7919608"/>
              <a:gd name="connsiteY1065" fmla="*/ 4628714 h 5061538"/>
              <a:gd name="connsiteX1066" fmla="*/ 6510247 w 7919608"/>
              <a:gd name="connsiteY1066" fmla="*/ 4639445 h 5061538"/>
              <a:gd name="connsiteX1067" fmla="*/ 6495938 w 7919608"/>
              <a:gd name="connsiteY1067" fmla="*/ 4668062 h 5061538"/>
              <a:gd name="connsiteX1068" fmla="*/ 6488784 w 7919608"/>
              <a:gd name="connsiteY1068" fmla="*/ 4682370 h 5061538"/>
              <a:gd name="connsiteX1069" fmla="*/ 6478054 w 7919608"/>
              <a:gd name="connsiteY1069" fmla="*/ 4689524 h 5061538"/>
              <a:gd name="connsiteX1070" fmla="*/ 6467322 w 7919608"/>
              <a:gd name="connsiteY1070" fmla="*/ 4700255 h 5061538"/>
              <a:gd name="connsiteX1071" fmla="*/ 6453014 w 7919608"/>
              <a:gd name="connsiteY1071" fmla="*/ 4703832 h 5061538"/>
              <a:gd name="connsiteX1072" fmla="*/ 6435128 w 7919608"/>
              <a:gd name="connsiteY1072" fmla="*/ 4703832 h 5061538"/>
              <a:gd name="connsiteX1073" fmla="*/ 6417244 w 7919608"/>
              <a:gd name="connsiteY1073" fmla="*/ 4703832 h 5061538"/>
              <a:gd name="connsiteX1074" fmla="*/ 6395781 w 7919608"/>
              <a:gd name="connsiteY1074" fmla="*/ 4707409 h 5061538"/>
              <a:gd name="connsiteX1075" fmla="*/ 6377896 w 7919608"/>
              <a:gd name="connsiteY1075" fmla="*/ 4710987 h 5061538"/>
              <a:gd name="connsiteX1076" fmla="*/ 6342125 w 7919608"/>
              <a:gd name="connsiteY1076" fmla="*/ 4721718 h 5061538"/>
              <a:gd name="connsiteX1077" fmla="*/ 6306354 w 7919608"/>
              <a:gd name="connsiteY1077" fmla="*/ 4721718 h 5061538"/>
              <a:gd name="connsiteX1078" fmla="*/ 6267007 w 7919608"/>
              <a:gd name="connsiteY1078" fmla="*/ 4714564 h 5061538"/>
              <a:gd name="connsiteX1079" fmla="*/ 6231236 w 7919608"/>
              <a:gd name="connsiteY1079" fmla="*/ 4707409 h 5061538"/>
              <a:gd name="connsiteX1080" fmla="*/ 6199043 w 7919608"/>
              <a:gd name="connsiteY1080" fmla="*/ 4703832 h 5061538"/>
              <a:gd name="connsiteX1081" fmla="*/ 6181158 w 7919608"/>
              <a:gd name="connsiteY1081" fmla="*/ 4703832 h 5061538"/>
              <a:gd name="connsiteX1082" fmla="*/ 6170427 w 7919608"/>
              <a:gd name="connsiteY1082" fmla="*/ 4703832 h 5061538"/>
              <a:gd name="connsiteX1083" fmla="*/ 6159695 w 7919608"/>
              <a:gd name="connsiteY1083" fmla="*/ 4707409 h 5061538"/>
              <a:gd name="connsiteX1084" fmla="*/ 6148964 w 7919608"/>
              <a:gd name="connsiteY1084" fmla="*/ 4714564 h 5061538"/>
              <a:gd name="connsiteX1085" fmla="*/ 6123925 w 7919608"/>
              <a:gd name="connsiteY1085" fmla="*/ 4746757 h 5061538"/>
              <a:gd name="connsiteX1086" fmla="*/ 6106039 w 7919608"/>
              <a:gd name="connsiteY1086" fmla="*/ 4775374 h 5061538"/>
              <a:gd name="connsiteX1087" fmla="*/ 6081000 w 7919608"/>
              <a:gd name="connsiteY1087" fmla="*/ 4803990 h 5061538"/>
              <a:gd name="connsiteX1088" fmla="*/ 6066692 w 7919608"/>
              <a:gd name="connsiteY1088" fmla="*/ 4807567 h 5061538"/>
              <a:gd name="connsiteX1089" fmla="*/ 6055961 w 7919608"/>
              <a:gd name="connsiteY1089" fmla="*/ 4814721 h 5061538"/>
              <a:gd name="connsiteX1090" fmla="*/ 6023767 w 7919608"/>
              <a:gd name="connsiteY1090" fmla="*/ 4825452 h 5061538"/>
              <a:gd name="connsiteX1091" fmla="*/ 6009459 w 7919608"/>
              <a:gd name="connsiteY1091" fmla="*/ 4832606 h 5061538"/>
              <a:gd name="connsiteX1092" fmla="*/ 5998728 w 7919608"/>
              <a:gd name="connsiteY1092" fmla="*/ 4836184 h 5061538"/>
              <a:gd name="connsiteX1093" fmla="*/ 5995151 w 7919608"/>
              <a:gd name="connsiteY1093" fmla="*/ 4846915 h 5061538"/>
              <a:gd name="connsiteX1094" fmla="*/ 5998728 w 7919608"/>
              <a:gd name="connsiteY1094" fmla="*/ 4868377 h 5061538"/>
              <a:gd name="connsiteX1095" fmla="*/ 6009459 w 7919608"/>
              <a:gd name="connsiteY1095" fmla="*/ 4889839 h 5061538"/>
              <a:gd name="connsiteX1096" fmla="*/ 6013036 w 7919608"/>
              <a:gd name="connsiteY1096" fmla="*/ 4893416 h 5061538"/>
              <a:gd name="connsiteX1097" fmla="*/ 6020190 w 7919608"/>
              <a:gd name="connsiteY1097" fmla="*/ 4896994 h 5061538"/>
              <a:gd name="connsiteX1098" fmla="*/ 6034498 w 7919608"/>
              <a:gd name="connsiteY1098" fmla="*/ 4907725 h 5061538"/>
              <a:gd name="connsiteX1099" fmla="*/ 6045229 w 7919608"/>
              <a:gd name="connsiteY1099" fmla="*/ 4914879 h 5061538"/>
              <a:gd name="connsiteX1100" fmla="*/ 6055961 w 7919608"/>
              <a:gd name="connsiteY1100" fmla="*/ 4929187 h 5061538"/>
              <a:gd name="connsiteX1101" fmla="*/ 6063115 w 7919608"/>
              <a:gd name="connsiteY1101" fmla="*/ 4939918 h 5061538"/>
              <a:gd name="connsiteX1102" fmla="*/ 6063115 w 7919608"/>
              <a:gd name="connsiteY1102" fmla="*/ 4954226 h 5061538"/>
              <a:gd name="connsiteX1103" fmla="*/ 6063115 w 7919608"/>
              <a:gd name="connsiteY1103" fmla="*/ 4972112 h 5061538"/>
              <a:gd name="connsiteX1104" fmla="*/ 6059538 w 7919608"/>
              <a:gd name="connsiteY1104" fmla="*/ 4982843 h 5061538"/>
              <a:gd name="connsiteX1105" fmla="*/ 6055961 w 7919608"/>
              <a:gd name="connsiteY1105" fmla="*/ 4997151 h 5061538"/>
              <a:gd name="connsiteX1106" fmla="*/ 6045229 w 7919608"/>
              <a:gd name="connsiteY1106" fmla="*/ 5011459 h 5061538"/>
              <a:gd name="connsiteX1107" fmla="*/ 6038075 w 7919608"/>
              <a:gd name="connsiteY1107" fmla="*/ 5015036 h 5061538"/>
              <a:gd name="connsiteX1108" fmla="*/ 6023767 w 7919608"/>
              <a:gd name="connsiteY1108" fmla="*/ 5018614 h 5061538"/>
              <a:gd name="connsiteX1109" fmla="*/ 5995151 w 7919608"/>
              <a:gd name="connsiteY1109" fmla="*/ 5018614 h 5061538"/>
              <a:gd name="connsiteX1110" fmla="*/ 5959380 w 7919608"/>
              <a:gd name="connsiteY1110" fmla="*/ 5015036 h 5061538"/>
              <a:gd name="connsiteX1111" fmla="*/ 5952226 w 7919608"/>
              <a:gd name="connsiteY1111" fmla="*/ 5011459 h 5061538"/>
              <a:gd name="connsiteX1112" fmla="*/ 5941495 w 7919608"/>
              <a:gd name="connsiteY1112" fmla="*/ 5004305 h 5061538"/>
              <a:gd name="connsiteX1113" fmla="*/ 5937918 w 7919608"/>
              <a:gd name="connsiteY1113" fmla="*/ 4997151 h 5061538"/>
              <a:gd name="connsiteX1114" fmla="*/ 5934341 w 7919608"/>
              <a:gd name="connsiteY1114" fmla="*/ 4986420 h 5061538"/>
              <a:gd name="connsiteX1115" fmla="*/ 5937918 w 7919608"/>
              <a:gd name="connsiteY1115" fmla="*/ 4975689 h 5061538"/>
              <a:gd name="connsiteX1116" fmla="*/ 5937918 w 7919608"/>
              <a:gd name="connsiteY1116" fmla="*/ 4964958 h 5061538"/>
              <a:gd name="connsiteX1117" fmla="*/ 5941495 w 7919608"/>
              <a:gd name="connsiteY1117" fmla="*/ 4932764 h 5061538"/>
              <a:gd name="connsiteX1118" fmla="*/ 5937918 w 7919608"/>
              <a:gd name="connsiteY1118" fmla="*/ 4900571 h 5061538"/>
              <a:gd name="connsiteX1119" fmla="*/ 5927187 w 7919608"/>
              <a:gd name="connsiteY1119" fmla="*/ 4879108 h 5061538"/>
              <a:gd name="connsiteX1120" fmla="*/ 5916455 w 7919608"/>
              <a:gd name="connsiteY1120" fmla="*/ 4871954 h 5061538"/>
              <a:gd name="connsiteX1121" fmla="*/ 5909301 w 7919608"/>
              <a:gd name="connsiteY1121" fmla="*/ 4868377 h 5061538"/>
              <a:gd name="connsiteX1122" fmla="*/ 5894993 w 7919608"/>
              <a:gd name="connsiteY1122" fmla="*/ 4861223 h 5061538"/>
              <a:gd name="connsiteX1123" fmla="*/ 5884262 w 7919608"/>
              <a:gd name="connsiteY1123" fmla="*/ 4861223 h 5061538"/>
              <a:gd name="connsiteX1124" fmla="*/ 5848491 w 7919608"/>
              <a:gd name="connsiteY1124" fmla="*/ 4868377 h 5061538"/>
              <a:gd name="connsiteX1125" fmla="*/ 5812721 w 7919608"/>
              <a:gd name="connsiteY1125" fmla="*/ 4879108 h 5061538"/>
              <a:gd name="connsiteX1126" fmla="*/ 5801989 w 7919608"/>
              <a:gd name="connsiteY1126" fmla="*/ 4889839 h 5061538"/>
              <a:gd name="connsiteX1127" fmla="*/ 5787681 w 7919608"/>
              <a:gd name="connsiteY1127" fmla="*/ 4896994 h 5061538"/>
              <a:gd name="connsiteX1128" fmla="*/ 5748334 w 7919608"/>
              <a:gd name="connsiteY1128" fmla="*/ 4943495 h 5061538"/>
              <a:gd name="connsiteX1129" fmla="*/ 5730448 w 7919608"/>
              <a:gd name="connsiteY1129" fmla="*/ 4957804 h 5061538"/>
              <a:gd name="connsiteX1130" fmla="*/ 5683947 w 7919608"/>
              <a:gd name="connsiteY1130" fmla="*/ 4932764 h 5061538"/>
              <a:gd name="connsiteX1131" fmla="*/ 5630291 w 7919608"/>
              <a:gd name="connsiteY1131" fmla="*/ 4907725 h 5061538"/>
              <a:gd name="connsiteX1132" fmla="*/ 5623137 w 7919608"/>
              <a:gd name="connsiteY1132" fmla="*/ 4896994 h 5061538"/>
              <a:gd name="connsiteX1133" fmla="*/ 5619559 w 7919608"/>
              <a:gd name="connsiteY1133" fmla="*/ 4882685 h 5061538"/>
              <a:gd name="connsiteX1134" fmla="*/ 5619559 w 7919608"/>
              <a:gd name="connsiteY1134" fmla="*/ 4871954 h 5061538"/>
              <a:gd name="connsiteX1135" fmla="*/ 5619559 w 7919608"/>
              <a:gd name="connsiteY1135" fmla="*/ 4854069 h 5061538"/>
              <a:gd name="connsiteX1136" fmla="*/ 5623137 w 7919608"/>
              <a:gd name="connsiteY1136" fmla="*/ 4836184 h 5061538"/>
              <a:gd name="connsiteX1137" fmla="*/ 5630291 w 7919608"/>
              <a:gd name="connsiteY1137" fmla="*/ 4825452 h 5061538"/>
              <a:gd name="connsiteX1138" fmla="*/ 5641022 w 7919608"/>
              <a:gd name="connsiteY1138" fmla="*/ 4811144 h 5061538"/>
              <a:gd name="connsiteX1139" fmla="*/ 5648176 w 7919608"/>
              <a:gd name="connsiteY1139" fmla="*/ 4803990 h 5061538"/>
              <a:gd name="connsiteX1140" fmla="*/ 5701832 w 7919608"/>
              <a:gd name="connsiteY1140" fmla="*/ 4789682 h 5061538"/>
              <a:gd name="connsiteX1141" fmla="*/ 5751911 w 7919608"/>
              <a:gd name="connsiteY1141" fmla="*/ 4775374 h 5061538"/>
              <a:gd name="connsiteX1142" fmla="*/ 5809144 w 7919608"/>
              <a:gd name="connsiteY1142" fmla="*/ 4768219 h 5061538"/>
              <a:gd name="connsiteX1143" fmla="*/ 5805567 w 7919608"/>
              <a:gd name="connsiteY1143" fmla="*/ 4743180 h 5061538"/>
              <a:gd name="connsiteX1144" fmla="*/ 5794835 w 7919608"/>
              <a:gd name="connsiteY1144" fmla="*/ 4714564 h 5061538"/>
              <a:gd name="connsiteX1145" fmla="*/ 5784104 w 7919608"/>
              <a:gd name="connsiteY1145" fmla="*/ 4693101 h 5061538"/>
              <a:gd name="connsiteX1146" fmla="*/ 5762642 w 7919608"/>
              <a:gd name="connsiteY1146" fmla="*/ 4682370 h 5061538"/>
              <a:gd name="connsiteX1147" fmla="*/ 5744757 w 7919608"/>
              <a:gd name="connsiteY1147" fmla="*/ 4675216 h 5061538"/>
              <a:gd name="connsiteX1148" fmla="*/ 5719717 w 7919608"/>
              <a:gd name="connsiteY1148" fmla="*/ 4675216 h 5061538"/>
              <a:gd name="connsiteX1149" fmla="*/ 5669638 w 7919608"/>
              <a:gd name="connsiteY1149" fmla="*/ 4671639 h 5061538"/>
              <a:gd name="connsiteX1150" fmla="*/ 5662484 w 7919608"/>
              <a:gd name="connsiteY1150" fmla="*/ 4643022 h 5061538"/>
              <a:gd name="connsiteX1151" fmla="*/ 5662484 w 7919608"/>
              <a:gd name="connsiteY1151" fmla="*/ 4632291 h 5061538"/>
              <a:gd name="connsiteX1152" fmla="*/ 5641022 w 7919608"/>
              <a:gd name="connsiteY1152" fmla="*/ 4603675 h 5061538"/>
              <a:gd name="connsiteX1153" fmla="*/ 5619559 w 7919608"/>
              <a:gd name="connsiteY1153" fmla="*/ 4578635 h 5061538"/>
              <a:gd name="connsiteX1154" fmla="*/ 5565904 w 7919608"/>
              <a:gd name="connsiteY1154" fmla="*/ 4535711 h 5061538"/>
              <a:gd name="connsiteX1155" fmla="*/ 5558749 w 7919608"/>
              <a:gd name="connsiteY1155" fmla="*/ 4528557 h 5061538"/>
              <a:gd name="connsiteX1156" fmla="*/ 5548018 w 7919608"/>
              <a:gd name="connsiteY1156" fmla="*/ 4524979 h 5061538"/>
              <a:gd name="connsiteX1157" fmla="*/ 5540864 w 7919608"/>
              <a:gd name="connsiteY1157" fmla="*/ 4528557 h 5061538"/>
              <a:gd name="connsiteX1158" fmla="*/ 5533710 w 7919608"/>
              <a:gd name="connsiteY1158" fmla="*/ 4535711 h 5061538"/>
              <a:gd name="connsiteX1159" fmla="*/ 5526556 w 7919608"/>
              <a:gd name="connsiteY1159" fmla="*/ 4539288 h 5061538"/>
              <a:gd name="connsiteX1160" fmla="*/ 5522979 w 7919608"/>
              <a:gd name="connsiteY1160" fmla="*/ 4546442 h 5061538"/>
              <a:gd name="connsiteX1161" fmla="*/ 5522979 w 7919608"/>
              <a:gd name="connsiteY1161" fmla="*/ 4560750 h 5061538"/>
              <a:gd name="connsiteX1162" fmla="*/ 5522979 w 7919608"/>
              <a:gd name="connsiteY1162" fmla="*/ 4567904 h 5061538"/>
              <a:gd name="connsiteX1163" fmla="*/ 5533710 w 7919608"/>
              <a:gd name="connsiteY1163" fmla="*/ 4596521 h 5061538"/>
              <a:gd name="connsiteX1164" fmla="*/ 5537287 w 7919608"/>
              <a:gd name="connsiteY1164" fmla="*/ 4625137 h 5061538"/>
              <a:gd name="connsiteX1165" fmla="*/ 5537287 w 7919608"/>
              <a:gd name="connsiteY1165" fmla="*/ 4650177 h 5061538"/>
              <a:gd name="connsiteX1166" fmla="*/ 5533710 w 7919608"/>
              <a:gd name="connsiteY1166" fmla="*/ 4675216 h 5061538"/>
              <a:gd name="connsiteX1167" fmla="*/ 5533710 w 7919608"/>
              <a:gd name="connsiteY1167" fmla="*/ 4685947 h 5061538"/>
              <a:gd name="connsiteX1168" fmla="*/ 5533710 w 7919608"/>
              <a:gd name="connsiteY1168" fmla="*/ 4700255 h 5061538"/>
              <a:gd name="connsiteX1169" fmla="*/ 5540864 w 7919608"/>
              <a:gd name="connsiteY1169" fmla="*/ 4721718 h 5061538"/>
              <a:gd name="connsiteX1170" fmla="*/ 5544441 w 7919608"/>
              <a:gd name="connsiteY1170" fmla="*/ 4746757 h 5061538"/>
              <a:gd name="connsiteX1171" fmla="*/ 5544441 w 7919608"/>
              <a:gd name="connsiteY1171" fmla="*/ 4757488 h 5061538"/>
              <a:gd name="connsiteX1172" fmla="*/ 5540864 w 7919608"/>
              <a:gd name="connsiteY1172" fmla="*/ 4768219 h 5061538"/>
              <a:gd name="connsiteX1173" fmla="*/ 5537287 w 7919608"/>
              <a:gd name="connsiteY1173" fmla="*/ 4775374 h 5061538"/>
              <a:gd name="connsiteX1174" fmla="*/ 5526556 w 7919608"/>
              <a:gd name="connsiteY1174" fmla="*/ 4778951 h 5061538"/>
              <a:gd name="connsiteX1175" fmla="*/ 5501517 w 7919608"/>
              <a:gd name="connsiteY1175" fmla="*/ 4789682 h 5061538"/>
              <a:gd name="connsiteX1176" fmla="*/ 5469323 w 7919608"/>
              <a:gd name="connsiteY1176" fmla="*/ 4793259 h 5061538"/>
              <a:gd name="connsiteX1177" fmla="*/ 5433552 w 7919608"/>
              <a:gd name="connsiteY1177" fmla="*/ 4793259 h 5061538"/>
              <a:gd name="connsiteX1178" fmla="*/ 5401359 w 7919608"/>
              <a:gd name="connsiteY1178" fmla="*/ 4793259 h 5061538"/>
              <a:gd name="connsiteX1179" fmla="*/ 5369165 w 7919608"/>
              <a:gd name="connsiteY1179" fmla="*/ 4786105 h 5061538"/>
              <a:gd name="connsiteX1180" fmla="*/ 5351280 w 7919608"/>
              <a:gd name="connsiteY1180" fmla="*/ 4775374 h 5061538"/>
              <a:gd name="connsiteX1181" fmla="*/ 5329818 w 7919608"/>
              <a:gd name="connsiteY1181" fmla="*/ 4771796 h 5061538"/>
              <a:gd name="connsiteX1182" fmla="*/ 5308355 w 7919608"/>
              <a:gd name="connsiteY1182" fmla="*/ 4771796 h 5061538"/>
              <a:gd name="connsiteX1183" fmla="*/ 5286893 w 7919608"/>
              <a:gd name="connsiteY1183" fmla="*/ 4778951 h 5061538"/>
              <a:gd name="connsiteX1184" fmla="*/ 5272585 w 7919608"/>
              <a:gd name="connsiteY1184" fmla="*/ 4786105 h 5061538"/>
              <a:gd name="connsiteX1185" fmla="*/ 5254700 w 7919608"/>
              <a:gd name="connsiteY1185" fmla="*/ 4786105 h 5061538"/>
              <a:gd name="connsiteX1186" fmla="*/ 5236814 w 7919608"/>
              <a:gd name="connsiteY1186" fmla="*/ 4778951 h 5061538"/>
              <a:gd name="connsiteX1187" fmla="*/ 5222506 w 7919608"/>
              <a:gd name="connsiteY1187" fmla="*/ 4778951 h 5061538"/>
              <a:gd name="connsiteX1188" fmla="*/ 5186735 w 7919608"/>
              <a:gd name="connsiteY1188" fmla="*/ 4789682 h 5061538"/>
              <a:gd name="connsiteX1189" fmla="*/ 5125925 w 7919608"/>
              <a:gd name="connsiteY1189" fmla="*/ 4814721 h 5061538"/>
              <a:gd name="connsiteX1190" fmla="*/ 5125925 w 7919608"/>
              <a:gd name="connsiteY1190" fmla="*/ 4832606 h 5061538"/>
              <a:gd name="connsiteX1191" fmla="*/ 5133080 w 7919608"/>
              <a:gd name="connsiteY1191" fmla="*/ 4850492 h 5061538"/>
              <a:gd name="connsiteX1192" fmla="*/ 5143811 w 7919608"/>
              <a:gd name="connsiteY1192" fmla="*/ 4857646 h 5061538"/>
              <a:gd name="connsiteX1193" fmla="*/ 5158119 w 7919608"/>
              <a:gd name="connsiteY1193" fmla="*/ 4868377 h 5061538"/>
              <a:gd name="connsiteX1194" fmla="*/ 5168850 w 7919608"/>
              <a:gd name="connsiteY1194" fmla="*/ 4871954 h 5061538"/>
              <a:gd name="connsiteX1195" fmla="*/ 5183158 w 7919608"/>
              <a:gd name="connsiteY1195" fmla="*/ 4879108 h 5061538"/>
              <a:gd name="connsiteX1196" fmla="*/ 5186735 w 7919608"/>
              <a:gd name="connsiteY1196" fmla="*/ 4889839 h 5061538"/>
              <a:gd name="connsiteX1197" fmla="*/ 5183158 w 7919608"/>
              <a:gd name="connsiteY1197" fmla="*/ 4900571 h 5061538"/>
              <a:gd name="connsiteX1198" fmla="*/ 5165273 w 7919608"/>
              <a:gd name="connsiteY1198" fmla="*/ 4929187 h 5061538"/>
              <a:gd name="connsiteX1199" fmla="*/ 5158119 w 7919608"/>
              <a:gd name="connsiteY1199" fmla="*/ 4939918 h 5061538"/>
              <a:gd name="connsiteX1200" fmla="*/ 5143811 w 7919608"/>
              <a:gd name="connsiteY1200" fmla="*/ 4943495 h 5061538"/>
              <a:gd name="connsiteX1201" fmla="*/ 5111617 w 7919608"/>
              <a:gd name="connsiteY1201" fmla="*/ 4950649 h 5061538"/>
              <a:gd name="connsiteX1202" fmla="*/ 5083001 w 7919608"/>
              <a:gd name="connsiteY1202" fmla="*/ 4950649 h 5061538"/>
              <a:gd name="connsiteX1203" fmla="*/ 5065115 w 7919608"/>
              <a:gd name="connsiteY1203" fmla="*/ 4950649 h 5061538"/>
              <a:gd name="connsiteX1204" fmla="*/ 5054384 w 7919608"/>
              <a:gd name="connsiteY1204" fmla="*/ 4939918 h 5061538"/>
              <a:gd name="connsiteX1205" fmla="*/ 5040076 w 7919608"/>
              <a:gd name="connsiteY1205" fmla="*/ 4932764 h 5061538"/>
              <a:gd name="connsiteX1206" fmla="*/ 5025768 w 7919608"/>
              <a:gd name="connsiteY1206" fmla="*/ 4918456 h 5061538"/>
              <a:gd name="connsiteX1207" fmla="*/ 5018614 w 7919608"/>
              <a:gd name="connsiteY1207" fmla="*/ 4896994 h 5061538"/>
              <a:gd name="connsiteX1208" fmla="*/ 5007882 w 7919608"/>
              <a:gd name="connsiteY1208" fmla="*/ 4875531 h 5061538"/>
              <a:gd name="connsiteX1209" fmla="*/ 5004305 w 7919608"/>
              <a:gd name="connsiteY1209" fmla="*/ 4854069 h 5061538"/>
              <a:gd name="connsiteX1210" fmla="*/ 4997151 w 7919608"/>
              <a:gd name="connsiteY1210" fmla="*/ 4836184 h 5061538"/>
              <a:gd name="connsiteX1211" fmla="*/ 4979266 w 7919608"/>
              <a:gd name="connsiteY1211" fmla="*/ 4829029 h 5061538"/>
              <a:gd name="connsiteX1212" fmla="*/ 4954227 w 7919608"/>
              <a:gd name="connsiteY1212" fmla="*/ 4829029 h 5061538"/>
              <a:gd name="connsiteX1213" fmla="*/ 4936341 w 7919608"/>
              <a:gd name="connsiteY1213" fmla="*/ 4829029 h 5061538"/>
              <a:gd name="connsiteX1214" fmla="*/ 4918456 w 7919608"/>
              <a:gd name="connsiteY1214" fmla="*/ 4825452 h 5061538"/>
              <a:gd name="connsiteX1215" fmla="*/ 4889840 w 7919608"/>
              <a:gd name="connsiteY1215" fmla="*/ 4807567 h 5061538"/>
              <a:gd name="connsiteX1216" fmla="*/ 4829030 w 7919608"/>
              <a:gd name="connsiteY1216" fmla="*/ 4775374 h 5061538"/>
              <a:gd name="connsiteX1217" fmla="*/ 4793259 w 7919608"/>
              <a:gd name="connsiteY1217" fmla="*/ 4764642 h 5061538"/>
              <a:gd name="connsiteX1218" fmla="*/ 4757488 w 7919608"/>
              <a:gd name="connsiteY1218" fmla="*/ 4753911 h 5061538"/>
              <a:gd name="connsiteX1219" fmla="*/ 4746757 w 7919608"/>
              <a:gd name="connsiteY1219" fmla="*/ 4750334 h 5061538"/>
              <a:gd name="connsiteX1220" fmla="*/ 4728872 w 7919608"/>
              <a:gd name="connsiteY1220" fmla="*/ 4746757 h 5061538"/>
              <a:gd name="connsiteX1221" fmla="*/ 4693101 w 7919608"/>
              <a:gd name="connsiteY1221" fmla="*/ 4728872 h 5061538"/>
              <a:gd name="connsiteX1222" fmla="*/ 4675216 w 7919608"/>
              <a:gd name="connsiteY1222" fmla="*/ 4746757 h 5061538"/>
              <a:gd name="connsiteX1223" fmla="*/ 4653754 w 7919608"/>
              <a:gd name="connsiteY1223" fmla="*/ 4768219 h 5061538"/>
              <a:gd name="connsiteX1224" fmla="*/ 4643022 w 7919608"/>
              <a:gd name="connsiteY1224" fmla="*/ 4775374 h 5061538"/>
              <a:gd name="connsiteX1225" fmla="*/ 4632291 w 7919608"/>
              <a:gd name="connsiteY1225" fmla="*/ 4786105 h 5061538"/>
              <a:gd name="connsiteX1226" fmla="*/ 4621560 w 7919608"/>
              <a:gd name="connsiteY1226" fmla="*/ 4786105 h 5061538"/>
              <a:gd name="connsiteX1227" fmla="*/ 4603675 w 7919608"/>
              <a:gd name="connsiteY1227" fmla="*/ 4786105 h 5061538"/>
              <a:gd name="connsiteX1228" fmla="*/ 4571481 w 7919608"/>
              <a:gd name="connsiteY1228" fmla="*/ 4775374 h 5061538"/>
              <a:gd name="connsiteX1229" fmla="*/ 4542865 w 7919608"/>
              <a:gd name="connsiteY1229" fmla="*/ 4768219 h 5061538"/>
              <a:gd name="connsiteX1230" fmla="*/ 4510671 w 7919608"/>
              <a:gd name="connsiteY1230" fmla="*/ 4753911 h 5061538"/>
              <a:gd name="connsiteX1231" fmla="*/ 4499940 w 7919608"/>
              <a:gd name="connsiteY1231" fmla="*/ 4746757 h 5061538"/>
              <a:gd name="connsiteX1232" fmla="*/ 4485632 w 7919608"/>
              <a:gd name="connsiteY1232" fmla="*/ 4732449 h 5061538"/>
              <a:gd name="connsiteX1233" fmla="*/ 4474901 w 7919608"/>
              <a:gd name="connsiteY1233" fmla="*/ 4721718 h 5061538"/>
              <a:gd name="connsiteX1234" fmla="*/ 4460592 w 7919608"/>
              <a:gd name="connsiteY1234" fmla="*/ 4714564 h 5061538"/>
              <a:gd name="connsiteX1235" fmla="*/ 4442707 w 7919608"/>
              <a:gd name="connsiteY1235" fmla="*/ 4710987 h 5061538"/>
              <a:gd name="connsiteX1236" fmla="*/ 4424822 w 7919608"/>
              <a:gd name="connsiteY1236" fmla="*/ 4714564 h 5061538"/>
              <a:gd name="connsiteX1237" fmla="*/ 4392628 w 7919608"/>
              <a:gd name="connsiteY1237" fmla="*/ 4725295 h 5061538"/>
              <a:gd name="connsiteX1238" fmla="*/ 4356858 w 7919608"/>
              <a:gd name="connsiteY1238" fmla="*/ 4736026 h 5061538"/>
              <a:gd name="connsiteX1239" fmla="*/ 4328241 w 7919608"/>
              <a:gd name="connsiteY1239" fmla="*/ 4750334 h 5061538"/>
              <a:gd name="connsiteX1240" fmla="*/ 4299625 w 7919608"/>
              <a:gd name="connsiteY1240" fmla="*/ 4775374 h 5061538"/>
              <a:gd name="connsiteX1241" fmla="*/ 4288894 w 7919608"/>
              <a:gd name="connsiteY1241" fmla="*/ 4786105 h 5061538"/>
              <a:gd name="connsiteX1242" fmla="*/ 4271008 w 7919608"/>
              <a:gd name="connsiteY1242" fmla="*/ 4786105 h 5061538"/>
              <a:gd name="connsiteX1243" fmla="*/ 4256700 w 7919608"/>
              <a:gd name="connsiteY1243" fmla="*/ 4778951 h 5061538"/>
              <a:gd name="connsiteX1244" fmla="*/ 4245969 w 7919608"/>
              <a:gd name="connsiteY1244" fmla="*/ 4768219 h 5061538"/>
              <a:gd name="connsiteX1245" fmla="*/ 4217352 w 7919608"/>
              <a:gd name="connsiteY1245" fmla="*/ 4732449 h 5061538"/>
              <a:gd name="connsiteX1246" fmla="*/ 4206621 w 7919608"/>
              <a:gd name="connsiteY1246" fmla="*/ 4721718 h 5061538"/>
              <a:gd name="connsiteX1247" fmla="*/ 4192313 w 7919608"/>
              <a:gd name="connsiteY1247" fmla="*/ 4710987 h 5061538"/>
              <a:gd name="connsiteX1248" fmla="*/ 4174428 w 7919608"/>
              <a:gd name="connsiteY1248" fmla="*/ 4710987 h 5061538"/>
              <a:gd name="connsiteX1249" fmla="*/ 4152965 w 7919608"/>
              <a:gd name="connsiteY1249" fmla="*/ 4721718 h 5061538"/>
              <a:gd name="connsiteX1250" fmla="*/ 4149388 w 7919608"/>
              <a:gd name="connsiteY1250" fmla="*/ 4721718 h 5061538"/>
              <a:gd name="connsiteX1251" fmla="*/ 4120772 w 7919608"/>
              <a:gd name="connsiteY1251" fmla="*/ 4753911 h 5061538"/>
              <a:gd name="connsiteX1252" fmla="*/ 4106464 w 7919608"/>
              <a:gd name="connsiteY1252" fmla="*/ 4771796 h 5061538"/>
              <a:gd name="connsiteX1253" fmla="*/ 4102886 w 7919608"/>
              <a:gd name="connsiteY1253" fmla="*/ 4789682 h 5061538"/>
              <a:gd name="connsiteX1254" fmla="*/ 4102886 w 7919608"/>
              <a:gd name="connsiteY1254" fmla="*/ 4796836 h 5061538"/>
              <a:gd name="connsiteX1255" fmla="*/ 4106464 w 7919608"/>
              <a:gd name="connsiteY1255" fmla="*/ 4807567 h 5061538"/>
              <a:gd name="connsiteX1256" fmla="*/ 4124349 w 7919608"/>
              <a:gd name="connsiteY1256" fmla="*/ 4825452 h 5061538"/>
              <a:gd name="connsiteX1257" fmla="*/ 4142234 w 7919608"/>
              <a:gd name="connsiteY1257" fmla="*/ 4836184 h 5061538"/>
              <a:gd name="connsiteX1258" fmla="*/ 4167274 w 7919608"/>
              <a:gd name="connsiteY1258" fmla="*/ 4846915 h 5061538"/>
              <a:gd name="connsiteX1259" fmla="*/ 4206621 w 7919608"/>
              <a:gd name="connsiteY1259" fmla="*/ 4854069 h 5061538"/>
              <a:gd name="connsiteX1260" fmla="*/ 4228084 w 7919608"/>
              <a:gd name="connsiteY1260" fmla="*/ 4857646 h 5061538"/>
              <a:gd name="connsiteX1261" fmla="*/ 4245969 w 7919608"/>
              <a:gd name="connsiteY1261" fmla="*/ 4854069 h 5061538"/>
              <a:gd name="connsiteX1262" fmla="*/ 4274585 w 7919608"/>
              <a:gd name="connsiteY1262" fmla="*/ 4857646 h 5061538"/>
              <a:gd name="connsiteX1263" fmla="*/ 4296048 w 7919608"/>
              <a:gd name="connsiteY1263" fmla="*/ 4868377 h 5061538"/>
              <a:gd name="connsiteX1264" fmla="*/ 4313933 w 7919608"/>
              <a:gd name="connsiteY1264" fmla="*/ 4879108 h 5061538"/>
              <a:gd name="connsiteX1265" fmla="*/ 4331818 w 7919608"/>
              <a:gd name="connsiteY1265" fmla="*/ 4900571 h 5061538"/>
              <a:gd name="connsiteX1266" fmla="*/ 4342550 w 7919608"/>
              <a:gd name="connsiteY1266" fmla="*/ 4914879 h 5061538"/>
              <a:gd name="connsiteX1267" fmla="*/ 4356858 w 7919608"/>
              <a:gd name="connsiteY1267" fmla="*/ 4929187 h 5061538"/>
              <a:gd name="connsiteX1268" fmla="*/ 4371166 w 7919608"/>
              <a:gd name="connsiteY1268" fmla="*/ 4932764 h 5061538"/>
              <a:gd name="connsiteX1269" fmla="*/ 4385474 w 7919608"/>
              <a:gd name="connsiteY1269" fmla="*/ 4932764 h 5061538"/>
              <a:gd name="connsiteX1270" fmla="*/ 4417668 w 7919608"/>
              <a:gd name="connsiteY1270" fmla="*/ 4936341 h 5061538"/>
              <a:gd name="connsiteX1271" fmla="*/ 4435553 w 7919608"/>
              <a:gd name="connsiteY1271" fmla="*/ 4943495 h 5061538"/>
              <a:gd name="connsiteX1272" fmla="*/ 4442707 w 7919608"/>
              <a:gd name="connsiteY1272" fmla="*/ 4961381 h 5061538"/>
              <a:gd name="connsiteX1273" fmla="*/ 4446284 w 7919608"/>
              <a:gd name="connsiteY1273" fmla="*/ 4979266 h 5061538"/>
              <a:gd name="connsiteX1274" fmla="*/ 4442707 w 7919608"/>
              <a:gd name="connsiteY1274" fmla="*/ 4993574 h 5061538"/>
              <a:gd name="connsiteX1275" fmla="*/ 4439130 w 7919608"/>
              <a:gd name="connsiteY1275" fmla="*/ 5004305 h 5061538"/>
              <a:gd name="connsiteX1276" fmla="*/ 4431976 w 7919608"/>
              <a:gd name="connsiteY1276" fmla="*/ 5015036 h 5061538"/>
              <a:gd name="connsiteX1277" fmla="*/ 4421245 w 7919608"/>
              <a:gd name="connsiteY1277" fmla="*/ 5022191 h 5061538"/>
              <a:gd name="connsiteX1278" fmla="*/ 4406937 w 7919608"/>
              <a:gd name="connsiteY1278" fmla="*/ 5025768 h 5061538"/>
              <a:gd name="connsiteX1279" fmla="*/ 4396205 w 7919608"/>
              <a:gd name="connsiteY1279" fmla="*/ 5032922 h 5061538"/>
              <a:gd name="connsiteX1280" fmla="*/ 4381897 w 7919608"/>
              <a:gd name="connsiteY1280" fmla="*/ 5032922 h 5061538"/>
              <a:gd name="connsiteX1281" fmla="*/ 4371166 w 7919608"/>
              <a:gd name="connsiteY1281" fmla="*/ 5032922 h 5061538"/>
              <a:gd name="connsiteX1282" fmla="*/ 4331818 w 7919608"/>
              <a:gd name="connsiteY1282" fmla="*/ 5018614 h 5061538"/>
              <a:gd name="connsiteX1283" fmla="*/ 4292471 w 7919608"/>
              <a:gd name="connsiteY1283" fmla="*/ 4997151 h 5061538"/>
              <a:gd name="connsiteX1284" fmla="*/ 4271008 w 7919608"/>
              <a:gd name="connsiteY1284" fmla="*/ 4986420 h 5061538"/>
              <a:gd name="connsiteX1285" fmla="*/ 4249546 w 7919608"/>
              <a:gd name="connsiteY1285" fmla="*/ 4979266 h 5061538"/>
              <a:gd name="connsiteX1286" fmla="*/ 4210198 w 7919608"/>
              <a:gd name="connsiteY1286" fmla="*/ 4972112 h 5061538"/>
              <a:gd name="connsiteX1287" fmla="*/ 4178005 w 7919608"/>
              <a:gd name="connsiteY1287" fmla="*/ 4964958 h 5061538"/>
              <a:gd name="connsiteX1288" fmla="*/ 4152965 w 7919608"/>
              <a:gd name="connsiteY1288" fmla="*/ 4972112 h 5061538"/>
              <a:gd name="connsiteX1289" fmla="*/ 4142234 w 7919608"/>
              <a:gd name="connsiteY1289" fmla="*/ 4979266 h 5061538"/>
              <a:gd name="connsiteX1290" fmla="*/ 4131503 w 7919608"/>
              <a:gd name="connsiteY1290" fmla="*/ 4986420 h 5061538"/>
              <a:gd name="connsiteX1291" fmla="*/ 4124349 w 7919608"/>
              <a:gd name="connsiteY1291" fmla="*/ 4997151 h 5061538"/>
              <a:gd name="connsiteX1292" fmla="*/ 4113618 w 7919608"/>
              <a:gd name="connsiteY1292" fmla="*/ 5015036 h 5061538"/>
              <a:gd name="connsiteX1293" fmla="*/ 4110041 w 7919608"/>
              <a:gd name="connsiteY1293" fmla="*/ 5025768 h 5061538"/>
              <a:gd name="connsiteX1294" fmla="*/ 4106464 w 7919608"/>
              <a:gd name="connsiteY1294" fmla="*/ 5036499 h 5061538"/>
              <a:gd name="connsiteX1295" fmla="*/ 4088578 w 7919608"/>
              <a:gd name="connsiteY1295" fmla="*/ 5043653 h 5061538"/>
              <a:gd name="connsiteX1296" fmla="*/ 4067116 w 7919608"/>
              <a:gd name="connsiteY1296" fmla="*/ 5054384 h 5061538"/>
              <a:gd name="connsiteX1297" fmla="*/ 4045654 w 7919608"/>
              <a:gd name="connsiteY1297" fmla="*/ 5054384 h 5061538"/>
              <a:gd name="connsiteX1298" fmla="*/ 3920456 w 7919608"/>
              <a:gd name="connsiteY1298" fmla="*/ 5061538 h 5061538"/>
              <a:gd name="connsiteX1299" fmla="*/ 3906148 w 7919608"/>
              <a:gd name="connsiteY1299" fmla="*/ 5061538 h 5061538"/>
              <a:gd name="connsiteX1300" fmla="*/ 3863224 w 7919608"/>
              <a:gd name="connsiteY1300" fmla="*/ 5047230 h 5061538"/>
              <a:gd name="connsiteX1301" fmla="*/ 3820299 w 7919608"/>
              <a:gd name="connsiteY1301" fmla="*/ 5043653 h 5061538"/>
              <a:gd name="connsiteX1302" fmla="*/ 3734449 w 7919608"/>
              <a:gd name="connsiteY1302" fmla="*/ 5043653 h 5061538"/>
              <a:gd name="connsiteX1303" fmla="*/ 3698679 w 7919608"/>
              <a:gd name="connsiteY1303" fmla="*/ 5036499 h 5061538"/>
              <a:gd name="connsiteX1304" fmla="*/ 3687948 w 7919608"/>
              <a:gd name="connsiteY1304" fmla="*/ 5025768 h 5061538"/>
              <a:gd name="connsiteX1305" fmla="*/ 3673639 w 7919608"/>
              <a:gd name="connsiteY1305" fmla="*/ 5018614 h 5061538"/>
              <a:gd name="connsiteX1306" fmla="*/ 3652177 w 7919608"/>
              <a:gd name="connsiteY1306" fmla="*/ 4993574 h 5061538"/>
              <a:gd name="connsiteX1307" fmla="*/ 3637869 w 7919608"/>
              <a:gd name="connsiteY1307" fmla="*/ 4961381 h 5061538"/>
              <a:gd name="connsiteX1308" fmla="*/ 3627138 w 7919608"/>
              <a:gd name="connsiteY1308" fmla="*/ 4932764 h 5061538"/>
              <a:gd name="connsiteX1309" fmla="*/ 3616406 w 7919608"/>
              <a:gd name="connsiteY1309" fmla="*/ 4918456 h 5061538"/>
              <a:gd name="connsiteX1310" fmla="*/ 3609252 w 7919608"/>
              <a:gd name="connsiteY1310" fmla="*/ 4914879 h 5061538"/>
              <a:gd name="connsiteX1311" fmla="*/ 3594944 w 7919608"/>
              <a:gd name="connsiteY1311" fmla="*/ 4911302 h 5061538"/>
              <a:gd name="connsiteX1312" fmla="*/ 3584213 w 7919608"/>
              <a:gd name="connsiteY1312" fmla="*/ 4911302 h 5061538"/>
              <a:gd name="connsiteX1313" fmla="*/ 3552019 w 7919608"/>
              <a:gd name="connsiteY1313" fmla="*/ 4914879 h 5061538"/>
              <a:gd name="connsiteX1314" fmla="*/ 3519826 w 7919608"/>
              <a:gd name="connsiteY1314" fmla="*/ 4932764 h 5061538"/>
              <a:gd name="connsiteX1315" fmla="*/ 3491209 w 7919608"/>
              <a:gd name="connsiteY1315" fmla="*/ 4939918 h 5061538"/>
              <a:gd name="connsiteX1316" fmla="*/ 3462593 w 7919608"/>
              <a:gd name="connsiteY1316" fmla="*/ 4939918 h 5061538"/>
              <a:gd name="connsiteX1317" fmla="*/ 3437554 w 7919608"/>
              <a:gd name="connsiteY1317" fmla="*/ 4932764 h 5061538"/>
              <a:gd name="connsiteX1318" fmla="*/ 3416091 w 7919608"/>
              <a:gd name="connsiteY1318" fmla="*/ 4918456 h 5061538"/>
              <a:gd name="connsiteX1319" fmla="*/ 3394629 w 7919608"/>
              <a:gd name="connsiteY1319" fmla="*/ 4900571 h 5061538"/>
              <a:gd name="connsiteX1320" fmla="*/ 3366012 w 7919608"/>
              <a:gd name="connsiteY1320" fmla="*/ 4893416 h 5061538"/>
              <a:gd name="connsiteX1321" fmla="*/ 3340973 w 7919608"/>
              <a:gd name="connsiteY1321" fmla="*/ 4889839 h 5061538"/>
              <a:gd name="connsiteX1322" fmla="*/ 3315934 w 7919608"/>
              <a:gd name="connsiteY1322" fmla="*/ 4896994 h 5061538"/>
              <a:gd name="connsiteX1323" fmla="*/ 3294471 w 7919608"/>
              <a:gd name="connsiteY1323" fmla="*/ 4900571 h 5061538"/>
              <a:gd name="connsiteX1324" fmla="*/ 3276586 w 7919608"/>
              <a:gd name="connsiteY1324" fmla="*/ 4900571 h 5061538"/>
              <a:gd name="connsiteX1325" fmla="*/ 3258701 w 7919608"/>
              <a:gd name="connsiteY1325" fmla="*/ 4896994 h 5061538"/>
              <a:gd name="connsiteX1326" fmla="*/ 3237238 w 7919608"/>
              <a:gd name="connsiteY1326" fmla="*/ 4889839 h 5061538"/>
              <a:gd name="connsiteX1327" fmla="*/ 3222930 w 7919608"/>
              <a:gd name="connsiteY1327" fmla="*/ 4879108 h 5061538"/>
              <a:gd name="connsiteX1328" fmla="*/ 3208622 w 7919608"/>
              <a:gd name="connsiteY1328" fmla="*/ 4871954 h 5061538"/>
              <a:gd name="connsiteX1329" fmla="*/ 3194314 w 7919608"/>
              <a:gd name="connsiteY1329" fmla="*/ 4871954 h 5061538"/>
              <a:gd name="connsiteX1330" fmla="*/ 3176428 w 7919608"/>
              <a:gd name="connsiteY1330" fmla="*/ 4871954 h 5061538"/>
              <a:gd name="connsiteX1331" fmla="*/ 3151389 w 7919608"/>
              <a:gd name="connsiteY1331" fmla="*/ 4879108 h 5061538"/>
              <a:gd name="connsiteX1332" fmla="*/ 3119195 w 7919608"/>
              <a:gd name="connsiteY1332" fmla="*/ 4896994 h 5061538"/>
              <a:gd name="connsiteX1333" fmla="*/ 3090579 w 7919608"/>
              <a:gd name="connsiteY1333" fmla="*/ 4929187 h 5061538"/>
              <a:gd name="connsiteX1334" fmla="*/ 3076271 w 7919608"/>
              <a:gd name="connsiteY1334" fmla="*/ 4939918 h 5061538"/>
              <a:gd name="connsiteX1335" fmla="*/ 3058385 w 7919608"/>
              <a:gd name="connsiteY1335" fmla="*/ 4943495 h 5061538"/>
              <a:gd name="connsiteX1336" fmla="*/ 3044077 w 7919608"/>
              <a:gd name="connsiteY1336" fmla="*/ 4950649 h 5061538"/>
              <a:gd name="connsiteX1337" fmla="*/ 3026192 w 7919608"/>
              <a:gd name="connsiteY1337" fmla="*/ 4943495 h 5061538"/>
              <a:gd name="connsiteX1338" fmla="*/ 2929611 w 7919608"/>
              <a:gd name="connsiteY1338" fmla="*/ 4918456 h 5061538"/>
              <a:gd name="connsiteX1339" fmla="*/ 2911726 w 7919608"/>
              <a:gd name="connsiteY1339" fmla="*/ 4914879 h 5061538"/>
              <a:gd name="connsiteX1340" fmla="*/ 2904572 w 7919608"/>
              <a:gd name="connsiteY1340" fmla="*/ 4907725 h 5061538"/>
              <a:gd name="connsiteX1341" fmla="*/ 2900995 w 7919608"/>
              <a:gd name="connsiteY1341" fmla="*/ 4893416 h 5061538"/>
              <a:gd name="connsiteX1342" fmla="*/ 2900995 w 7919608"/>
              <a:gd name="connsiteY1342" fmla="*/ 4871954 h 5061538"/>
              <a:gd name="connsiteX1343" fmla="*/ 2904572 w 7919608"/>
              <a:gd name="connsiteY1343" fmla="*/ 4854069 h 5061538"/>
              <a:gd name="connsiteX1344" fmla="*/ 2904572 w 7919608"/>
              <a:gd name="connsiteY1344" fmla="*/ 4832606 h 5061538"/>
              <a:gd name="connsiteX1345" fmla="*/ 2900995 w 7919608"/>
              <a:gd name="connsiteY1345" fmla="*/ 4814721 h 5061538"/>
              <a:gd name="connsiteX1346" fmla="*/ 2886687 w 7919608"/>
              <a:gd name="connsiteY1346" fmla="*/ 4803990 h 5061538"/>
              <a:gd name="connsiteX1347" fmla="*/ 2865224 w 7919608"/>
              <a:gd name="connsiteY1347" fmla="*/ 4796836 h 5061538"/>
              <a:gd name="connsiteX1348" fmla="*/ 2840185 w 7919608"/>
              <a:gd name="connsiteY1348" fmla="*/ 4789682 h 5061538"/>
              <a:gd name="connsiteX1349" fmla="*/ 2818722 w 7919608"/>
              <a:gd name="connsiteY1349" fmla="*/ 4778951 h 5061538"/>
              <a:gd name="connsiteX1350" fmla="*/ 2775798 w 7919608"/>
              <a:gd name="connsiteY1350" fmla="*/ 4753911 h 5061538"/>
              <a:gd name="connsiteX1351" fmla="*/ 2754335 w 7919608"/>
              <a:gd name="connsiteY1351" fmla="*/ 4743180 h 5061538"/>
              <a:gd name="connsiteX1352" fmla="*/ 2736450 w 7919608"/>
              <a:gd name="connsiteY1352" fmla="*/ 4725295 h 5061538"/>
              <a:gd name="connsiteX1353" fmla="*/ 2722142 w 7919608"/>
              <a:gd name="connsiteY1353" fmla="*/ 4707409 h 5061538"/>
              <a:gd name="connsiteX1354" fmla="*/ 2722142 w 7919608"/>
              <a:gd name="connsiteY1354" fmla="*/ 4693101 h 5061538"/>
              <a:gd name="connsiteX1355" fmla="*/ 2718565 w 7919608"/>
              <a:gd name="connsiteY1355" fmla="*/ 4682370 h 5061538"/>
              <a:gd name="connsiteX1356" fmla="*/ 2714988 w 7919608"/>
              <a:gd name="connsiteY1356" fmla="*/ 4668062 h 5061538"/>
              <a:gd name="connsiteX1357" fmla="*/ 2704257 w 7919608"/>
              <a:gd name="connsiteY1357" fmla="*/ 4653754 h 5061538"/>
              <a:gd name="connsiteX1358" fmla="*/ 2689948 w 7919608"/>
              <a:gd name="connsiteY1358" fmla="*/ 4650177 h 5061538"/>
              <a:gd name="connsiteX1359" fmla="*/ 2672063 w 7919608"/>
              <a:gd name="connsiteY1359" fmla="*/ 4650177 h 5061538"/>
              <a:gd name="connsiteX1360" fmla="*/ 2668486 w 7919608"/>
              <a:gd name="connsiteY1360" fmla="*/ 4653754 h 5061538"/>
              <a:gd name="connsiteX1361" fmla="*/ 2661332 w 7919608"/>
              <a:gd name="connsiteY1361" fmla="*/ 4660908 h 5061538"/>
              <a:gd name="connsiteX1362" fmla="*/ 2661332 w 7919608"/>
              <a:gd name="connsiteY1362" fmla="*/ 4675216 h 5061538"/>
              <a:gd name="connsiteX1363" fmla="*/ 2668486 w 7919608"/>
              <a:gd name="connsiteY1363" fmla="*/ 4700255 h 5061538"/>
              <a:gd name="connsiteX1364" fmla="*/ 2675640 w 7919608"/>
              <a:gd name="connsiteY1364" fmla="*/ 4721718 h 5061538"/>
              <a:gd name="connsiteX1365" fmla="*/ 2679217 w 7919608"/>
              <a:gd name="connsiteY1365" fmla="*/ 4732449 h 5061538"/>
              <a:gd name="connsiteX1366" fmla="*/ 2679217 w 7919608"/>
              <a:gd name="connsiteY1366" fmla="*/ 4750334 h 5061538"/>
              <a:gd name="connsiteX1367" fmla="*/ 2675640 w 7919608"/>
              <a:gd name="connsiteY1367" fmla="*/ 4764642 h 5061538"/>
              <a:gd name="connsiteX1368" fmla="*/ 2668486 w 7919608"/>
              <a:gd name="connsiteY1368" fmla="*/ 4775374 h 5061538"/>
              <a:gd name="connsiteX1369" fmla="*/ 2657755 w 7919608"/>
              <a:gd name="connsiteY1369" fmla="*/ 4786105 h 5061538"/>
              <a:gd name="connsiteX1370" fmla="*/ 2650601 w 7919608"/>
              <a:gd name="connsiteY1370" fmla="*/ 4793259 h 5061538"/>
              <a:gd name="connsiteX1371" fmla="*/ 2636292 w 7919608"/>
              <a:gd name="connsiteY1371" fmla="*/ 4793259 h 5061538"/>
              <a:gd name="connsiteX1372" fmla="*/ 2618407 w 7919608"/>
              <a:gd name="connsiteY1372" fmla="*/ 4796836 h 5061538"/>
              <a:gd name="connsiteX1373" fmla="*/ 2571905 w 7919608"/>
              <a:gd name="connsiteY1373" fmla="*/ 4786105 h 5061538"/>
              <a:gd name="connsiteX1374" fmla="*/ 2518249 w 7919608"/>
              <a:gd name="connsiteY1374" fmla="*/ 4768219 h 5061538"/>
              <a:gd name="connsiteX1375" fmla="*/ 2514672 w 7919608"/>
              <a:gd name="connsiteY1375" fmla="*/ 4764642 h 5061538"/>
              <a:gd name="connsiteX1376" fmla="*/ 2511095 w 7919608"/>
              <a:gd name="connsiteY1376" fmla="*/ 4753911 h 5061538"/>
              <a:gd name="connsiteX1377" fmla="*/ 2511095 w 7919608"/>
              <a:gd name="connsiteY1377" fmla="*/ 4732449 h 5061538"/>
              <a:gd name="connsiteX1378" fmla="*/ 2525404 w 7919608"/>
              <a:gd name="connsiteY1378" fmla="*/ 4700255 h 5061538"/>
              <a:gd name="connsiteX1379" fmla="*/ 2536135 w 7919608"/>
              <a:gd name="connsiteY1379" fmla="*/ 4664485 h 5061538"/>
              <a:gd name="connsiteX1380" fmla="*/ 2536135 w 7919608"/>
              <a:gd name="connsiteY1380" fmla="*/ 4646599 h 5061538"/>
              <a:gd name="connsiteX1381" fmla="*/ 2532558 w 7919608"/>
              <a:gd name="connsiteY1381" fmla="*/ 4628714 h 5061538"/>
              <a:gd name="connsiteX1382" fmla="*/ 2518249 w 7919608"/>
              <a:gd name="connsiteY1382" fmla="*/ 4628714 h 5061538"/>
              <a:gd name="connsiteX1383" fmla="*/ 2507518 w 7919608"/>
              <a:gd name="connsiteY1383" fmla="*/ 4628714 h 5061538"/>
              <a:gd name="connsiteX1384" fmla="*/ 2410938 w 7919608"/>
              <a:gd name="connsiteY1384" fmla="*/ 4664485 h 5061538"/>
              <a:gd name="connsiteX1385" fmla="*/ 2400207 w 7919608"/>
              <a:gd name="connsiteY1385" fmla="*/ 4668062 h 5061538"/>
              <a:gd name="connsiteX1386" fmla="*/ 2389475 w 7919608"/>
              <a:gd name="connsiteY1386" fmla="*/ 4675216 h 5061538"/>
              <a:gd name="connsiteX1387" fmla="*/ 2385898 w 7919608"/>
              <a:gd name="connsiteY1387" fmla="*/ 4689524 h 5061538"/>
              <a:gd name="connsiteX1388" fmla="*/ 2382321 w 7919608"/>
              <a:gd name="connsiteY1388" fmla="*/ 4707409 h 5061538"/>
              <a:gd name="connsiteX1389" fmla="*/ 2385898 w 7919608"/>
              <a:gd name="connsiteY1389" fmla="*/ 4746757 h 5061538"/>
              <a:gd name="connsiteX1390" fmla="*/ 2382321 w 7919608"/>
              <a:gd name="connsiteY1390" fmla="*/ 4786105 h 5061538"/>
              <a:gd name="connsiteX1391" fmla="*/ 2382321 w 7919608"/>
              <a:gd name="connsiteY1391" fmla="*/ 4796836 h 5061538"/>
              <a:gd name="connsiteX1392" fmla="*/ 2382321 w 7919608"/>
              <a:gd name="connsiteY1392" fmla="*/ 4811144 h 5061538"/>
              <a:gd name="connsiteX1393" fmla="*/ 2385898 w 7919608"/>
              <a:gd name="connsiteY1393" fmla="*/ 4836184 h 5061538"/>
              <a:gd name="connsiteX1394" fmla="*/ 2393052 w 7919608"/>
              <a:gd name="connsiteY1394" fmla="*/ 4857646 h 5061538"/>
              <a:gd name="connsiteX1395" fmla="*/ 2400207 w 7919608"/>
              <a:gd name="connsiteY1395" fmla="*/ 4882685 h 5061538"/>
              <a:gd name="connsiteX1396" fmla="*/ 2389475 w 7919608"/>
              <a:gd name="connsiteY1396" fmla="*/ 4929187 h 5061538"/>
              <a:gd name="connsiteX1397" fmla="*/ 2389475 w 7919608"/>
              <a:gd name="connsiteY1397" fmla="*/ 4954226 h 5061538"/>
              <a:gd name="connsiteX1398" fmla="*/ 2393052 w 7919608"/>
              <a:gd name="connsiteY1398" fmla="*/ 4979266 h 5061538"/>
              <a:gd name="connsiteX1399" fmla="*/ 2403784 w 7919608"/>
              <a:gd name="connsiteY1399" fmla="*/ 5004305 h 5061538"/>
              <a:gd name="connsiteX1400" fmla="*/ 2403784 w 7919608"/>
              <a:gd name="connsiteY1400" fmla="*/ 5015036 h 5061538"/>
              <a:gd name="connsiteX1401" fmla="*/ 2400207 w 7919608"/>
              <a:gd name="connsiteY1401" fmla="*/ 5022191 h 5061538"/>
              <a:gd name="connsiteX1402" fmla="*/ 2393052 w 7919608"/>
              <a:gd name="connsiteY1402" fmla="*/ 5025768 h 5061538"/>
              <a:gd name="connsiteX1403" fmla="*/ 2385898 w 7919608"/>
              <a:gd name="connsiteY1403" fmla="*/ 5036499 h 5061538"/>
              <a:gd name="connsiteX1404" fmla="*/ 2360859 w 7919608"/>
              <a:gd name="connsiteY1404" fmla="*/ 5043653 h 5061538"/>
              <a:gd name="connsiteX1405" fmla="*/ 2317934 w 7919608"/>
              <a:gd name="connsiteY1405" fmla="*/ 5047230 h 5061538"/>
              <a:gd name="connsiteX1406" fmla="*/ 2300049 w 7919608"/>
              <a:gd name="connsiteY1406" fmla="*/ 5047230 h 5061538"/>
              <a:gd name="connsiteX1407" fmla="*/ 2285741 w 7919608"/>
              <a:gd name="connsiteY1407" fmla="*/ 5040076 h 5061538"/>
              <a:gd name="connsiteX1408" fmla="*/ 2275009 w 7919608"/>
              <a:gd name="connsiteY1408" fmla="*/ 5032922 h 5061538"/>
              <a:gd name="connsiteX1409" fmla="*/ 2260701 w 7919608"/>
              <a:gd name="connsiteY1409" fmla="*/ 5018614 h 5061538"/>
              <a:gd name="connsiteX1410" fmla="*/ 2242816 w 7919608"/>
              <a:gd name="connsiteY1410" fmla="*/ 4979266 h 5061538"/>
              <a:gd name="connsiteX1411" fmla="*/ 2228508 w 7919608"/>
              <a:gd name="connsiteY1411" fmla="*/ 4950649 h 5061538"/>
              <a:gd name="connsiteX1412" fmla="*/ 2214199 w 7919608"/>
              <a:gd name="connsiteY1412" fmla="*/ 4918456 h 5061538"/>
              <a:gd name="connsiteX1413" fmla="*/ 2203468 w 7919608"/>
              <a:gd name="connsiteY1413" fmla="*/ 4900571 h 5061538"/>
              <a:gd name="connsiteX1414" fmla="*/ 2199891 w 7919608"/>
              <a:gd name="connsiteY1414" fmla="*/ 4879108 h 5061538"/>
              <a:gd name="connsiteX1415" fmla="*/ 2203468 w 7919608"/>
              <a:gd name="connsiteY1415" fmla="*/ 4861223 h 5061538"/>
              <a:gd name="connsiteX1416" fmla="*/ 2217777 w 7919608"/>
              <a:gd name="connsiteY1416" fmla="*/ 4846915 h 5061538"/>
              <a:gd name="connsiteX1417" fmla="*/ 2224931 w 7919608"/>
              <a:gd name="connsiteY1417" fmla="*/ 4818298 h 5061538"/>
              <a:gd name="connsiteX1418" fmla="*/ 2242816 w 7919608"/>
              <a:gd name="connsiteY1418" fmla="*/ 4789682 h 5061538"/>
              <a:gd name="connsiteX1419" fmla="*/ 2124773 w 7919608"/>
              <a:gd name="connsiteY1419" fmla="*/ 4796836 h 5061538"/>
              <a:gd name="connsiteX1420" fmla="*/ 2124773 w 7919608"/>
              <a:gd name="connsiteY1420" fmla="*/ 4725295 h 5061538"/>
              <a:gd name="connsiteX1421" fmla="*/ 2131927 w 7919608"/>
              <a:gd name="connsiteY1421" fmla="*/ 4700255 h 5061538"/>
              <a:gd name="connsiteX1422" fmla="*/ 2139081 w 7919608"/>
              <a:gd name="connsiteY1422" fmla="*/ 4675216 h 5061538"/>
              <a:gd name="connsiteX1423" fmla="*/ 2156967 w 7919608"/>
              <a:gd name="connsiteY1423" fmla="*/ 4653754 h 5061538"/>
              <a:gd name="connsiteX1424" fmla="*/ 2164121 w 7919608"/>
              <a:gd name="connsiteY1424" fmla="*/ 4650177 h 5061538"/>
              <a:gd name="connsiteX1425" fmla="*/ 2178429 w 7919608"/>
              <a:gd name="connsiteY1425" fmla="*/ 4646599 h 5061538"/>
              <a:gd name="connsiteX1426" fmla="*/ 2196314 w 7919608"/>
              <a:gd name="connsiteY1426" fmla="*/ 4632291 h 5061538"/>
              <a:gd name="connsiteX1427" fmla="*/ 2203468 w 7919608"/>
              <a:gd name="connsiteY1427" fmla="*/ 4628714 h 5061538"/>
              <a:gd name="connsiteX1428" fmla="*/ 2203468 w 7919608"/>
              <a:gd name="connsiteY1428" fmla="*/ 4621560 h 5061538"/>
              <a:gd name="connsiteX1429" fmla="*/ 2203468 w 7919608"/>
              <a:gd name="connsiteY1429" fmla="*/ 4585789 h 5061538"/>
              <a:gd name="connsiteX1430" fmla="*/ 2199891 w 7919608"/>
              <a:gd name="connsiteY1430" fmla="*/ 4546442 h 5061538"/>
              <a:gd name="connsiteX1431" fmla="*/ 2196314 w 7919608"/>
              <a:gd name="connsiteY1431" fmla="*/ 4524979 h 5061538"/>
              <a:gd name="connsiteX1432" fmla="*/ 2185583 w 7919608"/>
              <a:gd name="connsiteY1432" fmla="*/ 4514248 h 5061538"/>
              <a:gd name="connsiteX1433" fmla="*/ 2174852 w 7919608"/>
              <a:gd name="connsiteY1433" fmla="*/ 4499940 h 5061538"/>
              <a:gd name="connsiteX1434" fmla="*/ 2160544 w 7919608"/>
              <a:gd name="connsiteY1434" fmla="*/ 4485632 h 5061538"/>
              <a:gd name="connsiteX1435" fmla="*/ 2135504 w 7919608"/>
              <a:gd name="connsiteY1435" fmla="*/ 4464169 h 5061538"/>
              <a:gd name="connsiteX1436" fmla="*/ 2117619 w 7919608"/>
              <a:gd name="connsiteY1436" fmla="*/ 4442707 h 5061538"/>
              <a:gd name="connsiteX1437" fmla="*/ 2099734 w 7919608"/>
              <a:gd name="connsiteY1437" fmla="*/ 4421245 h 5061538"/>
              <a:gd name="connsiteX1438" fmla="*/ 2089002 w 7919608"/>
              <a:gd name="connsiteY1438" fmla="*/ 4396205 h 5061538"/>
              <a:gd name="connsiteX1439" fmla="*/ 2099734 w 7919608"/>
              <a:gd name="connsiteY1439" fmla="*/ 4381897 h 5061538"/>
              <a:gd name="connsiteX1440" fmla="*/ 2110465 w 7919608"/>
              <a:gd name="connsiteY1440" fmla="*/ 4378320 h 5061538"/>
              <a:gd name="connsiteX1441" fmla="*/ 2117619 w 7919608"/>
              <a:gd name="connsiteY1441" fmla="*/ 4381897 h 5061538"/>
              <a:gd name="connsiteX1442" fmla="*/ 2124773 w 7919608"/>
              <a:gd name="connsiteY1442" fmla="*/ 4392628 h 5061538"/>
              <a:gd name="connsiteX1443" fmla="*/ 2142658 w 7919608"/>
              <a:gd name="connsiteY1443" fmla="*/ 4410514 h 5061538"/>
              <a:gd name="connsiteX1444" fmla="*/ 2160544 w 7919608"/>
              <a:gd name="connsiteY1444" fmla="*/ 4421245 h 5061538"/>
              <a:gd name="connsiteX1445" fmla="*/ 2182006 w 7919608"/>
              <a:gd name="connsiteY1445" fmla="*/ 4435553 h 5061538"/>
              <a:gd name="connsiteX1446" fmla="*/ 2203468 w 7919608"/>
              <a:gd name="connsiteY1446" fmla="*/ 4442707 h 5061538"/>
              <a:gd name="connsiteX1447" fmla="*/ 2217777 w 7919608"/>
              <a:gd name="connsiteY1447" fmla="*/ 4453438 h 5061538"/>
              <a:gd name="connsiteX1448" fmla="*/ 2224931 w 7919608"/>
              <a:gd name="connsiteY1448" fmla="*/ 4464169 h 5061538"/>
              <a:gd name="connsiteX1449" fmla="*/ 2242816 w 7919608"/>
              <a:gd name="connsiteY1449" fmla="*/ 4482055 h 5061538"/>
              <a:gd name="connsiteX1450" fmla="*/ 2264278 w 7919608"/>
              <a:gd name="connsiteY1450" fmla="*/ 4496363 h 5061538"/>
              <a:gd name="connsiteX1451" fmla="*/ 2285741 w 7919608"/>
              <a:gd name="connsiteY1451" fmla="*/ 4503517 h 5061538"/>
              <a:gd name="connsiteX1452" fmla="*/ 2307203 w 7919608"/>
              <a:gd name="connsiteY1452" fmla="*/ 4514248 h 5061538"/>
              <a:gd name="connsiteX1453" fmla="*/ 2332242 w 7919608"/>
              <a:gd name="connsiteY1453" fmla="*/ 4517825 h 5061538"/>
              <a:gd name="connsiteX1454" fmla="*/ 2346551 w 7919608"/>
              <a:gd name="connsiteY1454" fmla="*/ 4528557 h 5061538"/>
              <a:gd name="connsiteX1455" fmla="*/ 2357282 w 7919608"/>
              <a:gd name="connsiteY1455" fmla="*/ 4546442 h 5061538"/>
              <a:gd name="connsiteX1456" fmla="*/ 2360859 w 7919608"/>
              <a:gd name="connsiteY1456" fmla="*/ 4571481 h 5061538"/>
              <a:gd name="connsiteX1457" fmla="*/ 2360859 w 7919608"/>
              <a:gd name="connsiteY1457" fmla="*/ 4582212 h 5061538"/>
              <a:gd name="connsiteX1458" fmla="*/ 2360859 w 7919608"/>
              <a:gd name="connsiteY1458" fmla="*/ 4585789 h 5061538"/>
              <a:gd name="connsiteX1459" fmla="*/ 2371590 w 7919608"/>
              <a:gd name="connsiteY1459" fmla="*/ 4607252 h 5061538"/>
              <a:gd name="connsiteX1460" fmla="*/ 2378744 w 7919608"/>
              <a:gd name="connsiteY1460" fmla="*/ 4610829 h 5061538"/>
              <a:gd name="connsiteX1461" fmla="*/ 2382321 w 7919608"/>
              <a:gd name="connsiteY1461" fmla="*/ 4617983 h 5061538"/>
              <a:gd name="connsiteX1462" fmla="*/ 2389475 w 7919608"/>
              <a:gd name="connsiteY1462" fmla="*/ 4617983 h 5061538"/>
              <a:gd name="connsiteX1463" fmla="*/ 2400207 w 7919608"/>
              <a:gd name="connsiteY1463" fmla="*/ 4610829 h 5061538"/>
              <a:gd name="connsiteX1464" fmla="*/ 2414515 w 7919608"/>
              <a:gd name="connsiteY1464" fmla="*/ 4600098 h 5061538"/>
              <a:gd name="connsiteX1465" fmla="*/ 2421669 w 7919608"/>
              <a:gd name="connsiteY1465" fmla="*/ 4596521 h 5061538"/>
              <a:gd name="connsiteX1466" fmla="*/ 2425246 w 7919608"/>
              <a:gd name="connsiteY1466" fmla="*/ 4582212 h 5061538"/>
              <a:gd name="connsiteX1467" fmla="*/ 2443131 w 7919608"/>
              <a:gd name="connsiteY1467" fmla="*/ 4546442 h 5061538"/>
              <a:gd name="connsiteX1468" fmla="*/ 2461017 w 7919608"/>
              <a:gd name="connsiteY1468" fmla="*/ 4514248 h 5061538"/>
              <a:gd name="connsiteX1469" fmla="*/ 2471748 w 7919608"/>
              <a:gd name="connsiteY1469" fmla="*/ 4478478 h 5061538"/>
              <a:gd name="connsiteX1470" fmla="*/ 2482479 w 7919608"/>
              <a:gd name="connsiteY1470" fmla="*/ 4439130 h 5061538"/>
              <a:gd name="connsiteX1471" fmla="*/ 2486056 w 7919608"/>
              <a:gd name="connsiteY1471" fmla="*/ 4424822 h 5061538"/>
              <a:gd name="connsiteX1472" fmla="*/ 2489633 w 7919608"/>
              <a:gd name="connsiteY1472" fmla="*/ 4414091 h 5061538"/>
              <a:gd name="connsiteX1473" fmla="*/ 2496787 w 7919608"/>
              <a:gd name="connsiteY1473" fmla="*/ 4403359 h 5061538"/>
              <a:gd name="connsiteX1474" fmla="*/ 2507518 w 7919608"/>
              <a:gd name="connsiteY1474" fmla="*/ 4396205 h 5061538"/>
              <a:gd name="connsiteX1475" fmla="*/ 2518249 w 7919608"/>
              <a:gd name="connsiteY1475" fmla="*/ 4389051 h 5061538"/>
              <a:gd name="connsiteX1476" fmla="*/ 2532558 w 7919608"/>
              <a:gd name="connsiteY1476" fmla="*/ 4389051 h 5061538"/>
              <a:gd name="connsiteX1477" fmla="*/ 2568328 w 7919608"/>
              <a:gd name="connsiteY1477" fmla="*/ 4381897 h 5061538"/>
              <a:gd name="connsiteX1478" fmla="*/ 2596945 w 7919608"/>
              <a:gd name="connsiteY1478" fmla="*/ 4389051 h 5061538"/>
              <a:gd name="connsiteX1479" fmla="*/ 2629138 w 7919608"/>
              <a:gd name="connsiteY1479" fmla="*/ 4389051 h 5061538"/>
              <a:gd name="connsiteX1480" fmla="*/ 2650601 w 7919608"/>
              <a:gd name="connsiteY1480" fmla="*/ 4378320 h 5061538"/>
              <a:gd name="connsiteX1481" fmla="*/ 2657755 w 7919608"/>
              <a:gd name="connsiteY1481" fmla="*/ 4371166 h 5061538"/>
              <a:gd name="connsiteX1482" fmla="*/ 2661332 w 7919608"/>
              <a:gd name="connsiteY1482" fmla="*/ 4353281 h 5061538"/>
              <a:gd name="connsiteX1483" fmla="*/ 2661332 w 7919608"/>
              <a:gd name="connsiteY1483" fmla="*/ 4331818 h 5061538"/>
              <a:gd name="connsiteX1484" fmla="*/ 2657755 w 7919608"/>
              <a:gd name="connsiteY1484" fmla="*/ 4296048 h 5061538"/>
              <a:gd name="connsiteX1485" fmla="*/ 2657755 w 7919608"/>
              <a:gd name="connsiteY1485" fmla="*/ 4267431 h 5061538"/>
              <a:gd name="connsiteX1486" fmla="*/ 2661332 w 7919608"/>
              <a:gd name="connsiteY1486" fmla="*/ 4238815 h 5061538"/>
              <a:gd name="connsiteX1487" fmla="*/ 2657755 w 7919608"/>
              <a:gd name="connsiteY1487" fmla="*/ 4213775 h 5061538"/>
              <a:gd name="connsiteX1488" fmla="*/ 2654178 w 7919608"/>
              <a:gd name="connsiteY1488" fmla="*/ 4192313 h 5061538"/>
              <a:gd name="connsiteX1489" fmla="*/ 2636292 w 7919608"/>
              <a:gd name="connsiteY1489" fmla="*/ 4170851 h 5061538"/>
              <a:gd name="connsiteX1490" fmla="*/ 2629138 w 7919608"/>
              <a:gd name="connsiteY1490" fmla="*/ 4152965 h 5061538"/>
              <a:gd name="connsiteX1491" fmla="*/ 2614830 w 7919608"/>
              <a:gd name="connsiteY1491" fmla="*/ 4135080 h 5061538"/>
              <a:gd name="connsiteX1492" fmla="*/ 2596945 w 7919608"/>
              <a:gd name="connsiteY1492" fmla="*/ 4099309 h 5061538"/>
              <a:gd name="connsiteX1493" fmla="*/ 2593368 w 7919608"/>
              <a:gd name="connsiteY1493" fmla="*/ 4077847 h 5061538"/>
              <a:gd name="connsiteX1494" fmla="*/ 2589791 w 7919608"/>
              <a:gd name="connsiteY1494" fmla="*/ 4052808 h 5061538"/>
              <a:gd name="connsiteX1495" fmla="*/ 2589791 w 7919608"/>
              <a:gd name="connsiteY1495" fmla="*/ 4042076 h 5061538"/>
              <a:gd name="connsiteX1496" fmla="*/ 2593368 w 7919608"/>
              <a:gd name="connsiteY1496" fmla="*/ 4031345 h 5061538"/>
              <a:gd name="connsiteX1497" fmla="*/ 2600522 w 7919608"/>
              <a:gd name="connsiteY1497" fmla="*/ 4024191 h 5061538"/>
              <a:gd name="connsiteX1498" fmla="*/ 2611253 w 7919608"/>
              <a:gd name="connsiteY1498" fmla="*/ 4020614 h 5061538"/>
              <a:gd name="connsiteX1499" fmla="*/ 2629138 w 7919608"/>
              <a:gd name="connsiteY1499" fmla="*/ 4020614 h 5061538"/>
              <a:gd name="connsiteX1500" fmla="*/ 2636292 w 7919608"/>
              <a:gd name="connsiteY1500" fmla="*/ 4024191 h 5061538"/>
              <a:gd name="connsiteX1501" fmla="*/ 2643447 w 7919608"/>
              <a:gd name="connsiteY1501" fmla="*/ 4031345 h 5061538"/>
              <a:gd name="connsiteX1502" fmla="*/ 2650601 w 7919608"/>
              <a:gd name="connsiteY1502" fmla="*/ 4045653 h 5061538"/>
              <a:gd name="connsiteX1503" fmla="*/ 2650601 w 7919608"/>
              <a:gd name="connsiteY1503" fmla="*/ 4063539 h 5061538"/>
              <a:gd name="connsiteX1504" fmla="*/ 2654178 w 7919608"/>
              <a:gd name="connsiteY1504" fmla="*/ 4070693 h 5061538"/>
              <a:gd name="connsiteX1505" fmla="*/ 2657755 w 7919608"/>
              <a:gd name="connsiteY1505" fmla="*/ 4085001 h 5061538"/>
              <a:gd name="connsiteX1506" fmla="*/ 2661332 w 7919608"/>
              <a:gd name="connsiteY1506" fmla="*/ 4092155 h 5061538"/>
              <a:gd name="connsiteX1507" fmla="*/ 2675640 w 7919608"/>
              <a:gd name="connsiteY1507" fmla="*/ 4092155 h 5061538"/>
              <a:gd name="connsiteX1508" fmla="*/ 2693525 w 7919608"/>
              <a:gd name="connsiteY1508" fmla="*/ 4088578 h 5061538"/>
              <a:gd name="connsiteX1509" fmla="*/ 2700679 w 7919608"/>
              <a:gd name="connsiteY1509" fmla="*/ 4085001 h 5061538"/>
              <a:gd name="connsiteX1510" fmla="*/ 2711411 w 7919608"/>
              <a:gd name="connsiteY1510" fmla="*/ 4070693 h 5061538"/>
              <a:gd name="connsiteX1511" fmla="*/ 2711411 w 7919608"/>
              <a:gd name="connsiteY1511" fmla="*/ 4052808 h 5061538"/>
              <a:gd name="connsiteX1512" fmla="*/ 2704257 w 7919608"/>
              <a:gd name="connsiteY1512" fmla="*/ 4031345 h 5061538"/>
              <a:gd name="connsiteX1513" fmla="*/ 2700679 w 7919608"/>
              <a:gd name="connsiteY1513" fmla="*/ 4024191 h 5061538"/>
              <a:gd name="connsiteX1514" fmla="*/ 2697102 w 7919608"/>
              <a:gd name="connsiteY1514" fmla="*/ 4017037 h 5061538"/>
              <a:gd name="connsiteX1515" fmla="*/ 2682794 w 7919608"/>
              <a:gd name="connsiteY1515" fmla="*/ 4002729 h 5061538"/>
              <a:gd name="connsiteX1516" fmla="*/ 2672063 w 7919608"/>
              <a:gd name="connsiteY1516" fmla="*/ 3995575 h 5061538"/>
              <a:gd name="connsiteX1517" fmla="*/ 2661332 w 7919608"/>
              <a:gd name="connsiteY1517" fmla="*/ 3981266 h 5061538"/>
              <a:gd name="connsiteX1518" fmla="*/ 2657755 w 7919608"/>
              <a:gd name="connsiteY1518" fmla="*/ 3963381 h 5061538"/>
              <a:gd name="connsiteX1519" fmla="*/ 2654178 w 7919608"/>
              <a:gd name="connsiteY1519" fmla="*/ 3938342 h 5061538"/>
              <a:gd name="connsiteX1520" fmla="*/ 2657755 w 7919608"/>
              <a:gd name="connsiteY1520" fmla="*/ 3902571 h 5061538"/>
              <a:gd name="connsiteX1521" fmla="*/ 2657755 w 7919608"/>
              <a:gd name="connsiteY1521" fmla="*/ 3881109 h 5061538"/>
              <a:gd name="connsiteX1522" fmla="*/ 2654178 w 7919608"/>
              <a:gd name="connsiteY1522" fmla="*/ 3856069 h 5061538"/>
              <a:gd name="connsiteX1523" fmla="*/ 2636292 w 7919608"/>
              <a:gd name="connsiteY1523" fmla="*/ 3809568 h 5061538"/>
              <a:gd name="connsiteX1524" fmla="*/ 2629138 w 7919608"/>
              <a:gd name="connsiteY1524" fmla="*/ 3795259 h 5061538"/>
              <a:gd name="connsiteX1525" fmla="*/ 2614830 w 7919608"/>
              <a:gd name="connsiteY1525" fmla="*/ 3780951 h 5061538"/>
              <a:gd name="connsiteX1526" fmla="*/ 2600522 w 7919608"/>
              <a:gd name="connsiteY1526" fmla="*/ 3773797 h 5061538"/>
              <a:gd name="connsiteX1527" fmla="*/ 2579059 w 7919608"/>
              <a:gd name="connsiteY1527" fmla="*/ 3770220 h 5061538"/>
              <a:gd name="connsiteX1528" fmla="*/ 2575482 w 7919608"/>
              <a:gd name="connsiteY1528" fmla="*/ 3777374 h 5061538"/>
              <a:gd name="connsiteX1529" fmla="*/ 2575482 w 7919608"/>
              <a:gd name="connsiteY1529" fmla="*/ 3788105 h 5061538"/>
              <a:gd name="connsiteX1530" fmla="*/ 2575482 w 7919608"/>
              <a:gd name="connsiteY1530" fmla="*/ 3813145 h 5061538"/>
              <a:gd name="connsiteX1531" fmla="*/ 2571905 w 7919608"/>
              <a:gd name="connsiteY1531" fmla="*/ 3831030 h 5061538"/>
              <a:gd name="connsiteX1532" fmla="*/ 2568328 w 7919608"/>
              <a:gd name="connsiteY1532" fmla="*/ 3838184 h 5061538"/>
              <a:gd name="connsiteX1533" fmla="*/ 2554020 w 7919608"/>
              <a:gd name="connsiteY1533" fmla="*/ 3845338 h 5061538"/>
              <a:gd name="connsiteX1534" fmla="*/ 2428823 w 7919608"/>
              <a:gd name="connsiteY1534" fmla="*/ 3770220 h 5061538"/>
              <a:gd name="connsiteX1535" fmla="*/ 2403784 w 7919608"/>
              <a:gd name="connsiteY1535" fmla="*/ 3759489 h 5061538"/>
              <a:gd name="connsiteX1536" fmla="*/ 2389475 w 7919608"/>
              <a:gd name="connsiteY1536" fmla="*/ 3759489 h 5061538"/>
              <a:gd name="connsiteX1537" fmla="*/ 2382321 w 7919608"/>
              <a:gd name="connsiteY1537" fmla="*/ 3759489 h 5061538"/>
              <a:gd name="connsiteX1538" fmla="*/ 2378744 w 7919608"/>
              <a:gd name="connsiteY1538" fmla="*/ 3770220 h 5061538"/>
              <a:gd name="connsiteX1539" fmla="*/ 2368013 w 7919608"/>
              <a:gd name="connsiteY1539" fmla="*/ 3777374 h 5061538"/>
              <a:gd name="connsiteX1540" fmla="*/ 2364436 w 7919608"/>
              <a:gd name="connsiteY1540" fmla="*/ 3802413 h 5061538"/>
              <a:gd name="connsiteX1541" fmla="*/ 2357282 w 7919608"/>
              <a:gd name="connsiteY1541" fmla="*/ 3845338 h 5061538"/>
              <a:gd name="connsiteX1542" fmla="*/ 2310780 w 7919608"/>
              <a:gd name="connsiteY1542" fmla="*/ 3841761 h 5061538"/>
              <a:gd name="connsiteX1543" fmla="*/ 2267855 w 7919608"/>
              <a:gd name="connsiteY1543" fmla="*/ 3838184 h 5061538"/>
              <a:gd name="connsiteX1544" fmla="*/ 2246393 w 7919608"/>
              <a:gd name="connsiteY1544" fmla="*/ 3838184 h 5061538"/>
              <a:gd name="connsiteX1545" fmla="*/ 2224931 w 7919608"/>
              <a:gd name="connsiteY1545" fmla="*/ 3841761 h 5061538"/>
              <a:gd name="connsiteX1546" fmla="*/ 2214199 w 7919608"/>
              <a:gd name="connsiteY1546" fmla="*/ 3856069 h 5061538"/>
              <a:gd name="connsiteX1547" fmla="*/ 2199891 w 7919608"/>
              <a:gd name="connsiteY1547" fmla="*/ 3873955 h 5061538"/>
              <a:gd name="connsiteX1548" fmla="*/ 2192737 w 7919608"/>
              <a:gd name="connsiteY1548" fmla="*/ 3884686 h 5061538"/>
              <a:gd name="connsiteX1549" fmla="*/ 2185583 w 7919608"/>
              <a:gd name="connsiteY1549" fmla="*/ 3895417 h 5061538"/>
              <a:gd name="connsiteX1550" fmla="*/ 2174852 w 7919608"/>
              <a:gd name="connsiteY1550" fmla="*/ 3902571 h 5061538"/>
              <a:gd name="connsiteX1551" fmla="*/ 2164121 w 7919608"/>
              <a:gd name="connsiteY1551" fmla="*/ 3906148 h 5061538"/>
              <a:gd name="connsiteX1552" fmla="*/ 2156967 w 7919608"/>
              <a:gd name="connsiteY1552" fmla="*/ 3902571 h 5061538"/>
              <a:gd name="connsiteX1553" fmla="*/ 2149812 w 7919608"/>
              <a:gd name="connsiteY1553" fmla="*/ 3895417 h 5061538"/>
              <a:gd name="connsiteX1554" fmla="*/ 2142658 w 7919608"/>
              <a:gd name="connsiteY1554" fmla="*/ 3884686 h 5061538"/>
              <a:gd name="connsiteX1555" fmla="*/ 2142658 w 7919608"/>
              <a:gd name="connsiteY1555" fmla="*/ 3870378 h 5061538"/>
              <a:gd name="connsiteX1556" fmla="*/ 2149812 w 7919608"/>
              <a:gd name="connsiteY1556" fmla="*/ 3838184 h 5061538"/>
              <a:gd name="connsiteX1557" fmla="*/ 2156967 w 7919608"/>
              <a:gd name="connsiteY1557" fmla="*/ 3816722 h 5061538"/>
              <a:gd name="connsiteX1558" fmla="*/ 2164121 w 7919608"/>
              <a:gd name="connsiteY1558" fmla="*/ 3802413 h 5061538"/>
              <a:gd name="connsiteX1559" fmla="*/ 2174852 w 7919608"/>
              <a:gd name="connsiteY1559" fmla="*/ 3795259 h 5061538"/>
              <a:gd name="connsiteX1560" fmla="*/ 2185583 w 7919608"/>
              <a:gd name="connsiteY1560" fmla="*/ 3788105 h 5061538"/>
              <a:gd name="connsiteX1561" fmla="*/ 2203468 w 7919608"/>
              <a:gd name="connsiteY1561" fmla="*/ 3780951 h 5061538"/>
              <a:gd name="connsiteX1562" fmla="*/ 2217777 w 7919608"/>
              <a:gd name="connsiteY1562" fmla="*/ 3773797 h 5061538"/>
              <a:gd name="connsiteX1563" fmla="*/ 2228508 w 7919608"/>
              <a:gd name="connsiteY1563" fmla="*/ 3766643 h 5061538"/>
              <a:gd name="connsiteX1564" fmla="*/ 2235662 w 7919608"/>
              <a:gd name="connsiteY1564" fmla="*/ 3752335 h 5061538"/>
              <a:gd name="connsiteX1565" fmla="*/ 2239239 w 7919608"/>
              <a:gd name="connsiteY1565" fmla="*/ 3734449 h 5061538"/>
              <a:gd name="connsiteX1566" fmla="*/ 2235662 w 7919608"/>
              <a:gd name="connsiteY1566" fmla="*/ 3716564 h 5061538"/>
              <a:gd name="connsiteX1567" fmla="*/ 2221354 w 7919608"/>
              <a:gd name="connsiteY1567" fmla="*/ 3705833 h 5061538"/>
              <a:gd name="connsiteX1568" fmla="*/ 2214199 w 7919608"/>
              <a:gd name="connsiteY1568" fmla="*/ 3695102 h 5061538"/>
              <a:gd name="connsiteX1569" fmla="*/ 2196314 w 7919608"/>
              <a:gd name="connsiteY1569" fmla="*/ 3691525 h 5061538"/>
              <a:gd name="connsiteX1570" fmla="*/ 2178429 w 7919608"/>
              <a:gd name="connsiteY1570" fmla="*/ 3687948 h 5061538"/>
              <a:gd name="connsiteX1571" fmla="*/ 2160544 w 7919608"/>
              <a:gd name="connsiteY1571" fmla="*/ 3677216 h 5061538"/>
              <a:gd name="connsiteX1572" fmla="*/ 2139081 w 7919608"/>
              <a:gd name="connsiteY1572" fmla="*/ 3662908 h 5061538"/>
              <a:gd name="connsiteX1573" fmla="*/ 2117619 w 7919608"/>
              <a:gd name="connsiteY1573" fmla="*/ 3634292 h 5061538"/>
              <a:gd name="connsiteX1574" fmla="*/ 2096157 w 7919608"/>
              <a:gd name="connsiteY1574" fmla="*/ 3612829 h 5061538"/>
              <a:gd name="connsiteX1575" fmla="*/ 2092580 w 7919608"/>
              <a:gd name="connsiteY1575" fmla="*/ 3602098 h 5061538"/>
              <a:gd name="connsiteX1576" fmla="*/ 2089002 w 7919608"/>
              <a:gd name="connsiteY1576" fmla="*/ 3591367 h 5061538"/>
              <a:gd name="connsiteX1577" fmla="*/ 2081848 w 7919608"/>
              <a:gd name="connsiteY1577" fmla="*/ 3562751 h 5061538"/>
              <a:gd name="connsiteX1578" fmla="*/ 2142658 w 7919608"/>
              <a:gd name="connsiteY1578" fmla="*/ 3566328 h 5061538"/>
              <a:gd name="connsiteX1579" fmla="*/ 2139081 w 7919608"/>
              <a:gd name="connsiteY1579" fmla="*/ 3548442 h 5061538"/>
              <a:gd name="connsiteX1580" fmla="*/ 2124773 w 7919608"/>
              <a:gd name="connsiteY1580" fmla="*/ 3530557 h 5061538"/>
              <a:gd name="connsiteX1581" fmla="*/ 2114042 w 7919608"/>
              <a:gd name="connsiteY1581" fmla="*/ 3519826 h 5061538"/>
              <a:gd name="connsiteX1582" fmla="*/ 2099734 w 7919608"/>
              <a:gd name="connsiteY1582" fmla="*/ 3505518 h 5061538"/>
              <a:gd name="connsiteX1583" fmla="*/ 2089002 w 7919608"/>
              <a:gd name="connsiteY1583" fmla="*/ 3501941 h 5061538"/>
              <a:gd name="connsiteX1584" fmla="*/ 2071117 w 7919608"/>
              <a:gd name="connsiteY1584" fmla="*/ 3498363 h 5061538"/>
              <a:gd name="connsiteX1585" fmla="*/ 2053232 w 7919608"/>
              <a:gd name="connsiteY1585" fmla="*/ 3498363 h 5061538"/>
              <a:gd name="connsiteX1586" fmla="*/ 2035347 w 7919608"/>
              <a:gd name="connsiteY1586" fmla="*/ 3505518 h 5061538"/>
              <a:gd name="connsiteX1587" fmla="*/ 1999576 w 7919608"/>
              <a:gd name="connsiteY1587" fmla="*/ 3519826 h 5061538"/>
              <a:gd name="connsiteX1588" fmla="*/ 1985268 w 7919608"/>
              <a:gd name="connsiteY1588" fmla="*/ 3519826 h 5061538"/>
              <a:gd name="connsiteX1589" fmla="*/ 1963806 w 7919608"/>
              <a:gd name="connsiteY1589" fmla="*/ 3519826 h 5061538"/>
              <a:gd name="connsiteX1590" fmla="*/ 1931612 w 7919608"/>
              <a:gd name="connsiteY1590" fmla="*/ 3512672 h 5061538"/>
              <a:gd name="connsiteX1591" fmla="*/ 1895841 w 7919608"/>
              <a:gd name="connsiteY1591" fmla="*/ 3491209 h 5061538"/>
              <a:gd name="connsiteX1592" fmla="*/ 1874379 w 7919608"/>
              <a:gd name="connsiteY1592" fmla="*/ 3484055 h 5061538"/>
              <a:gd name="connsiteX1593" fmla="*/ 1860071 w 7919608"/>
              <a:gd name="connsiteY1593" fmla="*/ 3484055 h 5061538"/>
              <a:gd name="connsiteX1594" fmla="*/ 1842185 w 7919608"/>
              <a:gd name="connsiteY1594" fmla="*/ 3487632 h 5061538"/>
              <a:gd name="connsiteX1595" fmla="*/ 1824300 w 7919608"/>
              <a:gd name="connsiteY1595" fmla="*/ 3501941 h 5061538"/>
              <a:gd name="connsiteX1596" fmla="*/ 1809992 w 7919608"/>
              <a:gd name="connsiteY1596" fmla="*/ 3512672 h 5061538"/>
              <a:gd name="connsiteX1597" fmla="*/ 1788530 w 7919608"/>
              <a:gd name="connsiteY1597" fmla="*/ 3519826 h 5061538"/>
              <a:gd name="connsiteX1598" fmla="*/ 1709834 w 7919608"/>
              <a:gd name="connsiteY1598" fmla="*/ 3526980 h 5061538"/>
              <a:gd name="connsiteX1599" fmla="*/ 1634716 w 7919608"/>
              <a:gd name="connsiteY1599" fmla="*/ 3530557 h 5061538"/>
              <a:gd name="connsiteX1600" fmla="*/ 1613254 w 7919608"/>
              <a:gd name="connsiteY1600" fmla="*/ 3530557 h 5061538"/>
              <a:gd name="connsiteX1601" fmla="*/ 1591791 w 7919608"/>
              <a:gd name="connsiteY1601" fmla="*/ 3526980 h 5061538"/>
              <a:gd name="connsiteX1602" fmla="*/ 1548867 w 7919608"/>
              <a:gd name="connsiteY1602" fmla="*/ 3519826 h 5061538"/>
              <a:gd name="connsiteX1603" fmla="*/ 1530981 w 7919608"/>
              <a:gd name="connsiteY1603" fmla="*/ 3523403 h 5061538"/>
              <a:gd name="connsiteX1604" fmla="*/ 1516673 w 7919608"/>
              <a:gd name="connsiteY1604" fmla="*/ 3530557 h 5061538"/>
              <a:gd name="connsiteX1605" fmla="*/ 1495211 w 7919608"/>
              <a:gd name="connsiteY1605" fmla="*/ 3544865 h 5061538"/>
              <a:gd name="connsiteX1606" fmla="*/ 1473748 w 7919608"/>
              <a:gd name="connsiteY1606" fmla="*/ 3552019 h 5061538"/>
              <a:gd name="connsiteX1607" fmla="*/ 1423670 w 7919608"/>
              <a:gd name="connsiteY1607" fmla="*/ 3562751 h 5061538"/>
              <a:gd name="connsiteX1608" fmla="*/ 1427247 w 7919608"/>
              <a:gd name="connsiteY1608" fmla="*/ 3509095 h 5061538"/>
              <a:gd name="connsiteX1609" fmla="*/ 1423670 w 7919608"/>
              <a:gd name="connsiteY1609" fmla="*/ 3484055 h 5061538"/>
              <a:gd name="connsiteX1610" fmla="*/ 1409361 w 7919608"/>
              <a:gd name="connsiteY1610" fmla="*/ 3466170 h 5061538"/>
              <a:gd name="connsiteX1611" fmla="*/ 1391476 w 7919608"/>
              <a:gd name="connsiteY1611" fmla="*/ 3455439 h 5061538"/>
              <a:gd name="connsiteX1612" fmla="*/ 1366437 w 7919608"/>
              <a:gd name="connsiteY1612" fmla="*/ 3448285 h 5061538"/>
              <a:gd name="connsiteX1613" fmla="*/ 1341397 w 7919608"/>
              <a:gd name="connsiteY1613" fmla="*/ 3448285 h 5061538"/>
              <a:gd name="connsiteX1614" fmla="*/ 1319935 w 7919608"/>
              <a:gd name="connsiteY1614" fmla="*/ 3459016 h 5061538"/>
              <a:gd name="connsiteX1615" fmla="*/ 1294895 w 7919608"/>
              <a:gd name="connsiteY1615" fmla="*/ 3466170 h 5061538"/>
              <a:gd name="connsiteX1616" fmla="*/ 1273433 w 7919608"/>
              <a:gd name="connsiteY1616" fmla="*/ 3480478 h 5061538"/>
              <a:gd name="connsiteX1617" fmla="*/ 1262702 w 7919608"/>
              <a:gd name="connsiteY1617" fmla="*/ 3491209 h 5061538"/>
              <a:gd name="connsiteX1618" fmla="*/ 1248394 w 7919608"/>
              <a:gd name="connsiteY1618" fmla="*/ 3501941 h 5061538"/>
              <a:gd name="connsiteX1619" fmla="*/ 1237663 w 7919608"/>
              <a:gd name="connsiteY1619" fmla="*/ 3505518 h 5061538"/>
              <a:gd name="connsiteX1620" fmla="*/ 1219777 w 7919608"/>
              <a:gd name="connsiteY1620" fmla="*/ 3505518 h 5061538"/>
              <a:gd name="connsiteX1621" fmla="*/ 1209046 w 7919608"/>
              <a:gd name="connsiteY1621" fmla="*/ 3501941 h 5061538"/>
              <a:gd name="connsiteX1622" fmla="*/ 1205469 w 7919608"/>
              <a:gd name="connsiteY1622" fmla="*/ 3491209 h 5061538"/>
              <a:gd name="connsiteX1623" fmla="*/ 1201892 w 7919608"/>
              <a:gd name="connsiteY1623" fmla="*/ 3480478 h 5061538"/>
              <a:gd name="connsiteX1624" fmla="*/ 1201892 w 7919608"/>
              <a:gd name="connsiteY1624" fmla="*/ 3444708 h 5061538"/>
              <a:gd name="connsiteX1625" fmla="*/ 1205469 w 7919608"/>
              <a:gd name="connsiteY1625" fmla="*/ 3430399 h 5061538"/>
              <a:gd name="connsiteX1626" fmla="*/ 1201892 w 7919608"/>
              <a:gd name="connsiteY1626" fmla="*/ 3419668 h 5061538"/>
              <a:gd name="connsiteX1627" fmla="*/ 1187584 w 7919608"/>
              <a:gd name="connsiteY1627" fmla="*/ 3408937 h 5061538"/>
              <a:gd name="connsiteX1628" fmla="*/ 1176853 w 7919608"/>
              <a:gd name="connsiteY1628" fmla="*/ 3405360 h 5061538"/>
              <a:gd name="connsiteX1629" fmla="*/ 1169699 w 7919608"/>
              <a:gd name="connsiteY1629" fmla="*/ 3416091 h 5061538"/>
              <a:gd name="connsiteX1630" fmla="*/ 1162544 w 7919608"/>
              <a:gd name="connsiteY1630" fmla="*/ 3423245 h 5061538"/>
              <a:gd name="connsiteX1631" fmla="*/ 1141082 w 7919608"/>
              <a:gd name="connsiteY1631" fmla="*/ 3430399 h 5061538"/>
              <a:gd name="connsiteX1632" fmla="*/ 1123197 w 7919608"/>
              <a:gd name="connsiteY1632" fmla="*/ 3448285 h 5061538"/>
              <a:gd name="connsiteX1633" fmla="*/ 1119620 w 7919608"/>
              <a:gd name="connsiteY1633" fmla="*/ 3459016 h 5061538"/>
              <a:gd name="connsiteX1634" fmla="*/ 1116043 w 7919608"/>
              <a:gd name="connsiteY1634" fmla="*/ 3466170 h 5061538"/>
              <a:gd name="connsiteX1635" fmla="*/ 1105311 w 7919608"/>
              <a:gd name="connsiteY1635" fmla="*/ 3484055 h 5061538"/>
              <a:gd name="connsiteX1636" fmla="*/ 1098157 w 7919608"/>
              <a:gd name="connsiteY1636" fmla="*/ 3498363 h 5061538"/>
              <a:gd name="connsiteX1637" fmla="*/ 1080272 w 7919608"/>
              <a:gd name="connsiteY1637" fmla="*/ 3498363 h 5061538"/>
              <a:gd name="connsiteX1638" fmla="*/ 1062387 w 7919608"/>
              <a:gd name="connsiteY1638" fmla="*/ 3491209 h 5061538"/>
              <a:gd name="connsiteX1639" fmla="*/ 1030193 w 7919608"/>
              <a:gd name="connsiteY1639" fmla="*/ 3484055 h 5061538"/>
              <a:gd name="connsiteX1640" fmla="*/ 1012308 w 7919608"/>
              <a:gd name="connsiteY1640" fmla="*/ 3480478 h 5061538"/>
              <a:gd name="connsiteX1641" fmla="*/ 1001577 w 7919608"/>
              <a:gd name="connsiteY1641" fmla="*/ 3469747 h 5061538"/>
              <a:gd name="connsiteX1642" fmla="*/ 998000 w 7919608"/>
              <a:gd name="connsiteY1642" fmla="*/ 3459016 h 5061538"/>
              <a:gd name="connsiteX1643" fmla="*/ 998000 w 7919608"/>
              <a:gd name="connsiteY1643" fmla="*/ 3441131 h 5061538"/>
              <a:gd name="connsiteX1644" fmla="*/ 1001577 w 7919608"/>
              <a:gd name="connsiteY1644" fmla="*/ 3416091 h 5061538"/>
              <a:gd name="connsiteX1645" fmla="*/ 998000 w 7919608"/>
              <a:gd name="connsiteY1645" fmla="*/ 3394629 h 5061538"/>
              <a:gd name="connsiteX1646" fmla="*/ 994423 w 7919608"/>
              <a:gd name="connsiteY1646" fmla="*/ 3366012 h 5061538"/>
              <a:gd name="connsiteX1647" fmla="*/ 983691 w 7919608"/>
              <a:gd name="connsiteY1647" fmla="*/ 3344550 h 5061538"/>
              <a:gd name="connsiteX1648" fmla="*/ 980114 w 7919608"/>
              <a:gd name="connsiteY1648" fmla="*/ 3333819 h 5061538"/>
              <a:gd name="connsiteX1649" fmla="*/ 983691 w 7919608"/>
              <a:gd name="connsiteY1649" fmla="*/ 3323088 h 5061538"/>
              <a:gd name="connsiteX1650" fmla="*/ 990846 w 7919608"/>
              <a:gd name="connsiteY1650" fmla="*/ 3298048 h 5061538"/>
              <a:gd name="connsiteX1651" fmla="*/ 1001577 w 7919608"/>
              <a:gd name="connsiteY1651" fmla="*/ 3273009 h 5061538"/>
              <a:gd name="connsiteX1652" fmla="*/ 1015885 w 7919608"/>
              <a:gd name="connsiteY1652" fmla="*/ 3247969 h 5061538"/>
              <a:gd name="connsiteX1653" fmla="*/ 1019462 w 7919608"/>
              <a:gd name="connsiteY1653" fmla="*/ 3230084 h 5061538"/>
              <a:gd name="connsiteX1654" fmla="*/ 1015885 w 7919608"/>
              <a:gd name="connsiteY1654" fmla="*/ 3208622 h 5061538"/>
              <a:gd name="connsiteX1655" fmla="*/ 983691 w 7919608"/>
              <a:gd name="connsiteY1655" fmla="*/ 3151389 h 5061538"/>
              <a:gd name="connsiteX1656" fmla="*/ 955075 w 7919608"/>
              <a:gd name="connsiteY1656" fmla="*/ 3094156 h 5061538"/>
              <a:gd name="connsiteX1657" fmla="*/ 940767 w 7919608"/>
              <a:gd name="connsiteY1657" fmla="*/ 3076271 h 5061538"/>
              <a:gd name="connsiteX1658" fmla="*/ 933612 w 7919608"/>
              <a:gd name="connsiteY1658" fmla="*/ 3069116 h 5061538"/>
              <a:gd name="connsiteX1659" fmla="*/ 926458 w 7919608"/>
              <a:gd name="connsiteY1659" fmla="*/ 3061963 h 5061538"/>
              <a:gd name="connsiteX1660" fmla="*/ 897842 w 7919608"/>
              <a:gd name="connsiteY1660" fmla="*/ 3047654 h 5061538"/>
              <a:gd name="connsiteX1661" fmla="*/ 879957 w 7919608"/>
              <a:gd name="connsiteY1661" fmla="*/ 3026192 h 5061538"/>
              <a:gd name="connsiteX1662" fmla="*/ 869226 w 7919608"/>
              <a:gd name="connsiteY1662" fmla="*/ 3001153 h 5061538"/>
              <a:gd name="connsiteX1663" fmla="*/ 854917 w 7919608"/>
              <a:gd name="connsiteY1663" fmla="*/ 2979690 h 5061538"/>
              <a:gd name="connsiteX1664" fmla="*/ 847763 w 7919608"/>
              <a:gd name="connsiteY1664" fmla="*/ 2947496 h 5061538"/>
              <a:gd name="connsiteX1665" fmla="*/ 833455 w 7919608"/>
              <a:gd name="connsiteY1665" fmla="*/ 2929611 h 5061538"/>
              <a:gd name="connsiteX1666" fmla="*/ 822724 w 7919608"/>
              <a:gd name="connsiteY1666" fmla="*/ 2922457 h 5061538"/>
              <a:gd name="connsiteX1667" fmla="*/ 808416 w 7919608"/>
              <a:gd name="connsiteY1667" fmla="*/ 2922457 h 5061538"/>
              <a:gd name="connsiteX1668" fmla="*/ 790530 w 7919608"/>
              <a:gd name="connsiteY1668" fmla="*/ 2929611 h 5061538"/>
              <a:gd name="connsiteX1669" fmla="*/ 772645 w 7919608"/>
              <a:gd name="connsiteY1669" fmla="*/ 2940343 h 5061538"/>
              <a:gd name="connsiteX1670" fmla="*/ 761914 w 7919608"/>
              <a:gd name="connsiteY1670" fmla="*/ 2947496 h 5061538"/>
              <a:gd name="connsiteX1671" fmla="*/ 744028 w 7919608"/>
              <a:gd name="connsiteY1671" fmla="*/ 2965382 h 5061538"/>
              <a:gd name="connsiteX1672" fmla="*/ 726143 w 7919608"/>
              <a:gd name="connsiteY1672" fmla="*/ 2972536 h 5061538"/>
              <a:gd name="connsiteX1673" fmla="*/ 704681 w 7919608"/>
              <a:gd name="connsiteY1673" fmla="*/ 2983267 h 5061538"/>
              <a:gd name="connsiteX1674" fmla="*/ 683219 w 7919608"/>
              <a:gd name="connsiteY1674" fmla="*/ 2986844 h 5061538"/>
              <a:gd name="connsiteX1675" fmla="*/ 668910 w 7919608"/>
              <a:gd name="connsiteY1675" fmla="*/ 2993998 h 5061538"/>
              <a:gd name="connsiteX1676" fmla="*/ 651025 w 7919608"/>
              <a:gd name="connsiteY1676" fmla="*/ 3001153 h 5061538"/>
              <a:gd name="connsiteX1677" fmla="*/ 622409 w 7919608"/>
              <a:gd name="connsiteY1677" fmla="*/ 3015461 h 5061538"/>
              <a:gd name="connsiteX1678" fmla="*/ 593792 w 7919608"/>
              <a:gd name="connsiteY1678" fmla="*/ 3033346 h 5061538"/>
              <a:gd name="connsiteX1679" fmla="*/ 579484 w 7919608"/>
              <a:gd name="connsiteY1679" fmla="*/ 3026192 h 5061538"/>
              <a:gd name="connsiteX1680" fmla="*/ 575907 w 7919608"/>
              <a:gd name="connsiteY1680" fmla="*/ 3022615 h 5061538"/>
              <a:gd name="connsiteX1681" fmla="*/ 579484 w 7919608"/>
              <a:gd name="connsiteY1681" fmla="*/ 3008306 h 5061538"/>
              <a:gd name="connsiteX1682" fmla="*/ 583061 w 7919608"/>
              <a:gd name="connsiteY1682" fmla="*/ 3001153 h 5061538"/>
              <a:gd name="connsiteX1683" fmla="*/ 593792 w 7919608"/>
              <a:gd name="connsiteY1683" fmla="*/ 2990421 h 5061538"/>
              <a:gd name="connsiteX1684" fmla="*/ 604523 w 7919608"/>
              <a:gd name="connsiteY1684" fmla="*/ 2979690 h 5061538"/>
              <a:gd name="connsiteX1685" fmla="*/ 622409 w 7919608"/>
              <a:gd name="connsiteY1685" fmla="*/ 2961805 h 5061538"/>
              <a:gd name="connsiteX1686" fmla="*/ 636717 w 7919608"/>
              <a:gd name="connsiteY1686" fmla="*/ 2943919 h 5061538"/>
              <a:gd name="connsiteX1687" fmla="*/ 643871 w 7919608"/>
              <a:gd name="connsiteY1687" fmla="*/ 2922457 h 5061538"/>
              <a:gd name="connsiteX1688" fmla="*/ 647448 w 7919608"/>
              <a:gd name="connsiteY1688" fmla="*/ 2900995 h 5061538"/>
              <a:gd name="connsiteX1689" fmla="*/ 651025 w 7919608"/>
              <a:gd name="connsiteY1689" fmla="*/ 2868801 h 5061538"/>
              <a:gd name="connsiteX1690" fmla="*/ 661756 w 7919608"/>
              <a:gd name="connsiteY1690" fmla="*/ 2843762 h 5061538"/>
              <a:gd name="connsiteX1691" fmla="*/ 683219 w 7919608"/>
              <a:gd name="connsiteY1691" fmla="*/ 2822299 h 5061538"/>
              <a:gd name="connsiteX1692" fmla="*/ 708258 w 7919608"/>
              <a:gd name="connsiteY1692" fmla="*/ 2807991 h 5061538"/>
              <a:gd name="connsiteX1693" fmla="*/ 722566 w 7919608"/>
              <a:gd name="connsiteY1693" fmla="*/ 2800837 h 5061538"/>
              <a:gd name="connsiteX1694" fmla="*/ 733297 w 7919608"/>
              <a:gd name="connsiteY1694" fmla="*/ 2786529 h 5061538"/>
              <a:gd name="connsiteX1695" fmla="*/ 744028 w 7919608"/>
              <a:gd name="connsiteY1695" fmla="*/ 2775798 h 5061538"/>
              <a:gd name="connsiteX1696" fmla="*/ 747605 w 7919608"/>
              <a:gd name="connsiteY1696" fmla="*/ 2761489 h 5061538"/>
              <a:gd name="connsiteX1697" fmla="*/ 754760 w 7919608"/>
              <a:gd name="connsiteY1697" fmla="*/ 2732873 h 5061538"/>
              <a:gd name="connsiteX1698" fmla="*/ 765491 w 7919608"/>
              <a:gd name="connsiteY1698" fmla="*/ 2697103 h 5061538"/>
              <a:gd name="connsiteX1699" fmla="*/ 729720 w 7919608"/>
              <a:gd name="connsiteY1699" fmla="*/ 2689948 h 5061538"/>
              <a:gd name="connsiteX1700" fmla="*/ 701104 w 7919608"/>
              <a:gd name="connsiteY1700" fmla="*/ 2689948 h 5061538"/>
              <a:gd name="connsiteX1701" fmla="*/ 668910 w 7919608"/>
              <a:gd name="connsiteY1701" fmla="*/ 2693525 h 5061538"/>
              <a:gd name="connsiteX1702" fmla="*/ 643871 w 7919608"/>
              <a:gd name="connsiteY1702" fmla="*/ 2700679 h 5061538"/>
              <a:gd name="connsiteX1703" fmla="*/ 583061 w 7919608"/>
              <a:gd name="connsiteY1703" fmla="*/ 2657755 h 5061538"/>
              <a:gd name="connsiteX1704" fmla="*/ 540136 w 7919608"/>
              <a:gd name="connsiteY1704" fmla="*/ 2704256 h 5061538"/>
              <a:gd name="connsiteX1705" fmla="*/ 525828 w 7919608"/>
              <a:gd name="connsiteY1705" fmla="*/ 2714988 h 5061538"/>
              <a:gd name="connsiteX1706" fmla="*/ 515097 w 7919608"/>
              <a:gd name="connsiteY1706" fmla="*/ 2714988 h 5061538"/>
              <a:gd name="connsiteX1707" fmla="*/ 504366 w 7919608"/>
              <a:gd name="connsiteY1707" fmla="*/ 2711411 h 5061538"/>
              <a:gd name="connsiteX1708" fmla="*/ 497212 w 7919608"/>
              <a:gd name="connsiteY1708" fmla="*/ 2697103 h 5061538"/>
              <a:gd name="connsiteX1709" fmla="*/ 482903 w 7919608"/>
              <a:gd name="connsiteY1709" fmla="*/ 2672063 h 5061538"/>
              <a:gd name="connsiteX1710" fmla="*/ 479326 w 7919608"/>
              <a:gd name="connsiteY1710" fmla="*/ 2650601 h 5061538"/>
              <a:gd name="connsiteX1711" fmla="*/ 479326 w 7919608"/>
              <a:gd name="connsiteY1711" fmla="*/ 2632715 h 5061538"/>
              <a:gd name="connsiteX1712" fmla="*/ 482903 w 7919608"/>
              <a:gd name="connsiteY1712" fmla="*/ 2614830 h 5061538"/>
              <a:gd name="connsiteX1713" fmla="*/ 497212 w 7919608"/>
              <a:gd name="connsiteY1713" fmla="*/ 2607676 h 5061538"/>
              <a:gd name="connsiteX1714" fmla="*/ 515097 w 7919608"/>
              <a:gd name="connsiteY1714" fmla="*/ 2596945 h 5061538"/>
              <a:gd name="connsiteX1715" fmla="*/ 536559 w 7919608"/>
              <a:gd name="connsiteY1715" fmla="*/ 2586214 h 5061538"/>
              <a:gd name="connsiteX1716" fmla="*/ 558021 w 7919608"/>
              <a:gd name="connsiteY1716" fmla="*/ 2571905 h 5061538"/>
              <a:gd name="connsiteX1717" fmla="*/ 547290 w 7919608"/>
              <a:gd name="connsiteY1717" fmla="*/ 2557597 h 5061538"/>
              <a:gd name="connsiteX1718" fmla="*/ 540136 w 7919608"/>
              <a:gd name="connsiteY1718" fmla="*/ 2550443 h 5061538"/>
              <a:gd name="connsiteX1719" fmla="*/ 518674 w 7919608"/>
              <a:gd name="connsiteY1719" fmla="*/ 2546866 h 5061538"/>
              <a:gd name="connsiteX1720" fmla="*/ 493634 w 7919608"/>
              <a:gd name="connsiteY1720" fmla="*/ 2532558 h 5061538"/>
              <a:gd name="connsiteX1721" fmla="*/ 482903 w 7919608"/>
              <a:gd name="connsiteY1721" fmla="*/ 2525404 h 5061538"/>
              <a:gd name="connsiteX1722" fmla="*/ 475749 w 7919608"/>
              <a:gd name="connsiteY1722" fmla="*/ 2514673 h 5061538"/>
              <a:gd name="connsiteX1723" fmla="*/ 443556 w 7919608"/>
              <a:gd name="connsiteY1723" fmla="*/ 2468171 h 5061538"/>
              <a:gd name="connsiteX1724" fmla="*/ 418516 w 7919608"/>
              <a:gd name="connsiteY1724" fmla="*/ 2414515 h 5061538"/>
              <a:gd name="connsiteX1725" fmla="*/ 411362 w 7919608"/>
              <a:gd name="connsiteY1725" fmla="*/ 2393053 h 5061538"/>
              <a:gd name="connsiteX1726" fmla="*/ 400631 w 7919608"/>
              <a:gd name="connsiteY1726" fmla="*/ 2371590 h 5061538"/>
              <a:gd name="connsiteX1727" fmla="*/ 400631 w 7919608"/>
              <a:gd name="connsiteY1727" fmla="*/ 2346551 h 5061538"/>
              <a:gd name="connsiteX1728" fmla="*/ 411362 w 7919608"/>
              <a:gd name="connsiteY1728" fmla="*/ 2325088 h 5061538"/>
              <a:gd name="connsiteX1729" fmla="*/ 414939 w 7919608"/>
              <a:gd name="connsiteY1729" fmla="*/ 2310780 h 5061538"/>
              <a:gd name="connsiteX1730" fmla="*/ 411362 w 7919608"/>
              <a:gd name="connsiteY1730" fmla="*/ 2300049 h 5061538"/>
              <a:gd name="connsiteX1731" fmla="*/ 407785 w 7919608"/>
              <a:gd name="connsiteY1731" fmla="*/ 2289318 h 5061538"/>
              <a:gd name="connsiteX1732" fmla="*/ 393477 w 7919608"/>
              <a:gd name="connsiteY1732" fmla="*/ 2282164 h 5061538"/>
              <a:gd name="connsiteX1733" fmla="*/ 375591 w 7919608"/>
              <a:gd name="connsiteY1733" fmla="*/ 2267855 h 5061538"/>
              <a:gd name="connsiteX1734" fmla="*/ 361283 w 7919608"/>
              <a:gd name="connsiteY1734" fmla="*/ 2257124 h 5061538"/>
              <a:gd name="connsiteX1735" fmla="*/ 339821 w 7919608"/>
              <a:gd name="connsiteY1735" fmla="*/ 2221354 h 5061538"/>
              <a:gd name="connsiteX1736" fmla="*/ 304050 w 7919608"/>
              <a:gd name="connsiteY1736" fmla="*/ 2160544 h 5061538"/>
              <a:gd name="connsiteX1737" fmla="*/ 268280 w 7919608"/>
              <a:gd name="connsiteY1737" fmla="*/ 2103311 h 5061538"/>
              <a:gd name="connsiteX1738" fmla="*/ 236086 w 7919608"/>
              <a:gd name="connsiteY1738" fmla="*/ 2049655 h 5061538"/>
              <a:gd name="connsiteX1739" fmla="*/ 211047 w 7919608"/>
              <a:gd name="connsiteY1739" fmla="*/ 1988845 h 5061538"/>
              <a:gd name="connsiteX1740" fmla="*/ 193161 w 7919608"/>
              <a:gd name="connsiteY1740" fmla="*/ 1967383 h 5061538"/>
              <a:gd name="connsiteX1741" fmla="*/ 182430 w 7919608"/>
              <a:gd name="connsiteY1741" fmla="*/ 1945920 h 5061538"/>
              <a:gd name="connsiteX1742" fmla="*/ 168122 w 7919608"/>
              <a:gd name="connsiteY1742" fmla="*/ 1949497 h 5061538"/>
              <a:gd name="connsiteX1743" fmla="*/ 168122 w 7919608"/>
              <a:gd name="connsiteY1743" fmla="*/ 1988845 h 5061538"/>
              <a:gd name="connsiteX1744" fmla="*/ 178853 w 7919608"/>
              <a:gd name="connsiteY1744" fmla="*/ 2031770 h 5061538"/>
              <a:gd name="connsiteX1745" fmla="*/ 182430 w 7919608"/>
              <a:gd name="connsiteY1745" fmla="*/ 2078271 h 5061538"/>
              <a:gd name="connsiteX1746" fmla="*/ 182430 w 7919608"/>
              <a:gd name="connsiteY1746" fmla="*/ 2099734 h 5061538"/>
              <a:gd name="connsiteX1747" fmla="*/ 189584 w 7919608"/>
              <a:gd name="connsiteY1747" fmla="*/ 2117619 h 5061538"/>
              <a:gd name="connsiteX1748" fmla="*/ 200315 w 7919608"/>
              <a:gd name="connsiteY1748" fmla="*/ 2135504 h 5061538"/>
              <a:gd name="connsiteX1749" fmla="*/ 221778 w 7919608"/>
              <a:gd name="connsiteY1749" fmla="*/ 2149813 h 5061538"/>
              <a:gd name="connsiteX1750" fmla="*/ 232509 w 7919608"/>
              <a:gd name="connsiteY1750" fmla="*/ 2153389 h 5061538"/>
              <a:gd name="connsiteX1751" fmla="*/ 243240 w 7919608"/>
              <a:gd name="connsiteY1751" fmla="*/ 2160544 h 5061538"/>
              <a:gd name="connsiteX1752" fmla="*/ 257549 w 7919608"/>
              <a:gd name="connsiteY1752" fmla="*/ 2182006 h 5061538"/>
              <a:gd name="connsiteX1753" fmla="*/ 264703 w 7919608"/>
              <a:gd name="connsiteY1753" fmla="*/ 2203468 h 5061538"/>
              <a:gd name="connsiteX1754" fmla="*/ 268280 w 7919608"/>
              <a:gd name="connsiteY1754" fmla="*/ 2232085 h 5061538"/>
              <a:gd name="connsiteX1755" fmla="*/ 264703 w 7919608"/>
              <a:gd name="connsiteY1755" fmla="*/ 2246393 h 5061538"/>
              <a:gd name="connsiteX1756" fmla="*/ 257549 w 7919608"/>
              <a:gd name="connsiteY1756" fmla="*/ 2260701 h 5061538"/>
              <a:gd name="connsiteX1757" fmla="*/ 246817 w 7919608"/>
              <a:gd name="connsiteY1757" fmla="*/ 2264278 h 5061538"/>
              <a:gd name="connsiteX1758" fmla="*/ 228932 w 7919608"/>
              <a:gd name="connsiteY1758" fmla="*/ 2264278 h 5061538"/>
              <a:gd name="connsiteX1759" fmla="*/ 207470 w 7919608"/>
              <a:gd name="connsiteY1759" fmla="*/ 2257124 h 5061538"/>
              <a:gd name="connsiteX1760" fmla="*/ 189584 w 7919608"/>
              <a:gd name="connsiteY1760" fmla="*/ 2246393 h 5061538"/>
              <a:gd name="connsiteX1761" fmla="*/ 171699 w 7919608"/>
              <a:gd name="connsiteY1761" fmla="*/ 2232085 h 5061538"/>
              <a:gd name="connsiteX1762" fmla="*/ 160968 w 7919608"/>
              <a:gd name="connsiteY1762" fmla="*/ 2214199 h 5061538"/>
              <a:gd name="connsiteX1763" fmla="*/ 110889 w 7919608"/>
              <a:gd name="connsiteY1763" fmla="*/ 2114042 h 5061538"/>
              <a:gd name="connsiteX1764" fmla="*/ 60810 w 7919608"/>
              <a:gd name="connsiteY1764" fmla="*/ 2017461 h 5061538"/>
              <a:gd name="connsiteX1765" fmla="*/ 46502 w 7919608"/>
              <a:gd name="connsiteY1765" fmla="*/ 1988845 h 5061538"/>
              <a:gd name="connsiteX1766" fmla="*/ 39348 w 7919608"/>
              <a:gd name="connsiteY1766" fmla="*/ 1963805 h 5061538"/>
              <a:gd name="connsiteX1767" fmla="*/ 35771 w 7919608"/>
              <a:gd name="connsiteY1767" fmla="*/ 1931612 h 5061538"/>
              <a:gd name="connsiteX1768" fmla="*/ 42925 w 7919608"/>
              <a:gd name="connsiteY1768" fmla="*/ 1906573 h 5061538"/>
              <a:gd name="connsiteX1769" fmla="*/ 46502 w 7919608"/>
              <a:gd name="connsiteY1769" fmla="*/ 1885110 h 5061538"/>
              <a:gd name="connsiteX1770" fmla="*/ 42925 w 7919608"/>
              <a:gd name="connsiteY1770" fmla="*/ 1867225 h 5061538"/>
              <a:gd name="connsiteX1771" fmla="*/ 39348 w 7919608"/>
              <a:gd name="connsiteY1771" fmla="*/ 1845763 h 5061538"/>
              <a:gd name="connsiteX1772" fmla="*/ 28617 w 7919608"/>
              <a:gd name="connsiteY1772" fmla="*/ 1827877 h 5061538"/>
              <a:gd name="connsiteX1773" fmla="*/ 14308 w 7919608"/>
              <a:gd name="connsiteY1773" fmla="*/ 1802838 h 5061538"/>
              <a:gd name="connsiteX1774" fmla="*/ 3577 w 7919608"/>
              <a:gd name="connsiteY1774" fmla="*/ 1770644 h 5061538"/>
              <a:gd name="connsiteX1775" fmla="*/ 0 w 7919608"/>
              <a:gd name="connsiteY1775" fmla="*/ 1742028 h 5061538"/>
              <a:gd name="connsiteX1776" fmla="*/ 0 w 7919608"/>
              <a:gd name="connsiteY1776" fmla="*/ 1724142 h 5061538"/>
              <a:gd name="connsiteX1777" fmla="*/ 3577 w 7919608"/>
              <a:gd name="connsiteY1777" fmla="*/ 1706257 h 5061538"/>
              <a:gd name="connsiteX1778" fmla="*/ 28617 w 7919608"/>
              <a:gd name="connsiteY1778" fmla="*/ 1727720 h 5061538"/>
              <a:gd name="connsiteX1779" fmla="*/ 46502 w 7919608"/>
              <a:gd name="connsiteY1779" fmla="*/ 1756336 h 5061538"/>
              <a:gd name="connsiteX1780" fmla="*/ 60810 w 7919608"/>
              <a:gd name="connsiteY1780" fmla="*/ 1784953 h 5061538"/>
              <a:gd name="connsiteX1781" fmla="*/ 64387 w 7919608"/>
              <a:gd name="connsiteY1781" fmla="*/ 1817146 h 5061538"/>
              <a:gd name="connsiteX1782" fmla="*/ 75119 w 7919608"/>
              <a:gd name="connsiteY1782" fmla="*/ 1845763 h 5061538"/>
              <a:gd name="connsiteX1783" fmla="*/ 78696 w 7919608"/>
              <a:gd name="connsiteY1783" fmla="*/ 1860071 h 5061538"/>
              <a:gd name="connsiteX1784" fmla="*/ 85850 w 7919608"/>
              <a:gd name="connsiteY1784" fmla="*/ 1867225 h 5061538"/>
              <a:gd name="connsiteX1785" fmla="*/ 96581 w 7919608"/>
              <a:gd name="connsiteY1785" fmla="*/ 1870802 h 5061538"/>
              <a:gd name="connsiteX1786" fmla="*/ 107312 w 7919608"/>
              <a:gd name="connsiteY1786" fmla="*/ 1874379 h 5061538"/>
              <a:gd name="connsiteX1787" fmla="*/ 146660 w 7919608"/>
              <a:gd name="connsiteY1787" fmla="*/ 1881533 h 5061538"/>
              <a:gd name="connsiteX1788" fmla="*/ 146660 w 7919608"/>
              <a:gd name="connsiteY1788" fmla="*/ 1824300 h 5061538"/>
              <a:gd name="connsiteX1789" fmla="*/ 171699 w 7919608"/>
              <a:gd name="connsiteY1789" fmla="*/ 1824300 h 5061538"/>
              <a:gd name="connsiteX1790" fmla="*/ 200315 w 7919608"/>
              <a:gd name="connsiteY1790" fmla="*/ 1827877 h 5061538"/>
              <a:gd name="connsiteX1791" fmla="*/ 211047 w 7919608"/>
              <a:gd name="connsiteY1791" fmla="*/ 1817146 h 5061538"/>
              <a:gd name="connsiteX1792" fmla="*/ 214624 w 7919608"/>
              <a:gd name="connsiteY1792" fmla="*/ 1799261 h 5061538"/>
              <a:gd name="connsiteX1793" fmla="*/ 211047 w 7919608"/>
              <a:gd name="connsiteY1793" fmla="*/ 1781375 h 5061538"/>
              <a:gd name="connsiteX1794" fmla="*/ 211047 w 7919608"/>
              <a:gd name="connsiteY1794" fmla="*/ 1763490 h 5061538"/>
              <a:gd name="connsiteX1795" fmla="*/ 200315 w 7919608"/>
              <a:gd name="connsiteY1795" fmla="*/ 1716988 h 5061538"/>
              <a:gd name="connsiteX1796" fmla="*/ 186007 w 7919608"/>
              <a:gd name="connsiteY1796" fmla="*/ 1666910 h 5061538"/>
              <a:gd name="connsiteX1797" fmla="*/ 186007 w 7919608"/>
              <a:gd name="connsiteY1797" fmla="*/ 1652601 h 5061538"/>
              <a:gd name="connsiteX1798" fmla="*/ 186007 w 7919608"/>
              <a:gd name="connsiteY1798" fmla="*/ 1638293 h 5061538"/>
              <a:gd name="connsiteX1799" fmla="*/ 189584 w 7919608"/>
              <a:gd name="connsiteY1799" fmla="*/ 1623985 h 5061538"/>
              <a:gd name="connsiteX1800" fmla="*/ 200315 w 7919608"/>
              <a:gd name="connsiteY1800" fmla="*/ 1613254 h 5061538"/>
              <a:gd name="connsiteX1801" fmla="*/ 214624 w 7919608"/>
              <a:gd name="connsiteY1801" fmla="*/ 1602522 h 5061538"/>
              <a:gd name="connsiteX1802" fmla="*/ 232509 w 7919608"/>
              <a:gd name="connsiteY1802" fmla="*/ 1598945 h 5061538"/>
              <a:gd name="connsiteX1803" fmla="*/ 250394 w 7919608"/>
              <a:gd name="connsiteY1803" fmla="*/ 1598945 h 5061538"/>
              <a:gd name="connsiteX1804" fmla="*/ 268280 w 7919608"/>
              <a:gd name="connsiteY1804" fmla="*/ 1602522 h 5061538"/>
              <a:gd name="connsiteX1805" fmla="*/ 289742 w 7919608"/>
              <a:gd name="connsiteY1805" fmla="*/ 1620408 h 5061538"/>
              <a:gd name="connsiteX1806" fmla="*/ 311204 w 7919608"/>
              <a:gd name="connsiteY1806" fmla="*/ 1638293 h 5061538"/>
              <a:gd name="connsiteX1807" fmla="*/ 325513 w 7919608"/>
              <a:gd name="connsiteY1807" fmla="*/ 1656178 h 5061538"/>
              <a:gd name="connsiteX1808" fmla="*/ 336244 w 7919608"/>
              <a:gd name="connsiteY1808" fmla="*/ 1681218 h 5061538"/>
              <a:gd name="connsiteX1809" fmla="*/ 339821 w 7919608"/>
              <a:gd name="connsiteY1809" fmla="*/ 1706257 h 5061538"/>
              <a:gd name="connsiteX1810" fmla="*/ 350552 w 7919608"/>
              <a:gd name="connsiteY1810" fmla="*/ 1727720 h 5061538"/>
              <a:gd name="connsiteX1811" fmla="*/ 361283 w 7919608"/>
              <a:gd name="connsiteY1811" fmla="*/ 1745605 h 5061538"/>
              <a:gd name="connsiteX1812" fmla="*/ 379168 w 7919608"/>
              <a:gd name="connsiteY1812" fmla="*/ 1767067 h 5061538"/>
              <a:gd name="connsiteX1813" fmla="*/ 389900 w 7919608"/>
              <a:gd name="connsiteY1813" fmla="*/ 1738451 h 5061538"/>
              <a:gd name="connsiteX1814" fmla="*/ 389900 w 7919608"/>
              <a:gd name="connsiteY1814" fmla="*/ 1713411 h 5061538"/>
              <a:gd name="connsiteX1815" fmla="*/ 386322 w 7919608"/>
              <a:gd name="connsiteY1815" fmla="*/ 1688372 h 5061538"/>
              <a:gd name="connsiteX1816" fmla="*/ 372014 w 7919608"/>
              <a:gd name="connsiteY1816" fmla="*/ 1666910 h 5061538"/>
              <a:gd name="connsiteX1817" fmla="*/ 357706 w 7919608"/>
              <a:gd name="connsiteY1817" fmla="*/ 1645447 h 5061538"/>
              <a:gd name="connsiteX1818" fmla="*/ 350552 w 7919608"/>
              <a:gd name="connsiteY1818" fmla="*/ 1623985 h 5061538"/>
              <a:gd name="connsiteX1819" fmla="*/ 354129 w 7919608"/>
              <a:gd name="connsiteY1819" fmla="*/ 1598945 h 5061538"/>
              <a:gd name="connsiteX1820" fmla="*/ 357706 w 7919608"/>
              <a:gd name="connsiteY1820" fmla="*/ 1577483 h 5061538"/>
              <a:gd name="connsiteX1821" fmla="*/ 386322 w 7919608"/>
              <a:gd name="connsiteY1821" fmla="*/ 1513096 h 5061538"/>
              <a:gd name="connsiteX1822" fmla="*/ 393477 w 7919608"/>
              <a:gd name="connsiteY1822" fmla="*/ 1480902 h 5061538"/>
              <a:gd name="connsiteX1823" fmla="*/ 407785 w 7919608"/>
              <a:gd name="connsiteY1823" fmla="*/ 1448709 h 5061538"/>
              <a:gd name="connsiteX1824" fmla="*/ 411362 w 7919608"/>
              <a:gd name="connsiteY1824" fmla="*/ 1412938 h 5061538"/>
              <a:gd name="connsiteX1825" fmla="*/ 411362 w 7919608"/>
              <a:gd name="connsiteY1825" fmla="*/ 1377168 h 5061538"/>
              <a:gd name="connsiteX1826" fmla="*/ 411362 w 7919608"/>
              <a:gd name="connsiteY1826" fmla="*/ 1348551 h 5061538"/>
              <a:gd name="connsiteX1827" fmla="*/ 414939 w 7919608"/>
              <a:gd name="connsiteY1827" fmla="*/ 1319935 h 5061538"/>
              <a:gd name="connsiteX1828" fmla="*/ 422093 w 7919608"/>
              <a:gd name="connsiteY1828" fmla="*/ 1305627 h 5061538"/>
              <a:gd name="connsiteX1829" fmla="*/ 432824 w 7919608"/>
              <a:gd name="connsiteY1829" fmla="*/ 1298472 h 5061538"/>
              <a:gd name="connsiteX1830" fmla="*/ 439979 w 7919608"/>
              <a:gd name="connsiteY1830" fmla="*/ 1291318 h 5061538"/>
              <a:gd name="connsiteX1831" fmla="*/ 454287 w 7919608"/>
              <a:gd name="connsiteY1831" fmla="*/ 1291318 h 5061538"/>
              <a:gd name="connsiteX1832" fmla="*/ 465018 w 7919608"/>
              <a:gd name="connsiteY1832" fmla="*/ 1291318 h 5061538"/>
              <a:gd name="connsiteX1833" fmla="*/ 482903 w 7919608"/>
              <a:gd name="connsiteY1833" fmla="*/ 1298472 h 5061538"/>
              <a:gd name="connsiteX1834" fmla="*/ 500789 w 7919608"/>
              <a:gd name="connsiteY1834" fmla="*/ 1305627 h 5061538"/>
              <a:gd name="connsiteX1835" fmla="*/ 518674 w 7919608"/>
              <a:gd name="connsiteY1835" fmla="*/ 1305627 h 5061538"/>
              <a:gd name="connsiteX1836" fmla="*/ 547290 w 7919608"/>
              <a:gd name="connsiteY1836" fmla="*/ 1305627 h 5061538"/>
              <a:gd name="connsiteX1837" fmla="*/ 583061 w 7919608"/>
              <a:gd name="connsiteY1837" fmla="*/ 1305627 h 5061538"/>
              <a:gd name="connsiteX1838" fmla="*/ 615254 w 7919608"/>
              <a:gd name="connsiteY1838" fmla="*/ 1309204 h 5061538"/>
              <a:gd name="connsiteX1839" fmla="*/ 636717 w 7919608"/>
              <a:gd name="connsiteY1839" fmla="*/ 1259125 h 5061538"/>
              <a:gd name="connsiteX1840" fmla="*/ 647448 w 7919608"/>
              <a:gd name="connsiteY1840" fmla="*/ 1226931 h 5061538"/>
              <a:gd name="connsiteX1841" fmla="*/ 651025 w 7919608"/>
              <a:gd name="connsiteY1841" fmla="*/ 1209046 h 5061538"/>
              <a:gd name="connsiteX1842" fmla="*/ 651025 w 7919608"/>
              <a:gd name="connsiteY1842" fmla="*/ 1198315 h 5061538"/>
              <a:gd name="connsiteX1843" fmla="*/ 647448 w 7919608"/>
              <a:gd name="connsiteY1843" fmla="*/ 1184007 h 5061538"/>
              <a:gd name="connsiteX1844" fmla="*/ 643871 w 7919608"/>
              <a:gd name="connsiteY1844" fmla="*/ 1169698 h 5061538"/>
              <a:gd name="connsiteX1845" fmla="*/ 629563 w 7919608"/>
              <a:gd name="connsiteY1845" fmla="*/ 1158967 h 5061538"/>
              <a:gd name="connsiteX1846" fmla="*/ 618832 w 7919608"/>
              <a:gd name="connsiteY1846" fmla="*/ 1144659 h 5061538"/>
              <a:gd name="connsiteX1847" fmla="*/ 608100 w 7919608"/>
              <a:gd name="connsiteY1847" fmla="*/ 1133928 h 5061538"/>
              <a:gd name="connsiteX1848" fmla="*/ 604523 w 7919608"/>
              <a:gd name="connsiteY1848" fmla="*/ 1119620 h 5061538"/>
              <a:gd name="connsiteX1849" fmla="*/ 593792 w 7919608"/>
              <a:gd name="connsiteY1849" fmla="*/ 1094580 h 5061538"/>
              <a:gd name="connsiteX1850" fmla="*/ 579484 w 7919608"/>
              <a:gd name="connsiteY1850" fmla="*/ 1076695 h 5061538"/>
              <a:gd name="connsiteX1851" fmla="*/ 565175 w 7919608"/>
              <a:gd name="connsiteY1851" fmla="*/ 1073118 h 5061538"/>
              <a:gd name="connsiteX1852" fmla="*/ 554444 w 7919608"/>
              <a:gd name="connsiteY1852" fmla="*/ 1073118 h 5061538"/>
              <a:gd name="connsiteX1853" fmla="*/ 536559 w 7919608"/>
              <a:gd name="connsiteY1853" fmla="*/ 1083849 h 5061538"/>
              <a:gd name="connsiteX1854" fmla="*/ 515097 w 7919608"/>
              <a:gd name="connsiteY1854" fmla="*/ 1112465 h 5061538"/>
              <a:gd name="connsiteX1855" fmla="*/ 497212 w 7919608"/>
              <a:gd name="connsiteY1855" fmla="*/ 1141082 h 5061538"/>
              <a:gd name="connsiteX1856" fmla="*/ 490057 w 7919608"/>
              <a:gd name="connsiteY1856" fmla="*/ 1148236 h 5061538"/>
              <a:gd name="connsiteX1857" fmla="*/ 479326 w 7919608"/>
              <a:gd name="connsiteY1857" fmla="*/ 1158967 h 5061538"/>
              <a:gd name="connsiteX1858" fmla="*/ 472172 w 7919608"/>
              <a:gd name="connsiteY1858" fmla="*/ 1158967 h 5061538"/>
              <a:gd name="connsiteX1859" fmla="*/ 457864 w 7919608"/>
              <a:gd name="connsiteY1859" fmla="*/ 1155390 h 5061538"/>
              <a:gd name="connsiteX1860" fmla="*/ 450710 w 7919608"/>
              <a:gd name="connsiteY1860" fmla="*/ 1144659 h 5061538"/>
              <a:gd name="connsiteX1861" fmla="*/ 439979 w 7919608"/>
              <a:gd name="connsiteY1861" fmla="*/ 1137505 h 5061538"/>
              <a:gd name="connsiteX1862" fmla="*/ 439979 w 7919608"/>
              <a:gd name="connsiteY1862" fmla="*/ 1123197 h 5061538"/>
              <a:gd name="connsiteX1863" fmla="*/ 443556 w 7919608"/>
              <a:gd name="connsiteY1863" fmla="*/ 1116042 h 5061538"/>
              <a:gd name="connsiteX1864" fmla="*/ 457864 w 7919608"/>
              <a:gd name="connsiteY1864" fmla="*/ 1094580 h 5061538"/>
              <a:gd name="connsiteX1865" fmla="*/ 461441 w 7919608"/>
              <a:gd name="connsiteY1865" fmla="*/ 1073118 h 5061538"/>
              <a:gd name="connsiteX1866" fmla="*/ 457864 w 7919608"/>
              <a:gd name="connsiteY1866" fmla="*/ 1030193 h 5061538"/>
              <a:gd name="connsiteX1867" fmla="*/ 461441 w 7919608"/>
              <a:gd name="connsiteY1867" fmla="*/ 1012308 h 5061538"/>
              <a:gd name="connsiteX1868" fmla="*/ 461441 w 7919608"/>
              <a:gd name="connsiteY1868" fmla="*/ 994422 h 5061538"/>
              <a:gd name="connsiteX1869" fmla="*/ 479326 w 7919608"/>
              <a:gd name="connsiteY1869" fmla="*/ 962229 h 5061538"/>
              <a:gd name="connsiteX1870" fmla="*/ 493634 w 7919608"/>
              <a:gd name="connsiteY1870" fmla="*/ 937190 h 5061538"/>
              <a:gd name="connsiteX1871" fmla="*/ 497212 w 7919608"/>
              <a:gd name="connsiteY1871" fmla="*/ 912150 h 5061538"/>
              <a:gd name="connsiteX1872" fmla="*/ 497212 w 7919608"/>
              <a:gd name="connsiteY1872" fmla="*/ 887111 h 5061538"/>
              <a:gd name="connsiteX1873" fmla="*/ 490057 w 7919608"/>
              <a:gd name="connsiteY1873" fmla="*/ 854917 h 5061538"/>
              <a:gd name="connsiteX1874" fmla="*/ 482903 w 7919608"/>
              <a:gd name="connsiteY1874" fmla="*/ 844186 h 5061538"/>
              <a:gd name="connsiteX1875" fmla="*/ 482903 w 7919608"/>
              <a:gd name="connsiteY1875" fmla="*/ 829878 h 5061538"/>
              <a:gd name="connsiteX1876" fmla="*/ 482903 w 7919608"/>
              <a:gd name="connsiteY1876" fmla="*/ 794107 h 5061538"/>
              <a:gd name="connsiteX1877" fmla="*/ 482903 w 7919608"/>
              <a:gd name="connsiteY1877" fmla="*/ 772645 h 5061538"/>
              <a:gd name="connsiteX1878" fmla="*/ 493634 w 7919608"/>
              <a:gd name="connsiteY1878" fmla="*/ 754760 h 5061538"/>
              <a:gd name="connsiteX1879" fmla="*/ 504366 w 7919608"/>
              <a:gd name="connsiteY1879" fmla="*/ 751182 h 5061538"/>
              <a:gd name="connsiteX1880" fmla="*/ 525828 w 7919608"/>
              <a:gd name="connsiteY1880" fmla="*/ 744028 h 5061538"/>
              <a:gd name="connsiteX1881" fmla="*/ 547290 w 7919608"/>
              <a:gd name="connsiteY1881" fmla="*/ 744028 h 5061538"/>
              <a:gd name="connsiteX1882" fmla="*/ 565175 w 7919608"/>
              <a:gd name="connsiteY1882" fmla="*/ 733297 h 5061538"/>
              <a:gd name="connsiteX1883" fmla="*/ 579484 w 7919608"/>
              <a:gd name="connsiteY1883" fmla="*/ 722566 h 5061538"/>
              <a:gd name="connsiteX1884" fmla="*/ 583061 w 7919608"/>
              <a:gd name="connsiteY1884" fmla="*/ 704681 h 5061538"/>
              <a:gd name="connsiteX1885" fmla="*/ 583061 w 7919608"/>
              <a:gd name="connsiteY1885" fmla="*/ 701104 h 5061538"/>
              <a:gd name="connsiteX1886" fmla="*/ 575907 w 7919608"/>
              <a:gd name="connsiteY1886" fmla="*/ 690372 h 5061538"/>
              <a:gd name="connsiteX1887" fmla="*/ 561598 w 7919608"/>
              <a:gd name="connsiteY1887" fmla="*/ 683218 h 5061538"/>
              <a:gd name="connsiteX1888" fmla="*/ 518674 w 7919608"/>
              <a:gd name="connsiteY1888" fmla="*/ 679641 h 5061538"/>
              <a:gd name="connsiteX1889" fmla="*/ 475749 w 7919608"/>
              <a:gd name="connsiteY1889" fmla="*/ 679641 h 5061538"/>
              <a:gd name="connsiteX1890" fmla="*/ 457864 w 7919608"/>
              <a:gd name="connsiteY1890" fmla="*/ 679641 h 5061538"/>
              <a:gd name="connsiteX1891" fmla="*/ 439979 w 7919608"/>
              <a:gd name="connsiteY1891" fmla="*/ 668910 h 5061538"/>
              <a:gd name="connsiteX1892" fmla="*/ 422093 w 7919608"/>
              <a:gd name="connsiteY1892" fmla="*/ 661756 h 5061538"/>
              <a:gd name="connsiteX1893" fmla="*/ 411362 w 7919608"/>
              <a:gd name="connsiteY1893" fmla="*/ 640294 h 5061538"/>
              <a:gd name="connsiteX1894" fmla="*/ 454287 w 7919608"/>
              <a:gd name="connsiteY1894" fmla="*/ 583061 h 5061538"/>
              <a:gd name="connsiteX1895" fmla="*/ 500789 w 7919608"/>
              <a:gd name="connsiteY1895" fmla="*/ 525828 h 5061538"/>
              <a:gd name="connsiteX1896" fmla="*/ 518674 w 7919608"/>
              <a:gd name="connsiteY1896" fmla="*/ 504365 h 5061538"/>
              <a:gd name="connsiteX1897" fmla="*/ 525828 w 7919608"/>
              <a:gd name="connsiteY1897" fmla="*/ 490057 h 5061538"/>
              <a:gd name="connsiteX1898" fmla="*/ 532982 w 7919608"/>
              <a:gd name="connsiteY1898" fmla="*/ 468595 h 5061538"/>
              <a:gd name="connsiteX1899" fmla="*/ 532982 w 7919608"/>
              <a:gd name="connsiteY1899" fmla="*/ 443555 h 5061538"/>
              <a:gd name="connsiteX1900" fmla="*/ 525828 w 7919608"/>
              <a:gd name="connsiteY1900" fmla="*/ 393477 h 5061538"/>
              <a:gd name="connsiteX1901" fmla="*/ 522251 w 7919608"/>
              <a:gd name="connsiteY1901" fmla="*/ 346975 h 5061538"/>
              <a:gd name="connsiteX1902" fmla="*/ 522251 w 7919608"/>
              <a:gd name="connsiteY1902" fmla="*/ 332667 h 5061538"/>
              <a:gd name="connsiteX1903" fmla="*/ 532982 w 7919608"/>
              <a:gd name="connsiteY1903" fmla="*/ 325512 h 5061538"/>
              <a:gd name="connsiteX1904" fmla="*/ 543713 w 7919608"/>
              <a:gd name="connsiteY1904" fmla="*/ 318358 h 5061538"/>
              <a:gd name="connsiteX1905" fmla="*/ 565175 w 7919608"/>
              <a:gd name="connsiteY1905" fmla="*/ 325512 h 5061538"/>
              <a:gd name="connsiteX1906" fmla="*/ 565175 w 7919608"/>
              <a:gd name="connsiteY1906" fmla="*/ 350552 h 5061538"/>
              <a:gd name="connsiteX1907" fmla="*/ 565175 w 7919608"/>
              <a:gd name="connsiteY1907" fmla="*/ 375591 h 5061538"/>
              <a:gd name="connsiteX1908" fmla="*/ 568752 w 7919608"/>
              <a:gd name="connsiteY1908" fmla="*/ 397054 h 5061538"/>
              <a:gd name="connsiteX1909" fmla="*/ 583061 w 7919608"/>
              <a:gd name="connsiteY1909" fmla="*/ 411362 h 5061538"/>
              <a:gd name="connsiteX1910" fmla="*/ 604523 w 7919608"/>
              <a:gd name="connsiteY1910" fmla="*/ 422093 h 5061538"/>
              <a:gd name="connsiteX1911" fmla="*/ 622409 w 7919608"/>
              <a:gd name="connsiteY1911" fmla="*/ 432824 h 5061538"/>
              <a:gd name="connsiteX1912" fmla="*/ 636717 w 7919608"/>
              <a:gd name="connsiteY1912" fmla="*/ 432824 h 5061538"/>
              <a:gd name="connsiteX1913" fmla="*/ 647448 w 7919608"/>
              <a:gd name="connsiteY1913" fmla="*/ 432824 h 5061538"/>
              <a:gd name="connsiteX1914" fmla="*/ 661756 w 7919608"/>
              <a:gd name="connsiteY1914" fmla="*/ 432824 h 5061538"/>
              <a:gd name="connsiteX1915" fmla="*/ 668910 w 7919608"/>
              <a:gd name="connsiteY1915" fmla="*/ 422093 h 5061538"/>
              <a:gd name="connsiteX1916" fmla="*/ 679642 w 7919608"/>
              <a:gd name="connsiteY1916" fmla="*/ 411362 h 5061538"/>
              <a:gd name="connsiteX1917" fmla="*/ 683219 w 7919608"/>
              <a:gd name="connsiteY1917" fmla="*/ 397054 h 5061538"/>
              <a:gd name="connsiteX1918" fmla="*/ 686796 w 7919608"/>
              <a:gd name="connsiteY1918" fmla="*/ 379168 h 5061538"/>
              <a:gd name="connsiteX1919" fmla="*/ 690373 w 7919608"/>
              <a:gd name="connsiteY1919" fmla="*/ 354129 h 5061538"/>
              <a:gd name="connsiteX1920" fmla="*/ 697527 w 7919608"/>
              <a:gd name="connsiteY1920" fmla="*/ 332667 h 5061538"/>
              <a:gd name="connsiteX1921" fmla="*/ 708258 w 7919608"/>
              <a:gd name="connsiteY1921" fmla="*/ 314781 h 5061538"/>
              <a:gd name="connsiteX1922" fmla="*/ 722566 w 7919608"/>
              <a:gd name="connsiteY1922" fmla="*/ 293319 h 5061538"/>
              <a:gd name="connsiteX1923" fmla="*/ 733297 w 7919608"/>
              <a:gd name="connsiteY1923" fmla="*/ 282588 h 5061538"/>
              <a:gd name="connsiteX1924" fmla="*/ 744028 w 7919608"/>
              <a:gd name="connsiteY1924" fmla="*/ 264702 h 5061538"/>
              <a:gd name="connsiteX1925" fmla="*/ 761914 w 7919608"/>
              <a:gd name="connsiteY1925" fmla="*/ 225355 h 5061538"/>
              <a:gd name="connsiteX1926" fmla="*/ 772645 w 7919608"/>
              <a:gd name="connsiteY1926" fmla="*/ 203892 h 5061538"/>
              <a:gd name="connsiteX1927" fmla="*/ 783376 w 7919608"/>
              <a:gd name="connsiteY1927" fmla="*/ 200315 h 5061538"/>
              <a:gd name="connsiteX1928" fmla="*/ 786953 w 7919608"/>
              <a:gd name="connsiteY1928" fmla="*/ 193161 h 5061538"/>
              <a:gd name="connsiteX1929" fmla="*/ 794107 w 7919608"/>
              <a:gd name="connsiteY1929" fmla="*/ 193161 h 5061538"/>
              <a:gd name="connsiteX1930" fmla="*/ 804839 w 7919608"/>
              <a:gd name="connsiteY1930" fmla="*/ 200315 h 5061538"/>
              <a:gd name="connsiteX1931" fmla="*/ 826301 w 7919608"/>
              <a:gd name="connsiteY1931" fmla="*/ 211047 h 5061538"/>
              <a:gd name="connsiteX1932" fmla="*/ 869226 w 7919608"/>
              <a:gd name="connsiteY1932" fmla="*/ 246817 h 5061538"/>
              <a:gd name="connsiteX1933" fmla="*/ 894265 w 7919608"/>
              <a:gd name="connsiteY1933" fmla="*/ 286165 h 5061538"/>
              <a:gd name="connsiteX1934" fmla="*/ 908573 w 7919608"/>
              <a:gd name="connsiteY1934" fmla="*/ 307627 h 5061538"/>
              <a:gd name="connsiteX1935" fmla="*/ 915727 w 7919608"/>
              <a:gd name="connsiteY1935" fmla="*/ 332667 h 5061538"/>
              <a:gd name="connsiteX1936" fmla="*/ 930035 w 7919608"/>
              <a:gd name="connsiteY1936" fmla="*/ 386322 h 5061538"/>
              <a:gd name="connsiteX1937" fmla="*/ 933612 w 7919608"/>
              <a:gd name="connsiteY1937" fmla="*/ 400631 h 5061538"/>
              <a:gd name="connsiteX1938" fmla="*/ 937190 w 7919608"/>
              <a:gd name="connsiteY1938" fmla="*/ 414939 h 5061538"/>
              <a:gd name="connsiteX1939" fmla="*/ 958652 w 7919608"/>
              <a:gd name="connsiteY1939" fmla="*/ 443555 h 5061538"/>
              <a:gd name="connsiteX1940" fmla="*/ 980114 w 7919608"/>
              <a:gd name="connsiteY1940" fmla="*/ 472172 h 5061538"/>
              <a:gd name="connsiteX1941" fmla="*/ 1008731 w 7919608"/>
              <a:gd name="connsiteY1941" fmla="*/ 493634 h 5061538"/>
              <a:gd name="connsiteX1942" fmla="*/ 1023039 w 7919608"/>
              <a:gd name="connsiteY1942" fmla="*/ 504365 h 5061538"/>
              <a:gd name="connsiteX1943" fmla="*/ 1037347 w 7919608"/>
              <a:gd name="connsiteY1943" fmla="*/ 522251 h 5061538"/>
              <a:gd name="connsiteX1944" fmla="*/ 1040924 w 7919608"/>
              <a:gd name="connsiteY1944" fmla="*/ 540136 h 5061538"/>
              <a:gd name="connsiteX1945" fmla="*/ 1037347 w 7919608"/>
              <a:gd name="connsiteY1945" fmla="*/ 561598 h 5061538"/>
              <a:gd name="connsiteX1946" fmla="*/ 1037347 w 7919608"/>
              <a:gd name="connsiteY1946" fmla="*/ 572329 h 5061538"/>
              <a:gd name="connsiteX1947" fmla="*/ 1040924 w 7919608"/>
              <a:gd name="connsiteY1947" fmla="*/ 579484 h 5061538"/>
              <a:gd name="connsiteX1948" fmla="*/ 1040924 w 7919608"/>
              <a:gd name="connsiteY1948" fmla="*/ 586638 h 5061538"/>
              <a:gd name="connsiteX1949" fmla="*/ 1044501 w 7919608"/>
              <a:gd name="connsiteY1949" fmla="*/ 593792 h 5061538"/>
              <a:gd name="connsiteX1950" fmla="*/ 1065964 w 7919608"/>
              <a:gd name="connsiteY1950" fmla="*/ 586638 h 5061538"/>
              <a:gd name="connsiteX1951" fmla="*/ 1083849 w 7919608"/>
              <a:gd name="connsiteY1951" fmla="*/ 583061 h 5061538"/>
              <a:gd name="connsiteX1952" fmla="*/ 1094580 w 7919608"/>
              <a:gd name="connsiteY1952" fmla="*/ 575907 h 5061538"/>
              <a:gd name="connsiteX1953" fmla="*/ 1098157 w 7919608"/>
              <a:gd name="connsiteY1953" fmla="*/ 561598 h 5061538"/>
              <a:gd name="connsiteX1954" fmla="*/ 1105311 w 7919608"/>
              <a:gd name="connsiteY1954" fmla="*/ 547290 h 5061538"/>
              <a:gd name="connsiteX1955" fmla="*/ 1116043 w 7919608"/>
              <a:gd name="connsiteY1955" fmla="*/ 540136 h 5061538"/>
              <a:gd name="connsiteX1956" fmla="*/ 1126774 w 7919608"/>
              <a:gd name="connsiteY1956" fmla="*/ 532982 h 5061538"/>
              <a:gd name="connsiteX1957" fmla="*/ 1155390 w 7919608"/>
              <a:gd name="connsiteY1957" fmla="*/ 522251 h 5061538"/>
              <a:gd name="connsiteX1958" fmla="*/ 1184007 w 7919608"/>
              <a:gd name="connsiteY1958" fmla="*/ 525828 h 5061538"/>
              <a:gd name="connsiteX1959" fmla="*/ 1184007 w 7919608"/>
              <a:gd name="connsiteY1959" fmla="*/ 500788 h 5061538"/>
              <a:gd name="connsiteX1960" fmla="*/ 1184007 w 7919608"/>
              <a:gd name="connsiteY1960" fmla="*/ 479326 h 5061538"/>
              <a:gd name="connsiteX1961" fmla="*/ 1180430 w 7919608"/>
              <a:gd name="connsiteY1961" fmla="*/ 450709 h 5061538"/>
              <a:gd name="connsiteX1962" fmla="*/ 1169699 w 7919608"/>
              <a:gd name="connsiteY1962" fmla="*/ 439978 h 5061538"/>
              <a:gd name="connsiteX1963" fmla="*/ 1158967 w 7919608"/>
              <a:gd name="connsiteY1963" fmla="*/ 432824 h 5061538"/>
              <a:gd name="connsiteX1964" fmla="*/ 1144659 w 7919608"/>
              <a:gd name="connsiteY1964" fmla="*/ 432824 h 5061538"/>
              <a:gd name="connsiteX1965" fmla="*/ 1133928 w 7919608"/>
              <a:gd name="connsiteY1965" fmla="*/ 436401 h 5061538"/>
              <a:gd name="connsiteX1966" fmla="*/ 1116043 w 7919608"/>
              <a:gd name="connsiteY1966" fmla="*/ 454287 h 5061538"/>
              <a:gd name="connsiteX1967" fmla="*/ 1101734 w 7919608"/>
              <a:gd name="connsiteY1967" fmla="*/ 461441 h 5061538"/>
              <a:gd name="connsiteX1968" fmla="*/ 1087426 w 7919608"/>
              <a:gd name="connsiteY1968" fmla="*/ 472172 h 5061538"/>
              <a:gd name="connsiteX1969" fmla="*/ 1076695 w 7919608"/>
              <a:gd name="connsiteY1969" fmla="*/ 475749 h 5061538"/>
              <a:gd name="connsiteX1970" fmla="*/ 1062387 w 7919608"/>
              <a:gd name="connsiteY1970" fmla="*/ 475749 h 5061538"/>
              <a:gd name="connsiteX1971" fmla="*/ 1055233 w 7919608"/>
              <a:gd name="connsiteY1971" fmla="*/ 472172 h 5061538"/>
              <a:gd name="connsiteX1972" fmla="*/ 1044501 w 7919608"/>
              <a:gd name="connsiteY1972" fmla="*/ 461441 h 5061538"/>
              <a:gd name="connsiteX1973" fmla="*/ 1037347 w 7919608"/>
              <a:gd name="connsiteY1973" fmla="*/ 450709 h 5061538"/>
              <a:gd name="connsiteX1974" fmla="*/ 1033770 w 7919608"/>
              <a:gd name="connsiteY1974" fmla="*/ 432824 h 5061538"/>
              <a:gd name="connsiteX1975" fmla="*/ 1019462 w 7919608"/>
              <a:gd name="connsiteY1975" fmla="*/ 397054 h 5061538"/>
              <a:gd name="connsiteX1976" fmla="*/ 1008731 w 7919608"/>
              <a:gd name="connsiteY1976" fmla="*/ 364860 h 5061538"/>
              <a:gd name="connsiteX1977" fmla="*/ 983691 w 7919608"/>
              <a:gd name="connsiteY1977" fmla="*/ 332667 h 5061538"/>
              <a:gd name="connsiteX1978" fmla="*/ 958652 w 7919608"/>
              <a:gd name="connsiteY1978" fmla="*/ 307627 h 5061538"/>
              <a:gd name="connsiteX1979" fmla="*/ 951498 w 7919608"/>
              <a:gd name="connsiteY1979" fmla="*/ 296896 h 5061538"/>
              <a:gd name="connsiteX1980" fmla="*/ 940767 w 7919608"/>
              <a:gd name="connsiteY1980" fmla="*/ 282588 h 5061538"/>
              <a:gd name="connsiteX1981" fmla="*/ 937190 w 7919608"/>
              <a:gd name="connsiteY1981" fmla="*/ 246817 h 5061538"/>
              <a:gd name="connsiteX1982" fmla="*/ 933612 w 7919608"/>
              <a:gd name="connsiteY1982" fmla="*/ 228932 h 5061538"/>
              <a:gd name="connsiteX1983" fmla="*/ 930035 w 7919608"/>
              <a:gd name="connsiteY1983" fmla="*/ 211047 h 5061538"/>
              <a:gd name="connsiteX1984" fmla="*/ 919304 w 7919608"/>
              <a:gd name="connsiteY1984" fmla="*/ 200315 h 5061538"/>
              <a:gd name="connsiteX1985" fmla="*/ 908573 w 7919608"/>
              <a:gd name="connsiteY1985" fmla="*/ 186007 h 5061538"/>
              <a:gd name="connsiteX1986" fmla="*/ 887111 w 7919608"/>
              <a:gd name="connsiteY1986" fmla="*/ 157391 h 5061538"/>
              <a:gd name="connsiteX1987" fmla="*/ 876380 w 7919608"/>
              <a:gd name="connsiteY1987" fmla="*/ 143082 h 5061538"/>
              <a:gd name="connsiteX1988" fmla="*/ 876380 w 7919608"/>
              <a:gd name="connsiteY1988" fmla="*/ 128774 h 5061538"/>
              <a:gd name="connsiteX1989" fmla="*/ 876380 w 7919608"/>
              <a:gd name="connsiteY1989" fmla="*/ 118043 h 5061538"/>
              <a:gd name="connsiteX1990" fmla="*/ 879957 w 7919608"/>
              <a:gd name="connsiteY1990" fmla="*/ 103735 h 5061538"/>
              <a:gd name="connsiteX1991" fmla="*/ 904996 w 7919608"/>
              <a:gd name="connsiteY1991" fmla="*/ 75118 h 5061538"/>
              <a:gd name="connsiteX1992" fmla="*/ 926458 w 7919608"/>
              <a:gd name="connsiteY1992" fmla="*/ 42925 h 5061538"/>
              <a:gd name="connsiteX1993" fmla="*/ 951498 w 7919608"/>
              <a:gd name="connsiteY1993" fmla="*/ 14308 h 5061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</a:cxnLst>
            <a:rect l="l" t="t" r="r" b="b"/>
            <a:pathLst>
              <a:path w="7919608" h="5061538">
                <a:moveTo>
                  <a:pt x="969383" y="0"/>
                </a:moveTo>
                <a:lnTo>
                  <a:pt x="980114" y="0"/>
                </a:lnTo>
                <a:lnTo>
                  <a:pt x="994423" y="3577"/>
                </a:lnTo>
                <a:lnTo>
                  <a:pt x="1001577" y="17885"/>
                </a:lnTo>
                <a:lnTo>
                  <a:pt x="1030193" y="46502"/>
                </a:lnTo>
                <a:lnTo>
                  <a:pt x="1044501" y="82272"/>
                </a:lnTo>
                <a:lnTo>
                  <a:pt x="1055233" y="100158"/>
                </a:lnTo>
                <a:lnTo>
                  <a:pt x="1058810" y="118043"/>
                </a:lnTo>
                <a:lnTo>
                  <a:pt x="1058810" y="132351"/>
                </a:lnTo>
                <a:lnTo>
                  <a:pt x="1058810" y="157391"/>
                </a:lnTo>
                <a:lnTo>
                  <a:pt x="1058810" y="168122"/>
                </a:lnTo>
                <a:lnTo>
                  <a:pt x="1062387" y="182430"/>
                </a:lnTo>
                <a:lnTo>
                  <a:pt x="1073118" y="207469"/>
                </a:lnTo>
                <a:lnTo>
                  <a:pt x="1098157" y="296896"/>
                </a:lnTo>
                <a:lnTo>
                  <a:pt x="1105311" y="318358"/>
                </a:lnTo>
                <a:lnTo>
                  <a:pt x="1126774" y="307627"/>
                </a:lnTo>
                <a:lnTo>
                  <a:pt x="1144659" y="289742"/>
                </a:lnTo>
                <a:lnTo>
                  <a:pt x="1158967" y="268279"/>
                </a:lnTo>
                <a:lnTo>
                  <a:pt x="1162544" y="246817"/>
                </a:lnTo>
                <a:lnTo>
                  <a:pt x="1162544" y="225355"/>
                </a:lnTo>
                <a:lnTo>
                  <a:pt x="1162544" y="207469"/>
                </a:lnTo>
                <a:lnTo>
                  <a:pt x="1169699" y="193161"/>
                </a:lnTo>
                <a:lnTo>
                  <a:pt x="1180430" y="178853"/>
                </a:lnTo>
                <a:lnTo>
                  <a:pt x="1191161" y="186007"/>
                </a:lnTo>
                <a:lnTo>
                  <a:pt x="1191161" y="211047"/>
                </a:lnTo>
                <a:lnTo>
                  <a:pt x="1198315" y="236086"/>
                </a:lnTo>
                <a:lnTo>
                  <a:pt x="1205469" y="261125"/>
                </a:lnTo>
                <a:lnTo>
                  <a:pt x="1219777" y="275434"/>
                </a:lnTo>
                <a:lnTo>
                  <a:pt x="1230509" y="293319"/>
                </a:lnTo>
                <a:lnTo>
                  <a:pt x="1248394" y="311204"/>
                </a:lnTo>
                <a:lnTo>
                  <a:pt x="1269856" y="325512"/>
                </a:lnTo>
                <a:lnTo>
                  <a:pt x="1291318" y="336244"/>
                </a:lnTo>
                <a:lnTo>
                  <a:pt x="1305627" y="346975"/>
                </a:lnTo>
                <a:lnTo>
                  <a:pt x="1319935" y="357706"/>
                </a:lnTo>
                <a:lnTo>
                  <a:pt x="1323512" y="372014"/>
                </a:lnTo>
                <a:lnTo>
                  <a:pt x="1323512" y="386322"/>
                </a:lnTo>
                <a:lnTo>
                  <a:pt x="1319935" y="407785"/>
                </a:lnTo>
                <a:lnTo>
                  <a:pt x="1323512" y="422093"/>
                </a:lnTo>
                <a:lnTo>
                  <a:pt x="1327089" y="439978"/>
                </a:lnTo>
                <a:lnTo>
                  <a:pt x="1334243" y="457864"/>
                </a:lnTo>
                <a:lnTo>
                  <a:pt x="1352129" y="482903"/>
                </a:lnTo>
                <a:lnTo>
                  <a:pt x="1373591" y="515097"/>
                </a:lnTo>
                <a:lnTo>
                  <a:pt x="1395053" y="536559"/>
                </a:lnTo>
                <a:lnTo>
                  <a:pt x="1416516" y="558021"/>
                </a:lnTo>
                <a:lnTo>
                  <a:pt x="1445132" y="572329"/>
                </a:lnTo>
                <a:lnTo>
                  <a:pt x="1473748" y="583061"/>
                </a:lnTo>
                <a:lnTo>
                  <a:pt x="1491634" y="597369"/>
                </a:lnTo>
                <a:lnTo>
                  <a:pt x="1509519" y="604523"/>
                </a:lnTo>
                <a:lnTo>
                  <a:pt x="1527404" y="622408"/>
                </a:lnTo>
                <a:lnTo>
                  <a:pt x="1534559" y="643871"/>
                </a:lnTo>
                <a:lnTo>
                  <a:pt x="1541713" y="651025"/>
                </a:lnTo>
                <a:lnTo>
                  <a:pt x="1552444" y="665333"/>
                </a:lnTo>
                <a:lnTo>
                  <a:pt x="1573906" y="683218"/>
                </a:lnTo>
                <a:lnTo>
                  <a:pt x="1591791" y="686795"/>
                </a:lnTo>
                <a:lnTo>
                  <a:pt x="1598946" y="683218"/>
                </a:lnTo>
                <a:lnTo>
                  <a:pt x="1602523" y="683218"/>
                </a:lnTo>
                <a:lnTo>
                  <a:pt x="1613254" y="665333"/>
                </a:lnTo>
                <a:lnTo>
                  <a:pt x="1616831" y="658179"/>
                </a:lnTo>
                <a:lnTo>
                  <a:pt x="1616831" y="647448"/>
                </a:lnTo>
                <a:lnTo>
                  <a:pt x="1598946" y="618831"/>
                </a:lnTo>
                <a:lnTo>
                  <a:pt x="1581060" y="586638"/>
                </a:lnTo>
                <a:lnTo>
                  <a:pt x="1563175" y="561598"/>
                </a:lnTo>
                <a:lnTo>
                  <a:pt x="1559598" y="536559"/>
                </a:lnTo>
                <a:lnTo>
                  <a:pt x="1556021" y="511519"/>
                </a:lnTo>
                <a:lnTo>
                  <a:pt x="1559598" y="479326"/>
                </a:lnTo>
                <a:lnTo>
                  <a:pt x="1563175" y="472172"/>
                </a:lnTo>
                <a:lnTo>
                  <a:pt x="1570329" y="457864"/>
                </a:lnTo>
                <a:lnTo>
                  <a:pt x="1584637" y="439978"/>
                </a:lnTo>
                <a:lnTo>
                  <a:pt x="1598946" y="429247"/>
                </a:lnTo>
                <a:lnTo>
                  <a:pt x="1613254" y="429247"/>
                </a:lnTo>
                <a:lnTo>
                  <a:pt x="1620408" y="436401"/>
                </a:lnTo>
                <a:lnTo>
                  <a:pt x="1634716" y="450709"/>
                </a:lnTo>
                <a:lnTo>
                  <a:pt x="1659755" y="500788"/>
                </a:lnTo>
                <a:lnTo>
                  <a:pt x="1688372" y="547290"/>
                </a:lnTo>
                <a:lnTo>
                  <a:pt x="1702680" y="561598"/>
                </a:lnTo>
                <a:lnTo>
                  <a:pt x="1716988" y="572329"/>
                </a:lnTo>
                <a:lnTo>
                  <a:pt x="1734874" y="572329"/>
                </a:lnTo>
                <a:lnTo>
                  <a:pt x="1749182" y="558021"/>
                </a:lnTo>
                <a:lnTo>
                  <a:pt x="1763490" y="547290"/>
                </a:lnTo>
                <a:lnTo>
                  <a:pt x="1777798" y="540136"/>
                </a:lnTo>
                <a:lnTo>
                  <a:pt x="1802838" y="532982"/>
                </a:lnTo>
                <a:lnTo>
                  <a:pt x="1831454" y="532982"/>
                </a:lnTo>
                <a:lnTo>
                  <a:pt x="1860071" y="532982"/>
                </a:lnTo>
                <a:lnTo>
                  <a:pt x="1881533" y="536559"/>
                </a:lnTo>
                <a:lnTo>
                  <a:pt x="1888687" y="543713"/>
                </a:lnTo>
                <a:lnTo>
                  <a:pt x="1895841" y="558021"/>
                </a:lnTo>
                <a:lnTo>
                  <a:pt x="1892264" y="575907"/>
                </a:lnTo>
                <a:lnTo>
                  <a:pt x="1888687" y="604523"/>
                </a:lnTo>
                <a:lnTo>
                  <a:pt x="1881533" y="629562"/>
                </a:lnTo>
                <a:lnTo>
                  <a:pt x="1867225" y="651025"/>
                </a:lnTo>
                <a:lnTo>
                  <a:pt x="1845762" y="668910"/>
                </a:lnTo>
                <a:lnTo>
                  <a:pt x="1860071" y="690372"/>
                </a:lnTo>
                <a:lnTo>
                  <a:pt x="1870802" y="708258"/>
                </a:lnTo>
                <a:lnTo>
                  <a:pt x="1885110" y="718989"/>
                </a:lnTo>
                <a:lnTo>
                  <a:pt x="1895841" y="722566"/>
                </a:lnTo>
                <a:lnTo>
                  <a:pt x="1913727" y="722566"/>
                </a:lnTo>
                <a:lnTo>
                  <a:pt x="1931612" y="718989"/>
                </a:lnTo>
                <a:lnTo>
                  <a:pt x="1945920" y="708258"/>
                </a:lnTo>
                <a:lnTo>
                  <a:pt x="1967383" y="690372"/>
                </a:lnTo>
                <a:lnTo>
                  <a:pt x="1995999" y="658179"/>
                </a:lnTo>
                <a:lnTo>
                  <a:pt x="2028192" y="618831"/>
                </a:lnTo>
                <a:lnTo>
                  <a:pt x="2038924" y="604523"/>
                </a:lnTo>
                <a:lnTo>
                  <a:pt x="2046078" y="586638"/>
                </a:lnTo>
                <a:lnTo>
                  <a:pt x="2038924" y="572329"/>
                </a:lnTo>
                <a:lnTo>
                  <a:pt x="2028192" y="558021"/>
                </a:lnTo>
                <a:lnTo>
                  <a:pt x="2010307" y="532982"/>
                </a:lnTo>
                <a:lnTo>
                  <a:pt x="2006730" y="522251"/>
                </a:lnTo>
                <a:lnTo>
                  <a:pt x="2010307" y="515097"/>
                </a:lnTo>
                <a:lnTo>
                  <a:pt x="2010307" y="504365"/>
                </a:lnTo>
                <a:lnTo>
                  <a:pt x="2017461" y="500788"/>
                </a:lnTo>
                <a:lnTo>
                  <a:pt x="2049655" y="490057"/>
                </a:lnTo>
                <a:lnTo>
                  <a:pt x="2067540" y="479326"/>
                </a:lnTo>
                <a:lnTo>
                  <a:pt x="2071117" y="457864"/>
                </a:lnTo>
                <a:lnTo>
                  <a:pt x="2078271" y="432824"/>
                </a:lnTo>
                <a:lnTo>
                  <a:pt x="2089002" y="418516"/>
                </a:lnTo>
                <a:lnTo>
                  <a:pt x="2103311" y="411362"/>
                </a:lnTo>
                <a:lnTo>
                  <a:pt x="2121196" y="407785"/>
                </a:lnTo>
                <a:lnTo>
                  <a:pt x="2142658" y="414939"/>
                </a:lnTo>
                <a:lnTo>
                  <a:pt x="2160544" y="429247"/>
                </a:lnTo>
                <a:lnTo>
                  <a:pt x="2171275" y="450709"/>
                </a:lnTo>
                <a:lnTo>
                  <a:pt x="2174852" y="472172"/>
                </a:lnTo>
                <a:lnTo>
                  <a:pt x="2174852" y="500788"/>
                </a:lnTo>
                <a:lnTo>
                  <a:pt x="2182006" y="525828"/>
                </a:lnTo>
                <a:lnTo>
                  <a:pt x="2196314" y="558021"/>
                </a:lnTo>
                <a:lnTo>
                  <a:pt x="2207045" y="583061"/>
                </a:lnTo>
                <a:lnTo>
                  <a:pt x="2239239" y="640294"/>
                </a:lnTo>
                <a:lnTo>
                  <a:pt x="2253547" y="668910"/>
                </a:lnTo>
                <a:lnTo>
                  <a:pt x="2260701" y="704681"/>
                </a:lnTo>
                <a:lnTo>
                  <a:pt x="2264278" y="718989"/>
                </a:lnTo>
                <a:lnTo>
                  <a:pt x="2275009" y="729720"/>
                </a:lnTo>
                <a:lnTo>
                  <a:pt x="2282164" y="740451"/>
                </a:lnTo>
                <a:lnTo>
                  <a:pt x="2296472" y="747605"/>
                </a:lnTo>
                <a:lnTo>
                  <a:pt x="2307203" y="747605"/>
                </a:lnTo>
                <a:lnTo>
                  <a:pt x="2321511" y="747605"/>
                </a:lnTo>
                <a:lnTo>
                  <a:pt x="2332242" y="744028"/>
                </a:lnTo>
                <a:lnTo>
                  <a:pt x="2346551" y="733297"/>
                </a:lnTo>
                <a:lnTo>
                  <a:pt x="2371590" y="708258"/>
                </a:lnTo>
                <a:lnTo>
                  <a:pt x="2400207" y="679641"/>
                </a:lnTo>
                <a:lnTo>
                  <a:pt x="2357282" y="661756"/>
                </a:lnTo>
                <a:lnTo>
                  <a:pt x="2332242" y="651025"/>
                </a:lnTo>
                <a:lnTo>
                  <a:pt x="2310780" y="640294"/>
                </a:lnTo>
                <a:lnTo>
                  <a:pt x="2289318" y="615254"/>
                </a:lnTo>
                <a:lnTo>
                  <a:pt x="2285741" y="604523"/>
                </a:lnTo>
                <a:lnTo>
                  <a:pt x="2285741" y="597369"/>
                </a:lnTo>
                <a:lnTo>
                  <a:pt x="2289318" y="593792"/>
                </a:lnTo>
                <a:lnTo>
                  <a:pt x="2296472" y="583061"/>
                </a:lnTo>
                <a:lnTo>
                  <a:pt x="2325088" y="572329"/>
                </a:lnTo>
                <a:lnTo>
                  <a:pt x="2342974" y="561598"/>
                </a:lnTo>
                <a:lnTo>
                  <a:pt x="2350128" y="547290"/>
                </a:lnTo>
                <a:lnTo>
                  <a:pt x="2357282" y="536559"/>
                </a:lnTo>
                <a:lnTo>
                  <a:pt x="2360859" y="518674"/>
                </a:lnTo>
                <a:lnTo>
                  <a:pt x="2364436" y="490057"/>
                </a:lnTo>
                <a:lnTo>
                  <a:pt x="2368013" y="475749"/>
                </a:lnTo>
                <a:lnTo>
                  <a:pt x="2371590" y="468595"/>
                </a:lnTo>
                <a:lnTo>
                  <a:pt x="2382321" y="457864"/>
                </a:lnTo>
                <a:lnTo>
                  <a:pt x="2393052" y="454287"/>
                </a:lnTo>
                <a:lnTo>
                  <a:pt x="2425246" y="450709"/>
                </a:lnTo>
                <a:lnTo>
                  <a:pt x="2446708" y="450709"/>
                </a:lnTo>
                <a:lnTo>
                  <a:pt x="2464594" y="454287"/>
                </a:lnTo>
                <a:lnTo>
                  <a:pt x="2486056" y="461441"/>
                </a:lnTo>
                <a:lnTo>
                  <a:pt x="2503941" y="472172"/>
                </a:lnTo>
                <a:lnTo>
                  <a:pt x="2532558" y="493634"/>
                </a:lnTo>
                <a:lnTo>
                  <a:pt x="2564751" y="511519"/>
                </a:lnTo>
                <a:lnTo>
                  <a:pt x="2596945" y="518674"/>
                </a:lnTo>
                <a:lnTo>
                  <a:pt x="2632715" y="522251"/>
                </a:lnTo>
                <a:lnTo>
                  <a:pt x="2650601" y="522251"/>
                </a:lnTo>
                <a:lnTo>
                  <a:pt x="2668486" y="525828"/>
                </a:lnTo>
                <a:lnTo>
                  <a:pt x="2675640" y="511519"/>
                </a:lnTo>
                <a:lnTo>
                  <a:pt x="2682794" y="497211"/>
                </a:lnTo>
                <a:lnTo>
                  <a:pt x="2689948" y="482903"/>
                </a:lnTo>
                <a:lnTo>
                  <a:pt x="2689948" y="472172"/>
                </a:lnTo>
                <a:lnTo>
                  <a:pt x="2682794" y="457864"/>
                </a:lnTo>
                <a:lnTo>
                  <a:pt x="2672063" y="450709"/>
                </a:lnTo>
                <a:lnTo>
                  <a:pt x="2657755" y="443555"/>
                </a:lnTo>
                <a:lnTo>
                  <a:pt x="2639869" y="436401"/>
                </a:lnTo>
                <a:lnTo>
                  <a:pt x="2607676" y="432824"/>
                </a:lnTo>
                <a:lnTo>
                  <a:pt x="2571905" y="422093"/>
                </a:lnTo>
                <a:lnTo>
                  <a:pt x="2557597" y="422093"/>
                </a:lnTo>
                <a:lnTo>
                  <a:pt x="2546866" y="414939"/>
                </a:lnTo>
                <a:lnTo>
                  <a:pt x="2539712" y="407785"/>
                </a:lnTo>
                <a:lnTo>
                  <a:pt x="2536135" y="393477"/>
                </a:lnTo>
                <a:lnTo>
                  <a:pt x="2536135" y="379168"/>
                </a:lnTo>
                <a:lnTo>
                  <a:pt x="2539712" y="368437"/>
                </a:lnTo>
                <a:lnTo>
                  <a:pt x="2550443" y="364860"/>
                </a:lnTo>
                <a:lnTo>
                  <a:pt x="2564751" y="354129"/>
                </a:lnTo>
                <a:lnTo>
                  <a:pt x="2614830" y="329089"/>
                </a:lnTo>
                <a:lnTo>
                  <a:pt x="2661332" y="296896"/>
                </a:lnTo>
                <a:lnTo>
                  <a:pt x="2675640" y="286165"/>
                </a:lnTo>
                <a:lnTo>
                  <a:pt x="2679217" y="264702"/>
                </a:lnTo>
                <a:lnTo>
                  <a:pt x="2682794" y="246817"/>
                </a:lnTo>
                <a:lnTo>
                  <a:pt x="2689948" y="225355"/>
                </a:lnTo>
                <a:lnTo>
                  <a:pt x="2697102" y="207469"/>
                </a:lnTo>
                <a:lnTo>
                  <a:pt x="2704257" y="200315"/>
                </a:lnTo>
                <a:lnTo>
                  <a:pt x="2722142" y="200315"/>
                </a:lnTo>
                <a:lnTo>
                  <a:pt x="2740027" y="207469"/>
                </a:lnTo>
                <a:lnTo>
                  <a:pt x="2775798" y="228932"/>
                </a:lnTo>
                <a:lnTo>
                  <a:pt x="2775798" y="236086"/>
                </a:lnTo>
                <a:lnTo>
                  <a:pt x="2772221" y="246817"/>
                </a:lnTo>
                <a:lnTo>
                  <a:pt x="2757912" y="268279"/>
                </a:lnTo>
                <a:lnTo>
                  <a:pt x="2757912" y="286165"/>
                </a:lnTo>
                <a:lnTo>
                  <a:pt x="2757912" y="304050"/>
                </a:lnTo>
                <a:lnTo>
                  <a:pt x="2772221" y="325512"/>
                </a:lnTo>
                <a:lnTo>
                  <a:pt x="2786529" y="357706"/>
                </a:lnTo>
                <a:lnTo>
                  <a:pt x="2793683" y="372014"/>
                </a:lnTo>
                <a:lnTo>
                  <a:pt x="2797260" y="386322"/>
                </a:lnTo>
                <a:lnTo>
                  <a:pt x="2793683" y="393477"/>
                </a:lnTo>
                <a:lnTo>
                  <a:pt x="2786529" y="407785"/>
                </a:lnTo>
                <a:lnTo>
                  <a:pt x="2761489" y="439978"/>
                </a:lnTo>
                <a:lnTo>
                  <a:pt x="2747181" y="472172"/>
                </a:lnTo>
                <a:lnTo>
                  <a:pt x="2736450" y="500788"/>
                </a:lnTo>
                <a:lnTo>
                  <a:pt x="2765067" y="525828"/>
                </a:lnTo>
                <a:lnTo>
                  <a:pt x="2779375" y="540136"/>
                </a:lnTo>
                <a:lnTo>
                  <a:pt x="2786529" y="554444"/>
                </a:lnTo>
                <a:lnTo>
                  <a:pt x="2793683" y="572329"/>
                </a:lnTo>
                <a:lnTo>
                  <a:pt x="2793683" y="586638"/>
                </a:lnTo>
                <a:lnTo>
                  <a:pt x="2793683" y="622408"/>
                </a:lnTo>
                <a:lnTo>
                  <a:pt x="2843762" y="618831"/>
                </a:lnTo>
                <a:lnTo>
                  <a:pt x="2858070" y="618831"/>
                </a:lnTo>
                <a:lnTo>
                  <a:pt x="2868801" y="622408"/>
                </a:lnTo>
                <a:lnTo>
                  <a:pt x="2879532" y="629562"/>
                </a:lnTo>
                <a:lnTo>
                  <a:pt x="2883109" y="647448"/>
                </a:lnTo>
                <a:lnTo>
                  <a:pt x="2897418" y="697527"/>
                </a:lnTo>
                <a:lnTo>
                  <a:pt x="2904572" y="718989"/>
                </a:lnTo>
                <a:lnTo>
                  <a:pt x="2918880" y="711835"/>
                </a:lnTo>
                <a:lnTo>
                  <a:pt x="2929611" y="708258"/>
                </a:lnTo>
                <a:lnTo>
                  <a:pt x="2954651" y="690372"/>
                </a:lnTo>
                <a:lnTo>
                  <a:pt x="2979690" y="679641"/>
                </a:lnTo>
                <a:lnTo>
                  <a:pt x="3004729" y="668910"/>
                </a:lnTo>
                <a:lnTo>
                  <a:pt x="3015461" y="668910"/>
                </a:lnTo>
                <a:lnTo>
                  <a:pt x="3033346" y="668910"/>
                </a:lnTo>
                <a:lnTo>
                  <a:pt x="3047654" y="668910"/>
                </a:lnTo>
                <a:lnTo>
                  <a:pt x="3054808" y="661756"/>
                </a:lnTo>
                <a:lnTo>
                  <a:pt x="3076271" y="651025"/>
                </a:lnTo>
                <a:lnTo>
                  <a:pt x="3097733" y="651025"/>
                </a:lnTo>
                <a:lnTo>
                  <a:pt x="3119195" y="658179"/>
                </a:lnTo>
                <a:lnTo>
                  <a:pt x="3137081" y="651025"/>
                </a:lnTo>
                <a:lnTo>
                  <a:pt x="3151389" y="647448"/>
                </a:lnTo>
                <a:lnTo>
                  <a:pt x="3162120" y="640294"/>
                </a:lnTo>
                <a:lnTo>
                  <a:pt x="3172851" y="625985"/>
                </a:lnTo>
                <a:lnTo>
                  <a:pt x="3176428" y="608100"/>
                </a:lnTo>
                <a:lnTo>
                  <a:pt x="3176428" y="593792"/>
                </a:lnTo>
                <a:lnTo>
                  <a:pt x="3176428" y="575907"/>
                </a:lnTo>
                <a:lnTo>
                  <a:pt x="3172851" y="547290"/>
                </a:lnTo>
                <a:lnTo>
                  <a:pt x="3172851" y="525828"/>
                </a:lnTo>
                <a:lnTo>
                  <a:pt x="3169274" y="500788"/>
                </a:lnTo>
                <a:lnTo>
                  <a:pt x="3158543" y="475749"/>
                </a:lnTo>
                <a:lnTo>
                  <a:pt x="3151389" y="457864"/>
                </a:lnTo>
                <a:lnTo>
                  <a:pt x="3151389" y="443555"/>
                </a:lnTo>
                <a:lnTo>
                  <a:pt x="3154966" y="432824"/>
                </a:lnTo>
                <a:lnTo>
                  <a:pt x="3162120" y="422093"/>
                </a:lnTo>
                <a:lnTo>
                  <a:pt x="3187159" y="418516"/>
                </a:lnTo>
                <a:lnTo>
                  <a:pt x="3201468" y="418516"/>
                </a:lnTo>
                <a:lnTo>
                  <a:pt x="3219353" y="429247"/>
                </a:lnTo>
                <a:lnTo>
                  <a:pt x="3233661" y="443555"/>
                </a:lnTo>
                <a:lnTo>
                  <a:pt x="3233661" y="468595"/>
                </a:lnTo>
                <a:lnTo>
                  <a:pt x="3237238" y="490057"/>
                </a:lnTo>
                <a:lnTo>
                  <a:pt x="3244392" y="518674"/>
                </a:lnTo>
                <a:lnTo>
                  <a:pt x="3255124" y="525828"/>
                </a:lnTo>
                <a:lnTo>
                  <a:pt x="3262278" y="536559"/>
                </a:lnTo>
                <a:lnTo>
                  <a:pt x="3290894" y="561598"/>
                </a:lnTo>
                <a:lnTo>
                  <a:pt x="3315934" y="593792"/>
                </a:lnTo>
                <a:lnTo>
                  <a:pt x="3333819" y="622408"/>
                </a:lnTo>
                <a:lnTo>
                  <a:pt x="3340973" y="658179"/>
                </a:lnTo>
                <a:lnTo>
                  <a:pt x="3344550" y="665333"/>
                </a:lnTo>
                <a:lnTo>
                  <a:pt x="3358858" y="683218"/>
                </a:lnTo>
                <a:lnTo>
                  <a:pt x="3398206" y="629562"/>
                </a:lnTo>
                <a:lnTo>
                  <a:pt x="3401783" y="618831"/>
                </a:lnTo>
                <a:lnTo>
                  <a:pt x="3401783" y="604523"/>
                </a:lnTo>
                <a:lnTo>
                  <a:pt x="3394629" y="579484"/>
                </a:lnTo>
                <a:lnTo>
                  <a:pt x="3394629" y="561598"/>
                </a:lnTo>
                <a:lnTo>
                  <a:pt x="3398206" y="547290"/>
                </a:lnTo>
                <a:lnTo>
                  <a:pt x="3405360" y="543713"/>
                </a:lnTo>
                <a:lnTo>
                  <a:pt x="3426822" y="543713"/>
                </a:lnTo>
                <a:lnTo>
                  <a:pt x="3473324" y="547290"/>
                </a:lnTo>
                <a:lnTo>
                  <a:pt x="3469747" y="547290"/>
                </a:lnTo>
                <a:lnTo>
                  <a:pt x="3469747" y="597369"/>
                </a:lnTo>
                <a:lnTo>
                  <a:pt x="3473324" y="640294"/>
                </a:lnTo>
                <a:lnTo>
                  <a:pt x="3480478" y="658179"/>
                </a:lnTo>
                <a:lnTo>
                  <a:pt x="3484055" y="668910"/>
                </a:lnTo>
                <a:lnTo>
                  <a:pt x="3498364" y="676064"/>
                </a:lnTo>
                <a:lnTo>
                  <a:pt x="3512672" y="679641"/>
                </a:lnTo>
                <a:lnTo>
                  <a:pt x="3526980" y="683218"/>
                </a:lnTo>
                <a:lnTo>
                  <a:pt x="3541288" y="690372"/>
                </a:lnTo>
                <a:lnTo>
                  <a:pt x="3569905" y="704681"/>
                </a:lnTo>
                <a:lnTo>
                  <a:pt x="3602098" y="722566"/>
                </a:lnTo>
                <a:lnTo>
                  <a:pt x="3612829" y="722566"/>
                </a:lnTo>
                <a:lnTo>
                  <a:pt x="3623561" y="722566"/>
                </a:lnTo>
                <a:lnTo>
                  <a:pt x="3630715" y="711835"/>
                </a:lnTo>
                <a:lnTo>
                  <a:pt x="3634292" y="704681"/>
                </a:lnTo>
                <a:lnTo>
                  <a:pt x="3648600" y="676064"/>
                </a:lnTo>
                <a:lnTo>
                  <a:pt x="3652177" y="661756"/>
                </a:lnTo>
                <a:lnTo>
                  <a:pt x="3659331" y="647448"/>
                </a:lnTo>
                <a:lnTo>
                  <a:pt x="3673639" y="636717"/>
                </a:lnTo>
                <a:lnTo>
                  <a:pt x="3691525" y="636717"/>
                </a:lnTo>
                <a:lnTo>
                  <a:pt x="3705833" y="643871"/>
                </a:lnTo>
                <a:lnTo>
                  <a:pt x="3709410" y="651025"/>
                </a:lnTo>
                <a:lnTo>
                  <a:pt x="3712987" y="661756"/>
                </a:lnTo>
                <a:lnTo>
                  <a:pt x="3712987" y="690372"/>
                </a:lnTo>
                <a:lnTo>
                  <a:pt x="3709410" y="722566"/>
                </a:lnTo>
                <a:lnTo>
                  <a:pt x="3698679" y="754760"/>
                </a:lnTo>
                <a:lnTo>
                  <a:pt x="3698679" y="769068"/>
                </a:lnTo>
                <a:lnTo>
                  <a:pt x="3705833" y="779799"/>
                </a:lnTo>
                <a:lnTo>
                  <a:pt x="3712987" y="786953"/>
                </a:lnTo>
                <a:lnTo>
                  <a:pt x="3730872" y="801261"/>
                </a:lnTo>
                <a:lnTo>
                  <a:pt x="3748758" y="801261"/>
                </a:lnTo>
                <a:lnTo>
                  <a:pt x="3770220" y="794107"/>
                </a:lnTo>
                <a:lnTo>
                  <a:pt x="3784528" y="790530"/>
                </a:lnTo>
                <a:lnTo>
                  <a:pt x="3820299" y="779799"/>
                </a:lnTo>
                <a:lnTo>
                  <a:pt x="3852492" y="769068"/>
                </a:lnTo>
                <a:lnTo>
                  <a:pt x="3863224" y="769068"/>
                </a:lnTo>
                <a:lnTo>
                  <a:pt x="3877532" y="772645"/>
                </a:lnTo>
                <a:lnTo>
                  <a:pt x="3884686" y="779799"/>
                </a:lnTo>
                <a:lnTo>
                  <a:pt x="3895417" y="790530"/>
                </a:lnTo>
                <a:lnTo>
                  <a:pt x="3902571" y="801261"/>
                </a:lnTo>
                <a:lnTo>
                  <a:pt x="3906148" y="815570"/>
                </a:lnTo>
                <a:lnTo>
                  <a:pt x="3913302" y="837032"/>
                </a:lnTo>
                <a:lnTo>
                  <a:pt x="3920456" y="858494"/>
                </a:lnTo>
                <a:lnTo>
                  <a:pt x="3934765" y="872802"/>
                </a:lnTo>
                <a:lnTo>
                  <a:pt x="3945496" y="887111"/>
                </a:lnTo>
                <a:lnTo>
                  <a:pt x="3959804" y="890688"/>
                </a:lnTo>
                <a:lnTo>
                  <a:pt x="3977689" y="897842"/>
                </a:lnTo>
                <a:lnTo>
                  <a:pt x="4024191" y="904996"/>
                </a:lnTo>
                <a:lnTo>
                  <a:pt x="4081424" y="904996"/>
                </a:lnTo>
                <a:lnTo>
                  <a:pt x="4135080" y="897842"/>
                </a:lnTo>
                <a:lnTo>
                  <a:pt x="4192313" y="890688"/>
                </a:lnTo>
                <a:lnTo>
                  <a:pt x="4249546" y="887111"/>
                </a:lnTo>
                <a:lnTo>
                  <a:pt x="4288894" y="883534"/>
                </a:lnTo>
                <a:lnTo>
                  <a:pt x="4331818" y="876380"/>
                </a:lnTo>
                <a:lnTo>
                  <a:pt x="4349704" y="869225"/>
                </a:lnTo>
                <a:lnTo>
                  <a:pt x="4364012" y="858494"/>
                </a:lnTo>
                <a:lnTo>
                  <a:pt x="4385474" y="847763"/>
                </a:lnTo>
                <a:lnTo>
                  <a:pt x="4399782" y="833455"/>
                </a:lnTo>
                <a:lnTo>
                  <a:pt x="4421245" y="815570"/>
                </a:lnTo>
                <a:lnTo>
                  <a:pt x="4446284" y="808415"/>
                </a:lnTo>
                <a:lnTo>
                  <a:pt x="4499940" y="794107"/>
                </a:lnTo>
                <a:lnTo>
                  <a:pt x="4521402" y="790530"/>
                </a:lnTo>
                <a:lnTo>
                  <a:pt x="4542865" y="801261"/>
                </a:lnTo>
                <a:lnTo>
                  <a:pt x="4550019" y="804838"/>
                </a:lnTo>
                <a:lnTo>
                  <a:pt x="4557173" y="811992"/>
                </a:lnTo>
                <a:lnTo>
                  <a:pt x="4557173" y="822724"/>
                </a:lnTo>
                <a:lnTo>
                  <a:pt x="4550019" y="829878"/>
                </a:lnTo>
                <a:lnTo>
                  <a:pt x="4524980" y="851340"/>
                </a:lnTo>
                <a:lnTo>
                  <a:pt x="4496363" y="872802"/>
                </a:lnTo>
                <a:lnTo>
                  <a:pt x="4464170" y="890688"/>
                </a:lnTo>
                <a:lnTo>
                  <a:pt x="4446284" y="894265"/>
                </a:lnTo>
                <a:lnTo>
                  <a:pt x="4431976" y="894265"/>
                </a:lnTo>
                <a:lnTo>
                  <a:pt x="4399782" y="897842"/>
                </a:lnTo>
                <a:lnTo>
                  <a:pt x="4374743" y="908573"/>
                </a:lnTo>
                <a:lnTo>
                  <a:pt x="4342550" y="915727"/>
                </a:lnTo>
                <a:lnTo>
                  <a:pt x="4317510" y="933612"/>
                </a:lnTo>
                <a:lnTo>
                  <a:pt x="4303202" y="940767"/>
                </a:lnTo>
                <a:lnTo>
                  <a:pt x="4288894" y="947921"/>
                </a:lnTo>
                <a:lnTo>
                  <a:pt x="4274585" y="947921"/>
                </a:lnTo>
                <a:lnTo>
                  <a:pt x="4256700" y="937190"/>
                </a:lnTo>
                <a:lnTo>
                  <a:pt x="4235238" y="926458"/>
                </a:lnTo>
                <a:lnTo>
                  <a:pt x="4213775" y="926458"/>
                </a:lnTo>
                <a:lnTo>
                  <a:pt x="4192313" y="926458"/>
                </a:lnTo>
                <a:lnTo>
                  <a:pt x="4170851" y="933612"/>
                </a:lnTo>
                <a:lnTo>
                  <a:pt x="4149388" y="947921"/>
                </a:lnTo>
                <a:lnTo>
                  <a:pt x="4124349" y="955075"/>
                </a:lnTo>
                <a:lnTo>
                  <a:pt x="4102886" y="955075"/>
                </a:lnTo>
                <a:lnTo>
                  <a:pt x="4088578" y="951498"/>
                </a:lnTo>
                <a:lnTo>
                  <a:pt x="4074270" y="947921"/>
                </a:lnTo>
                <a:lnTo>
                  <a:pt x="4059962" y="947921"/>
                </a:lnTo>
                <a:lnTo>
                  <a:pt x="4049231" y="951498"/>
                </a:lnTo>
                <a:lnTo>
                  <a:pt x="4042076" y="962229"/>
                </a:lnTo>
                <a:lnTo>
                  <a:pt x="4042076" y="976537"/>
                </a:lnTo>
                <a:lnTo>
                  <a:pt x="4045654" y="1001577"/>
                </a:lnTo>
                <a:lnTo>
                  <a:pt x="4059962" y="1019462"/>
                </a:lnTo>
                <a:lnTo>
                  <a:pt x="4081424" y="1030193"/>
                </a:lnTo>
                <a:lnTo>
                  <a:pt x="4106464" y="1030193"/>
                </a:lnTo>
                <a:lnTo>
                  <a:pt x="4170851" y="1015885"/>
                </a:lnTo>
                <a:lnTo>
                  <a:pt x="4238815" y="1001577"/>
                </a:lnTo>
                <a:lnTo>
                  <a:pt x="4267431" y="998000"/>
                </a:lnTo>
                <a:lnTo>
                  <a:pt x="4278162" y="998000"/>
                </a:lnTo>
                <a:lnTo>
                  <a:pt x="4292471" y="1008731"/>
                </a:lnTo>
                <a:lnTo>
                  <a:pt x="4310356" y="1019462"/>
                </a:lnTo>
                <a:lnTo>
                  <a:pt x="4331818" y="1030193"/>
                </a:lnTo>
                <a:lnTo>
                  <a:pt x="4349704" y="1037347"/>
                </a:lnTo>
                <a:lnTo>
                  <a:pt x="4371166" y="1037347"/>
                </a:lnTo>
                <a:lnTo>
                  <a:pt x="4392628" y="1037347"/>
                </a:lnTo>
                <a:lnTo>
                  <a:pt x="4406937" y="1033770"/>
                </a:lnTo>
                <a:lnTo>
                  <a:pt x="4453438" y="1015885"/>
                </a:lnTo>
                <a:lnTo>
                  <a:pt x="4507094" y="994422"/>
                </a:lnTo>
                <a:lnTo>
                  <a:pt x="4528557" y="990845"/>
                </a:lnTo>
                <a:lnTo>
                  <a:pt x="4539288" y="987268"/>
                </a:lnTo>
                <a:lnTo>
                  <a:pt x="4546442" y="990845"/>
                </a:lnTo>
                <a:lnTo>
                  <a:pt x="4564327" y="994422"/>
                </a:lnTo>
                <a:lnTo>
                  <a:pt x="4582212" y="994422"/>
                </a:lnTo>
                <a:lnTo>
                  <a:pt x="4610829" y="994422"/>
                </a:lnTo>
                <a:lnTo>
                  <a:pt x="4643022" y="980114"/>
                </a:lnTo>
                <a:lnTo>
                  <a:pt x="4671639" y="962229"/>
                </a:lnTo>
                <a:lnTo>
                  <a:pt x="4689524" y="955075"/>
                </a:lnTo>
                <a:lnTo>
                  <a:pt x="4707410" y="951498"/>
                </a:lnTo>
                <a:lnTo>
                  <a:pt x="4750334" y="940767"/>
                </a:lnTo>
                <a:lnTo>
                  <a:pt x="4807567" y="930035"/>
                </a:lnTo>
                <a:lnTo>
                  <a:pt x="4857646" y="912150"/>
                </a:lnTo>
                <a:lnTo>
                  <a:pt x="4882685" y="897842"/>
                </a:lnTo>
                <a:lnTo>
                  <a:pt x="4904148" y="887111"/>
                </a:lnTo>
                <a:lnTo>
                  <a:pt x="4932764" y="869225"/>
                </a:lnTo>
                <a:lnTo>
                  <a:pt x="4950650" y="851340"/>
                </a:lnTo>
                <a:lnTo>
                  <a:pt x="4961381" y="837032"/>
                </a:lnTo>
                <a:lnTo>
                  <a:pt x="4979266" y="833455"/>
                </a:lnTo>
                <a:lnTo>
                  <a:pt x="4997151" y="826301"/>
                </a:lnTo>
                <a:lnTo>
                  <a:pt x="5015037" y="811992"/>
                </a:lnTo>
                <a:lnTo>
                  <a:pt x="5025768" y="794107"/>
                </a:lnTo>
                <a:lnTo>
                  <a:pt x="5036499" y="772645"/>
                </a:lnTo>
                <a:lnTo>
                  <a:pt x="5040076" y="754760"/>
                </a:lnTo>
                <a:lnTo>
                  <a:pt x="5047230" y="744028"/>
                </a:lnTo>
                <a:lnTo>
                  <a:pt x="5068692" y="722566"/>
                </a:lnTo>
                <a:lnTo>
                  <a:pt x="5097309" y="708258"/>
                </a:lnTo>
                <a:lnTo>
                  <a:pt x="5125925" y="701104"/>
                </a:lnTo>
                <a:lnTo>
                  <a:pt x="5129502" y="701104"/>
                </a:lnTo>
                <a:lnTo>
                  <a:pt x="5140234" y="701104"/>
                </a:lnTo>
                <a:lnTo>
                  <a:pt x="5158119" y="708258"/>
                </a:lnTo>
                <a:lnTo>
                  <a:pt x="5147388" y="726143"/>
                </a:lnTo>
                <a:lnTo>
                  <a:pt x="5140234" y="740451"/>
                </a:lnTo>
                <a:lnTo>
                  <a:pt x="5125925" y="747605"/>
                </a:lnTo>
                <a:lnTo>
                  <a:pt x="5118771" y="751182"/>
                </a:lnTo>
                <a:lnTo>
                  <a:pt x="5108040" y="754760"/>
                </a:lnTo>
                <a:lnTo>
                  <a:pt x="5097309" y="772645"/>
                </a:lnTo>
                <a:lnTo>
                  <a:pt x="5090155" y="783376"/>
                </a:lnTo>
                <a:lnTo>
                  <a:pt x="5090155" y="794107"/>
                </a:lnTo>
                <a:lnTo>
                  <a:pt x="5097309" y="801261"/>
                </a:lnTo>
                <a:lnTo>
                  <a:pt x="5104463" y="804838"/>
                </a:lnTo>
                <a:lnTo>
                  <a:pt x="5122348" y="815570"/>
                </a:lnTo>
                <a:lnTo>
                  <a:pt x="5133080" y="815570"/>
                </a:lnTo>
                <a:lnTo>
                  <a:pt x="5143811" y="815570"/>
                </a:lnTo>
                <a:lnTo>
                  <a:pt x="5165273" y="833455"/>
                </a:lnTo>
                <a:lnTo>
                  <a:pt x="5186735" y="844186"/>
                </a:lnTo>
                <a:lnTo>
                  <a:pt x="5208198" y="847763"/>
                </a:lnTo>
                <a:lnTo>
                  <a:pt x="5233237" y="847763"/>
                </a:lnTo>
                <a:lnTo>
                  <a:pt x="5276162" y="847763"/>
                </a:lnTo>
                <a:lnTo>
                  <a:pt x="5326241" y="847763"/>
                </a:lnTo>
                <a:lnTo>
                  <a:pt x="5333395" y="876380"/>
                </a:lnTo>
                <a:lnTo>
                  <a:pt x="5336972" y="890688"/>
                </a:lnTo>
                <a:lnTo>
                  <a:pt x="5347703" y="904996"/>
                </a:lnTo>
                <a:lnTo>
                  <a:pt x="5379897" y="933612"/>
                </a:lnTo>
                <a:lnTo>
                  <a:pt x="5397782" y="940767"/>
                </a:lnTo>
                <a:lnTo>
                  <a:pt x="5419244" y="955075"/>
                </a:lnTo>
                <a:lnTo>
                  <a:pt x="5433552" y="955075"/>
                </a:lnTo>
                <a:lnTo>
                  <a:pt x="5451438" y="955075"/>
                </a:lnTo>
                <a:lnTo>
                  <a:pt x="5483631" y="940767"/>
                </a:lnTo>
                <a:lnTo>
                  <a:pt x="5490785" y="940767"/>
                </a:lnTo>
                <a:lnTo>
                  <a:pt x="5497939" y="933612"/>
                </a:lnTo>
                <a:lnTo>
                  <a:pt x="5501517" y="919304"/>
                </a:lnTo>
                <a:lnTo>
                  <a:pt x="5501517" y="890688"/>
                </a:lnTo>
                <a:lnTo>
                  <a:pt x="5512248" y="833455"/>
                </a:lnTo>
                <a:lnTo>
                  <a:pt x="5522979" y="772645"/>
                </a:lnTo>
                <a:lnTo>
                  <a:pt x="5533710" y="754760"/>
                </a:lnTo>
                <a:lnTo>
                  <a:pt x="5544441" y="744028"/>
                </a:lnTo>
                <a:lnTo>
                  <a:pt x="5562327" y="733297"/>
                </a:lnTo>
                <a:lnTo>
                  <a:pt x="5580212" y="726143"/>
                </a:lnTo>
                <a:lnTo>
                  <a:pt x="5605251" y="718989"/>
                </a:lnTo>
                <a:lnTo>
                  <a:pt x="5630291" y="701104"/>
                </a:lnTo>
                <a:lnTo>
                  <a:pt x="5648176" y="679641"/>
                </a:lnTo>
                <a:lnTo>
                  <a:pt x="5662484" y="647448"/>
                </a:lnTo>
                <a:lnTo>
                  <a:pt x="5666061" y="640294"/>
                </a:lnTo>
                <a:lnTo>
                  <a:pt x="5676792" y="625985"/>
                </a:lnTo>
                <a:lnTo>
                  <a:pt x="5687524" y="615254"/>
                </a:lnTo>
                <a:lnTo>
                  <a:pt x="5701832" y="608100"/>
                </a:lnTo>
                <a:lnTo>
                  <a:pt x="5712563" y="615254"/>
                </a:lnTo>
                <a:lnTo>
                  <a:pt x="5726871" y="625985"/>
                </a:lnTo>
                <a:lnTo>
                  <a:pt x="5755488" y="661756"/>
                </a:lnTo>
                <a:lnTo>
                  <a:pt x="5794835" y="686795"/>
                </a:lnTo>
                <a:lnTo>
                  <a:pt x="5834183" y="708258"/>
                </a:lnTo>
                <a:lnTo>
                  <a:pt x="5877108" y="726143"/>
                </a:lnTo>
                <a:lnTo>
                  <a:pt x="5905724" y="733297"/>
                </a:lnTo>
                <a:lnTo>
                  <a:pt x="5916455" y="733297"/>
                </a:lnTo>
                <a:lnTo>
                  <a:pt x="5930764" y="722566"/>
                </a:lnTo>
                <a:lnTo>
                  <a:pt x="5941495" y="704681"/>
                </a:lnTo>
                <a:lnTo>
                  <a:pt x="5962957" y="679641"/>
                </a:lnTo>
                <a:lnTo>
                  <a:pt x="5991574" y="665333"/>
                </a:lnTo>
                <a:lnTo>
                  <a:pt x="6016613" y="658179"/>
                </a:lnTo>
                <a:lnTo>
                  <a:pt x="6045229" y="651025"/>
                </a:lnTo>
                <a:lnTo>
                  <a:pt x="6073846" y="647448"/>
                </a:lnTo>
                <a:lnTo>
                  <a:pt x="6091731" y="636717"/>
                </a:lnTo>
                <a:lnTo>
                  <a:pt x="6102462" y="618831"/>
                </a:lnTo>
                <a:lnTo>
                  <a:pt x="6113194" y="597369"/>
                </a:lnTo>
                <a:lnTo>
                  <a:pt x="6120348" y="572329"/>
                </a:lnTo>
                <a:lnTo>
                  <a:pt x="6138233" y="554444"/>
                </a:lnTo>
                <a:lnTo>
                  <a:pt x="6156118" y="536559"/>
                </a:lnTo>
                <a:lnTo>
                  <a:pt x="6177581" y="522251"/>
                </a:lnTo>
                <a:lnTo>
                  <a:pt x="6195466" y="518674"/>
                </a:lnTo>
                <a:lnTo>
                  <a:pt x="6206197" y="518674"/>
                </a:lnTo>
                <a:lnTo>
                  <a:pt x="6220505" y="522251"/>
                </a:lnTo>
                <a:lnTo>
                  <a:pt x="6227659" y="540136"/>
                </a:lnTo>
                <a:lnTo>
                  <a:pt x="6238390" y="558021"/>
                </a:lnTo>
                <a:lnTo>
                  <a:pt x="6245544" y="572329"/>
                </a:lnTo>
                <a:lnTo>
                  <a:pt x="6259853" y="583061"/>
                </a:lnTo>
                <a:lnTo>
                  <a:pt x="6270584" y="586638"/>
                </a:lnTo>
                <a:lnTo>
                  <a:pt x="6292046" y="586638"/>
                </a:lnTo>
                <a:lnTo>
                  <a:pt x="6309932" y="579484"/>
                </a:lnTo>
                <a:lnTo>
                  <a:pt x="6327817" y="572329"/>
                </a:lnTo>
                <a:lnTo>
                  <a:pt x="6342125" y="554444"/>
                </a:lnTo>
                <a:lnTo>
                  <a:pt x="6342125" y="532982"/>
                </a:lnTo>
                <a:lnTo>
                  <a:pt x="6345702" y="479326"/>
                </a:lnTo>
                <a:lnTo>
                  <a:pt x="6352856" y="432824"/>
                </a:lnTo>
                <a:lnTo>
                  <a:pt x="6370742" y="329089"/>
                </a:lnTo>
                <a:lnTo>
                  <a:pt x="6374318" y="314781"/>
                </a:lnTo>
                <a:lnTo>
                  <a:pt x="6385050" y="304050"/>
                </a:lnTo>
                <a:lnTo>
                  <a:pt x="6392204" y="293319"/>
                </a:lnTo>
                <a:lnTo>
                  <a:pt x="6402935" y="286165"/>
                </a:lnTo>
                <a:lnTo>
                  <a:pt x="6410089" y="286165"/>
                </a:lnTo>
                <a:lnTo>
                  <a:pt x="6424398" y="286165"/>
                </a:lnTo>
                <a:lnTo>
                  <a:pt x="6435128" y="289742"/>
                </a:lnTo>
                <a:lnTo>
                  <a:pt x="6453014" y="296896"/>
                </a:lnTo>
                <a:lnTo>
                  <a:pt x="6470899" y="311204"/>
                </a:lnTo>
                <a:lnTo>
                  <a:pt x="6481630" y="329089"/>
                </a:lnTo>
                <a:lnTo>
                  <a:pt x="6492362" y="346975"/>
                </a:lnTo>
                <a:lnTo>
                  <a:pt x="6495938" y="364860"/>
                </a:lnTo>
                <a:lnTo>
                  <a:pt x="6495938" y="386322"/>
                </a:lnTo>
                <a:lnTo>
                  <a:pt x="6492362" y="400631"/>
                </a:lnTo>
                <a:lnTo>
                  <a:pt x="6488784" y="422093"/>
                </a:lnTo>
                <a:lnTo>
                  <a:pt x="6474476" y="439978"/>
                </a:lnTo>
                <a:lnTo>
                  <a:pt x="6460168" y="457864"/>
                </a:lnTo>
                <a:lnTo>
                  <a:pt x="6445860" y="468595"/>
                </a:lnTo>
                <a:lnTo>
                  <a:pt x="6424398" y="482903"/>
                </a:lnTo>
                <a:lnTo>
                  <a:pt x="6413666" y="504365"/>
                </a:lnTo>
                <a:lnTo>
                  <a:pt x="6410089" y="525828"/>
                </a:lnTo>
                <a:lnTo>
                  <a:pt x="6417244" y="547290"/>
                </a:lnTo>
                <a:lnTo>
                  <a:pt x="6427974" y="575907"/>
                </a:lnTo>
                <a:lnTo>
                  <a:pt x="6431552" y="604523"/>
                </a:lnTo>
                <a:lnTo>
                  <a:pt x="6435128" y="629562"/>
                </a:lnTo>
                <a:lnTo>
                  <a:pt x="6431552" y="658179"/>
                </a:lnTo>
                <a:lnTo>
                  <a:pt x="6431552" y="676064"/>
                </a:lnTo>
                <a:lnTo>
                  <a:pt x="6435128" y="686795"/>
                </a:lnTo>
                <a:lnTo>
                  <a:pt x="6445860" y="697527"/>
                </a:lnTo>
                <a:lnTo>
                  <a:pt x="6456591" y="704681"/>
                </a:lnTo>
                <a:lnTo>
                  <a:pt x="6513824" y="729720"/>
                </a:lnTo>
                <a:lnTo>
                  <a:pt x="6563902" y="751182"/>
                </a:lnTo>
                <a:lnTo>
                  <a:pt x="6592519" y="765491"/>
                </a:lnTo>
                <a:lnTo>
                  <a:pt x="6610404" y="779799"/>
                </a:lnTo>
                <a:lnTo>
                  <a:pt x="6624712" y="794107"/>
                </a:lnTo>
                <a:lnTo>
                  <a:pt x="6642598" y="815570"/>
                </a:lnTo>
                <a:lnTo>
                  <a:pt x="6667638" y="865648"/>
                </a:lnTo>
                <a:lnTo>
                  <a:pt x="6685522" y="887111"/>
                </a:lnTo>
                <a:lnTo>
                  <a:pt x="6706985" y="908573"/>
                </a:lnTo>
                <a:lnTo>
                  <a:pt x="6717716" y="915727"/>
                </a:lnTo>
                <a:lnTo>
                  <a:pt x="6724870" y="926458"/>
                </a:lnTo>
                <a:lnTo>
                  <a:pt x="6728448" y="951498"/>
                </a:lnTo>
                <a:lnTo>
                  <a:pt x="6724870" y="998000"/>
                </a:lnTo>
                <a:lnTo>
                  <a:pt x="6717716" y="1044501"/>
                </a:lnTo>
                <a:lnTo>
                  <a:pt x="6714139" y="1065964"/>
                </a:lnTo>
                <a:lnTo>
                  <a:pt x="6717716" y="1091003"/>
                </a:lnTo>
                <a:lnTo>
                  <a:pt x="6724870" y="1105311"/>
                </a:lnTo>
                <a:lnTo>
                  <a:pt x="6739178" y="1123197"/>
                </a:lnTo>
                <a:lnTo>
                  <a:pt x="6757064" y="1137505"/>
                </a:lnTo>
                <a:lnTo>
                  <a:pt x="6778526" y="1141082"/>
                </a:lnTo>
                <a:lnTo>
                  <a:pt x="6792834" y="1141082"/>
                </a:lnTo>
                <a:lnTo>
                  <a:pt x="6817874" y="1133928"/>
                </a:lnTo>
                <a:lnTo>
                  <a:pt x="6846490" y="1119620"/>
                </a:lnTo>
                <a:lnTo>
                  <a:pt x="6875107" y="1105311"/>
                </a:lnTo>
                <a:lnTo>
                  <a:pt x="6896569" y="1091003"/>
                </a:lnTo>
                <a:lnTo>
                  <a:pt x="6907300" y="1083849"/>
                </a:lnTo>
                <a:lnTo>
                  <a:pt x="6910878" y="1076695"/>
                </a:lnTo>
                <a:lnTo>
                  <a:pt x="6910878" y="1062387"/>
                </a:lnTo>
                <a:lnTo>
                  <a:pt x="6910878" y="1055232"/>
                </a:lnTo>
                <a:lnTo>
                  <a:pt x="6896569" y="1030193"/>
                </a:lnTo>
                <a:lnTo>
                  <a:pt x="6892992" y="1015885"/>
                </a:lnTo>
                <a:lnTo>
                  <a:pt x="6910878" y="1001577"/>
                </a:lnTo>
                <a:lnTo>
                  <a:pt x="6928762" y="990845"/>
                </a:lnTo>
                <a:lnTo>
                  <a:pt x="6946648" y="987268"/>
                </a:lnTo>
                <a:lnTo>
                  <a:pt x="6957379" y="990845"/>
                </a:lnTo>
                <a:lnTo>
                  <a:pt x="6971688" y="994422"/>
                </a:lnTo>
                <a:lnTo>
                  <a:pt x="6978842" y="1001577"/>
                </a:lnTo>
                <a:lnTo>
                  <a:pt x="6993150" y="1015885"/>
                </a:lnTo>
                <a:lnTo>
                  <a:pt x="7000304" y="1037347"/>
                </a:lnTo>
                <a:lnTo>
                  <a:pt x="7011035" y="1062387"/>
                </a:lnTo>
                <a:lnTo>
                  <a:pt x="7018189" y="1076695"/>
                </a:lnTo>
                <a:lnTo>
                  <a:pt x="7032498" y="1080272"/>
                </a:lnTo>
                <a:lnTo>
                  <a:pt x="7039652" y="1083849"/>
                </a:lnTo>
                <a:lnTo>
                  <a:pt x="7053960" y="1080272"/>
                </a:lnTo>
                <a:lnTo>
                  <a:pt x="7071845" y="1073118"/>
                </a:lnTo>
                <a:lnTo>
                  <a:pt x="7089730" y="1065964"/>
                </a:lnTo>
                <a:lnTo>
                  <a:pt x="7100462" y="1065964"/>
                </a:lnTo>
                <a:lnTo>
                  <a:pt x="7114770" y="1073118"/>
                </a:lnTo>
                <a:lnTo>
                  <a:pt x="7129078" y="1080272"/>
                </a:lnTo>
                <a:lnTo>
                  <a:pt x="7132655" y="1094580"/>
                </a:lnTo>
                <a:lnTo>
                  <a:pt x="7132655" y="1105311"/>
                </a:lnTo>
                <a:lnTo>
                  <a:pt x="7129078" y="1116042"/>
                </a:lnTo>
                <a:lnTo>
                  <a:pt x="7114770" y="1123197"/>
                </a:lnTo>
                <a:lnTo>
                  <a:pt x="7100462" y="1126774"/>
                </a:lnTo>
                <a:lnTo>
                  <a:pt x="7053960" y="1141082"/>
                </a:lnTo>
                <a:lnTo>
                  <a:pt x="7007458" y="1158967"/>
                </a:lnTo>
                <a:lnTo>
                  <a:pt x="6996727" y="1166121"/>
                </a:lnTo>
                <a:lnTo>
                  <a:pt x="6989572" y="1180430"/>
                </a:lnTo>
                <a:lnTo>
                  <a:pt x="6968110" y="1223354"/>
                </a:lnTo>
                <a:lnTo>
                  <a:pt x="6950225" y="1269856"/>
                </a:lnTo>
                <a:lnTo>
                  <a:pt x="6946648" y="1305627"/>
                </a:lnTo>
                <a:lnTo>
                  <a:pt x="6935917" y="1352128"/>
                </a:lnTo>
                <a:lnTo>
                  <a:pt x="6964534" y="1341397"/>
                </a:lnTo>
                <a:lnTo>
                  <a:pt x="6975264" y="1327089"/>
                </a:lnTo>
                <a:lnTo>
                  <a:pt x="6989572" y="1302050"/>
                </a:lnTo>
                <a:lnTo>
                  <a:pt x="7000304" y="1269856"/>
                </a:lnTo>
                <a:lnTo>
                  <a:pt x="7014612" y="1251971"/>
                </a:lnTo>
                <a:lnTo>
                  <a:pt x="7028920" y="1244817"/>
                </a:lnTo>
                <a:lnTo>
                  <a:pt x="7039652" y="1237662"/>
                </a:lnTo>
                <a:lnTo>
                  <a:pt x="7057537" y="1230508"/>
                </a:lnTo>
                <a:lnTo>
                  <a:pt x="7071845" y="1237662"/>
                </a:lnTo>
                <a:lnTo>
                  <a:pt x="7082576" y="1241240"/>
                </a:lnTo>
                <a:lnTo>
                  <a:pt x="7096884" y="1251971"/>
                </a:lnTo>
                <a:lnTo>
                  <a:pt x="7111192" y="1269856"/>
                </a:lnTo>
                <a:lnTo>
                  <a:pt x="7129078" y="1298472"/>
                </a:lnTo>
                <a:lnTo>
                  <a:pt x="7150540" y="1312781"/>
                </a:lnTo>
                <a:lnTo>
                  <a:pt x="7172002" y="1323512"/>
                </a:lnTo>
                <a:lnTo>
                  <a:pt x="7200619" y="1327089"/>
                </a:lnTo>
                <a:lnTo>
                  <a:pt x="7225658" y="1327089"/>
                </a:lnTo>
                <a:lnTo>
                  <a:pt x="7275738" y="1323512"/>
                </a:lnTo>
                <a:lnTo>
                  <a:pt x="7325816" y="1323512"/>
                </a:lnTo>
                <a:lnTo>
                  <a:pt x="7350856" y="1323512"/>
                </a:lnTo>
                <a:lnTo>
                  <a:pt x="7365164" y="1330666"/>
                </a:lnTo>
                <a:lnTo>
                  <a:pt x="7372318" y="1348551"/>
                </a:lnTo>
                <a:lnTo>
                  <a:pt x="7379472" y="1370014"/>
                </a:lnTo>
                <a:lnTo>
                  <a:pt x="7379472" y="1395053"/>
                </a:lnTo>
                <a:lnTo>
                  <a:pt x="7386626" y="1423670"/>
                </a:lnTo>
                <a:lnTo>
                  <a:pt x="7393780" y="1445132"/>
                </a:lnTo>
                <a:lnTo>
                  <a:pt x="7408088" y="1466594"/>
                </a:lnTo>
                <a:lnTo>
                  <a:pt x="7422397" y="1488056"/>
                </a:lnTo>
                <a:lnTo>
                  <a:pt x="7433128" y="1513096"/>
                </a:lnTo>
                <a:lnTo>
                  <a:pt x="7454590" y="1559598"/>
                </a:lnTo>
                <a:lnTo>
                  <a:pt x="7465322" y="1577483"/>
                </a:lnTo>
                <a:lnTo>
                  <a:pt x="7476052" y="1595368"/>
                </a:lnTo>
                <a:lnTo>
                  <a:pt x="7493938" y="1609676"/>
                </a:lnTo>
                <a:lnTo>
                  <a:pt x="7511824" y="1616831"/>
                </a:lnTo>
                <a:lnTo>
                  <a:pt x="7529708" y="1634716"/>
                </a:lnTo>
                <a:lnTo>
                  <a:pt x="7536862" y="1645447"/>
                </a:lnTo>
                <a:lnTo>
                  <a:pt x="7544017" y="1663332"/>
                </a:lnTo>
                <a:lnTo>
                  <a:pt x="7533286" y="1695526"/>
                </a:lnTo>
                <a:lnTo>
                  <a:pt x="7493938" y="1695526"/>
                </a:lnTo>
                <a:lnTo>
                  <a:pt x="7454590" y="1688372"/>
                </a:lnTo>
                <a:lnTo>
                  <a:pt x="7429551" y="1681218"/>
                </a:lnTo>
                <a:lnTo>
                  <a:pt x="7415242" y="1666910"/>
                </a:lnTo>
                <a:lnTo>
                  <a:pt x="7404512" y="1652601"/>
                </a:lnTo>
                <a:lnTo>
                  <a:pt x="7400934" y="1623985"/>
                </a:lnTo>
                <a:lnTo>
                  <a:pt x="7400934" y="1602522"/>
                </a:lnTo>
                <a:lnTo>
                  <a:pt x="7393780" y="1584637"/>
                </a:lnTo>
                <a:lnTo>
                  <a:pt x="7386626" y="1570329"/>
                </a:lnTo>
                <a:lnTo>
                  <a:pt x="7379472" y="1563175"/>
                </a:lnTo>
                <a:lnTo>
                  <a:pt x="7365164" y="1559598"/>
                </a:lnTo>
                <a:lnTo>
                  <a:pt x="7347278" y="1559598"/>
                </a:lnTo>
                <a:lnTo>
                  <a:pt x="7329394" y="1563175"/>
                </a:lnTo>
                <a:lnTo>
                  <a:pt x="7311508" y="1577483"/>
                </a:lnTo>
                <a:lnTo>
                  <a:pt x="7297200" y="1602522"/>
                </a:lnTo>
                <a:lnTo>
                  <a:pt x="7300777" y="1613254"/>
                </a:lnTo>
                <a:lnTo>
                  <a:pt x="7300777" y="1616831"/>
                </a:lnTo>
                <a:lnTo>
                  <a:pt x="7329394" y="1641870"/>
                </a:lnTo>
                <a:lnTo>
                  <a:pt x="7358010" y="1674064"/>
                </a:lnTo>
                <a:lnTo>
                  <a:pt x="7372318" y="1706257"/>
                </a:lnTo>
                <a:lnTo>
                  <a:pt x="7390204" y="1745605"/>
                </a:lnTo>
                <a:lnTo>
                  <a:pt x="7408088" y="1767067"/>
                </a:lnTo>
                <a:lnTo>
                  <a:pt x="7425974" y="1788530"/>
                </a:lnTo>
                <a:lnTo>
                  <a:pt x="7443859" y="1806415"/>
                </a:lnTo>
                <a:lnTo>
                  <a:pt x="7454590" y="1824300"/>
                </a:lnTo>
                <a:lnTo>
                  <a:pt x="7472476" y="1860071"/>
                </a:lnTo>
                <a:lnTo>
                  <a:pt x="7476052" y="1874379"/>
                </a:lnTo>
                <a:lnTo>
                  <a:pt x="7490361" y="1888687"/>
                </a:lnTo>
                <a:lnTo>
                  <a:pt x="7504669" y="1902995"/>
                </a:lnTo>
                <a:lnTo>
                  <a:pt x="7515400" y="1910150"/>
                </a:lnTo>
                <a:lnTo>
                  <a:pt x="7551171" y="1931612"/>
                </a:lnTo>
                <a:lnTo>
                  <a:pt x="7558325" y="1942343"/>
                </a:lnTo>
                <a:lnTo>
                  <a:pt x="7558325" y="1949497"/>
                </a:lnTo>
                <a:lnTo>
                  <a:pt x="7558325" y="1963805"/>
                </a:lnTo>
                <a:lnTo>
                  <a:pt x="7554748" y="1970960"/>
                </a:lnTo>
                <a:lnTo>
                  <a:pt x="7526132" y="2013884"/>
                </a:lnTo>
                <a:lnTo>
                  <a:pt x="7536862" y="2024615"/>
                </a:lnTo>
                <a:lnTo>
                  <a:pt x="7547594" y="2031770"/>
                </a:lnTo>
                <a:lnTo>
                  <a:pt x="7554748" y="2056809"/>
                </a:lnTo>
                <a:lnTo>
                  <a:pt x="7565479" y="2110465"/>
                </a:lnTo>
                <a:lnTo>
                  <a:pt x="7572634" y="2149813"/>
                </a:lnTo>
                <a:lnTo>
                  <a:pt x="7586942" y="2192737"/>
                </a:lnTo>
                <a:lnTo>
                  <a:pt x="7615558" y="2275009"/>
                </a:lnTo>
                <a:lnTo>
                  <a:pt x="7629866" y="2307203"/>
                </a:lnTo>
                <a:lnTo>
                  <a:pt x="7629866" y="2325088"/>
                </a:lnTo>
                <a:lnTo>
                  <a:pt x="7629866" y="2339396"/>
                </a:lnTo>
                <a:lnTo>
                  <a:pt x="7622712" y="2357282"/>
                </a:lnTo>
                <a:lnTo>
                  <a:pt x="7619135" y="2368013"/>
                </a:lnTo>
                <a:lnTo>
                  <a:pt x="7608404" y="2382321"/>
                </a:lnTo>
                <a:lnTo>
                  <a:pt x="7594096" y="2400206"/>
                </a:lnTo>
                <a:lnTo>
                  <a:pt x="7579788" y="2410938"/>
                </a:lnTo>
                <a:lnTo>
                  <a:pt x="7572634" y="2432400"/>
                </a:lnTo>
                <a:lnTo>
                  <a:pt x="7536862" y="2496787"/>
                </a:lnTo>
                <a:lnTo>
                  <a:pt x="7533286" y="2514673"/>
                </a:lnTo>
                <a:lnTo>
                  <a:pt x="7529708" y="2528981"/>
                </a:lnTo>
                <a:lnTo>
                  <a:pt x="7529708" y="2543289"/>
                </a:lnTo>
                <a:lnTo>
                  <a:pt x="7536862" y="2554020"/>
                </a:lnTo>
                <a:lnTo>
                  <a:pt x="7551171" y="2554020"/>
                </a:lnTo>
                <a:lnTo>
                  <a:pt x="7565479" y="2550443"/>
                </a:lnTo>
                <a:lnTo>
                  <a:pt x="7579788" y="2532558"/>
                </a:lnTo>
                <a:lnTo>
                  <a:pt x="7597672" y="2514673"/>
                </a:lnTo>
                <a:lnTo>
                  <a:pt x="7608404" y="2493210"/>
                </a:lnTo>
                <a:lnTo>
                  <a:pt x="7615558" y="2471748"/>
                </a:lnTo>
                <a:lnTo>
                  <a:pt x="7622712" y="2446708"/>
                </a:lnTo>
                <a:lnTo>
                  <a:pt x="7640598" y="2421669"/>
                </a:lnTo>
                <a:lnTo>
                  <a:pt x="7662060" y="2403784"/>
                </a:lnTo>
                <a:lnTo>
                  <a:pt x="7690676" y="2385898"/>
                </a:lnTo>
                <a:lnTo>
                  <a:pt x="7737178" y="2360859"/>
                </a:lnTo>
                <a:lnTo>
                  <a:pt x="7783680" y="2335819"/>
                </a:lnTo>
                <a:lnTo>
                  <a:pt x="7826604" y="2300049"/>
                </a:lnTo>
                <a:lnTo>
                  <a:pt x="7844490" y="2282164"/>
                </a:lnTo>
                <a:lnTo>
                  <a:pt x="7862375" y="2260701"/>
                </a:lnTo>
                <a:lnTo>
                  <a:pt x="7869529" y="2246393"/>
                </a:lnTo>
                <a:lnTo>
                  <a:pt x="7880260" y="2242816"/>
                </a:lnTo>
                <a:lnTo>
                  <a:pt x="7898146" y="2242816"/>
                </a:lnTo>
                <a:lnTo>
                  <a:pt x="7912454" y="2246393"/>
                </a:lnTo>
                <a:lnTo>
                  <a:pt x="7919608" y="2253547"/>
                </a:lnTo>
                <a:lnTo>
                  <a:pt x="7919608" y="2260701"/>
                </a:lnTo>
                <a:lnTo>
                  <a:pt x="7919608" y="2267855"/>
                </a:lnTo>
                <a:lnTo>
                  <a:pt x="7912454" y="2278586"/>
                </a:lnTo>
                <a:lnTo>
                  <a:pt x="7898146" y="2300049"/>
                </a:lnTo>
                <a:lnTo>
                  <a:pt x="7890992" y="2328665"/>
                </a:lnTo>
                <a:lnTo>
                  <a:pt x="7890992" y="2357282"/>
                </a:lnTo>
                <a:lnTo>
                  <a:pt x="7901722" y="2385898"/>
                </a:lnTo>
                <a:lnTo>
                  <a:pt x="7905300" y="2393053"/>
                </a:lnTo>
                <a:lnTo>
                  <a:pt x="7901722" y="2407361"/>
                </a:lnTo>
                <a:lnTo>
                  <a:pt x="7890992" y="2432400"/>
                </a:lnTo>
                <a:lnTo>
                  <a:pt x="7890992" y="2464594"/>
                </a:lnTo>
                <a:lnTo>
                  <a:pt x="7887414" y="2528981"/>
                </a:lnTo>
                <a:lnTo>
                  <a:pt x="7880260" y="2586214"/>
                </a:lnTo>
                <a:lnTo>
                  <a:pt x="7883838" y="2647024"/>
                </a:lnTo>
                <a:lnTo>
                  <a:pt x="7883838" y="2668486"/>
                </a:lnTo>
                <a:lnTo>
                  <a:pt x="7883838" y="2693525"/>
                </a:lnTo>
                <a:lnTo>
                  <a:pt x="7876684" y="2714988"/>
                </a:lnTo>
                <a:lnTo>
                  <a:pt x="7865952" y="2736450"/>
                </a:lnTo>
                <a:lnTo>
                  <a:pt x="7855221" y="2754335"/>
                </a:lnTo>
                <a:lnTo>
                  <a:pt x="7837336" y="2772221"/>
                </a:lnTo>
                <a:lnTo>
                  <a:pt x="7819450" y="2786529"/>
                </a:lnTo>
                <a:lnTo>
                  <a:pt x="7797988" y="2800837"/>
                </a:lnTo>
                <a:lnTo>
                  <a:pt x="7783680" y="2807991"/>
                </a:lnTo>
                <a:lnTo>
                  <a:pt x="7772948" y="2818723"/>
                </a:lnTo>
                <a:lnTo>
                  <a:pt x="7762218" y="2836608"/>
                </a:lnTo>
                <a:lnTo>
                  <a:pt x="7758640" y="2854493"/>
                </a:lnTo>
                <a:lnTo>
                  <a:pt x="7772948" y="2858070"/>
                </a:lnTo>
                <a:lnTo>
                  <a:pt x="7780102" y="2858070"/>
                </a:lnTo>
                <a:lnTo>
                  <a:pt x="7801565" y="2843762"/>
                </a:lnTo>
                <a:lnTo>
                  <a:pt x="7823028" y="2840185"/>
                </a:lnTo>
                <a:lnTo>
                  <a:pt x="7830182" y="2840185"/>
                </a:lnTo>
                <a:lnTo>
                  <a:pt x="7840912" y="2843762"/>
                </a:lnTo>
                <a:lnTo>
                  <a:pt x="7844490" y="2847339"/>
                </a:lnTo>
                <a:lnTo>
                  <a:pt x="7848067" y="2858070"/>
                </a:lnTo>
                <a:lnTo>
                  <a:pt x="7848067" y="2879533"/>
                </a:lnTo>
                <a:lnTo>
                  <a:pt x="7844490" y="2904572"/>
                </a:lnTo>
                <a:lnTo>
                  <a:pt x="7837336" y="2929611"/>
                </a:lnTo>
                <a:lnTo>
                  <a:pt x="7823028" y="2972536"/>
                </a:lnTo>
                <a:lnTo>
                  <a:pt x="7808719" y="3015461"/>
                </a:lnTo>
                <a:lnTo>
                  <a:pt x="7797988" y="3036923"/>
                </a:lnTo>
                <a:lnTo>
                  <a:pt x="7787257" y="3054808"/>
                </a:lnTo>
                <a:lnTo>
                  <a:pt x="7776526" y="3076271"/>
                </a:lnTo>
                <a:lnTo>
                  <a:pt x="7755064" y="3090579"/>
                </a:lnTo>
                <a:lnTo>
                  <a:pt x="7744332" y="3104887"/>
                </a:lnTo>
                <a:lnTo>
                  <a:pt x="7740755" y="3119195"/>
                </a:lnTo>
                <a:lnTo>
                  <a:pt x="7740755" y="3208622"/>
                </a:lnTo>
                <a:lnTo>
                  <a:pt x="7744332" y="3219353"/>
                </a:lnTo>
                <a:lnTo>
                  <a:pt x="7751486" y="3233661"/>
                </a:lnTo>
                <a:lnTo>
                  <a:pt x="7758640" y="3240815"/>
                </a:lnTo>
                <a:lnTo>
                  <a:pt x="7776526" y="3247969"/>
                </a:lnTo>
                <a:lnTo>
                  <a:pt x="7794411" y="3247969"/>
                </a:lnTo>
                <a:lnTo>
                  <a:pt x="7837336" y="3255124"/>
                </a:lnTo>
                <a:lnTo>
                  <a:pt x="7855221" y="3262278"/>
                </a:lnTo>
                <a:lnTo>
                  <a:pt x="7865952" y="3273009"/>
                </a:lnTo>
                <a:lnTo>
                  <a:pt x="7880260" y="3283740"/>
                </a:lnTo>
                <a:lnTo>
                  <a:pt x="7890992" y="3301625"/>
                </a:lnTo>
                <a:lnTo>
                  <a:pt x="7898146" y="3319511"/>
                </a:lnTo>
                <a:lnTo>
                  <a:pt x="7905300" y="3340973"/>
                </a:lnTo>
                <a:lnTo>
                  <a:pt x="7905300" y="3351704"/>
                </a:lnTo>
                <a:lnTo>
                  <a:pt x="7905300" y="3362435"/>
                </a:lnTo>
                <a:lnTo>
                  <a:pt x="7890992" y="3380321"/>
                </a:lnTo>
                <a:lnTo>
                  <a:pt x="7865952" y="3405360"/>
                </a:lnTo>
                <a:lnTo>
                  <a:pt x="7837336" y="3426822"/>
                </a:lnTo>
                <a:lnTo>
                  <a:pt x="7794411" y="3455439"/>
                </a:lnTo>
                <a:lnTo>
                  <a:pt x="7823028" y="3491209"/>
                </a:lnTo>
                <a:lnTo>
                  <a:pt x="7837336" y="3505518"/>
                </a:lnTo>
                <a:lnTo>
                  <a:pt x="7837336" y="3519826"/>
                </a:lnTo>
                <a:lnTo>
                  <a:pt x="7837336" y="3530557"/>
                </a:lnTo>
                <a:lnTo>
                  <a:pt x="7826604" y="3544865"/>
                </a:lnTo>
                <a:lnTo>
                  <a:pt x="7787257" y="3594944"/>
                </a:lnTo>
                <a:lnTo>
                  <a:pt x="7783680" y="3609252"/>
                </a:lnTo>
                <a:lnTo>
                  <a:pt x="7780102" y="3623561"/>
                </a:lnTo>
                <a:lnTo>
                  <a:pt x="7783680" y="3634292"/>
                </a:lnTo>
                <a:lnTo>
                  <a:pt x="7797988" y="3648600"/>
                </a:lnTo>
                <a:lnTo>
                  <a:pt x="7808719" y="3666485"/>
                </a:lnTo>
                <a:lnTo>
                  <a:pt x="7819450" y="3684371"/>
                </a:lnTo>
                <a:lnTo>
                  <a:pt x="7823028" y="3705833"/>
                </a:lnTo>
                <a:lnTo>
                  <a:pt x="7819450" y="3727295"/>
                </a:lnTo>
                <a:lnTo>
                  <a:pt x="7823028" y="3748758"/>
                </a:lnTo>
                <a:lnTo>
                  <a:pt x="7826604" y="3773797"/>
                </a:lnTo>
                <a:lnTo>
                  <a:pt x="7837336" y="3791682"/>
                </a:lnTo>
                <a:lnTo>
                  <a:pt x="7855221" y="3813145"/>
                </a:lnTo>
                <a:lnTo>
                  <a:pt x="7865952" y="3831030"/>
                </a:lnTo>
                <a:lnTo>
                  <a:pt x="7880260" y="3845338"/>
                </a:lnTo>
                <a:lnTo>
                  <a:pt x="7883838" y="3870378"/>
                </a:lnTo>
                <a:lnTo>
                  <a:pt x="7883838" y="3895417"/>
                </a:lnTo>
                <a:lnTo>
                  <a:pt x="7880260" y="3916879"/>
                </a:lnTo>
                <a:lnTo>
                  <a:pt x="7869529" y="3938342"/>
                </a:lnTo>
                <a:lnTo>
                  <a:pt x="7862375" y="3956227"/>
                </a:lnTo>
                <a:lnTo>
                  <a:pt x="7844490" y="3974112"/>
                </a:lnTo>
                <a:lnTo>
                  <a:pt x="7837336" y="3977689"/>
                </a:lnTo>
                <a:lnTo>
                  <a:pt x="7826604" y="3981266"/>
                </a:lnTo>
                <a:lnTo>
                  <a:pt x="7801565" y="3981266"/>
                </a:lnTo>
                <a:lnTo>
                  <a:pt x="7772948" y="3981266"/>
                </a:lnTo>
                <a:lnTo>
                  <a:pt x="7758640" y="3981266"/>
                </a:lnTo>
                <a:lnTo>
                  <a:pt x="7751486" y="3984843"/>
                </a:lnTo>
                <a:lnTo>
                  <a:pt x="7740755" y="3995575"/>
                </a:lnTo>
                <a:lnTo>
                  <a:pt x="7737178" y="4002729"/>
                </a:lnTo>
                <a:lnTo>
                  <a:pt x="7726447" y="4031345"/>
                </a:lnTo>
                <a:lnTo>
                  <a:pt x="7722870" y="4070693"/>
                </a:lnTo>
                <a:lnTo>
                  <a:pt x="7722870" y="4085001"/>
                </a:lnTo>
                <a:lnTo>
                  <a:pt x="7726447" y="4099309"/>
                </a:lnTo>
                <a:lnTo>
                  <a:pt x="7737178" y="4110041"/>
                </a:lnTo>
                <a:lnTo>
                  <a:pt x="7751486" y="4120772"/>
                </a:lnTo>
                <a:lnTo>
                  <a:pt x="7783680" y="4142234"/>
                </a:lnTo>
                <a:lnTo>
                  <a:pt x="7797988" y="4149388"/>
                </a:lnTo>
                <a:lnTo>
                  <a:pt x="7794411" y="4167273"/>
                </a:lnTo>
                <a:lnTo>
                  <a:pt x="7783680" y="4174428"/>
                </a:lnTo>
                <a:lnTo>
                  <a:pt x="7772948" y="4185159"/>
                </a:lnTo>
                <a:lnTo>
                  <a:pt x="7758640" y="4192313"/>
                </a:lnTo>
                <a:lnTo>
                  <a:pt x="7744332" y="4203044"/>
                </a:lnTo>
                <a:lnTo>
                  <a:pt x="7737178" y="4213775"/>
                </a:lnTo>
                <a:lnTo>
                  <a:pt x="7762218" y="4238815"/>
                </a:lnTo>
                <a:lnTo>
                  <a:pt x="7776526" y="4238815"/>
                </a:lnTo>
                <a:lnTo>
                  <a:pt x="7805142" y="4249546"/>
                </a:lnTo>
                <a:lnTo>
                  <a:pt x="7819450" y="4253123"/>
                </a:lnTo>
                <a:lnTo>
                  <a:pt x="7826604" y="4260277"/>
                </a:lnTo>
                <a:lnTo>
                  <a:pt x="7830182" y="4271008"/>
                </a:lnTo>
                <a:lnTo>
                  <a:pt x="7837336" y="4285317"/>
                </a:lnTo>
                <a:lnTo>
                  <a:pt x="7837336" y="4317510"/>
                </a:lnTo>
                <a:lnTo>
                  <a:pt x="7837336" y="4331818"/>
                </a:lnTo>
                <a:lnTo>
                  <a:pt x="7830182" y="4338972"/>
                </a:lnTo>
                <a:lnTo>
                  <a:pt x="7826604" y="4349704"/>
                </a:lnTo>
                <a:lnTo>
                  <a:pt x="7815874" y="4353281"/>
                </a:lnTo>
                <a:lnTo>
                  <a:pt x="7797988" y="4349704"/>
                </a:lnTo>
                <a:lnTo>
                  <a:pt x="7780102" y="4338972"/>
                </a:lnTo>
                <a:lnTo>
                  <a:pt x="7755064" y="4313933"/>
                </a:lnTo>
                <a:lnTo>
                  <a:pt x="7744332" y="4310356"/>
                </a:lnTo>
                <a:lnTo>
                  <a:pt x="7733601" y="4306779"/>
                </a:lnTo>
                <a:lnTo>
                  <a:pt x="7722870" y="4310356"/>
                </a:lnTo>
                <a:lnTo>
                  <a:pt x="7712138" y="4313933"/>
                </a:lnTo>
                <a:lnTo>
                  <a:pt x="7690676" y="4338972"/>
                </a:lnTo>
                <a:lnTo>
                  <a:pt x="7672791" y="4360435"/>
                </a:lnTo>
                <a:lnTo>
                  <a:pt x="7669214" y="4374743"/>
                </a:lnTo>
                <a:lnTo>
                  <a:pt x="7662060" y="4381897"/>
                </a:lnTo>
                <a:lnTo>
                  <a:pt x="7662060" y="4403359"/>
                </a:lnTo>
                <a:lnTo>
                  <a:pt x="7658482" y="4421245"/>
                </a:lnTo>
                <a:lnTo>
                  <a:pt x="7640598" y="4453438"/>
                </a:lnTo>
                <a:lnTo>
                  <a:pt x="7622712" y="4485632"/>
                </a:lnTo>
                <a:lnTo>
                  <a:pt x="7601250" y="4517825"/>
                </a:lnTo>
                <a:lnTo>
                  <a:pt x="7597672" y="4524979"/>
                </a:lnTo>
                <a:lnTo>
                  <a:pt x="7590518" y="4535711"/>
                </a:lnTo>
                <a:lnTo>
                  <a:pt x="7569056" y="4550019"/>
                </a:lnTo>
                <a:lnTo>
                  <a:pt x="7551171" y="4560750"/>
                </a:lnTo>
                <a:lnTo>
                  <a:pt x="7533286" y="4560750"/>
                </a:lnTo>
                <a:lnTo>
                  <a:pt x="7515400" y="4557173"/>
                </a:lnTo>
                <a:lnTo>
                  <a:pt x="7508246" y="4546442"/>
                </a:lnTo>
                <a:lnTo>
                  <a:pt x="7497515" y="4528557"/>
                </a:lnTo>
                <a:lnTo>
                  <a:pt x="7497515" y="4517825"/>
                </a:lnTo>
                <a:lnTo>
                  <a:pt x="7508246" y="4507094"/>
                </a:lnTo>
                <a:lnTo>
                  <a:pt x="7518978" y="4499940"/>
                </a:lnTo>
                <a:lnTo>
                  <a:pt x="7544017" y="4464169"/>
                </a:lnTo>
                <a:lnTo>
                  <a:pt x="7594096" y="4399782"/>
                </a:lnTo>
                <a:lnTo>
                  <a:pt x="7640598" y="4335395"/>
                </a:lnTo>
                <a:lnTo>
                  <a:pt x="7658482" y="4306779"/>
                </a:lnTo>
                <a:lnTo>
                  <a:pt x="7669214" y="4274585"/>
                </a:lnTo>
                <a:lnTo>
                  <a:pt x="7669214" y="4256700"/>
                </a:lnTo>
                <a:lnTo>
                  <a:pt x="7662060" y="4238815"/>
                </a:lnTo>
                <a:lnTo>
                  <a:pt x="7651328" y="4231661"/>
                </a:lnTo>
                <a:lnTo>
                  <a:pt x="7629866" y="4224507"/>
                </a:lnTo>
                <a:lnTo>
                  <a:pt x="7608404" y="4217352"/>
                </a:lnTo>
                <a:lnTo>
                  <a:pt x="7594096" y="4206621"/>
                </a:lnTo>
                <a:lnTo>
                  <a:pt x="7579788" y="4192313"/>
                </a:lnTo>
                <a:lnTo>
                  <a:pt x="7576210" y="4170851"/>
                </a:lnTo>
                <a:lnTo>
                  <a:pt x="7569056" y="4149388"/>
                </a:lnTo>
                <a:lnTo>
                  <a:pt x="7554748" y="4135080"/>
                </a:lnTo>
                <a:lnTo>
                  <a:pt x="7551171" y="4131503"/>
                </a:lnTo>
                <a:lnTo>
                  <a:pt x="7544017" y="4131503"/>
                </a:lnTo>
                <a:lnTo>
                  <a:pt x="7518978" y="4142234"/>
                </a:lnTo>
                <a:lnTo>
                  <a:pt x="7493938" y="4152965"/>
                </a:lnTo>
                <a:lnTo>
                  <a:pt x="7483207" y="4156542"/>
                </a:lnTo>
                <a:lnTo>
                  <a:pt x="7468898" y="4152965"/>
                </a:lnTo>
                <a:lnTo>
                  <a:pt x="7447436" y="4145811"/>
                </a:lnTo>
                <a:lnTo>
                  <a:pt x="7425974" y="4127926"/>
                </a:lnTo>
                <a:lnTo>
                  <a:pt x="7408088" y="4106463"/>
                </a:lnTo>
                <a:lnTo>
                  <a:pt x="7400934" y="4085001"/>
                </a:lnTo>
                <a:lnTo>
                  <a:pt x="7393780" y="4059962"/>
                </a:lnTo>
                <a:lnTo>
                  <a:pt x="7400934" y="4027768"/>
                </a:lnTo>
                <a:lnTo>
                  <a:pt x="7411666" y="4002729"/>
                </a:lnTo>
                <a:lnTo>
                  <a:pt x="7425974" y="3981266"/>
                </a:lnTo>
                <a:lnTo>
                  <a:pt x="7433128" y="3959804"/>
                </a:lnTo>
                <a:lnTo>
                  <a:pt x="7440282" y="3941919"/>
                </a:lnTo>
                <a:lnTo>
                  <a:pt x="7433128" y="3924033"/>
                </a:lnTo>
                <a:lnTo>
                  <a:pt x="7425974" y="3902571"/>
                </a:lnTo>
                <a:lnTo>
                  <a:pt x="7408088" y="3870378"/>
                </a:lnTo>
                <a:lnTo>
                  <a:pt x="7390204" y="3831030"/>
                </a:lnTo>
                <a:lnTo>
                  <a:pt x="7383049" y="3813145"/>
                </a:lnTo>
                <a:lnTo>
                  <a:pt x="7368741" y="3802413"/>
                </a:lnTo>
                <a:lnTo>
                  <a:pt x="7361587" y="3798836"/>
                </a:lnTo>
                <a:lnTo>
                  <a:pt x="7343702" y="3798836"/>
                </a:lnTo>
                <a:lnTo>
                  <a:pt x="7329394" y="3809568"/>
                </a:lnTo>
                <a:lnTo>
                  <a:pt x="7322239" y="3820299"/>
                </a:lnTo>
                <a:lnTo>
                  <a:pt x="7322239" y="3831030"/>
                </a:lnTo>
                <a:lnTo>
                  <a:pt x="7322239" y="3845338"/>
                </a:lnTo>
                <a:lnTo>
                  <a:pt x="7325816" y="3877532"/>
                </a:lnTo>
                <a:lnTo>
                  <a:pt x="7325816" y="3913302"/>
                </a:lnTo>
                <a:lnTo>
                  <a:pt x="7318662" y="3938342"/>
                </a:lnTo>
                <a:lnTo>
                  <a:pt x="7300777" y="3966958"/>
                </a:lnTo>
                <a:lnTo>
                  <a:pt x="7290046" y="3984843"/>
                </a:lnTo>
                <a:lnTo>
                  <a:pt x="7290046" y="3999152"/>
                </a:lnTo>
                <a:lnTo>
                  <a:pt x="7297200" y="4009883"/>
                </a:lnTo>
                <a:lnTo>
                  <a:pt x="7304354" y="4027768"/>
                </a:lnTo>
                <a:lnTo>
                  <a:pt x="7329394" y="4049231"/>
                </a:lnTo>
                <a:lnTo>
                  <a:pt x="7322239" y="4067116"/>
                </a:lnTo>
                <a:lnTo>
                  <a:pt x="7311508" y="4081424"/>
                </a:lnTo>
                <a:lnTo>
                  <a:pt x="7297200" y="4088578"/>
                </a:lnTo>
                <a:lnTo>
                  <a:pt x="7279314" y="4092155"/>
                </a:lnTo>
                <a:lnTo>
                  <a:pt x="7261429" y="4102886"/>
                </a:lnTo>
                <a:lnTo>
                  <a:pt x="7243544" y="4110041"/>
                </a:lnTo>
                <a:lnTo>
                  <a:pt x="7232812" y="4124349"/>
                </a:lnTo>
                <a:lnTo>
                  <a:pt x="7222082" y="4142234"/>
                </a:lnTo>
                <a:lnTo>
                  <a:pt x="7207774" y="4163696"/>
                </a:lnTo>
                <a:lnTo>
                  <a:pt x="7193465" y="4174428"/>
                </a:lnTo>
                <a:lnTo>
                  <a:pt x="7172002" y="4185159"/>
                </a:lnTo>
                <a:lnTo>
                  <a:pt x="7139809" y="4185159"/>
                </a:lnTo>
                <a:lnTo>
                  <a:pt x="7121924" y="4181582"/>
                </a:lnTo>
                <a:lnTo>
                  <a:pt x="7104038" y="4185159"/>
                </a:lnTo>
                <a:lnTo>
                  <a:pt x="7093308" y="4192313"/>
                </a:lnTo>
                <a:lnTo>
                  <a:pt x="7078999" y="4203044"/>
                </a:lnTo>
                <a:lnTo>
                  <a:pt x="7075422" y="4213775"/>
                </a:lnTo>
                <a:lnTo>
                  <a:pt x="7071845" y="4228084"/>
                </a:lnTo>
                <a:lnTo>
                  <a:pt x="7071845" y="4249546"/>
                </a:lnTo>
                <a:lnTo>
                  <a:pt x="7075422" y="4267431"/>
                </a:lnTo>
                <a:lnTo>
                  <a:pt x="7082576" y="4296048"/>
                </a:lnTo>
                <a:lnTo>
                  <a:pt x="7100462" y="4321087"/>
                </a:lnTo>
                <a:lnTo>
                  <a:pt x="7114770" y="4338972"/>
                </a:lnTo>
                <a:lnTo>
                  <a:pt x="7132655" y="4356858"/>
                </a:lnTo>
                <a:lnTo>
                  <a:pt x="7154118" y="4364012"/>
                </a:lnTo>
                <a:lnTo>
                  <a:pt x="7175580" y="4364012"/>
                </a:lnTo>
                <a:lnTo>
                  <a:pt x="7197042" y="4364012"/>
                </a:lnTo>
                <a:lnTo>
                  <a:pt x="7214928" y="4364012"/>
                </a:lnTo>
                <a:lnTo>
                  <a:pt x="7232812" y="4371166"/>
                </a:lnTo>
                <a:lnTo>
                  <a:pt x="7247121" y="4364012"/>
                </a:lnTo>
                <a:lnTo>
                  <a:pt x="7261429" y="4353281"/>
                </a:lnTo>
                <a:lnTo>
                  <a:pt x="7275738" y="4338972"/>
                </a:lnTo>
                <a:lnTo>
                  <a:pt x="7279314" y="4321087"/>
                </a:lnTo>
                <a:lnTo>
                  <a:pt x="7282892" y="4306779"/>
                </a:lnTo>
                <a:lnTo>
                  <a:pt x="7282892" y="4288894"/>
                </a:lnTo>
                <a:lnTo>
                  <a:pt x="7268584" y="4271008"/>
                </a:lnTo>
                <a:lnTo>
                  <a:pt x="7261429" y="4260277"/>
                </a:lnTo>
                <a:lnTo>
                  <a:pt x="7261429" y="4249546"/>
                </a:lnTo>
                <a:lnTo>
                  <a:pt x="7268584" y="4231661"/>
                </a:lnTo>
                <a:lnTo>
                  <a:pt x="7282892" y="4217352"/>
                </a:lnTo>
                <a:lnTo>
                  <a:pt x="7286468" y="4217352"/>
                </a:lnTo>
                <a:lnTo>
                  <a:pt x="7297200" y="4224507"/>
                </a:lnTo>
                <a:lnTo>
                  <a:pt x="7304354" y="4228084"/>
                </a:lnTo>
                <a:lnTo>
                  <a:pt x="7307931" y="4231661"/>
                </a:lnTo>
                <a:lnTo>
                  <a:pt x="7318662" y="4260277"/>
                </a:lnTo>
                <a:lnTo>
                  <a:pt x="7325816" y="4292471"/>
                </a:lnTo>
                <a:lnTo>
                  <a:pt x="7325816" y="4321087"/>
                </a:lnTo>
                <a:lnTo>
                  <a:pt x="7322239" y="4353281"/>
                </a:lnTo>
                <a:lnTo>
                  <a:pt x="7311508" y="4371166"/>
                </a:lnTo>
                <a:lnTo>
                  <a:pt x="7297200" y="4381897"/>
                </a:lnTo>
                <a:lnTo>
                  <a:pt x="7282892" y="4396205"/>
                </a:lnTo>
                <a:lnTo>
                  <a:pt x="7268584" y="4410514"/>
                </a:lnTo>
                <a:lnTo>
                  <a:pt x="7257852" y="4421245"/>
                </a:lnTo>
                <a:lnTo>
                  <a:pt x="7254275" y="4439130"/>
                </a:lnTo>
                <a:lnTo>
                  <a:pt x="7247121" y="4457015"/>
                </a:lnTo>
                <a:lnTo>
                  <a:pt x="7243544" y="4474901"/>
                </a:lnTo>
                <a:lnTo>
                  <a:pt x="7247121" y="4492786"/>
                </a:lnTo>
                <a:lnTo>
                  <a:pt x="7254275" y="4507094"/>
                </a:lnTo>
                <a:lnTo>
                  <a:pt x="7257852" y="4528557"/>
                </a:lnTo>
                <a:lnTo>
                  <a:pt x="7257852" y="4546442"/>
                </a:lnTo>
                <a:lnTo>
                  <a:pt x="7254275" y="4564327"/>
                </a:lnTo>
                <a:lnTo>
                  <a:pt x="7243544" y="4578635"/>
                </a:lnTo>
                <a:lnTo>
                  <a:pt x="7243544" y="4582212"/>
                </a:lnTo>
                <a:lnTo>
                  <a:pt x="7232812" y="4610829"/>
                </a:lnTo>
                <a:lnTo>
                  <a:pt x="7214928" y="4639445"/>
                </a:lnTo>
                <a:lnTo>
                  <a:pt x="7197042" y="4664485"/>
                </a:lnTo>
                <a:lnTo>
                  <a:pt x="7179157" y="4685947"/>
                </a:lnTo>
                <a:lnTo>
                  <a:pt x="7136232" y="4728872"/>
                </a:lnTo>
                <a:lnTo>
                  <a:pt x="7082576" y="4764642"/>
                </a:lnTo>
                <a:lnTo>
                  <a:pt x="7046806" y="4789682"/>
                </a:lnTo>
                <a:lnTo>
                  <a:pt x="7000304" y="4811144"/>
                </a:lnTo>
                <a:lnTo>
                  <a:pt x="6964534" y="4836184"/>
                </a:lnTo>
                <a:lnTo>
                  <a:pt x="6925186" y="4861223"/>
                </a:lnTo>
                <a:lnTo>
                  <a:pt x="6910878" y="4871954"/>
                </a:lnTo>
                <a:lnTo>
                  <a:pt x="6896569" y="4879108"/>
                </a:lnTo>
                <a:lnTo>
                  <a:pt x="6882261" y="4879108"/>
                </a:lnTo>
                <a:lnTo>
                  <a:pt x="6867952" y="4879108"/>
                </a:lnTo>
                <a:lnTo>
                  <a:pt x="6832182" y="4875531"/>
                </a:lnTo>
                <a:lnTo>
                  <a:pt x="6792834" y="4854069"/>
                </a:lnTo>
                <a:lnTo>
                  <a:pt x="6782104" y="4871954"/>
                </a:lnTo>
                <a:lnTo>
                  <a:pt x="6778526" y="4882685"/>
                </a:lnTo>
                <a:lnTo>
                  <a:pt x="6771372" y="4900571"/>
                </a:lnTo>
                <a:lnTo>
                  <a:pt x="6771372" y="4914879"/>
                </a:lnTo>
                <a:lnTo>
                  <a:pt x="6771372" y="4932764"/>
                </a:lnTo>
                <a:lnTo>
                  <a:pt x="6778526" y="4943495"/>
                </a:lnTo>
                <a:lnTo>
                  <a:pt x="6785680" y="4961381"/>
                </a:lnTo>
                <a:lnTo>
                  <a:pt x="6799988" y="4979266"/>
                </a:lnTo>
                <a:lnTo>
                  <a:pt x="6778526" y="4986420"/>
                </a:lnTo>
                <a:lnTo>
                  <a:pt x="6760641" y="4993574"/>
                </a:lnTo>
                <a:lnTo>
                  <a:pt x="6746332" y="4993574"/>
                </a:lnTo>
                <a:lnTo>
                  <a:pt x="6724870" y="4979266"/>
                </a:lnTo>
                <a:lnTo>
                  <a:pt x="6689100" y="4961381"/>
                </a:lnTo>
                <a:lnTo>
                  <a:pt x="6656906" y="4943495"/>
                </a:lnTo>
                <a:lnTo>
                  <a:pt x="6635444" y="4932764"/>
                </a:lnTo>
                <a:lnTo>
                  <a:pt x="6613982" y="4918456"/>
                </a:lnTo>
                <a:lnTo>
                  <a:pt x="6596096" y="4900571"/>
                </a:lnTo>
                <a:lnTo>
                  <a:pt x="6578211" y="4879108"/>
                </a:lnTo>
                <a:lnTo>
                  <a:pt x="6624712" y="4861223"/>
                </a:lnTo>
                <a:lnTo>
                  <a:pt x="6724870" y="4829029"/>
                </a:lnTo>
                <a:lnTo>
                  <a:pt x="6735602" y="4825452"/>
                </a:lnTo>
                <a:lnTo>
                  <a:pt x="6746332" y="4825452"/>
                </a:lnTo>
                <a:lnTo>
                  <a:pt x="6771372" y="4818298"/>
                </a:lnTo>
                <a:lnTo>
                  <a:pt x="6785680" y="4814721"/>
                </a:lnTo>
                <a:lnTo>
                  <a:pt x="6789258" y="4807567"/>
                </a:lnTo>
                <a:lnTo>
                  <a:pt x="6792834" y="4771796"/>
                </a:lnTo>
                <a:lnTo>
                  <a:pt x="6799988" y="4736026"/>
                </a:lnTo>
                <a:lnTo>
                  <a:pt x="6789258" y="4721718"/>
                </a:lnTo>
                <a:lnTo>
                  <a:pt x="6782104" y="4703832"/>
                </a:lnTo>
                <a:lnTo>
                  <a:pt x="6767795" y="4682370"/>
                </a:lnTo>
                <a:lnTo>
                  <a:pt x="6767795" y="4653754"/>
                </a:lnTo>
                <a:lnTo>
                  <a:pt x="6771372" y="4632291"/>
                </a:lnTo>
                <a:lnTo>
                  <a:pt x="6789258" y="4610829"/>
                </a:lnTo>
                <a:lnTo>
                  <a:pt x="6807142" y="4589367"/>
                </a:lnTo>
                <a:lnTo>
                  <a:pt x="6817874" y="4567904"/>
                </a:lnTo>
                <a:lnTo>
                  <a:pt x="6810720" y="4546442"/>
                </a:lnTo>
                <a:lnTo>
                  <a:pt x="6807142" y="4539288"/>
                </a:lnTo>
                <a:lnTo>
                  <a:pt x="6803566" y="4535711"/>
                </a:lnTo>
                <a:lnTo>
                  <a:pt x="6792834" y="4524979"/>
                </a:lnTo>
                <a:lnTo>
                  <a:pt x="6782104" y="4521402"/>
                </a:lnTo>
                <a:lnTo>
                  <a:pt x="6760641" y="4517825"/>
                </a:lnTo>
                <a:lnTo>
                  <a:pt x="6742756" y="4514248"/>
                </a:lnTo>
                <a:lnTo>
                  <a:pt x="6724870" y="4503517"/>
                </a:lnTo>
                <a:lnTo>
                  <a:pt x="6714139" y="4485632"/>
                </a:lnTo>
                <a:lnTo>
                  <a:pt x="6703408" y="4482055"/>
                </a:lnTo>
                <a:lnTo>
                  <a:pt x="6689100" y="4478478"/>
                </a:lnTo>
                <a:lnTo>
                  <a:pt x="6631867" y="4492786"/>
                </a:lnTo>
                <a:lnTo>
                  <a:pt x="6563902" y="4503517"/>
                </a:lnTo>
                <a:lnTo>
                  <a:pt x="6560326" y="4507094"/>
                </a:lnTo>
                <a:lnTo>
                  <a:pt x="6556748" y="4514248"/>
                </a:lnTo>
                <a:lnTo>
                  <a:pt x="6553172" y="4521402"/>
                </a:lnTo>
                <a:lnTo>
                  <a:pt x="6553172" y="4524979"/>
                </a:lnTo>
                <a:lnTo>
                  <a:pt x="6560326" y="4542865"/>
                </a:lnTo>
                <a:lnTo>
                  <a:pt x="6571057" y="4546442"/>
                </a:lnTo>
                <a:lnTo>
                  <a:pt x="6574634" y="4546442"/>
                </a:lnTo>
                <a:lnTo>
                  <a:pt x="6596096" y="4546442"/>
                </a:lnTo>
                <a:lnTo>
                  <a:pt x="6613982" y="4550019"/>
                </a:lnTo>
                <a:lnTo>
                  <a:pt x="6631867" y="4560750"/>
                </a:lnTo>
                <a:lnTo>
                  <a:pt x="6642598" y="4567904"/>
                </a:lnTo>
                <a:lnTo>
                  <a:pt x="6667638" y="4589367"/>
                </a:lnTo>
                <a:lnTo>
                  <a:pt x="6699831" y="4610829"/>
                </a:lnTo>
                <a:lnTo>
                  <a:pt x="6706985" y="4621560"/>
                </a:lnTo>
                <a:lnTo>
                  <a:pt x="6717716" y="4628714"/>
                </a:lnTo>
                <a:lnTo>
                  <a:pt x="6724870" y="4653754"/>
                </a:lnTo>
                <a:lnTo>
                  <a:pt x="6721294" y="4664485"/>
                </a:lnTo>
                <a:lnTo>
                  <a:pt x="6721294" y="4671639"/>
                </a:lnTo>
                <a:lnTo>
                  <a:pt x="6706985" y="4685947"/>
                </a:lnTo>
                <a:lnTo>
                  <a:pt x="6689100" y="4689524"/>
                </a:lnTo>
                <a:lnTo>
                  <a:pt x="6674792" y="4693101"/>
                </a:lnTo>
                <a:lnTo>
                  <a:pt x="6656906" y="4689524"/>
                </a:lnTo>
                <a:lnTo>
                  <a:pt x="6642598" y="4682370"/>
                </a:lnTo>
                <a:lnTo>
                  <a:pt x="6631867" y="4668062"/>
                </a:lnTo>
                <a:lnTo>
                  <a:pt x="6617558" y="4660908"/>
                </a:lnTo>
                <a:lnTo>
                  <a:pt x="6581788" y="4650177"/>
                </a:lnTo>
                <a:lnTo>
                  <a:pt x="6571057" y="4646599"/>
                </a:lnTo>
                <a:lnTo>
                  <a:pt x="6553172" y="4639445"/>
                </a:lnTo>
                <a:lnTo>
                  <a:pt x="6517401" y="4621560"/>
                </a:lnTo>
                <a:lnTo>
                  <a:pt x="6513824" y="4628714"/>
                </a:lnTo>
                <a:lnTo>
                  <a:pt x="6510247" y="4639445"/>
                </a:lnTo>
                <a:lnTo>
                  <a:pt x="6495938" y="4668062"/>
                </a:lnTo>
                <a:lnTo>
                  <a:pt x="6488784" y="4682370"/>
                </a:lnTo>
                <a:lnTo>
                  <a:pt x="6478054" y="4689524"/>
                </a:lnTo>
                <a:lnTo>
                  <a:pt x="6467322" y="4700255"/>
                </a:lnTo>
                <a:lnTo>
                  <a:pt x="6453014" y="4703832"/>
                </a:lnTo>
                <a:lnTo>
                  <a:pt x="6435128" y="4703832"/>
                </a:lnTo>
                <a:lnTo>
                  <a:pt x="6417244" y="4703832"/>
                </a:lnTo>
                <a:lnTo>
                  <a:pt x="6395781" y="4707409"/>
                </a:lnTo>
                <a:lnTo>
                  <a:pt x="6377896" y="4710987"/>
                </a:lnTo>
                <a:lnTo>
                  <a:pt x="6342125" y="4721718"/>
                </a:lnTo>
                <a:lnTo>
                  <a:pt x="6306354" y="4721718"/>
                </a:lnTo>
                <a:lnTo>
                  <a:pt x="6267007" y="4714564"/>
                </a:lnTo>
                <a:lnTo>
                  <a:pt x="6231236" y="4707409"/>
                </a:lnTo>
                <a:lnTo>
                  <a:pt x="6199043" y="4703832"/>
                </a:lnTo>
                <a:lnTo>
                  <a:pt x="6181158" y="4703832"/>
                </a:lnTo>
                <a:lnTo>
                  <a:pt x="6170427" y="4703832"/>
                </a:lnTo>
                <a:lnTo>
                  <a:pt x="6159695" y="4707409"/>
                </a:lnTo>
                <a:lnTo>
                  <a:pt x="6148964" y="4714564"/>
                </a:lnTo>
                <a:lnTo>
                  <a:pt x="6123925" y="4746757"/>
                </a:lnTo>
                <a:lnTo>
                  <a:pt x="6106039" y="4775374"/>
                </a:lnTo>
                <a:lnTo>
                  <a:pt x="6081000" y="4803990"/>
                </a:lnTo>
                <a:lnTo>
                  <a:pt x="6066692" y="4807567"/>
                </a:lnTo>
                <a:lnTo>
                  <a:pt x="6055961" y="4814721"/>
                </a:lnTo>
                <a:lnTo>
                  <a:pt x="6023767" y="4825452"/>
                </a:lnTo>
                <a:lnTo>
                  <a:pt x="6009459" y="4832606"/>
                </a:lnTo>
                <a:lnTo>
                  <a:pt x="5998728" y="4836184"/>
                </a:lnTo>
                <a:lnTo>
                  <a:pt x="5995151" y="4846915"/>
                </a:lnTo>
                <a:lnTo>
                  <a:pt x="5998728" y="4868377"/>
                </a:lnTo>
                <a:lnTo>
                  <a:pt x="6009459" y="4889839"/>
                </a:lnTo>
                <a:lnTo>
                  <a:pt x="6013036" y="4893416"/>
                </a:lnTo>
                <a:lnTo>
                  <a:pt x="6020190" y="4896994"/>
                </a:lnTo>
                <a:lnTo>
                  <a:pt x="6034498" y="4907725"/>
                </a:lnTo>
                <a:lnTo>
                  <a:pt x="6045229" y="4914879"/>
                </a:lnTo>
                <a:lnTo>
                  <a:pt x="6055961" y="4929187"/>
                </a:lnTo>
                <a:lnTo>
                  <a:pt x="6063115" y="4939918"/>
                </a:lnTo>
                <a:lnTo>
                  <a:pt x="6063115" y="4954226"/>
                </a:lnTo>
                <a:lnTo>
                  <a:pt x="6063115" y="4972112"/>
                </a:lnTo>
                <a:lnTo>
                  <a:pt x="6059538" y="4982843"/>
                </a:lnTo>
                <a:lnTo>
                  <a:pt x="6055961" y="4997151"/>
                </a:lnTo>
                <a:lnTo>
                  <a:pt x="6045229" y="5011459"/>
                </a:lnTo>
                <a:lnTo>
                  <a:pt x="6038075" y="5015036"/>
                </a:lnTo>
                <a:lnTo>
                  <a:pt x="6023767" y="5018614"/>
                </a:lnTo>
                <a:lnTo>
                  <a:pt x="5995151" y="5018614"/>
                </a:lnTo>
                <a:lnTo>
                  <a:pt x="5959380" y="5015036"/>
                </a:lnTo>
                <a:lnTo>
                  <a:pt x="5952226" y="5011459"/>
                </a:lnTo>
                <a:lnTo>
                  <a:pt x="5941495" y="5004305"/>
                </a:lnTo>
                <a:lnTo>
                  <a:pt x="5937918" y="4997151"/>
                </a:lnTo>
                <a:lnTo>
                  <a:pt x="5934341" y="4986420"/>
                </a:lnTo>
                <a:lnTo>
                  <a:pt x="5937918" y="4975689"/>
                </a:lnTo>
                <a:lnTo>
                  <a:pt x="5937918" y="4964958"/>
                </a:lnTo>
                <a:lnTo>
                  <a:pt x="5941495" y="4932764"/>
                </a:lnTo>
                <a:lnTo>
                  <a:pt x="5937918" y="4900571"/>
                </a:lnTo>
                <a:lnTo>
                  <a:pt x="5927187" y="4879108"/>
                </a:lnTo>
                <a:lnTo>
                  <a:pt x="5916455" y="4871954"/>
                </a:lnTo>
                <a:lnTo>
                  <a:pt x="5909301" y="4868377"/>
                </a:lnTo>
                <a:lnTo>
                  <a:pt x="5894993" y="4861223"/>
                </a:lnTo>
                <a:lnTo>
                  <a:pt x="5884262" y="4861223"/>
                </a:lnTo>
                <a:lnTo>
                  <a:pt x="5848491" y="4868377"/>
                </a:lnTo>
                <a:lnTo>
                  <a:pt x="5812721" y="4879108"/>
                </a:lnTo>
                <a:lnTo>
                  <a:pt x="5801989" y="4889839"/>
                </a:lnTo>
                <a:lnTo>
                  <a:pt x="5787681" y="4896994"/>
                </a:lnTo>
                <a:lnTo>
                  <a:pt x="5748334" y="4943495"/>
                </a:lnTo>
                <a:lnTo>
                  <a:pt x="5730448" y="4957804"/>
                </a:lnTo>
                <a:lnTo>
                  <a:pt x="5683947" y="4932764"/>
                </a:lnTo>
                <a:lnTo>
                  <a:pt x="5630291" y="4907725"/>
                </a:lnTo>
                <a:lnTo>
                  <a:pt x="5623137" y="4896994"/>
                </a:lnTo>
                <a:lnTo>
                  <a:pt x="5619559" y="4882685"/>
                </a:lnTo>
                <a:lnTo>
                  <a:pt x="5619559" y="4871954"/>
                </a:lnTo>
                <a:lnTo>
                  <a:pt x="5619559" y="4854069"/>
                </a:lnTo>
                <a:lnTo>
                  <a:pt x="5623137" y="4836184"/>
                </a:lnTo>
                <a:lnTo>
                  <a:pt x="5630291" y="4825452"/>
                </a:lnTo>
                <a:lnTo>
                  <a:pt x="5641022" y="4811144"/>
                </a:lnTo>
                <a:lnTo>
                  <a:pt x="5648176" y="4803990"/>
                </a:lnTo>
                <a:lnTo>
                  <a:pt x="5701832" y="4789682"/>
                </a:lnTo>
                <a:lnTo>
                  <a:pt x="5751911" y="4775374"/>
                </a:lnTo>
                <a:lnTo>
                  <a:pt x="5809144" y="4768219"/>
                </a:lnTo>
                <a:lnTo>
                  <a:pt x="5805567" y="4743180"/>
                </a:lnTo>
                <a:lnTo>
                  <a:pt x="5794835" y="4714564"/>
                </a:lnTo>
                <a:lnTo>
                  <a:pt x="5784104" y="4693101"/>
                </a:lnTo>
                <a:lnTo>
                  <a:pt x="5762642" y="4682370"/>
                </a:lnTo>
                <a:lnTo>
                  <a:pt x="5744757" y="4675216"/>
                </a:lnTo>
                <a:lnTo>
                  <a:pt x="5719717" y="4675216"/>
                </a:lnTo>
                <a:lnTo>
                  <a:pt x="5669638" y="4671639"/>
                </a:lnTo>
                <a:lnTo>
                  <a:pt x="5662484" y="4643022"/>
                </a:lnTo>
                <a:lnTo>
                  <a:pt x="5662484" y="4632291"/>
                </a:lnTo>
                <a:lnTo>
                  <a:pt x="5641022" y="4603675"/>
                </a:lnTo>
                <a:lnTo>
                  <a:pt x="5619559" y="4578635"/>
                </a:lnTo>
                <a:lnTo>
                  <a:pt x="5565904" y="4535711"/>
                </a:lnTo>
                <a:lnTo>
                  <a:pt x="5558749" y="4528557"/>
                </a:lnTo>
                <a:lnTo>
                  <a:pt x="5548018" y="4524979"/>
                </a:lnTo>
                <a:lnTo>
                  <a:pt x="5540864" y="4528557"/>
                </a:lnTo>
                <a:lnTo>
                  <a:pt x="5533710" y="4535711"/>
                </a:lnTo>
                <a:lnTo>
                  <a:pt x="5526556" y="4539288"/>
                </a:lnTo>
                <a:lnTo>
                  <a:pt x="5522979" y="4546442"/>
                </a:lnTo>
                <a:lnTo>
                  <a:pt x="5522979" y="4560750"/>
                </a:lnTo>
                <a:lnTo>
                  <a:pt x="5522979" y="4567904"/>
                </a:lnTo>
                <a:lnTo>
                  <a:pt x="5533710" y="4596521"/>
                </a:lnTo>
                <a:lnTo>
                  <a:pt x="5537287" y="4625137"/>
                </a:lnTo>
                <a:lnTo>
                  <a:pt x="5537287" y="4650177"/>
                </a:lnTo>
                <a:lnTo>
                  <a:pt x="5533710" y="4675216"/>
                </a:lnTo>
                <a:lnTo>
                  <a:pt x="5533710" y="4685947"/>
                </a:lnTo>
                <a:lnTo>
                  <a:pt x="5533710" y="4700255"/>
                </a:lnTo>
                <a:lnTo>
                  <a:pt x="5540864" y="4721718"/>
                </a:lnTo>
                <a:lnTo>
                  <a:pt x="5544441" y="4746757"/>
                </a:lnTo>
                <a:lnTo>
                  <a:pt x="5544441" y="4757488"/>
                </a:lnTo>
                <a:lnTo>
                  <a:pt x="5540864" y="4768219"/>
                </a:lnTo>
                <a:lnTo>
                  <a:pt x="5537287" y="4775374"/>
                </a:lnTo>
                <a:lnTo>
                  <a:pt x="5526556" y="4778951"/>
                </a:lnTo>
                <a:lnTo>
                  <a:pt x="5501517" y="4789682"/>
                </a:lnTo>
                <a:lnTo>
                  <a:pt x="5469323" y="4793259"/>
                </a:lnTo>
                <a:lnTo>
                  <a:pt x="5433552" y="4793259"/>
                </a:lnTo>
                <a:lnTo>
                  <a:pt x="5401359" y="4793259"/>
                </a:lnTo>
                <a:lnTo>
                  <a:pt x="5369165" y="4786105"/>
                </a:lnTo>
                <a:lnTo>
                  <a:pt x="5351280" y="4775374"/>
                </a:lnTo>
                <a:lnTo>
                  <a:pt x="5329818" y="4771796"/>
                </a:lnTo>
                <a:lnTo>
                  <a:pt x="5308355" y="4771796"/>
                </a:lnTo>
                <a:lnTo>
                  <a:pt x="5286893" y="4778951"/>
                </a:lnTo>
                <a:lnTo>
                  <a:pt x="5272585" y="4786105"/>
                </a:lnTo>
                <a:lnTo>
                  <a:pt x="5254700" y="4786105"/>
                </a:lnTo>
                <a:lnTo>
                  <a:pt x="5236814" y="4778951"/>
                </a:lnTo>
                <a:lnTo>
                  <a:pt x="5222506" y="4778951"/>
                </a:lnTo>
                <a:lnTo>
                  <a:pt x="5186735" y="4789682"/>
                </a:lnTo>
                <a:lnTo>
                  <a:pt x="5125925" y="4814721"/>
                </a:lnTo>
                <a:lnTo>
                  <a:pt x="5125925" y="4832606"/>
                </a:lnTo>
                <a:lnTo>
                  <a:pt x="5133080" y="4850492"/>
                </a:lnTo>
                <a:lnTo>
                  <a:pt x="5143811" y="4857646"/>
                </a:lnTo>
                <a:lnTo>
                  <a:pt x="5158119" y="4868377"/>
                </a:lnTo>
                <a:lnTo>
                  <a:pt x="5168850" y="4871954"/>
                </a:lnTo>
                <a:lnTo>
                  <a:pt x="5183158" y="4879108"/>
                </a:lnTo>
                <a:lnTo>
                  <a:pt x="5186735" y="4889839"/>
                </a:lnTo>
                <a:lnTo>
                  <a:pt x="5183158" y="4900571"/>
                </a:lnTo>
                <a:lnTo>
                  <a:pt x="5165273" y="4929187"/>
                </a:lnTo>
                <a:lnTo>
                  <a:pt x="5158119" y="4939918"/>
                </a:lnTo>
                <a:lnTo>
                  <a:pt x="5143811" y="4943495"/>
                </a:lnTo>
                <a:lnTo>
                  <a:pt x="5111617" y="4950649"/>
                </a:lnTo>
                <a:lnTo>
                  <a:pt x="5083001" y="4950649"/>
                </a:lnTo>
                <a:lnTo>
                  <a:pt x="5065115" y="4950649"/>
                </a:lnTo>
                <a:lnTo>
                  <a:pt x="5054384" y="4939918"/>
                </a:lnTo>
                <a:lnTo>
                  <a:pt x="5040076" y="4932764"/>
                </a:lnTo>
                <a:lnTo>
                  <a:pt x="5025768" y="4918456"/>
                </a:lnTo>
                <a:lnTo>
                  <a:pt x="5018614" y="4896994"/>
                </a:lnTo>
                <a:lnTo>
                  <a:pt x="5007882" y="4875531"/>
                </a:lnTo>
                <a:lnTo>
                  <a:pt x="5004305" y="4854069"/>
                </a:lnTo>
                <a:lnTo>
                  <a:pt x="4997151" y="4836184"/>
                </a:lnTo>
                <a:lnTo>
                  <a:pt x="4979266" y="4829029"/>
                </a:lnTo>
                <a:lnTo>
                  <a:pt x="4954227" y="4829029"/>
                </a:lnTo>
                <a:lnTo>
                  <a:pt x="4936341" y="4829029"/>
                </a:lnTo>
                <a:lnTo>
                  <a:pt x="4918456" y="4825452"/>
                </a:lnTo>
                <a:lnTo>
                  <a:pt x="4889840" y="4807567"/>
                </a:lnTo>
                <a:lnTo>
                  <a:pt x="4829030" y="4775374"/>
                </a:lnTo>
                <a:lnTo>
                  <a:pt x="4793259" y="4764642"/>
                </a:lnTo>
                <a:lnTo>
                  <a:pt x="4757488" y="4753911"/>
                </a:lnTo>
                <a:lnTo>
                  <a:pt x="4746757" y="4750334"/>
                </a:lnTo>
                <a:lnTo>
                  <a:pt x="4728872" y="4746757"/>
                </a:lnTo>
                <a:lnTo>
                  <a:pt x="4693101" y="4728872"/>
                </a:lnTo>
                <a:lnTo>
                  <a:pt x="4675216" y="4746757"/>
                </a:lnTo>
                <a:lnTo>
                  <a:pt x="4653754" y="4768219"/>
                </a:lnTo>
                <a:lnTo>
                  <a:pt x="4643022" y="4775374"/>
                </a:lnTo>
                <a:lnTo>
                  <a:pt x="4632291" y="4786105"/>
                </a:lnTo>
                <a:lnTo>
                  <a:pt x="4621560" y="4786105"/>
                </a:lnTo>
                <a:lnTo>
                  <a:pt x="4603675" y="4786105"/>
                </a:lnTo>
                <a:lnTo>
                  <a:pt x="4571481" y="4775374"/>
                </a:lnTo>
                <a:lnTo>
                  <a:pt x="4542865" y="4768219"/>
                </a:lnTo>
                <a:lnTo>
                  <a:pt x="4510671" y="4753911"/>
                </a:lnTo>
                <a:lnTo>
                  <a:pt x="4499940" y="4746757"/>
                </a:lnTo>
                <a:lnTo>
                  <a:pt x="4485632" y="4732449"/>
                </a:lnTo>
                <a:lnTo>
                  <a:pt x="4474901" y="4721718"/>
                </a:lnTo>
                <a:lnTo>
                  <a:pt x="4460592" y="4714564"/>
                </a:lnTo>
                <a:lnTo>
                  <a:pt x="4442707" y="4710987"/>
                </a:lnTo>
                <a:lnTo>
                  <a:pt x="4424822" y="4714564"/>
                </a:lnTo>
                <a:lnTo>
                  <a:pt x="4392628" y="4725295"/>
                </a:lnTo>
                <a:lnTo>
                  <a:pt x="4356858" y="4736026"/>
                </a:lnTo>
                <a:lnTo>
                  <a:pt x="4328241" y="4750334"/>
                </a:lnTo>
                <a:lnTo>
                  <a:pt x="4299625" y="4775374"/>
                </a:lnTo>
                <a:lnTo>
                  <a:pt x="4288894" y="4786105"/>
                </a:lnTo>
                <a:lnTo>
                  <a:pt x="4271008" y="4786105"/>
                </a:lnTo>
                <a:lnTo>
                  <a:pt x="4256700" y="4778951"/>
                </a:lnTo>
                <a:lnTo>
                  <a:pt x="4245969" y="4768219"/>
                </a:lnTo>
                <a:lnTo>
                  <a:pt x="4217352" y="4732449"/>
                </a:lnTo>
                <a:lnTo>
                  <a:pt x="4206621" y="4721718"/>
                </a:lnTo>
                <a:lnTo>
                  <a:pt x="4192313" y="4710987"/>
                </a:lnTo>
                <a:lnTo>
                  <a:pt x="4174428" y="4710987"/>
                </a:lnTo>
                <a:lnTo>
                  <a:pt x="4152965" y="4721718"/>
                </a:lnTo>
                <a:lnTo>
                  <a:pt x="4149388" y="4721718"/>
                </a:lnTo>
                <a:lnTo>
                  <a:pt x="4120772" y="4753911"/>
                </a:lnTo>
                <a:lnTo>
                  <a:pt x="4106464" y="4771796"/>
                </a:lnTo>
                <a:lnTo>
                  <a:pt x="4102886" y="4789682"/>
                </a:lnTo>
                <a:lnTo>
                  <a:pt x="4102886" y="4796836"/>
                </a:lnTo>
                <a:lnTo>
                  <a:pt x="4106464" y="4807567"/>
                </a:lnTo>
                <a:lnTo>
                  <a:pt x="4124349" y="4825452"/>
                </a:lnTo>
                <a:lnTo>
                  <a:pt x="4142234" y="4836184"/>
                </a:lnTo>
                <a:lnTo>
                  <a:pt x="4167274" y="4846915"/>
                </a:lnTo>
                <a:lnTo>
                  <a:pt x="4206621" y="4854069"/>
                </a:lnTo>
                <a:lnTo>
                  <a:pt x="4228084" y="4857646"/>
                </a:lnTo>
                <a:lnTo>
                  <a:pt x="4245969" y="4854069"/>
                </a:lnTo>
                <a:lnTo>
                  <a:pt x="4274585" y="4857646"/>
                </a:lnTo>
                <a:lnTo>
                  <a:pt x="4296048" y="4868377"/>
                </a:lnTo>
                <a:lnTo>
                  <a:pt x="4313933" y="4879108"/>
                </a:lnTo>
                <a:lnTo>
                  <a:pt x="4331818" y="4900571"/>
                </a:lnTo>
                <a:lnTo>
                  <a:pt x="4342550" y="4914879"/>
                </a:lnTo>
                <a:lnTo>
                  <a:pt x="4356858" y="4929187"/>
                </a:lnTo>
                <a:lnTo>
                  <a:pt x="4371166" y="4932764"/>
                </a:lnTo>
                <a:lnTo>
                  <a:pt x="4385474" y="4932764"/>
                </a:lnTo>
                <a:lnTo>
                  <a:pt x="4417668" y="4936341"/>
                </a:lnTo>
                <a:lnTo>
                  <a:pt x="4435553" y="4943495"/>
                </a:lnTo>
                <a:lnTo>
                  <a:pt x="4442707" y="4961381"/>
                </a:lnTo>
                <a:lnTo>
                  <a:pt x="4446284" y="4979266"/>
                </a:lnTo>
                <a:lnTo>
                  <a:pt x="4442707" y="4993574"/>
                </a:lnTo>
                <a:lnTo>
                  <a:pt x="4439130" y="5004305"/>
                </a:lnTo>
                <a:lnTo>
                  <a:pt x="4431976" y="5015036"/>
                </a:lnTo>
                <a:lnTo>
                  <a:pt x="4421245" y="5022191"/>
                </a:lnTo>
                <a:lnTo>
                  <a:pt x="4406937" y="5025768"/>
                </a:lnTo>
                <a:lnTo>
                  <a:pt x="4396205" y="5032922"/>
                </a:lnTo>
                <a:lnTo>
                  <a:pt x="4381897" y="5032922"/>
                </a:lnTo>
                <a:lnTo>
                  <a:pt x="4371166" y="5032922"/>
                </a:lnTo>
                <a:lnTo>
                  <a:pt x="4331818" y="5018614"/>
                </a:lnTo>
                <a:lnTo>
                  <a:pt x="4292471" y="4997151"/>
                </a:lnTo>
                <a:lnTo>
                  <a:pt x="4271008" y="4986420"/>
                </a:lnTo>
                <a:lnTo>
                  <a:pt x="4249546" y="4979266"/>
                </a:lnTo>
                <a:lnTo>
                  <a:pt x="4210198" y="4972112"/>
                </a:lnTo>
                <a:lnTo>
                  <a:pt x="4178005" y="4964958"/>
                </a:lnTo>
                <a:lnTo>
                  <a:pt x="4152965" y="4972112"/>
                </a:lnTo>
                <a:lnTo>
                  <a:pt x="4142234" y="4979266"/>
                </a:lnTo>
                <a:lnTo>
                  <a:pt x="4131503" y="4986420"/>
                </a:lnTo>
                <a:lnTo>
                  <a:pt x="4124349" y="4997151"/>
                </a:lnTo>
                <a:lnTo>
                  <a:pt x="4113618" y="5015036"/>
                </a:lnTo>
                <a:lnTo>
                  <a:pt x="4110041" y="5025768"/>
                </a:lnTo>
                <a:lnTo>
                  <a:pt x="4106464" y="5036499"/>
                </a:lnTo>
                <a:lnTo>
                  <a:pt x="4088578" y="5043653"/>
                </a:lnTo>
                <a:lnTo>
                  <a:pt x="4067116" y="5054384"/>
                </a:lnTo>
                <a:lnTo>
                  <a:pt x="4045654" y="5054384"/>
                </a:lnTo>
                <a:lnTo>
                  <a:pt x="3920456" y="5061538"/>
                </a:lnTo>
                <a:lnTo>
                  <a:pt x="3906148" y="5061538"/>
                </a:lnTo>
                <a:lnTo>
                  <a:pt x="3863224" y="5047230"/>
                </a:lnTo>
                <a:lnTo>
                  <a:pt x="3820299" y="5043653"/>
                </a:lnTo>
                <a:lnTo>
                  <a:pt x="3734449" y="5043653"/>
                </a:lnTo>
                <a:lnTo>
                  <a:pt x="3698679" y="5036499"/>
                </a:lnTo>
                <a:lnTo>
                  <a:pt x="3687948" y="5025768"/>
                </a:lnTo>
                <a:lnTo>
                  <a:pt x="3673639" y="5018614"/>
                </a:lnTo>
                <a:lnTo>
                  <a:pt x="3652177" y="4993574"/>
                </a:lnTo>
                <a:lnTo>
                  <a:pt x="3637869" y="4961381"/>
                </a:lnTo>
                <a:lnTo>
                  <a:pt x="3627138" y="4932764"/>
                </a:lnTo>
                <a:lnTo>
                  <a:pt x="3616406" y="4918456"/>
                </a:lnTo>
                <a:lnTo>
                  <a:pt x="3609252" y="4914879"/>
                </a:lnTo>
                <a:lnTo>
                  <a:pt x="3594944" y="4911302"/>
                </a:lnTo>
                <a:lnTo>
                  <a:pt x="3584213" y="4911302"/>
                </a:lnTo>
                <a:lnTo>
                  <a:pt x="3552019" y="4914879"/>
                </a:lnTo>
                <a:lnTo>
                  <a:pt x="3519826" y="4932764"/>
                </a:lnTo>
                <a:lnTo>
                  <a:pt x="3491209" y="4939918"/>
                </a:lnTo>
                <a:lnTo>
                  <a:pt x="3462593" y="4939918"/>
                </a:lnTo>
                <a:lnTo>
                  <a:pt x="3437554" y="4932764"/>
                </a:lnTo>
                <a:lnTo>
                  <a:pt x="3416091" y="4918456"/>
                </a:lnTo>
                <a:lnTo>
                  <a:pt x="3394629" y="4900571"/>
                </a:lnTo>
                <a:lnTo>
                  <a:pt x="3366012" y="4893416"/>
                </a:lnTo>
                <a:lnTo>
                  <a:pt x="3340973" y="4889839"/>
                </a:lnTo>
                <a:lnTo>
                  <a:pt x="3315934" y="4896994"/>
                </a:lnTo>
                <a:lnTo>
                  <a:pt x="3294471" y="4900571"/>
                </a:lnTo>
                <a:lnTo>
                  <a:pt x="3276586" y="4900571"/>
                </a:lnTo>
                <a:lnTo>
                  <a:pt x="3258701" y="4896994"/>
                </a:lnTo>
                <a:lnTo>
                  <a:pt x="3237238" y="4889839"/>
                </a:lnTo>
                <a:lnTo>
                  <a:pt x="3222930" y="4879108"/>
                </a:lnTo>
                <a:lnTo>
                  <a:pt x="3208622" y="4871954"/>
                </a:lnTo>
                <a:lnTo>
                  <a:pt x="3194314" y="4871954"/>
                </a:lnTo>
                <a:lnTo>
                  <a:pt x="3176428" y="4871954"/>
                </a:lnTo>
                <a:lnTo>
                  <a:pt x="3151389" y="4879108"/>
                </a:lnTo>
                <a:lnTo>
                  <a:pt x="3119195" y="4896994"/>
                </a:lnTo>
                <a:lnTo>
                  <a:pt x="3090579" y="4929187"/>
                </a:lnTo>
                <a:lnTo>
                  <a:pt x="3076271" y="4939918"/>
                </a:lnTo>
                <a:lnTo>
                  <a:pt x="3058385" y="4943495"/>
                </a:lnTo>
                <a:lnTo>
                  <a:pt x="3044077" y="4950649"/>
                </a:lnTo>
                <a:lnTo>
                  <a:pt x="3026192" y="4943495"/>
                </a:lnTo>
                <a:lnTo>
                  <a:pt x="2929611" y="4918456"/>
                </a:lnTo>
                <a:lnTo>
                  <a:pt x="2911726" y="4914879"/>
                </a:lnTo>
                <a:lnTo>
                  <a:pt x="2904572" y="4907725"/>
                </a:lnTo>
                <a:lnTo>
                  <a:pt x="2900995" y="4893416"/>
                </a:lnTo>
                <a:lnTo>
                  <a:pt x="2900995" y="4871954"/>
                </a:lnTo>
                <a:lnTo>
                  <a:pt x="2904572" y="4854069"/>
                </a:lnTo>
                <a:lnTo>
                  <a:pt x="2904572" y="4832606"/>
                </a:lnTo>
                <a:lnTo>
                  <a:pt x="2900995" y="4814721"/>
                </a:lnTo>
                <a:lnTo>
                  <a:pt x="2886687" y="4803990"/>
                </a:lnTo>
                <a:lnTo>
                  <a:pt x="2865224" y="4796836"/>
                </a:lnTo>
                <a:lnTo>
                  <a:pt x="2840185" y="4789682"/>
                </a:lnTo>
                <a:lnTo>
                  <a:pt x="2818722" y="4778951"/>
                </a:lnTo>
                <a:lnTo>
                  <a:pt x="2775798" y="4753911"/>
                </a:lnTo>
                <a:lnTo>
                  <a:pt x="2754335" y="4743180"/>
                </a:lnTo>
                <a:lnTo>
                  <a:pt x="2736450" y="4725295"/>
                </a:lnTo>
                <a:lnTo>
                  <a:pt x="2722142" y="4707409"/>
                </a:lnTo>
                <a:lnTo>
                  <a:pt x="2722142" y="4693101"/>
                </a:lnTo>
                <a:lnTo>
                  <a:pt x="2718565" y="4682370"/>
                </a:lnTo>
                <a:lnTo>
                  <a:pt x="2714988" y="4668062"/>
                </a:lnTo>
                <a:lnTo>
                  <a:pt x="2704257" y="4653754"/>
                </a:lnTo>
                <a:lnTo>
                  <a:pt x="2689948" y="4650177"/>
                </a:lnTo>
                <a:lnTo>
                  <a:pt x="2672063" y="4650177"/>
                </a:lnTo>
                <a:lnTo>
                  <a:pt x="2668486" y="4653754"/>
                </a:lnTo>
                <a:lnTo>
                  <a:pt x="2661332" y="4660908"/>
                </a:lnTo>
                <a:lnTo>
                  <a:pt x="2661332" y="4675216"/>
                </a:lnTo>
                <a:lnTo>
                  <a:pt x="2668486" y="4700255"/>
                </a:lnTo>
                <a:lnTo>
                  <a:pt x="2675640" y="4721718"/>
                </a:lnTo>
                <a:lnTo>
                  <a:pt x="2679217" y="4732449"/>
                </a:lnTo>
                <a:lnTo>
                  <a:pt x="2679217" y="4750334"/>
                </a:lnTo>
                <a:lnTo>
                  <a:pt x="2675640" y="4764642"/>
                </a:lnTo>
                <a:lnTo>
                  <a:pt x="2668486" y="4775374"/>
                </a:lnTo>
                <a:lnTo>
                  <a:pt x="2657755" y="4786105"/>
                </a:lnTo>
                <a:lnTo>
                  <a:pt x="2650601" y="4793259"/>
                </a:lnTo>
                <a:lnTo>
                  <a:pt x="2636292" y="4793259"/>
                </a:lnTo>
                <a:lnTo>
                  <a:pt x="2618407" y="4796836"/>
                </a:lnTo>
                <a:lnTo>
                  <a:pt x="2571905" y="4786105"/>
                </a:lnTo>
                <a:lnTo>
                  <a:pt x="2518249" y="4768219"/>
                </a:lnTo>
                <a:lnTo>
                  <a:pt x="2514672" y="4764642"/>
                </a:lnTo>
                <a:lnTo>
                  <a:pt x="2511095" y="4753911"/>
                </a:lnTo>
                <a:lnTo>
                  <a:pt x="2511095" y="4732449"/>
                </a:lnTo>
                <a:lnTo>
                  <a:pt x="2525404" y="4700255"/>
                </a:lnTo>
                <a:lnTo>
                  <a:pt x="2536135" y="4664485"/>
                </a:lnTo>
                <a:lnTo>
                  <a:pt x="2536135" y="4646599"/>
                </a:lnTo>
                <a:lnTo>
                  <a:pt x="2532558" y="4628714"/>
                </a:lnTo>
                <a:lnTo>
                  <a:pt x="2518249" y="4628714"/>
                </a:lnTo>
                <a:lnTo>
                  <a:pt x="2507518" y="4628714"/>
                </a:lnTo>
                <a:lnTo>
                  <a:pt x="2410938" y="4664485"/>
                </a:lnTo>
                <a:lnTo>
                  <a:pt x="2400207" y="4668062"/>
                </a:lnTo>
                <a:lnTo>
                  <a:pt x="2389475" y="4675216"/>
                </a:lnTo>
                <a:lnTo>
                  <a:pt x="2385898" y="4689524"/>
                </a:lnTo>
                <a:lnTo>
                  <a:pt x="2382321" y="4707409"/>
                </a:lnTo>
                <a:lnTo>
                  <a:pt x="2385898" y="4746757"/>
                </a:lnTo>
                <a:lnTo>
                  <a:pt x="2382321" y="4786105"/>
                </a:lnTo>
                <a:lnTo>
                  <a:pt x="2382321" y="4796836"/>
                </a:lnTo>
                <a:lnTo>
                  <a:pt x="2382321" y="4811144"/>
                </a:lnTo>
                <a:lnTo>
                  <a:pt x="2385898" y="4836184"/>
                </a:lnTo>
                <a:lnTo>
                  <a:pt x="2393052" y="4857646"/>
                </a:lnTo>
                <a:lnTo>
                  <a:pt x="2400207" y="4882685"/>
                </a:lnTo>
                <a:lnTo>
                  <a:pt x="2389475" y="4929187"/>
                </a:lnTo>
                <a:lnTo>
                  <a:pt x="2389475" y="4954226"/>
                </a:lnTo>
                <a:lnTo>
                  <a:pt x="2393052" y="4979266"/>
                </a:lnTo>
                <a:lnTo>
                  <a:pt x="2403784" y="5004305"/>
                </a:lnTo>
                <a:lnTo>
                  <a:pt x="2403784" y="5015036"/>
                </a:lnTo>
                <a:lnTo>
                  <a:pt x="2400207" y="5022191"/>
                </a:lnTo>
                <a:lnTo>
                  <a:pt x="2393052" y="5025768"/>
                </a:lnTo>
                <a:lnTo>
                  <a:pt x="2385898" y="5036499"/>
                </a:lnTo>
                <a:lnTo>
                  <a:pt x="2360859" y="5043653"/>
                </a:lnTo>
                <a:lnTo>
                  <a:pt x="2317934" y="5047230"/>
                </a:lnTo>
                <a:lnTo>
                  <a:pt x="2300049" y="5047230"/>
                </a:lnTo>
                <a:lnTo>
                  <a:pt x="2285741" y="5040076"/>
                </a:lnTo>
                <a:lnTo>
                  <a:pt x="2275009" y="5032922"/>
                </a:lnTo>
                <a:lnTo>
                  <a:pt x="2260701" y="5018614"/>
                </a:lnTo>
                <a:lnTo>
                  <a:pt x="2242816" y="4979266"/>
                </a:lnTo>
                <a:lnTo>
                  <a:pt x="2228508" y="4950649"/>
                </a:lnTo>
                <a:lnTo>
                  <a:pt x="2214199" y="4918456"/>
                </a:lnTo>
                <a:lnTo>
                  <a:pt x="2203468" y="4900571"/>
                </a:lnTo>
                <a:lnTo>
                  <a:pt x="2199891" y="4879108"/>
                </a:lnTo>
                <a:lnTo>
                  <a:pt x="2203468" y="4861223"/>
                </a:lnTo>
                <a:lnTo>
                  <a:pt x="2217777" y="4846915"/>
                </a:lnTo>
                <a:lnTo>
                  <a:pt x="2224931" y="4818298"/>
                </a:lnTo>
                <a:lnTo>
                  <a:pt x="2242816" y="4789682"/>
                </a:lnTo>
                <a:lnTo>
                  <a:pt x="2124773" y="4796836"/>
                </a:lnTo>
                <a:lnTo>
                  <a:pt x="2124773" y="4725295"/>
                </a:lnTo>
                <a:lnTo>
                  <a:pt x="2131927" y="4700255"/>
                </a:lnTo>
                <a:lnTo>
                  <a:pt x="2139081" y="4675216"/>
                </a:lnTo>
                <a:lnTo>
                  <a:pt x="2156967" y="4653754"/>
                </a:lnTo>
                <a:lnTo>
                  <a:pt x="2164121" y="4650177"/>
                </a:lnTo>
                <a:lnTo>
                  <a:pt x="2178429" y="4646599"/>
                </a:lnTo>
                <a:lnTo>
                  <a:pt x="2196314" y="4632291"/>
                </a:lnTo>
                <a:lnTo>
                  <a:pt x="2203468" y="4628714"/>
                </a:lnTo>
                <a:lnTo>
                  <a:pt x="2203468" y="4621560"/>
                </a:lnTo>
                <a:lnTo>
                  <a:pt x="2203468" y="4585789"/>
                </a:lnTo>
                <a:lnTo>
                  <a:pt x="2199891" y="4546442"/>
                </a:lnTo>
                <a:lnTo>
                  <a:pt x="2196314" y="4524979"/>
                </a:lnTo>
                <a:lnTo>
                  <a:pt x="2185583" y="4514248"/>
                </a:lnTo>
                <a:lnTo>
                  <a:pt x="2174852" y="4499940"/>
                </a:lnTo>
                <a:lnTo>
                  <a:pt x="2160544" y="4485632"/>
                </a:lnTo>
                <a:lnTo>
                  <a:pt x="2135504" y="4464169"/>
                </a:lnTo>
                <a:lnTo>
                  <a:pt x="2117619" y="4442707"/>
                </a:lnTo>
                <a:lnTo>
                  <a:pt x="2099734" y="4421245"/>
                </a:lnTo>
                <a:lnTo>
                  <a:pt x="2089002" y="4396205"/>
                </a:lnTo>
                <a:lnTo>
                  <a:pt x="2099734" y="4381897"/>
                </a:lnTo>
                <a:lnTo>
                  <a:pt x="2110465" y="4378320"/>
                </a:lnTo>
                <a:lnTo>
                  <a:pt x="2117619" y="4381897"/>
                </a:lnTo>
                <a:lnTo>
                  <a:pt x="2124773" y="4392628"/>
                </a:lnTo>
                <a:lnTo>
                  <a:pt x="2142658" y="4410514"/>
                </a:lnTo>
                <a:lnTo>
                  <a:pt x="2160544" y="4421245"/>
                </a:lnTo>
                <a:lnTo>
                  <a:pt x="2182006" y="4435553"/>
                </a:lnTo>
                <a:lnTo>
                  <a:pt x="2203468" y="4442707"/>
                </a:lnTo>
                <a:lnTo>
                  <a:pt x="2217777" y="4453438"/>
                </a:lnTo>
                <a:lnTo>
                  <a:pt x="2224931" y="4464169"/>
                </a:lnTo>
                <a:lnTo>
                  <a:pt x="2242816" y="4482055"/>
                </a:lnTo>
                <a:lnTo>
                  <a:pt x="2264278" y="4496363"/>
                </a:lnTo>
                <a:lnTo>
                  <a:pt x="2285741" y="4503517"/>
                </a:lnTo>
                <a:lnTo>
                  <a:pt x="2307203" y="4514248"/>
                </a:lnTo>
                <a:lnTo>
                  <a:pt x="2332242" y="4517825"/>
                </a:lnTo>
                <a:lnTo>
                  <a:pt x="2346551" y="4528557"/>
                </a:lnTo>
                <a:lnTo>
                  <a:pt x="2357282" y="4546442"/>
                </a:lnTo>
                <a:lnTo>
                  <a:pt x="2360859" y="4571481"/>
                </a:lnTo>
                <a:lnTo>
                  <a:pt x="2360859" y="4582212"/>
                </a:lnTo>
                <a:lnTo>
                  <a:pt x="2360859" y="4585789"/>
                </a:lnTo>
                <a:lnTo>
                  <a:pt x="2371590" y="4607252"/>
                </a:lnTo>
                <a:lnTo>
                  <a:pt x="2378744" y="4610829"/>
                </a:lnTo>
                <a:lnTo>
                  <a:pt x="2382321" y="4617983"/>
                </a:lnTo>
                <a:lnTo>
                  <a:pt x="2389475" y="4617983"/>
                </a:lnTo>
                <a:lnTo>
                  <a:pt x="2400207" y="4610829"/>
                </a:lnTo>
                <a:lnTo>
                  <a:pt x="2414515" y="4600098"/>
                </a:lnTo>
                <a:lnTo>
                  <a:pt x="2421669" y="4596521"/>
                </a:lnTo>
                <a:lnTo>
                  <a:pt x="2425246" y="4582212"/>
                </a:lnTo>
                <a:lnTo>
                  <a:pt x="2443131" y="4546442"/>
                </a:lnTo>
                <a:lnTo>
                  <a:pt x="2461017" y="4514248"/>
                </a:lnTo>
                <a:lnTo>
                  <a:pt x="2471748" y="4478478"/>
                </a:lnTo>
                <a:lnTo>
                  <a:pt x="2482479" y="4439130"/>
                </a:lnTo>
                <a:lnTo>
                  <a:pt x="2486056" y="4424822"/>
                </a:lnTo>
                <a:lnTo>
                  <a:pt x="2489633" y="4414091"/>
                </a:lnTo>
                <a:lnTo>
                  <a:pt x="2496787" y="4403359"/>
                </a:lnTo>
                <a:lnTo>
                  <a:pt x="2507518" y="4396205"/>
                </a:lnTo>
                <a:lnTo>
                  <a:pt x="2518249" y="4389051"/>
                </a:lnTo>
                <a:lnTo>
                  <a:pt x="2532558" y="4389051"/>
                </a:lnTo>
                <a:lnTo>
                  <a:pt x="2568328" y="4381897"/>
                </a:lnTo>
                <a:lnTo>
                  <a:pt x="2596945" y="4389051"/>
                </a:lnTo>
                <a:lnTo>
                  <a:pt x="2629138" y="4389051"/>
                </a:lnTo>
                <a:lnTo>
                  <a:pt x="2650601" y="4378320"/>
                </a:lnTo>
                <a:lnTo>
                  <a:pt x="2657755" y="4371166"/>
                </a:lnTo>
                <a:lnTo>
                  <a:pt x="2661332" y="4353281"/>
                </a:lnTo>
                <a:lnTo>
                  <a:pt x="2661332" y="4331818"/>
                </a:lnTo>
                <a:lnTo>
                  <a:pt x="2657755" y="4296048"/>
                </a:lnTo>
                <a:lnTo>
                  <a:pt x="2657755" y="4267431"/>
                </a:lnTo>
                <a:lnTo>
                  <a:pt x="2661332" y="4238815"/>
                </a:lnTo>
                <a:lnTo>
                  <a:pt x="2657755" y="4213775"/>
                </a:lnTo>
                <a:lnTo>
                  <a:pt x="2654178" y="4192313"/>
                </a:lnTo>
                <a:lnTo>
                  <a:pt x="2636292" y="4170851"/>
                </a:lnTo>
                <a:lnTo>
                  <a:pt x="2629138" y="4152965"/>
                </a:lnTo>
                <a:lnTo>
                  <a:pt x="2614830" y="4135080"/>
                </a:lnTo>
                <a:lnTo>
                  <a:pt x="2596945" y="4099309"/>
                </a:lnTo>
                <a:lnTo>
                  <a:pt x="2593368" y="4077847"/>
                </a:lnTo>
                <a:lnTo>
                  <a:pt x="2589791" y="4052808"/>
                </a:lnTo>
                <a:lnTo>
                  <a:pt x="2589791" y="4042076"/>
                </a:lnTo>
                <a:lnTo>
                  <a:pt x="2593368" y="4031345"/>
                </a:lnTo>
                <a:lnTo>
                  <a:pt x="2600522" y="4024191"/>
                </a:lnTo>
                <a:lnTo>
                  <a:pt x="2611253" y="4020614"/>
                </a:lnTo>
                <a:lnTo>
                  <a:pt x="2629138" y="4020614"/>
                </a:lnTo>
                <a:lnTo>
                  <a:pt x="2636292" y="4024191"/>
                </a:lnTo>
                <a:lnTo>
                  <a:pt x="2643447" y="4031345"/>
                </a:lnTo>
                <a:lnTo>
                  <a:pt x="2650601" y="4045653"/>
                </a:lnTo>
                <a:lnTo>
                  <a:pt x="2650601" y="4063539"/>
                </a:lnTo>
                <a:lnTo>
                  <a:pt x="2654178" y="4070693"/>
                </a:lnTo>
                <a:lnTo>
                  <a:pt x="2657755" y="4085001"/>
                </a:lnTo>
                <a:lnTo>
                  <a:pt x="2661332" y="4092155"/>
                </a:lnTo>
                <a:lnTo>
                  <a:pt x="2675640" y="4092155"/>
                </a:lnTo>
                <a:lnTo>
                  <a:pt x="2693525" y="4088578"/>
                </a:lnTo>
                <a:lnTo>
                  <a:pt x="2700679" y="4085001"/>
                </a:lnTo>
                <a:lnTo>
                  <a:pt x="2711411" y="4070693"/>
                </a:lnTo>
                <a:lnTo>
                  <a:pt x="2711411" y="4052808"/>
                </a:lnTo>
                <a:lnTo>
                  <a:pt x="2704257" y="4031345"/>
                </a:lnTo>
                <a:lnTo>
                  <a:pt x="2700679" y="4024191"/>
                </a:lnTo>
                <a:lnTo>
                  <a:pt x="2697102" y="4017037"/>
                </a:lnTo>
                <a:lnTo>
                  <a:pt x="2682794" y="4002729"/>
                </a:lnTo>
                <a:lnTo>
                  <a:pt x="2672063" y="3995575"/>
                </a:lnTo>
                <a:lnTo>
                  <a:pt x="2661332" y="3981266"/>
                </a:lnTo>
                <a:lnTo>
                  <a:pt x="2657755" y="3963381"/>
                </a:lnTo>
                <a:lnTo>
                  <a:pt x="2654178" y="3938342"/>
                </a:lnTo>
                <a:lnTo>
                  <a:pt x="2657755" y="3902571"/>
                </a:lnTo>
                <a:lnTo>
                  <a:pt x="2657755" y="3881109"/>
                </a:lnTo>
                <a:lnTo>
                  <a:pt x="2654178" y="3856069"/>
                </a:lnTo>
                <a:lnTo>
                  <a:pt x="2636292" y="3809568"/>
                </a:lnTo>
                <a:lnTo>
                  <a:pt x="2629138" y="3795259"/>
                </a:lnTo>
                <a:lnTo>
                  <a:pt x="2614830" y="3780951"/>
                </a:lnTo>
                <a:lnTo>
                  <a:pt x="2600522" y="3773797"/>
                </a:lnTo>
                <a:lnTo>
                  <a:pt x="2579059" y="3770220"/>
                </a:lnTo>
                <a:lnTo>
                  <a:pt x="2575482" y="3777374"/>
                </a:lnTo>
                <a:lnTo>
                  <a:pt x="2575482" y="3788105"/>
                </a:lnTo>
                <a:lnTo>
                  <a:pt x="2575482" y="3813145"/>
                </a:lnTo>
                <a:lnTo>
                  <a:pt x="2571905" y="3831030"/>
                </a:lnTo>
                <a:lnTo>
                  <a:pt x="2568328" y="3838184"/>
                </a:lnTo>
                <a:lnTo>
                  <a:pt x="2554020" y="3845338"/>
                </a:lnTo>
                <a:lnTo>
                  <a:pt x="2428823" y="3770220"/>
                </a:lnTo>
                <a:lnTo>
                  <a:pt x="2403784" y="3759489"/>
                </a:lnTo>
                <a:lnTo>
                  <a:pt x="2389475" y="3759489"/>
                </a:lnTo>
                <a:lnTo>
                  <a:pt x="2382321" y="3759489"/>
                </a:lnTo>
                <a:lnTo>
                  <a:pt x="2378744" y="3770220"/>
                </a:lnTo>
                <a:lnTo>
                  <a:pt x="2368013" y="3777374"/>
                </a:lnTo>
                <a:lnTo>
                  <a:pt x="2364436" y="3802413"/>
                </a:lnTo>
                <a:lnTo>
                  <a:pt x="2357282" y="3845338"/>
                </a:lnTo>
                <a:lnTo>
                  <a:pt x="2310780" y="3841761"/>
                </a:lnTo>
                <a:lnTo>
                  <a:pt x="2267855" y="3838184"/>
                </a:lnTo>
                <a:lnTo>
                  <a:pt x="2246393" y="3838184"/>
                </a:lnTo>
                <a:lnTo>
                  <a:pt x="2224931" y="3841761"/>
                </a:lnTo>
                <a:lnTo>
                  <a:pt x="2214199" y="3856069"/>
                </a:lnTo>
                <a:lnTo>
                  <a:pt x="2199891" y="3873955"/>
                </a:lnTo>
                <a:lnTo>
                  <a:pt x="2192737" y="3884686"/>
                </a:lnTo>
                <a:lnTo>
                  <a:pt x="2185583" y="3895417"/>
                </a:lnTo>
                <a:lnTo>
                  <a:pt x="2174852" y="3902571"/>
                </a:lnTo>
                <a:lnTo>
                  <a:pt x="2164121" y="3906148"/>
                </a:lnTo>
                <a:lnTo>
                  <a:pt x="2156967" y="3902571"/>
                </a:lnTo>
                <a:lnTo>
                  <a:pt x="2149812" y="3895417"/>
                </a:lnTo>
                <a:lnTo>
                  <a:pt x="2142658" y="3884686"/>
                </a:lnTo>
                <a:lnTo>
                  <a:pt x="2142658" y="3870378"/>
                </a:lnTo>
                <a:lnTo>
                  <a:pt x="2149812" y="3838184"/>
                </a:lnTo>
                <a:lnTo>
                  <a:pt x="2156967" y="3816722"/>
                </a:lnTo>
                <a:lnTo>
                  <a:pt x="2164121" y="3802413"/>
                </a:lnTo>
                <a:lnTo>
                  <a:pt x="2174852" y="3795259"/>
                </a:lnTo>
                <a:lnTo>
                  <a:pt x="2185583" y="3788105"/>
                </a:lnTo>
                <a:lnTo>
                  <a:pt x="2203468" y="3780951"/>
                </a:lnTo>
                <a:lnTo>
                  <a:pt x="2217777" y="3773797"/>
                </a:lnTo>
                <a:lnTo>
                  <a:pt x="2228508" y="3766643"/>
                </a:lnTo>
                <a:lnTo>
                  <a:pt x="2235662" y="3752335"/>
                </a:lnTo>
                <a:lnTo>
                  <a:pt x="2239239" y="3734449"/>
                </a:lnTo>
                <a:lnTo>
                  <a:pt x="2235662" y="3716564"/>
                </a:lnTo>
                <a:lnTo>
                  <a:pt x="2221354" y="3705833"/>
                </a:lnTo>
                <a:lnTo>
                  <a:pt x="2214199" y="3695102"/>
                </a:lnTo>
                <a:lnTo>
                  <a:pt x="2196314" y="3691525"/>
                </a:lnTo>
                <a:lnTo>
                  <a:pt x="2178429" y="3687948"/>
                </a:lnTo>
                <a:lnTo>
                  <a:pt x="2160544" y="3677216"/>
                </a:lnTo>
                <a:lnTo>
                  <a:pt x="2139081" y="3662908"/>
                </a:lnTo>
                <a:lnTo>
                  <a:pt x="2117619" y="3634292"/>
                </a:lnTo>
                <a:lnTo>
                  <a:pt x="2096157" y="3612829"/>
                </a:lnTo>
                <a:lnTo>
                  <a:pt x="2092580" y="3602098"/>
                </a:lnTo>
                <a:lnTo>
                  <a:pt x="2089002" y="3591367"/>
                </a:lnTo>
                <a:lnTo>
                  <a:pt x="2081848" y="3562751"/>
                </a:lnTo>
                <a:lnTo>
                  <a:pt x="2142658" y="3566328"/>
                </a:lnTo>
                <a:lnTo>
                  <a:pt x="2139081" y="3548442"/>
                </a:lnTo>
                <a:lnTo>
                  <a:pt x="2124773" y="3530557"/>
                </a:lnTo>
                <a:lnTo>
                  <a:pt x="2114042" y="3519826"/>
                </a:lnTo>
                <a:lnTo>
                  <a:pt x="2099734" y="3505518"/>
                </a:lnTo>
                <a:lnTo>
                  <a:pt x="2089002" y="3501941"/>
                </a:lnTo>
                <a:lnTo>
                  <a:pt x="2071117" y="3498363"/>
                </a:lnTo>
                <a:lnTo>
                  <a:pt x="2053232" y="3498363"/>
                </a:lnTo>
                <a:lnTo>
                  <a:pt x="2035347" y="3505518"/>
                </a:lnTo>
                <a:lnTo>
                  <a:pt x="1999576" y="3519826"/>
                </a:lnTo>
                <a:lnTo>
                  <a:pt x="1985268" y="3519826"/>
                </a:lnTo>
                <a:lnTo>
                  <a:pt x="1963806" y="3519826"/>
                </a:lnTo>
                <a:lnTo>
                  <a:pt x="1931612" y="3512672"/>
                </a:lnTo>
                <a:lnTo>
                  <a:pt x="1895841" y="3491209"/>
                </a:lnTo>
                <a:lnTo>
                  <a:pt x="1874379" y="3484055"/>
                </a:lnTo>
                <a:lnTo>
                  <a:pt x="1860071" y="3484055"/>
                </a:lnTo>
                <a:lnTo>
                  <a:pt x="1842185" y="3487632"/>
                </a:lnTo>
                <a:lnTo>
                  <a:pt x="1824300" y="3501941"/>
                </a:lnTo>
                <a:lnTo>
                  <a:pt x="1809992" y="3512672"/>
                </a:lnTo>
                <a:lnTo>
                  <a:pt x="1788530" y="3519826"/>
                </a:lnTo>
                <a:lnTo>
                  <a:pt x="1709834" y="3526980"/>
                </a:lnTo>
                <a:lnTo>
                  <a:pt x="1634716" y="3530557"/>
                </a:lnTo>
                <a:lnTo>
                  <a:pt x="1613254" y="3530557"/>
                </a:lnTo>
                <a:lnTo>
                  <a:pt x="1591791" y="3526980"/>
                </a:lnTo>
                <a:lnTo>
                  <a:pt x="1548867" y="3519826"/>
                </a:lnTo>
                <a:lnTo>
                  <a:pt x="1530981" y="3523403"/>
                </a:lnTo>
                <a:lnTo>
                  <a:pt x="1516673" y="3530557"/>
                </a:lnTo>
                <a:lnTo>
                  <a:pt x="1495211" y="3544865"/>
                </a:lnTo>
                <a:lnTo>
                  <a:pt x="1473748" y="3552019"/>
                </a:lnTo>
                <a:lnTo>
                  <a:pt x="1423670" y="3562751"/>
                </a:lnTo>
                <a:lnTo>
                  <a:pt x="1427247" y="3509095"/>
                </a:lnTo>
                <a:lnTo>
                  <a:pt x="1423670" y="3484055"/>
                </a:lnTo>
                <a:lnTo>
                  <a:pt x="1409361" y="3466170"/>
                </a:lnTo>
                <a:lnTo>
                  <a:pt x="1391476" y="3455439"/>
                </a:lnTo>
                <a:lnTo>
                  <a:pt x="1366437" y="3448285"/>
                </a:lnTo>
                <a:lnTo>
                  <a:pt x="1341397" y="3448285"/>
                </a:lnTo>
                <a:lnTo>
                  <a:pt x="1319935" y="3459016"/>
                </a:lnTo>
                <a:lnTo>
                  <a:pt x="1294895" y="3466170"/>
                </a:lnTo>
                <a:lnTo>
                  <a:pt x="1273433" y="3480478"/>
                </a:lnTo>
                <a:lnTo>
                  <a:pt x="1262702" y="3491209"/>
                </a:lnTo>
                <a:lnTo>
                  <a:pt x="1248394" y="3501941"/>
                </a:lnTo>
                <a:lnTo>
                  <a:pt x="1237663" y="3505518"/>
                </a:lnTo>
                <a:lnTo>
                  <a:pt x="1219777" y="3505518"/>
                </a:lnTo>
                <a:lnTo>
                  <a:pt x="1209046" y="3501941"/>
                </a:lnTo>
                <a:lnTo>
                  <a:pt x="1205469" y="3491209"/>
                </a:lnTo>
                <a:lnTo>
                  <a:pt x="1201892" y="3480478"/>
                </a:lnTo>
                <a:lnTo>
                  <a:pt x="1201892" y="3444708"/>
                </a:lnTo>
                <a:lnTo>
                  <a:pt x="1205469" y="3430399"/>
                </a:lnTo>
                <a:lnTo>
                  <a:pt x="1201892" y="3419668"/>
                </a:lnTo>
                <a:lnTo>
                  <a:pt x="1187584" y="3408937"/>
                </a:lnTo>
                <a:lnTo>
                  <a:pt x="1176853" y="3405360"/>
                </a:lnTo>
                <a:lnTo>
                  <a:pt x="1169699" y="3416091"/>
                </a:lnTo>
                <a:lnTo>
                  <a:pt x="1162544" y="3423245"/>
                </a:lnTo>
                <a:lnTo>
                  <a:pt x="1141082" y="3430399"/>
                </a:lnTo>
                <a:lnTo>
                  <a:pt x="1123197" y="3448285"/>
                </a:lnTo>
                <a:lnTo>
                  <a:pt x="1119620" y="3459016"/>
                </a:lnTo>
                <a:lnTo>
                  <a:pt x="1116043" y="3466170"/>
                </a:lnTo>
                <a:lnTo>
                  <a:pt x="1105311" y="3484055"/>
                </a:lnTo>
                <a:lnTo>
                  <a:pt x="1098157" y="3498363"/>
                </a:lnTo>
                <a:lnTo>
                  <a:pt x="1080272" y="3498363"/>
                </a:lnTo>
                <a:lnTo>
                  <a:pt x="1062387" y="3491209"/>
                </a:lnTo>
                <a:lnTo>
                  <a:pt x="1030193" y="3484055"/>
                </a:lnTo>
                <a:lnTo>
                  <a:pt x="1012308" y="3480478"/>
                </a:lnTo>
                <a:lnTo>
                  <a:pt x="1001577" y="3469747"/>
                </a:lnTo>
                <a:lnTo>
                  <a:pt x="998000" y="3459016"/>
                </a:lnTo>
                <a:lnTo>
                  <a:pt x="998000" y="3441131"/>
                </a:lnTo>
                <a:lnTo>
                  <a:pt x="1001577" y="3416091"/>
                </a:lnTo>
                <a:lnTo>
                  <a:pt x="998000" y="3394629"/>
                </a:lnTo>
                <a:lnTo>
                  <a:pt x="994423" y="3366012"/>
                </a:lnTo>
                <a:lnTo>
                  <a:pt x="983691" y="3344550"/>
                </a:lnTo>
                <a:lnTo>
                  <a:pt x="980114" y="3333819"/>
                </a:lnTo>
                <a:lnTo>
                  <a:pt x="983691" y="3323088"/>
                </a:lnTo>
                <a:lnTo>
                  <a:pt x="990846" y="3298048"/>
                </a:lnTo>
                <a:lnTo>
                  <a:pt x="1001577" y="3273009"/>
                </a:lnTo>
                <a:lnTo>
                  <a:pt x="1015885" y="3247969"/>
                </a:lnTo>
                <a:lnTo>
                  <a:pt x="1019462" y="3230084"/>
                </a:lnTo>
                <a:lnTo>
                  <a:pt x="1015885" y="3208622"/>
                </a:lnTo>
                <a:lnTo>
                  <a:pt x="983691" y="3151389"/>
                </a:lnTo>
                <a:lnTo>
                  <a:pt x="955075" y="3094156"/>
                </a:lnTo>
                <a:lnTo>
                  <a:pt x="940767" y="3076271"/>
                </a:lnTo>
                <a:lnTo>
                  <a:pt x="933612" y="3069116"/>
                </a:lnTo>
                <a:lnTo>
                  <a:pt x="926458" y="3061963"/>
                </a:lnTo>
                <a:lnTo>
                  <a:pt x="897842" y="3047654"/>
                </a:lnTo>
                <a:lnTo>
                  <a:pt x="879957" y="3026192"/>
                </a:lnTo>
                <a:lnTo>
                  <a:pt x="869226" y="3001153"/>
                </a:lnTo>
                <a:lnTo>
                  <a:pt x="854917" y="2979690"/>
                </a:lnTo>
                <a:lnTo>
                  <a:pt x="847763" y="2947496"/>
                </a:lnTo>
                <a:lnTo>
                  <a:pt x="833455" y="2929611"/>
                </a:lnTo>
                <a:lnTo>
                  <a:pt x="822724" y="2922457"/>
                </a:lnTo>
                <a:lnTo>
                  <a:pt x="808416" y="2922457"/>
                </a:lnTo>
                <a:lnTo>
                  <a:pt x="790530" y="2929611"/>
                </a:lnTo>
                <a:lnTo>
                  <a:pt x="772645" y="2940343"/>
                </a:lnTo>
                <a:lnTo>
                  <a:pt x="761914" y="2947496"/>
                </a:lnTo>
                <a:lnTo>
                  <a:pt x="744028" y="2965382"/>
                </a:lnTo>
                <a:lnTo>
                  <a:pt x="726143" y="2972536"/>
                </a:lnTo>
                <a:lnTo>
                  <a:pt x="704681" y="2983267"/>
                </a:lnTo>
                <a:lnTo>
                  <a:pt x="683219" y="2986844"/>
                </a:lnTo>
                <a:lnTo>
                  <a:pt x="668910" y="2993998"/>
                </a:lnTo>
                <a:lnTo>
                  <a:pt x="651025" y="3001153"/>
                </a:lnTo>
                <a:lnTo>
                  <a:pt x="622409" y="3015461"/>
                </a:lnTo>
                <a:lnTo>
                  <a:pt x="593792" y="3033346"/>
                </a:lnTo>
                <a:lnTo>
                  <a:pt x="579484" y="3026192"/>
                </a:lnTo>
                <a:lnTo>
                  <a:pt x="575907" y="3022615"/>
                </a:lnTo>
                <a:lnTo>
                  <a:pt x="579484" y="3008306"/>
                </a:lnTo>
                <a:lnTo>
                  <a:pt x="583061" y="3001153"/>
                </a:lnTo>
                <a:lnTo>
                  <a:pt x="593792" y="2990421"/>
                </a:lnTo>
                <a:lnTo>
                  <a:pt x="604523" y="2979690"/>
                </a:lnTo>
                <a:lnTo>
                  <a:pt x="622409" y="2961805"/>
                </a:lnTo>
                <a:lnTo>
                  <a:pt x="636717" y="2943919"/>
                </a:lnTo>
                <a:lnTo>
                  <a:pt x="643871" y="2922457"/>
                </a:lnTo>
                <a:lnTo>
                  <a:pt x="647448" y="2900995"/>
                </a:lnTo>
                <a:lnTo>
                  <a:pt x="651025" y="2868801"/>
                </a:lnTo>
                <a:lnTo>
                  <a:pt x="661756" y="2843762"/>
                </a:lnTo>
                <a:lnTo>
                  <a:pt x="683219" y="2822299"/>
                </a:lnTo>
                <a:lnTo>
                  <a:pt x="708258" y="2807991"/>
                </a:lnTo>
                <a:lnTo>
                  <a:pt x="722566" y="2800837"/>
                </a:lnTo>
                <a:lnTo>
                  <a:pt x="733297" y="2786529"/>
                </a:lnTo>
                <a:lnTo>
                  <a:pt x="744028" y="2775798"/>
                </a:lnTo>
                <a:lnTo>
                  <a:pt x="747605" y="2761489"/>
                </a:lnTo>
                <a:lnTo>
                  <a:pt x="754760" y="2732873"/>
                </a:lnTo>
                <a:lnTo>
                  <a:pt x="765491" y="2697103"/>
                </a:lnTo>
                <a:lnTo>
                  <a:pt x="729720" y="2689948"/>
                </a:lnTo>
                <a:lnTo>
                  <a:pt x="701104" y="2689948"/>
                </a:lnTo>
                <a:lnTo>
                  <a:pt x="668910" y="2693525"/>
                </a:lnTo>
                <a:lnTo>
                  <a:pt x="643871" y="2700679"/>
                </a:lnTo>
                <a:lnTo>
                  <a:pt x="583061" y="2657755"/>
                </a:lnTo>
                <a:lnTo>
                  <a:pt x="540136" y="2704256"/>
                </a:lnTo>
                <a:lnTo>
                  <a:pt x="525828" y="2714988"/>
                </a:lnTo>
                <a:lnTo>
                  <a:pt x="515097" y="2714988"/>
                </a:lnTo>
                <a:lnTo>
                  <a:pt x="504366" y="2711411"/>
                </a:lnTo>
                <a:lnTo>
                  <a:pt x="497212" y="2697103"/>
                </a:lnTo>
                <a:lnTo>
                  <a:pt x="482903" y="2672063"/>
                </a:lnTo>
                <a:lnTo>
                  <a:pt x="479326" y="2650601"/>
                </a:lnTo>
                <a:lnTo>
                  <a:pt x="479326" y="2632715"/>
                </a:lnTo>
                <a:lnTo>
                  <a:pt x="482903" y="2614830"/>
                </a:lnTo>
                <a:lnTo>
                  <a:pt x="497212" y="2607676"/>
                </a:lnTo>
                <a:lnTo>
                  <a:pt x="515097" y="2596945"/>
                </a:lnTo>
                <a:lnTo>
                  <a:pt x="536559" y="2586214"/>
                </a:lnTo>
                <a:lnTo>
                  <a:pt x="558021" y="2571905"/>
                </a:lnTo>
                <a:lnTo>
                  <a:pt x="547290" y="2557597"/>
                </a:lnTo>
                <a:lnTo>
                  <a:pt x="540136" y="2550443"/>
                </a:lnTo>
                <a:lnTo>
                  <a:pt x="518674" y="2546866"/>
                </a:lnTo>
                <a:lnTo>
                  <a:pt x="493634" y="2532558"/>
                </a:lnTo>
                <a:lnTo>
                  <a:pt x="482903" y="2525404"/>
                </a:lnTo>
                <a:lnTo>
                  <a:pt x="475749" y="2514673"/>
                </a:lnTo>
                <a:lnTo>
                  <a:pt x="443556" y="2468171"/>
                </a:lnTo>
                <a:lnTo>
                  <a:pt x="418516" y="2414515"/>
                </a:lnTo>
                <a:lnTo>
                  <a:pt x="411362" y="2393053"/>
                </a:lnTo>
                <a:lnTo>
                  <a:pt x="400631" y="2371590"/>
                </a:lnTo>
                <a:lnTo>
                  <a:pt x="400631" y="2346551"/>
                </a:lnTo>
                <a:lnTo>
                  <a:pt x="411362" y="2325088"/>
                </a:lnTo>
                <a:lnTo>
                  <a:pt x="414939" y="2310780"/>
                </a:lnTo>
                <a:lnTo>
                  <a:pt x="411362" y="2300049"/>
                </a:lnTo>
                <a:lnTo>
                  <a:pt x="407785" y="2289318"/>
                </a:lnTo>
                <a:lnTo>
                  <a:pt x="393477" y="2282164"/>
                </a:lnTo>
                <a:lnTo>
                  <a:pt x="375591" y="2267855"/>
                </a:lnTo>
                <a:lnTo>
                  <a:pt x="361283" y="2257124"/>
                </a:lnTo>
                <a:lnTo>
                  <a:pt x="339821" y="2221354"/>
                </a:lnTo>
                <a:lnTo>
                  <a:pt x="304050" y="2160544"/>
                </a:lnTo>
                <a:lnTo>
                  <a:pt x="268280" y="2103311"/>
                </a:lnTo>
                <a:lnTo>
                  <a:pt x="236086" y="2049655"/>
                </a:lnTo>
                <a:lnTo>
                  <a:pt x="211047" y="1988845"/>
                </a:lnTo>
                <a:lnTo>
                  <a:pt x="193161" y="1967383"/>
                </a:lnTo>
                <a:lnTo>
                  <a:pt x="182430" y="1945920"/>
                </a:lnTo>
                <a:lnTo>
                  <a:pt x="168122" y="1949497"/>
                </a:lnTo>
                <a:lnTo>
                  <a:pt x="168122" y="1988845"/>
                </a:lnTo>
                <a:lnTo>
                  <a:pt x="178853" y="2031770"/>
                </a:lnTo>
                <a:lnTo>
                  <a:pt x="182430" y="2078271"/>
                </a:lnTo>
                <a:lnTo>
                  <a:pt x="182430" y="2099734"/>
                </a:lnTo>
                <a:lnTo>
                  <a:pt x="189584" y="2117619"/>
                </a:lnTo>
                <a:lnTo>
                  <a:pt x="200315" y="2135504"/>
                </a:lnTo>
                <a:lnTo>
                  <a:pt x="221778" y="2149813"/>
                </a:lnTo>
                <a:lnTo>
                  <a:pt x="232509" y="2153389"/>
                </a:lnTo>
                <a:lnTo>
                  <a:pt x="243240" y="2160544"/>
                </a:lnTo>
                <a:lnTo>
                  <a:pt x="257549" y="2182006"/>
                </a:lnTo>
                <a:lnTo>
                  <a:pt x="264703" y="2203468"/>
                </a:lnTo>
                <a:lnTo>
                  <a:pt x="268280" y="2232085"/>
                </a:lnTo>
                <a:lnTo>
                  <a:pt x="264703" y="2246393"/>
                </a:lnTo>
                <a:lnTo>
                  <a:pt x="257549" y="2260701"/>
                </a:lnTo>
                <a:lnTo>
                  <a:pt x="246817" y="2264278"/>
                </a:lnTo>
                <a:lnTo>
                  <a:pt x="228932" y="2264278"/>
                </a:lnTo>
                <a:lnTo>
                  <a:pt x="207470" y="2257124"/>
                </a:lnTo>
                <a:lnTo>
                  <a:pt x="189584" y="2246393"/>
                </a:lnTo>
                <a:lnTo>
                  <a:pt x="171699" y="2232085"/>
                </a:lnTo>
                <a:lnTo>
                  <a:pt x="160968" y="2214199"/>
                </a:lnTo>
                <a:lnTo>
                  <a:pt x="110889" y="2114042"/>
                </a:lnTo>
                <a:lnTo>
                  <a:pt x="60810" y="2017461"/>
                </a:lnTo>
                <a:lnTo>
                  <a:pt x="46502" y="1988845"/>
                </a:lnTo>
                <a:lnTo>
                  <a:pt x="39348" y="1963805"/>
                </a:lnTo>
                <a:lnTo>
                  <a:pt x="35771" y="1931612"/>
                </a:lnTo>
                <a:lnTo>
                  <a:pt x="42925" y="1906573"/>
                </a:lnTo>
                <a:lnTo>
                  <a:pt x="46502" y="1885110"/>
                </a:lnTo>
                <a:lnTo>
                  <a:pt x="42925" y="1867225"/>
                </a:lnTo>
                <a:lnTo>
                  <a:pt x="39348" y="1845763"/>
                </a:lnTo>
                <a:lnTo>
                  <a:pt x="28617" y="1827877"/>
                </a:lnTo>
                <a:lnTo>
                  <a:pt x="14308" y="1802838"/>
                </a:lnTo>
                <a:lnTo>
                  <a:pt x="3577" y="1770644"/>
                </a:lnTo>
                <a:lnTo>
                  <a:pt x="0" y="1742028"/>
                </a:lnTo>
                <a:lnTo>
                  <a:pt x="0" y="1724142"/>
                </a:lnTo>
                <a:lnTo>
                  <a:pt x="3577" y="1706257"/>
                </a:lnTo>
                <a:lnTo>
                  <a:pt x="28617" y="1727720"/>
                </a:lnTo>
                <a:lnTo>
                  <a:pt x="46502" y="1756336"/>
                </a:lnTo>
                <a:lnTo>
                  <a:pt x="60810" y="1784953"/>
                </a:lnTo>
                <a:lnTo>
                  <a:pt x="64387" y="1817146"/>
                </a:lnTo>
                <a:lnTo>
                  <a:pt x="75119" y="1845763"/>
                </a:lnTo>
                <a:lnTo>
                  <a:pt x="78696" y="1860071"/>
                </a:lnTo>
                <a:lnTo>
                  <a:pt x="85850" y="1867225"/>
                </a:lnTo>
                <a:lnTo>
                  <a:pt x="96581" y="1870802"/>
                </a:lnTo>
                <a:lnTo>
                  <a:pt x="107312" y="1874379"/>
                </a:lnTo>
                <a:lnTo>
                  <a:pt x="146660" y="1881533"/>
                </a:lnTo>
                <a:lnTo>
                  <a:pt x="146660" y="1824300"/>
                </a:lnTo>
                <a:lnTo>
                  <a:pt x="171699" y="1824300"/>
                </a:lnTo>
                <a:lnTo>
                  <a:pt x="200315" y="1827877"/>
                </a:lnTo>
                <a:lnTo>
                  <a:pt x="211047" y="1817146"/>
                </a:lnTo>
                <a:lnTo>
                  <a:pt x="214624" y="1799261"/>
                </a:lnTo>
                <a:lnTo>
                  <a:pt x="211047" y="1781375"/>
                </a:lnTo>
                <a:lnTo>
                  <a:pt x="211047" y="1763490"/>
                </a:lnTo>
                <a:lnTo>
                  <a:pt x="200315" y="1716988"/>
                </a:lnTo>
                <a:lnTo>
                  <a:pt x="186007" y="1666910"/>
                </a:lnTo>
                <a:lnTo>
                  <a:pt x="186007" y="1652601"/>
                </a:lnTo>
                <a:lnTo>
                  <a:pt x="186007" y="1638293"/>
                </a:lnTo>
                <a:lnTo>
                  <a:pt x="189584" y="1623985"/>
                </a:lnTo>
                <a:lnTo>
                  <a:pt x="200315" y="1613254"/>
                </a:lnTo>
                <a:lnTo>
                  <a:pt x="214624" y="1602522"/>
                </a:lnTo>
                <a:lnTo>
                  <a:pt x="232509" y="1598945"/>
                </a:lnTo>
                <a:lnTo>
                  <a:pt x="250394" y="1598945"/>
                </a:lnTo>
                <a:lnTo>
                  <a:pt x="268280" y="1602522"/>
                </a:lnTo>
                <a:lnTo>
                  <a:pt x="289742" y="1620408"/>
                </a:lnTo>
                <a:lnTo>
                  <a:pt x="311204" y="1638293"/>
                </a:lnTo>
                <a:lnTo>
                  <a:pt x="325513" y="1656178"/>
                </a:lnTo>
                <a:lnTo>
                  <a:pt x="336244" y="1681218"/>
                </a:lnTo>
                <a:lnTo>
                  <a:pt x="339821" y="1706257"/>
                </a:lnTo>
                <a:lnTo>
                  <a:pt x="350552" y="1727720"/>
                </a:lnTo>
                <a:lnTo>
                  <a:pt x="361283" y="1745605"/>
                </a:lnTo>
                <a:lnTo>
                  <a:pt x="379168" y="1767067"/>
                </a:lnTo>
                <a:lnTo>
                  <a:pt x="389900" y="1738451"/>
                </a:lnTo>
                <a:lnTo>
                  <a:pt x="389900" y="1713411"/>
                </a:lnTo>
                <a:lnTo>
                  <a:pt x="386322" y="1688372"/>
                </a:lnTo>
                <a:lnTo>
                  <a:pt x="372014" y="1666910"/>
                </a:lnTo>
                <a:lnTo>
                  <a:pt x="357706" y="1645447"/>
                </a:lnTo>
                <a:lnTo>
                  <a:pt x="350552" y="1623985"/>
                </a:lnTo>
                <a:lnTo>
                  <a:pt x="354129" y="1598945"/>
                </a:lnTo>
                <a:lnTo>
                  <a:pt x="357706" y="1577483"/>
                </a:lnTo>
                <a:lnTo>
                  <a:pt x="386322" y="1513096"/>
                </a:lnTo>
                <a:lnTo>
                  <a:pt x="393477" y="1480902"/>
                </a:lnTo>
                <a:lnTo>
                  <a:pt x="407785" y="1448709"/>
                </a:lnTo>
                <a:lnTo>
                  <a:pt x="411362" y="1412938"/>
                </a:lnTo>
                <a:lnTo>
                  <a:pt x="411362" y="1377168"/>
                </a:lnTo>
                <a:lnTo>
                  <a:pt x="411362" y="1348551"/>
                </a:lnTo>
                <a:lnTo>
                  <a:pt x="414939" y="1319935"/>
                </a:lnTo>
                <a:lnTo>
                  <a:pt x="422093" y="1305627"/>
                </a:lnTo>
                <a:lnTo>
                  <a:pt x="432824" y="1298472"/>
                </a:lnTo>
                <a:lnTo>
                  <a:pt x="439979" y="1291318"/>
                </a:lnTo>
                <a:lnTo>
                  <a:pt x="454287" y="1291318"/>
                </a:lnTo>
                <a:lnTo>
                  <a:pt x="465018" y="1291318"/>
                </a:lnTo>
                <a:lnTo>
                  <a:pt x="482903" y="1298472"/>
                </a:lnTo>
                <a:lnTo>
                  <a:pt x="500789" y="1305627"/>
                </a:lnTo>
                <a:lnTo>
                  <a:pt x="518674" y="1305627"/>
                </a:lnTo>
                <a:lnTo>
                  <a:pt x="547290" y="1305627"/>
                </a:lnTo>
                <a:lnTo>
                  <a:pt x="583061" y="1305627"/>
                </a:lnTo>
                <a:lnTo>
                  <a:pt x="615254" y="1309204"/>
                </a:lnTo>
                <a:lnTo>
                  <a:pt x="636717" y="1259125"/>
                </a:lnTo>
                <a:lnTo>
                  <a:pt x="647448" y="1226931"/>
                </a:lnTo>
                <a:lnTo>
                  <a:pt x="651025" y="1209046"/>
                </a:lnTo>
                <a:lnTo>
                  <a:pt x="651025" y="1198315"/>
                </a:lnTo>
                <a:lnTo>
                  <a:pt x="647448" y="1184007"/>
                </a:lnTo>
                <a:lnTo>
                  <a:pt x="643871" y="1169698"/>
                </a:lnTo>
                <a:lnTo>
                  <a:pt x="629563" y="1158967"/>
                </a:lnTo>
                <a:lnTo>
                  <a:pt x="618832" y="1144659"/>
                </a:lnTo>
                <a:lnTo>
                  <a:pt x="608100" y="1133928"/>
                </a:lnTo>
                <a:lnTo>
                  <a:pt x="604523" y="1119620"/>
                </a:lnTo>
                <a:lnTo>
                  <a:pt x="593792" y="1094580"/>
                </a:lnTo>
                <a:lnTo>
                  <a:pt x="579484" y="1076695"/>
                </a:lnTo>
                <a:lnTo>
                  <a:pt x="565175" y="1073118"/>
                </a:lnTo>
                <a:lnTo>
                  <a:pt x="554444" y="1073118"/>
                </a:lnTo>
                <a:lnTo>
                  <a:pt x="536559" y="1083849"/>
                </a:lnTo>
                <a:lnTo>
                  <a:pt x="515097" y="1112465"/>
                </a:lnTo>
                <a:lnTo>
                  <a:pt x="497212" y="1141082"/>
                </a:lnTo>
                <a:lnTo>
                  <a:pt x="490057" y="1148236"/>
                </a:lnTo>
                <a:lnTo>
                  <a:pt x="479326" y="1158967"/>
                </a:lnTo>
                <a:lnTo>
                  <a:pt x="472172" y="1158967"/>
                </a:lnTo>
                <a:lnTo>
                  <a:pt x="457864" y="1155390"/>
                </a:lnTo>
                <a:lnTo>
                  <a:pt x="450710" y="1144659"/>
                </a:lnTo>
                <a:lnTo>
                  <a:pt x="439979" y="1137505"/>
                </a:lnTo>
                <a:lnTo>
                  <a:pt x="439979" y="1123197"/>
                </a:lnTo>
                <a:lnTo>
                  <a:pt x="443556" y="1116042"/>
                </a:lnTo>
                <a:lnTo>
                  <a:pt x="457864" y="1094580"/>
                </a:lnTo>
                <a:lnTo>
                  <a:pt x="461441" y="1073118"/>
                </a:lnTo>
                <a:lnTo>
                  <a:pt x="457864" y="1030193"/>
                </a:lnTo>
                <a:lnTo>
                  <a:pt x="461441" y="1012308"/>
                </a:lnTo>
                <a:lnTo>
                  <a:pt x="461441" y="994422"/>
                </a:lnTo>
                <a:lnTo>
                  <a:pt x="479326" y="962229"/>
                </a:lnTo>
                <a:lnTo>
                  <a:pt x="493634" y="937190"/>
                </a:lnTo>
                <a:lnTo>
                  <a:pt x="497212" y="912150"/>
                </a:lnTo>
                <a:lnTo>
                  <a:pt x="497212" y="887111"/>
                </a:lnTo>
                <a:lnTo>
                  <a:pt x="490057" y="854917"/>
                </a:lnTo>
                <a:lnTo>
                  <a:pt x="482903" y="844186"/>
                </a:lnTo>
                <a:lnTo>
                  <a:pt x="482903" y="829878"/>
                </a:lnTo>
                <a:lnTo>
                  <a:pt x="482903" y="794107"/>
                </a:lnTo>
                <a:lnTo>
                  <a:pt x="482903" y="772645"/>
                </a:lnTo>
                <a:lnTo>
                  <a:pt x="493634" y="754760"/>
                </a:lnTo>
                <a:lnTo>
                  <a:pt x="504366" y="751182"/>
                </a:lnTo>
                <a:lnTo>
                  <a:pt x="525828" y="744028"/>
                </a:lnTo>
                <a:lnTo>
                  <a:pt x="547290" y="744028"/>
                </a:lnTo>
                <a:lnTo>
                  <a:pt x="565175" y="733297"/>
                </a:lnTo>
                <a:lnTo>
                  <a:pt x="579484" y="722566"/>
                </a:lnTo>
                <a:lnTo>
                  <a:pt x="583061" y="704681"/>
                </a:lnTo>
                <a:lnTo>
                  <a:pt x="583061" y="701104"/>
                </a:lnTo>
                <a:lnTo>
                  <a:pt x="575907" y="690372"/>
                </a:lnTo>
                <a:lnTo>
                  <a:pt x="561598" y="683218"/>
                </a:lnTo>
                <a:lnTo>
                  <a:pt x="518674" y="679641"/>
                </a:lnTo>
                <a:lnTo>
                  <a:pt x="475749" y="679641"/>
                </a:lnTo>
                <a:lnTo>
                  <a:pt x="457864" y="679641"/>
                </a:lnTo>
                <a:lnTo>
                  <a:pt x="439979" y="668910"/>
                </a:lnTo>
                <a:lnTo>
                  <a:pt x="422093" y="661756"/>
                </a:lnTo>
                <a:lnTo>
                  <a:pt x="411362" y="640294"/>
                </a:lnTo>
                <a:lnTo>
                  <a:pt x="454287" y="583061"/>
                </a:lnTo>
                <a:lnTo>
                  <a:pt x="500789" y="525828"/>
                </a:lnTo>
                <a:lnTo>
                  <a:pt x="518674" y="504365"/>
                </a:lnTo>
                <a:lnTo>
                  <a:pt x="525828" y="490057"/>
                </a:lnTo>
                <a:lnTo>
                  <a:pt x="532982" y="468595"/>
                </a:lnTo>
                <a:lnTo>
                  <a:pt x="532982" y="443555"/>
                </a:lnTo>
                <a:lnTo>
                  <a:pt x="525828" y="393477"/>
                </a:lnTo>
                <a:lnTo>
                  <a:pt x="522251" y="346975"/>
                </a:lnTo>
                <a:lnTo>
                  <a:pt x="522251" y="332667"/>
                </a:lnTo>
                <a:lnTo>
                  <a:pt x="532982" y="325512"/>
                </a:lnTo>
                <a:lnTo>
                  <a:pt x="543713" y="318358"/>
                </a:lnTo>
                <a:lnTo>
                  <a:pt x="565175" y="325512"/>
                </a:lnTo>
                <a:lnTo>
                  <a:pt x="565175" y="350552"/>
                </a:lnTo>
                <a:lnTo>
                  <a:pt x="565175" y="375591"/>
                </a:lnTo>
                <a:lnTo>
                  <a:pt x="568752" y="397054"/>
                </a:lnTo>
                <a:lnTo>
                  <a:pt x="583061" y="411362"/>
                </a:lnTo>
                <a:lnTo>
                  <a:pt x="604523" y="422093"/>
                </a:lnTo>
                <a:lnTo>
                  <a:pt x="622409" y="432824"/>
                </a:lnTo>
                <a:lnTo>
                  <a:pt x="636717" y="432824"/>
                </a:lnTo>
                <a:lnTo>
                  <a:pt x="647448" y="432824"/>
                </a:lnTo>
                <a:lnTo>
                  <a:pt x="661756" y="432824"/>
                </a:lnTo>
                <a:lnTo>
                  <a:pt x="668910" y="422093"/>
                </a:lnTo>
                <a:lnTo>
                  <a:pt x="679642" y="411362"/>
                </a:lnTo>
                <a:lnTo>
                  <a:pt x="683219" y="397054"/>
                </a:lnTo>
                <a:lnTo>
                  <a:pt x="686796" y="379168"/>
                </a:lnTo>
                <a:lnTo>
                  <a:pt x="690373" y="354129"/>
                </a:lnTo>
                <a:lnTo>
                  <a:pt x="697527" y="332667"/>
                </a:lnTo>
                <a:lnTo>
                  <a:pt x="708258" y="314781"/>
                </a:lnTo>
                <a:lnTo>
                  <a:pt x="722566" y="293319"/>
                </a:lnTo>
                <a:lnTo>
                  <a:pt x="733297" y="282588"/>
                </a:lnTo>
                <a:lnTo>
                  <a:pt x="744028" y="264702"/>
                </a:lnTo>
                <a:lnTo>
                  <a:pt x="761914" y="225355"/>
                </a:lnTo>
                <a:lnTo>
                  <a:pt x="772645" y="203892"/>
                </a:lnTo>
                <a:lnTo>
                  <a:pt x="783376" y="200315"/>
                </a:lnTo>
                <a:lnTo>
                  <a:pt x="786953" y="193161"/>
                </a:lnTo>
                <a:lnTo>
                  <a:pt x="794107" y="193161"/>
                </a:lnTo>
                <a:lnTo>
                  <a:pt x="804839" y="200315"/>
                </a:lnTo>
                <a:lnTo>
                  <a:pt x="826301" y="211047"/>
                </a:lnTo>
                <a:lnTo>
                  <a:pt x="869226" y="246817"/>
                </a:lnTo>
                <a:lnTo>
                  <a:pt x="894265" y="286165"/>
                </a:lnTo>
                <a:lnTo>
                  <a:pt x="908573" y="307627"/>
                </a:lnTo>
                <a:lnTo>
                  <a:pt x="915727" y="332667"/>
                </a:lnTo>
                <a:lnTo>
                  <a:pt x="930035" y="386322"/>
                </a:lnTo>
                <a:lnTo>
                  <a:pt x="933612" y="400631"/>
                </a:lnTo>
                <a:lnTo>
                  <a:pt x="937190" y="414939"/>
                </a:lnTo>
                <a:lnTo>
                  <a:pt x="958652" y="443555"/>
                </a:lnTo>
                <a:lnTo>
                  <a:pt x="980114" y="472172"/>
                </a:lnTo>
                <a:lnTo>
                  <a:pt x="1008731" y="493634"/>
                </a:lnTo>
                <a:lnTo>
                  <a:pt x="1023039" y="504365"/>
                </a:lnTo>
                <a:lnTo>
                  <a:pt x="1037347" y="522251"/>
                </a:lnTo>
                <a:lnTo>
                  <a:pt x="1040924" y="540136"/>
                </a:lnTo>
                <a:lnTo>
                  <a:pt x="1037347" y="561598"/>
                </a:lnTo>
                <a:lnTo>
                  <a:pt x="1037347" y="572329"/>
                </a:lnTo>
                <a:lnTo>
                  <a:pt x="1040924" y="579484"/>
                </a:lnTo>
                <a:lnTo>
                  <a:pt x="1040924" y="586638"/>
                </a:lnTo>
                <a:lnTo>
                  <a:pt x="1044501" y="593792"/>
                </a:lnTo>
                <a:lnTo>
                  <a:pt x="1065964" y="586638"/>
                </a:lnTo>
                <a:lnTo>
                  <a:pt x="1083849" y="583061"/>
                </a:lnTo>
                <a:lnTo>
                  <a:pt x="1094580" y="575907"/>
                </a:lnTo>
                <a:lnTo>
                  <a:pt x="1098157" y="561598"/>
                </a:lnTo>
                <a:lnTo>
                  <a:pt x="1105311" y="547290"/>
                </a:lnTo>
                <a:lnTo>
                  <a:pt x="1116043" y="540136"/>
                </a:lnTo>
                <a:lnTo>
                  <a:pt x="1126774" y="532982"/>
                </a:lnTo>
                <a:lnTo>
                  <a:pt x="1155390" y="522251"/>
                </a:lnTo>
                <a:lnTo>
                  <a:pt x="1184007" y="525828"/>
                </a:lnTo>
                <a:lnTo>
                  <a:pt x="1184007" y="500788"/>
                </a:lnTo>
                <a:lnTo>
                  <a:pt x="1184007" y="479326"/>
                </a:lnTo>
                <a:lnTo>
                  <a:pt x="1180430" y="450709"/>
                </a:lnTo>
                <a:lnTo>
                  <a:pt x="1169699" y="439978"/>
                </a:lnTo>
                <a:lnTo>
                  <a:pt x="1158967" y="432824"/>
                </a:lnTo>
                <a:lnTo>
                  <a:pt x="1144659" y="432824"/>
                </a:lnTo>
                <a:lnTo>
                  <a:pt x="1133928" y="436401"/>
                </a:lnTo>
                <a:lnTo>
                  <a:pt x="1116043" y="454287"/>
                </a:lnTo>
                <a:lnTo>
                  <a:pt x="1101734" y="461441"/>
                </a:lnTo>
                <a:lnTo>
                  <a:pt x="1087426" y="472172"/>
                </a:lnTo>
                <a:lnTo>
                  <a:pt x="1076695" y="475749"/>
                </a:lnTo>
                <a:lnTo>
                  <a:pt x="1062387" y="475749"/>
                </a:lnTo>
                <a:lnTo>
                  <a:pt x="1055233" y="472172"/>
                </a:lnTo>
                <a:lnTo>
                  <a:pt x="1044501" y="461441"/>
                </a:lnTo>
                <a:lnTo>
                  <a:pt x="1037347" y="450709"/>
                </a:lnTo>
                <a:lnTo>
                  <a:pt x="1033770" y="432824"/>
                </a:lnTo>
                <a:lnTo>
                  <a:pt x="1019462" y="397054"/>
                </a:lnTo>
                <a:lnTo>
                  <a:pt x="1008731" y="364860"/>
                </a:lnTo>
                <a:lnTo>
                  <a:pt x="983691" y="332667"/>
                </a:lnTo>
                <a:lnTo>
                  <a:pt x="958652" y="307627"/>
                </a:lnTo>
                <a:lnTo>
                  <a:pt x="951498" y="296896"/>
                </a:lnTo>
                <a:lnTo>
                  <a:pt x="940767" y="282588"/>
                </a:lnTo>
                <a:lnTo>
                  <a:pt x="937190" y="246817"/>
                </a:lnTo>
                <a:lnTo>
                  <a:pt x="933612" y="228932"/>
                </a:lnTo>
                <a:lnTo>
                  <a:pt x="930035" y="211047"/>
                </a:lnTo>
                <a:lnTo>
                  <a:pt x="919304" y="200315"/>
                </a:lnTo>
                <a:lnTo>
                  <a:pt x="908573" y="186007"/>
                </a:lnTo>
                <a:lnTo>
                  <a:pt x="887111" y="157391"/>
                </a:lnTo>
                <a:lnTo>
                  <a:pt x="876380" y="143082"/>
                </a:lnTo>
                <a:lnTo>
                  <a:pt x="876380" y="128774"/>
                </a:lnTo>
                <a:lnTo>
                  <a:pt x="876380" y="118043"/>
                </a:lnTo>
                <a:lnTo>
                  <a:pt x="879957" y="103735"/>
                </a:lnTo>
                <a:lnTo>
                  <a:pt x="904996" y="75118"/>
                </a:lnTo>
                <a:lnTo>
                  <a:pt x="926458" y="42925"/>
                </a:lnTo>
                <a:lnTo>
                  <a:pt x="951498" y="1430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27753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24384000" cy="12954002"/>
          </a:xfrm>
          <a:prstGeom prst="rect">
            <a:avLst/>
          </a:prstGeom>
          <a:gradFill>
            <a:gsLst>
              <a:gs pos="100000">
                <a:schemeClr val="tx1">
                  <a:lumMod val="85000"/>
                  <a:lumOff val="15000"/>
                </a:schemeClr>
              </a:gs>
              <a:gs pos="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2052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20443308" cy="12471402"/>
          </a:xfrm>
          <a:custGeom>
            <a:avLst/>
            <a:gdLst>
              <a:gd name="connsiteX0" fmla="*/ 0 w 10221654"/>
              <a:gd name="connsiteY0" fmla="*/ 1 h 6235701"/>
              <a:gd name="connsiteX1" fmla="*/ 7667887 w 10221654"/>
              <a:gd name="connsiteY1" fmla="*/ 1 h 6235701"/>
              <a:gd name="connsiteX2" fmla="*/ 7598016 w 10221654"/>
              <a:gd name="connsiteY2" fmla="*/ 2425 h 6235701"/>
              <a:gd name="connsiteX3" fmla="*/ 0 w 10221654"/>
              <a:gd name="connsiteY3" fmla="*/ 6235701 h 6235701"/>
              <a:gd name="connsiteX4" fmla="*/ 7667915 w 10221654"/>
              <a:gd name="connsiteY4" fmla="*/ 0 h 6235701"/>
              <a:gd name="connsiteX5" fmla="*/ 10221616 w 10221654"/>
              <a:gd name="connsiteY5" fmla="*/ 0 h 6235701"/>
              <a:gd name="connsiteX6" fmla="*/ 10221654 w 10221654"/>
              <a:gd name="connsiteY6" fmla="*/ 1 h 6235701"/>
              <a:gd name="connsiteX7" fmla="*/ 7667887 w 10221654"/>
              <a:gd name="connsiteY7" fmla="*/ 1 h 6235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1654" h="6235701">
                <a:moveTo>
                  <a:pt x="0" y="1"/>
                </a:moveTo>
                <a:lnTo>
                  <a:pt x="7667887" y="1"/>
                </a:lnTo>
                <a:lnTo>
                  <a:pt x="7598016" y="2425"/>
                </a:lnTo>
                <a:cubicBezTo>
                  <a:pt x="358819" y="308433"/>
                  <a:pt x="4202562" y="3392886"/>
                  <a:pt x="0" y="6235701"/>
                </a:cubicBezTo>
                <a:close/>
                <a:moveTo>
                  <a:pt x="7667915" y="0"/>
                </a:moveTo>
                <a:lnTo>
                  <a:pt x="10221616" y="0"/>
                </a:lnTo>
                <a:lnTo>
                  <a:pt x="10221654" y="1"/>
                </a:lnTo>
                <a:lnTo>
                  <a:pt x="7667887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212"/>
          <a:stretch/>
        </p:blipFill>
        <p:spPr>
          <a:xfrm>
            <a:off x="1271880" y="1286792"/>
            <a:ext cx="5491776" cy="10896816"/>
          </a:xfrm>
          <a:prstGeom prst="rect">
            <a:avLst/>
          </a:prstGeom>
          <a:effectLst>
            <a:outerShdw blurRad="266700" dist="292100" dir="8100000" algn="tr" rotWithShape="0">
              <a:prstClr val="black">
                <a:alpha val="15000"/>
              </a:prstClr>
            </a:outerShdw>
          </a:effectLst>
        </p:spPr>
      </p:pic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953333" y="2872776"/>
            <a:ext cx="4163278" cy="734818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5053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24384000" cy="12954002"/>
          </a:xfrm>
          <a:prstGeom prst="rect">
            <a:avLst/>
          </a:prstGeom>
          <a:gradFill>
            <a:gsLst>
              <a:gs pos="100000">
                <a:schemeClr val="tx1">
                  <a:lumMod val="85000"/>
                  <a:lumOff val="15000"/>
                </a:schemeClr>
              </a:gs>
              <a:gs pos="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Shape 11442"/>
          <p:cNvSpPr/>
          <p:nvPr userDrawn="1"/>
        </p:nvSpPr>
        <p:spPr>
          <a:xfrm>
            <a:off x="11998159" y="6218877"/>
            <a:ext cx="12385846" cy="322391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-312233" y="1690432"/>
            <a:ext cx="12346190" cy="8078036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08_Desktop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985135" y="1456971"/>
            <a:ext cx="15506906" cy="10599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7612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24384000" cy="12954002"/>
          </a:xfrm>
          <a:prstGeom prst="rect">
            <a:avLst/>
          </a:prstGeom>
          <a:gradFill>
            <a:gsLst>
              <a:gs pos="100000">
                <a:schemeClr val="tx1">
                  <a:lumMod val="85000"/>
                  <a:lumOff val="15000"/>
                </a:schemeClr>
              </a:gs>
              <a:gs pos="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777508" y="1788"/>
            <a:ext cx="16487304" cy="13714212"/>
          </a:xfrm>
          <a:custGeom>
            <a:avLst/>
            <a:gdLst>
              <a:gd name="connsiteX0" fmla="*/ 1748865 w 8243652"/>
              <a:gd name="connsiteY0" fmla="*/ 2283519 h 6857106"/>
              <a:gd name="connsiteX1" fmla="*/ 1749611 w 8243652"/>
              <a:gd name="connsiteY1" fmla="*/ 2283519 h 6857106"/>
              <a:gd name="connsiteX2" fmla="*/ 1749114 w 8243652"/>
              <a:gd name="connsiteY2" fmla="*/ 2285635 h 6857106"/>
              <a:gd name="connsiteX3" fmla="*/ 1765166 w 8243652"/>
              <a:gd name="connsiteY3" fmla="*/ 2170806 h 6857106"/>
              <a:gd name="connsiteX4" fmla="*/ 1760509 w 8243652"/>
              <a:gd name="connsiteY4" fmla="*/ 2250181 h 6857106"/>
              <a:gd name="connsiteX5" fmla="*/ 1760509 w 8243652"/>
              <a:gd name="connsiteY5" fmla="*/ 2280344 h 6857106"/>
              <a:gd name="connsiteX6" fmla="*/ 1758180 w 8243652"/>
              <a:gd name="connsiteY6" fmla="*/ 2283519 h 6857106"/>
              <a:gd name="connsiteX7" fmla="*/ 1753523 w 8243652"/>
              <a:gd name="connsiteY7" fmla="*/ 2283519 h 6857106"/>
              <a:gd name="connsiteX8" fmla="*/ 1749611 w 8243652"/>
              <a:gd name="connsiteY8" fmla="*/ 2283519 h 6857106"/>
              <a:gd name="connsiteX9" fmla="*/ 1758180 w 8243652"/>
              <a:gd name="connsiteY9" fmla="*/ 2247006 h 6857106"/>
              <a:gd name="connsiteX10" fmla="*/ 6988474 w 8243652"/>
              <a:gd name="connsiteY10" fmla="*/ 1284981 h 6857106"/>
              <a:gd name="connsiteX11" fmla="*/ 7004776 w 8243652"/>
              <a:gd name="connsiteY11" fmla="*/ 1496119 h 6857106"/>
              <a:gd name="connsiteX12" fmla="*/ 6997790 w 8243652"/>
              <a:gd name="connsiteY12" fmla="*/ 1413569 h 6857106"/>
              <a:gd name="connsiteX13" fmla="*/ 3064568 w 8243652"/>
              <a:gd name="connsiteY13" fmla="*/ 0 h 6857106"/>
              <a:gd name="connsiteX14" fmla="*/ 3064614 w 8243652"/>
              <a:gd name="connsiteY14" fmla="*/ 0 h 6857106"/>
              <a:gd name="connsiteX15" fmla="*/ 3071576 w 8243652"/>
              <a:gd name="connsiteY15" fmla="*/ 254694 h 6857106"/>
              <a:gd name="connsiteX16" fmla="*/ 3071576 w 8243652"/>
              <a:gd name="connsiteY16" fmla="*/ 330894 h 6857106"/>
              <a:gd name="connsiteX17" fmla="*/ 3069247 w 8243652"/>
              <a:gd name="connsiteY17" fmla="*/ 391219 h 6857106"/>
              <a:gd name="connsiteX18" fmla="*/ 3055275 w 8243652"/>
              <a:gd name="connsiteY18" fmla="*/ 545206 h 6857106"/>
              <a:gd name="connsiteX19" fmla="*/ 3043631 w 8243652"/>
              <a:gd name="connsiteY19" fmla="*/ 667444 h 6857106"/>
              <a:gd name="connsiteX20" fmla="*/ 3031987 w 8243652"/>
              <a:gd name="connsiteY20" fmla="*/ 846831 h 6857106"/>
              <a:gd name="connsiteX21" fmla="*/ 3059932 w 8243652"/>
              <a:gd name="connsiteY21" fmla="*/ 1189731 h 6857106"/>
              <a:gd name="connsiteX22" fmla="*/ 3055275 w 8243652"/>
              <a:gd name="connsiteY22" fmla="*/ 1200844 h 6857106"/>
              <a:gd name="connsiteX23" fmla="*/ 3052946 w 8243652"/>
              <a:gd name="connsiteY23" fmla="*/ 1202431 h 6857106"/>
              <a:gd name="connsiteX24" fmla="*/ 3043631 w 8243652"/>
              <a:gd name="connsiteY24" fmla="*/ 1197669 h 6857106"/>
              <a:gd name="connsiteX25" fmla="*/ 3038974 w 8243652"/>
              <a:gd name="connsiteY25" fmla="*/ 1200844 h 6857106"/>
              <a:gd name="connsiteX26" fmla="*/ 3036645 w 8243652"/>
              <a:gd name="connsiteY26" fmla="*/ 1205606 h 6857106"/>
              <a:gd name="connsiteX27" fmla="*/ 3031987 w 8243652"/>
              <a:gd name="connsiteY27" fmla="*/ 1224656 h 6857106"/>
              <a:gd name="connsiteX28" fmla="*/ 3027330 w 8243652"/>
              <a:gd name="connsiteY28" fmla="*/ 1261169 h 6857106"/>
              <a:gd name="connsiteX29" fmla="*/ 3038974 w 8243652"/>
              <a:gd name="connsiteY29" fmla="*/ 1397694 h 6857106"/>
              <a:gd name="connsiteX30" fmla="*/ 3048288 w 8243652"/>
              <a:gd name="connsiteY30" fmla="*/ 1432619 h 6857106"/>
              <a:gd name="connsiteX31" fmla="*/ 3052946 w 8243652"/>
              <a:gd name="connsiteY31" fmla="*/ 1446906 h 6857106"/>
              <a:gd name="connsiteX32" fmla="*/ 3055275 w 8243652"/>
              <a:gd name="connsiteY32" fmla="*/ 1446906 h 6857106"/>
              <a:gd name="connsiteX33" fmla="*/ 3059932 w 8243652"/>
              <a:gd name="connsiteY33" fmla="*/ 1443731 h 6857106"/>
              <a:gd name="connsiteX34" fmla="*/ 3064589 w 8243652"/>
              <a:gd name="connsiteY34" fmla="*/ 1421506 h 6857106"/>
              <a:gd name="connsiteX35" fmla="*/ 3076233 w 8243652"/>
              <a:gd name="connsiteY35" fmla="*/ 1345306 h 6857106"/>
              <a:gd name="connsiteX36" fmla="*/ 3087877 w 8243652"/>
              <a:gd name="connsiteY36" fmla="*/ 1227831 h 6857106"/>
              <a:gd name="connsiteX37" fmla="*/ 3099520 w 8243652"/>
              <a:gd name="connsiteY37" fmla="*/ 1089719 h 6857106"/>
              <a:gd name="connsiteX38" fmla="*/ 3115821 w 8243652"/>
              <a:gd name="connsiteY38" fmla="*/ 818256 h 6857106"/>
              <a:gd name="connsiteX39" fmla="*/ 3120479 w 8243652"/>
              <a:gd name="connsiteY39" fmla="*/ 907156 h 6857106"/>
              <a:gd name="connsiteX40" fmla="*/ 3120479 w 8243652"/>
              <a:gd name="connsiteY40" fmla="*/ 1027806 h 6857106"/>
              <a:gd name="connsiteX41" fmla="*/ 3120479 w 8243652"/>
              <a:gd name="connsiteY41" fmla="*/ 1307206 h 6857106"/>
              <a:gd name="connsiteX42" fmla="*/ 3120479 w 8243652"/>
              <a:gd name="connsiteY42" fmla="*/ 1427856 h 6857106"/>
              <a:gd name="connsiteX43" fmla="*/ 3125136 w 8243652"/>
              <a:gd name="connsiteY43" fmla="*/ 1515169 h 6857106"/>
              <a:gd name="connsiteX44" fmla="*/ 3127465 w 8243652"/>
              <a:gd name="connsiteY44" fmla="*/ 1540569 h 6857106"/>
              <a:gd name="connsiteX45" fmla="*/ 3132122 w 8243652"/>
              <a:gd name="connsiteY45" fmla="*/ 1551681 h 6857106"/>
              <a:gd name="connsiteX46" fmla="*/ 3136780 w 8243652"/>
              <a:gd name="connsiteY46" fmla="*/ 1548506 h 6857106"/>
              <a:gd name="connsiteX47" fmla="*/ 3136780 w 8243652"/>
              <a:gd name="connsiteY47" fmla="*/ 1542156 h 6857106"/>
              <a:gd name="connsiteX48" fmla="*/ 3143766 w 8243652"/>
              <a:gd name="connsiteY48" fmla="*/ 1515169 h 6857106"/>
              <a:gd name="connsiteX49" fmla="*/ 3153081 w 8243652"/>
              <a:gd name="connsiteY49" fmla="*/ 1469131 h 6857106"/>
              <a:gd name="connsiteX50" fmla="*/ 3160067 w 8243652"/>
              <a:gd name="connsiteY50" fmla="*/ 1411981 h 6857106"/>
              <a:gd name="connsiteX51" fmla="*/ 3164724 w 8243652"/>
              <a:gd name="connsiteY51" fmla="*/ 1280219 h 6857106"/>
              <a:gd name="connsiteX52" fmla="*/ 3169382 w 8243652"/>
              <a:gd name="connsiteY52" fmla="*/ 1130994 h 6857106"/>
              <a:gd name="connsiteX53" fmla="*/ 3164724 w 8243652"/>
              <a:gd name="connsiteY53" fmla="*/ 978594 h 6857106"/>
              <a:gd name="connsiteX54" fmla="*/ 3157738 w 8243652"/>
              <a:gd name="connsiteY54" fmla="*/ 689669 h 6857106"/>
              <a:gd name="connsiteX55" fmla="*/ 3160067 w 8243652"/>
              <a:gd name="connsiteY55" fmla="*/ 580131 h 6857106"/>
              <a:gd name="connsiteX56" fmla="*/ 3160067 w 8243652"/>
              <a:gd name="connsiteY56" fmla="*/ 538856 h 6857106"/>
              <a:gd name="connsiteX57" fmla="*/ 3169382 w 8243652"/>
              <a:gd name="connsiteY57" fmla="*/ 507106 h 6857106"/>
              <a:gd name="connsiteX58" fmla="*/ 3192669 w 8243652"/>
              <a:gd name="connsiteY58" fmla="*/ 1123056 h 6857106"/>
              <a:gd name="connsiteX59" fmla="*/ 3204312 w 8243652"/>
              <a:gd name="connsiteY59" fmla="*/ 986531 h 6857106"/>
              <a:gd name="connsiteX60" fmla="*/ 3213627 w 8243652"/>
              <a:gd name="connsiteY60" fmla="*/ 945256 h 6857106"/>
              <a:gd name="connsiteX61" fmla="*/ 3220613 w 8243652"/>
              <a:gd name="connsiteY61" fmla="*/ 918269 h 6857106"/>
              <a:gd name="connsiteX62" fmla="*/ 3229928 w 8243652"/>
              <a:gd name="connsiteY62" fmla="*/ 907156 h 6857106"/>
              <a:gd name="connsiteX63" fmla="*/ 3232257 w 8243652"/>
              <a:gd name="connsiteY63" fmla="*/ 903981 h 6857106"/>
              <a:gd name="connsiteX64" fmla="*/ 3241572 w 8243652"/>
              <a:gd name="connsiteY64" fmla="*/ 915094 h 6857106"/>
              <a:gd name="connsiteX65" fmla="*/ 3248558 w 8243652"/>
              <a:gd name="connsiteY65" fmla="*/ 930969 h 6857106"/>
              <a:gd name="connsiteX66" fmla="*/ 3260201 w 8243652"/>
              <a:gd name="connsiteY66" fmla="*/ 983356 h 6857106"/>
              <a:gd name="connsiteX67" fmla="*/ 3274174 w 8243652"/>
              <a:gd name="connsiteY67" fmla="*/ 1050031 h 6857106"/>
              <a:gd name="connsiteX68" fmla="*/ 3290475 w 8243652"/>
              <a:gd name="connsiteY68" fmla="*/ 1110356 h 6857106"/>
              <a:gd name="connsiteX69" fmla="*/ 3302118 w 8243652"/>
              <a:gd name="connsiteY69" fmla="*/ 1150044 h 6857106"/>
              <a:gd name="connsiteX70" fmla="*/ 3309105 w 8243652"/>
              <a:gd name="connsiteY70" fmla="*/ 1069081 h 6857106"/>
              <a:gd name="connsiteX71" fmla="*/ 3313762 w 8243652"/>
              <a:gd name="connsiteY71" fmla="*/ 972244 h 6857106"/>
              <a:gd name="connsiteX72" fmla="*/ 3320748 w 8243652"/>
              <a:gd name="connsiteY72" fmla="*/ 1008756 h 6857106"/>
              <a:gd name="connsiteX73" fmla="*/ 3325406 w 8243652"/>
              <a:gd name="connsiteY73" fmla="*/ 1019869 h 6857106"/>
              <a:gd name="connsiteX74" fmla="*/ 3330063 w 8243652"/>
              <a:gd name="connsiteY74" fmla="*/ 1021456 h 6857106"/>
              <a:gd name="connsiteX75" fmla="*/ 3334720 w 8243652"/>
              <a:gd name="connsiteY75" fmla="*/ 1021456 h 6857106"/>
              <a:gd name="connsiteX76" fmla="*/ 3337049 w 8243652"/>
              <a:gd name="connsiteY76" fmla="*/ 1016694 h 6857106"/>
              <a:gd name="connsiteX77" fmla="*/ 3341707 w 8243652"/>
              <a:gd name="connsiteY77" fmla="*/ 994469 h 6857106"/>
              <a:gd name="connsiteX78" fmla="*/ 3358008 w 8243652"/>
              <a:gd name="connsiteY78" fmla="*/ 908744 h 6857106"/>
              <a:gd name="connsiteX79" fmla="*/ 3374309 w 8243652"/>
              <a:gd name="connsiteY79" fmla="*/ 797619 h 6857106"/>
              <a:gd name="connsiteX80" fmla="*/ 3385952 w 8243652"/>
              <a:gd name="connsiteY80" fmla="*/ 678556 h 6857106"/>
              <a:gd name="connsiteX81" fmla="*/ 3397596 w 8243652"/>
              <a:gd name="connsiteY81" fmla="*/ 586481 h 6857106"/>
              <a:gd name="connsiteX82" fmla="*/ 3406911 w 8243652"/>
              <a:gd name="connsiteY82" fmla="*/ 556319 h 6857106"/>
              <a:gd name="connsiteX83" fmla="*/ 3409239 w 8243652"/>
              <a:gd name="connsiteY83" fmla="*/ 542031 h 6857106"/>
              <a:gd name="connsiteX84" fmla="*/ 3413897 w 8243652"/>
              <a:gd name="connsiteY84" fmla="*/ 542031 h 6857106"/>
              <a:gd name="connsiteX85" fmla="*/ 3418554 w 8243652"/>
              <a:gd name="connsiteY85" fmla="*/ 545206 h 6857106"/>
              <a:gd name="connsiteX86" fmla="*/ 3423212 w 8243652"/>
              <a:gd name="connsiteY86" fmla="*/ 572194 h 6857106"/>
              <a:gd name="connsiteX87" fmla="*/ 3423212 w 8243652"/>
              <a:gd name="connsiteY87" fmla="*/ 624581 h 6857106"/>
              <a:gd name="connsiteX88" fmla="*/ 3423212 w 8243652"/>
              <a:gd name="connsiteY88" fmla="*/ 688081 h 6857106"/>
              <a:gd name="connsiteX89" fmla="*/ 3430198 w 8243652"/>
              <a:gd name="connsiteY89" fmla="*/ 832544 h 6857106"/>
              <a:gd name="connsiteX90" fmla="*/ 3437184 w 8243652"/>
              <a:gd name="connsiteY90" fmla="*/ 980181 h 6857106"/>
              <a:gd name="connsiteX91" fmla="*/ 3441841 w 8243652"/>
              <a:gd name="connsiteY91" fmla="*/ 1110356 h 6857106"/>
              <a:gd name="connsiteX92" fmla="*/ 3495402 w 8243652"/>
              <a:gd name="connsiteY92" fmla="*/ 727769 h 6857106"/>
              <a:gd name="connsiteX93" fmla="*/ 3486087 w 8243652"/>
              <a:gd name="connsiteY93" fmla="*/ 797619 h 6857106"/>
              <a:gd name="connsiteX94" fmla="*/ 3481429 w 8243652"/>
              <a:gd name="connsiteY94" fmla="*/ 881756 h 6857106"/>
              <a:gd name="connsiteX95" fmla="*/ 3474443 w 8243652"/>
              <a:gd name="connsiteY95" fmla="*/ 1089719 h 6857106"/>
              <a:gd name="connsiteX96" fmla="*/ 3469786 w 8243652"/>
              <a:gd name="connsiteY96" fmla="*/ 1589781 h 6857106"/>
              <a:gd name="connsiteX97" fmla="*/ 3474443 w 8243652"/>
              <a:gd name="connsiteY97" fmla="*/ 1567556 h 6857106"/>
              <a:gd name="connsiteX98" fmla="*/ 3479101 w 8243652"/>
              <a:gd name="connsiteY98" fmla="*/ 1537394 h 6857106"/>
              <a:gd name="connsiteX99" fmla="*/ 3486087 w 8243652"/>
              <a:gd name="connsiteY99" fmla="*/ 1451669 h 6857106"/>
              <a:gd name="connsiteX100" fmla="*/ 3495402 w 8243652"/>
              <a:gd name="connsiteY100" fmla="*/ 1370706 h 6857106"/>
              <a:gd name="connsiteX101" fmla="*/ 3502388 w 8243652"/>
              <a:gd name="connsiteY101" fmla="*/ 1311969 h 6857106"/>
              <a:gd name="connsiteX102" fmla="*/ 3495402 w 8243652"/>
              <a:gd name="connsiteY102" fmla="*/ 1504056 h 6857106"/>
              <a:gd name="connsiteX103" fmla="*/ 3495402 w 8243652"/>
              <a:gd name="connsiteY103" fmla="*/ 1608831 h 6857106"/>
              <a:gd name="connsiteX104" fmla="*/ 3497730 w 8243652"/>
              <a:gd name="connsiteY104" fmla="*/ 1723131 h 6857106"/>
              <a:gd name="connsiteX105" fmla="*/ 3551291 w 8243652"/>
              <a:gd name="connsiteY105" fmla="*/ 1137344 h 6857106"/>
              <a:gd name="connsiteX106" fmla="*/ 3546633 w 8243652"/>
              <a:gd name="connsiteY106" fmla="*/ 1070669 h 6857106"/>
              <a:gd name="connsiteX107" fmla="*/ 3539647 w 8243652"/>
              <a:gd name="connsiteY107" fmla="*/ 1038919 h 6857106"/>
              <a:gd name="connsiteX108" fmla="*/ 3541976 w 8243652"/>
              <a:gd name="connsiteY108" fmla="*/ 1027806 h 6857106"/>
              <a:gd name="connsiteX109" fmla="*/ 3551291 w 8243652"/>
              <a:gd name="connsiteY109" fmla="*/ 1005581 h 6857106"/>
              <a:gd name="connsiteX110" fmla="*/ 3558277 w 8243652"/>
              <a:gd name="connsiteY110" fmla="*/ 980181 h 6857106"/>
              <a:gd name="connsiteX111" fmla="*/ 3567592 w 8243652"/>
              <a:gd name="connsiteY111" fmla="*/ 959544 h 6857106"/>
              <a:gd name="connsiteX112" fmla="*/ 3569921 w 8243652"/>
              <a:gd name="connsiteY112" fmla="*/ 953194 h 6857106"/>
              <a:gd name="connsiteX113" fmla="*/ 3574578 w 8243652"/>
              <a:gd name="connsiteY113" fmla="*/ 953194 h 6857106"/>
              <a:gd name="connsiteX114" fmla="*/ 3579235 w 8243652"/>
              <a:gd name="connsiteY114" fmla="*/ 956369 h 6857106"/>
              <a:gd name="connsiteX115" fmla="*/ 3583893 w 8243652"/>
              <a:gd name="connsiteY115" fmla="*/ 967481 h 6857106"/>
              <a:gd name="connsiteX116" fmla="*/ 3590879 w 8243652"/>
              <a:gd name="connsiteY116" fmla="*/ 1013519 h 6857106"/>
              <a:gd name="connsiteX117" fmla="*/ 3600194 w 8243652"/>
              <a:gd name="connsiteY117" fmla="*/ 1100831 h 6857106"/>
              <a:gd name="connsiteX118" fmla="*/ 3595536 w 8243652"/>
              <a:gd name="connsiteY118" fmla="*/ 1300856 h 6857106"/>
              <a:gd name="connsiteX119" fmla="*/ 3590879 w 8243652"/>
              <a:gd name="connsiteY119" fmla="*/ 1502469 h 6857106"/>
              <a:gd name="connsiteX120" fmla="*/ 3583893 w 8243652"/>
              <a:gd name="connsiteY120" fmla="*/ 1389756 h 6857106"/>
              <a:gd name="connsiteX121" fmla="*/ 3579235 w 8243652"/>
              <a:gd name="connsiteY121" fmla="*/ 1331019 h 6857106"/>
              <a:gd name="connsiteX122" fmla="*/ 3574578 w 8243652"/>
              <a:gd name="connsiteY122" fmla="*/ 1323081 h 6857106"/>
              <a:gd name="connsiteX123" fmla="*/ 3574578 w 8243652"/>
              <a:gd name="connsiteY123" fmla="*/ 1326256 h 6857106"/>
              <a:gd name="connsiteX124" fmla="*/ 3569921 w 8243652"/>
              <a:gd name="connsiteY124" fmla="*/ 1359594 h 6857106"/>
              <a:gd name="connsiteX125" fmla="*/ 3562934 w 8243652"/>
              <a:gd name="connsiteY125" fmla="*/ 1510406 h 6857106"/>
              <a:gd name="connsiteX126" fmla="*/ 3555948 w 8243652"/>
              <a:gd name="connsiteY126" fmla="*/ 1710431 h 6857106"/>
              <a:gd name="connsiteX127" fmla="*/ 3567592 w 8243652"/>
              <a:gd name="connsiteY127" fmla="*/ 1696144 h 6857106"/>
              <a:gd name="connsiteX128" fmla="*/ 3569921 w 8243652"/>
              <a:gd name="connsiteY128" fmla="*/ 1696144 h 6857106"/>
              <a:gd name="connsiteX129" fmla="*/ 3574578 w 8243652"/>
              <a:gd name="connsiteY129" fmla="*/ 1702494 h 6857106"/>
              <a:gd name="connsiteX130" fmla="*/ 3574578 w 8243652"/>
              <a:gd name="connsiteY130" fmla="*/ 1723131 h 6857106"/>
              <a:gd name="connsiteX131" fmla="*/ 3574578 w 8243652"/>
              <a:gd name="connsiteY131" fmla="*/ 1762819 h 6857106"/>
              <a:gd name="connsiteX132" fmla="*/ 3574578 w 8243652"/>
              <a:gd name="connsiteY132" fmla="*/ 1883469 h 6857106"/>
              <a:gd name="connsiteX133" fmla="*/ 3579235 w 8243652"/>
              <a:gd name="connsiteY133" fmla="*/ 1962844 h 6857106"/>
              <a:gd name="connsiteX134" fmla="*/ 3583893 w 8243652"/>
              <a:gd name="connsiteY134" fmla="*/ 2050156 h 6857106"/>
              <a:gd name="connsiteX135" fmla="*/ 3586222 w 8243652"/>
              <a:gd name="connsiteY135" fmla="*/ 2045394 h 6857106"/>
              <a:gd name="connsiteX136" fmla="*/ 3590879 w 8243652"/>
              <a:gd name="connsiteY136" fmla="*/ 2024756 h 6857106"/>
              <a:gd name="connsiteX137" fmla="*/ 3600194 w 8243652"/>
              <a:gd name="connsiteY137" fmla="*/ 1964431 h 6857106"/>
              <a:gd name="connsiteX138" fmla="*/ 3607180 w 8243652"/>
              <a:gd name="connsiteY138" fmla="*/ 1877119 h 6857106"/>
              <a:gd name="connsiteX139" fmla="*/ 3611837 w 8243652"/>
              <a:gd name="connsiteY139" fmla="*/ 1767581 h 6857106"/>
              <a:gd name="connsiteX140" fmla="*/ 3614166 w 8243652"/>
              <a:gd name="connsiteY140" fmla="*/ 1515169 h 6857106"/>
              <a:gd name="connsiteX141" fmla="*/ 3614166 w 8243652"/>
              <a:gd name="connsiteY141" fmla="*/ 1269106 h 6857106"/>
              <a:gd name="connsiteX142" fmla="*/ 3630467 w 8243652"/>
              <a:gd name="connsiteY142" fmla="*/ 1356419 h 6857106"/>
              <a:gd name="connsiteX143" fmla="*/ 3639782 w 8243652"/>
              <a:gd name="connsiteY143" fmla="*/ 1381819 h 6857106"/>
              <a:gd name="connsiteX144" fmla="*/ 3644439 w 8243652"/>
              <a:gd name="connsiteY144" fmla="*/ 1389756 h 6857106"/>
              <a:gd name="connsiteX145" fmla="*/ 3646768 w 8243652"/>
              <a:gd name="connsiteY145" fmla="*/ 1389756 h 6857106"/>
              <a:gd name="connsiteX146" fmla="*/ 3651426 w 8243652"/>
              <a:gd name="connsiteY146" fmla="*/ 1383406 h 6857106"/>
              <a:gd name="connsiteX147" fmla="*/ 3656083 w 8243652"/>
              <a:gd name="connsiteY147" fmla="*/ 1372294 h 6857106"/>
              <a:gd name="connsiteX148" fmla="*/ 3663069 w 8243652"/>
              <a:gd name="connsiteY148" fmla="*/ 1329431 h 6857106"/>
              <a:gd name="connsiteX149" fmla="*/ 3684028 w 8243652"/>
              <a:gd name="connsiteY149" fmla="*/ 1140519 h 6857106"/>
              <a:gd name="connsiteX150" fmla="*/ 3674713 w 8243652"/>
              <a:gd name="connsiteY150" fmla="*/ 1623119 h 6857106"/>
              <a:gd name="connsiteX151" fmla="*/ 3702657 w 8243652"/>
              <a:gd name="connsiteY151" fmla="*/ 1469131 h 6857106"/>
              <a:gd name="connsiteX152" fmla="*/ 3684028 w 8243652"/>
              <a:gd name="connsiteY152" fmla="*/ 2054919 h 6857106"/>
              <a:gd name="connsiteX153" fmla="*/ 3695671 w 8243652"/>
              <a:gd name="connsiteY153" fmla="*/ 2110481 h 6857106"/>
              <a:gd name="connsiteX154" fmla="*/ 3700329 w 8243652"/>
              <a:gd name="connsiteY154" fmla="*/ 2115244 h 6857106"/>
              <a:gd name="connsiteX155" fmla="*/ 3702657 w 8243652"/>
              <a:gd name="connsiteY155" fmla="*/ 2110481 h 6857106"/>
              <a:gd name="connsiteX156" fmla="*/ 3711972 w 8243652"/>
              <a:gd name="connsiteY156" fmla="*/ 2015231 h 6857106"/>
              <a:gd name="connsiteX157" fmla="*/ 3716630 w 8243652"/>
              <a:gd name="connsiteY157" fmla="*/ 1816794 h 6857106"/>
              <a:gd name="connsiteX158" fmla="*/ 3718958 w 8243652"/>
              <a:gd name="connsiteY158" fmla="*/ 1605656 h 6857106"/>
              <a:gd name="connsiteX159" fmla="*/ 3723616 w 8243652"/>
              <a:gd name="connsiteY159" fmla="*/ 1526281 h 6857106"/>
              <a:gd name="connsiteX160" fmla="*/ 3728273 w 8243652"/>
              <a:gd name="connsiteY160" fmla="*/ 1473894 h 6857106"/>
              <a:gd name="connsiteX161" fmla="*/ 3735259 w 8243652"/>
              <a:gd name="connsiteY161" fmla="*/ 1462781 h 6857106"/>
              <a:gd name="connsiteX162" fmla="*/ 3735259 w 8243652"/>
              <a:gd name="connsiteY162" fmla="*/ 1461194 h 6857106"/>
              <a:gd name="connsiteX163" fmla="*/ 3739917 w 8243652"/>
              <a:gd name="connsiteY163" fmla="*/ 1462781 h 6857106"/>
              <a:gd name="connsiteX164" fmla="*/ 3744574 w 8243652"/>
              <a:gd name="connsiteY164" fmla="*/ 1473894 h 6857106"/>
              <a:gd name="connsiteX165" fmla="*/ 3751560 w 8243652"/>
              <a:gd name="connsiteY165" fmla="*/ 1502469 h 6857106"/>
              <a:gd name="connsiteX166" fmla="*/ 3751560 w 8243652"/>
              <a:gd name="connsiteY166" fmla="*/ 1926331 h 6857106"/>
              <a:gd name="connsiteX167" fmla="*/ 3760875 w 8243652"/>
              <a:gd name="connsiteY167" fmla="*/ 1842194 h 6857106"/>
              <a:gd name="connsiteX168" fmla="*/ 3767861 w 8243652"/>
              <a:gd name="connsiteY168" fmla="*/ 1729481 h 6857106"/>
              <a:gd name="connsiteX169" fmla="*/ 3779505 w 8243652"/>
              <a:gd name="connsiteY169" fmla="*/ 1491356 h 6857106"/>
              <a:gd name="connsiteX170" fmla="*/ 3784162 w 8243652"/>
              <a:gd name="connsiteY170" fmla="*/ 1408806 h 6857106"/>
              <a:gd name="connsiteX171" fmla="*/ 3788820 w 8243652"/>
              <a:gd name="connsiteY171" fmla="*/ 1386581 h 6857106"/>
              <a:gd name="connsiteX172" fmla="*/ 3788820 w 8243652"/>
              <a:gd name="connsiteY172" fmla="*/ 1378644 h 6857106"/>
              <a:gd name="connsiteX173" fmla="*/ 3791149 w 8243652"/>
              <a:gd name="connsiteY173" fmla="*/ 1389756 h 6857106"/>
              <a:gd name="connsiteX174" fmla="*/ 3795806 w 8243652"/>
              <a:gd name="connsiteY174" fmla="*/ 1419919 h 6857106"/>
              <a:gd name="connsiteX175" fmla="*/ 3800463 w 8243652"/>
              <a:gd name="connsiteY175" fmla="*/ 1556444 h 6857106"/>
              <a:gd name="connsiteX176" fmla="*/ 3805121 w 8243652"/>
              <a:gd name="connsiteY176" fmla="*/ 1458019 h 6857106"/>
              <a:gd name="connsiteX177" fmla="*/ 3805121 w 8243652"/>
              <a:gd name="connsiteY177" fmla="*/ 1353244 h 6857106"/>
              <a:gd name="connsiteX178" fmla="*/ 3795806 w 8243652"/>
              <a:gd name="connsiteY178" fmla="*/ 1150044 h 6857106"/>
              <a:gd name="connsiteX179" fmla="*/ 3791149 w 8243652"/>
              <a:gd name="connsiteY179" fmla="*/ 1059556 h 6857106"/>
              <a:gd name="connsiteX180" fmla="*/ 3791149 w 8243652"/>
              <a:gd name="connsiteY180" fmla="*/ 980181 h 6857106"/>
              <a:gd name="connsiteX181" fmla="*/ 3800463 w 8243652"/>
              <a:gd name="connsiteY181" fmla="*/ 918269 h 6857106"/>
              <a:gd name="connsiteX182" fmla="*/ 3807450 w 8243652"/>
              <a:gd name="connsiteY182" fmla="*/ 892869 h 6857106"/>
              <a:gd name="connsiteX183" fmla="*/ 3816764 w 8243652"/>
              <a:gd name="connsiteY183" fmla="*/ 873819 h 6857106"/>
              <a:gd name="connsiteX184" fmla="*/ 3823751 w 8243652"/>
              <a:gd name="connsiteY184" fmla="*/ 1024631 h 6857106"/>
              <a:gd name="connsiteX185" fmla="*/ 3835394 w 8243652"/>
              <a:gd name="connsiteY185" fmla="*/ 1153219 h 6857106"/>
              <a:gd name="connsiteX186" fmla="*/ 3849366 w 8243652"/>
              <a:gd name="connsiteY186" fmla="*/ 1261169 h 6857106"/>
              <a:gd name="connsiteX187" fmla="*/ 3861010 w 8243652"/>
              <a:gd name="connsiteY187" fmla="*/ 1337369 h 6857106"/>
              <a:gd name="connsiteX188" fmla="*/ 3863339 w 8243652"/>
              <a:gd name="connsiteY188" fmla="*/ 1265931 h 6857106"/>
              <a:gd name="connsiteX189" fmla="*/ 3863339 w 8243652"/>
              <a:gd name="connsiteY189" fmla="*/ 1191319 h 6857106"/>
              <a:gd name="connsiteX190" fmla="*/ 3861010 w 8243652"/>
              <a:gd name="connsiteY190" fmla="*/ 1046856 h 6857106"/>
              <a:gd name="connsiteX191" fmla="*/ 3849366 w 8243652"/>
              <a:gd name="connsiteY191" fmla="*/ 934144 h 6857106"/>
              <a:gd name="connsiteX192" fmla="*/ 3844709 w 8243652"/>
              <a:gd name="connsiteY192" fmla="*/ 899219 h 6857106"/>
              <a:gd name="connsiteX193" fmla="*/ 3840052 w 8243652"/>
              <a:gd name="connsiteY193" fmla="*/ 888106 h 6857106"/>
              <a:gd name="connsiteX194" fmla="*/ 3844709 w 8243652"/>
              <a:gd name="connsiteY194" fmla="*/ 878581 h 6857106"/>
              <a:gd name="connsiteX195" fmla="*/ 3849366 w 8243652"/>
              <a:gd name="connsiteY195" fmla="*/ 876994 h 6857106"/>
              <a:gd name="connsiteX196" fmla="*/ 3851695 w 8243652"/>
              <a:gd name="connsiteY196" fmla="*/ 878581 h 6857106"/>
              <a:gd name="connsiteX197" fmla="*/ 3856353 w 8243652"/>
              <a:gd name="connsiteY197" fmla="*/ 888106 h 6857106"/>
              <a:gd name="connsiteX198" fmla="*/ 3863339 w 8243652"/>
              <a:gd name="connsiteY198" fmla="*/ 918269 h 6857106"/>
              <a:gd name="connsiteX199" fmla="*/ 3872654 w 8243652"/>
              <a:gd name="connsiteY199" fmla="*/ 961131 h 6857106"/>
              <a:gd name="connsiteX200" fmla="*/ 3879640 w 8243652"/>
              <a:gd name="connsiteY200" fmla="*/ 1089719 h 6857106"/>
              <a:gd name="connsiteX201" fmla="*/ 3888955 w 8243652"/>
              <a:gd name="connsiteY201" fmla="*/ 1251644 h 6857106"/>
              <a:gd name="connsiteX202" fmla="*/ 3905256 w 8243652"/>
              <a:gd name="connsiteY202" fmla="*/ 1602481 h 6857106"/>
              <a:gd name="connsiteX203" fmla="*/ 3907584 w 8243652"/>
              <a:gd name="connsiteY203" fmla="*/ 1751706 h 6857106"/>
              <a:gd name="connsiteX204" fmla="*/ 3916899 w 8243652"/>
              <a:gd name="connsiteY204" fmla="*/ 1854894 h 6857106"/>
              <a:gd name="connsiteX205" fmla="*/ 3907584 w 8243652"/>
              <a:gd name="connsiteY205" fmla="*/ 1545331 h 6857106"/>
              <a:gd name="connsiteX206" fmla="*/ 3949501 w 8243652"/>
              <a:gd name="connsiteY206" fmla="*/ 1594544 h 6857106"/>
              <a:gd name="connsiteX207" fmla="*/ 3949501 w 8243652"/>
              <a:gd name="connsiteY207" fmla="*/ 1372294 h 6857106"/>
              <a:gd name="connsiteX208" fmla="*/ 3949501 w 8243652"/>
              <a:gd name="connsiteY208" fmla="*/ 1172269 h 6857106"/>
              <a:gd name="connsiteX209" fmla="*/ 3949501 w 8243652"/>
              <a:gd name="connsiteY209" fmla="*/ 1092894 h 6857106"/>
              <a:gd name="connsiteX210" fmla="*/ 3940186 w 8243652"/>
              <a:gd name="connsiteY210" fmla="*/ 1029394 h 6857106"/>
              <a:gd name="connsiteX211" fmla="*/ 3937858 w 8243652"/>
              <a:gd name="connsiteY211" fmla="*/ 1005581 h 6857106"/>
              <a:gd name="connsiteX212" fmla="*/ 3933200 w 8243652"/>
              <a:gd name="connsiteY212" fmla="*/ 989706 h 6857106"/>
              <a:gd name="connsiteX213" fmla="*/ 3923885 w 8243652"/>
              <a:gd name="connsiteY213" fmla="*/ 980181 h 6857106"/>
              <a:gd name="connsiteX214" fmla="*/ 3921557 w 8243652"/>
              <a:gd name="connsiteY214" fmla="*/ 978594 h 6857106"/>
              <a:gd name="connsiteX215" fmla="*/ 3916899 w 8243652"/>
              <a:gd name="connsiteY215" fmla="*/ 978594 h 6857106"/>
              <a:gd name="connsiteX216" fmla="*/ 3923885 w 8243652"/>
              <a:gd name="connsiteY216" fmla="*/ 942081 h 6857106"/>
              <a:gd name="connsiteX217" fmla="*/ 3928543 w 8243652"/>
              <a:gd name="connsiteY217" fmla="*/ 930969 h 6857106"/>
              <a:gd name="connsiteX218" fmla="*/ 3933200 w 8243652"/>
              <a:gd name="connsiteY218" fmla="*/ 934144 h 6857106"/>
              <a:gd name="connsiteX219" fmla="*/ 3933200 w 8243652"/>
              <a:gd name="connsiteY219" fmla="*/ 938906 h 6857106"/>
              <a:gd name="connsiteX220" fmla="*/ 3937858 w 8243652"/>
              <a:gd name="connsiteY220" fmla="*/ 961131 h 6857106"/>
              <a:gd name="connsiteX221" fmla="*/ 3949501 w 8243652"/>
              <a:gd name="connsiteY221" fmla="*/ 1038919 h 6857106"/>
              <a:gd name="connsiteX222" fmla="*/ 3956487 w 8243652"/>
              <a:gd name="connsiteY222" fmla="*/ 1130994 h 6857106"/>
              <a:gd name="connsiteX223" fmla="*/ 3968131 w 8243652"/>
              <a:gd name="connsiteY223" fmla="*/ 1219894 h 6857106"/>
              <a:gd name="connsiteX224" fmla="*/ 3972788 w 8243652"/>
              <a:gd name="connsiteY224" fmla="*/ 1250056 h 6857106"/>
              <a:gd name="connsiteX225" fmla="*/ 3982103 w 8243652"/>
              <a:gd name="connsiteY225" fmla="*/ 1265931 h 6857106"/>
              <a:gd name="connsiteX226" fmla="*/ 3982103 w 8243652"/>
              <a:gd name="connsiteY226" fmla="*/ 1269106 h 6857106"/>
              <a:gd name="connsiteX227" fmla="*/ 3984432 w 8243652"/>
              <a:gd name="connsiteY227" fmla="*/ 1265931 h 6857106"/>
              <a:gd name="connsiteX228" fmla="*/ 3989089 w 8243652"/>
              <a:gd name="connsiteY228" fmla="*/ 1246881 h 6857106"/>
              <a:gd name="connsiteX229" fmla="*/ 3993747 w 8243652"/>
              <a:gd name="connsiteY229" fmla="*/ 1202431 h 6857106"/>
              <a:gd name="connsiteX230" fmla="*/ 4000733 w 8243652"/>
              <a:gd name="connsiteY230" fmla="*/ 1129406 h 6857106"/>
              <a:gd name="connsiteX231" fmla="*/ 3982103 w 8243652"/>
              <a:gd name="connsiteY231" fmla="*/ 1669156 h 6857106"/>
              <a:gd name="connsiteX232" fmla="*/ 3984432 w 8243652"/>
              <a:gd name="connsiteY232" fmla="*/ 1669156 h 6857106"/>
              <a:gd name="connsiteX233" fmla="*/ 3984432 w 8243652"/>
              <a:gd name="connsiteY233" fmla="*/ 1665981 h 6857106"/>
              <a:gd name="connsiteX234" fmla="*/ 3989089 w 8243652"/>
              <a:gd name="connsiteY234" fmla="*/ 1643756 h 6857106"/>
              <a:gd name="connsiteX235" fmla="*/ 3996076 w 8243652"/>
              <a:gd name="connsiteY235" fmla="*/ 1572319 h 6857106"/>
              <a:gd name="connsiteX236" fmla="*/ 4010048 w 8243652"/>
              <a:gd name="connsiteY236" fmla="*/ 1419919 h 6857106"/>
              <a:gd name="connsiteX237" fmla="*/ 4005390 w 8243652"/>
              <a:gd name="connsiteY237" fmla="*/ 1834256 h 6857106"/>
              <a:gd name="connsiteX238" fmla="*/ 4021691 w 8243652"/>
              <a:gd name="connsiteY238" fmla="*/ 1638994 h 6857106"/>
              <a:gd name="connsiteX239" fmla="*/ 4026349 w 8243652"/>
              <a:gd name="connsiteY239" fmla="*/ 1589781 h 6857106"/>
              <a:gd name="connsiteX240" fmla="*/ 4033335 w 8243652"/>
              <a:gd name="connsiteY240" fmla="*/ 1567556 h 6857106"/>
              <a:gd name="connsiteX241" fmla="*/ 4033335 w 8243652"/>
              <a:gd name="connsiteY241" fmla="*/ 1532631 h 6857106"/>
              <a:gd name="connsiteX242" fmla="*/ 4028678 w 8243652"/>
              <a:gd name="connsiteY242" fmla="*/ 1458019 h 6857106"/>
              <a:gd name="connsiteX243" fmla="*/ 4049636 w 8243652"/>
              <a:gd name="connsiteY243" fmla="*/ 1408806 h 6857106"/>
              <a:gd name="connsiteX244" fmla="*/ 4054293 w 8243652"/>
              <a:gd name="connsiteY244" fmla="*/ 1421506 h 6857106"/>
              <a:gd name="connsiteX245" fmla="*/ 4054293 w 8243652"/>
              <a:gd name="connsiteY245" fmla="*/ 1458019 h 6857106"/>
              <a:gd name="connsiteX246" fmla="*/ 4044979 w 8243652"/>
              <a:gd name="connsiteY246" fmla="*/ 1572319 h 6857106"/>
              <a:gd name="connsiteX247" fmla="*/ 4056622 w 8243652"/>
              <a:gd name="connsiteY247" fmla="*/ 1624706 h 6857106"/>
              <a:gd name="connsiteX248" fmla="*/ 4065937 w 8243652"/>
              <a:gd name="connsiteY248" fmla="*/ 1643756 h 6857106"/>
              <a:gd name="connsiteX249" fmla="*/ 4070594 w 8243652"/>
              <a:gd name="connsiteY249" fmla="*/ 1646931 h 6857106"/>
              <a:gd name="connsiteX250" fmla="*/ 4070594 w 8243652"/>
              <a:gd name="connsiteY250" fmla="*/ 1643756 h 6857106"/>
              <a:gd name="connsiteX251" fmla="*/ 4077581 w 8243652"/>
              <a:gd name="connsiteY251" fmla="*/ 1612006 h 6857106"/>
              <a:gd name="connsiteX252" fmla="*/ 4082238 w 8243652"/>
              <a:gd name="connsiteY252" fmla="*/ 1540569 h 6857106"/>
              <a:gd name="connsiteX253" fmla="*/ 4089224 w 8243652"/>
              <a:gd name="connsiteY253" fmla="*/ 1413569 h 6857106"/>
              <a:gd name="connsiteX254" fmla="*/ 4093882 w 8243652"/>
              <a:gd name="connsiteY254" fmla="*/ 1224656 h 6857106"/>
              <a:gd name="connsiteX255" fmla="*/ 4089224 w 8243652"/>
              <a:gd name="connsiteY255" fmla="*/ 1438969 h 6857106"/>
              <a:gd name="connsiteX256" fmla="*/ 4089224 w 8243652"/>
              <a:gd name="connsiteY256" fmla="*/ 1540569 h 6857106"/>
              <a:gd name="connsiteX257" fmla="*/ 4093882 w 8243652"/>
              <a:gd name="connsiteY257" fmla="*/ 1556444 h 6857106"/>
              <a:gd name="connsiteX258" fmla="*/ 4093882 w 8243652"/>
              <a:gd name="connsiteY258" fmla="*/ 1559619 h 6857106"/>
              <a:gd name="connsiteX259" fmla="*/ 4098539 w 8243652"/>
              <a:gd name="connsiteY259" fmla="*/ 1556444 h 6857106"/>
              <a:gd name="connsiteX260" fmla="*/ 4100868 w 8243652"/>
              <a:gd name="connsiteY260" fmla="*/ 1521519 h 6857106"/>
              <a:gd name="connsiteX261" fmla="*/ 4110183 w 8243652"/>
              <a:gd name="connsiteY261" fmla="*/ 1465956 h 6857106"/>
              <a:gd name="connsiteX262" fmla="*/ 4117169 w 8243652"/>
              <a:gd name="connsiteY262" fmla="*/ 1416744 h 6857106"/>
              <a:gd name="connsiteX263" fmla="*/ 4121826 w 8243652"/>
              <a:gd name="connsiteY263" fmla="*/ 1405631 h 6857106"/>
              <a:gd name="connsiteX264" fmla="*/ 4126484 w 8243652"/>
              <a:gd name="connsiteY264" fmla="*/ 1405631 h 6857106"/>
              <a:gd name="connsiteX265" fmla="*/ 4126484 w 8243652"/>
              <a:gd name="connsiteY265" fmla="*/ 1411981 h 6857106"/>
              <a:gd name="connsiteX266" fmla="*/ 4128812 w 8243652"/>
              <a:gd name="connsiteY266" fmla="*/ 1431031 h 6857106"/>
              <a:gd name="connsiteX267" fmla="*/ 4133470 w 8243652"/>
              <a:gd name="connsiteY267" fmla="*/ 1473894 h 6857106"/>
              <a:gd name="connsiteX268" fmla="*/ 4121826 w 8243652"/>
              <a:gd name="connsiteY268" fmla="*/ 1612006 h 6857106"/>
              <a:gd name="connsiteX269" fmla="*/ 4142785 w 8243652"/>
              <a:gd name="connsiteY269" fmla="*/ 1627881 h 6857106"/>
              <a:gd name="connsiteX270" fmla="*/ 4142785 w 8243652"/>
              <a:gd name="connsiteY270" fmla="*/ 1553269 h 6857106"/>
              <a:gd name="connsiteX271" fmla="*/ 4149771 w 8243652"/>
              <a:gd name="connsiteY271" fmla="*/ 1638994 h 6857106"/>
              <a:gd name="connsiteX272" fmla="*/ 4170729 w 8243652"/>
              <a:gd name="connsiteY272" fmla="*/ 1669156 h 6857106"/>
              <a:gd name="connsiteX273" fmla="*/ 4187030 w 8243652"/>
              <a:gd name="connsiteY273" fmla="*/ 1570731 h 6857106"/>
              <a:gd name="connsiteX274" fmla="*/ 4189359 w 8243652"/>
              <a:gd name="connsiteY274" fmla="*/ 1559619 h 6857106"/>
              <a:gd name="connsiteX275" fmla="*/ 4194016 w 8243652"/>
              <a:gd name="connsiteY275" fmla="*/ 1556444 h 6857106"/>
              <a:gd name="connsiteX276" fmla="*/ 4198674 w 8243652"/>
              <a:gd name="connsiteY276" fmla="*/ 1559619 h 6857106"/>
              <a:gd name="connsiteX277" fmla="*/ 4203331 w 8243652"/>
              <a:gd name="connsiteY277" fmla="*/ 1578669 h 6857106"/>
              <a:gd name="connsiteX278" fmla="*/ 4205660 w 8243652"/>
              <a:gd name="connsiteY278" fmla="*/ 1616769 h 6857106"/>
              <a:gd name="connsiteX279" fmla="*/ 4203331 w 8243652"/>
              <a:gd name="connsiteY279" fmla="*/ 1624706 h 6857106"/>
              <a:gd name="connsiteX280" fmla="*/ 4198674 w 8243652"/>
              <a:gd name="connsiteY280" fmla="*/ 1646931 h 6857106"/>
              <a:gd name="connsiteX281" fmla="*/ 4198674 w 8243652"/>
              <a:gd name="connsiteY281" fmla="*/ 1669156 h 6857106"/>
              <a:gd name="connsiteX282" fmla="*/ 4194016 w 8243652"/>
              <a:gd name="connsiteY282" fmla="*/ 1673919 h 6857106"/>
              <a:gd name="connsiteX283" fmla="*/ 4194016 w 8243652"/>
              <a:gd name="connsiteY283" fmla="*/ 1677094 h 6857106"/>
              <a:gd name="connsiteX284" fmla="*/ 4198674 w 8243652"/>
              <a:gd name="connsiteY284" fmla="*/ 1677094 h 6857106"/>
              <a:gd name="connsiteX285" fmla="*/ 4203331 w 8243652"/>
              <a:gd name="connsiteY285" fmla="*/ 1680269 h 6857106"/>
              <a:gd name="connsiteX286" fmla="*/ 4205660 w 8243652"/>
              <a:gd name="connsiteY286" fmla="*/ 1696144 h 6857106"/>
              <a:gd name="connsiteX287" fmla="*/ 4217304 w 8243652"/>
              <a:gd name="connsiteY287" fmla="*/ 1756469 h 6857106"/>
              <a:gd name="connsiteX288" fmla="*/ 4277850 w 8243652"/>
              <a:gd name="connsiteY288" fmla="*/ 1888231 h 6857106"/>
              <a:gd name="connsiteX289" fmla="*/ 4282508 w 8243652"/>
              <a:gd name="connsiteY289" fmla="*/ 1734244 h 6857106"/>
              <a:gd name="connsiteX290" fmla="*/ 4287165 w 8243652"/>
              <a:gd name="connsiteY290" fmla="*/ 1534219 h 6857106"/>
              <a:gd name="connsiteX291" fmla="*/ 4298809 w 8243652"/>
              <a:gd name="connsiteY291" fmla="*/ 1819969 h 6857106"/>
              <a:gd name="connsiteX292" fmla="*/ 4303466 w 8243652"/>
              <a:gd name="connsiteY292" fmla="*/ 1891406 h 6857106"/>
              <a:gd name="connsiteX293" fmla="*/ 4310452 w 8243652"/>
              <a:gd name="connsiteY293" fmla="*/ 1924744 h 6857106"/>
              <a:gd name="connsiteX294" fmla="*/ 4315110 w 8243652"/>
              <a:gd name="connsiteY294" fmla="*/ 1929506 h 6857106"/>
              <a:gd name="connsiteX295" fmla="*/ 4322096 w 8243652"/>
              <a:gd name="connsiteY295" fmla="*/ 1907281 h 6857106"/>
              <a:gd name="connsiteX296" fmla="*/ 4336068 w 8243652"/>
              <a:gd name="connsiteY296" fmla="*/ 1819969 h 6857106"/>
              <a:gd name="connsiteX297" fmla="*/ 4350040 w 8243652"/>
              <a:gd name="connsiteY297" fmla="*/ 1718369 h 6857106"/>
              <a:gd name="connsiteX298" fmla="*/ 4359355 w 8243652"/>
              <a:gd name="connsiteY298" fmla="*/ 1677094 h 6857106"/>
              <a:gd name="connsiteX299" fmla="*/ 4370999 w 8243652"/>
              <a:gd name="connsiteY299" fmla="*/ 1653281 h 6857106"/>
              <a:gd name="connsiteX300" fmla="*/ 4375656 w 8243652"/>
              <a:gd name="connsiteY300" fmla="*/ 1650106 h 6857106"/>
              <a:gd name="connsiteX301" fmla="*/ 4380314 w 8243652"/>
              <a:gd name="connsiteY301" fmla="*/ 1653281 h 6857106"/>
              <a:gd name="connsiteX302" fmla="*/ 4382642 w 8243652"/>
              <a:gd name="connsiteY302" fmla="*/ 1662806 h 6857106"/>
              <a:gd name="connsiteX303" fmla="*/ 4391957 w 8243652"/>
              <a:gd name="connsiteY303" fmla="*/ 1683444 h 6857106"/>
              <a:gd name="connsiteX304" fmla="*/ 4398943 w 8243652"/>
              <a:gd name="connsiteY304" fmla="*/ 1748531 h 6857106"/>
              <a:gd name="connsiteX305" fmla="*/ 4410587 w 8243652"/>
              <a:gd name="connsiteY305" fmla="*/ 1858069 h 6857106"/>
              <a:gd name="connsiteX306" fmla="*/ 4408258 w 8243652"/>
              <a:gd name="connsiteY306" fmla="*/ 1956494 h 6857106"/>
              <a:gd name="connsiteX307" fmla="*/ 4403601 w 8243652"/>
              <a:gd name="connsiteY307" fmla="*/ 2050156 h 6857106"/>
              <a:gd name="connsiteX308" fmla="*/ 4415244 w 8243652"/>
              <a:gd name="connsiteY308" fmla="*/ 2053331 h 6857106"/>
              <a:gd name="connsiteX309" fmla="*/ 4431545 w 8243652"/>
              <a:gd name="connsiteY309" fmla="*/ 2050156 h 6857106"/>
              <a:gd name="connsiteX310" fmla="*/ 4431545 w 8243652"/>
              <a:gd name="connsiteY310" fmla="*/ 2148581 h 6857106"/>
              <a:gd name="connsiteX311" fmla="*/ 4436203 w 8243652"/>
              <a:gd name="connsiteY311" fmla="*/ 2223194 h 6857106"/>
              <a:gd name="connsiteX312" fmla="*/ 4438532 w 8243652"/>
              <a:gd name="connsiteY312" fmla="*/ 2277169 h 6857106"/>
              <a:gd name="connsiteX313" fmla="*/ 4443189 w 8243652"/>
              <a:gd name="connsiteY313" fmla="*/ 2313681 h 6857106"/>
              <a:gd name="connsiteX314" fmla="*/ 4447846 w 8243652"/>
              <a:gd name="connsiteY314" fmla="*/ 2189856 h 6857106"/>
              <a:gd name="connsiteX315" fmla="*/ 4454833 w 8243652"/>
              <a:gd name="connsiteY315" fmla="*/ 2348606 h 6857106"/>
              <a:gd name="connsiteX316" fmla="*/ 4468805 w 8243652"/>
              <a:gd name="connsiteY316" fmla="*/ 2374006 h 6857106"/>
              <a:gd name="connsiteX317" fmla="*/ 4480448 w 8243652"/>
              <a:gd name="connsiteY317" fmla="*/ 2042219 h 6857106"/>
              <a:gd name="connsiteX318" fmla="*/ 4487435 w 8243652"/>
              <a:gd name="connsiteY318" fmla="*/ 1843781 h 6857106"/>
              <a:gd name="connsiteX319" fmla="*/ 4492092 w 8243652"/>
              <a:gd name="connsiteY319" fmla="*/ 1770756 h 6857106"/>
              <a:gd name="connsiteX320" fmla="*/ 4499078 w 8243652"/>
              <a:gd name="connsiteY320" fmla="*/ 1691381 h 6857106"/>
              <a:gd name="connsiteX321" fmla="*/ 4527023 w 8243652"/>
              <a:gd name="connsiteY321" fmla="*/ 1480244 h 6857106"/>
              <a:gd name="connsiteX322" fmla="*/ 4524694 w 8243652"/>
              <a:gd name="connsiteY322" fmla="*/ 1572319 h 6857106"/>
              <a:gd name="connsiteX323" fmla="*/ 4524694 w 8243652"/>
              <a:gd name="connsiteY323" fmla="*/ 1662806 h 6857106"/>
              <a:gd name="connsiteX324" fmla="*/ 4531680 w 8243652"/>
              <a:gd name="connsiteY324" fmla="*/ 1839019 h 6857106"/>
              <a:gd name="connsiteX325" fmla="*/ 4540995 w 8243652"/>
              <a:gd name="connsiteY325" fmla="*/ 2008881 h 6857106"/>
              <a:gd name="connsiteX326" fmla="*/ 4540995 w 8243652"/>
              <a:gd name="connsiteY326" fmla="*/ 2094606 h 6857106"/>
              <a:gd name="connsiteX327" fmla="*/ 4536338 w 8243652"/>
              <a:gd name="connsiteY327" fmla="*/ 2178744 h 6857106"/>
              <a:gd name="connsiteX328" fmla="*/ 4540995 w 8243652"/>
              <a:gd name="connsiteY328" fmla="*/ 2181919 h 6857106"/>
              <a:gd name="connsiteX329" fmla="*/ 4554967 w 8243652"/>
              <a:gd name="connsiteY329" fmla="*/ 2045394 h 6857106"/>
              <a:gd name="connsiteX330" fmla="*/ 4564282 w 8243652"/>
              <a:gd name="connsiteY330" fmla="*/ 1672331 h 6857106"/>
              <a:gd name="connsiteX331" fmla="*/ 4568940 w 8243652"/>
              <a:gd name="connsiteY331" fmla="*/ 1545331 h 6857106"/>
              <a:gd name="connsiteX332" fmla="*/ 4575926 w 8243652"/>
              <a:gd name="connsiteY332" fmla="*/ 1454844 h 6857106"/>
              <a:gd name="connsiteX333" fmla="*/ 4585241 w 8243652"/>
              <a:gd name="connsiteY333" fmla="*/ 1394519 h 6857106"/>
              <a:gd name="connsiteX334" fmla="*/ 4592227 w 8243652"/>
              <a:gd name="connsiteY334" fmla="*/ 1364356 h 6857106"/>
              <a:gd name="connsiteX335" fmla="*/ 4596884 w 8243652"/>
              <a:gd name="connsiteY335" fmla="*/ 1356419 h 6857106"/>
              <a:gd name="connsiteX336" fmla="*/ 4599213 w 8243652"/>
              <a:gd name="connsiteY336" fmla="*/ 1356419 h 6857106"/>
              <a:gd name="connsiteX337" fmla="*/ 4603870 w 8243652"/>
              <a:gd name="connsiteY337" fmla="*/ 1359594 h 6857106"/>
              <a:gd name="connsiteX338" fmla="*/ 4608528 w 8243652"/>
              <a:gd name="connsiteY338" fmla="*/ 1367531 h 6857106"/>
              <a:gd name="connsiteX339" fmla="*/ 4620171 w 8243652"/>
              <a:gd name="connsiteY339" fmla="*/ 1397694 h 6857106"/>
              <a:gd name="connsiteX340" fmla="*/ 4629486 w 8243652"/>
              <a:gd name="connsiteY340" fmla="*/ 1438969 h 6857106"/>
              <a:gd name="connsiteX341" fmla="*/ 4648116 w 8243652"/>
              <a:gd name="connsiteY341" fmla="*/ 1542156 h 6857106"/>
              <a:gd name="connsiteX342" fmla="*/ 4673732 w 8243652"/>
              <a:gd name="connsiteY342" fmla="*/ 1653281 h 6857106"/>
              <a:gd name="connsiteX343" fmla="*/ 4680718 w 8243652"/>
              <a:gd name="connsiteY343" fmla="*/ 1702494 h 6857106"/>
              <a:gd name="connsiteX344" fmla="*/ 4692361 w 8243652"/>
              <a:gd name="connsiteY344" fmla="*/ 1737419 h 6857106"/>
              <a:gd name="connsiteX345" fmla="*/ 4704005 w 8243652"/>
              <a:gd name="connsiteY345" fmla="*/ 1665981 h 6857106"/>
              <a:gd name="connsiteX346" fmla="*/ 4720306 w 8243652"/>
              <a:gd name="connsiteY346" fmla="*/ 1608831 h 6857106"/>
              <a:gd name="connsiteX347" fmla="*/ 4731950 w 8243652"/>
              <a:gd name="connsiteY347" fmla="*/ 1564381 h 6857106"/>
              <a:gd name="connsiteX348" fmla="*/ 4748251 w 8243652"/>
              <a:gd name="connsiteY348" fmla="*/ 1532631 h 6857106"/>
              <a:gd name="connsiteX349" fmla="*/ 4764552 w 8243652"/>
              <a:gd name="connsiteY349" fmla="*/ 1510406 h 6857106"/>
              <a:gd name="connsiteX350" fmla="*/ 4776195 w 8243652"/>
              <a:gd name="connsiteY350" fmla="*/ 1496119 h 6857106"/>
              <a:gd name="connsiteX351" fmla="*/ 4792496 w 8243652"/>
              <a:gd name="connsiteY351" fmla="*/ 1488181 h 6857106"/>
              <a:gd name="connsiteX352" fmla="*/ 4808797 w 8243652"/>
              <a:gd name="connsiteY352" fmla="*/ 1481831 h 6857106"/>
              <a:gd name="connsiteX353" fmla="*/ 4836742 w 8243652"/>
              <a:gd name="connsiteY353" fmla="*/ 1480244 h 6857106"/>
              <a:gd name="connsiteX354" fmla="*/ 4853043 w 8243652"/>
              <a:gd name="connsiteY354" fmla="*/ 1477069 h 6857106"/>
              <a:gd name="connsiteX355" fmla="*/ 4864686 w 8243652"/>
              <a:gd name="connsiteY355" fmla="*/ 1469131 h 6857106"/>
              <a:gd name="connsiteX356" fmla="*/ 4880987 w 8243652"/>
              <a:gd name="connsiteY356" fmla="*/ 1458019 h 6857106"/>
              <a:gd name="connsiteX357" fmla="*/ 4897288 w 8243652"/>
              <a:gd name="connsiteY357" fmla="*/ 1442144 h 6857106"/>
              <a:gd name="connsiteX358" fmla="*/ 4908932 w 8243652"/>
              <a:gd name="connsiteY358" fmla="*/ 1413569 h 6857106"/>
              <a:gd name="connsiteX359" fmla="*/ 4925233 w 8243652"/>
              <a:gd name="connsiteY359" fmla="*/ 1375469 h 6857106"/>
              <a:gd name="connsiteX360" fmla="*/ 4901946 w 8243652"/>
              <a:gd name="connsiteY360" fmla="*/ 1231006 h 6857106"/>
              <a:gd name="connsiteX361" fmla="*/ 4906603 w 8243652"/>
              <a:gd name="connsiteY361" fmla="*/ 1224656 h 6857106"/>
              <a:gd name="connsiteX362" fmla="*/ 4913589 w 8243652"/>
              <a:gd name="connsiteY362" fmla="*/ 1200844 h 6857106"/>
              <a:gd name="connsiteX363" fmla="*/ 4934548 w 8243652"/>
              <a:gd name="connsiteY363" fmla="*/ 1126231 h 6857106"/>
              <a:gd name="connsiteX364" fmla="*/ 4941534 w 8243652"/>
              <a:gd name="connsiteY364" fmla="*/ 1099244 h 6857106"/>
              <a:gd name="connsiteX365" fmla="*/ 4950849 w 8243652"/>
              <a:gd name="connsiteY365" fmla="*/ 1096069 h 6857106"/>
              <a:gd name="connsiteX366" fmla="*/ 4953178 w 8243652"/>
              <a:gd name="connsiteY366" fmla="*/ 1099244 h 6857106"/>
              <a:gd name="connsiteX367" fmla="*/ 4957835 w 8243652"/>
              <a:gd name="connsiteY367" fmla="*/ 1110356 h 6857106"/>
              <a:gd name="connsiteX368" fmla="*/ 4962492 w 8243652"/>
              <a:gd name="connsiteY368" fmla="*/ 1130994 h 6857106"/>
              <a:gd name="connsiteX369" fmla="*/ 4974136 w 8243652"/>
              <a:gd name="connsiteY369" fmla="*/ 1210369 h 6857106"/>
              <a:gd name="connsiteX370" fmla="*/ 4962492 w 8243652"/>
              <a:gd name="connsiteY370" fmla="*/ 1269106 h 6857106"/>
              <a:gd name="connsiteX371" fmla="*/ 4957835 w 8243652"/>
              <a:gd name="connsiteY371" fmla="*/ 1292919 h 6857106"/>
              <a:gd name="connsiteX372" fmla="*/ 4957835 w 8243652"/>
              <a:gd name="connsiteY372" fmla="*/ 1296094 h 6857106"/>
              <a:gd name="connsiteX373" fmla="*/ 4953178 w 8243652"/>
              <a:gd name="connsiteY373" fmla="*/ 1291331 h 6857106"/>
              <a:gd name="connsiteX374" fmla="*/ 4957835 w 8243652"/>
              <a:gd name="connsiteY374" fmla="*/ 1472306 h 6857106"/>
              <a:gd name="connsiteX375" fmla="*/ 4962492 w 8243652"/>
              <a:gd name="connsiteY375" fmla="*/ 1653281 h 6857106"/>
              <a:gd name="connsiteX376" fmla="*/ 4969479 w 8243652"/>
              <a:gd name="connsiteY376" fmla="*/ 1805681 h 6857106"/>
              <a:gd name="connsiteX377" fmla="*/ 4978793 w 8243652"/>
              <a:gd name="connsiteY377" fmla="*/ 1861244 h 6857106"/>
              <a:gd name="connsiteX378" fmla="*/ 4983451 w 8243652"/>
              <a:gd name="connsiteY378" fmla="*/ 1891406 h 6857106"/>
              <a:gd name="connsiteX379" fmla="*/ 4990437 w 8243652"/>
              <a:gd name="connsiteY379" fmla="*/ 1556444 h 6857106"/>
              <a:gd name="connsiteX380" fmla="*/ 4997423 w 8243652"/>
              <a:gd name="connsiteY380" fmla="*/ 1816794 h 6857106"/>
              <a:gd name="connsiteX381" fmla="*/ 5002080 w 8243652"/>
              <a:gd name="connsiteY381" fmla="*/ 1812031 h 6857106"/>
              <a:gd name="connsiteX382" fmla="*/ 5006738 w 8243652"/>
              <a:gd name="connsiteY382" fmla="*/ 1797744 h 6857106"/>
              <a:gd name="connsiteX383" fmla="*/ 5011395 w 8243652"/>
              <a:gd name="connsiteY383" fmla="*/ 1745356 h 6857106"/>
              <a:gd name="connsiteX384" fmla="*/ 5006738 w 8243652"/>
              <a:gd name="connsiteY384" fmla="*/ 1578669 h 6857106"/>
              <a:gd name="connsiteX385" fmla="*/ 5006738 w 8243652"/>
              <a:gd name="connsiteY385" fmla="*/ 1413569 h 6857106"/>
              <a:gd name="connsiteX386" fmla="*/ 5011395 w 8243652"/>
              <a:gd name="connsiteY386" fmla="*/ 1361181 h 6857106"/>
              <a:gd name="connsiteX387" fmla="*/ 5013724 w 8243652"/>
              <a:gd name="connsiteY387" fmla="*/ 1345306 h 6857106"/>
              <a:gd name="connsiteX388" fmla="*/ 5013724 w 8243652"/>
              <a:gd name="connsiteY388" fmla="*/ 1342131 h 6857106"/>
              <a:gd name="connsiteX389" fmla="*/ 5018382 w 8243652"/>
              <a:gd name="connsiteY389" fmla="*/ 1342131 h 6857106"/>
              <a:gd name="connsiteX390" fmla="*/ 5023039 w 8243652"/>
              <a:gd name="connsiteY390" fmla="*/ 1502469 h 6857106"/>
              <a:gd name="connsiteX391" fmla="*/ 5027696 w 8243652"/>
              <a:gd name="connsiteY391" fmla="*/ 1624706 h 6857106"/>
              <a:gd name="connsiteX392" fmla="*/ 5034682 w 8243652"/>
              <a:gd name="connsiteY392" fmla="*/ 1715194 h 6857106"/>
              <a:gd name="connsiteX393" fmla="*/ 5041668 w 8243652"/>
              <a:gd name="connsiteY393" fmla="*/ 1781869 h 6857106"/>
              <a:gd name="connsiteX394" fmla="*/ 5050984 w 8243652"/>
              <a:gd name="connsiteY394" fmla="*/ 1751706 h 6857106"/>
              <a:gd name="connsiteX395" fmla="*/ 5057970 w 8243652"/>
              <a:gd name="connsiteY395" fmla="*/ 1737419 h 6857106"/>
              <a:gd name="connsiteX396" fmla="*/ 5062627 w 8243652"/>
              <a:gd name="connsiteY396" fmla="*/ 1734244 h 6857106"/>
              <a:gd name="connsiteX397" fmla="*/ 5067284 w 8243652"/>
              <a:gd name="connsiteY397" fmla="*/ 1734244 h 6857106"/>
              <a:gd name="connsiteX398" fmla="*/ 5074270 w 8243652"/>
              <a:gd name="connsiteY398" fmla="*/ 1748531 h 6857106"/>
              <a:gd name="connsiteX399" fmla="*/ 5074270 w 8243652"/>
              <a:gd name="connsiteY399" fmla="*/ 1864419 h 6857106"/>
              <a:gd name="connsiteX400" fmla="*/ 5085914 w 8243652"/>
              <a:gd name="connsiteY400" fmla="*/ 1872356 h 6857106"/>
              <a:gd name="connsiteX401" fmla="*/ 5127831 w 8243652"/>
              <a:gd name="connsiteY401" fmla="*/ 1827906 h 6857106"/>
              <a:gd name="connsiteX402" fmla="*/ 5127831 w 8243652"/>
              <a:gd name="connsiteY402" fmla="*/ 1734244 h 6857106"/>
              <a:gd name="connsiteX403" fmla="*/ 5130160 w 8243652"/>
              <a:gd name="connsiteY403" fmla="*/ 1583431 h 6857106"/>
              <a:gd name="connsiteX404" fmla="*/ 5139474 w 8243652"/>
              <a:gd name="connsiteY404" fmla="*/ 1748531 h 6857106"/>
              <a:gd name="connsiteX405" fmla="*/ 5146460 w 8243652"/>
              <a:gd name="connsiteY405" fmla="*/ 1819969 h 6857106"/>
              <a:gd name="connsiteX406" fmla="*/ 5155776 w 8243652"/>
              <a:gd name="connsiteY406" fmla="*/ 1850131 h 6857106"/>
              <a:gd name="connsiteX407" fmla="*/ 5160433 w 8243652"/>
              <a:gd name="connsiteY407" fmla="*/ 1873944 h 6857106"/>
              <a:gd name="connsiteX408" fmla="*/ 5155776 w 8243652"/>
              <a:gd name="connsiteY408" fmla="*/ 1461194 h 6857106"/>
              <a:gd name="connsiteX409" fmla="*/ 5179062 w 8243652"/>
              <a:gd name="connsiteY409" fmla="*/ 1540569 h 6857106"/>
              <a:gd name="connsiteX410" fmla="*/ 5204678 w 8243652"/>
              <a:gd name="connsiteY410" fmla="*/ 1623119 h 6857106"/>
              <a:gd name="connsiteX411" fmla="*/ 5239610 w 8243652"/>
              <a:gd name="connsiteY411" fmla="*/ 1786631 h 6857106"/>
              <a:gd name="connsiteX412" fmla="*/ 5260568 w 8243652"/>
              <a:gd name="connsiteY412" fmla="*/ 1854894 h 6857106"/>
              <a:gd name="connsiteX413" fmla="*/ 5276869 w 8243652"/>
              <a:gd name="connsiteY413" fmla="*/ 1915219 h 6857106"/>
              <a:gd name="connsiteX414" fmla="*/ 5295498 w 8243652"/>
              <a:gd name="connsiteY414" fmla="*/ 1956494 h 6857106"/>
              <a:gd name="connsiteX415" fmla="*/ 5304814 w 8243652"/>
              <a:gd name="connsiteY415" fmla="*/ 1967606 h 6857106"/>
              <a:gd name="connsiteX416" fmla="*/ 5316457 w 8243652"/>
              <a:gd name="connsiteY416" fmla="*/ 1975544 h 6857106"/>
              <a:gd name="connsiteX417" fmla="*/ 5337416 w 8243652"/>
              <a:gd name="connsiteY417" fmla="*/ 1861244 h 6857106"/>
              <a:gd name="connsiteX418" fmla="*/ 5351388 w 8243652"/>
              <a:gd name="connsiteY418" fmla="*/ 1745356 h 6857106"/>
              <a:gd name="connsiteX419" fmla="*/ 5351388 w 8243652"/>
              <a:gd name="connsiteY419" fmla="*/ 1834256 h 6857106"/>
              <a:gd name="connsiteX420" fmla="*/ 5356045 w 8243652"/>
              <a:gd name="connsiteY420" fmla="*/ 1926331 h 6857106"/>
              <a:gd name="connsiteX421" fmla="*/ 5365360 w 8243652"/>
              <a:gd name="connsiteY421" fmla="*/ 1778694 h 6857106"/>
              <a:gd name="connsiteX422" fmla="*/ 5372346 w 8243652"/>
              <a:gd name="connsiteY422" fmla="*/ 1692969 h 6857106"/>
              <a:gd name="connsiteX423" fmla="*/ 5377004 w 8243652"/>
              <a:gd name="connsiteY423" fmla="*/ 1669156 h 6857106"/>
              <a:gd name="connsiteX424" fmla="*/ 5379332 w 8243652"/>
              <a:gd name="connsiteY424" fmla="*/ 1654869 h 6857106"/>
              <a:gd name="connsiteX425" fmla="*/ 5379332 w 8243652"/>
              <a:gd name="connsiteY425" fmla="*/ 1653281 h 6857106"/>
              <a:gd name="connsiteX426" fmla="*/ 5383990 w 8243652"/>
              <a:gd name="connsiteY426" fmla="*/ 1653281 h 6857106"/>
              <a:gd name="connsiteX427" fmla="*/ 5388647 w 8243652"/>
              <a:gd name="connsiteY427" fmla="*/ 1661219 h 6857106"/>
              <a:gd name="connsiteX428" fmla="*/ 5395633 w 8243652"/>
              <a:gd name="connsiteY428" fmla="*/ 1696144 h 6857106"/>
              <a:gd name="connsiteX429" fmla="*/ 5404948 w 8243652"/>
              <a:gd name="connsiteY429" fmla="*/ 1753294 h 6857106"/>
              <a:gd name="connsiteX430" fmla="*/ 5423578 w 8243652"/>
              <a:gd name="connsiteY430" fmla="*/ 1904106 h 6857106"/>
              <a:gd name="connsiteX431" fmla="*/ 5428236 w 8243652"/>
              <a:gd name="connsiteY431" fmla="*/ 1907281 h 6857106"/>
              <a:gd name="connsiteX432" fmla="*/ 5432892 w 8243652"/>
              <a:gd name="connsiteY432" fmla="*/ 1915219 h 6857106"/>
              <a:gd name="connsiteX433" fmla="*/ 5439879 w 8243652"/>
              <a:gd name="connsiteY433" fmla="*/ 1951731 h 6857106"/>
              <a:gd name="connsiteX434" fmla="*/ 5453851 w 8243652"/>
              <a:gd name="connsiteY434" fmla="*/ 2075556 h 6857106"/>
              <a:gd name="connsiteX435" fmla="*/ 5456180 w 8243652"/>
              <a:gd name="connsiteY435" fmla="*/ 2069206 h 6857106"/>
              <a:gd name="connsiteX436" fmla="*/ 5460838 w 8243652"/>
              <a:gd name="connsiteY436" fmla="*/ 2004119 h 6857106"/>
              <a:gd name="connsiteX437" fmla="*/ 5465494 w 8243652"/>
              <a:gd name="connsiteY437" fmla="*/ 1932681 h 6857106"/>
              <a:gd name="connsiteX438" fmla="*/ 5467824 w 8243652"/>
              <a:gd name="connsiteY438" fmla="*/ 1775519 h 6857106"/>
              <a:gd name="connsiteX439" fmla="*/ 5465494 w 8243652"/>
              <a:gd name="connsiteY439" fmla="*/ 1612006 h 6857106"/>
              <a:gd name="connsiteX440" fmla="*/ 5460838 w 8243652"/>
              <a:gd name="connsiteY440" fmla="*/ 1438969 h 6857106"/>
              <a:gd name="connsiteX441" fmla="*/ 5465494 w 8243652"/>
              <a:gd name="connsiteY441" fmla="*/ 1526281 h 6857106"/>
              <a:gd name="connsiteX442" fmla="*/ 5472481 w 8243652"/>
              <a:gd name="connsiteY442" fmla="*/ 1575494 h 6857106"/>
              <a:gd name="connsiteX443" fmla="*/ 5477138 w 8243652"/>
              <a:gd name="connsiteY443" fmla="*/ 1589781 h 6857106"/>
              <a:gd name="connsiteX444" fmla="*/ 5481796 w 8243652"/>
              <a:gd name="connsiteY444" fmla="*/ 1594544 h 6857106"/>
              <a:gd name="connsiteX445" fmla="*/ 5484124 w 8243652"/>
              <a:gd name="connsiteY445" fmla="*/ 1592956 h 6857106"/>
              <a:gd name="connsiteX446" fmla="*/ 5488782 w 8243652"/>
              <a:gd name="connsiteY446" fmla="*/ 1583431 h 6857106"/>
              <a:gd name="connsiteX447" fmla="*/ 5498096 w 8243652"/>
              <a:gd name="connsiteY447" fmla="*/ 1551681 h 6857106"/>
              <a:gd name="connsiteX448" fmla="*/ 5509740 w 8243652"/>
              <a:gd name="connsiteY448" fmla="*/ 1502469 h 6857106"/>
              <a:gd name="connsiteX449" fmla="*/ 5526042 w 8243652"/>
              <a:gd name="connsiteY449" fmla="*/ 1364356 h 6857106"/>
              <a:gd name="connsiteX450" fmla="*/ 5553986 w 8243652"/>
              <a:gd name="connsiteY450" fmla="*/ 1084956 h 6857106"/>
              <a:gd name="connsiteX451" fmla="*/ 5556314 w 8243652"/>
              <a:gd name="connsiteY451" fmla="*/ 1040506 h 6857106"/>
              <a:gd name="connsiteX452" fmla="*/ 5565630 w 8243652"/>
              <a:gd name="connsiteY452" fmla="*/ 1016694 h 6857106"/>
              <a:gd name="connsiteX453" fmla="*/ 5565630 w 8243652"/>
              <a:gd name="connsiteY453" fmla="*/ 1013519 h 6857106"/>
              <a:gd name="connsiteX454" fmla="*/ 5570287 w 8243652"/>
              <a:gd name="connsiteY454" fmla="*/ 1016694 h 6857106"/>
              <a:gd name="connsiteX455" fmla="*/ 5570287 w 8243652"/>
              <a:gd name="connsiteY455" fmla="*/ 1043681 h 6857106"/>
              <a:gd name="connsiteX456" fmla="*/ 5577273 w 8243652"/>
              <a:gd name="connsiteY456" fmla="*/ 1059556 h 6857106"/>
              <a:gd name="connsiteX457" fmla="*/ 5577273 w 8243652"/>
              <a:gd name="connsiteY457" fmla="*/ 1081781 h 6857106"/>
              <a:gd name="connsiteX458" fmla="*/ 5586588 w 8243652"/>
              <a:gd name="connsiteY458" fmla="*/ 1153219 h 6857106"/>
              <a:gd name="connsiteX459" fmla="*/ 5586588 w 8243652"/>
              <a:gd name="connsiteY459" fmla="*/ 1359594 h 6857106"/>
              <a:gd name="connsiteX460" fmla="*/ 5586588 w 8243652"/>
              <a:gd name="connsiteY460" fmla="*/ 1612006 h 6857106"/>
              <a:gd name="connsiteX461" fmla="*/ 5588916 w 8243652"/>
              <a:gd name="connsiteY461" fmla="*/ 1854894 h 6857106"/>
              <a:gd name="connsiteX462" fmla="*/ 5593574 w 8243652"/>
              <a:gd name="connsiteY462" fmla="*/ 1823144 h 6857106"/>
              <a:gd name="connsiteX463" fmla="*/ 5598232 w 8243652"/>
              <a:gd name="connsiteY463" fmla="*/ 1767581 h 6857106"/>
              <a:gd name="connsiteX464" fmla="*/ 5605218 w 8243652"/>
              <a:gd name="connsiteY464" fmla="*/ 1619944 h 6857106"/>
              <a:gd name="connsiteX465" fmla="*/ 5605218 w 8243652"/>
              <a:gd name="connsiteY465" fmla="*/ 1269106 h 6857106"/>
              <a:gd name="connsiteX466" fmla="*/ 5605218 w 8243652"/>
              <a:gd name="connsiteY466" fmla="*/ 1123056 h 6857106"/>
              <a:gd name="connsiteX467" fmla="*/ 5609875 w 8243652"/>
              <a:gd name="connsiteY467" fmla="*/ 1040506 h 6857106"/>
              <a:gd name="connsiteX468" fmla="*/ 5609875 w 8243652"/>
              <a:gd name="connsiteY468" fmla="*/ 1032569 h 6857106"/>
              <a:gd name="connsiteX469" fmla="*/ 5614532 w 8243652"/>
              <a:gd name="connsiteY469" fmla="*/ 1029394 h 6857106"/>
              <a:gd name="connsiteX470" fmla="*/ 5616861 w 8243652"/>
              <a:gd name="connsiteY470" fmla="*/ 1046856 h 6857106"/>
              <a:gd name="connsiteX471" fmla="*/ 5633162 w 8243652"/>
              <a:gd name="connsiteY471" fmla="*/ 1175444 h 6857106"/>
              <a:gd name="connsiteX472" fmla="*/ 5621518 w 8243652"/>
              <a:gd name="connsiteY472" fmla="*/ 1261169 h 6857106"/>
              <a:gd name="connsiteX473" fmla="*/ 5621518 w 8243652"/>
              <a:gd name="connsiteY473" fmla="*/ 1307206 h 6857106"/>
              <a:gd name="connsiteX474" fmla="*/ 5621518 w 8243652"/>
              <a:gd name="connsiteY474" fmla="*/ 1361181 h 6857106"/>
              <a:gd name="connsiteX475" fmla="*/ 5630834 w 8243652"/>
              <a:gd name="connsiteY475" fmla="*/ 1462781 h 6857106"/>
              <a:gd name="connsiteX476" fmla="*/ 5637820 w 8243652"/>
              <a:gd name="connsiteY476" fmla="*/ 1662806 h 6857106"/>
              <a:gd name="connsiteX477" fmla="*/ 5658778 w 8243652"/>
              <a:gd name="connsiteY477" fmla="*/ 2193031 h 6857106"/>
              <a:gd name="connsiteX478" fmla="*/ 5670422 w 8243652"/>
              <a:gd name="connsiteY478" fmla="*/ 2445444 h 6857106"/>
              <a:gd name="connsiteX479" fmla="*/ 5677408 w 8243652"/>
              <a:gd name="connsiteY479" fmla="*/ 2642294 h 6857106"/>
              <a:gd name="connsiteX480" fmla="*/ 5682065 w 8243652"/>
              <a:gd name="connsiteY480" fmla="*/ 2705794 h 6857106"/>
              <a:gd name="connsiteX481" fmla="*/ 5686722 w 8243652"/>
              <a:gd name="connsiteY481" fmla="*/ 2740719 h 6857106"/>
              <a:gd name="connsiteX482" fmla="*/ 5689052 w 8243652"/>
              <a:gd name="connsiteY482" fmla="*/ 2747069 h 6857106"/>
              <a:gd name="connsiteX483" fmla="*/ 5693709 w 8243652"/>
              <a:gd name="connsiteY483" fmla="*/ 2743894 h 6857106"/>
              <a:gd name="connsiteX484" fmla="*/ 5693709 w 8243652"/>
              <a:gd name="connsiteY484" fmla="*/ 2705794 h 6857106"/>
              <a:gd name="connsiteX485" fmla="*/ 5682065 w 8243652"/>
              <a:gd name="connsiteY485" fmla="*/ 2464494 h 6857106"/>
              <a:gd name="connsiteX486" fmla="*/ 5689052 w 8243652"/>
              <a:gd name="connsiteY486" fmla="*/ 2420044 h 6857106"/>
              <a:gd name="connsiteX487" fmla="*/ 5693709 w 8243652"/>
              <a:gd name="connsiteY487" fmla="*/ 2412106 h 6857106"/>
              <a:gd name="connsiteX488" fmla="*/ 5693709 w 8243652"/>
              <a:gd name="connsiteY488" fmla="*/ 2408931 h 6857106"/>
              <a:gd name="connsiteX489" fmla="*/ 5698366 w 8243652"/>
              <a:gd name="connsiteY489" fmla="*/ 2412106 h 6857106"/>
              <a:gd name="connsiteX490" fmla="*/ 5705352 w 8243652"/>
              <a:gd name="connsiteY490" fmla="*/ 2431156 h 6857106"/>
              <a:gd name="connsiteX491" fmla="*/ 5710010 w 8243652"/>
              <a:gd name="connsiteY491" fmla="*/ 2475606 h 6857106"/>
              <a:gd name="connsiteX492" fmla="*/ 5726311 w 8243652"/>
              <a:gd name="connsiteY492" fmla="*/ 2612131 h 6857106"/>
              <a:gd name="connsiteX493" fmla="*/ 5737954 w 8243652"/>
              <a:gd name="connsiteY493" fmla="*/ 2769294 h 6857106"/>
              <a:gd name="connsiteX494" fmla="*/ 5754256 w 8243652"/>
              <a:gd name="connsiteY494" fmla="*/ 2899469 h 6857106"/>
              <a:gd name="connsiteX495" fmla="*/ 5758913 w 8243652"/>
              <a:gd name="connsiteY495" fmla="*/ 2940744 h 6857106"/>
              <a:gd name="connsiteX496" fmla="*/ 5763570 w 8243652"/>
              <a:gd name="connsiteY496" fmla="*/ 2958206 h 6857106"/>
              <a:gd name="connsiteX497" fmla="*/ 5765899 w 8243652"/>
              <a:gd name="connsiteY497" fmla="*/ 2951856 h 6857106"/>
              <a:gd name="connsiteX498" fmla="*/ 5765899 w 8243652"/>
              <a:gd name="connsiteY498" fmla="*/ 2940744 h 6857106"/>
              <a:gd name="connsiteX499" fmla="*/ 5770556 w 8243652"/>
              <a:gd name="connsiteY499" fmla="*/ 2889944 h 6857106"/>
              <a:gd name="connsiteX500" fmla="*/ 5775214 w 8243652"/>
              <a:gd name="connsiteY500" fmla="*/ 2653406 h 6857106"/>
              <a:gd name="connsiteX501" fmla="*/ 5770556 w 8243652"/>
              <a:gd name="connsiteY501" fmla="*/ 2231131 h 6857106"/>
              <a:gd name="connsiteX502" fmla="*/ 5791515 w 8243652"/>
              <a:gd name="connsiteY502" fmla="*/ 2385119 h 6857106"/>
              <a:gd name="connsiteX503" fmla="*/ 5803158 w 8243652"/>
              <a:gd name="connsiteY503" fmla="*/ 2447031 h 6857106"/>
              <a:gd name="connsiteX504" fmla="*/ 5807816 w 8243652"/>
              <a:gd name="connsiteY504" fmla="*/ 2456556 h 6857106"/>
              <a:gd name="connsiteX505" fmla="*/ 5810144 w 8243652"/>
              <a:gd name="connsiteY505" fmla="*/ 2450206 h 6857106"/>
              <a:gd name="connsiteX506" fmla="*/ 5814802 w 8243652"/>
              <a:gd name="connsiteY506" fmla="*/ 2420044 h 6857106"/>
              <a:gd name="connsiteX507" fmla="*/ 5821788 w 8243652"/>
              <a:gd name="connsiteY507" fmla="*/ 2385119 h 6857106"/>
              <a:gd name="connsiteX508" fmla="*/ 5826446 w 8243652"/>
              <a:gd name="connsiteY508" fmla="*/ 2377181 h 6857106"/>
              <a:gd name="connsiteX509" fmla="*/ 5826446 w 8243652"/>
              <a:gd name="connsiteY509" fmla="*/ 2374006 h 6857106"/>
              <a:gd name="connsiteX510" fmla="*/ 5831103 w 8243652"/>
              <a:gd name="connsiteY510" fmla="*/ 2377181 h 6857106"/>
              <a:gd name="connsiteX511" fmla="*/ 5835760 w 8243652"/>
              <a:gd name="connsiteY511" fmla="*/ 2393056 h 6857106"/>
              <a:gd name="connsiteX512" fmla="*/ 5842746 w 8243652"/>
              <a:gd name="connsiteY512" fmla="*/ 2423219 h 6857106"/>
              <a:gd name="connsiteX513" fmla="*/ 5863705 w 8243652"/>
              <a:gd name="connsiteY513" fmla="*/ 2554981 h 6857106"/>
              <a:gd name="connsiteX514" fmla="*/ 5859048 w 8243652"/>
              <a:gd name="connsiteY514" fmla="*/ 2623244 h 6857106"/>
              <a:gd name="connsiteX515" fmla="*/ 5866034 w 8243652"/>
              <a:gd name="connsiteY515" fmla="*/ 2615306 h 6857106"/>
              <a:gd name="connsiteX516" fmla="*/ 5870691 w 8243652"/>
              <a:gd name="connsiteY516" fmla="*/ 2618481 h 6857106"/>
              <a:gd name="connsiteX517" fmla="*/ 5880006 w 8243652"/>
              <a:gd name="connsiteY517" fmla="*/ 2648644 h 6857106"/>
              <a:gd name="connsiteX518" fmla="*/ 5896307 w 8243652"/>
              <a:gd name="connsiteY518" fmla="*/ 2729606 h 6857106"/>
              <a:gd name="connsiteX519" fmla="*/ 5896307 w 8243652"/>
              <a:gd name="connsiteY519" fmla="*/ 2740719 h 6857106"/>
              <a:gd name="connsiteX520" fmla="*/ 5898636 w 8243652"/>
              <a:gd name="connsiteY520" fmla="*/ 2743894 h 6857106"/>
              <a:gd name="connsiteX521" fmla="*/ 5898636 w 8243652"/>
              <a:gd name="connsiteY521" fmla="*/ 2740719 h 6857106"/>
              <a:gd name="connsiteX522" fmla="*/ 5903293 w 8243652"/>
              <a:gd name="connsiteY522" fmla="*/ 2729606 h 6857106"/>
              <a:gd name="connsiteX523" fmla="*/ 5907950 w 8243652"/>
              <a:gd name="connsiteY523" fmla="*/ 2702619 h 6857106"/>
              <a:gd name="connsiteX524" fmla="*/ 5910280 w 8243652"/>
              <a:gd name="connsiteY524" fmla="*/ 2593081 h 6857106"/>
              <a:gd name="connsiteX525" fmla="*/ 5914936 w 8243652"/>
              <a:gd name="connsiteY525" fmla="*/ 2393056 h 6857106"/>
              <a:gd name="connsiteX526" fmla="*/ 5907950 w 8243652"/>
              <a:gd name="connsiteY526" fmla="*/ 2299394 h 6857106"/>
              <a:gd name="connsiteX527" fmla="*/ 5919594 w 8243652"/>
              <a:gd name="connsiteY527" fmla="*/ 2286694 h 6857106"/>
              <a:gd name="connsiteX528" fmla="*/ 5926580 w 8243652"/>
              <a:gd name="connsiteY528" fmla="*/ 2277169 h 6857106"/>
              <a:gd name="connsiteX529" fmla="*/ 5935895 w 8243652"/>
              <a:gd name="connsiteY529" fmla="*/ 2277169 h 6857106"/>
              <a:gd name="connsiteX530" fmla="*/ 5942882 w 8243652"/>
              <a:gd name="connsiteY530" fmla="*/ 2283519 h 6857106"/>
              <a:gd name="connsiteX531" fmla="*/ 5959182 w 8243652"/>
              <a:gd name="connsiteY531" fmla="*/ 2305744 h 6857106"/>
              <a:gd name="connsiteX532" fmla="*/ 5968497 w 8243652"/>
              <a:gd name="connsiteY532" fmla="*/ 2318444 h 6857106"/>
              <a:gd name="connsiteX533" fmla="*/ 5980141 w 8243652"/>
              <a:gd name="connsiteY533" fmla="*/ 2332731 h 6857106"/>
              <a:gd name="connsiteX534" fmla="*/ 5984798 w 8243652"/>
              <a:gd name="connsiteY534" fmla="*/ 2280344 h 6857106"/>
              <a:gd name="connsiteX535" fmla="*/ 5991784 w 8243652"/>
              <a:gd name="connsiteY535" fmla="*/ 2242244 h 6857106"/>
              <a:gd name="connsiteX536" fmla="*/ 5996442 w 8243652"/>
              <a:gd name="connsiteY536" fmla="*/ 2235894 h 6857106"/>
              <a:gd name="connsiteX537" fmla="*/ 5998770 w 8243652"/>
              <a:gd name="connsiteY537" fmla="*/ 2242244 h 6857106"/>
              <a:gd name="connsiteX538" fmla="*/ 6003428 w 8243652"/>
              <a:gd name="connsiteY538" fmla="*/ 2266056 h 6857106"/>
              <a:gd name="connsiteX539" fmla="*/ 6003428 w 8243652"/>
              <a:gd name="connsiteY539" fmla="*/ 2307331 h 6857106"/>
              <a:gd name="connsiteX540" fmla="*/ 6008086 w 8243652"/>
              <a:gd name="connsiteY540" fmla="*/ 2135881 h 6857106"/>
              <a:gd name="connsiteX541" fmla="*/ 6012743 w 8243652"/>
              <a:gd name="connsiteY541" fmla="*/ 2077144 h 6857106"/>
              <a:gd name="connsiteX542" fmla="*/ 6019729 w 8243652"/>
              <a:gd name="connsiteY542" fmla="*/ 2031106 h 6857106"/>
              <a:gd name="connsiteX543" fmla="*/ 6024386 w 8243652"/>
              <a:gd name="connsiteY543" fmla="*/ 2000944 h 6857106"/>
              <a:gd name="connsiteX544" fmla="*/ 6031372 w 8243652"/>
              <a:gd name="connsiteY544" fmla="*/ 1981894 h 6857106"/>
              <a:gd name="connsiteX545" fmla="*/ 6040688 w 8243652"/>
              <a:gd name="connsiteY545" fmla="*/ 1973956 h 6857106"/>
              <a:gd name="connsiteX546" fmla="*/ 6043016 w 8243652"/>
              <a:gd name="connsiteY546" fmla="*/ 1970781 h 6857106"/>
              <a:gd name="connsiteX547" fmla="*/ 6047674 w 8243652"/>
              <a:gd name="connsiteY547" fmla="*/ 1973956 h 6857106"/>
              <a:gd name="connsiteX548" fmla="*/ 6056988 w 8243652"/>
              <a:gd name="connsiteY548" fmla="*/ 1978719 h 6857106"/>
              <a:gd name="connsiteX549" fmla="*/ 6063974 w 8243652"/>
              <a:gd name="connsiteY549" fmla="*/ 1993006 h 6857106"/>
              <a:gd name="connsiteX550" fmla="*/ 6080276 w 8243652"/>
              <a:gd name="connsiteY550" fmla="*/ 2024756 h 6857106"/>
              <a:gd name="connsiteX551" fmla="*/ 6101234 w 8243652"/>
              <a:gd name="connsiteY551" fmla="*/ 2083494 h 6857106"/>
              <a:gd name="connsiteX552" fmla="*/ 6091919 w 8243652"/>
              <a:gd name="connsiteY552" fmla="*/ 2121594 h 6857106"/>
              <a:gd name="connsiteX553" fmla="*/ 6087262 w 8243652"/>
              <a:gd name="connsiteY553" fmla="*/ 2170806 h 6857106"/>
              <a:gd name="connsiteX554" fmla="*/ 6084933 w 8243652"/>
              <a:gd name="connsiteY554" fmla="*/ 2234306 h 6857106"/>
              <a:gd name="connsiteX555" fmla="*/ 6084933 w 8243652"/>
              <a:gd name="connsiteY555" fmla="*/ 2302569 h 6857106"/>
              <a:gd name="connsiteX556" fmla="*/ 6087262 w 8243652"/>
              <a:gd name="connsiteY556" fmla="*/ 2461319 h 6857106"/>
              <a:gd name="connsiteX557" fmla="*/ 6096576 w 8243652"/>
              <a:gd name="connsiteY557" fmla="*/ 2634356 h 6857106"/>
              <a:gd name="connsiteX558" fmla="*/ 6108220 w 8243652"/>
              <a:gd name="connsiteY558" fmla="*/ 2366069 h 6857106"/>
              <a:gd name="connsiteX559" fmla="*/ 6112878 w 8243652"/>
              <a:gd name="connsiteY559" fmla="*/ 2288281 h 6857106"/>
              <a:gd name="connsiteX560" fmla="*/ 6117535 w 8243652"/>
              <a:gd name="connsiteY560" fmla="*/ 2250181 h 6857106"/>
              <a:gd name="connsiteX561" fmla="*/ 6119864 w 8243652"/>
              <a:gd name="connsiteY561" fmla="*/ 2245419 h 6857106"/>
              <a:gd name="connsiteX562" fmla="*/ 6124521 w 8243652"/>
              <a:gd name="connsiteY562" fmla="*/ 2247006 h 6857106"/>
              <a:gd name="connsiteX563" fmla="*/ 6129178 w 8243652"/>
              <a:gd name="connsiteY563" fmla="*/ 2283519 h 6857106"/>
              <a:gd name="connsiteX564" fmla="*/ 6145480 w 8243652"/>
              <a:gd name="connsiteY564" fmla="*/ 2458144 h 6857106"/>
              <a:gd name="connsiteX565" fmla="*/ 6147808 w 8243652"/>
              <a:gd name="connsiteY565" fmla="*/ 1937444 h 6857106"/>
              <a:gd name="connsiteX566" fmla="*/ 6157123 w 8243652"/>
              <a:gd name="connsiteY566" fmla="*/ 1469131 h 6857106"/>
              <a:gd name="connsiteX567" fmla="*/ 6161780 w 8243652"/>
              <a:gd name="connsiteY567" fmla="*/ 1277044 h 6857106"/>
              <a:gd name="connsiteX568" fmla="*/ 6173424 w 8243652"/>
              <a:gd name="connsiteY568" fmla="*/ 1123056 h 6857106"/>
              <a:gd name="connsiteX569" fmla="*/ 6185068 w 8243652"/>
              <a:gd name="connsiteY569" fmla="*/ 1019869 h 6857106"/>
              <a:gd name="connsiteX570" fmla="*/ 6189725 w 8243652"/>
              <a:gd name="connsiteY570" fmla="*/ 989706 h 6857106"/>
              <a:gd name="connsiteX571" fmla="*/ 6196712 w 8243652"/>
              <a:gd name="connsiteY571" fmla="*/ 972244 h 6857106"/>
              <a:gd name="connsiteX572" fmla="*/ 6189725 w 8243652"/>
              <a:gd name="connsiteY572" fmla="*/ 1111944 h 6857106"/>
              <a:gd name="connsiteX573" fmla="*/ 6185068 w 8243652"/>
              <a:gd name="connsiteY573" fmla="*/ 1186556 h 6857106"/>
              <a:gd name="connsiteX574" fmla="*/ 6185068 w 8243652"/>
              <a:gd name="connsiteY574" fmla="*/ 1281806 h 6857106"/>
              <a:gd name="connsiteX575" fmla="*/ 6189725 w 8243652"/>
              <a:gd name="connsiteY575" fmla="*/ 1340544 h 6857106"/>
              <a:gd name="connsiteX576" fmla="*/ 6192054 w 8243652"/>
              <a:gd name="connsiteY576" fmla="*/ 1337369 h 6857106"/>
              <a:gd name="connsiteX577" fmla="*/ 6192054 w 8243652"/>
              <a:gd name="connsiteY577" fmla="*/ 1323081 h 6857106"/>
              <a:gd name="connsiteX578" fmla="*/ 6201368 w 8243652"/>
              <a:gd name="connsiteY578" fmla="*/ 1216719 h 6857106"/>
              <a:gd name="connsiteX579" fmla="*/ 6203698 w 8243652"/>
              <a:gd name="connsiteY579" fmla="*/ 1321494 h 6857106"/>
              <a:gd name="connsiteX580" fmla="*/ 6201368 w 8243652"/>
              <a:gd name="connsiteY580" fmla="*/ 1427856 h 6857106"/>
              <a:gd name="connsiteX581" fmla="*/ 6196712 w 8243652"/>
              <a:gd name="connsiteY581" fmla="*/ 1553269 h 6857106"/>
              <a:gd name="connsiteX582" fmla="*/ 6196712 w 8243652"/>
              <a:gd name="connsiteY582" fmla="*/ 1713606 h 6857106"/>
              <a:gd name="connsiteX583" fmla="*/ 6208355 w 8243652"/>
              <a:gd name="connsiteY583" fmla="*/ 1521519 h 6857106"/>
              <a:gd name="connsiteX584" fmla="*/ 6219998 w 8243652"/>
              <a:gd name="connsiteY584" fmla="*/ 1421506 h 6857106"/>
              <a:gd name="connsiteX585" fmla="*/ 6224656 w 8243652"/>
              <a:gd name="connsiteY585" fmla="*/ 1400869 h 6857106"/>
              <a:gd name="connsiteX586" fmla="*/ 6229314 w 8243652"/>
              <a:gd name="connsiteY586" fmla="*/ 1391344 h 6857106"/>
              <a:gd name="connsiteX587" fmla="*/ 6236300 w 8243652"/>
              <a:gd name="connsiteY587" fmla="*/ 1397694 h 6857106"/>
              <a:gd name="connsiteX588" fmla="*/ 6240957 w 8243652"/>
              <a:gd name="connsiteY588" fmla="*/ 1411981 h 6857106"/>
              <a:gd name="connsiteX589" fmla="*/ 6252600 w 8243652"/>
              <a:gd name="connsiteY589" fmla="*/ 1446906 h 6857106"/>
              <a:gd name="connsiteX590" fmla="*/ 6264244 w 8243652"/>
              <a:gd name="connsiteY590" fmla="*/ 1480244 h 6857106"/>
              <a:gd name="connsiteX591" fmla="*/ 6268902 w 8243652"/>
              <a:gd name="connsiteY591" fmla="*/ 1485006 h 6857106"/>
              <a:gd name="connsiteX592" fmla="*/ 6273559 w 8243652"/>
              <a:gd name="connsiteY592" fmla="*/ 1485006 h 6857106"/>
              <a:gd name="connsiteX593" fmla="*/ 6278216 w 8243652"/>
              <a:gd name="connsiteY593" fmla="*/ 1481831 h 6857106"/>
              <a:gd name="connsiteX594" fmla="*/ 6285202 w 8243652"/>
              <a:gd name="connsiteY594" fmla="*/ 1462781 h 6857106"/>
              <a:gd name="connsiteX595" fmla="*/ 6292188 w 8243652"/>
              <a:gd name="connsiteY595" fmla="*/ 1431031 h 6857106"/>
              <a:gd name="connsiteX596" fmla="*/ 6289860 w 8243652"/>
              <a:gd name="connsiteY596" fmla="*/ 1575494 h 6857106"/>
              <a:gd name="connsiteX597" fmla="*/ 6289860 w 8243652"/>
              <a:gd name="connsiteY597" fmla="*/ 1713606 h 6857106"/>
              <a:gd name="connsiteX598" fmla="*/ 6296846 w 8243652"/>
              <a:gd name="connsiteY598" fmla="*/ 2016819 h 6857106"/>
              <a:gd name="connsiteX599" fmla="*/ 6301504 w 8243652"/>
              <a:gd name="connsiteY599" fmla="*/ 1816794 h 6857106"/>
              <a:gd name="connsiteX600" fmla="*/ 6301504 w 8243652"/>
              <a:gd name="connsiteY600" fmla="*/ 1781869 h 6857106"/>
              <a:gd name="connsiteX601" fmla="*/ 6306161 w 8243652"/>
              <a:gd name="connsiteY601" fmla="*/ 1773931 h 6857106"/>
              <a:gd name="connsiteX602" fmla="*/ 6306161 w 8243652"/>
              <a:gd name="connsiteY602" fmla="*/ 1775519 h 6857106"/>
              <a:gd name="connsiteX603" fmla="*/ 6308490 w 8243652"/>
              <a:gd name="connsiteY603" fmla="*/ 1794569 h 6857106"/>
              <a:gd name="connsiteX604" fmla="*/ 6317804 w 8243652"/>
              <a:gd name="connsiteY604" fmla="*/ 1834256 h 6857106"/>
              <a:gd name="connsiteX605" fmla="*/ 6324790 w 8243652"/>
              <a:gd name="connsiteY605" fmla="*/ 1937444 h 6857106"/>
              <a:gd name="connsiteX606" fmla="*/ 6334106 w 8243652"/>
              <a:gd name="connsiteY606" fmla="*/ 2031106 h 6857106"/>
              <a:gd name="connsiteX607" fmla="*/ 6336434 w 8243652"/>
              <a:gd name="connsiteY607" fmla="*/ 2054919 h 6857106"/>
              <a:gd name="connsiteX608" fmla="*/ 6336434 w 8243652"/>
              <a:gd name="connsiteY608" fmla="*/ 2058094 h 6857106"/>
              <a:gd name="connsiteX609" fmla="*/ 6341092 w 8243652"/>
              <a:gd name="connsiteY609" fmla="*/ 2054919 h 6857106"/>
              <a:gd name="connsiteX610" fmla="*/ 6341092 w 8243652"/>
              <a:gd name="connsiteY610" fmla="*/ 1959669 h 6857106"/>
              <a:gd name="connsiteX611" fmla="*/ 6341092 w 8243652"/>
              <a:gd name="connsiteY611" fmla="*/ 1683444 h 6857106"/>
              <a:gd name="connsiteX612" fmla="*/ 6357392 w 8243652"/>
              <a:gd name="connsiteY612" fmla="*/ 1783456 h 6857106"/>
              <a:gd name="connsiteX613" fmla="*/ 6373694 w 8243652"/>
              <a:gd name="connsiteY613" fmla="*/ 1864419 h 6857106"/>
              <a:gd name="connsiteX614" fmla="*/ 6389994 w 8243652"/>
              <a:gd name="connsiteY614" fmla="*/ 1918394 h 6857106"/>
              <a:gd name="connsiteX615" fmla="*/ 6410953 w 8243652"/>
              <a:gd name="connsiteY615" fmla="*/ 1959669 h 6857106"/>
              <a:gd name="connsiteX616" fmla="*/ 6429583 w 8243652"/>
              <a:gd name="connsiteY616" fmla="*/ 1986656 h 6857106"/>
              <a:gd name="connsiteX617" fmla="*/ 6445884 w 8243652"/>
              <a:gd name="connsiteY617" fmla="*/ 2000944 h 6857106"/>
              <a:gd name="connsiteX618" fmla="*/ 6466842 w 8243652"/>
              <a:gd name="connsiteY618" fmla="*/ 2012056 h 6857106"/>
              <a:gd name="connsiteX619" fmla="*/ 6483144 w 8243652"/>
              <a:gd name="connsiteY619" fmla="*/ 2016819 h 6857106"/>
              <a:gd name="connsiteX620" fmla="*/ 6501773 w 8243652"/>
              <a:gd name="connsiteY620" fmla="*/ 2024756 h 6857106"/>
              <a:gd name="connsiteX621" fmla="*/ 6518074 w 8243652"/>
              <a:gd name="connsiteY621" fmla="*/ 2035869 h 6857106"/>
              <a:gd name="connsiteX622" fmla="*/ 6534375 w 8243652"/>
              <a:gd name="connsiteY622" fmla="*/ 2054919 h 6857106"/>
              <a:gd name="connsiteX623" fmla="*/ 6546018 w 8243652"/>
              <a:gd name="connsiteY623" fmla="*/ 2085081 h 6857106"/>
              <a:gd name="connsiteX624" fmla="*/ 6562320 w 8243652"/>
              <a:gd name="connsiteY624" fmla="*/ 2129531 h 6857106"/>
              <a:gd name="connsiteX625" fmla="*/ 6573963 w 8243652"/>
              <a:gd name="connsiteY625" fmla="*/ 2193031 h 6857106"/>
              <a:gd name="connsiteX626" fmla="*/ 6583278 w 8243652"/>
              <a:gd name="connsiteY626" fmla="*/ 2277169 h 6857106"/>
              <a:gd name="connsiteX627" fmla="*/ 6590264 w 8243652"/>
              <a:gd name="connsiteY627" fmla="*/ 2386706 h 6857106"/>
              <a:gd name="connsiteX628" fmla="*/ 6594922 w 8243652"/>
              <a:gd name="connsiteY628" fmla="*/ 2464494 h 6857106"/>
              <a:gd name="connsiteX629" fmla="*/ 6594922 w 8243652"/>
              <a:gd name="connsiteY629" fmla="*/ 2477194 h 6857106"/>
              <a:gd name="connsiteX630" fmla="*/ 6599579 w 8243652"/>
              <a:gd name="connsiteY630" fmla="*/ 2480369 h 6857106"/>
              <a:gd name="connsiteX631" fmla="*/ 6601908 w 8243652"/>
              <a:gd name="connsiteY631" fmla="*/ 2458144 h 6857106"/>
              <a:gd name="connsiteX632" fmla="*/ 6611222 w 8243652"/>
              <a:gd name="connsiteY632" fmla="*/ 2407344 h 6857106"/>
              <a:gd name="connsiteX633" fmla="*/ 6622866 w 8243652"/>
              <a:gd name="connsiteY633" fmla="*/ 2272406 h 6857106"/>
              <a:gd name="connsiteX634" fmla="*/ 6632181 w 8243652"/>
              <a:gd name="connsiteY634" fmla="*/ 2220019 h 6857106"/>
              <a:gd name="connsiteX635" fmla="*/ 6639167 w 8243652"/>
              <a:gd name="connsiteY635" fmla="*/ 2197794 h 6857106"/>
              <a:gd name="connsiteX636" fmla="*/ 6634510 w 8243652"/>
              <a:gd name="connsiteY636" fmla="*/ 2543869 h 6857106"/>
              <a:gd name="connsiteX637" fmla="*/ 6660126 w 8243652"/>
              <a:gd name="connsiteY637" fmla="*/ 2231131 h 6857106"/>
              <a:gd name="connsiteX638" fmla="*/ 6667112 w 8243652"/>
              <a:gd name="connsiteY638" fmla="*/ 2159694 h 6857106"/>
              <a:gd name="connsiteX639" fmla="*/ 6671769 w 8243652"/>
              <a:gd name="connsiteY639" fmla="*/ 2110481 h 6857106"/>
              <a:gd name="connsiteX640" fmla="*/ 6688070 w 8243652"/>
              <a:gd name="connsiteY640" fmla="*/ 1989831 h 6857106"/>
              <a:gd name="connsiteX641" fmla="*/ 6699714 w 8243652"/>
              <a:gd name="connsiteY641" fmla="*/ 1869181 h 6857106"/>
              <a:gd name="connsiteX642" fmla="*/ 6716015 w 8243652"/>
              <a:gd name="connsiteY642" fmla="*/ 1673919 h 6857106"/>
              <a:gd name="connsiteX643" fmla="*/ 6706700 w 8243652"/>
              <a:gd name="connsiteY643" fmla="*/ 1948556 h 6857106"/>
              <a:gd name="connsiteX644" fmla="*/ 6706700 w 8243652"/>
              <a:gd name="connsiteY644" fmla="*/ 2173981 h 6857106"/>
              <a:gd name="connsiteX645" fmla="*/ 6711358 w 8243652"/>
              <a:gd name="connsiteY645" fmla="*/ 2378769 h 6857106"/>
              <a:gd name="connsiteX646" fmla="*/ 6723001 w 8243652"/>
              <a:gd name="connsiteY646" fmla="*/ 2607369 h 6857106"/>
              <a:gd name="connsiteX647" fmla="*/ 6760260 w 8243652"/>
              <a:gd name="connsiteY647" fmla="*/ 1883469 h 6857106"/>
              <a:gd name="connsiteX648" fmla="*/ 6764918 w 8243652"/>
              <a:gd name="connsiteY648" fmla="*/ 2420044 h 6857106"/>
              <a:gd name="connsiteX649" fmla="*/ 6771904 w 8243652"/>
              <a:gd name="connsiteY649" fmla="*/ 2354956 h 6857106"/>
              <a:gd name="connsiteX650" fmla="*/ 6776562 w 8243652"/>
              <a:gd name="connsiteY650" fmla="*/ 2313681 h 6857106"/>
              <a:gd name="connsiteX651" fmla="*/ 6778890 w 8243652"/>
              <a:gd name="connsiteY651" fmla="*/ 2294631 h 6857106"/>
              <a:gd name="connsiteX652" fmla="*/ 6783548 w 8243652"/>
              <a:gd name="connsiteY652" fmla="*/ 2288281 h 6857106"/>
              <a:gd name="connsiteX653" fmla="*/ 6788205 w 8243652"/>
              <a:gd name="connsiteY653" fmla="*/ 2288281 h 6857106"/>
              <a:gd name="connsiteX654" fmla="*/ 6792862 w 8243652"/>
              <a:gd name="connsiteY654" fmla="*/ 2299394 h 6857106"/>
              <a:gd name="connsiteX655" fmla="*/ 6799848 w 8243652"/>
              <a:gd name="connsiteY655" fmla="*/ 2318444 h 6857106"/>
              <a:gd name="connsiteX656" fmla="*/ 6809164 w 8243652"/>
              <a:gd name="connsiteY656" fmla="*/ 2377181 h 6857106"/>
              <a:gd name="connsiteX657" fmla="*/ 6816150 w 8243652"/>
              <a:gd name="connsiteY657" fmla="*/ 2186681 h 6857106"/>
              <a:gd name="connsiteX658" fmla="*/ 6823136 w 8243652"/>
              <a:gd name="connsiteY658" fmla="*/ 2042219 h 6857106"/>
              <a:gd name="connsiteX659" fmla="*/ 6837108 w 8243652"/>
              <a:gd name="connsiteY659" fmla="*/ 1934269 h 6857106"/>
              <a:gd name="connsiteX660" fmla="*/ 6848752 w 8243652"/>
              <a:gd name="connsiteY660" fmla="*/ 1853306 h 6857106"/>
              <a:gd name="connsiteX661" fmla="*/ 6872038 w 8243652"/>
              <a:gd name="connsiteY661" fmla="*/ 1707256 h 6857106"/>
              <a:gd name="connsiteX662" fmla="*/ 6881354 w 8243652"/>
              <a:gd name="connsiteY662" fmla="*/ 1624706 h 6857106"/>
              <a:gd name="connsiteX663" fmla="*/ 6883682 w 8243652"/>
              <a:gd name="connsiteY663" fmla="*/ 1515169 h 6857106"/>
              <a:gd name="connsiteX664" fmla="*/ 6888340 w 8243652"/>
              <a:gd name="connsiteY664" fmla="*/ 1718369 h 6857106"/>
              <a:gd name="connsiteX665" fmla="*/ 6897654 w 8243652"/>
              <a:gd name="connsiteY665" fmla="*/ 1805681 h 6857106"/>
              <a:gd name="connsiteX666" fmla="*/ 6899984 w 8243652"/>
              <a:gd name="connsiteY666" fmla="*/ 1816794 h 6857106"/>
              <a:gd name="connsiteX667" fmla="*/ 6904640 w 8243652"/>
              <a:gd name="connsiteY667" fmla="*/ 1813619 h 6857106"/>
              <a:gd name="connsiteX668" fmla="*/ 6911627 w 8243652"/>
              <a:gd name="connsiteY668" fmla="*/ 1781869 h 6857106"/>
              <a:gd name="connsiteX669" fmla="*/ 6916284 w 8243652"/>
              <a:gd name="connsiteY669" fmla="*/ 1748531 h 6857106"/>
              <a:gd name="connsiteX670" fmla="*/ 6920942 w 8243652"/>
              <a:gd name="connsiteY670" fmla="*/ 1743769 h 6857106"/>
              <a:gd name="connsiteX671" fmla="*/ 6925599 w 8243652"/>
              <a:gd name="connsiteY671" fmla="*/ 1751706 h 6857106"/>
              <a:gd name="connsiteX672" fmla="*/ 6927928 w 8243652"/>
              <a:gd name="connsiteY672" fmla="*/ 1827906 h 6857106"/>
              <a:gd name="connsiteX673" fmla="*/ 6937242 w 8243652"/>
              <a:gd name="connsiteY673" fmla="*/ 2015231 h 6857106"/>
              <a:gd name="connsiteX674" fmla="*/ 6944229 w 8243652"/>
              <a:gd name="connsiteY674" fmla="*/ 1873944 h 6857106"/>
              <a:gd name="connsiteX675" fmla="*/ 6953544 w 8243652"/>
              <a:gd name="connsiteY675" fmla="*/ 1759644 h 6857106"/>
              <a:gd name="connsiteX676" fmla="*/ 6948886 w 8243652"/>
              <a:gd name="connsiteY676" fmla="*/ 1523106 h 6857106"/>
              <a:gd name="connsiteX677" fmla="*/ 6948886 w 8243652"/>
              <a:gd name="connsiteY677" fmla="*/ 1323081 h 6857106"/>
              <a:gd name="connsiteX678" fmla="*/ 6948886 w 8243652"/>
              <a:gd name="connsiteY678" fmla="*/ 1210369 h 6857106"/>
              <a:gd name="connsiteX679" fmla="*/ 6953544 w 8243652"/>
              <a:gd name="connsiteY679" fmla="*/ 1202431 h 6857106"/>
              <a:gd name="connsiteX680" fmla="*/ 6953544 w 8243652"/>
              <a:gd name="connsiteY680" fmla="*/ 1205606 h 6857106"/>
              <a:gd name="connsiteX681" fmla="*/ 6955872 w 8243652"/>
              <a:gd name="connsiteY681" fmla="*/ 1240531 h 6857106"/>
              <a:gd name="connsiteX682" fmla="*/ 6960530 w 8243652"/>
              <a:gd name="connsiteY682" fmla="*/ 1231006 h 6857106"/>
              <a:gd name="connsiteX683" fmla="*/ 6965188 w 8243652"/>
              <a:gd name="connsiteY683" fmla="*/ 1653281 h 6857106"/>
              <a:gd name="connsiteX684" fmla="*/ 6976831 w 8243652"/>
              <a:gd name="connsiteY684" fmla="*/ 1586606 h 6857106"/>
              <a:gd name="connsiteX685" fmla="*/ 6986146 w 8243652"/>
              <a:gd name="connsiteY685" fmla="*/ 1540569 h 6857106"/>
              <a:gd name="connsiteX686" fmla="*/ 6997790 w 8243652"/>
              <a:gd name="connsiteY686" fmla="*/ 1510406 h 6857106"/>
              <a:gd name="connsiteX687" fmla="*/ 7004776 w 8243652"/>
              <a:gd name="connsiteY687" fmla="*/ 1496119 h 6857106"/>
              <a:gd name="connsiteX688" fmla="*/ 7009433 w 8243652"/>
              <a:gd name="connsiteY688" fmla="*/ 1496119 h 6857106"/>
              <a:gd name="connsiteX689" fmla="*/ 7009433 w 8243652"/>
              <a:gd name="connsiteY689" fmla="*/ 1499294 h 6857106"/>
              <a:gd name="connsiteX690" fmla="*/ 7009433 w 8243652"/>
              <a:gd name="connsiteY690" fmla="*/ 1521519 h 6857106"/>
              <a:gd name="connsiteX691" fmla="*/ 7014090 w 8243652"/>
              <a:gd name="connsiteY691" fmla="*/ 1583431 h 6857106"/>
              <a:gd name="connsiteX692" fmla="*/ 7021076 w 8243652"/>
              <a:gd name="connsiteY692" fmla="*/ 1613594 h 6857106"/>
              <a:gd name="connsiteX693" fmla="*/ 7025734 w 8243652"/>
              <a:gd name="connsiteY693" fmla="*/ 1612006 h 6857106"/>
              <a:gd name="connsiteX694" fmla="*/ 7028062 w 8243652"/>
              <a:gd name="connsiteY694" fmla="*/ 1597719 h 6857106"/>
              <a:gd name="connsiteX695" fmla="*/ 7037378 w 8243652"/>
              <a:gd name="connsiteY695" fmla="*/ 1523106 h 6857106"/>
              <a:gd name="connsiteX696" fmla="*/ 7044364 w 8243652"/>
              <a:gd name="connsiteY696" fmla="*/ 1623119 h 6857106"/>
              <a:gd name="connsiteX697" fmla="*/ 7058336 w 8243652"/>
              <a:gd name="connsiteY697" fmla="*/ 1673919 h 6857106"/>
              <a:gd name="connsiteX698" fmla="*/ 7060664 w 8243652"/>
              <a:gd name="connsiteY698" fmla="*/ 1685031 h 6857106"/>
              <a:gd name="connsiteX699" fmla="*/ 7065322 w 8243652"/>
              <a:gd name="connsiteY699" fmla="*/ 1688206 h 6857106"/>
              <a:gd name="connsiteX700" fmla="*/ 7069980 w 8243652"/>
              <a:gd name="connsiteY700" fmla="*/ 1685031 h 6857106"/>
              <a:gd name="connsiteX701" fmla="*/ 7072308 w 8243652"/>
              <a:gd name="connsiteY701" fmla="*/ 1673919 h 6857106"/>
              <a:gd name="connsiteX702" fmla="*/ 7086280 w 8243652"/>
              <a:gd name="connsiteY702" fmla="*/ 1632644 h 6857106"/>
              <a:gd name="connsiteX703" fmla="*/ 7093266 w 8243652"/>
              <a:gd name="connsiteY703" fmla="*/ 1575494 h 6857106"/>
              <a:gd name="connsiteX704" fmla="*/ 7114225 w 8243652"/>
              <a:gd name="connsiteY704" fmla="*/ 1435794 h 6857106"/>
              <a:gd name="connsiteX705" fmla="*/ 7137512 w 8243652"/>
              <a:gd name="connsiteY705" fmla="*/ 1307206 h 6857106"/>
              <a:gd name="connsiteX706" fmla="*/ 7146827 w 8243652"/>
              <a:gd name="connsiteY706" fmla="*/ 1262756 h 6857106"/>
              <a:gd name="connsiteX707" fmla="*/ 7149156 w 8243652"/>
              <a:gd name="connsiteY707" fmla="*/ 1250056 h 6857106"/>
              <a:gd name="connsiteX708" fmla="*/ 7158470 w 8243652"/>
              <a:gd name="connsiteY708" fmla="*/ 1240531 h 6857106"/>
              <a:gd name="connsiteX709" fmla="*/ 7160800 w 8243652"/>
              <a:gd name="connsiteY709" fmla="*/ 1240531 h 6857106"/>
              <a:gd name="connsiteX710" fmla="*/ 7165457 w 8243652"/>
              <a:gd name="connsiteY710" fmla="*/ 1251644 h 6857106"/>
              <a:gd name="connsiteX711" fmla="*/ 7177100 w 8243652"/>
              <a:gd name="connsiteY711" fmla="*/ 1296094 h 6857106"/>
              <a:gd name="connsiteX712" fmla="*/ 7186416 w 8243652"/>
              <a:gd name="connsiteY712" fmla="*/ 1386581 h 6857106"/>
              <a:gd name="connsiteX713" fmla="*/ 7198059 w 8243652"/>
              <a:gd name="connsiteY713" fmla="*/ 1526281 h 6857106"/>
              <a:gd name="connsiteX714" fmla="*/ 7191072 w 8243652"/>
              <a:gd name="connsiteY714" fmla="*/ 1469131 h 6857106"/>
              <a:gd name="connsiteX715" fmla="*/ 7186416 w 8243652"/>
              <a:gd name="connsiteY715" fmla="*/ 1451669 h 6857106"/>
              <a:gd name="connsiteX716" fmla="*/ 7186416 w 8243652"/>
              <a:gd name="connsiteY716" fmla="*/ 1446906 h 6857106"/>
              <a:gd name="connsiteX717" fmla="*/ 7181758 w 8243652"/>
              <a:gd name="connsiteY717" fmla="*/ 1450081 h 6857106"/>
              <a:gd name="connsiteX718" fmla="*/ 7177100 w 8243652"/>
              <a:gd name="connsiteY718" fmla="*/ 1465956 h 6857106"/>
              <a:gd name="connsiteX719" fmla="*/ 7174772 w 8243652"/>
              <a:gd name="connsiteY719" fmla="*/ 1545331 h 6857106"/>
              <a:gd name="connsiteX720" fmla="*/ 7177100 w 8243652"/>
              <a:gd name="connsiteY720" fmla="*/ 1542156 h 6857106"/>
              <a:gd name="connsiteX721" fmla="*/ 7181758 w 8243652"/>
              <a:gd name="connsiteY721" fmla="*/ 1545331 h 6857106"/>
              <a:gd name="connsiteX722" fmla="*/ 7191072 w 8243652"/>
              <a:gd name="connsiteY722" fmla="*/ 1559619 h 6857106"/>
              <a:gd name="connsiteX723" fmla="*/ 7202716 w 8243652"/>
              <a:gd name="connsiteY723" fmla="*/ 1581844 h 6857106"/>
              <a:gd name="connsiteX724" fmla="*/ 7209702 w 8243652"/>
              <a:gd name="connsiteY724" fmla="*/ 1612006 h 6857106"/>
              <a:gd name="connsiteX725" fmla="*/ 7226004 w 8243652"/>
              <a:gd name="connsiteY725" fmla="*/ 1688206 h 6857106"/>
              <a:gd name="connsiteX726" fmla="*/ 7237647 w 8243652"/>
              <a:gd name="connsiteY726" fmla="*/ 1773931 h 6857106"/>
              <a:gd name="connsiteX727" fmla="*/ 7253948 w 8243652"/>
              <a:gd name="connsiteY727" fmla="*/ 1842194 h 6857106"/>
              <a:gd name="connsiteX728" fmla="*/ 7263263 w 8243652"/>
              <a:gd name="connsiteY728" fmla="*/ 1866006 h 6857106"/>
              <a:gd name="connsiteX729" fmla="*/ 7270249 w 8243652"/>
              <a:gd name="connsiteY729" fmla="*/ 1880294 h 6857106"/>
              <a:gd name="connsiteX730" fmla="*/ 7274906 w 8243652"/>
              <a:gd name="connsiteY730" fmla="*/ 1880294 h 6857106"/>
              <a:gd name="connsiteX731" fmla="*/ 7281892 w 8243652"/>
              <a:gd name="connsiteY731" fmla="*/ 1866006 h 6857106"/>
              <a:gd name="connsiteX732" fmla="*/ 7286550 w 8243652"/>
              <a:gd name="connsiteY732" fmla="*/ 1835844 h 6857106"/>
              <a:gd name="connsiteX733" fmla="*/ 7291208 w 8243652"/>
              <a:gd name="connsiteY733" fmla="*/ 1786631 h 6857106"/>
              <a:gd name="connsiteX734" fmla="*/ 7291208 w 8243652"/>
              <a:gd name="connsiteY734" fmla="*/ 1391344 h 6857106"/>
              <a:gd name="connsiteX735" fmla="*/ 7314494 w 8243652"/>
              <a:gd name="connsiteY735" fmla="*/ 1269106 h 6857106"/>
              <a:gd name="connsiteX736" fmla="*/ 7335453 w 8243652"/>
              <a:gd name="connsiteY736" fmla="*/ 1175444 h 6857106"/>
              <a:gd name="connsiteX737" fmla="*/ 7347096 w 8243652"/>
              <a:gd name="connsiteY737" fmla="*/ 1142106 h 6857106"/>
              <a:gd name="connsiteX738" fmla="*/ 7354083 w 8243652"/>
              <a:gd name="connsiteY738" fmla="*/ 1119881 h 6857106"/>
              <a:gd name="connsiteX739" fmla="*/ 7358740 w 8243652"/>
              <a:gd name="connsiteY739" fmla="*/ 1111944 h 6857106"/>
              <a:gd name="connsiteX740" fmla="*/ 7363398 w 8243652"/>
              <a:gd name="connsiteY740" fmla="*/ 1110356 h 6857106"/>
              <a:gd name="connsiteX741" fmla="*/ 7370384 w 8243652"/>
              <a:gd name="connsiteY741" fmla="*/ 1110356 h 6857106"/>
              <a:gd name="connsiteX742" fmla="*/ 7375041 w 8243652"/>
              <a:gd name="connsiteY742" fmla="*/ 1111944 h 6857106"/>
              <a:gd name="connsiteX743" fmla="*/ 7375041 w 8243652"/>
              <a:gd name="connsiteY743" fmla="*/ 667444 h 6857106"/>
              <a:gd name="connsiteX744" fmla="*/ 7382028 w 8243652"/>
              <a:gd name="connsiteY744" fmla="*/ 688081 h 6857106"/>
              <a:gd name="connsiteX745" fmla="*/ 7386685 w 8243652"/>
              <a:gd name="connsiteY745" fmla="*/ 692844 h 6857106"/>
              <a:gd name="connsiteX746" fmla="*/ 7391342 w 8243652"/>
              <a:gd name="connsiteY746" fmla="*/ 692844 h 6857106"/>
              <a:gd name="connsiteX747" fmla="*/ 7402986 w 8243652"/>
              <a:gd name="connsiteY747" fmla="*/ 681731 h 6857106"/>
              <a:gd name="connsiteX748" fmla="*/ 7412300 w 8243652"/>
              <a:gd name="connsiteY748" fmla="*/ 662681 h 6857106"/>
              <a:gd name="connsiteX749" fmla="*/ 7430930 w 8243652"/>
              <a:gd name="connsiteY749" fmla="*/ 610294 h 6857106"/>
              <a:gd name="connsiteX750" fmla="*/ 7442574 w 8243652"/>
              <a:gd name="connsiteY750" fmla="*/ 586481 h 6857106"/>
              <a:gd name="connsiteX751" fmla="*/ 7456546 w 8243652"/>
              <a:gd name="connsiteY751" fmla="*/ 567431 h 6857106"/>
              <a:gd name="connsiteX752" fmla="*/ 7463532 w 8243652"/>
              <a:gd name="connsiteY752" fmla="*/ 553144 h 6857106"/>
              <a:gd name="connsiteX753" fmla="*/ 7468190 w 8243652"/>
              <a:gd name="connsiteY753" fmla="*/ 553144 h 6857106"/>
              <a:gd name="connsiteX754" fmla="*/ 7475176 w 8243652"/>
              <a:gd name="connsiteY754" fmla="*/ 556319 h 6857106"/>
              <a:gd name="connsiteX755" fmla="*/ 7479834 w 8243652"/>
              <a:gd name="connsiteY755" fmla="*/ 561081 h 6857106"/>
              <a:gd name="connsiteX756" fmla="*/ 7484491 w 8243652"/>
              <a:gd name="connsiteY756" fmla="*/ 572194 h 6857106"/>
              <a:gd name="connsiteX757" fmla="*/ 7491477 w 8243652"/>
              <a:gd name="connsiteY757" fmla="*/ 610294 h 6857106"/>
              <a:gd name="connsiteX758" fmla="*/ 7500792 w 8243652"/>
              <a:gd name="connsiteY758" fmla="*/ 670619 h 6857106"/>
              <a:gd name="connsiteX759" fmla="*/ 7507778 w 8243652"/>
              <a:gd name="connsiteY759" fmla="*/ 757931 h 6857106"/>
              <a:gd name="connsiteX760" fmla="*/ 7514764 w 8243652"/>
              <a:gd name="connsiteY760" fmla="*/ 876994 h 6857106"/>
              <a:gd name="connsiteX761" fmla="*/ 7519422 w 8243652"/>
              <a:gd name="connsiteY761" fmla="*/ 1029394 h 6857106"/>
              <a:gd name="connsiteX762" fmla="*/ 7524079 w 8243652"/>
              <a:gd name="connsiteY762" fmla="*/ 930969 h 6857106"/>
              <a:gd name="connsiteX763" fmla="*/ 7528736 w 8243652"/>
              <a:gd name="connsiteY763" fmla="*/ 907156 h 6857106"/>
              <a:gd name="connsiteX764" fmla="*/ 7531065 w 8243652"/>
              <a:gd name="connsiteY764" fmla="*/ 896044 h 6857106"/>
              <a:gd name="connsiteX765" fmla="*/ 7535722 w 8243652"/>
              <a:gd name="connsiteY765" fmla="*/ 892869 h 6857106"/>
              <a:gd name="connsiteX766" fmla="*/ 7545038 w 8243652"/>
              <a:gd name="connsiteY766" fmla="*/ 900806 h 6857106"/>
              <a:gd name="connsiteX767" fmla="*/ 7552024 w 8243652"/>
              <a:gd name="connsiteY767" fmla="*/ 934144 h 6857106"/>
              <a:gd name="connsiteX768" fmla="*/ 7563667 w 8243652"/>
              <a:gd name="connsiteY768" fmla="*/ 978594 h 6857106"/>
              <a:gd name="connsiteX769" fmla="*/ 7575310 w 8243652"/>
              <a:gd name="connsiteY769" fmla="*/ 1019869 h 6857106"/>
              <a:gd name="connsiteX770" fmla="*/ 7579968 w 8243652"/>
              <a:gd name="connsiteY770" fmla="*/ 1029394 h 6857106"/>
              <a:gd name="connsiteX771" fmla="*/ 7584626 w 8243652"/>
              <a:gd name="connsiteY771" fmla="*/ 1035744 h 6857106"/>
              <a:gd name="connsiteX772" fmla="*/ 7589283 w 8243652"/>
              <a:gd name="connsiteY772" fmla="*/ 1035744 h 6857106"/>
              <a:gd name="connsiteX773" fmla="*/ 7591612 w 8243652"/>
              <a:gd name="connsiteY773" fmla="*/ 1032569 h 6857106"/>
              <a:gd name="connsiteX774" fmla="*/ 7596269 w 8243652"/>
              <a:gd name="connsiteY774" fmla="*/ 1016694 h 6857106"/>
              <a:gd name="connsiteX775" fmla="*/ 7600926 w 8243652"/>
              <a:gd name="connsiteY775" fmla="*/ 1356419 h 6857106"/>
              <a:gd name="connsiteX776" fmla="*/ 7612570 w 8243652"/>
              <a:gd name="connsiteY776" fmla="*/ 1389756 h 6857106"/>
              <a:gd name="connsiteX777" fmla="*/ 7617228 w 8243652"/>
              <a:gd name="connsiteY777" fmla="*/ 1397694 h 6857106"/>
              <a:gd name="connsiteX778" fmla="*/ 7619556 w 8243652"/>
              <a:gd name="connsiteY778" fmla="*/ 1400869 h 6857106"/>
              <a:gd name="connsiteX779" fmla="*/ 7624214 w 8243652"/>
              <a:gd name="connsiteY779" fmla="*/ 1400869 h 6857106"/>
              <a:gd name="connsiteX780" fmla="*/ 7628871 w 8243652"/>
              <a:gd name="connsiteY780" fmla="*/ 1397694 h 6857106"/>
              <a:gd name="connsiteX781" fmla="*/ 7635858 w 8243652"/>
              <a:gd name="connsiteY781" fmla="*/ 1381819 h 6857106"/>
              <a:gd name="connsiteX782" fmla="*/ 7647501 w 8243652"/>
              <a:gd name="connsiteY782" fmla="*/ 1323081 h 6857106"/>
              <a:gd name="connsiteX783" fmla="*/ 7663802 w 8243652"/>
              <a:gd name="connsiteY783" fmla="*/ 1246881 h 6857106"/>
              <a:gd name="connsiteX784" fmla="*/ 7673117 w 8243652"/>
              <a:gd name="connsiteY784" fmla="*/ 1364356 h 6857106"/>
              <a:gd name="connsiteX785" fmla="*/ 7684760 w 8243652"/>
              <a:gd name="connsiteY785" fmla="*/ 1451669 h 6857106"/>
              <a:gd name="connsiteX786" fmla="*/ 7696404 w 8243652"/>
              <a:gd name="connsiteY786" fmla="*/ 1511994 h 6857106"/>
              <a:gd name="connsiteX787" fmla="*/ 7705719 w 8243652"/>
              <a:gd name="connsiteY787" fmla="*/ 1551681 h 6857106"/>
              <a:gd name="connsiteX788" fmla="*/ 7708048 w 8243652"/>
              <a:gd name="connsiteY788" fmla="*/ 1562794 h 6857106"/>
              <a:gd name="connsiteX789" fmla="*/ 7717362 w 8243652"/>
              <a:gd name="connsiteY789" fmla="*/ 1567556 h 6857106"/>
              <a:gd name="connsiteX790" fmla="*/ 7722020 w 8243652"/>
              <a:gd name="connsiteY790" fmla="*/ 1567556 h 6857106"/>
              <a:gd name="connsiteX791" fmla="*/ 7724348 w 8243652"/>
              <a:gd name="connsiteY791" fmla="*/ 1564381 h 6857106"/>
              <a:gd name="connsiteX792" fmla="*/ 7735992 w 8243652"/>
              <a:gd name="connsiteY792" fmla="*/ 1551681 h 6857106"/>
              <a:gd name="connsiteX793" fmla="*/ 7745307 w 8243652"/>
              <a:gd name="connsiteY793" fmla="*/ 1526281 h 6857106"/>
              <a:gd name="connsiteX794" fmla="*/ 7766266 w 8243652"/>
              <a:gd name="connsiteY794" fmla="*/ 1451669 h 6857106"/>
              <a:gd name="connsiteX795" fmla="*/ 7784895 w 8243652"/>
              <a:gd name="connsiteY795" fmla="*/ 1375469 h 6857106"/>
              <a:gd name="connsiteX796" fmla="*/ 7796538 w 8243652"/>
              <a:gd name="connsiteY796" fmla="*/ 1342131 h 6857106"/>
              <a:gd name="connsiteX797" fmla="*/ 7805854 w 8243652"/>
              <a:gd name="connsiteY797" fmla="*/ 1318319 h 6857106"/>
              <a:gd name="connsiteX798" fmla="*/ 7812840 w 8243652"/>
              <a:gd name="connsiteY798" fmla="*/ 1304031 h 6857106"/>
              <a:gd name="connsiteX799" fmla="*/ 7822154 w 8243652"/>
              <a:gd name="connsiteY799" fmla="*/ 1304031 h 6857106"/>
              <a:gd name="connsiteX800" fmla="*/ 7824484 w 8243652"/>
              <a:gd name="connsiteY800" fmla="*/ 1307206 h 6857106"/>
              <a:gd name="connsiteX801" fmla="*/ 7824484 w 8243652"/>
              <a:gd name="connsiteY801" fmla="*/ 1405631 h 6857106"/>
              <a:gd name="connsiteX802" fmla="*/ 7878044 w 8243652"/>
              <a:gd name="connsiteY802" fmla="*/ 1161156 h 6857106"/>
              <a:gd name="connsiteX803" fmla="*/ 7873386 w 8243652"/>
              <a:gd name="connsiteY803" fmla="*/ 1261169 h 6857106"/>
              <a:gd name="connsiteX804" fmla="*/ 7878044 w 8243652"/>
              <a:gd name="connsiteY804" fmla="*/ 1180206 h 6857106"/>
              <a:gd name="connsiteX805" fmla="*/ 7889688 w 8243652"/>
              <a:gd name="connsiteY805" fmla="*/ 1059556 h 6857106"/>
              <a:gd name="connsiteX806" fmla="*/ 7894344 w 8243652"/>
              <a:gd name="connsiteY806" fmla="*/ 1027806 h 6857106"/>
              <a:gd name="connsiteX807" fmla="*/ 7896674 w 8243652"/>
              <a:gd name="connsiteY807" fmla="*/ 1024631 h 6857106"/>
              <a:gd name="connsiteX808" fmla="*/ 7901331 w 8243652"/>
              <a:gd name="connsiteY808" fmla="*/ 1032569 h 6857106"/>
              <a:gd name="connsiteX809" fmla="*/ 7905988 w 8243652"/>
              <a:gd name="connsiteY809" fmla="*/ 983356 h 6857106"/>
              <a:gd name="connsiteX810" fmla="*/ 7912974 w 8243652"/>
              <a:gd name="connsiteY810" fmla="*/ 953194 h 6857106"/>
              <a:gd name="connsiteX811" fmla="*/ 7917632 w 8243652"/>
              <a:gd name="connsiteY811" fmla="*/ 948431 h 6857106"/>
              <a:gd name="connsiteX812" fmla="*/ 7922290 w 8243652"/>
              <a:gd name="connsiteY812" fmla="*/ 948431 h 6857106"/>
              <a:gd name="connsiteX813" fmla="*/ 7926946 w 8243652"/>
              <a:gd name="connsiteY813" fmla="*/ 950019 h 6857106"/>
              <a:gd name="connsiteX814" fmla="*/ 7929276 w 8243652"/>
              <a:gd name="connsiteY814" fmla="*/ 959544 h 6857106"/>
              <a:gd name="connsiteX815" fmla="*/ 7938590 w 8243652"/>
              <a:gd name="connsiteY815" fmla="*/ 989706 h 6857106"/>
              <a:gd name="connsiteX816" fmla="*/ 7945576 w 8243652"/>
              <a:gd name="connsiteY816" fmla="*/ 1038919 h 6857106"/>
              <a:gd name="connsiteX817" fmla="*/ 7961878 w 8243652"/>
              <a:gd name="connsiteY817" fmla="*/ 1175444 h 6857106"/>
              <a:gd name="connsiteX818" fmla="*/ 7994480 w 8243652"/>
              <a:gd name="connsiteY818" fmla="*/ 1194494 h 6857106"/>
              <a:gd name="connsiteX819" fmla="*/ 7985164 w 8243652"/>
              <a:gd name="connsiteY819" fmla="*/ 1281806 h 6857106"/>
              <a:gd name="connsiteX820" fmla="*/ 7982836 w 8243652"/>
              <a:gd name="connsiteY820" fmla="*/ 1375469 h 6857106"/>
              <a:gd name="connsiteX821" fmla="*/ 7982836 w 8243652"/>
              <a:gd name="connsiteY821" fmla="*/ 1472306 h 6857106"/>
              <a:gd name="connsiteX822" fmla="*/ 7982836 w 8243652"/>
              <a:gd name="connsiteY822" fmla="*/ 1575494 h 6857106"/>
              <a:gd name="connsiteX823" fmla="*/ 7994480 w 8243652"/>
              <a:gd name="connsiteY823" fmla="*/ 1805681 h 6857106"/>
              <a:gd name="connsiteX824" fmla="*/ 7999137 w 8243652"/>
              <a:gd name="connsiteY824" fmla="*/ 1937444 h 6857106"/>
              <a:gd name="connsiteX825" fmla="*/ 7999137 w 8243652"/>
              <a:gd name="connsiteY825" fmla="*/ 2080319 h 6857106"/>
              <a:gd name="connsiteX826" fmla="*/ 8022424 w 8243652"/>
              <a:gd name="connsiteY826" fmla="*/ 1764406 h 6857106"/>
              <a:gd name="connsiteX827" fmla="*/ 8022424 w 8243652"/>
              <a:gd name="connsiteY827" fmla="*/ 1894581 h 6857106"/>
              <a:gd name="connsiteX828" fmla="*/ 8017766 w 8243652"/>
              <a:gd name="connsiteY828" fmla="*/ 2000944 h 6857106"/>
              <a:gd name="connsiteX829" fmla="*/ 8017766 w 8243652"/>
              <a:gd name="connsiteY829" fmla="*/ 2085081 h 6857106"/>
              <a:gd name="connsiteX830" fmla="*/ 8017766 w 8243652"/>
              <a:gd name="connsiteY830" fmla="*/ 2124769 h 6857106"/>
              <a:gd name="connsiteX831" fmla="*/ 8022424 w 8243652"/>
              <a:gd name="connsiteY831" fmla="*/ 2156519 h 6857106"/>
              <a:gd name="connsiteX832" fmla="*/ 8029410 w 8243652"/>
              <a:gd name="connsiteY832" fmla="*/ 2088256 h 6857106"/>
              <a:gd name="connsiteX833" fmla="*/ 8038725 w 8243652"/>
              <a:gd name="connsiteY833" fmla="*/ 2031106 h 6857106"/>
              <a:gd name="connsiteX834" fmla="*/ 8059684 w 8243652"/>
              <a:gd name="connsiteY834" fmla="*/ 1926331 h 6857106"/>
              <a:gd name="connsiteX835" fmla="*/ 8066670 w 8243652"/>
              <a:gd name="connsiteY835" fmla="*/ 1866006 h 6857106"/>
              <a:gd name="connsiteX836" fmla="*/ 8073656 w 8243652"/>
              <a:gd name="connsiteY836" fmla="*/ 1789806 h 6857106"/>
              <a:gd name="connsiteX837" fmla="*/ 8082970 w 8243652"/>
              <a:gd name="connsiteY837" fmla="*/ 1685031 h 6857106"/>
              <a:gd name="connsiteX838" fmla="*/ 8089957 w 8243652"/>
              <a:gd name="connsiteY838" fmla="*/ 1551681 h 6857106"/>
              <a:gd name="connsiteX839" fmla="*/ 8087628 w 8243652"/>
              <a:gd name="connsiteY839" fmla="*/ 1408806 h 6857106"/>
              <a:gd name="connsiteX840" fmla="*/ 8078313 w 8243652"/>
              <a:gd name="connsiteY840" fmla="*/ 1281806 h 6857106"/>
              <a:gd name="connsiteX841" fmla="*/ 8073656 w 8243652"/>
              <a:gd name="connsiteY841" fmla="*/ 1296094 h 6857106"/>
              <a:gd name="connsiteX842" fmla="*/ 8078313 w 8243652"/>
              <a:gd name="connsiteY842" fmla="*/ 1273869 h 6857106"/>
              <a:gd name="connsiteX843" fmla="*/ 8073656 w 8243652"/>
              <a:gd name="connsiteY843" fmla="*/ 1251644 h 6857106"/>
              <a:gd name="connsiteX844" fmla="*/ 8078313 w 8243652"/>
              <a:gd name="connsiteY844" fmla="*/ 1265931 h 6857106"/>
              <a:gd name="connsiteX845" fmla="*/ 8082970 w 8243652"/>
              <a:gd name="connsiteY845" fmla="*/ 1110356 h 6857106"/>
              <a:gd name="connsiteX846" fmla="*/ 8089957 w 8243652"/>
              <a:gd name="connsiteY846" fmla="*/ 1130994 h 6857106"/>
              <a:gd name="connsiteX847" fmla="*/ 8094614 w 8243652"/>
              <a:gd name="connsiteY847" fmla="*/ 1134169 h 6857106"/>
              <a:gd name="connsiteX848" fmla="*/ 8094614 w 8243652"/>
              <a:gd name="connsiteY848" fmla="*/ 1130994 h 6857106"/>
              <a:gd name="connsiteX849" fmla="*/ 8099272 w 8243652"/>
              <a:gd name="connsiteY849" fmla="*/ 1115119 h 6857106"/>
              <a:gd name="connsiteX850" fmla="*/ 8099272 w 8243652"/>
              <a:gd name="connsiteY850" fmla="*/ 1084956 h 6857106"/>
              <a:gd name="connsiteX851" fmla="*/ 8099272 w 8243652"/>
              <a:gd name="connsiteY851" fmla="*/ 857944 h 6857106"/>
              <a:gd name="connsiteX852" fmla="*/ 8106258 w 8243652"/>
              <a:gd name="connsiteY852" fmla="*/ 1038919 h 6857106"/>
              <a:gd name="connsiteX853" fmla="*/ 8117902 w 8243652"/>
              <a:gd name="connsiteY853" fmla="*/ 1150044 h 6857106"/>
              <a:gd name="connsiteX854" fmla="*/ 8127216 w 8243652"/>
              <a:gd name="connsiteY854" fmla="*/ 1221481 h 6857106"/>
              <a:gd name="connsiteX855" fmla="*/ 8134202 w 8243652"/>
              <a:gd name="connsiteY855" fmla="*/ 1269106 h 6857106"/>
              <a:gd name="connsiteX856" fmla="*/ 8138860 w 8243652"/>
              <a:gd name="connsiteY856" fmla="*/ 1318319 h 6857106"/>
              <a:gd name="connsiteX857" fmla="*/ 8148174 w 8243652"/>
              <a:gd name="connsiteY857" fmla="*/ 1386581 h 6857106"/>
              <a:gd name="connsiteX858" fmla="*/ 8155161 w 8243652"/>
              <a:gd name="connsiteY858" fmla="*/ 1499294 h 6857106"/>
              <a:gd name="connsiteX859" fmla="*/ 8162147 w 8243652"/>
              <a:gd name="connsiteY859" fmla="*/ 1677094 h 6857106"/>
              <a:gd name="connsiteX860" fmla="*/ 8159818 w 8243652"/>
              <a:gd name="connsiteY860" fmla="*/ 1492944 h 6857106"/>
              <a:gd name="connsiteX861" fmla="*/ 8162147 w 8243652"/>
              <a:gd name="connsiteY861" fmla="*/ 1442144 h 6857106"/>
              <a:gd name="connsiteX862" fmla="*/ 8166804 w 8243652"/>
              <a:gd name="connsiteY862" fmla="*/ 1405631 h 6857106"/>
              <a:gd name="connsiteX863" fmla="*/ 8171462 w 8243652"/>
              <a:gd name="connsiteY863" fmla="*/ 1386581 h 6857106"/>
              <a:gd name="connsiteX864" fmla="*/ 8176120 w 8243652"/>
              <a:gd name="connsiteY864" fmla="*/ 1375469 h 6857106"/>
              <a:gd name="connsiteX865" fmla="*/ 8183106 w 8243652"/>
              <a:gd name="connsiteY865" fmla="*/ 1375469 h 6857106"/>
              <a:gd name="connsiteX866" fmla="*/ 8187763 w 8243652"/>
              <a:gd name="connsiteY866" fmla="*/ 1375469 h 6857106"/>
              <a:gd name="connsiteX867" fmla="*/ 8194749 w 8243652"/>
              <a:gd name="connsiteY867" fmla="*/ 1375469 h 6857106"/>
              <a:gd name="connsiteX868" fmla="*/ 8204064 w 8243652"/>
              <a:gd name="connsiteY868" fmla="*/ 1370706 h 6857106"/>
              <a:gd name="connsiteX869" fmla="*/ 8206392 w 8243652"/>
              <a:gd name="connsiteY869" fmla="*/ 1353244 h 6857106"/>
              <a:gd name="connsiteX870" fmla="*/ 8211050 w 8243652"/>
              <a:gd name="connsiteY870" fmla="*/ 1326256 h 6857106"/>
              <a:gd name="connsiteX871" fmla="*/ 8215708 w 8243652"/>
              <a:gd name="connsiteY871" fmla="*/ 1281806 h 6857106"/>
              <a:gd name="connsiteX872" fmla="*/ 8215708 w 8243652"/>
              <a:gd name="connsiteY872" fmla="*/ 1213544 h 6857106"/>
              <a:gd name="connsiteX873" fmla="*/ 8215708 w 8243652"/>
              <a:gd name="connsiteY873" fmla="*/ 999231 h 6857106"/>
              <a:gd name="connsiteX874" fmla="*/ 8227351 w 8243652"/>
              <a:gd name="connsiteY874" fmla="*/ 1273869 h 6857106"/>
              <a:gd name="connsiteX875" fmla="*/ 8232008 w 8243652"/>
              <a:gd name="connsiteY875" fmla="*/ 1310381 h 6857106"/>
              <a:gd name="connsiteX876" fmla="*/ 8232008 w 8243652"/>
              <a:gd name="connsiteY876" fmla="*/ 1311969 h 6857106"/>
              <a:gd name="connsiteX877" fmla="*/ 8236666 w 8243652"/>
              <a:gd name="connsiteY877" fmla="*/ 1311969 h 6857106"/>
              <a:gd name="connsiteX878" fmla="*/ 8236666 w 8243652"/>
              <a:gd name="connsiteY878" fmla="*/ 1337369 h 6857106"/>
              <a:gd name="connsiteX879" fmla="*/ 8243652 w 8243652"/>
              <a:gd name="connsiteY879" fmla="*/ 1559619 h 6857106"/>
              <a:gd name="connsiteX880" fmla="*/ 8238994 w 8243652"/>
              <a:gd name="connsiteY880" fmla="*/ 1537394 h 6857106"/>
              <a:gd name="connsiteX881" fmla="*/ 8236666 w 8243652"/>
              <a:gd name="connsiteY881" fmla="*/ 1532631 h 6857106"/>
              <a:gd name="connsiteX882" fmla="*/ 8232008 w 8243652"/>
              <a:gd name="connsiteY882" fmla="*/ 1529456 h 6857106"/>
              <a:gd name="connsiteX883" fmla="*/ 8227351 w 8243652"/>
              <a:gd name="connsiteY883" fmla="*/ 1532631 h 6857106"/>
              <a:gd name="connsiteX884" fmla="*/ 8227351 w 8243652"/>
              <a:gd name="connsiteY884" fmla="*/ 1537394 h 6857106"/>
              <a:gd name="connsiteX885" fmla="*/ 8220365 w 8243652"/>
              <a:gd name="connsiteY885" fmla="*/ 1556444 h 6857106"/>
              <a:gd name="connsiteX886" fmla="*/ 8211050 w 8243652"/>
              <a:gd name="connsiteY886" fmla="*/ 1627881 h 6857106"/>
              <a:gd name="connsiteX887" fmla="*/ 8199406 w 8243652"/>
              <a:gd name="connsiteY887" fmla="*/ 1732656 h 6857106"/>
              <a:gd name="connsiteX888" fmla="*/ 8176120 w 8243652"/>
              <a:gd name="connsiteY888" fmla="*/ 1989831 h 6857106"/>
              <a:gd name="connsiteX889" fmla="*/ 8159818 w 8243652"/>
              <a:gd name="connsiteY889" fmla="*/ 2231131 h 6857106"/>
              <a:gd name="connsiteX890" fmla="*/ 8183106 w 8243652"/>
              <a:gd name="connsiteY890" fmla="*/ 2604194 h 6857106"/>
              <a:gd name="connsiteX891" fmla="*/ 8176120 w 8243652"/>
              <a:gd name="connsiteY891" fmla="*/ 2796281 h 6857106"/>
              <a:gd name="connsiteX892" fmla="*/ 8171462 w 8243652"/>
              <a:gd name="connsiteY892" fmla="*/ 2842319 h 6857106"/>
              <a:gd name="connsiteX893" fmla="*/ 8166804 w 8243652"/>
              <a:gd name="connsiteY893" fmla="*/ 2864544 h 6857106"/>
              <a:gd name="connsiteX894" fmla="*/ 8162147 w 8243652"/>
              <a:gd name="connsiteY894" fmla="*/ 2867719 h 6857106"/>
              <a:gd name="connsiteX895" fmla="*/ 8162147 w 8243652"/>
              <a:gd name="connsiteY895" fmla="*/ 2864544 h 6857106"/>
              <a:gd name="connsiteX896" fmla="*/ 8155161 w 8243652"/>
              <a:gd name="connsiteY896" fmla="*/ 2842319 h 6857106"/>
              <a:gd name="connsiteX897" fmla="*/ 8148174 w 8243652"/>
              <a:gd name="connsiteY897" fmla="*/ 2769294 h 6857106"/>
              <a:gd name="connsiteX898" fmla="*/ 8127216 w 8243652"/>
              <a:gd name="connsiteY898" fmla="*/ 2581969 h 6857106"/>
              <a:gd name="connsiteX899" fmla="*/ 8122559 w 8243652"/>
              <a:gd name="connsiteY899" fmla="*/ 2554981 h 6857106"/>
              <a:gd name="connsiteX900" fmla="*/ 8117902 w 8243652"/>
              <a:gd name="connsiteY900" fmla="*/ 2543869 h 6857106"/>
              <a:gd name="connsiteX901" fmla="*/ 8115572 w 8243652"/>
              <a:gd name="connsiteY901" fmla="*/ 2548631 h 6857106"/>
              <a:gd name="connsiteX902" fmla="*/ 8110915 w 8243652"/>
              <a:gd name="connsiteY902" fmla="*/ 2581969 h 6857106"/>
              <a:gd name="connsiteX903" fmla="*/ 8115572 w 8243652"/>
              <a:gd name="connsiteY903" fmla="*/ 2535931 h 6857106"/>
              <a:gd name="connsiteX904" fmla="*/ 8122559 w 8243652"/>
              <a:gd name="connsiteY904" fmla="*/ 2516881 h 6857106"/>
              <a:gd name="connsiteX905" fmla="*/ 8122559 w 8243652"/>
              <a:gd name="connsiteY905" fmla="*/ 2513706 h 6857106"/>
              <a:gd name="connsiteX906" fmla="*/ 8127216 w 8243652"/>
              <a:gd name="connsiteY906" fmla="*/ 2516881 h 6857106"/>
              <a:gd name="connsiteX907" fmla="*/ 8131874 w 8243652"/>
              <a:gd name="connsiteY907" fmla="*/ 2532756 h 6857106"/>
              <a:gd name="connsiteX908" fmla="*/ 8138860 w 8243652"/>
              <a:gd name="connsiteY908" fmla="*/ 2607369 h 6857106"/>
              <a:gd name="connsiteX909" fmla="*/ 8143517 w 8243652"/>
              <a:gd name="connsiteY909" fmla="*/ 2713731 h 6857106"/>
              <a:gd name="connsiteX910" fmla="*/ 8138860 w 8243652"/>
              <a:gd name="connsiteY910" fmla="*/ 2197794 h 6857106"/>
              <a:gd name="connsiteX911" fmla="*/ 8131874 w 8243652"/>
              <a:gd name="connsiteY911" fmla="*/ 2166044 h 6857106"/>
              <a:gd name="connsiteX912" fmla="*/ 8127216 w 8243652"/>
              <a:gd name="connsiteY912" fmla="*/ 2145406 h 6857106"/>
              <a:gd name="connsiteX913" fmla="*/ 8117902 w 8243652"/>
              <a:gd name="connsiteY913" fmla="*/ 2140644 h 6857106"/>
              <a:gd name="connsiteX914" fmla="*/ 8115572 w 8243652"/>
              <a:gd name="connsiteY914" fmla="*/ 2140644 h 6857106"/>
              <a:gd name="connsiteX915" fmla="*/ 8115572 w 8243652"/>
              <a:gd name="connsiteY915" fmla="*/ 2145406 h 6857106"/>
              <a:gd name="connsiteX916" fmla="*/ 8106258 w 8243652"/>
              <a:gd name="connsiteY916" fmla="*/ 2159694 h 6857106"/>
              <a:gd name="connsiteX917" fmla="*/ 8103929 w 8243652"/>
              <a:gd name="connsiteY917" fmla="*/ 2185094 h 6857106"/>
              <a:gd name="connsiteX918" fmla="*/ 8089957 w 8243652"/>
              <a:gd name="connsiteY918" fmla="*/ 2256531 h 6857106"/>
              <a:gd name="connsiteX919" fmla="*/ 8071327 w 8243652"/>
              <a:gd name="connsiteY919" fmla="*/ 2456556 h 6857106"/>
              <a:gd name="connsiteX920" fmla="*/ 8050368 w 8243652"/>
              <a:gd name="connsiteY920" fmla="*/ 2672456 h 6857106"/>
              <a:gd name="connsiteX921" fmla="*/ 8059684 w 8243652"/>
              <a:gd name="connsiteY921" fmla="*/ 2739131 h 6857106"/>
              <a:gd name="connsiteX922" fmla="*/ 8059684 w 8243652"/>
              <a:gd name="connsiteY922" fmla="*/ 2804219 h 6857106"/>
              <a:gd name="connsiteX923" fmla="*/ 8045711 w 8243652"/>
              <a:gd name="connsiteY923" fmla="*/ 2947094 h 6857106"/>
              <a:gd name="connsiteX924" fmla="*/ 8043382 w 8243652"/>
              <a:gd name="connsiteY924" fmla="*/ 3031231 h 6857106"/>
              <a:gd name="connsiteX925" fmla="*/ 8038725 w 8243652"/>
              <a:gd name="connsiteY925" fmla="*/ 3131244 h 6857106"/>
              <a:gd name="connsiteX926" fmla="*/ 8038725 w 8243652"/>
              <a:gd name="connsiteY926" fmla="*/ 3242369 h 6857106"/>
              <a:gd name="connsiteX927" fmla="*/ 8038725 w 8243652"/>
              <a:gd name="connsiteY927" fmla="*/ 3377306 h 6857106"/>
              <a:gd name="connsiteX928" fmla="*/ 8059684 w 8243652"/>
              <a:gd name="connsiteY928" fmla="*/ 3309044 h 6857106"/>
              <a:gd name="connsiteX929" fmla="*/ 8062012 w 8243652"/>
              <a:gd name="connsiteY929" fmla="*/ 3448744 h 6857106"/>
              <a:gd name="connsiteX930" fmla="*/ 8055026 w 8243652"/>
              <a:gd name="connsiteY930" fmla="*/ 3577331 h 6857106"/>
              <a:gd name="connsiteX931" fmla="*/ 8038725 w 8243652"/>
              <a:gd name="connsiteY931" fmla="*/ 3821806 h 6857106"/>
              <a:gd name="connsiteX932" fmla="*/ 8027082 w 8243652"/>
              <a:gd name="connsiteY932" fmla="*/ 3755131 h 6857106"/>
              <a:gd name="connsiteX933" fmla="*/ 8015438 w 8243652"/>
              <a:gd name="connsiteY933" fmla="*/ 3705919 h 6857106"/>
              <a:gd name="connsiteX934" fmla="*/ 8001466 w 8243652"/>
              <a:gd name="connsiteY934" fmla="*/ 3667819 h 6857106"/>
              <a:gd name="connsiteX935" fmla="*/ 7989822 w 8243652"/>
              <a:gd name="connsiteY935" fmla="*/ 3644006 h 6857106"/>
              <a:gd name="connsiteX936" fmla="*/ 7973521 w 8243652"/>
              <a:gd name="connsiteY936" fmla="*/ 3624956 h 6857106"/>
              <a:gd name="connsiteX937" fmla="*/ 7961878 w 8243652"/>
              <a:gd name="connsiteY937" fmla="*/ 3613844 h 6857106"/>
              <a:gd name="connsiteX938" fmla="*/ 7945576 w 8243652"/>
              <a:gd name="connsiteY938" fmla="*/ 3604319 h 6857106"/>
              <a:gd name="connsiteX939" fmla="*/ 7933933 w 8243652"/>
              <a:gd name="connsiteY939" fmla="*/ 3596381 h 6857106"/>
              <a:gd name="connsiteX940" fmla="*/ 7917632 w 8243652"/>
              <a:gd name="connsiteY940" fmla="*/ 3591619 h 6857106"/>
              <a:gd name="connsiteX941" fmla="*/ 7905988 w 8243652"/>
              <a:gd name="connsiteY941" fmla="*/ 3580506 h 6857106"/>
              <a:gd name="connsiteX942" fmla="*/ 7894344 w 8243652"/>
              <a:gd name="connsiteY942" fmla="*/ 3566219 h 6857106"/>
              <a:gd name="connsiteX943" fmla="*/ 7882701 w 8243652"/>
              <a:gd name="connsiteY943" fmla="*/ 3547169 h 6857106"/>
              <a:gd name="connsiteX944" fmla="*/ 7873386 w 8243652"/>
              <a:gd name="connsiteY944" fmla="*/ 3517006 h 6857106"/>
              <a:gd name="connsiteX945" fmla="*/ 7866400 w 8243652"/>
              <a:gd name="connsiteY945" fmla="*/ 3475731 h 6857106"/>
              <a:gd name="connsiteX946" fmla="*/ 7857086 w 8243652"/>
              <a:gd name="connsiteY946" fmla="*/ 3418581 h 6857106"/>
              <a:gd name="connsiteX947" fmla="*/ 7852428 w 8243652"/>
              <a:gd name="connsiteY947" fmla="*/ 3350319 h 6857106"/>
              <a:gd name="connsiteX948" fmla="*/ 7857086 w 8243652"/>
              <a:gd name="connsiteY948" fmla="*/ 3388419 h 6857106"/>
              <a:gd name="connsiteX949" fmla="*/ 7866400 w 8243652"/>
              <a:gd name="connsiteY949" fmla="*/ 3407469 h 6857106"/>
              <a:gd name="connsiteX950" fmla="*/ 7868729 w 8243652"/>
              <a:gd name="connsiteY950" fmla="*/ 3407469 h 6857106"/>
              <a:gd name="connsiteX951" fmla="*/ 7878044 w 8243652"/>
              <a:gd name="connsiteY951" fmla="*/ 3388419 h 6857106"/>
              <a:gd name="connsiteX952" fmla="*/ 7889688 w 8243652"/>
              <a:gd name="connsiteY952" fmla="*/ 3316981 h 6857106"/>
              <a:gd name="connsiteX953" fmla="*/ 7896674 w 8243652"/>
              <a:gd name="connsiteY953" fmla="*/ 3210619 h 6857106"/>
              <a:gd name="connsiteX954" fmla="*/ 7868729 w 8243652"/>
              <a:gd name="connsiteY954" fmla="*/ 2985194 h 6857106"/>
              <a:gd name="connsiteX955" fmla="*/ 7873386 w 8243652"/>
              <a:gd name="connsiteY955" fmla="*/ 2985194 h 6857106"/>
              <a:gd name="connsiteX956" fmla="*/ 7873386 w 8243652"/>
              <a:gd name="connsiteY956" fmla="*/ 2988369 h 6857106"/>
              <a:gd name="connsiteX957" fmla="*/ 7878044 w 8243652"/>
              <a:gd name="connsiteY957" fmla="*/ 3001069 h 6857106"/>
              <a:gd name="connsiteX958" fmla="*/ 7885030 w 8243652"/>
              <a:gd name="connsiteY958" fmla="*/ 3048694 h 6857106"/>
              <a:gd name="connsiteX959" fmla="*/ 7901331 w 8243652"/>
              <a:gd name="connsiteY959" fmla="*/ 3188394 h 6857106"/>
              <a:gd name="connsiteX960" fmla="*/ 7910646 w 8243652"/>
              <a:gd name="connsiteY960" fmla="*/ 3251894 h 6857106"/>
              <a:gd name="connsiteX961" fmla="*/ 7922290 w 8243652"/>
              <a:gd name="connsiteY961" fmla="*/ 3294756 h 6857106"/>
              <a:gd name="connsiteX962" fmla="*/ 7926946 w 8243652"/>
              <a:gd name="connsiteY962" fmla="*/ 3305869 h 6857106"/>
              <a:gd name="connsiteX963" fmla="*/ 7929276 w 8243652"/>
              <a:gd name="connsiteY963" fmla="*/ 3305869 h 6857106"/>
              <a:gd name="connsiteX964" fmla="*/ 7938590 w 8243652"/>
              <a:gd name="connsiteY964" fmla="*/ 3291581 h 6857106"/>
              <a:gd name="connsiteX965" fmla="*/ 7940919 w 8243652"/>
              <a:gd name="connsiteY965" fmla="*/ 3267769 h 6857106"/>
              <a:gd name="connsiteX966" fmla="*/ 7940919 w 8243652"/>
              <a:gd name="connsiteY966" fmla="*/ 2989956 h 6857106"/>
              <a:gd name="connsiteX967" fmla="*/ 7945576 w 8243652"/>
              <a:gd name="connsiteY967" fmla="*/ 2678806 h 6857106"/>
              <a:gd name="connsiteX968" fmla="*/ 7945576 w 8243652"/>
              <a:gd name="connsiteY968" fmla="*/ 2337494 h 6857106"/>
              <a:gd name="connsiteX969" fmla="*/ 7940919 w 8243652"/>
              <a:gd name="connsiteY969" fmla="*/ 2166044 h 6857106"/>
              <a:gd name="connsiteX970" fmla="*/ 7938590 w 8243652"/>
              <a:gd name="connsiteY970" fmla="*/ 1986656 h 6857106"/>
              <a:gd name="connsiteX971" fmla="*/ 7926946 w 8243652"/>
              <a:gd name="connsiteY971" fmla="*/ 1910456 h 6857106"/>
              <a:gd name="connsiteX972" fmla="*/ 7912974 w 8243652"/>
              <a:gd name="connsiteY972" fmla="*/ 1872356 h 6857106"/>
              <a:gd name="connsiteX973" fmla="*/ 7910646 w 8243652"/>
              <a:gd name="connsiteY973" fmla="*/ 1866006 h 6857106"/>
              <a:gd name="connsiteX974" fmla="*/ 7905988 w 8243652"/>
              <a:gd name="connsiteY974" fmla="*/ 1872356 h 6857106"/>
              <a:gd name="connsiteX975" fmla="*/ 7901331 w 8243652"/>
              <a:gd name="connsiteY975" fmla="*/ 1899344 h 6857106"/>
              <a:gd name="connsiteX976" fmla="*/ 7894344 w 8243652"/>
              <a:gd name="connsiteY976" fmla="*/ 1954906 h 6857106"/>
              <a:gd name="connsiteX977" fmla="*/ 7889688 w 8243652"/>
              <a:gd name="connsiteY977" fmla="*/ 2027931 h 6857106"/>
              <a:gd name="connsiteX978" fmla="*/ 7878044 w 8243652"/>
              <a:gd name="connsiteY978" fmla="*/ 2215256 h 6857106"/>
              <a:gd name="connsiteX979" fmla="*/ 7866400 w 8243652"/>
              <a:gd name="connsiteY979" fmla="*/ 2423219 h 6857106"/>
              <a:gd name="connsiteX980" fmla="*/ 7852428 w 8243652"/>
              <a:gd name="connsiteY980" fmla="*/ 2607369 h 6857106"/>
              <a:gd name="connsiteX981" fmla="*/ 7845442 w 8243652"/>
              <a:gd name="connsiteY981" fmla="*/ 2678806 h 6857106"/>
              <a:gd name="connsiteX982" fmla="*/ 7833798 w 8243652"/>
              <a:gd name="connsiteY982" fmla="*/ 2729606 h 6857106"/>
              <a:gd name="connsiteX983" fmla="*/ 7829140 w 8243652"/>
              <a:gd name="connsiteY983" fmla="*/ 2747069 h 6857106"/>
              <a:gd name="connsiteX984" fmla="*/ 7822154 w 8243652"/>
              <a:gd name="connsiteY984" fmla="*/ 2755006 h 6857106"/>
              <a:gd name="connsiteX985" fmla="*/ 7817497 w 8243652"/>
              <a:gd name="connsiteY985" fmla="*/ 2755006 h 6857106"/>
              <a:gd name="connsiteX986" fmla="*/ 7810511 w 8243652"/>
              <a:gd name="connsiteY986" fmla="*/ 2747069 h 6857106"/>
              <a:gd name="connsiteX987" fmla="*/ 7810511 w 8243652"/>
              <a:gd name="connsiteY987" fmla="*/ 2708969 h 6857106"/>
              <a:gd name="connsiteX988" fmla="*/ 7810511 w 8243652"/>
              <a:gd name="connsiteY988" fmla="*/ 2529581 h 6857106"/>
              <a:gd name="connsiteX989" fmla="*/ 7810511 w 8243652"/>
              <a:gd name="connsiteY989" fmla="*/ 2439094 h 6857106"/>
              <a:gd name="connsiteX990" fmla="*/ 7805854 w 8243652"/>
              <a:gd name="connsiteY990" fmla="*/ 2367656 h 6857106"/>
              <a:gd name="connsiteX991" fmla="*/ 7801196 w 8243652"/>
              <a:gd name="connsiteY991" fmla="*/ 2348606 h 6857106"/>
              <a:gd name="connsiteX992" fmla="*/ 7796538 w 8243652"/>
              <a:gd name="connsiteY992" fmla="*/ 2340669 h 6857106"/>
              <a:gd name="connsiteX993" fmla="*/ 7794210 w 8243652"/>
              <a:gd name="connsiteY993" fmla="*/ 2343844 h 6857106"/>
              <a:gd name="connsiteX994" fmla="*/ 7794210 w 8243652"/>
              <a:gd name="connsiteY994" fmla="*/ 2348606 h 6857106"/>
              <a:gd name="connsiteX995" fmla="*/ 7784895 w 8243652"/>
              <a:gd name="connsiteY995" fmla="*/ 2374006 h 6857106"/>
              <a:gd name="connsiteX996" fmla="*/ 7766266 w 8243652"/>
              <a:gd name="connsiteY996" fmla="*/ 2521644 h 6857106"/>
              <a:gd name="connsiteX997" fmla="*/ 7749964 w 8243652"/>
              <a:gd name="connsiteY997" fmla="*/ 2705794 h 6857106"/>
              <a:gd name="connsiteX998" fmla="*/ 7735992 w 8243652"/>
              <a:gd name="connsiteY998" fmla="*/ 2916931 h 6857106"/>
              <a:gd name="connsiteX999" fmla="*/ 7722020 w 8243652"/>
              <a:gd name="connsiteY999" fmla="*/ 3151881 h 6857106"/>
              <a:gd name="connsiteX1000" fmla="*/ 7712705 w 8243652"/>
              <a:gd name="connsiteY1000" fmla="*/ 3410644 h 6857106"/>
              <a:gd name="connsiteX1001" fmla="*/ 7705719 w 8243652"/>
              <a:gd name="connsiteY1001" fmla="*/ 3675756 h 6857106"/>
              <a:gd name="connsiteX1002" fmla="*/ 7701062 w 8243652"/>
              <a:gd name="connsiteY1002" fmla="*/ 3953569 h 6857106"/>
              <a:gd name="connsiteX1003" fmla="*/ 7696404 w 8243652"/>
              <a:gd name="connsiteY1003" fmla="*/ 4232969 h 6857106"/>
              <a:gd name="connsiteX1004" fmla="*/ 7717362 w 8243652"/>
              <a:gd name="connsiteY1004" fmla="*/ 4047231 h 6857106"/>
              <a:gd name="connsiteX1005" fmla="*/ 7729006 w 8243652"/>
              <a:gd name="connsiteY1005" fmla="*/ 3958331 h 6857106"/>
              <a:gd name="connsiteX1006" fmla="*/ 7735992 w 8243652"/>
              <a:gd name="connsiteY1006" fmla="*/ 3893244 h 6857106"/>
              <a:gd name="connsiteX1007" fmla="*/ 7745307 w 8243652"/>
              <a:gd name="connsiteY1007" fmla="*/ 3871019 h 6857106"/>
              <a:gd name="connsiteX1008" fmla="*/ 7749964 w 8243652"/>
              <a:gd name="connsiteY1008" fmla="*/ 3859906 h 6857106"/>
              <a:gd name="connsiteX1009" fmla="*/ 7752293 w 8243652"/>
              <a:gd name="connsiteY1009" fmla="*/ 3863081 h 6857106"/>
              <a:gd name="connsiteX1010" fmla="*/ 7756950 w 8243652"/>
              <a:gd name="connsiteY1010" fmla="*/ 3878956 h 6857106"/>
              <a:gd name="connsiteX1011" fmla="*/ 7766266 w 8243652"/>
              <a:gd name="connsiteY1011" fmla="*/ 3958331 h 6857106"/>
              <a:gd name="connsiteX1012" fmla="*/ 7768594 w 8243652"/>
              <a:gd name="connsiteY1012" fmla="*/ 4117081 h 6857106"/>
              <a:gd name="connsiteX1013" fmla="*/ 7749964 w 8243652"/>
              <a:gd name="connsiteY1013" fmla="*/ 4267894 h 6857106"/>
              <a:gd name="connsiteX1014" fmla="*/ 7729006 w 8243652"/>
              <a:gd name="connsiteY1014" fmla="*/ 4417119 h 6857106"/>
              <a:gd name="connsiteX1015" fmla="*/ 7722020 w 8243652"/>
              <a:gd name="connsiteY1015" fmla="*/ 4499669 h 6857106"/>
              <a:gd name="connsiteX1016" fmla="*/ 7717362 w 8243652"/>
              <a:gd name="connsiteY1016" fmla="*/ 4590156 h 6857106"/>
              <a:gd name="connsiteX1017" fmla="*/ 7708048 w 8243652"/>
              <a:gd name="connsiteY1017" fmla="*/ 4693344 h 6857106"/>
              <a:gd name="connsiteX1018" fmla="*/ 7708048 w 8243652"/>
              <a:gd name="connsiteY1018" fmla="*/ 4813994 h 6857106"/>
              <a:gd name="connsiteX1019" fmla="*/ 7705719 w 8243652"/>
              <a:gd name="connsiteY1019" fmla="*/ 4628256 h 6857106"/>
              <a:gd name="connsiteX1020" fmla="*/ 7705719 w 8243652"/>
              <a:gd name="connsiteY1020" fmla="*/ 4515544 h 6857106"/>
              <a:gd name="connsiteX1021" fmla="*/ 7708048 w 8243652"/>
              <a:gd name="connsiteY1021" fmla="*/ 4455219 h 6857106"/>
              <a:gd name="connsiteX1022" fmla="*/ 7717362 w 8243652"/>
              <a:gd name="connsiteY1022" fmla="*/ 4425056 h 6857106"/>
              <a:gd name="connsiteX1023" fmla="*/ 7722020 w 8243652"/>
              <a:gd name="connsiteY1023" fmla="*/ 4398069 h 6857106"/>
              <a:gd name="connsiteX1024" fmla="*/ 7724348 w 8243652"/>
              <a:gd name="connsiteY1024" fmla="*/ 4353619 h 6857106"/>
              <a:gd name="connsiteX1025" fmla="*/ 7724348 w 8243652"/>
              <a:gd name="connsiteY1025" fmla="*/ 4266306 h 6857106"/>
              <a:gd name="connsiteX1026" fmla="*/ 7722020 w 8243652"/>
              <a:gd name="connsiteY1026" fmla="*/ 4112319 h 6857106"/>
              <a:gd name="connsiteX1027" fmla="*/ 7712705 w 8243652"/>
              <a:gd name="connsiteY1027" fmla="*/ 4126606 h 6857106"/>
              <a:gd name="connsiteX1028" fmla="*/ 7708048 w 8243652"/>
              <a:gd name="connsiteY1028" fmla="*/ 4153594 h 6857106"/>
              <a:gd name="connsiteX1029" fmla="*/ 7701062 w 8243652"/>
              <a:gd name="connsiteY1029" fmla="*/ 4240906 h 6857106"/>
              <a:gd name="connsiteX1030" fmla="*/ 7691746 w 8243652"/>
              <a:gd name="connsiteY1030" fmla="*/ 4436169 h 6857106"/>
              <a:gd name="connsiteX1031" fmla="*/ 7691746 w 8243652"/>
              <a:gd name="connsiteY1031" fmla="*/ 4342506 h 6857106"/>
              <a:gd name="connsiteX1032" fmla="*/ 7691746 w 8243652"/>
              <a:gd name="connsiteY1032" fmla="*/ 4258369 h 6857106"/>
              <a:gd name="connsiteX1033" fmla="*/ 7689418 w 8243652"/>
              <a:gd name="connsiteY1033" fmla="*/ 4104381 h 6857106"/>
              <a:gd name="connsiteX1034" fmla="*/ 7680103 w 8243652"/>
              <a:gd name="connsiteY1034" fmla="*/ 3972619 h 6857106"/>
              <a:gd name="connsiteX1035" fmla="*/ 7673117 w 8243652"/>
              <a:gd name="connsiteY1035" fmla="*/ 3856731 h 6857106"/>
              <a:gd name="connsiteX1036" fmla="*/ 7663802 w 8243652"/>
              <a:gd name="connsiteY1036" fmla="*/ 3855144 h 6857106"/>
              <a:gd name="connsiteX1037" fmla="*/ 7656816 w 8243652"/>
              <a:gd name="connsiteY1037" fmla="*/ 3845619 h 6857106"/>
              <a:gd name="connsiteX1038" fmla="*/ 7640514 w 8243652"/>
              <a:gd name="connsiteY1038" fmla="*/ 3813869 h 6857106"/>
              <a:gd name="connsiteX1039" fmla="*/ 7624214 w 8243652"/>
              <a:gd name="connsiteY1039" fmla="*/ 3766244 h 6857106"/>
              <a:gd name="connsiteX1040" fmla="*/ 7612570 w 8243652"/>
              <a:gd name="connsiteY1040" fmla="*/ 3712269 h 6857106"/>
              <a:gd name="connsiteX1041" fmla="*/ 7579968 w 8243652"/>
              <a:gd name="connsiteY1041" fmla="*/ 3602731 h 6857106"/>
              <a:gd name="connsiteX1042" fmla="*/ 7563667 w 8243652"/>
              <a:gd name="connsiteY1042" fmla="*/ 3558281 h 6857106"/>
              <a:gd name="connsiteX1043" fmla="*/ 7556681 w 8243652"/>
              <a:gd name="connsiteY1043" fmla="*/ 3539231 h 6857106"/>
              <a:gd name="connsiteX1044" fmla="*/ 7545038 w 8243652"/>
              <a:gd name="connsiteY1044" fmla="*/ 3528119 h 6857106"/>
              <a:gd name="connsiteX1045" fmla="*/ 7540380 w 8243652"/>
              <a:gd name="connsiteY1045" fmla="*/ 3331269 h 6857106"/>
              <a:gd name="connsiteX1046" fmla="*/ 7540380 w 8243652"/>
              <a:gd name="connsiteY1046" fmla="*/ 3086794 h 6857106"/>
              <a:gd name="connsiteX1047" fmla="*/ 7528736 w 8243652"/>
              <a:gd name="connsiteY1047" fmla="*/ 3185219 h 6857106"/>
              <a:gd name="connsiteX1048" fmla="*/ 7519422 w 8243652"/>
              <a:gd name="connsiteY1048" fmla="*/ 3336031 h 6857106"/>
              <a:gd name="connsiteX1049" fmla="*/ 7500792 w 8243652"/>
              <a:gd name="connsiteY1049" fmla="*/ 3750369 h 6857106"/>
              <a:gd name="connsiteX1050" fmla="*/ 7486820 w 8243652"/>
              <a:gd name="connsiteY1050" fmla="*/ 4202806 h 6857106"/>
              <a:gd name="connsiteX1051" fmla="*/ 7484491 w 8243652"/>
              <a:gd name="connsiteY1051" fmla="*/ 4406006 h 6857106"/>
              <a:gd name="connsiteX1052" fmla="*/ 7486820 w 8243652"/>
              <a:gd name="connsiteY1052" fmla="*/ 4572694 h 6857106"/>
              <a:gd name="connsiteX1053" fmla="*/ 7479834 w 8243652"/>
              <a:gd name="connsiteY1053" fmla="*/ 4575869 h 6857106"/>
              <a:gd name="connsiteX1054" fmla="*/ 7475176 w 8243652"/>
              <a:gd name="connsiteY1054" fmla="*/ 4569519 h 6857106"/>
              <a:gd name="connsiteX1055" fmla="*/ 7468190 w 8243652"/>
              <a:gd name="connsiteY1055" fmla="*/ 4545706 h 6857106"/>
              <a:gd name="connsiteX1056" fmla="*/ 7456546 w 8243652"/>
              <a:gd name="connsiteY1056" fmla="*/ 4471094 h 6857106"/>
              <a:gd name="connsiteX1057" fmla="*/ 7451889 w 8243652"/>
              <a:gd name="connsiteY1057" fmla="*/ 4439344 h 6857106"/>
              <a:gd name="connsiteX1058" fmla="*/ 7442574 w 8243652"/>
              <a:gd name="connsiteY1058" fmla="*/ 4421881 h 6857106"/>
              <a:gd name="connsiteX1059" fmla="*/ 7442574 w 8243652"/>
              <a:gd name="connsiteY1059" fmla="*/ 4425056 h 6857106"/>
              <a:gd name="connsiteX1060" fmla="*/ 7440245 w 8243652"/>
              <a:gd name="connsiteY1060" fmla="*/ 4432994 h 6857106"/>
              <a:gd name="connsiteX1061" fmla="*/ 7430930 w 8243652"/>
              <a:gd name="connsiteY1061" fmla="*/ 4477444 h 6857106"/>
              <a:gd name="connsiteX1062" fmla="*/ 7447232 w 8243652"/>
              <a:gd name="connsiteY1062" fmla="*/ 4704456 h 6857106"/>
              <a:gd name="connsiteX1063" fmla="*/ 7442574 w 8243652"/>
              <a:gd name="connsiteY1063" fmla="*/ 4723506 h 6857106"/>
              <a:gd name="connsiteX1064" fmla="*/ 7440245 w 8243652"/>
              <a:gd name="connsiteY1064" fmla="*/ 4712394 h 6857106"/>
              <a:gd name="connsiteX1065" fmla="*/ 7435588 w 8243652"/>
              <a:gd name="connsiteY1065" fmla="*/ 4707631 h 6857106"/>
              <a:gd name="connsiteX1066" fmla="*/ 7435588 w 8243652"/>
              <a:gd name="connsiteY1066" fmla="*/ 4704456 h 6857106"/>
              <a:gd name="connsiteX1067" fmla="*/ 7430930 w 8243652"/>
              <a:gd name="connsiteY1067" fmla="*/ 4712394 h 6857106"/>
              <a:gd name="connsiteX1068" fmla="*/ 7426273 w 8243652"/>
              <a:gd name="connsiteY1068" fmla="*/ 4729856 h 6857106"/>
              <a:gd name="connsiteX1069" fmla="*/ 7419287 w 8243652"/>
              <a:gd name="connsiteY1069" fmla="*/ 4810819 h 6857106"/>
              <a:gd name="connsiteX1070" fmla="*/ 7419287 w 8243652"/>
              <a:gd name="connsiteY1070" fmla="*/ 4982269 h 6857106"/>
              <a:gd name="connsiteX1071" fmla="*/ 7412300 w 8243652"/>
              <a:gd name="connsiteY1071" fmla="*/ 4990206 h 6857106"/>
              <a:gd name="connsiteX1072" fmla="*/ 7402986 w 8243652"/>
              <a:gd name="connsiteY1072" fmla="*/ 4964806 h 6857106"/>
              <a:gd name="connsiteX1073" fmla="*/ 7402986 w 8243652"/>
              <a:gd name="connsiteY1073" fmla="*/ 4847331 h 6857106"/>
              <a:gd name="connsiteX1074" fmla="*/ 7402986 w 8243652"/>
              <a:gd name="connsiteY1074" fmla="*/ 4690169 h 6857106"/>
              <a:gd name="connsiteX1075" fmla="*/ 7398328 w 8243652"/>
              <a:gd name="connsiteY1075" fmla="*/ 4617144 h 6857106"/>
              <a:gd name="connsiteX1076" fmla="*/ 7396000 w 8243652"/>
              <a:gd name="connsiteY1076" fmla="*/ 4556819 h 6857106"/>
              <a:gd name="connsiteX1077" fmla="*/ 7386685 w 8243652"/>
              <a:gd name="connsiteY1077" fmla="*/ 4731444 h 6857106"/>
              <a:gd name="connsiteX1078" fmla="*/ 7382028 w 8243652"/>
              <a:gd name="connsiteY1078" fmla="*/ 4855269 h 6857106"/>
              <a:gd name="connsiteX1079" fmla="*/ 7382028 w 8243652"/>
              <a:gd name="connsiteY1079" fmla="*/ 4979094 h 6857106"/>
              <a:gd name="connsiteX1080" fmla="*/ 7379698 w 8243652"/>
              <a:gd name="connsiteY1080" fmla="*/ 4798119 h 6857106"/>
              <a:gd name="connsiteX1081" fmla="*/ 7379698 w 8243652"/>
              <a:gd name="connsiteY1081" fmla="*/ 4594919 h 6857106"/>
              <a:gd name="connsiteX1082" fmla="*/ 7386685 w 8243652"/>
              <a:gd name="connsiteY1082" fmla="*/ 4150419 h 6857106"/>
              <a:gd name="connsiteX1083" fmla="*/ 7398328 w 8243652"/>
              <a:gd name="connsiteY1083" fmla="*/ 3694806 h 6857106"/>
              <a:gd name="connsiteX1084" fmla="*/ 7398328 w 8243652"/>
              <a:gd name="connsiteY1084" fmla="*/ 3474144 h 6857106"/>
              <a:gd name="connsiteX1085" fmla="*/ 7396000 w 8243652"/>
              <a:gd name="connsiteY1085" fmla="*/ 3267769 h 6857106"/>
              <a:gd name="connsiteX1086" fmla="*/ 7379698 w 8243652"/>
              <a:gd name="connsiteY1086" fmla="*/ 2982019 h 6857106"/>
              <a:gd name="connsiteX1087" fmla="*/ 7354083 w 8243652"/>
              <a:gd name="connsiteY1087" fmla="*/ 2672456 h 6857106"/>
              <a:gd name="connsiteX1088" fmla="*/ 7323810 w 8243652"/>
              <a:gd name="connsiteY1088" fmla="*/ 2291456 h 6857106"/>
              <a:gd name="connsiteX1089" fmla="*/ 7319152 w 8243652"/>
              <a:gd name="connsiteY1089" fmla="*/ 2548631 h 6857106"/>
              <a:gd name="connsiteX1090" fmla="*/ 7314494 w 8243652"/>
              <a:gd name="connsiteY1090" fmla="*/ 2920106 h 6857106"/>
              <a:gd name="connsiteX1091" fmla="*/ 7314494 w 8243652"/>
              <a:gd name="connsiteY1091" fmla="*/ 3859906 h 6857106"/>
              <a:gd name="connsiteX1092" fmla="*/ 7319152 w 8243652"/>
              <a:gd name="connsiteY1092" fmla="*/ 4831456 h 6857106"/>
              <a:gd name="connsiteX1093" fmla="*/ 7323810 w 8243652"/>
              <a:gd name="connsiteY1093" fmla="*/ 5239444 h 6857106"/>
              <a:gd name="connsiteX1094" fmla="*/ 7330796 w 8243652"/>
              <a:gd name="connsiteY1094" fmla="*/ 5552181 h 6857106"/>
              <a:gd name="connsiteX1095" fmla="*/ 7330796 w 8243652"/>
              <a:gd name="connsiteY1095" fmla="*/ 5636319 h 6857106"/>
              <a:gd name="connsiteX1096" fmla="*/ 7326138 w 8243652"/>
              <a:gd name="connsiteY1096" fmla="*/ 5647431 h 6857106"/>
              <a:gd name="connsiteX1097" fmla="*/ 7326138 w 8243652"/>
              <a:gd name="connsiteY1097" fmla="*/ 5642669 h 6857106"/>
              <a:gd name="connsiteX1098" fmla="*/ 7314494 w 8243652"/>
              <a:gd name="connsiteY1098" fmla="*/ 5491856 h 6857106"/>
              <a:gd name="connsiteX1099" fmla="*/ 7307508 w 8243652"/>
              <a:gd name="connsiteY1099" fmla="*/ 5272781 h 6857106"/>
              <a:gd name="connsiteX1100" fmla="*/ 7298194 w 8243652"/>
              <a:gd name="connsiteY1100" fmla="*/ 5183881 h 6857106"/>
              <a:gd name="connsiteX1101" fmla="*/ 7293536 w 8243652"/>
              <a:gd name="connsiteY1101" fmla="*/ 5142606 h 6857106"/>
              <a:gd name="connsiteX1102" fmla="*/ 7291208 w 8243652"/>
              <a:gd name="connsiteY1102" fmla="*/ 5055294 h 6857106"/>
              <a:gd name="connsiteX1103" fmla="*/ 7281892 w 8243652"/>
              <a:gd name="connsiteY1103" fmla="*/ 5001319 h 6857106"/>
              <a:gd name="connsiteX1104" fmla="*/ 7279564 w 8243652"/>
              <a:gd name="connsiteY1104" fmla="*/ 4972744 h 6857106"/>
              <a:gd name="connsiteX1105" fmla="*/ 7274906 w 8243652"/>
              <a:gd name="connsiteY1105" fmla="*/ 4967981 h 6857106"/>
              <a:gd name="connsiteX1106" fmla="*/ 7274906 w 8243652"/>
              <a:gd name="connsiteY1106" fmla="*/ 4971156 h 6857106"/>
              <a:gd name="connsiteX1107" fmla="*/ 7265592 w 8243652"/>
              <a:gd name="connsiteY1107" fmla="*/ 4990206 h 6857106"/>
              <a:gd name="connsiteX1108" fmla="*/ 7263263 w 8243652"/>
              <a:gd name="connsiteY1108" fmla="*/ 5021956 h 6857106"/>
              <a:gd name="connsiteX1109" fmla="*/ 7253948 w 8243652"/>
              <a:gd name="connsiteY1109" fmla="*/ 5123556 h 6857106"/>
              <a:gd name="connsiteX1110" fmla="*/ 7237647 w 8243652"/>
              <a:gd name="connsiteY1110" fmla="*/ 5341044 h 6857106"/>
              <a:gd name="connsiteX1111" fmla="*/ 7230661 w 8243652"/>
              <a:gd name="connsiteY1111" fmla="*/ 5375969 h 6857106"/>
              <a:gd name="connsiteX1112" fmla="*/ 7226004 w 8243652"/>
              <a:gd name="connsiteY1112" fmla="*/ 5393431 h 6857106"/>
              <a:gd name="connsiteX1113" fmla="*/ 7221346 w 8243652"/>
              <a:gd name="connsiteY1113" fmla="*/ 5390256 h 6857106"/>
              <a:gd name="connsiteX1114" fmla="*/ 7219018 w 8243652"/>
              <a:gd name="connsiteY1114" fmla="*/ 5363269 h 6857106"/>
              <a:gd name="connsiteX1115" fmla="*/ 7237647 w 8243652"/>
              <a:gd name="connsiteY1115" fmla="*/ 5047356 h 6857106"/>
              <a:gd name="connsiteX1116" fmla="*/ 7235318 w 8243652"/>
              <a:gd name="connsiteY1116" fmla="*/ 5006081 h 6857106"/>
              <a:gd name="connsiteX1117" fmla="*/ 7235318 w 8243652"/>
              <a:gd name="connsiteY1117" fmla="*/ 4998144 h 6857106"/>
              <a:gd name="connsiteX1118" fmla="*/ 7230661 w 8243652"/>
              <a:gd name="connsiteY1118" fmla="*/ 4994969 h 6857106"/>
              <a:gd name="connsiteX1119" fmla="*/ 7226004 w 8243652"/>
              <a:gd name="connsiteY1119" fmla="*/ 4998144 h 6857106"/>
              <a:gd name="connsiteX1120" fmla="*/ 7221346 w 8243652"/>
              <a:gd name="connsiteY1120" fmla="*/ 5006081 h 6857106"/>
              <a:gd name="connsiteX1121" fmla="*/ 7214360 w 8243652"/>
              <a:gd name="connsiteY1121" fmla="*/ 5039419 h 6857106"/>
              <a:gd name="connsiteX1122" fmla="*/ 7205045 w 8243652"/>
              <a:gd name="connsiteY1122" fmla="*/ 5085456 h 6857106"/>
              <a:gd name="connsiteX1123" fmla="*/ 7198059 w 8243652"/>
              <a:gd name="connsiteY1123" fmla="*/ 5145781 h 6857106"/>
              <a:gd name="connsiteX1124" fmla="*/ 7191072 w 8243652"/>
              <a:gd name="connsiteY1124" fmla="*/ 5214044 h 6857106"/>
              <a:gd name="connsiteX1125" fmla="*/ 7186416 w 8243652"/>
              <a:gd name="connsiteY1125" fmla="*/ 5288656 h 6857106"/>
              <a:gd name="connsiteX1126" fmla="*/ 7191072 w 8243652"/>
              <a:gd name="connsiteY1126" fmla="*/ 5044181 h 6857106"/>
              <a:gd name="connsiteX1127" fmla="*/ 7193402 w 8243652"/>
              <a:gd name="connsiteY1127" fmla="*/ 4680644 h 6857106"/>
              <a:gd name="connsiteX1128" fmla="*/ 7198059 w 8243652"/>
              <a:gd name="connsiteY1128" fmla="*/ 4309169 h 6857106"/>
              <a:gd name="connsiteX1129" fmla="*/ 7198059 w 8243652"/>
              <a:gd name="connsiteY1129" fmla="*/ 4156769 h 6857106"/>
              <a:gd name="connsiteX1130" fmla="*/ 7193402 w 8243652"/>
              <a:gd name="connsiteY1130" fmla="*/ 4044056 h 6857106"/>
              <a:gd name="connsiteX1131" fmla="*/ 7191072 w 8243652"/>
              <a:gd name="connsiteY1131" fmla="*/ 4036119 h 6857106"/>
              <a:gd name="connsiteX1132" fmla="*/ 7186416 w 8243652"/>
              <a:gd name="connsiteY1132" fmla="*/ 4037706 h 6857106"/>
              <a:gd name="connsiteX1133" fmla="*/ 7181758 w 8243652"/>
              <a:gd name="connsiteY1133" fmla="*/ 4044056 h 6857106"/>
              <a:gd name="connsiteX1134" fmla="*/ 7177100 w 8243652"/>
              <a:gd name="connsiteY1134" fmla="*/ 4056756 h 6857106"/>
              <a:gd name="connsiteX1135" fmla="*/ 7170114 w 8243652"/>
              <a:gd name="connsiteY1135" fmla="*/ 4098031 h 6857106"/>
              <a:gd name="connsiteX1136" fmla="*/ 7160800 w 8243652"/>
              <a:gd name="connsiteY1136" fmla="*/ 4161531 h 6857106"/>
              <a:gd name="connsiteX1137" fmla="*/ 7146827 w 8243652"/>
              <a:gd name="connsiteY1137" fmla="*/ 4339331 h 6857106"/>
              <a:gd name="connsiteX1138" fmla="*/ 7130526 w 8243652"/>
              <a:gd name="connsiteY1138" fmla="*/ 4567931 h 6857106"/>
              <a:gd name="connsiteX1139" fmla="*/ 7116554 w 8243652"/>
              <a:gd name="connsiteY1139" fmla="*/ 4831456 h 6857106"/>
              <a:gd name="connsiteX1140" fmla="*/ 7109568 w 8243652"/>
              <a:gd name="connsiteY1140" fmla="*/ 5104506 h 6857106"/>
              <a:gd name="connsiteX1141" fmla="*/ 7104910 w 8243652"/>
              <a:gd name="connsiteY1141" fmla="*/ 5374381 h 6857106"/>
              <a:gd name="connsiteX1142" fmla="*/ 7102582 w 8243652"/>
              <a:gd name="connsiteY1142" fmla="*/ 5612506 h 6857106"/>
              <a:gd name="connsiteX1143" fmla="*/ 7177100 w 8243652"/>
              <a:gd name="connsiteY1143" fmla="*/ 5001319 h 6857106"/>
              <a:gd name="connsiteX1144" fmla="*/ 7177100 w 8243652"/>
              <a:gd name="connsiteY1144" fmla="*/ 5164831 h 6857106"/>
              <a:gd name="connsiteX1145" fmla="*/ 7170114 w 8243652"/>
              <a:gd name="connsiteY1145" fmla="*/ 5296594 h 6857106"/>
              <a:gd name="connsiteX1146" fmla="*/ 7160800 w 8243652"/>
              <a:gd name="connsiteY1146" fmla="*/ 5404544 h 6857106"/>
              <a:gd name="connsiteX1147" fmla="*/ 7153814 w 8243652"/>
              <a:gd name="connsiteY1147" fmla="*/ 5504556 h 6857106"/>
              <a:gd name="connsiteX1148" fmla="*/ 7142170 w 8243652"/>
              <a:gd name="connsiteY1148" fmla="*/ 5612506 h 6857106"/>
              <a:gd name="connsiteX1149" fmla="*/ 7132855 w 8243652"/>
              <a:gd name="connsiteY1149" fmla="*/ 5736331 h 6857106"/>
              <a:gd name="connsiteX1150" fmla="*/ 7130526 w 8243652"/>
              <a:gd name="connsiteY1150" fmla="*/ 5888731 h 6857106"/>
              <a:gd name="connsiteX1151" fmla="*/ 7130526 w 8243652"/>
              <a:gd name="connsiteY1151" fmla="*/ 6083994 h 6857106"/>
              <a:gd name="connsiteX1152" fmla="*/ 7058336 w 8243652"/>
              <a:gd name="connsiteY1152" fmla="*/ 5910956 h 6857106"/>
              <a:gd name="connsiteX1153" fmla="*/ 7069980 w 8243652"/>
              <a:gd name="connsiteY1153" fmla="*/ 5876031 h 6857106"/>
              <a:gd name="connsiteX1154" fmla="*/ 7076966 w 8243652"/>
              <a:gd name="connsiteY1154" fmla="*/ 5793481 h 6857106"/>
              <a:gd name="connsiteX1155" fmla="*/ 7086280 w 8243652"/>
              <a:gd name="connsiteY1155" fmla="*/ 5661719 h 6857106"/>
              <a:gd name="connsiteX1156" fmla="*/ 7086280 w 8243652"/>
              <a:gd name="connsiteY1156" fmla="*/ 5579169 h 6857106"/>
              <a:gd name="connsiteX1157" fmla="*/ 7086280 w 8243652"/>
              <a:gd name="connsiteY1157" fmla="*/ 5483919 h 6857106"/>
              <a:gd name="connsiteX1158" fmla="*/ 7076966 w 8243652"/>
              <a:gd name="connsiteY1158" fmla="*/ 5485506 h 6857106"/>
              <a:gd name="connsiteX1159" fmla="*/ 7072308 w 8243652"/>
              <a:gd name="connsiteY1159" fmla="*/ 5485506 h 6857106"/>
              <a:gd name="connsiteX1160" fmla="*/ 7069980 w 8243652"/>
              <a:gd name="connsiteY1160" fmla="*/ 5483919 h 6857106"/>
              <a:gd name="connsiteX1161" fmla="*/ 7069980 w 8243652"/>
              <a:gd name="connsiteY1161" fmla="*/ 5477569 h 6857106"/>
              <a:gd name="connsiteX1162" fmla="*/ 7065322 w 8243652"/>
              <a:gd name="connsiteY1162" fmla="*/ 5455344 h 6857106"/>
              <a:gd name="connsiteX1163" fmla="*/ 7060664 w 8243652"/>
              <a:gd name="connsiteY1163" fmla="*/ 5423594 h 6857106"/>
              <a:gd name="connsiteX1164" fmla="*/ 7058336 w 8243652"/>
              <a:gd name="connsiteY1164" fmla="*/ 5318819 h 6857106"/>
              <a:gd name="connsiteX1165" fmla="*/ 7049021 w 8243652"/>
              <a:gd name="connsiteY1165" fmla="*/ 5168006 h 6857106"/>
              <a:gd name="connsiteX1166" fmla="*/ 7076966 w 8243652"/>
              <a:gd name="connsiteY1166" fmla="*/ 4548881 h 6857106"/>
              <a:gd name="connsiteX1167" fmla="*/ 7114225 w 8243652"/>
              <a:gd name="connsiteY1167" fmla="*/ 3728144 h 6857106"/>
              <a:gd name="connsiteX1168" fmla="*/ 7146827 w 8243652"/>
              <a:gd name="connsiteY1168" fmla="*/ 2886769 h 6857106"/>
              <a:gd name="connsiteX1169" fmla="*/ 7165457 w 8243652"/>
              <a:gd name="connsiteY1169" fmla="*/ 2185094 h 6857106"/>
              <a:gd name="connsiteX1170" fmla="*/ 7130526 w 8243652"/>
              <a:gd name="connsiteY1170" fmla="*/ 2513706 h 6857106"/>
              <a:gd name="connsiteX1171" fmla="*/ 7121211 w 8243652"/>
              <a:gd name="connsiteY1171" fmla="*/ 2226369 h 6857106"/>
              <a:gd name="connsiteX1172" fmla="*/ 7114225 w 8243652"/>
              <a:gd name="connsiteY1172" fmla="*/ 2316856 h 6857106"/>
              <a:gd name="connsiteX1173" fmla="*/ 7104910 w 8243652"/>
              <a:gd name="connsiteY1173" fmla="*/ 2439094 h 6857106"/>
              <a:gd name="connsiteX1174" fmla="*/ 7088609 w 8243652"/>
              <a:gd name="connsiteY1174" fmla="*/ 2759769 h 6857106"/>
              <a:gd name="connsiteX1175" fmla="*/ 7072308 w 8243652"/>
              <a:gd name="connsiteY1175" fmla="*/ 3155056 h 6857106"/>
              <a:gd name="connsiteX1176" fmla="*/ 7060664 w 8243652"/>
              <a:gd name="connsiteY1176" fmla="*/ 3591619 h 6857106"/>
              <a:gd name="connsiteX1177" fmla="*/ 7037378 w 8243652"/>
              <a:gd name="connsiteY1177" fmla="*/ 4447281 h 6857106"/>
              <a:gd name="connsiteX1178" fmla="*/ 7021076 w 8243652"/>
              <a:gd name="connsiteY1178" fmla="*/ 5047356 h 6857106"/>
              <a:gd name="connsiteX1179" fmla="*/ 7016419 w 8243652"/>
              <a:gd name="connsiteY1179" fmla="*/ 5012431 h 6857106"/>
              <a:gd name="connsiteX1180" fmla="*/ 7014090 w 8243652"/>
              <a:gd name="connsiteY1180" fmla="*/ 4960044 h 6857106"/>
              <a:gd name="connsiteX1181" fmla="*/ 7009433 w 8243652"/>
              <a:gd name="connsiteY1181" fmla="*/ 4806056 h 6857106"/>
              <a:gd name="connsiteX1182" fmla="*/ 7004776 w 8243652"/>
              <a:gd name="connsiteY1182" fmla="*/ 4609206 h 6857106"/>
              <a:gd name="connsiteX1183" fmla="*/ 7004776 w 8243652"/>
              <a:gd name="connsiteY1183" fmla="*/ 4386956 h 6857106"/>
              <a:gd name="connsiteX1184" fmla="*/ 7004776 w 8243652"/>
              <a:gd name="connsiteY1184" fmla="*/ 3950394 h 6857106"/>
              <a:gd name="connsiteX1185" fmla="*/ 7009433 w 8243652"/>
              <a:gd name="connsiteY1185" fmla="*/ 3667819 h 6857106"/>
              <a:gd name="connsiteX1186" fmla="*/ 7009433 w 8243652"/>
              <a:gd name="connsiteY1186" fmla="*/ 3664644 h 6857106"/>
              <a:gd name="connsiteX1187" fmla="*/ 7004776 w 8243652"/>
              <a:gd name="connsiteY1187" fmla="*/ 3667819 h 6857106"/>
              <a:gd name="connsiteX1188" fmla="*/ 7000118 w 8243652"/>
              <a:gd name="connsiteY1188" fmla="*/ 3675756 h 6857106"/>
              <a:gd name="connsiteX1189" fmla="*/ 6993132 w 8243652"/>
              <a:gd name="connsiteY1189" fmla="*/ 3715444 h 6857106"/>
              <a:gd name="connsiteX1190" fmla="*/ 6986146 w 8243652"/>
              <a:gd name="connsiteY1190" fmla="*/ 3783706 h 6857106"/>
              <a:gd name="connsiteX1191" fmla="*/ 6981488 w 8243652"/>
              <a:gd name="connsiteY1191" fmla="*/ 3875781 h 6857106"/>
              <a:gd name="connsiteX1192" fmla="*/ 6969845 w 8243652"/>
              <a:gd name="connsiteY1192" fmla="*/ 4107556 h 6857106"/>
              <a:gd name="connsiteX1193" fmla="*/ 6955872 w 8243652"/>
              <a:gd name="connsiteY1193" fmla="*/ 4372669 h 6857106"/>
              <a:gd name="connsiteX1194" fmla="*/ 6948886 w 8243652"/>
              <a:gd name="connsiteY1194" fmla="*/ 4633019 h 6857106"/>
              <a:gd name="connsiteX1195" fmla="*/ 6937242 w 8243652"/>
              <a:gd name="connsiteY1195" fmla="*/ 4850506 h 6857106"/>
              <a:gd name="connsiteX1196" fmla="*/ 6927928 w 8243652"/>
              <a:gd name="connsiteY1196" fmla="*/ 4931469 h 6857106"/>
              <a:gd name="connsiteX1197" fmla="*/ 6925599 w 8243652"/>
              <a:gd name="connsiteY1197" fmla="*/ 4987031 h 6857106"/>
              <a:gd name="connsiteX1198" fmla="*/ 6920942 w 8243652"/>
              <a:gd name="connsiteY1198" fmla="*/ 5002906 h 6857106"/>
              <a:gd name="connsiteX1199" fmla="*/ 6916284 w 8243652"/>
              <a:gd name="connsiteY1199" fmla="*/ 5012431 h 6857106"/>
              <a:gd name="connsiteX1200" fmla="*/ 6911627 w 8243652"/>
              <a:gd name="connsiteY1200" fmla="*/ 5014019 h 6857106"/>
              <a:gd name="connsiteX1201" fmla="*/ 6911627 w 8243652"/>
              <a:gd name="connsiteY1201" fmla="*/ 5012431 h 6857106"/>
              <a:gd name="connsiteX1202" fmla="*/ 6904640 w 8243652"/>
              <a:gd name="connsiteY1202" fmla="*/ 5002906 h 6857106"/>
              <a:gd name="connsiteX1203" fmla="*/ 6925599 w 8243652"/>
              <a:gd name="connsiteY1203" fmla="*/ 5231506 h 6857106"/>
              <a:gd name="connsiteX1204" fmla="*/ 6920942 w 8243652"/>
              <a:gd name="connsiteY1204" fmla="*/ 5255319 h 6857106"/>
              <a:gd name="connsiteX1205" fmla="*/ 6916284 w 8243652"/>
              <a:gd name="connsiteY1205" fmla="*/ 5258494 h 6857106"/>
              <a:gd name="connsiteX1206" fmla="*/ 6911627 w 8243652"/>
              <a:gd name="connsiteY1206" fmla="*/ 5258494 h 6857106"/>
              <a:gd name="connsiteX1207" fmla="*/ 6899984 w 8243652"/>
              <a:gd name="connsiteY1207" fmla="*/ 5250556 h 6857106"/>
              <a:gd name="connsiteX1208" fmla="*/ 6892997 w 8243652"/>
              <a:gd name="connsiteY1208" fmla="*/ 5236269 h 6857106"/>
              <a:gd name="connsiteX1209" fmla="*/ 6883682 w 8243652"/>
              <a:gd name="connsiteY1209" fmla="*/ 5228331 h 6857106"/>
              <a:gd name="connsiteX1210" fmla="*/ 6881354 w 8243652"/>
              <a:gd name="connsiteY1210" fmla="*/ 5228331 h 6857106"/>
              <a:gd name="connsiteX1211" fmla="*/ 6876696 w 8243652"/>
              <a:gd name="connsiteY1211" fmla="*/ 5231506 h 6857106"/>
              <a:gd name="connsiteX1212" fmla="*/ 6872038 w 8243652"/>
              <a:gd name="connsiteY1212" fmla="*/ 5255319 h 6857106"/>
              <a:gd name="connsiteX1213" fmla="*/ 6872038 w 8243652"/>
              <a:gd name="connsiteY1213" fmla="*/ 5310881 h 6857106"/>
              <a:gd name="connsiteX1214" fmla="*/ 6865052 w 8243652"/>
              <a:gd name="connsiteY1214" fmla="*/ 5069581 h 6857106"/>
              <a:gd name="connsiteX1215" fmla="*/ 6860395 w 8243652"/>
              <a:gd name="connsiteY1215" fmla="*/ 4767956 h 6857106"/>
              <a:gd name="connsiteX1216" fmla="*/ 6860395 w 8243652"/>
              <a:gd name="connsiteY1216" fmla="*/ 4471094 h 6857106"/>
              <a:gd name="connsiteX1217" fmla="*/ 6860395 w 8243652"/>
              <a:gd name="connsiteY1217" fmla="*/ 4244081 h 6857106"/>
              <a:gd name="connsiteX1218" fmla="*/ 6816150 w 8243652"/>
              <a:gd name="connsiteY1218" fmla="*/ 5168006 h 6857106"/>
              <a:gd name="connsiteX1219" fmla="*/ 6820807 w 8243652"/>
              <a:gd name="connsiteY1219" fmla="*/ 4952106 h 6857106"/>
              <a:gd name="connsiteX1220" fmla="*/ 6820807 w 8243652"/>
              <a:gd name="connsiteY1220" fmla="*/ 4621906 h 6857106"/>
              <a:gd name="connsiteX1221" fmla="*/ 6823136 w 8243652"/>
              <a:gd name="connsiteY1221" fmla="*/ 4086919 h 6857106"/>
              <a:gd name="connsiteX1222" fmla="*/ 6820807 w 8243652"/>
              <a:gd name="connsiteY1222" fmla="*/ 4086919 h 6857106"/>
              <a:gd name="connsiteX1223" fmla="*/ 6820807 w 8243652"/>
              <a:gd name="connsiteY1223" fmla="*/ 4090094 h 6857106"/>
              <a:gd name="connsiteX1224" fmla="*/ 6816150 w 8243652"/>
              <a:gd name="connsiteY1224" fmla="*/ 4115494 h 6857106"/>
              <a:gd name="connsiteX1225" fmla="*/ 6811492 w 8243652"/>
              <a:gd name="connsiteY1225" fmla="*/ 4213919 h 6857106"/>
              <a:gd name="connsiteX1226" fmla="*/ 6799848 w 8243652"/>
              <a:gd name="connsiteY1226" fmla="*/ 4539356 h 6857106"/>
              <a:gd name="connsiteX1227" fmla="*/ 6795191 w 8243652"/>
              <a:gd name="connsiteY1227" fmla="*/ 4910831 h 6857106"/>
              <a:gd name="connsiteX1228" fmla="*/ 6799848 w 8243652"/>
              <a:gd name="connsiteY1228" fmla="*/ 5066406 h 6857106"/>
              <a:gd name="connsiteX1229" fmla="*/ 6799848 w 8243652"/>
              <a:gd name="connsiteY1229" fmla="*/ 5171181 h 6857106"/>
              <a:gd name="connsiteX1230" fmla="*/ 6778890 w 8243652"/>
              <a:gd name="connsiteY1230" fmla="*/ 4877494 h 6857106"/>
              <a:gd name="connsiteX1231" fmla="*/ 6771904 w 8243652"/>
              <a:gd name="connsiteY1231" fmla="*/ 4737794 h 6857106"/>
              <a:gd name="connsiteX1232" fmla="*/ 6760260 w 8243652"/>
              <a:gd name="connsiteY1232" fmla="*/ 4572694 h 6857106"/>
              <a:gd name="connsiteX1233" fmla="*/ 6743960 w 8243652"/>
              <a:gd name="connsiteY1233" fmla="*/ 4205981 h 6857106"/>
              <a:gd name="connsiteX1234" fmla="*/ 6739302 w 8243652"/>
              <a:gd name="connsiteY1234" fmla="*/ 4263131 h 6857106"/>
              <a:gd name="connsiteX1235" fmla="*/ 6739302 w 8243652"/>
              <a:gd name="connsiteY1235" fmla="*/ 4372669 h 6857106"/>
              <a:gd name="connsiteX1236" fmla="*/ 6743960 w 8243652"/>
              <a:gd name="connsiteY1236" fmla="*/ 4688581 h 6857106"/>
              <a:gd name="connsiteX1237" fmla="*/ 6748617 w 8243652"/>
              <a:gd name="connsiteY1237" fmla="*/ 5009256 h 6857106"/>
              <a:gd name="connsiteX1238" fmla="*/ 6750946 w 8243652"/>
              <a:gd name="connsiteY1238" fmla="*/ 5193406 h 6857106"/>
              <a:gd name="connsiteX1239" fmla="*/ 6743960 w 8243652"/>
              <a:gd name="connsiteY1239" fmla="*/ 5261669 h 6857106"/>
              <a:gd name="connsiteX1240" fmla="*/ 6734644 w 8243652"/>
              <a:gd name="connsiteY1240" fmla="*/ 5304531 h 6857106"/>
              <a:gd name="connsiteX1241" fmla="*/ 6732316 w 8243652"/>
              <a:gd name="connsiteY1241" fmla="*/ 5323581 h 6857106"/>
              <a:gd name="connsiteX1242" fmla="*/ 6727658 w 8243652"/>
              <a:gd name="connsiteY1242" fmla="*/ 5326756 h 6857106"/>
              <a:gd name="connsiteX1243" fmla="*/ 6723001 w 8243652"/>
              <a:gd name="connsiteY1243" fmla="*/ 5323581 h 6857106"/>
              <a:gd name="connsiteX1244" fmla="*/ 6720672 w 8243652"/>
              <a:gd name="connsiteY1244" fmla="*/ 5310881 h 6857106"/>
              <a:gd name="connsiteX1245" fmla="*/ 6711358 w 8243652"/>
              <a:gd name="connsiteY1245" fmla="*/ 5285481 h 6857106"/>
              <a:gd name="connsiteX1246" fmla="*/ 6704371 w 8243652"/>
              <a:gd name="connsiteY1246" fmla="*/ 5220394 h 6857106"/>
              <a:gd name="connsiteX1247" fmla="*/ 6711358 w 8243652"/>
              <a:gd name="connsiteY1247" fmla="*/ 5141019 h 6857106"/>
              <a:gd name="connsiteX1248" fmla="*/ 6716015 w 8243652"/>
              <a:gd name="connsiteY1248" fmla="*/ 5033069 h 6857106"/>
              <a:gd name="connsiteX1249" fmla="*/ 6723001 w 8243652"/>
              <a:gd name="connsiteY1249" fmla="*/ 4761606 h 6857106"/>
              <a:gd name="connsiteX1250" fmla="*/ 6723001 w 8243652"/>
              <a:gd name="connsiteY1250" fmla="*/ 4429819 h 6857106"/>
              <a:gd name="connsiteX1251" fmla="*/ 6723001 w 8243652"/>
              <a:gd name="connsiteY1251" fmla="*/ 4059931 h 6857106"/>
              <a:gd name="connsiteX1252" fmla="*/ 6720672 w 8243652"/>
              <a:gd name="connsiteY1252" fmla="*/ 3305869 h 6857106"/>
              <a:gd name="connsiteX1253" fmla="*/ 6720672 w 8243652"/>
              <a:gd name="connsiteY1253" fmla="*/ 2969319 h 6857106"/>
              <a:gd name="connsiteX1254" fmla="*/ 6723001 w 8243652"/>
              <a:gd name="connsiteY1254" fmla="*/ 2691506 h 6857106"/>
              <a:gd name="connsiteX1255" fmla="*/ 6634510 w 8243652"/>
              <a:gd name="connsiteY1255" fmla="*/ 5201344 h 6857106"/>
              <a:gd name="connsiteX1256" fmla="*/ 6639167 w 8243652"/>
              <a:gd name="connsiteY1256" fmla="*/ 4655244 h 6857106"/>
              <a:gd name="connsiteX1257" fmla="*/ 6643824 w 8243652"/>
              <a:gd name="connsiteY1257" fmla="*/ 4150419 h 6857106"/>
              <a:gd name="connsiteX1258" fmla="*/ 6639167 w 8243652"/>
              <a:gd name="connsiteY1258" fmla="*/ 4285356 h 6857106"/>
              <a:gd name="connsiteX1259" fmla="*/ 6634510 w 8243652"/>
              <a:gd name="connsiteY1259" fmla="*/ 4402831 h 6857106"/>
              <a:gd name="connsiteX1260" fmla="*/ 6632181 w 8243652"/>
              <a:gd name="connsiteY1260" fmla="*/ 4507606 h 6857106"/>
              <a:gd name="connsiteX1261" fmla="*/ 6622866 w 8243652"/>
              <a:gd name="connsiteY1261" fmla="*/ 4598094 h 6857106"/>
              <a:gd name="connsiteX1262" fmla="*/ 6615880 w 8243652"/>
              <a:gd name="connsiteY1262" fmla="*/ 4674294 h 6857106"/>
              <a:gd name="connsiteX1263" fmla="*/ 6601908 w 8243652"/>
              <a:gd name="connsiteY1263" fmla="*/ 4740969 h 6857106"/>
              <a:gd name="connsiteX1264" fmla="*/ 6590264 w 8243652"/>
              <a:gd name="connsiteY1264" fmla="*/ 4794944 h 6857106"/>
              <a:gd name="connsiteX1265" fmla="*/ 6583278 w 8243652"/>
              <a:gd name="connsiteY1265" fmla="*/ 4840981 h 6857106"/>
              <a:gd name="connsiteX1266" fmla="*/ 6566977 w 8243652"/>
              <a:gd name="connsiteY1266" fmla="*/ 4874319 h 6857106"/>
              <a:gd name="connsiteX1267" fmla="*/ 6555334 w 8243652"/>
              <a:gd name="connsiteY1267" fmla="*/ 4899719 h 6857106"/>
              <a:gd name="connsiteX1268" fmla="*/ 6543690 w 8243652"/>
              <a:gd name="connsiteY1268" fmla="*/ 4915594 h 6857106"/>
              <a:gd name="connsiteX1269" fmla="*/ 6529718 w 8243652"/>
              <a:gd name="connsiteY1269" fmla="*/ 4923531 h 6857106"/>
              <a:gd name="connsiteX1270" fmla="*/ 6527389 w 8243652"/>
              <a:gd name="connsiteY1270" fmla="*/ 4926706 h 6857106"/>
              <a:gd name="connsiteX1271" fmla="*/ 6518074 w 8243652"/>
              <a:gd name="connsiteY1271" fmla="*/ 4926706 h 6857106"/>
              <a:gd name="connsiteX1272" fmla="*/ 6506430 w 8243652"/>
              <a:gd name="connsiteY1272" fmla="*/ 4921944 h 6857106"/>
              <a:gd name="connsiteX1273" fmla="*/ 6499444 w 8243652"/>
              <a:gd name="connsiteY1273" fmla="*/ 4907656 h 6857106"/>
              <a:gd name="connsiteX1274" fmla="*/ 6485472 w 8243652"/>
              <a:gd name="connsiteY1274" fmla="*/ 4891781 h 6857106"/>
              <a:gd name="connsiteX1275" fmla="*/ 6494787 w 8243652"/>
              <a:gd name="connsiteY1275" fmla="*/ 4885431 h 6857106"/>
              <a:gd name="connsiteX1276" fmla="*/ 6494787 w 8243652"/>
              <a:gd name="connsiteY1276" fmla="*/ 4791769 h 6857106"/>
              <a:gd name="connsiteX1277" fmla="*/ 6494787 w 8243652"/>
              <a:gd name="connsiteY1277" fmla="*/ 4707631 h 6857106"/>
              <a:gd name="connsiteX1278" fmla="*/ 6485472 w 8243652"/>
              <a:gd name="connsiteY1278" fmla="*/ 4639369 h 6857106"/>
              <a:gd name="connsiteX1279" fmla="*/ 6478486 w 8243652"/>
              <a:gd name="connsiteY1279" fmla="*/ 4590156 h 6857106"/>
              <a:gd name="connsiteX1280" fmla="*/ 6473828 w 8243652"/>
              <a:gd name="connsiteY1280" fmla="*/ 4572694 h 6857106"/>
              <a:gd name="connsiteX1281" fmla="*/ 6469171 w 8243652"/>
              <a:gd name="connsiteY1281" fmla="*/ 4564756 h 6857106"/>
              <a:gd name="connsiteX1282" fmla="*/ 6466842 w 8243652"/>
              <a:gd name="connsiteY1282" fmla="*/ 4561581 h 6857106"/>
              <a:gd name="connsiteX1283" fmla="*/ 6462185 w 8243652"/>
              <a:gd name="connsiteY1283" fmla="*/ 4567931 h 6857106"/>
              <a:gd name="connsiteX1284" fmla="*/ 6457528 w 8243652"/>
              <a:gd name="connsiteY1284" fmla="*/ 4580631 h 6857106"/>
              <a:gd name="connsiteX1285" fmla="*/ 6455198 w 8243652"/>
              <a:gd name="connsiteY1285" fmla="*/ 4606031 h 6857106"/>
              <a:gd name="connsiteX1286" fmla="*/ 6445884 w 8243652"/>
              <a:gd name="connsiteY1286" fmla="*/ 4682231 h 6857106"/>
              <a:gd name="connsiteX1287" fmla="*/ 6445884 w 8243652"/>
              <a:gd name="connsiteY1287" fmla="*/ 4602856 h 6857106"/>
              <a:gd name="connsiteX1288" fmla="*/ 6450542 w 8243652"/>
              <a:gd name="connsiteY1288" fmla="*/ 4572694 h 6857106"/>
              <a:gd name="connsiteX1289" fmla="*/ 6450542 w 8243652"/>
              <a:gd name="connsiteY1289" fmla="*/ 4569519 h 6857106"/>
              <a:gd name="connsiteX1290" fmla="*/ 6455198 w 8243652"/>
              <a:gd name="connsiteY1290" fmla="*/ 4569519 h 6857106"/>
              <a:gd name="connsiteX1291" fmla="*/ 6457528 w 8243652"/>
              <a:gd name="connsiteY1291" fmla="*/ 4572694 h 6857106"/>
              <a:gd name="connsiteX1292" fmla="*/ 6457528 w 8243652"/>
              <a:gd name="connsiteY1292" fmla="*/ 4569519 h 6857106"/>
              <a:gd name="connsiteX1293" fmla="*/ 6455198 w 8243652"/>
              <a:gd name="connsiteY1293" fmla="*/ 4490144 h 6857106"/>
              <a:gd name="connsiteX1294" fmla="*/ 6445884 w 8243652"/>
              <a:gd name="connsiteY1294" fmla="*/ 4458394 h 6857106"/>
              <a:gd name="connsiteX1295" fmla="*/ 6445884 w 8243652"/>
              <a:gd name="connsiteY1295" fmla="*/ 4455219 h 6857106"/>
              <a:gd name="connsiteX1296" fmla="*/ 6441226 w 8243652"/>
              <a:gd name="connsiteY1296" fmla="*/ 4463156 h 6857106"/>
              <a:gd name="connsiteX1297" fmla="*/ 6438898 w 8243652"/>
              <a:gd name="connsiteY1297" fmla="*/ 4501256 h 6857106"/>
              <a:gd name="connsiteX1298" fmla="*/ 6429583 w 8243652"/>
              <a:gd name="connsiteY1298" fmla="*/ 4647306 h 6857106"/>
              <a:gd name="connsiteX1299" fmla="*/ 6422596 w 8243652"/>
              <a:gd name="connsiteY1299" fmla="*/ 4844156 h 6857106"/>
              <a:gd name="connsiteX1300" fmla="*/ 6413282 w 8243652"/>
              <a:gd name="connsiteY1300" fmla="*/ 5033069 h 6857106"/>
              <a:gd name="connsiteX1301" fmla="*/ 6406296 w 8243652"/>
              <a:gd name="connsiteY1301" fmla="*/ 5168006 h 6857106"/>
              <a:gd name="connsiteX1302" fmla="*/ 6396981 w 8243652"/>
              <a:gd name="connsiteY1302" fmla="*/ 5194994 h 6857106"/>
              <a:gd name="connsiteX1303" fmla="*/ 6394652 w 8243652"/>
              <a:gd name="connsiteY1303" fmla="*/ 5187056 h 6857106"/>
              <a:gd name="connsiteX1304" fmla="*/ 6389994 w 8243652"/>
              <a:gd name="connsiteY1304" fmla="*/ 5137844 h 6857106"/>
              <a:gd name="connsiteX1305" fmla="*/ 6380680 w 8243652"/>
              <a:gd name="connsiteY1305" fmla="*/ 5042594 h 6857106"/>
              <a:gd name="connsiteX1306" fmla="*/ 6389994 w 8243652"/>
              <a:gd name="connsiteY1306" fmla="*/ 5050531 h 6857106"/>
              <a:gd name="connsiteX1307" fmla="*/ 6389994 w 8243652"/>
              <a:gd name="connsiteY1307" fmla="*/ 5052119 h 6857106"/>
              <a:gd name="connsiteX1308" fmla="*/ 6394652 w 8243652"/>
              <a:gd name="connsiteY1308" fmla="*/ 5050531 h 6857106"/>
              <a:gd name="connsiteX1309" fmla="*/ 6396981 w 8243652"/>
              <a:gd name="connsiteY1309" fmla="*/ 5044181 h 6857106"/>
              <a:gd name="connsiteX1310" fmla="*/ 6401638 w 8243652"/>
              <a:gd name="connsiteY1310" fmla="*/ 5031481 h 6857106"/>
              <a:gd name="connsiteX1311" fmla="*/ 6406296 w 8243652"/>
              <a:gd name="connsiteY1311" fmla="*/ 4983856 h 6857106"/>
              <a:gd name="connsiteX1312" fmla="*/ 6413282 w 8243652"/>
              <a:gd name="connsiteY1312" fmla="*/ 4915594 h 6857106"/>
              <a:gd name="connsiteX1313" fmla="*/ 6417939 w 8243652"/>
              <a:gd name="connsiteY1313" fmla="*/ 4731444 h 6857106"/>
              <a:gd name="connsiteX1314" fmla="*/ 6417939 w 8243652"/>
              <a:gd name="connsiteY1314" fmla="*/ 4515544 h 6857106"/>
              <a:gd name="connsiteX1315" fmla="*/ 6406296 w 8243652"/>
              <a:gd name="connsiteY1315" fmla="*/ 4594919 h 6857106"/>
              <a:gd name="connsiteX1316" fmla="*/ 6394652 w 8243652"/>
              <a:gd name="connsiteY1316" fmla="*/ 4639369 h 6857106"/>
              <a:gd name="connsiteX1317" fmla="*/ 6380680 w 8243652"/>
              <a:gd name="connsiteY1317" fmla="*/ 4671119 h 6857106"/>
              <a:gd name="connsiteX1318" fmla="*/ 6369036 w 8243652"/>
              <a:gd name="connsiteY1318" fmla="*/ 4715569 h 6857106"/>
              <a:gd name="connsiteX1319" fmla="*/ 6357392 w 8243652"/>
              <a:gd name="connsiteY1319" fmla="*/ 4783831 h 6857106"/>
              <a:gd name="connsiteX1320" fmla="*/ 6350406 w 8243652"/>
              <a:gd name="connsiteY1320" fmla="*/ 4904481 h 6857106"/>
              <a:gd name="connsiteX1321" fmla="*/ 6345749 w 8243652"/>
              <a:gd name="connsiteY1321" fmla="*/ 5091806 h 6857106"/>
              <a:gd name="connsiteX1322" fmla="*/ 6345749 w 8243652"/>
              <a:gd name="connsiteY1322" fmla="*/ 5371206 h 6857106"/>
              <a:gd name="connsiteX1323" fmla="*/ 6336434 w 8243652"/>
              <a:gd name="connsiteY1323" fmla="*/ 5274369 h 6857106"/>
              <a:gd name="connsiteX1324" fmla="*/ 6324790 w 8243652"/>
              <a:gd name="connsiteY1324" fmla="*/ 5209281 h 6857106"/>
              <a:gd name="connsiteX1325" fmla="*/ 6322462 w 8243652"/>
              <a:gd name="connsiteY1325" fmla="*/ 5164831 h 6857106"/>
              <a:gd name="connsiteX1326" fmla="*/ 6322462 w 8243652"/>
              <a:gd name="connsiteY1326" fmla="*/ 5096569 h 6857106"/>
              <a:gd name="connsiteX1327" fmla="*/ 6317804 w 8243652"/>
              <a:gd name="connsiteY1327" fmla="*/ 4852094 h 6857106"/>
              <a:gd name="connsiteX1328" fmla="*/ 6257258 w 8243652"/>
              <a:gd name="connsiteY1328" fmla="*/ 5375969 h 6857106"/>
              <a:gd name="connsiteX1329" fmla="*/ 6261916 w 8243652"/>
              <a:gd name="connsiteY1329" fmla="*/ 5283894 h 6857106"/>
              <a:gd name="connsiteX1330" fmla="*/ 6261916 w 8243652"/>
              <a:gd name="connsiteY1330" fmla="*/ 5160069 h 6857106"/>
              <a:gd name="connsiteX1331" fmla="*/ 6257258 w 8243652"/>
              <a:gd name="connsiteY1331" fmla="*/ 5044181 h 6857106"/>
              <a:gd name="connsiteX1332" fmla="*/ 6252600 w 8243652"/>
              <a:gd name="connsiteY1332" fmla="*/ 4998144 h 6857106"/>
              <a:gd name="connsiteX1333" fmla="*/ 6247943 w 8243652"/>
              <a:gd name="connsiteY1333" fmla="*/ 4967981 h 6857106"/>
              <a:gd name="connsiteX1334" fmla="*/ 6252600 w 8243652"/>
              <a:gd name="connsiteY1334" fmla="*/ 4975919 h 6857106"/>
              <a:gd name="connsiteX1335" fmla="*/ 6252600 w 8243652"/>
              <a:gd name="connsiteY1335" fmla="*/ 4979094 h 6857106"/>
              <a:gd name="connsiteX1336" fmla="*/ 6257258 w 8243652"/>
              <a:gd name="connsiteY1336" fmla="*/ 4975919 h 6857106"/>
              <a:gd name="connsiteX1337" fmla="*/ 6261916 w 8243652"/>
              <a:gd name="connsiteY1337" fmla="*/ 4971156 h 6857106"/>
              <a:gd name="connsiteX1338" fmla="*/ 6268902 w 8243652"/>
              <a:gd name="connsiteY1338" fmla="*/ 4948931 h 6857106"/>
              <a:gd name="connsiteX1339" fmla="*/ 6273559 w 8243652"/>
              <a:gd name="connsiteY1339" fmla="*/ 4915594 h 6857106"/>
              <a:gd name="connsiteX1340" fmla="*/ 6285202 w 8243652"/>
              <a:gd name="connsiteY1340" fmla="*/ 4825106 h 6857106"/>
              <a:gd name="connsiteX1341" fmla="*/ 6296846 w 8243652"/>
              <a:gd name="connsiteY1341" fmla="*/ 4731444 h 6857106"/>
              <a:gd name="connsiteX1342" fmla="*/ 6308490 w 8243652"/>
              <a:gd name="connsiteY1342" fmla="*/ 4658419 h 6857106"/>
              <a:gd name="connsiteX1343" fmla="*/ 6313147 w 8243652"/>
              <a:gd name="connsiteY1343" fmla="*/ 4639369 h 6857106"/>
              <a:gd name="connsiteX1344" fmla="*/ 6313147 w 8243652"/>
              <a:gd name="connsiteY1344" fmla="*/ 4633019 h 6857106"/>
              <a:gd name="connsiteX1345" fmla="*/ 6317804 w 8243652"/>
              <a:gd name="connsiteY1345" fmla="*/ 4633019 h 6857106"/>
              <a:gd name="connsiteX1346" fmla="*/ 6322462 w 8243652"/>
              <a:gd name="connsiteY1346" fmla="*/ 4647306 h 6857106"/>
              <a:gd name="connsiteX1347" fmla="*/ 6324790 w 8243652"/>
              <a:gd name="connsiteY1347" fmla="*/ 4685406 h 6857106"/>
              <a:gd name="connsiteX1348" fmla="*/ 6334106 w 8243652"/>
              <a:gd name="connsiteY1348" fmla="*/ 4839394 h 6857106"/>
              <a:gd name="connsiteX1349" fmla="*/ 6334106 w 8243652"/>
              <a:gd name="connsiteY1349" fmla="*/ 4471094 h 6857106"/>
              <a:gd name="connsiteX1350" fmla="*/ 6329448 w 8243652"/>
              <a:gd name="connsiteY1350" fmla="*/ 4161531 h 6857106"/>
              <a:gd name="connsiteX1351" fmla="*/ 6329448 w 8243652"/>
              <a:gd name="connsiteY1351" fmla="*/ 3866256 h 6857106"/>
              <a:gd name="connsiteX1352" fmla="*/ 6336434 w 8243652"/>
              <a:gd name="connsiteY1352" fmla="*/ 3547169 h 6857106"/>
              <a:gd name="connsiteX1353" fmla="*/ 6324790 w 8243652"/>
              <a:gd name="connsiteY1353" fmla="*/ 3602731 h 6857106"/>
              <a:gd name="connsiteX1354" fmla="*/ 6313147 w 8243652"/>
              <a:gd name="connsiteY1354" fmla="*/ 3674169 h 6857106"/>
              <a:gd name="connsiteX1355" fmla="*/ 6292188 w 8243652"/>
              <a:gd name="connsiteY1355" fmla="*/ 3848794 h 6857106"/>
              <a:gd name="connsiteX1356" fmla="*/ 6273559 w 8243652"/>
              <a:gd name="connsiteY1356" fmla="*/ 4067869 h 6857106"/>
              <a:gd name="connsiteX1357" fmla="*/ 6257258 w 8243652"/>
              <a:gd name="connsiteY1357" fmla="*/ 4315519 h 6857106"/>
              <a:gd name="connsiteX1358" fmla="*/ 6224656 w 8243652"/>
              <a:gd name="connsiteY1358" fmla="*/ 4847331 h 6857106"/>
              <a:gd name="connsiteX1359" fmla="*/ 6192054 w 8243652"/>
              <a:gd name="connsiteY1359" fmla="*/ 5363269 h 6857106"/>
              <a:gd name="connsiteX1360" fmla="*/ 6136164 w 8243652"/>
              <a:gd name="connsiteY1360" fmla="*/ 4971156 h 6857106"/>
              <a:gd name="connsiteX1361" fmla="*/ 6131508 w 8243652"/>
              <a:gd name="connsiteY1361" fmla="*/ 5217219 h 6857106"/>
              <a:gd name="connsiteX1362" fmla="*/ 6124521 w 8243652"/>
              <a:gd name="connsiteY1362" fmla="*/ 4591744 h 6857106"/>
              <a:gd name="connsiteX1363" fmla="*/ 6117535 w 8243652"/>
              <a:gd name="connsiteY1363" fmla="*/ 4772719 h 6857106"/>
              <a:gd name="connsiteX1364" fmla="*/ 6112878 w 8243652"/>
              <a:gd name="connsiteY1364" fmla="*/ 4813994 h 6857106"/>
              <a:gd name="connsiteX1365" fmla="*/ 6108220 w 8243652"/>
              <a:gd name="connsiteY1365" fmla="*/ 4801294 h 6857106"/>
              <a:gd name="connsiteX1366" fmla="*/ 6112878 w 8243652"/>
              <a:gd name="connsiteY1366" fmla="*/ 4699694 h 6857106"/>
              <a:gd name="connsiteX1367" fmla="*/ 6112878 w 8243652"/>
              <a:gd name="connsiteY1367" fmla="*/ 4569519 h 6857106"/>
              <a:gd name="connsiteX1368" fmla="*/ 6103562 w 8243652"/>
              <a:gd name="connsiteY1368" fmla="*/ 4633019 h 6857106"/>
              <a:gd name="connsiteX1369" fmla="*/ 6101234 w 8243652"/>
              <a:gd name="connsiteY1369" fmla="*/ 4720331 h 6857106"/>
              <a:gd name="connsiteX1370" fmla="*/ 6101234 w 8243652"/>
              <a:gd name="connsiteY1370" fmla="*/ 4466331 h 6857106"/>
              <a:gd name="connsiteX1371" fmla="*/ 6103562 w 8243652"/>
              <a:gd name="connsiteY1371" fmla="*/ 4202806 h 6857106"/>
              <a:gd name="connsiteX1372" fmla="*/ 6117535 w 8243652"/>
              <a:gd name="connsiteY1372" fmla="*/ 3674169 h 6857106"/>
              <a:gd name="connsiteX1373" fmla="*/ 6131508 w 8243652"/>
              <a:gd name="connsiteY1373" fmla="*/ 4021831 h 6857106"/>
              <a:gd name="connsiteX1374" fmla="*/ 6140822 w 8243652"/>
              <a:gd name="connsiteY1374" fmla="*/ 3785294 h 6857106"/>
              <a:gd name="connsiteX1375" fmla="*/ 6145480 w 8243652"/>
              <a:gd name="connsiteY1375" fmla="*/ 3558281 h 6857106"/>
              <a:gd name="connsiteX1376" fmla="*/ 6145480 w 8243652"/>
              <a:gd name="connsiteY1376" fmla="*/ 3350319 h 6857106"/>
              <a:gd name="connsiteX1377" fmla="*/ 6145480 w 8243652"/>
              <a:gd name="connsiteY1377" fmla="*/ 3259831 h 6857106"/>
              <a:gd name="connsiteX1378" fmla="*/ 6136164 w 8243652"/>
              <a:gd name="connsiteY1378" fmla="*/ 3174106 h 6857106"/>
              <a:gd name="connsiteX1379" fmla="*/ 6129178 w 8243652"/>
              <a:gd name="connsiteY1379" fmla="*/ 3309044 h 6857106"/>
              <a:gd name="connsiteX1380" fmla="*/ 6136164 w 8243652"/>
              <a:gd name="connsiteY1380" fmla="*/ 2996306 h 6857106"/>
              <a:gd name="connsiteX1381" fmla="*/ 6136164 w 8243652"/>
              <a:gd name="connsiteY1381" fmla="*/ 2878831 h 6857106"/>
              <a:gd name="connsiteX1382" fmla="*/ 6136164 w 8243652"/>
              <a:gd name="connsiteY1382" fmla="*/ 2789931 h 6857106"/>
              <a:gd name="connsiteX1383" fmla="*/ 6091919 w 8243652"/>
              <a:gd name="connsiteY1383" fmla="*/ 3091556 h 6857106"/>
              <a:gd name="connsiteX1384" fmla="*/ 6112878 w 8243652"/>
              <a:gd name="connsiteY1384" fmla="*/ 3558281 h 6857106"/>
              <a:gd name="connsiteX1385" fmla="*/ 6091919 w 8243652"/>
              <a:gd name="connsiteY1385" fmla="*/ 3878956 h 6857106"/>
              <a:gd name="connsiteX1386" fmla="*/ 6075618 w 8243652"/>
              <a:gd name="connsiteY1386" fmla="*/ 4218681 h 6857106"/>
              <a:gd name="connsiteX1387" fmla="*/ 6073290 w 8243652"/>
              <a:gd name="connsiteY1387" fmla="*/ 4388544 h 6857106"/>
              <a:gd name="connsiteX1388" fmla="*/ 6068632 w 8243652"/>
              <a:gd name="connsiteY1388" fmla="*/ 4559994 h 6857106"/>
              <a:gd name="connsiteX1389" fmla="*/ 6073290 w 8243652"/>
              <a:gd name="connsiteY1389" fmla="*/ 4726681 h 6857106"/>
              <a:gd name="connsiteX1390" fmla="*/ 6080276 w 8243652"/>
              <a:gd name="connsiteY1390" fmla="*/ 4888606 h 6857106"/>
              <a:gd name="connsiteX1391" fmla="*/ 6043016 w 8243652"/>
              <a:gd name="connsiteY1391" fmla="*/ 4520306 h 6857106"/>
              <a:gd name="connsiteX1392" fmla="*/ 6019729 w 8243652"/>
              <a:gd name="connsiteY1392" fmla="*/ 4866381 h 6857106"/>
              <a:gd name="connsiteX1393" fmla="*/ 6008086 w 8243652"/>
              <a:gd name="connsiteY1393" fmla="*/ 5058469 h 6857106"/>
              <a:gd name="connsiteX1394" fmla="*/ 5963840 w 8243652"/>
              <a:gd name="connsiteY1394" fmla="*/ 5474394 h 6857106"/>
              <a:gd name="connsiteX1395" fmla="*/ 5963840 w 8243652"/>
              <a:gd name="connsiteY1395" fmla="*/ 5318819 h 6857106"/>
              <a:gd name="connsiteX1396" fmla="*/ 5968497 w 8243652"/>
              <a:gd name="connsiteY1396" fmla="*/ 5172769 h 6857106"/>
              <a:gd name="connsiteX1397" fmla="*/ 5968497 w 8243652"/>
              <a:gd name="connsiteY1397" fmla="*/ 5036244 h 6857106"/>
              <a:gd name="connsiteX1398" fmla="*/ 5963840 w 8243652"/>
              <a:gd name="connsiteY1398" fmla="*/ 4912419 h 6857106"/>
              <a:gd name="connsiteX1399" fmla="*/ 5959182 w 8243652"/>
              <a:gd name="connsiteY1399" fmla="*/ 5020369 h 6857106"/>
              <a:gd name="connsiteX1400" fmla="*/ 5952196 w 8243652"/>
              <a:gd name="connsiteY1400" fmla="*/ 5080694 h 6857106"/>
              <a:gd name="connsiteX1401" fmla="*/ 5947539 w 8243652"/>
              <a:gd name="connsiteY1401" fmla="*/ 5096569 h 6857106"/>
              <a:gd name="connsiteX1402" fmla="*/ 5942882 w 8243652"/>
              <a:gd name="connsiteY1402" fmla="*/ 5102919 h 6857106"/>
              <a:gd name="connsiteX1403" fmla="*/ 5940552 w 8243652"/>
              <a:gd name="connsiteY1403" fmla="*/ 5099744 h 6857106"/>
              <a:gd name="connsiteX1404" fmla="*/ 5935895 w 8243652"/>
              <a:gd name="connsiteY1404" fmla="*/ 5091806 h 6857106"/>
              <a:gd name="connsiteX1405" fmla="*/ 5926580 w 8243652"/>
              <a:gd name="connsiteY1405" fmla="*/ 5052119 h 6857106"/>
              <a:gd name="connsiteX1406" fmla="*/ 5924252 w 8243652"/>
              <a:gd name="connsiteY1406" fmla="*/ 4994969 h 6857106"/>
              <a:gd name="connsiteX1407" fmla="*/ 5907950 w 8243652"/>
              <a:gd name="connsiteY1407" fmla="*/ 4844156 h 6857106"/>
              <a:gd name="connsiteX1408" fmla="*/ 5896307 w 8243652"/>
              <a:gd name="connsiteY1408" fmla="*/ 4688581 h 6857106"/>
              <a:gd name="connsiteX1409" fmla="*/ 5882334 w 8243652"/>
              <a:gd name="connsiteY1409" fmla="*/ 4580631 h 6857106"/>
              <a:gd name="connsiteX1410" fmla="*/ 5880006 w 8243652"/>
              <a:gd name="connsiteY1410" fmla="*/ 4561581 h 6857106"/>
              <a:gd name="connsiteX1411" fmla="*/ 5875348 w 8243652"/>
              <a:gd name="connsiteY1411" fmla="*/ 4572694 h 6857106"/>
              <a:gd name="connsiteX1412" fmla="*/ 5870691 w 8243652"/>
              <a:gd name="connsiteY1412" fmla="*/ 4620319 h 6857106"/>
              <a:gd name="connsiteX1413" fmla="*/ 5870691 w 8243652"/>
              <a:gd name="connsiteY1413" fmla="*/ 4712394 h 6857106"/>
              <a:gd name="connsiteX1414" fmla="*/ 5863705 w 8243652"/>
              <a:gd name="connsiteY1414" fmla="*/ 4779069 h 6857106"/>
              <a:gd name="connsiteX1415" fmla="*/ 5854390 w 8243652"/>
              <a:gd name="connsiteY1415" fmla="*/ 4863206 h 6857106"/>
              <a:gd name="connsiteX1416" fmla="*/ 5852062 w 8243652"/>
              <a:gd name="connsiteY1416" fmla="*/ 5061644 h 6857106"/>
              <a:gd name="connsiteX1417" fmla="*/ 5852062 w 8243652"/>
              <a:gd name="connsiteY1417" fmla="*/ 5261669 h 6857106"/>
              <a:gd name="connsiteX1418" fmla="*/ 5847404 w 8243652"/>
              <a:gd name="connsiteY1418" fmla="*/ 5352156 h 6857106"/>
              <a:gd name="connsiteX1419" fmla="*/ 5842746 w 8243652"/>
              <a:gd name="connsiteY1419" fmla="*/ 5425181 h 6857106"/>
              <a:gd name="connsiteX1420" fmla="*/ 5842746 w 8243652"/>
              <a:gd name="connsiteY1420" fmla="*/ 5293419 h 6857106"/>
              <a:gd name="connsiteX1421" fmla="*/ 5842746 w 8243652"/>
              <a:gd name="connsiteY1421" fmla="*/ 5236269 h 6857106"/>
              <a:gd name="connsiteX1422" fmla="*/ 5838089 w 8243652"/>
              <a:gd name="connsiteY1422" fmla="*/ 5206106 h 6857106"/>
              <a:gd name="connsiteX1423" fmla="*/ 5819460 w 8243652"/>
              <a:gd name="connsiteY1423" fmla="*/ 5655369 h 6857106"/>
              <a:gd name="connsiteX1424" fmla="*/ 5814802 w 8243652"/>
              <a:gd name="connsiteY1424" fmla="*/ 5595044 h 6857106"/>
              <a:gd name="connsiteX1425" fmla="*/ 5814802 w 8243652"/>
              <a:gd name="connsiteY1425" fmla="*/ 5534719 h 6857106"/>
              <a:gd name="connsiteX1426" fmla="*/ 5819460 w 8243652"/>
              <a:gd name="connsiteY1426" fmla="*/ 5414069 h 6857106"/>
              <a:gd name="connsiteX1427" fmla="*/ 5821788 w 8243652"/>
              <a:gd name="connsiteY1427" fmla="*/ 5288656 h 6857106"/>
              <a:gd name="connsiteX1428" fmla="*/ 5819460 w 8243652"/>
              <a:gd name="connsiteY1428" fmla="*/ 5223569 h 6857106"/>
              <a:gd name="connsiteX1429" fmla="*/ 5810144 w 8243652"/>
              <a:gd name="connsiteY1429" fmla="*/ 5152131 h 6857106"/>
              <a:gd name="connsiteX1430" fmla="*/ 5782200 w 8243652"/>
              <a:gd name="connsiteY1430" fmla="*/ 5379144 h 6857106"/>
              <a:gd name="connsiteX1431" fmla="*/ 5770556 w 8243652"/>
              <a:gd name="connsiteY1431" fmla="*/ 5466456 h 6857106"/>
              <a:gd name="connsiteX1432" fmla="*/ 5758913 w 8243652"/>
              <a:gd name="connsiteY1432" fmla="*/ 5533131 h 6857106"/>
              <a:gd name="connsiteX1433" fmla="*/ 5747269 w 8243652"/>
              <a:gd name="connsiteY1433" fmla="*/ 5574406 h 6857106"/>
              <a:gd name="connsiteX1434" fmla="*/ 5742612 w 8243652"/>
              <a:gd name="connsiteY1434" fmla="*/ 5585519 h 6857106"/>
              <a:gd name="connsiteX1435" fmla="*/ 5737954 w 8243652"/>
              <a:gd name="connsiteY1435" fmla="*/ 5585519 h 6857106"/>
              <a:gd name="connsiteX1436" fmla="*/ 5730968 w 8243652"/>
              <a:gd name="connsiteY1436" fmla="*/ 5579169 h 6857106"/>
              <a:gd name="connsiteX1437" fmla="*/ 5726311 w 8243652"/>
              <a:gd name="connsiteY1437" fmla="*/ 5563294 h 6857106"/>
              <a:gd name="connsiteX1438" fmla="*/ 5710010 w 8243652"/>
              <a:gd name="connsiteY1438" fmla="*/ 5502969 h 6857106"/>
              <a:gd name="connsiteX1439" fmla="*/ 5703024 w 8243652"/>
              <a:gd name="connsiteY1439" fmla="*/ 5529956 h 6857106"/>
              <a:gd name="connsiteX1440" fmla="*/ 5698366 w 8243652"/>
              <a:gd name="connsiteY1440" fmla="*/ 5571231 h 6857106"/>
              <a:gd name="connsiteX1441" fmla="*/ 5693709 w 8243652"/>
              <a:gd name="connsiteY1441" fmla="*/ 5683944 h 6857106"/>
              <a:gd name="connsiteX1442" fmla="*/ 5693709 w 8243652"/>
              <a:gd name="connsiteY1442" fmla="*/ 5826819 h 6857106"/>
              <a:gd name="connsiteX1443" fmla="*/ 5698366 w 8243652"/>
              <a:gd name="connsiteY1443" fmla="*/ 5977631 h 6857106"/>
              <a:gd name="connsiteX1444" fmla="*/ 5703024 w 8243652"/>
              <a:gd name="connsiteY1444" fmla="*/ 6117331 h 6857106"/>
              <a:gd name="connsiteX1445" fmla="*/ 5705352 w 8243652"/>
              <a:gd name="connsiteY1445" fmla="*/ 6231631 h 6857106"/>
              <a:gd name="connsiteX1446" fmla="*/ 5703024 w 8243652"/>
              <a:gd name="connsiteY1446" fmla="*/ 6299894 h 6857106"/>
              <a:gd name="connsiteX1447" fmla="*/ 5698366 w 8243652"/>
              <a:gd name="connsiteY1447" fmla="*/ 6311006 h 6857106"/>
              <a:gd name="connsiteX1448" fmla="*/ 5693709 w 8243652"/>
              <a:gd name="connsiteY1448" fmla="*/ 6311006 h 6857106"/>
              <a:gd name="connsiteX1449" fmla="*/ 5689052 w 8243652"/>
              <a:gd name="connsiteY1449" fmla="*/ 6306244 h 6857106"/>
              <a:gd name="connsiteX1450" fmla="*/ 5686722 w 8243652"/>
              <a:gd name="connsiteY1450" fmla="*/ 6023669 h 6857106"/>
              <a:gd name="connsiteX1451" fmla="*/ 5682065 w 8243652"/>
              <a:gd name="connsiteY1451" fmla="*/ 5760144 h 6857106"/>
              <a:gd name="connsiteX1452" fmla="*/ 5670422 w 8243652"/>
              <a:gd name="connsiteY1452" fmla="*/ 5555356 h 6857106"/>
              <a:gd name="connsiteX1453" fmla="*/ 5661107 w 8243652"/>
              <a:gd name="connsiteY1453" fmla="*/ 5485506 h 6857106"/>
              <a:gd name="connsiteX1454" fmla="*/ 5658778 w 8243652"/>
              <a:gd name="connsiteY1454" fmla="*/ 5464869 h 6857106"/>
              <a:gd name="connsiteX1455" fmla="*/ 5654120 w 8243652"/>
              <a:gd name="connsiteY1455" fmla="*/ 5447406 h 6857106"/>
              <a:gd name="connsiteX1456" fmla="*/ 5644806 w 8243652"/>
              <a:gd name="connsiteY1456" fmla="*/ 5642669 h 6857106"/>
              <a:gd name="connsiteX1457" fmla="*/ 5642477 w 8243652"/>
              <a:gd name="connsiteY1457" fmla="*/ 5831581 h 6857106"/>
              <a:gd name="connsiteX1458" fmla="*/ 5633162 w 8243652"/>
              <a:gd name="connsiteY1458" fmla="*/ 6007794 h 6857106"/>
              <a:gd name="connsiteX1459" fmla="*/ 5626176 w 8243652"/>
              <a:gd name="connsiteY1459" fmla="*/ 6083994 h 6857106"/>
              <a:gd name="connsiteX1460" fmla="*/ 5616861 w 8243652"/>
              <a:gd name="connsiteY1460" fmla="*/ 6149081 h 6857106"/>
              <a:gd name="connsiteX1461" fmla="*/ 5621518 w 8243652"/>
              <a:gd name="connsiteY1461" fmla="*/ 5587106 h 6857106"/>
              <a:gd name="connsiteX1462" fmla="*/ 5605218 w 8243652"/>
              <a:gd name="connsiteY1462" fmla="*/ 5612506 h 6857106"/>
              <a:gd name="connsiteX1463" fmla="*/ 5600560 w 8243652"/>
              <a:gd name="connsiteY1463" fmla="*/ 5615681 h 6857106"/>
              <a:gd name="connsiteX1464" fmla="*/ 5598232 w 8243652"/>
              <a:gd name="connsiteY1464" fmla="*/ 5617269 h 6857106"/>
              <a:gd name="connsiteX1465" fmla="*/ 5598232 w 8243652"/>
              <a:gd name="connsiteY1465" fmla="*/ 5615681 h 6857106"/>
              <a:gd name="connsiteX1466" fmla="*/ 5593574 w 8243652"/>
              <a:gd name="connsiteY1466" fmla="*/ 5609331 h 6857106"/>
              <a:gd name="connsiteX1467" fmla="*/ 5588916 w 8243652"/>
              <a:gd name="connsiteY1467" fmla="*/ 5579169 h 6857106"/>
              <a:gd name="connsiteX1468" fmla="*/ 5586588 w 8243652"/>
              <a:gd name="connsiteY1468" fmla="*/ 5525194 h 6857106"/>
              <a:gd name="connsiteX1469" fmla="*/ 5581930 w 8243652"/>
              <a:gd name="connsiteY1469" fmla="*/ 5304531 h 6857106"/>
              <a:gd name="connsiteX1470" fmla="*/ 5581930 w 8243652"/>
              <a:gd name="connsiteY1470" fmla="*/ 5293419 h 6857106"/>
              <a:gd name="connsiteX1471" fmla="*/ 5570287 w 8243652"/>
              <a:gd name="connsiteY1471" fmla="*/ 5423594 h 6857106"/>
              <a:gd name="connsiteX1472" fmla="*/ 5560972 w 8243652"/>
              <a:gd name="connsiteY1472" fmla="*/ 5455344 h 6857106"/>
              <a:gd name="connsiteX1473" fmla="*/ 5556314 w 8243652"/>
              <a:gd name="connsiteY1473" fmla="*/ 5469631 h 6857106"/>
              <a:gd name="connsiteX1474" fmla="*/ 5553986 w 8243652"/>
              <a:gd name="connsiteY1474" fmla="*/ 5466456 h 6857106"/>
              <a:gd name="connsiteX1475" fmla="*/ 5549328 w 8243652"/>
              <a:gd name="connsiteY1475" fmla="*/ 5453756 h 6857106"/>
              <a:gd name="connsiteX1476" fmla="*/ 5542342 w 8243652"/>
              <a:gd name="connsiteY1476" fmla="*/ 5398194 h 6857106"/>
              <a:gd name="connsiteX1477" fmla="*/ 5537685 w 8243652"/>
              <a:gd name="connsiteY1477" fmla="*/ 5461694 h 6857106"/>
              <a:gd name="connsiteX1478" fmla="*/ 5533028 w 8243652"/>
              <a:gd name="connsiteY1478" fmla="*/ 5533131 h 6857106"/>
              <a:gd name="connsiteX1479" fmla="*/ 5533028 w 8243652"/>
              <a:gd name="connsiteY1479" fmla="*/ 5706169 h 6857106"/>
              <a:gd name="connsiteX1480" fmla="*/ 5537685 w 8243652"/>
              <a:gd name="connsiteY1480" fmla="*/ 5903019 h 6857106"/>
              <a:gd name="connsiteX1481" fmla="*/ 5542342 w 8243652"/>
              <a:gd name="connsiteY1481" fmla="*/ 6107806 h 6857106"/>
              <a:gd name="connsiteX1482" fmla="*/ 5560972 w 8243652"/>
              <a:gd name="connsiteY1482" fmla="*/ 6495156 h 6857106"/>
              <a:gd name="connsiteX1483" fmla="*/ 5572616 w 8243652"/>
              <a:gd name="connsiteY1483" fmla="*/ 6758681 h 6857106"/>
              <a:gd name="connsiteX1484" fmla="*/ 5560972 w 8243652"/>
              <a:gd name="connsiteY1484" fmla="*/ 6630094 h 6857106"/>
              <a:gd name="connsiteX1485" fmla="*/ 5553986 w 8243652"/>
              <a:gd name="connsiteY1485" fmla="*/ 6541194 h 6857106"/>
              <a:gd name="connsiteX1486" fmla="*/ 5533028 w 8243652"/>
              <a:gd name="connsiteY1486" fmla="*/ 6426894 h 6857106"/>
              <a:gd name="connsiteX1487" fmla="*/ 5526042 w 8243652"/>
              <a:gd name="connsiteY1487" fmla="*/ 6360219 h 6857106"/>
              <a:gd name="connsiteX1488" fmla="*/ 5516726 w 8243652"/>
              <a:gd name="connsiteY1488" fmla="*/ 6264969 h 6857106"/>
              <a:gd name="connsiteX1489" fmla="*/ 5509740 w 8243652"/>
              <a:gd name="connsiteY1489" fmla="*/ 6118919 h 6857106"/>
              <a:gd name="connsiteX1490" fmla="*/ 5500426 w 8243652"/>
              <a:gd name="connsiteY1490" fmla="*/ 5906194 h 6857106"/>
              <a:gd name="connsiteX1491" fmla="*/ 5528370 w 8243652"/>
              <a:gd name="connsiteY1491" fmla="*/ 5755381 h 6857106"/>
              <a:gd name="connsiteX1492" fmla="*/ 5516726 w 8243652"/>
              <a:gd name="connsiteY1492" fmla="*/ 5647431 h 6857106"/>
              <a:gd name="connsiteX1493" fmla="*/ 5509740 w 8243652"/>
              <a:gd name="connsiteY1493" fmla="*/ 5587106 h 6857106"/>
              <a:gd name="connsiteX1494" fmla="*/ 5505083 w 8243652"/>
              <a:gd name="connsiteY1494" fmla="*/ 5571231 h 6857106"/>
              <a:gd name="connsiteX1495" fmla="*/ 5500426 w 8243652"/>
              <a:gd name="connsiteY1495" fmla="*/ 5563294 h 6857106"/>
              <a:gd name="connsiteX1496" fmla="*/ 5500426 w 8243652"/>
              <a:gd name="connsiteY1496" fmla="*/ 5560119 h 6857106"/>
              <a:gd name="connsiteX1497" fmla="*/ 5498096 w 8243652"/>
              <a:gd name="connsiteY1497" fmla="*/ 5560119 h 6857106"/>
              <a:gd name="connsiteX1498" fmla="*/ 5493440 w 8243652"/>
              <a:gd name="connsiteY1498" fmla="*/ 5564881 h 6857106"/>
              <a:gd name="connsiteX1499" fmla="*/ 5488782 w 8243652"/>
              <a:gd name="connsiteY1499" fmla="*/ 5595044 h 6857106"/>
              <a:gd name="connsiteX1500" fmla="*/ 5484124 w 8243652"/>
              <a:gd name="connsiteY1500" fmla="*/ 5636319 h 6857106"/>
              <a:gd name="connsiteX1501" fmla="*/ 5472481 w 8243652"/>
              <a:gd name="connsiteY1501" fmla="*/ 5744269 h 6857106"/>
              <a:gd name="connsiteX1502" fmla="*/ 5467824 w 8243652"/>
              <a:gd name="connsiteY1502" fmla="*/ 5823644 h 6857106"/>
              <a:gd name="connsiteX1503" fmla="*/ 5465494 w 8243652"/>
              <a:gd name="connsiteY1503" fmla="*/ 5836344 h 6857106"/>
              <a:gd name="connsiteX1504" fmla="*/ 5460838 w 8243652"/>
              <a:gd name="connsiteY1504" fmla="*/ 5826819 h 6857106"/>
              <a:gd name="connsiteX1505" fmla="*/ 5453851 w 8243652"/>
              <a:gd name="connsiteY1505" fmla="*/ 5688706 h 6857106"/>
              <a:gd name="connsiteX1506" fmla="*/ 5444536 w 8243652"/>
              <a:gd name="connsiteY1506" fmla="*/ 5360094 h 6857106"/>
              <a:gd name="connsiteX1507" fmla="*/ 5449194 w 8243652"/>
              <a:gd name="connsiteY1507" fmla="*/ 5363269 h 6857106"/>
              <a:gd name="connsiteX1508" fmla="*/ 5456180 w 8243652"/>
              <a:gd name="connsiteY1508" fmla="*/ 5344219 h 6857106"/>
              <a:gd name="connsiteX1509" fmla="*/ 5465494 w 8243652"/>
              <a:gd name="connsiteY1509" fmla="*/ 5307706 h 6857106"/>
              <a:gd name="connsiteX1510" fmla="*/ 5467824 w 8243652"/>
              <a:gd name="connsiteY1510" fmla="*/ 5255319 h 6857106"/>
              <a:gd name="connsiteX1511" fmla="*/ 5477138 w 8243652"/>
              <a:gd name="connsiteY1511" fmla="*/ 5112444 h 6857106"/>
              <a:gd name="connsiteX1512" fmla="*/ 5481796 w 8243652"/>
              <a:gd name="connsiteY1512" fmla="*/ 4937819 h 6857106"/>
              <a:gd name="connsiteX1513" fmla="*/ 5472481 w 8243652"/>
              <a:gd name="connsiteY1513" fmla="*/ 4850506 h 6857106"/>
              <a:gd name="connsiteX1514" fmla="*/ 5449194 w 8243652"/>
              <a:gd name="connsiteY1514" fmla="*/ 5072756 h 6857106"/>
              <a:gd name="connsiteX1515" fmla="*/ 5456180 w 8243652"/>
              <a:gd name="connsiteY1515" fmla="*/ 5052119 h 6857106"/>
              <a:gd name="connsiteX1516" fmla="*/ 5449194 w 8243652"/>
              <a:gd name="connsiteY1516" fmla="*/ 5082281 h 6857106"/>
              <a:gd name="connsiteX1517" fmla="*/ 5439879 w 8243652"/>
              <a:gd name="connsiteY1517" fmla="*/ 5096569 h 6857106"/>
              <a:gd name="connsiteX1518" fmla="*/ 5437550 w 8243652"/>
              <a:gd name="connsiteY1518" fmla="*/ 5096569 h 6857106"/>
              <a:gd name="connsiteX1519" fmla="*/ 5437550 w 8243652"/>
              <a:gd name="connsiteY1519" fmla="*/ 5082281 h 6857106"/>
              <a:gd name="connsiteX1520" fmla="*/ 5444536 w 8243652"/>
              <a:gd name="connsiteY1520" fmla="*/ 5074344 h 6857106"/>
              <a:gd name="connsiteX1521" fmla="*/ 5449194 w 8243652"/>
              <a:gd name="connsiteY1521" fmla="*/ 4998144 h 6857106"/>
              <a:gd name="connsiteX1522" fmla="*/ 5453851 w 8243652"/>
              <a:gd name="connsiteY1522" fmla="*/ 4952106 h 6857106"/>
              <a:gd name="connsiteX1523" fmla="*/ 5456180 w 8243652"/>
              <a:gd name="connsiteY1523" fmla="*/ 4901306 h 6857106"/>
              <a:gd name="connsiteX1524" fmla="*/ 5449194 w 8243652"/>
              <a:gd name="connsiteY1524" fmla="*/ 4809231 h 6857106"/>
              <a:gd name="connsiteX1525" fmla="*/ 5432892 w 8243652"/>
              <a:gd name="connsiteY1525" fmla="*/ 5069581 h 6857106"/>
              <a:gd name="connsiteX1526" fmla="*/ 5437550 w 8243652"/>
              <a:gd name="connsiteY1526" fmla="*/ 5082281 h 6857106"/>
              <a:gd name="connsiteX1527" fmla="*/ 5432892 w 8243652"/>
              <a:gd name="connsiteY1527" fmla="*/ 5082281 h 6857106"/>
              <a:gd name="connsiteX1528" fmla="*/ 5421249 w 8243652"/>
              <a:gd name="connsiteY1528" fmla="*/ 5314056 h 6857106"/>
              <a:gd name="connsiteX1529" fmla="*/ 5428236 w 8243652"/>
              <a:gd name="connsiteY1529" fmla="*/ 5420419 h 6857106"/>
              <a:gd name="connsiteX1530" fmla="*/ 5421249 w 8243652"/>
              <a:gd name="connsiteY1530" fmla="*/ 5348981 h 6857106"/>
              <a:gd name="connsiteX1531" fmla="*/ 5416592 w 8243652"/>
              <a:gd name="connsiteY1531" fmla="*/ 5406131 h 6857106"/>
              <a:gd name="connsiteX1532" fmla="*/ 5416592 w 8243652"/>
              <a:gd name="connsiteY1532" fmla="*/ 5374381 h 6857106"/>
              <a:gd name="connsiteX1533" fmla="*/ 5367688 w 8243652"/>
              <a:gd name="connsiteY1533" fmla="*/ 5458519 h 6857106"/>
              <a:gd name="connsiteX1534" fmla="*/ 5372346 w 8243652"/>
              <a:gd name="connsiteY1534" fmla="*/ 5414069 h 6857106"/>
              <a:gd name="connsiteX1535" fmla="*/ 5372346 w 8243652"/>
              <a:gd name="connsiteY1535" fmla="*/ 5352156 h 6857106"/>
              <a:gd name="connsiteX1536" fmla="*/ 5367688 w 8243652"/>
              <a:gd name="connsiteY1536" fmla="*/ 5293419 h 6857106"/>
              <a:gd name="connsiteX1537" fmla="*/ 5365360 w 8243652"/>
              <a:gd name="connsiteY1537" fmla="*/ 5261669 h 6857106"/>
              <a:gd name="connsiteX1538" fmla="*/ 5328100 w 8243652"/>
              <a:gd name="connsiteY1538" fmla="*/ 5555356 h 6857106"/>
              <a:gd name="connsiteX1539" fmla="*/ 5332758 w 8243652"/>
              <a:gd name="connsiteY1539" fmla="*/ 5444231 h 6857106"/>
              <a:gd name="connsiteX1540" fmla="*/ 5332758 w 8243652"/>
              <a:gd name="connsiteY1540" fmla="*/ 5333106 h 6857106"/>
              <a:gd name="connsiteX1541" fmla="*/ 5323443 w 8243652"/>
              <a:gd name="connsiteY1541" fmla="*/ 5231506 h 6857106"/>
              <a:gd name="connsiteX1542" fmla="*/ 5311800 w 8243652"/>
              <a:gd name="connsiteY1542" fmla="*/ 5148956 h 6857106"/>
              <a:gd name="connsiteX1543" fmla="*/ 5307142 w 8243652"/>
              <a:gd name="connsiteY1543" fmla="*/ 5137844 h 6857106"/>
              <a:gd name="connsiteX1544" fmla="*/ 5304814 w 8243652"/>
              <a:gd name="connsiteY1544" fmla="*/ 5134669 h 6857106"/>
              <a:gd name="connsiteX1545" fmla="*/ 5300156 w 8243652"/>
              <a:gd name="connsiteY1545" fmla="*/ 5141019 h 6857106"/>
              <a:gd name="connsiteX1546" fmla="*/ 5295498 w 8243652"/>
              <a:gd name="connsiteY1546" fmla="*/ 5153719 h 6857106"/>
              <a:gd name="connsiteX1547" fmla="*/ 5293170 w 8243652"/>
              <a:gd name="connsiteY1547" fmla="*/ 5198169 h 6857106"/>
              <a:gd name="connsiteX1548" fmla="*/ 5288512 w 8243652"/>
              <a:gd name="connsiteY1548" fmla="*/ 5266431 h 6857106"/>
              <a:gd name="connsiteX1549" fmla="*/ 5279198 w 8243652"/>
              <a:gd name="connsiteY1549" fmla="*/ 5444231 h 6857106"/>
              <a:gd name="connsiteX1550" fmla="*/ 5272212 w 8243652"/>
              <a:gd name="connsiteY1550" fmla="*/ 5645844 h 6857106"/>
              <a:gd name="connsiteX1551" fmla="*/ 5267554 w 8243652"/>
              <a:gd name="connsiteY1551" fmla="*/ 5828406 h 6857106"/>
              <a:gd name="connsiteX1552" fmla="*/ 5260568 w 8243652"/>
              <a:gd name="connsiteY1552" fmla="*/ 5949056 h 6857106"/>
              <a:gd name="connsiteX1553" fmla="*/ 5255910 w 8243652"/>
              <a:gd name="connsiteY1553" fmla="*/ 5974456 h 6857106"/>
              <a:gd name="connsiteX1554" fmla="*/ 5255910 w 8243652"/>
              <a:gd name="connsiteY1554" fmla="*/ 5977631 h 6857106"/>
              <a:gd name="connsiteX1555" fmla="*/ 5251253 w 8243652"/>
              <a:gd name="connsiteY1555" fmla="*/ 5968106 h 6857106"/>
              <a:gd name="connsiteX1556" fmla="*/ 5248924 w 8243652"/>
              <a:gd name="connsiteY1556" fmla="*/ 5925244 h 6857106"/>
              <a:gd name="connsiteX1557" fmla="*/ 5239610 w 8243652"/>
              <a:gd name="connsiteY1557" fmla="*/ 5842694 h 6857106"/>
              <a:gd name="connsiteX1558" fmla="*/ 5244267 w 8243652"/>
              <a:gd name="connsiteY1558" fmla="*/ 5842694 h 6857106"/>
              <a:gd name="connsiteX1559" fmla="*/ 5244267 w 8243652"/>
              <a:gd name="connsiteY1559" fmla="*/ 5836344 h 6857106"/>
              <a:gd name="connsiteX1560" fmla="*/ 5248924 w 8243652"/>
              <a:gd name="connsiteY1560" fmla="*/ 5817294 h 6857106"/>
              <a:gd name="connsiteX1561" fmla="*/ 5248924 w 8243652"/>
              <a:gd name="connsiteY1561" fmla="*/ 5798244 h 6857106"/>
              <a:gd name="connsiteX1562" fmla="*/ 5248924 w 8243652"/>
              <a:gd name="connsiteY1562" fmla="*/ 5793481 h 6857106"/>
              <a:gd name="connsiteX1563" fmla="*/ 5251253 w 8243652"/>
              <a:gd name="connsiteY1563" fmla="*/ 5796656 h 6857106"/>
              <a:gd name="connsiteX1564" fmla="*/ 5232623 w 8243652"/>
              <a:gd name="connsiteY1564" fmla="*/ 5544244 h 6857106"/>
              <a:gd name="connsiteX1565" fmla="*/ 5232623 w 8243652"/>
              <a:gd name="connsiteY1565" fmla="*/ 5741094 h 6857106"/>
              <a:gd name="connsiteX1566" fmla="*/ 5227966 w 8243652"/>
              <a:gd name="connsiteY1566" fmla="*/ 5895081 h 6857106"/>
              <a:gd name="connsiteX1567" fmla="*/ 5223308 w 8243652"/>
              <a:gd name="connsiteY1567" fmla="*/ 6004619 h 6857106"/>
              <a:gd name="connsiteX1568" fmla="*/ 5216322 w 8243652"/>
              <a:gd name="connsiteY1568" fmla="*/ 6083994 h 6857106"/>
              <a:gd name="connsiteX1569" fmla="*/ 5207008 w 8243652"/>
              <a:gd name="connsiteY1569" fmla="*/ 6136381 h 6857106"/>
              <a:gd name="connsiteX1570" fmla="*/ 5195364 w 8243652"/>
              <a:gd name="connsiteY1570" fmla="*/ 6168131 h 6857106"/>
              <a:gd name="connsiteX1571" fmla="*/ 5188378 w 8243652"/>
              <a:gd name="connsiteY1571" fmla="*/ 6188769 h 6857106"/>
              <a:gd name="connsiteX1572" fmla="*/ 5174406 w 8243652"/>
              <a:gd name="connsiteY1572" fmla="*/ 6198294 h 6857106"/>
              <a:gd name="connsiteX1573" fmla="*/ 5167419 w 8243652"/>
              <a:gd name="connsiteY1573" fmla="*/ 6212581 h 6857106"/>
              <a:gd name="connsiteX1574" fmla="*/ 5155776 w 8243652"/>
              <a:gd name="connsiteY1574" fmla="*/ 6231631 h 6857106"/>
              <a:gd name="connsiteX1575" fmla="*/ 5146460 w 8243652"/>
              <a:gd name="connsiteY1575" fmla="*/ 6264969 h 6857106"/>
              <a:gd name="connsiteX1576" fmla="*/ 5139474 w 8243652"/>
              <a:gd name="connsiteY1576" fmla="*/ 6317356 h 6857106"/>
              <a:gd name="connsiteX1577" fmla="*/ 5130160 w 8243652"/>
              <a:gd name="connsiteY1577" fmla="*/ 6393556 h 6857106"/>
              <a:gd name="connsiteX1578" fmla="*/ 5127831 w 8243652"/>
              <a:gd name="connsiteY1578" fmla="*/ 6506269 h 6857106"/>
              <a:gd name="connsiteX1579" fmla="*/ 5123174 w 8243652"/>
              <a:gd name="connsiteY1579" fmla="*/ 6660256 h 6857106"/>
              <a:gd name="connsiteX1580" fmla="*/ 5118516 w 8243652"/>
              <a:gd name="connsiteY1580" fmla="*/ 6857106 h 6857106"/>
              <a:gd name="connsiteX1581" fmla="*/ 5111530 w 8243652"/>
              <a:gd name="connsiteY1581" fmla="*/ 6599931 h 6857106"/>
              <a:gd name="connsiteX1582" fmla="*/ 5111530 w 8243652"/>
              <a:gd name="connsiteY1582" fmla="*/ 6525319 h 6857106"/>
              <a:gd name="connsiteX1583" fmla="*/ 5116188 w 8243652"/>
              <a:gd name="connsiteY1583" fmla="*/ 6461819 h 6857106"/>
              <a:gd name="connsiteX1584" fmla="*/ 5130160 w 8243652"/>
              <a:gd name="connsiteY1584" fmla="*/ 6309419 h 6857106"/>
              <a:gd name="connsiteX1585" fmla="*/ 5139474 w 8243652"/>
              <a:gd name="connsiteY1585" fmla="*/ 6185594 h 6857106"/>
              <a:gd name="connsiteX1586" fmla="*/ 5151118 w 8243652"/>
              <a:gd name="connsiteY1586" fmla="*/ 6007794 h 6857106"/>
              <a:gd name="connsiteX1587" fmla="*/ 5123174 w 8243652"/>
              <a:gd name="connsiteY1587" fmla="*/ 5664894 h 6857106"/>
              <a:gd name="connsiteX1588" fmla="*/ 5127831 w 8243652"/>
              <a:gd name="connsiteY1588" fmla="*/ 5653781 h 6857106"/>
              <a:gd name="connsiteX1589" fmla="*/ 5130160 w 8243652"/>
              <a:gd name="connsiteY1589" fmla="*/ 5650606 h 6857106"/>
              <a:gd name="connsiteX1590" fmla="*/ 5139474 w 8243652"/>
              <a:gd name="connsiteY1590" fmla="*/ 5655369 h 6857106"/>
              <a:gd name="connsiteX1591" fmla="*/ 5144132 w 8243652"/>
              <a:gd name="connsiteY1591" fmla="*/ 5655369 h 6857106"/>
              <a:gd name="connsiteX1592" fmla="*/ 5146460 w 8243652"/>
              <a:gd name="connsiteY1592" fmla="*/ 5647431 h 6857106"/>
              <a:gd name="connsiteX1593" fmla="*/ 5155776 w 8243652"/>
              <a:gd name="connsiteY1593" fmla="*/ 5628381 h 6857106"/>
              <a:gd name="connsiteX1594" fmla="*/ 5160433 w 8243652"/>
              <a:gd name="connsiteY1594" fmla="*/ 5593456 h 6857106"/>
              <a:gd name="connsiteX1595" fmla="*/ 5144132 w 8243652"/>
              <a:gd name="connsiteY1595" fmla="*/ 5455344 h 6857106"/>
              <a:gd name="connsiteX1596" fmla="*/ 5139474 w 8243652"/>
              <a:gd name="connsiteY1596" fmla="*/ 5423594 h 6857106"/>
              <a:gd name="connsiteX1597" fmla="*/ 5130160 w 8243652"/>
              <a:gd name="connsiteY1597" fmla="*/ 5406131 h 6857106"/>
              <a:gd name="connsiteX1598" fmla="*/ 5127831 w 8243652"/>
              <a:gd name="connsiteY1598" fmla="*/ 5406131 h 6857106"/>
              <a:gd name="connsiteX1599" fmla="*/ 5123174 w 8243652"/>
              <a:gd name="connsiteY1599" fmla="*/ 5412481 h 6857106"/>
              <a:gd name="connsiteX1600" fmla="*/ 5118516 w 8243652"/>
              <a:gd name="connsiteY1600" fmla="*/ 5431531 h 6857106"/>
              <a:gd name="connsiteX1601" fmla="*/ 5106872 w 8243652"/>
              <a:gd name="connsiteY1601" fmla="*/ 5510906 h 6857106"/>
              <a:gd name="connsiteX1602" fmla="*/ 5095229 w 8243652"/>
              <a:gd name="connsiteY1602" fmla="*/ 5625206 h 6857106"/>
              <a:gd name="connsiteX1603" fmla="*/ 5083586 w 8243652"/>
              <a:gd name="connsiteY1603" fmla="*/ 5766494 h 6857106"/>
              <a:gd name="connsiteX1604" fmla="*/ 5067284 w 8243652"/>
              <a:gd name="connsiteY1604" fmla="*/ 6037956 h 6857106"/>
              <a:gd name="connsiteX1605" fmla="*/ 5062627 w 8243652"/>
              <a:gd name="connsiteY1605" fmla="*/ 5949056 h 6857106"/>
              <a:gd name="connsiteX1606" fmla="*/ 5062627 w 8243652"/>
              <a:gd name="connsiteY1606" fmla="*/ 5826819 h 6857106"/>
              <a:gd name="connsiteX1607" fmla="*/ 5062627 w 8243652"/>
              <a:gd name="connsiteY1607" fmla="*/ 5549006 h 6857106"/>
              <a:gd name="connsiteX1608" fmla="*/ 5062627 w 8243652"/>
              <a:gd name="connsiteY1608" fmla="*/ 5425181 h 6857106"/>
              <a:gd name="connsiteX1609" fmla="*/ 5057970 w 8243652"/>
              <a:gd name="connsiteY1609" fmla="*/ 5341044 h 6857106"/>
              <a:gd name="connsiteX1610" fmla="*/ 5055641 w 8243652"/>
              <a:gd name="connsiteY1610" fmla="*/ 5314056 h 6857106"/>
              <a:gd name="connsiteX1611" fmla="*/ 5050984 w 8243652"/>
              <a:gd name="connsiteY1611" fmla="*/ 5304531 h 6857106"/>
              <a:gd name="connsiteX1612" fmla="*/ 5046326 w 8243652"/>
              <a:gd name="connsiteY1612" fmla="*/ 5304531 h 6857106"/>
              <a:gd name="connsiteX1613" fmla="*/ 5046326 w 8243652"/>
              <a:gd name="connsiteY1613" fmla="*/ 5310881 h 6857106"/>
              <a:gd name="connsiteX1614" fmla="*/ 5039340 w 8243652"/>
              <a:gd name="connsiteY1614" fmla="*/ 5337869 h 6857106"/>
              <a:gd name="connsiteX1615" fmla="*/ 5030025 w 8243652"/>
              <a:gd name="connsiteY1615" fmla="*/ 5387081 h 6857106"/>
              <a:gd name="connsiteX1616" fmla="*/ 5023039 w 8243652"/>
              <a:gd name="connsiteY1616" fmla="*/ 5442644 h 6857106"/>
              <a:gd name="connsiteX1617" fmla="*/ 5013724 w 8243652"/>
              <a:gd name="connsiteY1617" fmla="*/ 5574406 h 6857106"/>
              <a:gd name="connsiteX1618" fmla="*/ 5013724 w 8243652"/>
              <a:gd name="connsiteY1618" fmla="*/ 5722044 h 6857106"/>
              <a:gd name="connsiteX1619" fmla="*/ 5018382 w 8243652"/>
              <a:gd name="connsiteY1619" fmla="*/ 5877619 h 6857106"/>
              <a:gd name="connsiteX1620" fmla="*/ 5027696 w 8243652"/>
              <a:gd name="connsiteY1620" fmla="*/ 6163369 h 6857106"/>
              <a:gd name="connsiteX1621" fmla="*/ 5023039 w 8243652"/>
              <a:gd name="connsiteY1621" fmla="*/ 6272906 h 6857106"/>
              <a:gd name="connsiteX1622" fmla="*/ 5018382 w 8243652"/>
              <a:gd name="connsiteY1622" fmla="*/ 6317356 h 6857106"/>
              <a:gd name="connsiteX1623" fmla="*/ 5013724 w 8243652"/>
              <a:gd name="connsiteY1623" fmla="*/ 6347519 h 6857106"/>
              <a:gd name="connsiteX1624" fmla="*/ 4990437 w 8243652"/>
              <a:gd name="connsiteY1624" fmla="*/ 5729981 h 6857106"/>
              <a:gd name="connsiteX1625" fmla="*/ 4974136 w 8243652"/>
              <a:gd name="connsiteY1625" fmla="*/ 5866506 h 6857106"/>
              <a:gd name="connsiteX1626" fmla="*/ 4967150 w 8243652"/>
              <a:gd name="connsiteY1626" fmla="*/ 5910956 h 6857106"/>
              <a:gd name="connsiteX1627" fmla="*/ 4957835 w 8243652"/>
              <a:gd name="connsiteY1627" fmla="*/ 5936356 h 6857106"/>
              <a:gd name="connsiteX1628" fmla="*/ 4953178 w 8243652"/>
              <a:gd name="connsiteY1628" fmla="*/ 5949056 h 6857106"/>
              <a:gd name="connsiteX1629" fmla="*/ 4950849 w 8243652"/>
              <a:gd name="connsiteY1629" fmla="*/ 5949056 h 6857106"/>
              <a:gd name="connsiteX1630" fmla="*/ 4946191 w 8243652"/>
              <a:gd name="connsiteY1630" fmla="*/ 5949056 h 6857106"/>
              <a:gd name="connsiteX1631" fmla="*/ 4939205 w 8243652"/>
              <a:gd name="connsiteY1631" fmla="*/ 5941119 h 6857106"/>
              <a:gd name="connsiteX1632" fmla="*/ 4934548 w 8243652"/>
              <a:gd name="connsiteY1632" fmla="*/ 5922069 h 6857106"/>
              <a:gd name="connsiteX1633" fmla="*/ 4918247 w 8243652"/>
              <a:gd name="connsiteY1633" fmla="*/ 5869681 h 6857106"/>
              <a:gd name="connsiteX1634" fmla="*/ 4906603 w 8243652"/>
              <a:gd name="connsiteY1634" fmla="*/ 5806181 h 6857106"/>
              <a:gd name="connsiteX1635" fmla="*/ 4894960 w 8243652"/>
              <a:gd name="connsiteY1635" fmla="*/ 5745856 h 6857106"/>
              <a:gd name="connsiteX1636" fmla="*/ 4878659 w 8243652"/>
              <a:gd name="connsiteY1636" fmla="*/ 5702994 h 6857106"/>
              <a:gd name="connsiteX1637" fmla="*/ 4869344 w 8243652"/>
              <a:gd name="connsiteY1637" fmla="*/ 5785544 h 6857106"/>
              <a:gd name="connsiteX1638" fmla="*/ 4864686 w 8243652"/>
              <a:gd name="connsiteY1638" fmla="*/ 5883969 h 6857106"/>
              <a:gd name="connsiteX1639" fmla="*/ 4857700 w 8243652"/>
              <a:gd name="connsiteY1639" fmla="*/ 5845869 h 6857106"/>
              <a:gd name="connsiteX1640" fmla="*/ 4853043 w 8243652"/>
              <a:gd name="connsiteY1640" fmla="*/ 5834756 h 6857106"/>
              <a:gd name="connsiteX1641" fmla="*/ 4850714 w 8243652"/>
              <a:gd name="connsiteY1641" fmla="*/ 5831581 h 6857106"/>
              <a:gd name="connsiteX1642" fmla="*/ 4846057 w 8243652"/>
              <a:gd name="connsiteY1642" fmla="*/ 5831581 h 6857106"/>
              <a:gd name="connsiteX1643" fmla="*/ 4841399 w 8243652"/>
              <a:gd name="connsiteY1643" fmla="*/ 5836344 h 6857106"/>
              <a:gd name="connsiteX1644" fmla="*/ 4834413 w 8243652"/>
              <a:gd name="connsiteY1644" fmla="*/ 5861744 h 6857106"/>
              <a:gd name="connsiteX1645" fmla="*/ 4820441 w 8243652"/>
              <a:gd name="connsiteY1645" fmla="*/ 5944294 h 6857106"/>
              <a:gd name="connsiteX1646" fmla="*/ 4806469 w 8243652"/>
              <a:gd name="connsiteY1646" fmla="*/ 6058594 h 6857106"/>
              <a:gd name="connsiteX1647" fmla="*/ 4792496 w 8243652"/>
              <a:gd name="connsiteY1647" fmla="*/ 6174481 h 6857106"/>
              <a:gd name="connsiteX1648" fmla="*/ 4776195 w 8243652"/>
              <a:gd name="connsiteY1648" fmla="*/ 6268144 h 6857106"/>
              <a:gd name="connsiteX1649" fmla="*/ 4773867 w 8243652"/>
              <a:gd name="connsiteY1649" fmla="*/ 6298306 h 6857106"/>
              <a:gd name="connsiteX1650" fmla="*/ 4764552 w 8243652"/>
              <a:gd name="connsiteY1650" fmla="*/ 6314181 h 6857106"/>
              <a:gd name="connsiteX1651" fmla="*/ 4762223 w 8243652"/>
              <a:gd name="connsiteY1651" fmla="*/ 6314181 h 6857106"/>
              <a:gd name="connsiteX1652" fmla="*/ 4762223 w 8243652"/>
              <a:gd name="connsiteY1652" fmla="*/ 6309419 h 6857106"/>
              <a:gd name="connsiteX1653" fmla="*/ 4752908 w 8243652"/>
              <a:gd name="connsiteY1653" fmla="*/ 6284019 h 6857106"/>
              <a:gd name="connsiteX1654" fmla="*/ 4757566 w 8243652"/>
              <a:gd name="connsiteY1654" fmla="*/ 6228456 h 6857106"/>
              <a:gd name="connsiteX1655" fmla="*/ 4752908 w 8243652"/>
              <a:gd name="connsiteY1655" fmla="*/ 6166544 h 6857106"/>
              <a:gd name="connsiteX1656" fmla="*/ 4748251 w 8243652"/>
              <a:gd name="connsiteY1656" fmla="*/ 6023669 h 6857106"/>
              <a:gd name="connsiteX1657" fmla="*/ 4741265 w 8243652"/>
              <a:gd name="connsiteY1657" fmla="*/ 5876031 h 6857106"/>
              <a:gd name="connsiteX1658" fmla="*/ 4731950 w 8243652"/>
              <a:gd name="connsiteY1658" fmla="*/ 5745856 h 6857106"/>
              <a:gd name="connsiteX1659" fmla="*/ 4680718 w 8243652"/>
              <a:gd name="connsiteY1659" fmla="*/ 6128444 h 6857106"/>
              <a:gd name="connsiteX1660" fmla="*/ 4687704 w 8243652"/>
              <a:gd name="connsiteY1660" fmla="*/ 6057006 h 6857106"/>
              <a:gd name="connsiteX1661" fmla="*/ 4697019 w 8243652"/>
              <a:gd name="connsiteY1661" fmla="*/ 5971281 h 6857106"/>
              <a:gd name="connsiteX1662" fmla="*/ 4701676 w 8243652"/>
              <a:gd name="connsiteY1662" fmla="*/ 5766494 h 6857106"/>
              <a:gd name="connsiteX1663" fmla="*/ 4708662 w 8243652"/>
              <a:gd name="connsiteY1663" fmla="*/ 5266431 h 6857106"/>
              <a:gd name="connsiteX1664" fmla="*/ 4701676 w 8243652"/>
              <a:gd name="connsiteY1664" fmla="*/ 5285481 h 6857106"/>
              <a:gd name="connsiteX1665" fmla="*/ 4697019 w 8243652"/>
              <a:gd name="connsiteY1665" fmla="*/ 5318819 h 6857106"/>
              <a:gd name="connsiteX1666" fmla="*/ 4687704 w 8243652"/>
              <a:gd name="connsiteY1666" fmla="*/ 5401369 h 6857106"/>
              <a:gd name="connsiteX1667" fmla="*/ 4680718 w 8243652"/>
              <a:gd name="connsiteY1667" fmla="*/ 5485506 h 6857106"/>
              <a:gd name="connsiteX1668" fmla="*/ 4673732 w 8243652"/>
              <a:gd name="connsiteY1668" fmla="*/ 5544244 h 6857106"/>
              <a:gd name="connsiteX1669" fmla="*/ 4680718 w 8243652"/>
              <a:gd name="connsiteY1669" fmla="*/ 5348981 h 6857106"/>
              <a:gd name="connsiteX1670" fmla="*/ 4680718 w 8243652"/>
              <a:gd name="connsiteY1670" fmla="*/ 5244206 h 6857106"/>
              <a:gd name="connsiteX1671" fmla="*/ 4676060 w 8243652"/>
              <a:gd name="connsiteY1671" fmla="*/ 5133081 h 6857106"/>
              <a:gd name="connsiteX1672" fmla="*/ 4620171 w 8243652"/>
              <a:gd name="connsiteY1672" fmla="*/ 5715694 h 6857106"/>
              <a:gd name="connsiteX1673" fmla="*/ 4629486 w 8243652"/>
              <a:gd name="connsiteY1673" fmla="*/ 5785544 h 6857106"/>
              <a:gd name="connsiteX1674" fmla="*/ 4636472 w 8243652"/>
              <a:gd name="connsiteY1674" fmla="*/ 5817294 h 6857106"/>
              <a:gd name="connsiteX1675" fmla="*/ 4631815 w 8243652"/>
              <a:gd name="connsiteY1675" fmla="*/ 5826819 h 6857106"/>
              <a:gd name="connsiteX1676" fmla="*/ 4624829 w 8243652"/>
              <a:gd name="connsiteY1676" fmla="*/ 5847456 h 6857106"/>
              <a:gd name="connsiteX1677" fmla="*/ 4615514 w 8243652"/>
              <a:gd name="connsiteY1677" fmla="*/ 5876031 h 6857106"/>
              <a:gd name="connsiteX1678" fmla="*/ 4608528 w 8243652"/>
              <a:gd name="connsiteY1678" fmla="*/ 5895081 h 6857106"/>
              <a:gd name="connsiteX1679" fmla="*/ 4603870 w 8243652"/>
              <a:gd name="connsiteY1679" fmla="*/ 5899844 h 6857106"/>
              <a:gd name="connsiteX1680" fmla="*/ 4599213 w 8243652"/>
              <a:gd name="connsiteY1680" fmla="*/ 5903019 h 6857106"/>
              <a:gd name="connsiteX1681" fmla="*/ 4596884 w 8243652"/>
              <a:gd name="connsiteY1681" fmla="*/ 5896669 h 6857106"/>
              <a:gd name="connsiteX1682" fmla="*/ 4587569 w 8243652"/>
              <a:gd name="connsiteY1682" fmla="*/ 5887144 h 6857106"/>
              <a:gd name="connsiteX1683" fmla="*/ 4580583 w 8243652"/>
              <a:gd name="connsiteY1683" fmla="*/ 5839519 h 6857106"/>
              <a:gd name="connsiteX1684" fmla="*/ 4571268 w 8243652"/>
              <a:gd name="connsiteY1684" fmla="*/ 5755381 h 6857106"/>
              <a:gd name="connsiteX1685" fmla="*/ 4580583 w 8243652"/>
              <a:gd name="connsiteY1685" fmla="*/ 5555356 h 6857106"/>
              <a:gd name="connsiteX1686" fmla="*/ 4585241 w 8243652"/>
              <a:gd name="connsiteY1686" fmla="*/ 5352156 h 6857106"/>
              <a:gd name="connsiteX1687" fmla="*/ 4587569 w 8243652"/>
              <a:gd name="connsiteY1687" fmla="*/ 5466456 h 6857106"/>
              <a:gd name="connsiteX1688" fmla="*/ 4596884 w 8243652"/>
              <a:gd name="connsiteY1688" fmla="*/ 5522019 h 6857106"/>
              <a:gd name="connsiteX1689" fmla="*/ 4596884 w 8243652"/>
              <a:gd name="connsiteY1689" fmla="*/ 5529956 h 6857106"/>
              <a:gd name="connsiteX1690" fmla="*/ 4599213 w 8243652"/>
              <a:gd name="connsiteY1690" fmla="*/ 5526781 h 6857106"/>
              <a:gd name="connsiteX1691" fmla="*/ 4603870 w 8243652"/>
              <a:gd name="connsiteY1691" fmla="*/ 5495031 h 6857106"/>
              <a:gd name="connsiteX1692" fmla="*/ 4613185 w 8243652"/>
              <a:gd name="connsiteY1692" fmla="*/ 5344219 h 6857106"/>
              <a:gd name="connsiteX1693" fmla="*/ 4620171 w 8243652"/>
              <a:gd name="connsiteY1693" fmla="*/ 5145781 h 6857106"/>
              <a:gd name="connsiteX1694" fmla="*/ 4613185 w 8243652"/>
              <a:gd name="connsiteY1694" fmla="*/ 5153719 h 6857106"/>
              <a:gd name="connsiteX1695" fmla="*/ 4608528 w 8243652"/>
              <a:gd name="connsiteY1695" fmla="*/ 5156894 h 6857106"/>
              <a:gd name="connsiteX1696" fmla="*/ 4603870 w 8243652"/>
              <a:gd name="connsiteY1696" fmla="*/ 5156894 h 6857106"/>
              <a:gd name="connsiteX1697" fmla="*/ 4599213 w 8243652"/>
              <a:gd name="connsiteY1697" fmla="*/ 5152131 h 6857106"/>
              <a:gd name="connsiteX1698" fmla="*/ 4596884 w 8243652"/>
              <a:gd name="connsiteY1698" fmla="*/ 5129906 h 6857106"/>
              <a:gd name="connsiteX1699" fmla="*/ 4596884 w 8243652"/>
              <a:gd name="connsiteY1699" fmla="*/ 5091806 h 6857106"/>
              <a:gd name="connsiteX1700" fmla="*/ 4596884 w 8243652"/>
              <a:gd name="connsiteY1700" fmla="*/ 4971156 h 6857106"/>
              <a:gd name="connsiteX1701" fmla="*/ 4596884 w 8243652"/>
              <a:gd name="connsiteY1701" fmla="*/ 4893369 h 6857106"/>
              <a:gd name="connsiteX1702" fmla="*/ 4592227 w 8243652"/>
              <a:gd name="connsiteY1702" fmla="*/ 4802881 h 6857106"/>
              <a:gd name="connsiteX1703" fmla="*/ 4585241 w 8243652"/>
              <a:gd name="connsiteY1703" fmla="*/ 4810819 h 6857106"/>
              <a:gd name="connsiteX1704" fmla="*/ 4580583 w 8243652"/>
              <a:gd name="connsiteY1704" fmla="*/ 4828281 h 6857106"/>
              <a:gd name="connsiteX1705" fmla="*/ 4571268 w 8243652"/>
              <a:gd name="connsiteY1705" fmla="*/ 4888606 h 6857106"/>
              <a:gd name="connsiteX1706" fmla="*/ 4568940 w 8243652"/>
              <a:gd name="connsiteY1706" fmla="*/ 4979094 h 6857106"/>
              <a:gd name="connsiteX1707" fmla="*/ 4564282 w 8243652"/>
              <a:gd name="connsiteY1707" fmla="*/ 5088631 h 6857106"/>
              <a:gd name="connsiteX1708" fmla="*/ 4554967 w 8243652"/>
              <a:gd name="connsiteY1708" fmla="*/ 5337869 h 6857106"/>
              <a:gd name="connsiteX1709" fmla="*/ 4559625 w 8243652"/>
              <a:gd name="connsiteY1709" fmla="*/ 5585519 h 6857106"/>
              <a:gd name="connsiteX1710" fmla="*/ 4540995 w 8243652"/>
              <a:gd name="connsiteY1710" fmla="*/ 5496619 h 6857106"/>
              <a:gd name="connsiteX1711" fmla="*/ 4531680 w 8243652"/>
              <a:gd name="connsiteY1711" fmla="*/ 5472806 h 6857106"/>
              <a:gd name="connsiteX1712" fmla="*/ 4527023 w 8243652"/>
              <a:gd name="connsiteY1712" fmla="*/ 5466456 h 6857106"/>
              <a:gd name="connsiteX1713" fmla="*/ 4524694 w 8243652"/>
              <a:gd name="connsiteY1713" fmla="*/ 5464869 h 6857106"/>
              <a:gd name="connsiteX1714" fmla="*/ 4520037 w 8243652"/>
              <a:gd name="connsiteY1714" fmla="*/ 5469631 h 6857106"/>
              <a:gd name="connsiteX1715" fmla="*/ 4515379 w 8243652"/>
              <a:gd name="connsiteY1715" fmla="*/ 5480744 h 6857106"/>
              <a:gd name="connsiteX1716" fmla="*/ 4508393 w 8243652"/>
              <a:gd name="connsiteY1716" fmla="*/ 5525194 h 6857106"/>
              <a:gd name="connsiteX1717" fmla="*/ 4487435 w 8243652"/>
              <a:gd name="connsiteY1717" fmla="*/ 5714106 h 6857106"/>
              <a:gd name="connsiteX1718" fmla="*/ 4496749 w 8243652"/>
              <a:gd name="connsiteY1718" fmla="*/ 5233094 h 6857106"/>
              <a:gd name="connsiteX1719" fmla="*/ 4468805 w 8243652"/>
              <a:gd name="connsiteY1719" fmla="*/ 5383906 h 6857106"/>
              <a:gd name="connsiteX1720" fmla="*/ 4487435 w 8243652"/>
              <a:gd name="connsiteY1720" fmla="*/ 4798119 h 6857106"/>
              <a:gd name="connsiteX1721" fmla="*/ 4480448 w 8243652"/>
              <a:gd name="connsiteY1721" fmla="*/ 4753669 h 6857106"/>
              <a:gd name="connsiteX1722" fmla="*/ 4475791 w 8243652"/>
              <a:gd name="connsiteY1722" fmla="*/ 4742556 h 6857106"/>
              <a:gd name="connsiteX1723" fmla="*/ 4471134 w 8243652"/>
              <a:gd name="connsiteY1723" fmla="*/ 4737794 h 6857106"/>
              <a:gd name="connsiteX1724" fmla="*/ 4471134 w 8243652"/>
              <a:gd name="connsiteY1724" fmla="*/ 4740969 h 6857106"/>
              <a:gd name="connsiteX1725" fmla="*/ 4468805 w 8243652"/>
              <a:gd name="connsiteY1725" fmla="*/ 4750494 h 6857106"/>
              <a:gd name="connsiteX1726" fmla="*/ 4464147 w 8243652"/>
              <a:gd name="connsiteY1726" fmla="*/ 4783831 h 6857106"/>
              <a:gd name="connsiteX1727" fmla="*/ 4459490 w 8243652"/>
              <a:gd name="connsiteY1727" fmla="*/ 4899719 h 6857106"/>
              <a:gd name="connsiteX1728" fmla="*/ 4454833 w 8243652"/>
              <a:gd name="connsiteY1728" fmla="*/ 5052119 h 6857106"/>
              <a:gd name="connsiteX1729" fmla="*/ 4452504 w 8243652"/>
              <a:gd name="connsiteY1729" fmla="*/ 5209281 h 6857106"/>
              <a:gd name="connsiteX1730" fmla="*/ 4447846 w 8243652"/>
              <a:gd name="connsiteY1730" fmla="*/ 5333106 h 6857106"/>
              <a:gd name="connsiteX1731" fmla="*/ 4443189 w 8243652"/>
              <a:gd name="connsiteY1731" fmla="*/ 5374381 h 6857106"/>
              <a:gd name="connsiteX1732" fmla="*/ 4436203 w 8243652"/>
              <a:gd name="connsiteY1732" fmla="*/ 5393431 h 6857106"/>
              <a:gd name="connsiteX1733" fmla="*/ 4431545 w 8243652"/>
              <a:gd name="connsiteY1733" fmla="*/ 5393431 h 6857106"/>
              <a:gd name="connsiteX1734" fmla="*/ 4426888 w 8243652"/>
              <a:gd name="connsiteY1734" fmla="*/ 5387081 h 6857106"/>
              <a:gd name="connsiteX1735" fmla="*/ 4419902 w 8243652"/>
              <a:gd name="connsiteY1735" fmla="*/ 5352156 h 6857106"/>
              <a:gd name="connsiteX1736" fmla="*/ 4419902 w 8243652"/>
              <a:gd name="connsiteY1736" fmla="*/ 4929881 h 6857106"/>
              <a:gd name="connsiteX1737" fmla="*/ 4410587 w 8243652"/>
              <a:gd name="connsiteY1737" fmla="*/ 5012431 h 6857106"/>
              <a:gd name="connsiteX1738" fmla="*/ 4403601 w 8243652"/>
              <a:gd name="connsiteY1738" fmla="*/ 5126731 h 6857106"/>
              <a:gd name="connsiteX1739" fmla="*/ 4391957 w 8243652"/>
              <a:gd name="connsiteY1739" fmla="*/ 5363269 h 6857106"/>
              <a:gd name="connsiteX1740" fmla="*/ 4387300 w 8243652"/>
              <a:gd name="connsiteY1740" fmla="*/ 5444231 h 6857106"/>
              <a:gd name="connsiteX1741" fmla="*/ 4382642 w 8243652"/>
              <a:gd name="connsiteY1741" fmla="*/ 5469631 h 6857106"/>
              <a:gd name="connsiteX1742" fmla="*/ 4380314 w 8243652"/>
              <a:gd name="connsiteY1742" fmla="*/ 5474394 h 6857106"/>
              <a:gd name="connsiteX1743" fmla="*/ 4380314 w 8243652"/>
              <a:gd name="connsiteY1743" fmla="*/ 5464869 h 6857106"/>
              <a:gd name="connsiteX1744" fmla="*/ 4375656 w 8243652"/>
              <a:gd name="connsiteY1744" fmla="*/ 5434706 h 6857106"/>
              <a:gd name="connsiteX1745" fmla="*/ 4366341 w 8243652"/>
              <a:gd name="connsiteY1745" fmla="*/ 5296594 h 6857106"/>
              <a:gd name="connsiteX1746" fmla="*/ 4364013 w 8243652"/>
              <a:gd name="connsiteY1746" fmla="*/ 5395019 h 6857106"/>
              <a:gd name="connsiteX1747" fmla="*/ 4364013 w 8243652"/>
              <a:gd name="connsiteY1747" fmla="*/ 5499794 h 6857106"/>
              <a:gd name="connsiteX1748" fmla="*/ 4375656 w 8243652"/>
              <a:gd name="connsiteY1748" fmla="*/ 5702994 h 6857106"/>
              <a:gd name="connsiteX1749" fmla="*/ 4375656 w 8243652"/>
              <a:gd name="connsiteY1749" fmla="*/ 5793481 h 6857106"/>
              <a:gd name="connsiteX1750" fmla="*/ 4375656 w 8243652"/>
              <a:gd name="connsiteY1750" fmla="*/ 5872856 h 6857106"/>
              <a:gd name="connsiteX1751" fmla="*/ 4370999 w 8243652"/>
              <a:gd name="connsiteY1751" fmla="*/ 5937944 h 6857106"/>
              <a:gd name="connsiteX1752" fmla="*/ 4364013 w 8243652"/>
              <a:gd name="connsiteY1752" fmla="*/ 5963344 h 6857106"/>
              <a:gd name="connsiteX1753" fmla="*/ 4354698 w 8243652"/>
              <a:gd name="connsiteY1753" fmla="*/ 5982394 h 6857106"/>
              <a:gd name="connsiteX1754" fmla="*/ 4347712 w 8243652"/>
              <a:gd name="connsiteY1754" fmla="*/ 5828406 h 6857106"/>
              <a:gd name="connsiteX1755" fmla="*/ 4336068 w 8243652"/>
              <a:gd name="connsiteY1755" fmla="*/ 5699819 h 6857106"/>
              <a:gd name="connsiteX1756" fmla="*/ 4322096 w 8243652"/>
              <a:gd name="connsiteY1756" fmla="*/ 5595044 h 6857106"/>
              <a:gd name="connsiteX1757" fmla="*/ 4310452 w 8243652"/>
              <a:gd name="connsiteY1757" fmla="*/ 5515669 h 6857106"/>
              <a:gd name="connsiteX1758" fmla="*/ 4305795 w 8243652"/>
              <a:gd name="connsiteY1758" fmla="*/ 5587106 h 6857106"/>
              <a:gd name="connsiteX1759" fmla="*/ 4303466 w 8243652"/>
              <a:gd name="connsiteY1759" fmla="*/ 5661719 h 6857106"/>
              <a:gd name="connsiteX1760" fmla="*/ 4310452 w 8243652"/>
              <a:gd name="connsiteY1760" fmla="*/ 5806181 h 6857106"/>
              <a:gd name="connsiteX1761" fmla="*/ 4319767 w 8243652"/>
              <a:gd name="connsiteY1761" fmla="*/ 5922069 h 6857106"/>
              <a:gd name="connsiteX1762" fmla="*/ 4326753 w 8243652"/>
              <a:gd name="connsiteY1762" fmla="*/ 5955406 h 6857106"/>
              <a:gd name="connsiteX1763" fmla="*/ 4331411 w 8243652"/>
              <a:gd name="connsiteY1763" fmla="*/ 5968106 h 6857106"/>
              <a:gd name="connsiteX1764" fmla="*/ 4322096 w 8243652"/>
              <a:gd name="connsiteY1764" fmla="*/ 5977631 h 6857106"/>
              <a:gd name="connsiteX1765" fmla="*/ 4319767 w 8243652"/>
              <a:gd name="connsiteY1765" fmla="*/ 5977631 h 6857106"/>
              <a:gd name="connsiteX1766" fmla="*/ 4315110 w 8243652"/>
              <a:gd name="connsiteY1766" fmla="*/ 5971281 h 6857106"/>
              <a:gd name="connsiteX1767" fmla="*/ 4310452 w 8243652"/>
              <a:gd name="connsiteY1767" fmla="*/ 5963344 h 6857106"/>
              <a:gd name="connsiteX1768" fmla="*/ 4303466 w 8243652"/>
              <a:gd name="connsiteY1768" fmla="*/ 5926831 h 6857106"/>
              <a:gd name="connsiteX1769" fmla="*/ 4294151 w 8243652"/>
              <a:gd name="connsiteY1769" fmla="*/ 5872856 h 6857106"/>
              <a:gd name="connsiteX1770" fmla="*/ 4282508 w 8243652"/>
              <a:gd name="connsiteY1770" fmla="*/ 5722044 h 6857106"/>
              <a:gd name="connsiteX1771" fmla="*/ 4275521 w 8243652"/>
              <a:gd name="connsiteY1771" fmla="*/ 5537894 h 6857106"/>
              <a:gd name="connsiteX1772" fmla="*/ 4261549 w 8243652"/>
              <a:gd name="connsiteY1772" fmla="*/ 5168006 h 6857106"/>
              <a:gd name="connsiteX1773" fmla="*/ 4249906 w 8243652"/>
              <a:gd name="connsiteY1773" fmla="*/ 5031481 h 6857106"/>
              <a:gd name="connsiteX1774" fmla="*/ 4247577 w 8243652"/>
              <a:gd name="connsiteY1774" fmla="*/ 4983856 h 6857106"/>
              <a:gd name="connsiteX1775" fmla="*/ 4242919 w 8243652"/>
              <a:gd name="connsiteY1775" fmla="*/ 4960044 h 6857106"/>
              <a:gd name="connsiteX1776" fmla="*/ 4254563 w 8243652"/>
              <a:gd name="connsiteY1776" fmla="*/ 5307706 h 6857106"/>
              <a:gd name="connsiteX1777" fmla="*/ 4217304 w 8243652"/>
              <a:gd name="connsiteY1777" fmla="*/ 5266431 h 6857106"/>
              <a:gd name="connsiteX1778" fmla="*/ 4217304 w 8243652"/>
              <a:gd name="connsiteY1778" fmla="*/ 5485506 h 6857106"/>
              <a:gd name="connsiteX1779" fmla="*/ 4217304 w 8243652"/>
              <a:gd name="connsiteY1779" fmla="*/ 5683944 h 6857106"/>
              <a:gd name="connsiteX1780" fmla="*/ 4217304 w 8243652"/>
              <a:gd name="connsiteY1780" fmla="*/ 5763319 h 6857106"/>
              <a:gd name="connsiteX1781" fmla="*/ 4226618 w 8243652"/>
              <a:gd name="connsiteY1781" fmla="*/ 5826819 h 6857106"/>
              <a:gd name="connsiteX1782" fmla="*/ 4231276 w 8243652"/>
              <a:gd name="connsiteY1782" fmla="*/ 5847456 h 6857106"/>
              <a:gd name="connsiteX1783" fmla="*/ 4233605 w 8243652"/>
              <a:gd name="connsiteY1783" fmla="*/ 5864919 h 6857106"/>
              <a:gd name="connsiteX1784" fmla="*/ 4242919 w 8243652"/>
              <a:gd name="connsiteY1784" fmla="*/ 5876031 h 6857106"/>
              <a:gd name="connsiteX1785" fmla="*/ 4247577 w 8243652"/>
              <a:gd name="connsiteY1785" fmla="*/ 5876031 h 6857106"/>
              <a:gd name="connsiteX1786" fmla="*/ 4249906 w 8243652"/>
              <a:gd name="connsiteY1786" fmla="*/ 5876031 h 6857106"/>
              <a:gd name="connsiteX1787" fmla="*/ 4242919 w 8243652"/>
              <a:gd name="connsiteY1787" fmla="*/ 5910956 h 6857106"/>
              <a:gd name="connsiteX1788" fmla="*/ 4238262 w 8243652"/>
              <a:gd name="connsiteY1788" fmla="*/ 5922069 h 6857106"/>
              <a:gd name="connsiteX1789" fmla="*/ 4233605 w 8243652"/>
              <a:gd name="connsiteY1789" fmla="*/ 5922069 h 6857106"/>
              <a:gd name="connsiteX1790" fmla="*/ 4233605 w 8243652"/>
              <a:gd name="connsiteY1790" fmla="*/ 5917306 h 6857106"/>
              <a:gd name="connsiteX1791" fmla="*/ 4231276 w 8243652"/>
              <a:gd name="connsiteY1791" fmla="*/ 5895081 h 6857106"/>
              <a:gd name="connsiteX1792" fmla="*/ 4217304 w 8243652"/>
              <a:gd name="connsiteY1792" fmla="*/ 5817294 h 6857106"/>
              <a:gd name="connsiteX1793" fmla="*/ 4205660 w 8243652"/>
              <a:gd name="connsiteY1793" fmla="*/ 5722044 h 6857106"/>
              <a:gd name="connsiteX1794" fmla="*/ 4198674 w 8243652"/>
              <a:gd name="connsiteY1794" fmla="*/ 5636319 h 6857106"/>
              <a:gd name="connsiteX1795" fmla="*/ 4194016 w 8243652"/>
              <a:gd name="connsiteY1795" fmla="*/ 5606156 h 6857106"/>
              <a:gd name="connsiteX1796" fmla="*/ 4187030 w 8243652"/>
              <a:gd name="connsiteY1796" fmla="*/ 5590281 h 6857106"/>
              <a:gd name="connsiteX1797" fmla="*/ 4187030 w 8243652"/>
              <a:gd name="connsiteY1797" fmla="*/ 5587106 h 6857106"/>
              <a:gd name="connsiteX1798" fmla="*/ 4182373 w 8243652"/>
              <a:gd name="connsiteY1798" fmla="*/ 5587106 h 6857106"/>
              <a:gd name="connsiteX1799" fmla="*/ 4177715 w 8243652"/>
              <a:gd name="connsiteY1799" fmla="*/ 5609331 h 6857106"/>
              <a:gd name="connsiteX1800" fmla="*/ 4170729 w 8243652"/>
              <a:gd name="connsiteY1800" fmla="*/ 5653781 h 6857106"/>
              <a:gd name="connsiteX1801" fmla="*/ 4166072 w 8243652"/>
              <a:gd name="connsiteY1801" fmla="*/ 5725219 h 6857106"/>
              <a:gd name="connsiteX1802" fmla="*/ 4187030 w 8243652"/>
              <a:gd name="connsiteY1802" fmla="*/ 5183881 h 6857106"/>
              <a:gd name="connsiteX1803" fmla="*/ 4182373 w 8243652"/>
              <a:gd name="connsiteY1803" fmla="*/ 5183881 h 6857106"/>
              <a:gd name="connsiteX1804" fmla="*/ 4182373 w 8243652"/>
              <a:gd name="connsiteY1804" fmla="*/ 5190231 h 6857106"/>
              <a:gd name="connsiteX1805" fmla="*/ 4177715 w 8243652"/>
              <a:gd name="connsiteY1805" fmla="*/ 5209281 h 6857106"/>
              <a:gd name="connsiteX1806" fmla="*/ 4170729 w 8243652"/>
              <a:gd name="connsiteY1806" fmla="*/ 5280719 h 6857106"/>
              <a:gd name="connsiteX1807" fmla="*/ 4159086 w 8243652"/>
              <a:gd name="connsiteY1807" fmla="*/ 5436294 h 6857106"/>
              <a:gd name="connsiteX1808" fmla="*/ 4159086 w 8243652"/>
              <a:gd name="connsiteY1808" fmla="*/ 5020369 h 6857106"/>
              <a:gd name="connsiteX1809" fmla="*/ 4149771 w 8243652"/>
              <a:gd name="connsiteY1809" fmla="*/ 5142606 h 6857106"/>
              <a:gd name="connsiteX1810" fmla="*/ 4145113 w 8243652"/>
              <a:gd name="connsiteY1810" fmla="*/ 5225156 h 6857106"/>
              <a:gd name="connsiteX1811" fmla="*/ 4138127 w 8243652"/>
              <a:gd name="connsiteY1811" fmla="*/ 5272781 h 6857106"/>
              <a:gd name="connsiteX1812" fmla="*/ 4128812 w 8243652"/>
              <a:gd name="connsiteY1812" fmla="*/ 5291831 h 6857106"/>
              <a:gd name="connsiteX1813" fmla="*/ 4128812 w 8243652"/>
              <a:gd name="connsiteY1813" fmla="*/ 5323581 h 6857106"/>
              <a:gd name="connsiteX1814" fmla="*/ 4133470 w 8243652"/>
              <a:gd name="connsiteY1814" fmla="*/ 5398194 h 6857106"/>
              <a:gd name="connsiteX1815" fmla="*/ 4114840 w 8243652"/>
              <a:gd name="connsiteY1815" fmla="*/ 5444231 h 6857106"/>
              <a:gd name="connsiteX1816" fmla="*/ 4110183 w 8243652"/>
              <a:gd name="connsiteY1816" fmla="*/ 5431531 h 6857106"/>
              <a:gd name="connsiteX1817" fmla="*/ 4114840 w 8243652"/>
              <a:gd name="connsiteY1817" fmla="*/ 5395019 h 6857106"/>
              <a:gd name="connsiteX1818" fmla="*/ 4121826 w 8243652"/>
              <a:gd name="connsiteY1818" fmla="*/ 5277544 h 6857106"/>
              <a:gd name="connsiteX1819" fmla="*/ 4105525 w 8243652"/>
              <a:gd name="connsiteY1819" fmla="*/ 5225156 h 6857106"/>
              <a:gd name="connsiteX1820" fmla="*/ 4098539 w 8243652"/>
              <a:gd name="connsiteY1820" fmla="*/ 5209281 h 6857106"/>
              <a:gd name="connsiteX1821" fmla="*/ 4093882 w 8243652"/>
              <a:gd name="connsiteY1821" fmla="*/ 5212456 h 6857106"/>
              <a:gd name="connsiteX1822" fmla="*/ 4084567 w 8243652"/>
              <a:gd name="connsiteY1822" fmla="*/ 5244206 h 6857106"/>
              <a:gd name="connsiteX1823" fmla="*/ 4082238 w 8243652"/>
              <a:gd name="connsiteY1823" fmla="*/ 5318819 h 6857106"/>
              <a:gd name="connsiteX1824" fmla="*/ 4077581 w 8243652"/>
              <a:gd name="connsiteY1824" fmla="*/ 5442644 h 6857106"/>
              <a:gd name="connsiteX1825" fmla="*/ 4070594 w 8243652"/>
              <a:gd name="connsiteY1825" fmla="*/ 5628381 h 6857106"/>
              <a:gd name="connsiteX1826" fmla="*/ 4072923 w 8243652"/>
              <a:gd name="connsiteY1826" fmla="*/ 5414069 h 6857106"/>
              <a:gd name="connsiteX1827" fmla="*/ 4072923 w 8243652"/>
              <a:gd name="connsiteY1827" fmla="*/ 5314056 h 6857106"/>
              <a:gd name="connsiteX1828" fmla="*/ 4070594 w 8243652"/>
              <a:gd name="connsiteY1828" fmla="*/ 5296594 h 6857106"/>
              <a:gd name="connsiteX1829" fmla="*/ 4061280 w 8243652"/>
              <a:gd name="connsiteY1829" fmla="*/ 5333106 h 6857106"/>
              <a:gd name="connsiteX1830" fmla="*/ 4054293 w 8243652"/>
              <a:gd name="connsiteY1830" fmla="*/ 5390256 h 6857106"/>
              <a:gd name="connsiteX1831" fmla="*/ 4044979 w 8243652"/>
              <a:gd name="connsiteY1831" fmla="*/ 5436294 h 6857106"/>
              <a:gd name="connsiteX1832" fmla="*/ 4040321 w 8243652"/>
              <a:gd name="connsiteY1832" fmla="*/ 5447406 h 6857106"/>
              <a:gd name="connsiteX1833" fmla="*/ 4037992 w 8243652"/>
              <a:gd name="connsiteY1833" fmla="*/ 5447406 h 6857106"/>
              <a:gd name="connsiteX1834" fmla="*/ 4037992 w 8243652"/>
              <a:gd name="connsiteY1834" fmla="*/ 5444231 h 6857106"/>
              <a:gd name="connsiteX1835" fmla="*/ 4033335 w 8243652"/>
              <a:gd name="connsiteY1835" fmla="*/ 5423594 h 6857106"/>
              <a:gd name="connsiteX1836" fmla="*/ 4028678 w 8243652"/>
              <a:gd name="connsiteY1836" fmla="*/ 5379144 h 6857106"/>
              <a:gd name="connsiteX1837" fmla="*/ 4040321 w 8243652"/>
              <a:gd name="connsiteY1837" fmla="*/ 5242619 h 6857106"/>
              <a:gd name="connsiteX1838" fmla="*/ 4021691 w 8243652"/>
              <a:gd name="connsiteY1838" fmla="*/ 5223569 h 6857106"/>
              <a:gd name="connsiteX1839" fmla="*/ 4021691 w 8243652"/>
              <a:gd name="connsiteY1839" fmla="*/ 5299769 h 6857106"/>
              <a:gd name="connsiteX1840" fmla="*/ 4012377 w 8243652"/>
              <a:gd name="connsiteY1840" fmla="*/ 5209281 h 6857106"/>
              <a:gd name="connsiteX1841" fmla="*/ 3993747 w 8243652"/>
              <a:gd name="connsiteY1841" fmla="*/ 5182294 h 6857106"/>
              <a:gd name="connsiteX1842" fmla="*/ 3984432 w 8243652"/>
              <a:gd name="connsiteY1842" fmla="*/ 5231506 h 6857106"/>
              <a:gd name="connsiteX1843" fmla="*/ 3977446 w 8243652"/>
              <a:gd name="connsiteY1843" fmla="*/ 5280719 h 6857106"/>
              <a:gd name="connsiteX1844" fmla="*/ 3968131 w 8243652"/>
              <a:gd name="connsiteY1844" fmla="*/ 5293419 h 6857106"/>
              <a:gd name="connsiteX1845" fmla="*/ 3968131 w 8243652"/>
              <a:gd name="connsiteY1845" fmla="*/ 5296594 h 6857106"/>
              <a:gd name="connsiteX1846" fmla="*/ 3965802 w 8243652"/>
              <a:gd name="connsiteY1846" fmla="*/ 5293419 h 6857106"/>
              <a:gd name="connsiteX1847" fmla="*/ 3961145 w 8243652"/>
              <a:gd name="connsiteY1847" fmla="*/ 5277544 h 6857106"/>
              <a:gd name="connsiteX1848" fmla="*/ 3956487 w 8243652"/>
              <a:gd name="connsiteY1848" fmla="*/ 5239444 h 6857106"/>
              <a:gd name="connsiteX1849" fmla="*/ 3956487 w 8243652"/>
              <a:gd name="connsiteY1849" fmla="*/ 5236269 h 6857106"/>
              <a:gd name="connsiteX1850" fmla="*/ 3961145 w 8243652"/>
              <a:gd name="connsiteY1850" fmla="*/ 5231506 h 6857106"/>
              <a:gd name="connsiteX1851" fmla="*/ 3961145 w 8243652"/>
              <a:gd name="connsiteY1851" fmla="*/ 5209281 h 6857106"/>
              <a:gd name="connsiteX1852" fmla="*/ 3965802 w 8243652"/>
              <a:gd name="connsiteY1852" fmla="*/ 5187056 h 6857106"/>
              <a:gd name="connsiteX1853" fmla="*/ 3965802 w 8243652"/>
              <a:gd name="connsiteY1853" fmla="*/ 5179119 h 6857106"/>
              <a:gd name="connsiteX1854" fmla="*/ 3968131 w 8243652"/>
              <a:gd name="connsiteY1854" fmla="*/ 5179119 h 6857106"/>
              <a:gd name="connsiteX1855" fmla="*/ 3965802 w 8243652"/>
              <a:gd name="connsiteY1855" fmla="*/ 5175944 h 6857106"/>
              <a:gd name="connsiteX1856" fmla="*/ 3961145 w 8243652"/>
              <a:gd name="connsiteY1856" fmla="*/ 5172769 h 6857106"/>
              <a:gd name="connsiteX1857" fmla="*/ 3951830 w 8243652"/>
              <a:gd name="connsiteY1857" fmla="*/ 5153719 h 6857106"/>
              <a:gd name="connsiteX1858" fmla="*/ 3940186 w 8243652"/>
              <a:gd name="connsiteY1858" fmla="*/ 5082281 h 6857106"/>
              <a:gd name="connsiteX1859" fmla="*/ 3879640 w 8243652"/>
              <a:gd name="connsiteY1859" fmla="*/ 4952106 h 6857106"/>
              <a:gd name="connsiteX1860" fmla="*/ 3879640 w 8243652"/>
              <a:gd name="connsiteY1860" fmla="*/ 5107681 h 6857106"/>
              <a:gd name="connsiteX1861" fmla="*/ 3872654 w 8243652"/>
              <a:gd name="connsiteY1861" fmla="*/ 5318819 h 6857106"/>
              <a:gd name="connsiteX1862" fmla="*/ 3861010 w 8243652"/>
              <a:gd name="connsiteY1862" fmla="*/ 5036244 h 6857106"/>
              <a:gd name="connsiteX1863" fmla="*/ 3856353 w 8243652"/>
              <a:gd name="connsiteY1863" fmla="*/ 4961631 h 6857106"/>
              <a:gd name="connsiteX1864" fmla="*/ 3849366 w 8243652"/>
              <a:gd name="connsiteY1864" fmla="*/ 4929881 h 6857106"/>
              <a:gd name="connsiteX1865" fmla="*/ 3849366 w 8243652"/>
              <a:gd name="connsiteY1865" fmla="*/ 4923531 h 6857106"/>
              <a:gd name="connsiteX1866" fmla="*/ 3844709 w 8243652"/>
              <a:gd name="connsiteY1866" fmla="*/ 4926706 h 6857106"/>
              <a:gd name="connsiteX1867" fmla="*/ 3835394 w 8243652"/>
              <a:gd name="connsiteY1867" fmla="*/ 4945756 h 6857106"/>
              <a:gd name="connsiteX1868" fmla="*/ 3823751 w 8243652"/>
              <a:gd name="connsiteY1868" fmla="*/ 5033069 h 6857106"/>
              <a:gd name="connsiteX1869" fmla="*/ 3807450 w 8243652"/>
              <a:gd name="connsiteY1869" fmla="*/ 5137844 h 6857106"/>
              <a:gd name="connsiteX1870" fmla="*/ 3800463 w 8243652"/>
              <a:gd name="connsiteY1870" fmla="*/ 5175944 h 6857106"/>
              <a:gd name="connsiteX1871" fmla="*/ 3788820 w 8243652"/>
              <a:gd name="connsiteY1871" fmla="*/ 5201344 h 6857106"/>
              <a:gd name="connsiteX1872" fmla="*/ 3784162 w 8243652"/>
              <a:gd name="connsiteY1872" fmla="*/ 5202931 h 6857106"/>
              <a:gd name="connsiteX1873" fmla="*/ 3779505 w 8243652"/>
              <a:gd name="connsiteY1873" fmla="*/ 5201344 h 6857106"/>
              <a:gd name="connsiteX1874" fmla="*/ 3774848 w 8243652"/>
              <a:gd name="connsiteY1874" fmla="*/ 5190231 h 6857106"/>
              <a:gd name="connsiteX1875" fmla="*/ 3767861 w 8243652"/>
              <a:gd name="connsiteY1875" fmla="*/ 5171181 h 6857106"/>
              <a:gd name="connsiteX1876" fmla="*/ 3756218 w 8243652"/>
              <a:gd name="connsiteY1876" fmla="*/ 5104506 h 6857106"/>
              <a:gd name="connsiteX1877" fmla="*/ 3744574 w 8243652"/>
              <a:gd name="connsiteY1877" fmla="*/ 4994969 h 6857106"/>
              <a:gd name="connsiteX1878" fmla="*/ 3751560 w 8243652"/>
              <a:gd name="connsiteY1878" fmla="*/ 4896544 h 6857106"/>
              <a:gd name="connsiteX1879" fmla="*/ 3756218 w 8243652"/>
              <a:gd name="connsiteY1879" fmla="*/ 4801294 h 6857106"/>
              <a:gd name="connsiteX1880" fmla="*/ 3739917 w 8243652"/>
              <a:gd name="connsiteY1880" fmla="*/ 4802881 h 6857106"/>
              <a:gd name="connsiteX1881" fmla="*/ 3739917 w 8243652"/>
              <a:gd name="connsiteY1881" fmla="*/ 4669531 h 6857106"/>
              <a:gd name="connsiteX1882" fmla="*/ 3730602 w 8243652"/>
              <a:gd name="connsiteY1882" fmla="*/ 4580631 h 6857106"/>
              <a:gd name="connsiteX1883" fmla="*/ 3723616 w 8243652"/>
              <a:gd name="connsiteY1883" fmla="*/ 4529831 h 6857106"/>
              <a:gd name="connsiteX1884" fmla="*/ 3716630 w 8243652"/>
              <a:gd name="connsiteY1884" fmla="*/ 4499669 h 6857106"/>
              <a:gd name="connsiteX1885" fmla="*/ 3707315 w 8243652"/>
              <a:gd name="connsiteY1885" fmla="*/ 4666356 h 6857106"/>
              <a:gd name="connsiteX1886" fmla="*/ 3702657 w 8243652"/>
              <a:gd name="connsiteY1886" fmla="*/ 4474269 h 6857106"/>
              <a:gd name="connsiteX1887" fmla="*/ 3691014 w 8243652"/>
              <a:gd name="connsiteY1887" fmla="*/ 4447281 h 6857106"/>
              <a:gd name="connsiteX1888" fmla="*/ 3674713 w 8243652"/>
              <a:gd name="connsiteY1888" fmla="*/ 4798119 h 6857106"/>
              <a:gd name="connsiteX1889" fmla="*/ 3672384 w 8243652"/>
              <a:gd name="connsiteY1889" fmla="*/ 5002906 h 6857106"/>
              <a:gd name="connsiteX1890" fmla="*/ 3663069 w 8243652"/>
              <a:gd name="connsiteY1890" fmla="*/ 5080694 h 6857106"/>
              <a:gd name="connsiteX1891" fmla="*/ 3658412 w 8243652"/>
              <a:gd name="connsiteY1891" fmla="*/ 5160069 h 6857106"/>
              <a:gd name="connsiteX1892" fmla="*/ 3628138 w 8243652"/>
              <a:gd name="connsiteY1892" fmla="*/ 5374381 h 6857106"/>
              <a:gd name="connsiteX1893" fmla="*/ 3630467 w 8243652"/>
              <a:gd name="connsiteY1893" fmla="*/ 5310881 h 6857106"/>
              <a:gd name="connsiteX1894" fmla="*/ 3630467 w 8243652"/>
              <a:gd name="connsiteY1894" fmla="*/ 5244206 h 6857106"/>
              <a:gd name="connsiteX1895" fmla="*/ 3630467 w 8243652"/>
              <a:gd name="connsiteY1895" fmla="*/ 5121969 h 6857106"/>
              <a:gd name="connsiteX1896" fmla="*/ 3614166 w 8243652"/>
              <a:gd name="connsiteY1896" fmla="*/ 4882256 h 6857106"/>
              <a:gd name="connsiteX1897" fmla="*/ 3611837 w 8243652"/>
              <a:gd name="connsiteY1897" fmla="*/ 5093394 h 6857106"/>
              <a:gd name="connsiteX1898" fmla="*/ 3607180 w 8243652"/>
              <a:gd name="connsiteY1898" fmla="*/ 5253731 h 6857106"/>
              <a:gd name="connsiteX1899" fmla="*/ 3600194 w 8243652"/>
              <a:gd name="connsiteY1899" fmla="*/ 5368031 h 6857106"/>
              <a:gd name="connsiteX1900" fmla="*/ 3590879 w 8243652"/>
              <a:gd name="connsiteY1900" fmla="*/ 5444231 h 6857106"/>
              <a:gd name="connsiteX1901" fmla="*/ 3583893 w 8243652"/>
              <a:gd name="connsiteY1901" fmla="*/ 5485506 h 6857106"/>
              <a:gd name="connsiteX1902" fmla="*/ 3579235 w 8243652"/>
              <a:gd name="connsiteY1902" fmla="*/ 5496619 h 6857106"/>
              <a:gd name="connsiteX1903" fmla="*/ 3574578 w 8243652"/>
              <a:gd name="connsiteY1903" fmla="*/ 5499794 h 6857106"/>
              <a:gd name="connsiteX1904" fmla="*/ 3569921 w 8243652"/>
              <a:gd name="connsiteY1904" fmla="*/ 5495031 h 6857106"/>
              <a:gd name="connsiteX1905" fmla="*/ 3567592 w 8243652"/>
              <a:gd name="connsiteY1905" fmla="*/ 5485506 h 6857106"/>
              <a:gd name="connsiteX1906" fmla="*/ 3555948 w 8243652"/>
              <a:gd name="connsiteY1906" fmla="*/ 5453756 h 6857106"/>
              <a:gd name="connsiteX1907" fmla="*/ 3534990 w 8243652"/>
              <a:gd name="connsiteY1907" fmla="*/ 5352156 h 6857106"/>
              <a:gd name="connsiteX1908" fmla="*/ 3511703 w 8243652"/>
              <a:gd name="connsiteY1908" fmla="*/ 5231506 h 6857106"/>
              <a:gd name="connsiteX1909" fmla="*/ 3497730 w 8243652"/>
              <a:gd name="connsiteY1909" fmla="*/ 5172769 h 6857106"/>
              <a:gd name="connsiteX1910" fmla="*/ 3486087 w 8243652"/>
              <a:gd name="connsiteY1910" fmla="*/ 5129906 h 6857106"/>
              <a:gd name="connsiteX1911" fmla="*/ 3474443 w 8243652"/>
              <a:gd name="connsiteY1911" fmla="*/ 5099744 h 6857106"/>
              <a:gd name="connsiteX1912" fmla="*/ 3469786 w 8243652"/>
              <a:gd name="connsiteY1912" fmla="*/ 5091806 h 6857106"/>
              <a:gd name="connsiteX1913" fmla="*/ 3467457 w 8243652"/>
              <a:gd name="connsiteY1913" fmla="*/ 5088631 h 6857106"/>
              <a:gd name="connsiteX1914" fmla="*/ 3451156 w 8243652"/>
              <a:gd name="connsiteY1914" fmla="*/ 5168006 h 6857106"/>
              <a:gd name="connsiteX1915" fmla="*/ 3434855 w 8243652"/>
              <a:gd name="connsiteY1915" fmla="*/ 5231506 h 6857106"/>
              <a:gd name="connsiteX1916" fmla="*/ 3423212 w 8243652"/>
              <a:gd name="connsiteY1916" fmla="*/ 5277544 h 6857106"/>
              <a:gd name="connsiteX1917" fmla="*/ 3406911 w 8243652"/>
              <a:gd name="connsiteY1917" fmla="*/ 5314056 h 6857106"/>
              <a:gd name="connsiteX1918" fmla="*/ 3390610 w 8243652"/>
              <a:gd name="connsiteY1918" fmla="*/ 5341044 h 6857106"/>
              <a:gd name="connsiteX1919" fmla="*/ 3374309 w 8243652"/>
              <a:gd name="connsiteY1919" fmla="*/ 5356919 h 6857106"/>
              <a:gd name="connsiteX1920" fmla="*/ 3362665 w 8243652"/>
              <a:gd name="connsiteY1920" fmla="*/ 5364856 h 6857106"/>
              <a:gd name="connsiteX1921" fmla="*/ 3346364 w 8243652"/>
              <a:gd name="connsiteY1921" fmla="*/ 5371206 h 6857106"/>
              <a:gd name="connsiteX1922" fmla="*/ 3313762 w 8243652"/>
              <a:gd name="connsiteY1922" fmla="*/ 5374381 h 6857106"/>
              <a:gd name="connsiteX1923" fmla="*/ 3297461 w 8243652"/>
              <a:gd name="connsiteY1923" fmla="*/ 5379144 h 6857106"/>
              <a:gd name="connsiteX1924" fmla="*/ 3281160 w 8243652"/>
              <a:gd name="connsiteY1924" fmla="*/ 5383906 h 6857106"/>
              <a:gd name="connsiteX1925" fmla="*/ 3269516 w 8243652"/>
              <a:gd name="connsiteY1925" fmla="*/ 5395019 h 6857106"/>
              <a:gd name="connsiteX1926" fmla="*/ 3253215 w 8243652"/>
              <a:gd name="connsiteY1926" fmla="*/ 5412481 h 6857106"/>
              <a:gd name="connsiteX1927" fmla="*/ 3236914 w 8243652"/>
              <a:gd name="connsiteY1927" fmla="*/ 5439469 h 6857106"/>
              <a:gd name="connsiteX1928" fmla="*/ 3225271 w 8243652"/>
              <a:gd name="connsiteY1928" fmla="*/ 5477569 h 6857106"/>
              <a:gd name="connsiteX1929" fmla="*/ 3248558 w 8243652"/>
              <a:gd name="connsiteY1929" fmla="*/ 5623619 h 6857106"/>
              <a:gd name="connsiteX1930" fmla="*/ 3246229 w 8243652"/>
              <a:gd name="connsiteY1930" fmla="*/ 5623619 h 6857106"/>
              <a:gd name="connsiteX1931" fmla="*/ 3241572 w 8243652"/>
              <a:gd name="connsiteY1931" fmla="*/ 5628381 h 6857106"/>
              <a:gd name="connsiteX1932" fmla="*/ 3232257 w 8243652"/>
              <a:gd name="connsiteY1932" fmla="*/ 5655369 h 6857106"/>
              <a:gd name="connsiteX1933" fmla="*/ 3215956 w 8243652"/>
              <a:gd name="connsiteY1933" fmla="*/ 5729981 h 6857106"/>
              <a:gd name="connsiteX1934" fmla="*/ 3204312 w 8243652"/>
              <a:gd name="connsiteY1934" fmla="*/ 5755381 h 6857106"/>
              <a:gd name="connsiteX1935" fmla="*/ 3201984 w 8243652"/>
              <a:gd name="connsiteY1935" fmla="*/ 5760144 h 6857106"/>
              <a:gd name="connsiteX1936" fmla="*/ 3192669 w 8243652"/>
              <a:gd name="connsiteY1936" fmla="*/ 5755381 h 6857106"/>
              <a:gd name="connsiteX1937" fmla="*/ 3188011 w 8243652"/>
              <a:gd name="connsiteY1937" fmla="*/ 5744269 h 6857106"/>
              <a:gd name="connsiteX1938" fmla="*/ 3185683 w 8243652"/>
              <a:gd name="connsiteY1938" fmla="*/ 5722044 h 6857106"/>
              <a:gd name="connsiteX1939" fmla="*/ 3171710 w 8243652"/>
              <a:gd name="connsiteY1939" fmla="*/ 5642669 h 6857106"/>
              <a:gd name="connsiteX1940" fmla="*/ 3185683 w 8243652"/>
              <a:gd name="connsiteY1940" fmla="*/ 5587106 h 6857106"/>
              <a:gd name="connsiteX1941" fmla="*/ 3188011 w 8243652"/>
              <a:gd name="connsiteY1941" fmla="*/ 5563294 h 6857106"/>
              <a:gd name="connsiteX1942" fmla="*/ 3188011 w 8243652"/>
              <a:gd name="connsiteY1942" fmla="*/ 5556944 h 6857106"/>
              <a:gd name="connsiteX1943" fmla="*/ 3192669 w 8243652"/>
              <a:gd name="connsiteY1943" fmla="*/ 5563294 h 6857106"/>
              <a:gd name="connsiteX1944" fmla="*/ 3188011 w 8243652"/>
              <a:gd name="connsiteY1944" fmla="*/ 5383906 h 6857106"/>
              <a:gd name="connsiteX1945" fmla="*/ 3185683 w 8243652"/>
              <a:gd name="connsiteY1945" fmla="*/ 5201344 h 6857106"/>
              <a:gd name="connsiteX1946" fmla="*/ 3176368 w 8243652"/>
              <a:gd name="connsiteY1946" fmla="*/ 5047356 h 6857106"/>
              <a:gd name="connsiteX1947" fmla="*/ 3169382 w 8243652"/>
              <a:gd name="connsiteY1947" fmla="*/ 4994969 h 6857106"/>
              <a:gd name="connsiteX1948" fmla="*/ 3164724 w 8243652"/>
              <a:gd name="connsiteY1948" fmla="*/ 4961631 h 6857106"/>
              <a:gd name="connsiteX1949" fmla="*/ 3157738 w 8243652"/>
              <a:gd name="connsiteY1949" fmla="*/ 5296594 h 6857106"/>
              <a:gd name="connsiteX1950" fmla="*/ 3148423 w 8243652"/>
              <a:gd name="connsiteY1950" fmla="*/ 5036244 h 6857106"/>
              <a:gd name="connsiteX1951" fmla="*/ 3143766 w 8243652"/>
              <a:gd name="connsiteY1951" fmla="*/ 5039419 h 6857106"/>
              <a:gd name="connsiteX1952" fmla="*/ 3141437 w 8243652"/>
              <a:gd name="connsiteY1952" fmla="*/ 5074344 h 6857106"/>
              <a:gd name="connsiteX1953" fmla="*/ 3136780 w 8243652"/>
              <a:gd name="connsiteY1953" fmla="*/ 5193406 h 6857106"/>
              <a:gd name="connsiteX1954" fmla="*/ 3141437 w 8243652"/>
              <a:gd name="connsiteY1954" fmla="*/ 5337869 h 6857106"/>
              <a:gd name="connsiteX1955" fmla="*/ 3141437 w 8243652"/>
              <a:gd name="connsiteY1955" fmla="*/ 5461694 h 6857106"/>
              <a:gd name="connsiteX1956" fmla="*/ 3136780 w 8243652"/>
              <a:gd name="connsiteY1956" fmla="*/ 5499794 h 6857106"/>
              <a:gd name="connsiteX1957" fmla="*/ 3132122 w 8243652"/>
              <a:gd name="connsiteY1957" fmla="*/ 5510906 h 6857106"/>
              <a:gd name="connsiteX1958" fmla="*/ 3127465 w 8243652"/>
              <a:gd name="connsiteY1958" fmla="*/ 5514081 h 6857106"/>
              <a:gd name="connsiteX1959" fmla="*/ 3120479 w 8243652"/>
              <a:gd name="connsiteY1959" fmla="*/ 5261669 h 6857106"/>
              <a:gd name="connsiteX1960" fmla="*/ 3113492 w 8243652"/>
              <a:gd name="connsiteY1960" fmla="*/ 5172769 h 6857106"/>
              <a:gd name="connsiteX1961" fmla="*/ 3108835 w 8243652"/>
              <a:gd name="connsiteY1961" fmla="*/ 5107681 h 6857106"/>
              <a:gd name="connsiteX1962" fmla="*/ 3108835 w 8243652"/>
              <a:gd name="connsiteY1962" fmla="*/ 5104506 h 6857106"/>
              <a:gd name="connsiteX1963" fmla="*/ 3108835 w 8243652"/>
              <a:gd name="connsiteY1963" fmla="*/ 5102919 h 6857106"/>
              <a:gd name="connsiteX1964" fmla="*/ 3099520 w 8243652"/>
              <a:gd name="connsiteY1964" fmla="*/ 5063231 h 6857106"/>
              <a:gd name="connsiteX1965" fmla="*/ 3092534 w 8243652"/>
              <a:gd name="connsiteY1965" fmla="*/ 5036244 h 6857106"/>
              <a:gd name="connsiteX1966" fmla="*/ 3087877 w 8243652"/>
              <a:gd name="connsiteY1966" fmla="*/ 5014019 h 6857106"/>
              <a:gd name="connsiteX1967" fmla="*/ 3080890 w 8243652"/>
              <a:gd name="connsiteY1967" fmla="*/ 5001319 h 6857106"/>
              <a:gd name="connsiteX1968" fmla="*/ 3043631 w 8243652"/>
              <a:gd name="connsiteY1968" fmla="*/ 5039419 h 6857106"/>
              <a:gd name="connsiteX1969" fmla="*/ 3043631 w 8243652"/>
              <a:gd name="connsiteY1969" fmla="*/ 4972744 h 6857106"/>
              <a:gd name="connsiteX1970" fmla="*/ 3036645 w 8243652"/>
              <a:gd name="connsiteY1970" fmla="*/ 4967981 h 6857106"/>
              <a:gd name="connsiteX1971" fmla="*/ 3027330 w 8243652"/>
              <a:gd name="connsiteY1971" fmla="*/ 4956869 h 6857106"/>
              <a:gd name="connsiteX1972" fmla="*/ 3020344 w 8243652"/>
              <a:gd name="connsiteY1972" fmla="*/ 4942581 h 6857106"/>
              <a:gd name="connsiteX1973" fmla="*/ 3015686 w 8243652"/>
              <a:gd name="connsiteY1973" fmla="*/ 4921944 h 6857106"/>
              <a:gd name="connsiteX1974" fmla="*/ 3004043 w 8243652"/>
              <a:gd name="connsiteY1974" fmla="*/ 4852094 h 6857106"/>
              <a:gd name="connsiteX1975" fmla="*/ 2992399 w 8243652"/>
              <a:gd name="connsiteY1975" fmla="*/ 4742556 h 6857106"/>
              <a:gd name="connsiteX1976" fmla="*/ 2980756 w 8243652"/>
              <a:gd name="connsiteY1976" fmla="*/ 4817169 h 6857106"/>
              <a:gd name="connsiteX1977" fmla="*/ 2983084 w 8243652"/>
              <a:gd name="connsiteY1977" fmla="*/ 4882256 h 6857106"/>
              <a:gd name="connsiteX1978" fmla="*/ 2992399 w 8243652"/>
              <a:gd name="connsiteY1978" fmla="*/ 4912419 h 6857106"/>
              <a:gd name="connsiteX1979" fmla="*/ 2999385 w 8243652"/>
              <a:gd name="connsiteY1979" fmla="*/ 4926706 h 6857106"/>
              <a:gd name="connsiteX1980" fmla="*/ 3008700 w 8243652"/>
              <a:gd name="connsiteY1980" fmla="*/ 4940994 h 6857106"/>
              <a:gd name="connsiteX1981" fmla="*/ 3011029 w 8243652"/>
              <a:gd name="connsiteY1981" fmla="*/ 4964806 h 6857106"/>
              <a:gd name="connsiteX1982" fmla="*/ 3015686 w 8243652"/>
              <a:gd name="connsiteY1982" fmla="*/ 5017194 h 6857106"/>
              <a:gd name="connsiteX1983" fmla="*/ 3020344 w 8243652"/>
              <a:gd name="connsiteY1983" fmla="*/ 5112444 h 6857106"/>
              <a:gd name="connsiteX1984" fmla="*/ 3015686 w 8243652"/>
              <a:gd name="connsiteY1984" fmla="*/ 5269606 h 6857106"/>
              <a:gd name="connsiteX1985" fmla="*/ 3004043 w 8243652"/>
              <a:gd name="connsiteY1985" fmla="*/ 5104506 h 6857106"/>
              <a:gd name="connsiteX1986" fmla="*/ 2994728 w 8243652"/>
              <a:gd name="connsiteY1986" fmla="*/ 5033069 h 6857106"/>
              <a:gd name="connsiteX1987" fmla="*/ 2987742 w 8243652"/>
              <a:gd name="connsiteY1987" fmla="*/ 5002906 h 6857106"/>
              <a:gd name="connsiteX1988" fmla="*/ 2983084 w 8243652"/>
              <a:gd name="connsiteY1988" fmla="*/ 4979094 h 6857106"/>
              <a:gd name="connsiteX1989" fmla="*/ 2987742 w 8243652"/>
              <a:gd name="connsiteY1989" fmla="*/ 5395019 h 6857106"/>
              <a:gd name="connsiteX1990" fmla="*/ 2966783 w 8243652"/>
              <a:gd name="connsiteY1990" fmla="*/ 5334694 h 6857106"/>
              <a:gd name="connsiteX1991" fmla="*/ 2950482 w 8243652"/>
              <a:gd name="connsiteY1991" fmla="*/ 5272781 h 6857106"/>
              <a:gd name="connsiteX1992" fmla="*/ 2920209 w 8243652"/>
              <a:gd name="connsiteY1992" fmla="*/ 5145781 h 6857106"/>
              <a:gd name="connsiteX1993" fmla="*/ 2892264 w 8243652"/>
              <a:gd name="connsiteY1993" fmla="*/ 5028306 h 6857106"/>
              <a:gd name="connsiteX1994" fmla="*/ 2875963 w 8243652"/>
              <a:gd name="connsiteY1994" fmla="*/ 4979094 h 6857106"/>
              <a:gd name="connsiteX1995" fmla="*/ 2864320 w 8243652"/>
              <a:gd name="connsiteY1995" fmla="*/ 4934644 h 6857106"/>
              <a:gd name="connsiteX1996" fmla="*/ 2848019 w 8243652"/>
              <a:gd name="connsiteY1996" fmla="*/ 5020369 h 6857106"/>
              <a:gd name="connsiteX1997" fmla="*/ 2834047 w 8243652"/>
              <a:gd name="connsiteY1997" fmla="*/ 5107681 h 6857106"/>
              <a:gd name="connsiteX1998" fmla="*/ 2834047 w 8243652"/>
              <a:gd name="connsiteY1998" fmla="*/ 5020369 h 6857106"/>
              <a:gd name="connsiteX1999" fmla="*/ 2831718 w 8243652"/>
              <a:gd name="connsiteY1999" fmla="*/ 4929881 h 6857106"/>
              <a:gd name="connsiteX2000" fmla="*/ 2822403 w 8243652"/>
              <a:gd name="connsiteY2000" fmla="*/ 5093394 h 6857106"/>
              <a:gd name="connsiteX2001" fmla="*/ 2815417 w 8243652"/>
              <a:gd name="connsiteY2001" fmla="*/ 5182294 h 6857106"/>
              <a:gd name="connsiteX2002" fmla="*/ 2810759 w 8243652"/>
              <a:gd name="connsiteY2002" fmla="*/ 5198169 h 6857106"/>
              <a:gd name="connsiteX2003" fmla="*/ 2806102 w 8243652"/>
              <a:gd name="connsiteY2003" fmla="*/ 5201344 h 6857106"/>
              <a:gd name="connsiteX2004" fmla="*/ 2799116 w 8243652"/>
              <a:gd name="connsiteY2004" fmla="*/ 5193406 h 6857106"/>
              <a:gd name="connsiteX2005" fmla="*/ 2794458 w 8243652"/>
              <a:gd name="connsiteY2005" fmla="*/ 5171181 h 6857106"/>
              <a:gd name="connsiteX2006" fmla="*/ 2782815 w 8243652"/>
              <a:gd name="connsiteY2006" fmla="*/ 5107681 h 6857106"/>
              <a:gd name="connsiteX2007" fmla="*/ 2775829 w 8243652"/>
              <a:gd name="connsiteY2007" fmla="*/ 5021956 h 6857106"/>
              <a:gd name="connsiteX2008" fmla="*/ 2754870 w 8243652"/>
              <a:gd name="connsiteY2008" fmla="*/ 4852094 h 6857106"/>
              <a:gd name="connsiteX2009" fmla="*/ 2743227 w 8243652"/>
              <a:gd name="connsiteY2009" fmla="*/ 5074344 h 6857106"/>
              <a:gd name="connsiteX2010" fmla="*/ 2743227 w 8243652"/>
              <a:gd name="connsiteY2010" fmla="*/ 4931469 h 6857106"/>
              <a:gd name="connsiteX2011" fmla="*/ 2745555 w 8243652"/>
              <a:gd name="connsiteY2011" fmla="*/ 4813994 h 6857106"/>
              <a:gd name="connsiteX2012" fmla="*/ 2743227 w 8243652"/>
              <a:gd name="connsiteY2012" fmla="*/ 4790181 h 6857106"/>
              <a:gd name="connsiteX2013" fmla="*/ 2738569 w 8243652"/>
              <a:gd name="connsiteY2013" fmla="*/ 4779069 h 6857106"/>
              <a:gd name="connsiteX2014" fmla="*/ 2731583 w 8243652"/>
              <a:gd name="connsiteY2014" fmla="*/ 4861619 h 6857106"/>
              <a:gd name="connsiteX2015" fmla="*/ 2726926 w 8243652"/>
              <a:gd name="connsiteY2015" fmla="*/ 4912419 h 6857106"/>
              <a:gd name="connsiteX2016" fmla="*/ 2722268 w 8243652"/>
              <a:gd name="connsiteY2016" fmla="*/ 5031481 h 6857106"/>
              <a:gd name="connsiteX2017" fmla="*/ 2722268 w 8243652"/>
              <a:gd name="connsiteY2017" fmla="*/ 5153719 h 6857106"/>
              <a:gd name="connsiteX2018" fmla="*/ 2731583 w 8243652"/>
              <a:gd name="connsiteY2018" fmla="*/ 5414069 h 6857106"/>
              <a:gd name="connsiteX2019" fmla="*/ 2722268 w 8243652"/>
              <a:gd name="connsiteY2019" fmla="*/ 5326756 h 6857106"/>
              <a:gd name="connsiteX2020" fmla="*/ 2717611 w 8243652"/>
              <a:gd name="connsiteY2020" fmla="*/ 5277544 h 6857106"/>
              <a:gd name="connsiteX2021" fmla="*/ 2715282 w 8243652"/>
              <a:gd name="connsiteY2021" fmla="*/ 5263256 h 6857106"/>
              <a:gd name="connsiteX2022" fmla="*/ 2710625 w 8243652"/>
              <a:gd name="connsiteY2022" fmla="*/ 5261669 h 6857106"/>
              <a:gd name="connsiteX2023" fmla="*/ 2705967 w 8243652"/>
              <a:gd name="connsiteY2023" fmla="*/ 5261669 h 6857106"/>
              <a:gd name="connsiteX2024" fmla="*/ 2701310 w 8243652"/>
              <a:gd name="connsiteY2024" fmla="*/ 5269606 h 6857106"/>
              <a:gd name="connsiteX2025" fmla="*/ 2694324 w 8243652"/>
              <a:gd name="connsiteY2025" fmla="*/ 5302944 h 6857106"/>
              <a:gd name="connsiteX2026" fmla="*/ 2687338 w 8243652"/>
              <a:gd name="connsiteY2026" fmla="*/ 5352156 h 6857106"/>
              <a:gd name="connsiteX2027" fmla="*/ 2666379 w 8243652"/>
              <a:gd name="connsiteY2027" fmla="*/ 5488681 h 6857106"/>
              <a:gd name="connsiteX2028" fmla="*/ 2638435 w 8243652"/>
              <a:gd name="connsiteY2028" fmla="*/ 5768081 h 6857106"/>
              <a:gd name="connsiteX2029" fmla="*/ 2633777 w 8243652"/>
              <a:gd name="connsiteY2029" fmla="*/ 5815706 h 6857106"/>
              <a:gd name="connsiteX2030" fmla="*/ 2629120 w 8243652"/>
              <a:gd name="connsiteY2030" fmla="*/ 5839519 h 6857106"/>
              <a:gd name="connsiteX2031" fmla="*/ 2626791 w 8243652"/>
              <a:gd name="connsiteY2031" fmla="*/ 5842694 h 6857106"/>
              <a:gd name="connsiteX2032" fmla="*/ 2626791 w 8243652"/>
              <a:gd name="connsiteY2032" fmla="*/ 5839519 h 6857106"/>
              <a:gd name="connsiteX2033" fmla="*/ 2622134 w 8243652"/>
              <a:gd name="connsiteY2033" fmla="*/ 5809356 h 6857106"/>
              <a:gd name="connsiteX2034" fmla="*/ 2617476 w 8243652"/>
              <a:gd name="connsiteY2034" fmla="*/ 5796656 h 6857106"/>
              <a:gd name="connsiteX2035" fmla="*/ 2612819 w 8243652"/>
              <a:gd name="connsiteY2035" fmla="*/ 5771256 h 6857106"/>
              <a:gd name="connsiteX2036" fmla="*/ 2610490 w 8243652"/>
              <a:gd name="connsiteY2036" fmla="*/ 5702994 h 6857106"/>
              <a:gd name="connsiteX2037" fmla="*/ 2605832 w 8243652"/>
              <a:gd name="connsiteY2037" fmla="*/ 5495031 h 6857106"/>
              <a:gd name="connsiteX2038" fmla="*/ 2605832 w 8243652"/>
              <a:gd name="connsiteY2038" fmla="*/ 5242619 h 6857106"/>
              <a:gd name="connsiteX2039" fmla="*/ 2605832 w 8243652"/>
              <a:gd name="connsiteY2039" fmla="*/ 4998144 h 6857106"/>
              <a:gd name="connsiteX2040" fmla="*/ 2598846 w 8243652"/>
              <a:gd name="connsiteY2040" fmla="*/ 5033069 h 6857106"/>
              <a:gd name="connsiteX2041" fmla="*/ 2594189 w 8243652"/>
              <a:gd name="connsiteY2041" fmla="*/ 5085456 h 6857106"/>
              <a:gd name="connsiteX2042" fmla="*/ 2589531 w 8243652"/>
              <a:gd name="connsiteY2042" fmla="*/ 5233094 h 6857106"/>
              <a:gd name="connsiteX2043" fmla="*/ 2584874 w 8243652"/>
              <a:gd name="connsiteY2043" fmla="*/ 5587106 h 6857106"/>
              <a:gd name="connsiteX2044" fmla="*/ 2584874 w 8243652"/>
              <a:gd name="connsiteY2044" fmla="*/ 5729981 h 6857106"/>
              <a:gd name="connsiteX2045" fmla="*/ 2582545 w 8243652"/>
              <a:gd name="connsiteY2045" fmla="*/ 5815706 h 6857106"/>
              <a:gd name="connsiteX2046" fmla="*/ 2582545 w 8243652"/>
              <a:gd name="connsiteY2046" fmla="*/ 5823644 h 6857106"/>
              <a:gd name="connsiteX2047" fmla="*/ 2573230 w 8243652"/>
              <a:gd name="connsiteY2047" fmla="*/ 5806181 h 6857106"/>
              <a:gd name="connsiteX2048" fmla="*/ 2561587 w 8243652"/>
              <a:gd name="connsiteY2048" fmla="*/ 5677594 h 6857106"/>
              <a:gd name="connsiteX2049" fmla="*/ 2568573 w 8243652"/>
              <a:gd name="connsiteY2049" fmla="*/ 5593456 h 6857106"/>
              <a:gd name="connsiteX2050" fmla="*/ 2573230 w 8243652"/>
              <a:gd name="connsiteY2050" fmla="*/ 5545831 h 6857106"/>
              <a:gd name="connsiteX2051" fmla="*/ 2573230 w 8243652"/>
              <a:gd name="connsiteY2051" fmla="*/ 5495031 h 6857106"/>
              <a:gd name="connsiteX2052" fmla="*/ 2566245 w 8243652"/>
              <a:gd name="connsiteY2052" fmla="*/ 5390256 h 6857106"/>
              <a:gd name="connsiteX2053" fmla="*/ 2556929 w 8243652"/>
              <a:gd name="connsiteY2053" fmla="*/ 5193406 h 6857106"/>
              <a:gd name="connsiteX2054" fmla="*/ 2538300 w 8243652"/>
              <a:gd name="connsiteY2054" fmla="*/ 4663181 h 6857106"/>
              <a:gd name="connsiteX2055" fmla="*/ 2524327 w 8243652"/>
              <a:gd name="connsiteY2055" fmla="*/ 4409181 h 6857106"/>
              <a:gd name="connsiteX2056" fmla="*/ 2517341 w 8243652"/>
              <a:gd name="connsiteY2056" fmla="*/ 4213919 h 6857106"/>
              <a:gd name="connsiteX2057" fmla="*/ 2512684 w 8243652"/>
              <a:gd name="connsiteY2057" fmla="*/ 4147244 h 6857106"/>
              <a:gd name="connsiteX2058" fmla="*/ 2505698 w 8243652"/>
              <a:gd name="connsiteY2058" fmla="*/ 4112319 h 6857106"/>
              <a:gd name="connsiteX2059" fmla="*/ 2505698 w 8243652"/>
              <a:gd name="connsiteY2059" fmla="*/ 4107556 h 6857106"/>
              <a:gd name="connsiteX2060" fmla="*/ 2501040 w 8243652"/>
              <a:gd name="connsiteY2060" fmla="*/ 4112319 h 6857106"/>
              <a:gd name="connsiteX2061" fmla="*/ 2496383 w 8243652"/>
              <a:gd name="connsiteY2061" fmla="*/ 4147244 h 6857106"/>
              <a:gd name="connsiteX2062" fmla="*/ 2512684 w 8243652"/>
              <a:gd name="connsiteY2062" fmla="*/ 4388544 h 6857106"/>
              <a:gd name="connsiteX2063" fmla="*/ 2505698 w 8243652"/>
              <a:gd name="connsiteY2063" fmla="*/ 4432994 h 6857106"/>
              <a:gd name="connsiteX2064" fmla="*/ 2501040 w 8243652"/>
              <a:gd name="connsiteY2064" fmla="*/ 4444106 h 6857106"/>
              <a:gd name="connsiteX2065" fmla="*/ 2496383 w 8243652"/>
              <a:gd name="connsiteY2065" fmla="*/ 4444106 h 6857106"/>
              <a:gd name="connsiteX2066" fmla="*/ 2489397 w 8243652"/>
              <a:gd name="connsiteY2066" fmla="*/ 4421881 h 6857106"/>
              <a:gd name="connsiteX2067" fmla="*/ 2484739 w 8243652"/>
              <a:gd name="connsiteY2067" fmla="*/ 4379019 h 6857106"/>
              <a:gd name="connsiteX2068" fmla="*/ 2468439 w 8243652"/>
              <a:gd name="connsiteY2068" fmla="*/ 4244081 h 6857106"/>
              <a:gd name="connsiteX2069" fmla="*/ 2456795 w 8243652"/>
              <a:gd name="connsiteY2069" fmla="*/ 4085331 h 6857106"/>
              <a:gd name="connsiteX2070" fmla="*/ 2445151 w 8243652"/>
              <a:gd name="connsiteY2070" fmla="*/ 3953569 h 6857106"/>
              <a:gd name="connsiteX2071" fmla="*/ 2435836 w 8243652"/>
              <a:gd name="connsiteY2071" fmla="*/ 3915469 h 6857106"/>
              <a:gd name="connsiteX2072" fmla="*/ 2433508 w 8243652"/>
              <a:gd name="connsiteY2072" fmla="*/ 3898006 h 6857106"/>
              <a:gd name="connsiteX2073" fmla="*/ 2433508 w 8243652"/>
              <a:gd name="connsiteY2073" fmla="*/ 3901181 h 6857106"/>
              <a:gd name="connsiteX2074" fmla="*/ 2428850 w 8243652"/>
              <a:gd name="connsiteY2074" fmla="*/ 3912294 h 6857106"/>
              <a:gd name="connsiteX2075" fmla="*/ 2424193 w 8243652"/>
              <a:gd name="connsiteY2075" fmla="*/ 3964681 h 6857106"/>
              <a:gd name="connsiteX2076" fmla="*/ 2421865 w 8243652"/>
              <a:gd name="connsiteY2076" fmla="*/ 4202806 h 6857106"/>
              <a:gd name="connsiteX2077" fmla="*/ 2424193 w 8243652"/>
              <a:gd name="connsiteY2077" fmla="*/ 4621906 h 6857106"/>
              <a:gd name="connsiteX2078" fmla="*/ 2405563 w 8243652"/>
              <a:gd name="connsiteY2078" fmla="*/ 4469506 h 6857106"/>
              <a:gd name="connsiteX2079" fmla="*/ 2391591 w 8243652"/>
              <a:gd name="connsiteY2079" fmla="*/ 4406006 h 6857106"/>
              <a:gd name="connsiteX2080" fmla="*/ 2389262 w 8243652"/>
              <a:gd name="connsiteY2080" fmla="*/ 4399656 h 6857106"/>
              <a:gd name="connsiteX2081" fmla="*/ 2389262 w 8243652"/>
              <a:gd name="connsiteY2081" fmla="*/ 4402831 h 6857106"/>
              <a:gd name="connsiteX2082" fmla="*/ 2379947 w 8243652"/>
              <a:gd name="connsiteY2082" fmla="*/ 4436169 h 6857106"/>
              <a:gd name="connsiteX2083" fmla="*/ 2377618 w 8243652"/>
              <a:gd name="connsiteY2083" fmla="*/ 4469506 h 6857106"/>
              <a:gd name="connsiteX2084" fmla="*/ 2372961 w 8243652"/>
              <a:gd name="connsiteY2084" fmla="*/ 4479031 h 6857106"/>
              <a:gd name="connsiteX2085" fmla="*/ 2368304 w 8243652"/>
              <a:gd name="connsiteY2085" fmla="*/ 4477444 h 6857106"/>
              <a:gd name="connsiteX2086" fmla="*/ 2363646 w 8243652"/>
              <a:gd name="connsiteY2086" fmla="*/ 4463156 h 6857106"/>
              <a:gd name="connsiteX2087" fmla="*/ 2356660 w 8243652"/>
              <a:gd name="connsiteY2087" fmla="*/ 4429819 h 6857106"/>
              <a:gd name="connsiteX2088" fmla="*/ 2335702 w 8243652"/>
              <a:gd name="connsiteY2088" fmla="*/ 4298056 h 6857106"/>
              <a:gd name="connsiteX2089" fmla="*/ 2335702 w 8243652"/>
              <a:gd name="connsiteY2089" fmla="*/ 4229794 h 6857106"/>
              <a:gd name="connsiteX2090" fmla="*/ 2333373 w 8243652"/>
              <a:gd name="connsiteY2090" fmla="*/ 4237731 h 6857106"/>
              <a:gd name="connsiteX2091" fmla="*/ 2328715 w 8243652"/>
              <a:gd name="connsiteY2091" fmla="*/ 4236144 h 6857106"/>
              <a:gd name="connsiteX2092" fmla="*/ 2319401 w 8243652"/>
              <a:gd name="connsiteY2092" fmla="*/ 4205981 h 6857106"/>
              <a:gd name="connsiteX2093" fmla="*/ 2303100 w 8243652"/>
              <a:gd name="connsiteY2093" fmla="*/ 4123431 h 6857106"/>
              <a:gd name="connsiteX2094" fmla="*/ 2300771 w 8243652"/>
              <a:gd name="connsiteY2094" fmla="*/ 4112319 h 6857106"/>
              <a:gd name="connsiteX2095" fmla="*/ 2291456 w 8243652"/>
              <a:gd name="connsiteY2095" fmla="*/ 4150419 h 6857106"/>
              <a:gd name="connsiteX2096" fmla="*/ 2289128 w 8243652"/>
              <a:gd name="connsiteY2096" fmla="*/ 4259956 h 6857106"/>
              <a:gd name="connsiteX2097" fmla="*/ 2284470 w 8243652"/>
              <a:gd name="connsiteY2097" fmla="*/ 4463156 h 6857106"/>
              <a:gd name="connsiteX2098" fmla="*/ 2291456 w 8243652"/>
              <a:gd name="connsiteY2098" fmla="*/ 4553644 h 6857106"/>
              <a:gd name="connsiteX2099" fmla="*/ 2279812 w 8243652"/>
              <a:gd name="connsiteY2099" fmla="*/ 4569519 h 6857106"/>
              <a:gd name="connsiteX2100" fmla="*/ 2272826 w 8243652"/>
              <a:gd name="connsiteY2100" fmla="*/ 4575869 h 6857106"/>
              <a:gd name="connsiteX2101" fmla="*/ 2263511 w 8243652"/>
              <a:gd name="connsiteY2101" fmla="*/ 4575869 h 6857106"/>
              <a:gd name="connsiteX2102" fmla="*/ 2256525 w 8243652"/>
              <a:gd name="connsiteY2102" fmla="*/ 4569519 h 6857106"/>
              <a:gd name="connsiteX2103" fmla="*/ 2244882 w 8243652"/>
              <a:gd name="connsiteY2103" fmla="*/ 4548881 h 6857106"/>
              <a:gd name="connsiteX2104" fmla="*/ 2230909 w 8243652"/>
              <a:gd name="connsiteY2104" fmla="*/ 4537769 h 6857106"/>
              <a:gd name="connsiteX2105" fmla="*/ 2219266 w 8243652"/>
              <a:gd name="connsiteY2105" fmla="*/ 4523481 h 6857106"/>
              <a:gd name="connsiteX2106" fmla="*/ 2214608 w 8243652"/>
              <a:gd name="connsiteY2106" fmla="*/ 4572694 h 6857106"/>
              <a:gd name="connsiteX2107" fmla="*/ 2207622 w 8243652"/>
              <a:gd name="connsiteY2107" fmla="*/ 4610794 h 6857106"/>
              <a:gd name="connsiteX2108" fmla="*/ 2202965 w 8243652"/>
              <a:gd name="connsiteY2108" fmla="*/ 4620319 h 6857106"/>
              <a:gd name="connsiteX2109" fmla="*/ 2200636 w 8243652"/>
              <a:gd name="connsiteY2109" fmla="*/ 4610794 h 6857106"/>
              <a:gd name="connsiteX2110" fmla="*/ 2200636 w 8243652"/>
              <a:gd name="connsiteY2110" fmla="*/ 4590156 h 6857106"/>
              <a:gd name="connsiteX2111" fmla="*/ 2195979 w 8243652"/>
              <a:gd name="connsiteY2111" fmla="*/ 4545706 h 6857106"/>
              <a:gd name="connsiteX2112" fmla="*/ 2191321 w 8243652"/>
              <a:gd name="connsiteY2112" fmla="*/ 4718744 h 6857106"/>
              <a:gd name="connsiteX2113" fmla="*/ 2186664 w 8243652"/>
              <a:gd name="connsiteY2113" fmla="*/ 4779069 h 6857106"/>
              <a:gd name="connsiteX2114" fmla="*/ 2184335 w 8243652"/>
              <a:gd name="connsiteY2114" fmla="*/ 4821931 h 6857106"/>
              <a:gd name="connsiteX2115" fmla="*/ 2175020 w 8243652"/>
              <a:gd name="connsiteY2115" fmla="*/ 4852094 h 6857106"/>
              <a:gd name="connsiteX2116" fmla="*/ 2168034 w 8243652"/>
              <a:gd name="connsiteY2116" fmla="*/ 4871144 h 6857106"/>
              <a:gd name="connsiteX2117" fmla="*/ 2163377 w 8243652"/>
              <a:gd name="connsiteY2117" fmla="*/ 4882256 h 6857106"/>
              <a:gd name="connsiteX2118" fmla="*/ 2158719 w 8243652"/>
              <a:gd name="connsiteY2118" fmla="*/ 4882256 h 6857106"/>
              <a:gd name="connsiteX2119" fmla="*/ 2156391 w 8243652"/>
              <a:gd name="connsiteY2119" fmla="*/ 4882256 h 6857106"/>
              <a:gd name="connsiteX2120" fmla="*/ 2147076 w 8243652"/>
              <a:gd name="connsiteY2120" fmla="*/ 4874319 h 6857106"/>
              <a:gd name="connsiteX2121" fmla="*/ 2140089 w 8243652"/>
              <a:gd name="connsiteY2121" fmla="*/ 4863206 h 6857106"/>
              <a:gd name="connsiteX2122" fmla="*/ 2123788 w 8243652"/>
              <a:gd name="connsiteY2122" fmla="*/ 4828281 h 6857106"/>
              <a:gd name="connsiteX2123" fmla="*/ 2098173 w 8243652"/>
              <a:gd name="connsiteY2123" fmla="*/ 4771131 h 6857106"/>
              <a:gd name="connsiteX2124" fmla="*/ 2112145 w 8243652"/>
              <a:gd name="connsiteY2124" fmla="*/ 4734619 h 6857106"/>
              <a:gd name="connsiteX2125" fmla="*/ 2114474 w 8243652"/>
              <a:gd name="connsiteY2125" fmla="*/ 4682231 h 6857106"/>
              <a:gd name="connsiteX2126" fmla="*/ 2114474 w 8243652"/>
              <a:gd name="connsiteY2126" fmla="*/ 4621906 h 6857106"/>
              <a:gd name="connsiteX2127" fmla="*/ 2119131 w 8243652"/>
              <a:gd name="connsiteY2127" fmla="*/ 4550469 h 6857106"/>
              <a:gd name="connsiteX2128" fmla="*/ 2114474 w 8243652"/>
              <a:gd name="connsiteY2128" fmla="*/ 4391719 h 6857106"/>
              <a:gd name="connsiteX2129" fmla="*/ 2107487 w 8243652"/>
              <a:gd name="connsiteY2129" fmla="*/ 4221856 h 6857106"/>
              <a:gd name="connsiteX2130" fmla="*/ 2095844 w 8243652"/>
              <a:gd name="connsiteY2130" fmla="*/ 4488556 h 6857106"/>
              <a:gd name="connsiteX2131" fmla="*/ 2091186 w 8243652"/>
              <a:gd name="connsiteY2131" fmla="*/ 4564756 h 6857106"/>
              <a:gd name="connsiteX2132" fmla="*/ 2086529 w 8243652"/>
              <a:gd name="connsiteY2132" fmla="*/ 4606031 h 6857106"/>
              <a:gd name="connsiteX2133" fmla="*/ 2081872 w 8243652"/>
              <a:gd name="connsiteY2133" fmla="*/ 4610794 h 6857106"/>
              <a:gd name="connsiteX2134" fmla="*/ 2079543 w 8243652"/>
              <a:gd name="connsiteY2134" fmla="*/ 4606031 h 6857106"/>
              <a:gd name="connsiteX2135" fmla="*/ 2074886 w 8243652"/>
              <a:gd name="connsiteY2135" fmla="*/ 4572694 h 6857106"/>
              <a:gd name="connsiteX2136" fmla="*/ 2058584 w 8243652"/>
              <a:gd name="connsiteY2136" fmla="*/ 4394894 h 6857106"/>
              <a:gd name="connsiteX2137" fmla="*/ 2053927 w 8243652"/>
              <a:gd name="connsiteY2137" fmla="*/ 4915594 h 6857106"/>
              <a:gd name="connsiteX2138" fmla="*/ 2046941 w 8243652"/>
              <a:gd name="connsiteY2138" fmla="*/ 5383906 h 6857106"/>
              <a:gd name="connsiteX2139" fmla="*/ 2042283 w 8243652"/>
              <a:gd name="connsiteY2139" fmla="*/ 5575994 h 6857106"/>
              <a:gd name="connsiteX2140" fmla="*/ 2035297 w 8243652"/>
              <a:gd name="connsiteY2140" fmla="*/ 5729981 h 6857106"/>
              <a:gd name="connsiteX2141" fmla="*/ 2023654 w 8243652"/>
              <a:gd name="connsiteY2141" fmla="*/ 5834756 h 6857106"/>
              <a:gd name="connsiteX2142" fmla="*/ 2014339 w 8243652"/>
              <a:gd name="connsiteY2142" fmla="*/ 5864919 h 6857106"/>
              <a:gd name="connsiteX2143" fmla="*/ 2007353 w 8243652"/>
              <a:gd name="connsiteY2143" fmla="*/ 5880794 h 6857106"/>
              <a:gd name="connsiteX2144" fmla="*/ 2018996 w 8243652"/>
              <a:gd name="connsiteY2144" fmla="*/ 5741094 h 6857106"/>
              <a:gd name="connsiteX2145" fmla="*/ 2023654 w 8243652"/>
              <a:gd name="connsiteY2145" fmla="*/ 5666481 h 6857106"/>
              <a:gd name="connsiteX2146" fmla="*/ 2018996 w 8243652"/>
              <a:gd name="connsiteY2146" fmla="*/ 5574406 h 6857106"/>
              <a:gd name="connsiteX2147" fmla="*/ 2014339 w 8243652"/>
              <a:gd name="connsiteY2147" fmla="*/ 5514081 h 6857106"/>
              <a:gd name="connsiteX2148" fmla="*/ 2014339 w 8243652"/>
              <a:gd name="connsiteY2148" fmla="*/ 5515669 h 6857106"/>
              <a:gd name="connsiteX2149" fmla="*/ 2009681 w 8243652"/>
              <a:gd name="connsiteY2149" fmla="*/ 5533131 h 6857106"/>
              <a:gd name="connsiteX2150" fmla="*/ 2002696 w 8243652"/>
              <a:gd name="connsiteY2150" fmla="*/ 5639494 h 6857106"/>
              <a:gd name="connsiteX2151" fmla="*/ 2002696 w 8243652"/>
              <a:gd name="connsiteY2151" fmla="*/ 5534719 h 6857106"/>
              <a:gd name="connsiteX2152" fmla="*/ 2007353 w 8243652"/>
              <a:gd name="connsiteY2152" fmla="*/ 5425181 h 6857106"/>
              <a:gd name="connsiteX2153" fmla="*/ 2007353 w 8243652"/>
              <a:gd name="connsiteY2153" fmla="*/ 5299769 h 6857106"/>
              <a:gd name="connsiteX2154" fmla="*/ 2007353 w 8243652"/>
              <a:gd name="connsiteY2154" fmla="*/ 5141019 h 6857106"/>
              <a:gd name="connsiteX2155" fmla="*/ 1995709 w 8243652"/>
              <a:gd name="connsiteY2155" fmla="*/ 5334694 h 6857106"/>
              <a:gd name="connsiteX2156" fmla="*/ 1986394 w 8243652"/>
              <a:gd name="connsiteY2156" fmla="*/ 5434706 h 6857106"/>
              <a:gd name="connsiteX2157" fmla="*/ 1981737 w 8243652"/>
              <a:gd name="connsiteY2157" fmla="*/ 5455344 h 6857106"/>
              <a:gd name="connsiteX2158" fmla="*/ 1974751 w 8243652"/>
              <a:gd name="connsiteY2158" fmla="*/ 5461694 h 6857106"/>
              <a:gd name="connsiteX2159" fmla="*/ 1970093 w 8243652"/>
              <a:gd name="connsiteY2159" fmla="*/ 5455344 h 6857106"/>
              <a:gd name="connsiteX2160" fmla="*/ 1965436 w 8243652"/>
              <a:gd name="connsiteY2160" fmla="*/ 5444231 h 6857106"/>
              <a:gd name="connsiteX2161" fmla="*/ 1953792 w 8243652"/>
              <a:gd name="connsiteY2161" fmla="*/ 5406131 h 6857106"/>
              <a:gd name="connsiteX2162" fmla="*/ 1942149 w 8243652"/>
              <a:gd name="connsiteY2162" fmla="*/ 5374381 h 6857106"/>
              <a:gd name="connsiteX2163" fmla="*/ 1935163 w 8243652"/>
              <a:gd name="connsiteY2163" fmla="*/ 5368031 h 6857106"/>
              <a:gd name="connsiteX2164" fmla="*/ 1930506 w 8243652"/>
              <a:gd name="connsiteY2164" fmla="*/ 5368031 h 6857106"/>
              <a:gd name="connsiteX2165" fmla="*/ 1930506 w 8243652"/>
              <a:gd name="connsiteY2165" fmla="*/ 5374381 h 6857106"/>
              <a:gd name="connsiteX2166" fmla="*/ 1921190 w 8243652"/>
              <a:gd name="connsiteY2166" fmla="*/ 5390256 h 6857106"/>
              <a:gd name="connsiteX2167" fmla="*/ 1914204 w 8243652"/>
              <a:gd name="connsiteY2167" fmla="*/ 5425181 h 6857106"/>
              <a:gd name="connsiteX2168" fmla="*/ 1918862 w 8243652"/>
              <a:gd name="connsiteY2168" fmla="*/ 5277544 h 6857106"/>
              <a:gd name="connsiteX2169" fmla="*/ 1918862 w 8243652"/>
              <a:gd name="connsiteY2169" fmla="*/ 5142606 h 6857106"/>
              <a:gd name="connsiteX2170" fmla="*/ 1909547 w 8243652"/>
              <a:gd name="connsiteY2170" fmla="*/ 4836219 h 6857106"/>
              <a:gd name="connsiteX2171" fmla="*/ 1907218 w 8243652"/>
              <a:gd name="connsiteY2171" fmla="*/ 5036244 h 6857106"/>
              <a:gd name="connsiteX2172" fmla="*/ 1902561 w 8243652"/>
              <a:gd name="connsiteY2172" fmla="*/ 5074344 h 6857106"/>
              <a:gd name="connsiteX2173" fmla="*/ 1902561 w 8243652"/>
              <a:gd name="connsiteY2173" fmla="*/ 5080694 h 6857106"/>
              <a:gd name="connsiteX2174" fmla="*/ 1897903 w 8243652"/>
              <a:gd name="connsiteY2174" fmla="*/ 5080694 h 6857106"/>
              <a:gd name="connsiteX2175" fmla="*/ 1893246 w 8243652"/>
              <a:gd name="connsiteY2175" fmla="*/ 5058469 h 6857106"/>
              <a:gd name="connsiteX2176" fmla="*/ 1890917 w 8243652"/>
              <a:gd name="connsiteY2176" fmla="*/ 5020369 h 6857106"/>
              <a:gd name="connsiteX2177" fmla="*/ 1881602 w 8243652"/>
              <a:gd name="connsiteY2177" fmla="*/ 4918769 h 6857106"/>
              <a:gd name="connsiteX2178" fmla="*/ 1874616 w 8243652"/>
              <a:gd name="connsiteY2178" fmla="*/ 4825106 h 6857106"/>
              <a:gd name="connsiteX2179" fmla="*/ 1869959 w 8243652"/>
              <a:gd name="connsiteY2179" fmla="*/ 4801294 h 6857106"/>
              <a:gd name="connsiteX2180" fmla="*/ 1869959 w 8243652"/>
              <a:gd name="connsiteY2180" fmla="*/ 4794944 h 6857106"/>
              <a:gd name="connsiteX2181" fmla="*/ 1865301 w 8243652"/>
              <a:gd name="connsiteY2181" fmla="*/ 4798119 h 6857106"/>
              <a:gd name="connsiteX2182" fmla="*/ 1865301 w 8243652"/>
              <a:gd name="connsiteY2182" fmla="*/ 4896544 h 6857106"/>
              <a:gd name="connsiteX2183" fmla="*/ 1869959 w 8243652"/>
              <a:gd name="connsiteY2183" fmla="*/ 5171181 h 6857106"/>
              <a:gd name="connsiteX2184" fmla="*/ 1849000 w 8243652"/>
              <a:gd name="connsiteY2184" fmla="*/ 5069581 h 6857106"/>
              <a:gd name="connsiteX2185" fmla="*/ 1832700 w 8243652"/>
              <a:gd name="connsiteY2185" fmla="*/ 4991794 h 6857106"/>
              <a:gd name="connsiteX2186" fmla="*/ 1818727 w 8243652"/>
              <a:gd name="connsiteY2186" fmla="*/ 4934644 h 6857106"/>
              <a:gd name="connsiteX2187" fmla="*/ 1797769 w 8243652"/>
              <a:gd name="connsiteY2187" fmla="*/ 4893369 h 6857106"/>
              <a:gd name="connsiteX2188" fmla="*/ 1781467 w 8243652"/>
              <a:gd name="connsiteY2188" fmla="*/ 4869556 h 6857106"/>
              <a:gd name="connsiteX2189" fmla="*/ 1760509 w 8243652"/>
              <a:gd name="connsiteY2189" fmla="*/ 4852094 h 6857106"/>
              <a:gd name="connsiteX2190" fmla="*/ 1744208 w 8243652"/>
              <a:gd name="connsiteY2190" fmla="*/ 4840981 h 6857106"/>
              <a:gd name="connsiteX2191" fmla="*/ 1725579 w 8243652"/>
              <a:gd name="connsiteY2191" fmla="*/ 4836219 h 6857106"/>
              <a:gd name="connsiteX2192" fmla="*/ 1709277 w 8243652"/>
              <a:gd name="connsiteY2192" fmla="*/ 4828281 h 6857106"/>
              <a:gd name="connsiteX2193" fmla="*/ 1692976 w 8243652"/>
              <a:gd name="connsiteY2193" fmla="*/ 4817169 h 6857106"/>
              <a:gd name="connsiteX2194" fmla="*/ 1676675 w 8243652"/>
              <a:gd name="connsiteY2194" fmla="*/ 4798119 h 6857106"/>
              <a:gd name="connsiteX2195" fmla="*/ 1665032 w 8243652"/>
              <a:gd name="connsiteY2195" fmla="*/ 4767956 h 6857106"/>
              <a:gd name="connsiteX2196" fmla="*/ 1648731 w 8243652"/>
              <a:gd name="connsiteY2196" fmla="*/ 4723506 h 6857106"/>
              <a:gd name="connsiteX2197" fmla="*/ 1641744 w 8243652"/>
              <a:gd name="connsiteY2197" fmla="*/ 4660006 h 6857106"/>
              <a:gd name="connsiteX2198" fmla="*/ 1627772 w 8243652"/>
              <a:gd name="connsiteY2198" fmla="*/ 4575869 h 6857106"/>
              <a:gd name="connsiteX2199" fmla="*/ 1625443 w 8243652"/>
              <a:gd name="connsiteY2199" fmla="*/ 4466331 h 6857106"/>
              <a:gd name="connsiteX2200" fmla="*/ 1620786 w 8243652"/>
              <a:gd name="connsiteY2200" fmla="*/ 4391719 h 6857106"/>
              <a:gd name="connsiteX2201" fmla="*/ 1616129 w 8243652"/>
              <a:gd name="connsiteY2201" fmla="*/ 4375844 h 6857106"/>
              <a:gd name="connsiteX2202" fmla="*/ 1611471 w 8243652"/>
              <a:gd name="connsiteY2202" fmla="*/ 4372669 h 6857106"/>
              <a:gd name="connsiteX2203" fmla="*/ 1609142 w 8243652"/>
              <a:gd name="connsiteY2203" fmla="*/ 4398069 h 6857106"/>
              <a:gd name="connsiteX2204" fmla="*/ 1599828 w 8243652"/>
              <a:gd name="connsiteY2204" fmla="*/ 4448869 h 6857106"/>
              <a:gd name="connsiteX2205" fmla="*/ 1588184 w 8243652"/>
              <a:gd name="connsiteY2205" fmla="*/ 4580631 h 6857106"/>
              <a:gd name="connsiteX2206" fmla="*/ 1581198 w 8243652"/>
              <a:gd name="connsiteY2206" fmla="*/ 4633019 h 6857106"/>
              <a:gd name="connsiteX2207" fmla="*/ 1576540 w 8243652"/>
              <a:gd name="connsiteY2207" fmla="*/ 4658419 h 6857106"/>
              <a:gd name="connsiteX2208" fmla="*/ 1576540 w 8243652"/>
              <a:gd name="connsiteY2208" fmla="*/ 4309169 h 6857106"/>
              <a:gd name="connsiteX2209" fmla="*/ 1555582 w 8243652"/>
              <a:gd name="connsiteY2209" fmla="*/ 4621906 h 6857106"/>
              <a:gd name="connsiteX2210" fmla="*/ 1548596 w 8243652"/>
              <a:gd name="connsiteY2210" fmla="*/ 4693344 h 6857106"/>
              <a:gd name="connsiteX2211" fmla="*/ 1539281 w 8243652"/>
              <a:gd name="connsiteY2211" fmla="*/ 4742556 h 6857106"/>
              <a:gd name="connsiteX2212" fmla="*/ 1522980 w 8243652"/>
              <a:gd name="connsiteY2212" fmla="*/ 4863206 h 6857106"/>
              <a:gd name="connsiteX2213" fmla="*/ 1499693 w 8243652"/>
              <a:gd name="connsiteY2213" fmla="*/ 5179119 h 6857106"/>
              <a:gd name="connsiteX2214" fmla="*/ 1509008 w 8243652"/>
              <a:gd name="connsiteY2214" fmla="*/ 4904481 h 6857106"/>
              <a:gd name="connsiteX2215" fmla="*/ 1509008 w 8243652"/>
              <a:gd name="connsiteY2215" fmla="*/ 4682231 h 6857106"/>
              <a:gd name="connsiteX2216" fmla="*/ 1504350 w 8243652"/>
              <a:gd name="connsiteY2216" fmla="*/ 4474269 h 6857106"/>
              <a:gd name="connsiteX2217" fmla="*/ 1488049 w 8243652"/>
              <a:gd name="connsiteY2217" fmla="*/ 4248844 h 6857106"/>
              <a:gd name="connsiteX2218" fmla="*/ 1455447 w 8243652"/>
              <a:gd name="connsiteY2218" fmla="*/ 4971156 h 6857106"/>
              <a:gd name="connsiteX2219" fmla="*/ 1450790 w 8243652"/>
              <a:gd name="connsiteY2219" fmla="*/ 4432994 h 6857106"/>
              <a:gd name="connsiteX2220" fmla="*/ 1443804 w 8243652"/>
              <a:gd name="connsiteY2220" fmla="*/ 4499669 h 6857106"/>
              <a:gd name="connsiteX2221" fmla="*/ 1439147 w 8243652"/>
              <a:gd name="connsiteY2221" fmla="*/ 4539356 h 6857106"/>
              <a:gd name="connsiteX2222" fmla="*/ 1434489 w 8243652"/>
              <a:gd name="connsiteY2222" fmla="*/ 4561581 h 6857106"/>
              <a:gd name="connsiteX2223" fmla="*/ 1432160 w 8243652"/>
              <a:gd name="connsiteY2223" fmla="*/ 4564756 h 6857106"/>
              <a:gd name="connsiteX2224" fmla="*/ 1427503 w 8243652"/>
              <a:gd name="connsiteY2224" fmla="*/ 4564756 h 6857106"/>
              <a:gd name="connsiteX2225" fmla="*/ 1422845 w 8243652"/>
              <a:gd name="connsiteY2225" fmla="*/ 4556819 h 6857106"/>
              <a:gd name="connsiteX2226" fmla="*/ 1420516 w 8243652"/>
              <a:gd name="connsiteY2226" fmla="*/ 4534594 h 6857106"/>
              <a:gd name="connsiteX2227" fmla="*/ 1406544 w 8243652"/>
              <a:gd name="connsiteY2227" fmla="*/ 4477444 h 6857106"/>
              <a:gd name="connsiteX2228" fmla="*/ 1399558 w 8243652"/>
              <a:gd name="connsiteY2228" fmla="*/ 4669531 h 6857106"/>
              <a:gd name="connsiteX2229" fmla="*/ 1390243 w 8243652"/>
              <a:gd name="connsiteY2229" fmla="*/ 4810819 h 6857106"/>
              <a:gd name="connsiteX2230" fmla="*/ 1378600 w 8243652"/>
              <a:gd name="connsiteY2230" fmla="*/ 4918769 h 6857106"/>
              <a:gd name="connsiteX2231" fmla="*/ 1366957 w 8243652"/>
              <a:gd name="connsiteY2231" fmla="*/ 5002906 h 6857106"/>
              <a:gd name="connsiteX2232" fmla="*/ 1345998 w 8243652"/>
              <a:gd name="connsiteY2232" fmla="*/ 5145781 h 6857106"/>
              <a:gd name="connsiteX2233" fmla="*/ 1339011 w 8243652"/>
              <a:gd name="connsiteY2233" fmla="*/ 5231506 h 6857106"/>
              <a:gd name="connsiteX2234" fmla="*/ 1334354 w 8243652"/>
              <a:gd name="connsiteY2234" fmla="*/ 5337869 h 6857106"/>
              <a:gd name="connsiteX2235" fmla="*/ 1327368 w 8243652"/>
              <a:gd name="connsiteY2235" fmla="*/ 5134669 h 6857106"/>
              <a:gd name="connsiteX2236" fmla="*/ 1322710 w 8243652"/>
              <a:gd name="connsiteY2236" fmla="*/ 5050531 h 6857106"/>
              <a:gd name="connsiteX2237" fmla="*/ 1318053 w 8243652"/>
              <a:gd name="connsiteY2237" fmla="*/ 5036244 h 6857106"/>
              <a:gd name="connsiteX2238" fmla="*/ 1315724 w 8243652"/>
              <a:gd name="connsiteY2238" fmla="*/ 5036244 h 6857106"/>
              <a:gd name="connsiteX2239" fmla="*/ 1315724 w 8243652"/>
              <a:gd name="connsiteY2239" fmla="*/ 5042594 h 6857106"/>
              <a:gd name="connsiteX2240" fmla="*/ 1306410 w 8243652"/>
              <a:gd name="connsiteY2240" fmla="*/ 5072756 h 6857106"/>
              <a:gd name="connsiteX2241" fmla="*/ 1299423 w 8243652"/>
              <a:gd name="connsiteY2241" fmla="*/ 5104506 h 6857106"/>
              <a:gd name="connsiteX2242" fmla="*/ 1299423 w 8243652"/>
              <a:gd name="connsiteY2242" fmla="*/ 5110856 h 6857106"/>
              <a:gd name="connsiteX2243" fmla="*/ 1294766 w 8243652"/>
              <a:gd name="connsiteY2243" fmla="*/ 5102919 h 6857106"/>
              <a:gd name="connsiteX2244" fmla="*/ 1287780 w 8243652"/>
              <a:gd name="connsiteY2244" fmla="*/ 5028306 h 6857106"/>
              <a:gd name="connsiteX2245" fmla="*/ 1283122 w 8243652"/>
              <a:gd name="connsiteY2245" fmla="*/ 4839394 h 6857106"/>
              <a:gd name="connsiteX2246" fmla="*/ 1273807 w 8243652"/>
              <a:gd name="connsiteY2246" fmla="*/ 4979094 h 6857106"/>
              <a:gd name="connsiteX2247" fmla="*/ 1266821 w 8243652"/>
              <a:gd name="connsiteY2247" fmla="*/ 5093394 h 6857106"/>
              <a:gd name="connsiteX2248" fmla="*/ 1271479 w 8243652"/>
              <a:gd name="connsiteY2248" fmla="*/ 5533131 h 6857106"/>
              <a:gd name="connsiteX2249" fmla="*/ 1271479 w 8243652"/>
              <a:gd name="connsiteY2249" fmla="*/ 5642669 h 6857106"/>
              <a:gd name="connsiteX2250" fmla="*/ 1266821 w 8243652"/>
              <a:gd name="connsiteY2250" fmla="*/ 5650606 h 6857106"/>
              <a:gd name="connsiteX2251" fmla="*/ 1266821 w 8243652"/>
              <a:gd name="connsiteY2251" fmla="*/ 5647431 h 6857106"/>
              <a:gd name="connsiteX2252" fmla="*/ 1262164 w 8243652"/>
              <a:gd name="connsiteY2252" fmla="*/ 5612506 h 6857106"/>
              <a:gd name="connsiteX2253" fmla="*/ 1257506 w 8243652"/>
              <a:gd name="connsiteY2253" fmla="*/ 5625206 h 6857106"/>
              <a:gd name="connsiteX2254" fmla="*/ 1255178 w 8243652"/>
              <a:gd name="connsiteY2254" fmla="*/ 5202931 h 6857106"/>
              <a:gd name="connsiteX2255" fmla="*/ 1243534 w 8243652"/>
              <a:gd name="connsiteY2255" fmla="*/ 5266431 h 6857106"/>
              <a:gd name="connsiteX2256" fmla="*/ 1234220 w 8243652"/>
              <a:gd name="connsiteY2256" fmla="*/ 5314056 h 6857106"/>
              <a:gd name="connsiteX2257" fmla="*/ 1227233 w 8243652"/>
              <a:gd name="connsiteY2257" fmla="*/ 5344219 h 6857106"/>
              <a:gd name="connsiteX2258" fmla="*/ 1217918 w 8243652"/>
              <a:gd name="connsiteY2258" fmla="*/ 5356919 h 6857106"/>
              <a:gd name="connsiteX2259" fmla="*/ 1222576 w 8243652"/>
              <a:gd name="connsiteY2259" fmla="*/ 5442644 h 6857106"/>
              <a:gd name="connsiteX2260" fmla="*/ 1229562 w 8243652"/>
              <a:gd name="connsiteY2260" fmla="*/ 5568056 h 6857106"/>
              <a:gd name="connsiteX2261" fmla="*/ 1215590 w 8243652"/>
              <a:gd name="connsiteY2261" fmla="*/ 5360094 h 6857106"/>
              <a:gd name="connsiteX2262" fmla="*/ 1210932 w 8243652"/>
              <a:gd name="connsiteY2262" fmla="*/ 5360094 h 6857106"/>
              <a:gd name="connsiteX2263" fmla="*/ 1210932 w 8243652"/>
              <a:gd name="connsiteY2263" fmla="*/ 5353744 h 6857106"/>
              <a:gd name="connsiteX2264" fmla="*/ 1215590 w 8243652"/>
              <a:gd name="connsiteY2264" fmla="*/ 5334694 h 6857106"/>
              <a:gd name="connsiteX2265" fmla="*/ 1206275 w 8243652"/>
              <a:gd name="connsiteY2265" fmla="*/ 5272781 h 6857106"/>
              <a:gd name="connsiteX2266" fmla="*/ 1199289 w 8243652"/>
              <a:gd name="connsiteY2266" fmla="*/ 5242619 h 6857106"/>
              <a:gd name="connsiteX2267" fmla="*/ 1199289 w 8243652"/>
              <a:gd name="connsiteY2267" fmla="*/ 5239444 h 6857106"/>
              <a:gd name="connsiteX2268" fmla="*/ 1194631 w 8243652"/>
              <a:gd name="connsiteY2268" fmla="*/ 5242619 h 6857106"/>
              <a:gd name="connsiteX2269" fmla="*/ 1189974 w 8243652"/>
              <a:gd name="connsiteY2269" fmla="*/ 5255319 h 6857106"/>
              <a:gd name="connsiteX2270" fmla="*/ 1182988 w 8243652"/>
              <a:gd name="connsiteY2270" fmla="*/ 5329931 h 6857106"/>
              <a:gd name="connsiteX2271" fmla="*/ 1173673 w 8243652"/>
              <a:gd name="connsiteY2271" fmla="*/ 5233094 h 6857106"/>
              <a:gd name="connsiteX2272" fmla="*/ 1166687 w 8243652"/>
              <a:gd name="connsiteY2272" fmla="*/ 5179119 h 6857106"/>
              <a:gd name="connsiteX2273" fmla="*/ 1162030 w 8243652"/>
              <a:gd name="connsiteY2273" fmla="*/ 5168006 h 6857106"/>
              <a:gd name="connsiteX2274" fmla="*/ 1157372 w 8243652"/>
              <a:gd name="connsiteY2274" fmla="*/ 5164831 h 6857106"/>
              <a:gd name="connsiteX2275" fmla="*/ 1150386 w 8243652"/>
              <a:gd name="connsiteY2275" fmla="*/ 5171181 h 6857106"/>
              <a:gd name="connsiteX2276" fmla="*/ 1145728 w 8243652"/>
              <a:gd name="connsiteY2276" fmla="*/ 5182294 h 6857106"/>
              <a:gd name="connsiteX2277" fmla="*/ 1138742 w 8243652"/>
              <a:gd name="connsiteY2277" fmla="*/ 5220394 h 6857106"/>
              <a:gd name="connsiteX2278" fmla="*/ 1127099 w 8243652"/>
              <a:gd name="connsiteY2278" fmla="*/ 5277544 h 6857106"/>
              <a:gd name="connsiteX2279" fmla="*/ 1106140 w 8243652"/>
              <a:gd name="connsiteY2279" fmla="*/ 5420419 h 6857106"/>
              <a:gd name="connsiteX2280" fmla="*/ 1085181 w 8243652"/>
              <a:gd name="connsiteY2280" fmla="*/ 5549006 h 6857106"/>
              <a:gd name="connsiteX2281" fmla="*/ 1078195 w 8243652"/>
              <a:gd name="connsiteY2281" fmla="*/ 5593456 h 6857106"/>
              <a:gd name="connsiteX2282" fmla="*/ 1068880 w 8243652"/>
              <a:gd name="connsiteY2282" fmla="*/ 5606156 h 6857106"/>
              <a:gd name="connsiteX2283" fmla="*/ 1066552 w 8243652"/>
              <a:gd name="connsiteY2283" fmla="*/ 5612506 h 6857106"/>
              <a:gd name="connsiteX2284" fmla="*/ 1061894 w 8243652"/>
              <a:gd name="connsiteY2284" fmla="*/ 5612506 h 6857106"/>
              <a:gd name="connsiteX2285" fmla="*/ 1057237 w 8243652"/>
              <a:gd name="connsiteY2285" fmla="*/ 5604569 h 6857106"/>
              <a:gd name="connsiteX2286" fmla="*/ 1045593 w 8243652"/>
              <a:gd name="connsiteY2286" fmla="*/ 5556944 h 6857106"/>
              <a:gd name="connsiteX2287" fmla="*/ 1038607 w 8243652"/>
              <a:gd name="connsiteY2287" fmla="*/ 5466456 h 6857106"/>
              <a:gd name="connsiteX2288" fmla="*/ 1024635 w 8243652"/>
              <a:gd name="connsiteY2288" fmla="*/ 5329931 h 6857106"/>
              <a:gd name="connsiteX2289" fmla="*/ 1033950 w 8243652"/>
              <a:gd name="connsiteY2289" fmla="*/ 5383906 h 6857106"/>
              <a:gd name="connsiteX2290" fmla="*/ 1038607 w 8243652"/>
              <a:gd name="connsiteY2290" fmla="*/ 5401369 h 6857106"/>
              <a:gd name="connsiteX2291" fmla="*/ 1038607 w 8243652"/>
              <a:gd name="connsiteY2291" fmla="*/ 5409306 h 6857106"/>
              <a:gd name="connsiteX2292" fmla="*/ 1040936 w 8243652"/>
              <a:gd name="connsiteY2292" fmla="*/ 5404544 h 6857106"/>
              <a:gd name="connsiteX2293" fmla="*/ 1045593 w 8243652"/>
              <a:gd name="connsiteY2293" fmla="*/ 5387081 h 6857106"/>
              <a:gd name="connsiteX2294" fmla="*/ 1050251 w 8243652"/>
              <a:gd name="connsiteY2294" fmla="*/ 5307706 h 6857106"/>
              <a:gd name="connsiteX2295" fmla="*/ 1045593 w 8243652"/>
              <a:gd name="connsiteY2295" fmla="*/ 5310881 h 6857106"/>
              <a:gd name="connsiteX2296" fmla="*/ 1040936 w 8243652"/>
              <a:gd name="connsiteY2296" fmla="*/ 5307706 h 6857106"/>
              <a:gd name="connsiteX2297" fmla="*/ 1033950 w 8243652"/>
              <a:gd name="connsiteY2297" fmla="*/ 5296594 h 6857106"/>
              <a:gd name="connsiteX2298" fmla="*/ 1024635 w 8243652"/>
              <a:gd name="connsiteY2298" fmla="*/ 5274369 h 6857106"/>
              <a:gd name="connsiteX2299" fmla="*/ 1017649 w 8243652"/>
              <a:gd name="connsiteY2299" fmla="*/ 5242619 h 6857106"/>
              <a:gd name="connsiteX2300" fmla="*/ 1001348 w 8243652"/>
              <a:gd name="connsiteY2300" fmla="*/ 5164831 h 6857106"/>
              <a:gd name="connsiteX2301" fmla="*/ 985047 w 8243652"/>
              <a:gd name="connsiteY2301" fmla="*/ 5082281 h 6857106"/>
              <a:gd name="connsiteX2302" fmla="*/ 968746 w 8243652"/>
              <a:gd name="connsiteY2302" fmla="*/ 5014019 h 6857106"/>
              <a:gd name="connsiteX2303" fmla="*/ 964088 w 8243652"/>
              <a:gd name="connsiteY2303" fmla="*/ 4990206 h 6857106"/>
              <a:gd name="connsiteX2304" fmla="*/ 957102 w 8243652"/>
              <a:gd name="connsiteY2304" fmla="*/ 4975919 h 6857106"/>
              <a:gd name="connsiteX2305" fmla="*/ 952445 w 8243652"/>
              <a:gd name="connsiteY2305" fmla="*/ 4972744 h 6857106"/>
              <a:gd name="connsiteX2306" fmla="*/ 950116 w 8243652"/>
              <a:gd name="connsiteY2306" fmla="*/ 4972744 h 6857106"/>
              <a:gd name="connsiteX2307" fmla="*/ 945459 w 8243652"/>
              <a:gd name="connsiteY2307" fmla="*/ 4987031 h 6857106"/>
              <a:gd name="connsiteX2308" fmla="*/ 936144 w 8243652"/>
              <a:gd name="connsiteY2308" fmla="*/ 5020369 h 6857106"/>
              <a:gd name="connsiteX2309" fmla="*/ 933815 w 8243652"/>
              <a:gd name="connsiteY2309" fmla="*/ 5069581 h 6857106"/>
              <a:gd name="connsiteX2310" fmla="*/ 936144 w 8243652"/>
              <a:gd name="connsiteY2310" fmla="*/ 5461694 h 6857106"/>
              <a:gd name="connsiteX2311" fmla="*/ 912857 w 8243652"/>
              <a:gd name="connsiteY2311" fmla="*/ 5585519 h 6857106"/>
              <a:gd name="connsiteX2312" fmla="*/ 891898 w 8243652"/>
              <a:gd name="connsiteY2312" fmla="*/ 5677594 h 6857106"/>
              <a:gd name="connsiteX2313" fmla="*/ 880255 w 8243652"/>
              <a:gd name="connsiteY2313" fmla="*/ 5710931 h 6857106"/>
              <a:gd name="connsiteX2314" fmla="*/ 873268 w 8243652"/>
              <a:gd name="connsiteY2314" fmla="*/ 5733156 h 6857106"/>
              <a:gd name="connsiteX2315" fmla="*/ 868611 w 8243652"/>
              <a:gd name="connsiteY2315" fmla="*/ 5741094 h 6857106"/>
              <a:gd name="connsiteX2316" fmla="*/ 861625 w 8243652"/>
              <a:gd name="connsiteY2316" fmla="*/ 5744269 h 6857106"/>
              <a:gd name="connsiteX2317" fmla="*/ 856967 w 8243652"/>
              <a:gd name="connsiteY2317" fmla="*/ 5744269 h 6857106"/>
              <a:gd name="connsiteX2318" fmla="*/ 852310 w 8243652"/>
              <a:gd name="connsiteY2318" fmla="*/ 5741094 h 6857106"/>
              <a:gd name="connsiteX2319" fmla="*/ 852310 w 8243652"/>
              <a:gd name="connsiteY2319" fmla="*/ 6188769 h 6857106"/>
              <a:gd name="connsiteX2320" fmla="*/ 845324 w 8243652"/>
              <a:gd name="connsiteY2320" fmla="*/ 6166544 h 6857106"/>
              <a:gd name="connsiteX2321" fmla="*/ 840667 w 8243652"/>
              <a:gd name="connsiteY2321" fmla="*/ 6163369 h 6857106"/>
              <a:gd name="connsiteX2322" fmla="*/ 836009 w 8243652"/>
              <a:gd name="connsiteY2322" fmla="*/ 6163369 h 6857106"/>
              <a:gd name="connsiteX2323" fmla="*/ 824365 w 8243652"/>
              <a:gd name="connsiteY2323" fmla="*/ 6171306 h 6857106"/>
              <a:gd name="connsiteX2324" fmla="*/ 817379 w 8243652"/>
              <a:gd name="connsiteY2324" fmla="*/ 6190356 h 6857106"/>
              <a:gd name="connsiteX2325" fmla="*/ 796421 w 8243652"/>
              <a:gd name="connsiteY2325" fmla="*/ 6242744 h 6857106"/>
              <a:gd name="connsiteX2326" fmla="*/ 784777 w 8243652"/>
              <a:gd name="connsiteY2326" fmla="*/ 6268144 h 6857106"/>
              <a:gd name="connsiteX2327" fmla="*/ 775463 w 8243652"/>
              <a:gd name="connsiteY2327" fmla="*/ 6288781 h 6857106"/>
              <a:gd name="connsiteX2328" fmla="*/ 763819 w 8243652"/>
              <a:gd name="connsiteY2328" fmla="*/ 6299894 h 6857106"/>
              <a:gd name="connsiteX2329" fmla="*/ 759162 w 8243652"/>
              <a:gd name="connsiteY2329" fmla="*/ 6299894 h 6857106"/>
              <a:gd name="connsiteX2330" fmla="*/ 756833 w 8243652"/>
              <a:gd name="connsiteY2330" fmla="*/ 6299894 h 6857106"/>
              <a:gd name="connsiteX2331" fmla="*/ 752175 w 8243652"/>
              <a:gd name="connsiteY2331" fmla="*/ 6291956 h 6857106"/>
              <a:gd name="connsiteX2332" fmla="*/ 742861 w 8243652"/>
              <a:gd name="connsiteY2332" fmla="*/ 6280844 h 6857106"/>
              <a:gd name="connsiteX2333" fmla="*/ 735874 w 8243652"/>
              <a:gd name="connsiteY2333" fmla="*/ 6245919 h 6857106"/>
              <a:gd name="connsiteX2334" fmla="*/ 728888 w 8243652"/>
              <a:gd name="connsiteY2334" fmla="*/ 6185594 h 6857106"/>
              <a:gd name="connsiteX2335" fmla="*/ 719573 w 8243652"/>
              <a:gd name="connsiteY2335" fmla="*/ 6098281 h 6857106"/>
              <a:gd name="connsiteX2336" fmla="*/ 714916 w 8243652"/>
              <a:gd name="connsiteY2336" fmla="*/ 5977631 h 6857106"/>
              <a:gd name="connsiteX2337" fmla="*/ 712587 w 8243652"/>
              <a:gd name="connsiteY2337" fmla="*/ 5823644 h 6857106"/>
              <a:gd name="connsiteX2338" fmla="*/ 703272 w 8243652"/>
              <a:gd name="connsiteY2338" fmla="*/ 5922069 h 6857106"/>
              <a:gd name="connsiteX2339" fmla="*/ 703272 w 8243652"/>
              <a:gd name="connsiteY2339" fmla="*/ 5947469 h 6857106"/>
              <a:gd name="connsiteX2340" fmla="*/ 698615 w 8243652"/>
              <a:gd name="connsiteY2340" fmla="*/ 5960169 h 6857106"/>
              <a:gd name="connsiteX2341" fmla="*/ 696286 w 8243652"/>
              <a:gd name="connsiteY2341" fmla="*/ 5960169 h 6857106"/>
              <a:gd name="connsiteX2342" fmla="*/ 691629 w 8243652"/>
              <a:gd name="connsiteY2342" fmla="*/ 5960169 h 6857106"/>
              <a:gd name="connsiteX2343" fmla="*/ 686971 w 8243652"/>
              <a:gd name="connsiteY2343" fmla="*/ 5952231 h 6857106"/>
              <a:gd name="connsiteX2344" fmla="*/ 679985 w 8243652"/>
              <a:gd name="connsiteY2344" fmla="*/ 5918894 h 6857106"/>
              <a:gd name="connsiteX2345" fmla="*/ 668342 w 8243652"/>
              <a:gd name="connsiteY2345" fmla="*/ 5876031 h 6857106"/>
              <a:gd name="connsiteX2346" fmla="*/ 654369 w 8243652"/>
              <a:gd name="connsiteY2346" fmla="*/ 5836344 h 6857106"/>
              <a:gd name="connsiteX2347" fmla="*/ 652041 w 8243652"/>
              <a:gd name="connsiteY2347" fmla="*/ 5823644 h 6857106"/>
              <a:gd name="connsiteX2348" fmla="*/ 647383 w 8243652"/>
              <a:gd name="connsiteY2348" fmla="*/ 5817294 h 6857106"/>
              <a:gd name="connsiteX2349" fmla="*/ 642726 w 8243652"/>
              <a:gd name="connsiteY2349" fmla="*/ 5817294 h 6857106"/>
              <a:gd name="connsiteX2350" fmla="*/ 640397 w 8243652"/>
              <a:gd name="connsiteY2350" fmla="*/ 5823644 h 6857106"/>
              <a:gd name="connsiteX2351" fmla="*/ 635740 w 8243652"/>
              <a:gd name="connsiteY2351" fmla="*/ 5836344 h 6857106"/>
              <a:gd name="connsiteX2352" fmla="*/ 631082 w 8243652"/>
              <a:gd name="connsiteY2352" fmla="*/ 5496619 h 6857106"/>
              <a:gd name="connsiteX2353" fmla="*/ 624096 w 8243652"/>
              <a:gd name="connsiteY2353" fmla="*/ 5466456 h 6857106"/>
              <a:gd name="connsiteX2354" fmla="*/ 614781 w 8243652"/>
              <a:gd name="connsiteY2354" fmla="*/ 5458519 h 6857106"/>
              <a:gd name="connsiteX2355" fmla="*/ 610124 w 8243652"/>
              <a:gd name="connsiteY2355" fmla="*/ 5453756 h 6857106"/>
              <a:gd name="connsiteX2356" fmla="*/ 607795 w 8243652"/>
              <a:gd name="connsiteY2356" fmla="*/ 5453756 h 6857106"/>
              <a:gd name="connsiteX2357" fmla="*/ 603138 w 8243652"/>
              <a:gd name="connsiteY2357" fmla="*/ 5455344 h 6857106"/>
              <a:gd name="connsiteX2358" fmla="*/ 596151 w 8243652"/>
              <a:gd name="connsiteY2358" fmla="*/ 5472806 h 6857106"/>
              <a:gd name="connsiteX2359" fmla="*/ 582179 w 8243652"/>
              <a:gd name="connsiteY2359" fmla="*/ 5533131 h 6857106"/>
              <a:gd name="connsiteX2360" fmla="*/ 570536 w 8243652"/>
              <a:gd name="connsiteY2360" fmla="*/ 5606156 h 6857106"/>
              <a:gd name="connsiteX2361" fmla="*/ 558892 w 8243652"/>
              <a:gd name="connsiteY2361" fmla="*/ 5488681 h 6857106"/>
              <a:gd name="connsiteX2362" fmla="*/ 551906 w 8243652"/>
              <a:gd name="connsiteY2362" fmla="*/ 5401369 h 6857106"/>
              <a:gd name="connsiteX2363" fmla="*/ 537934 w 8243652"/>
              <a:gd name="connsiteY2363" fmla="*/ 5341044 h 6857106"/>
              <a:gd name="connsiteX2364" fmla="*/ 526290 w 8243652"/>
              <a:gd name="connsiteY2364" fmla="*/ 5304531 h 6857106"/>
              <a:gd name="connsiteX2365" fmla="*/ 521633 w 8243652"/>
              <a:gd name="connsiteY2365" fmla="*/ 5293419 h 6857106"/>
              <a:gd name="connsiteX2366" fmla="*/ 519304 w 8243652"/>
              <a:gd name="connsiteY2366" fmla="*/ 5288656 h 6857106"/>
              <a:gd name="connsiteX2367" fmla="*/ 514646 w 8243652"/>
              <a:gd name="connsiteY2367" fmla="*/ 5285481 h 6857106"/>
              <a:gd name="connsiteX2368" fmla="*/ 507660 w 8243652"/>
              <a:gd name="connsiteY2368" fmla="*/ 5288656 h 6857106"/>
              <a:gd name="connsiteX2369" fmla="*/ 498345 w 8243652"/>
              <a:gd name="connsiteY2369" fmla="*/ 5302944 h 6857106"/>
              <a:gd name="connsiteX2370" fmla="*/ 486702 w 8243652"/>
              <a:gd name="connsiteY2370" fmla="*/ 5329931 h 6857106"/>
              <a:gd name="connsiteX2371" fmla="*/ 470401 w 8243652"/>
              <a:gd name="connsiteY2371" fmla="*/ 5401369 h 6857106"/>
              <a:gd name="connsiteX2372" fmla="*/ 449442 w 8243652"/>
              <a:gd name="connsiteY2372" fmla="*/ 5477569 h 6857106"/>
              <a:gd name="connsiteX2373" fmla="*/ 437799 w 8243652"/>
              <a:gd name="connsiteY2373" fmla="*/ 5510906 h 6857106"/>
              <a:gd name="connsiteX2374" fmla="*/ 430813 w 8243652"/>
              <a:gd name="connsiteY2374" fmla="*/ 5534719 h 6857106"/>
              <a:gd name="connsiteX2375" fmla="*/ 421498 w 8243652"/>
              <a:gd name="connsiteY2375" fmla="*/ 5549006 h 6857106"/>
              <a:gd name="connsiteX2376" fmla="*/ 419169 w 8243652"/>
              <a:gd name="connsiteY2376" fmla="*/ 5549006 h 6857106"/>
              <a:gd name="connsiteX2377" fmla="*/ 409854 w 8243652"/>
              <a:gd name="connsiteY2377" fmla="*/ 5549006 h 6857106"/>
              <a:gd name="connsiteX2378" fmla="*/ 409854 w 8243652"/>
              <a:gd name="connsiteY2378" fmla="*/ 5450581 h 6857106"/>
              <a:gd name="connsiteX2379" fmla="*/ 360951 w 8243652"/>
              <a:gd name="connsiteY2379" fmla="*/ 5695056 h 6857106"/>
              <a:gd name="connsiteX2380" fmla="*/ 365609 w 8243652"/>
              <a:gd name="connsiteY2380" fmla="*/ 5595044 h 6857106"/>
              <a:gd name="connsiteX2381" fmla="*/ 358623 w 8243652"/>
              <a:gd name="connsiteY2381" fmla="*/ 5672831 h 6857106"/>
              <a:gd name="connsiteX2382" fmla="*/ 349308 w 8243652"/>
              <a:gd name="connsiteY2382" fmla="*/ 5793481 h 6857106"/>
              <a:gd name="connsiteX2383" fmla="*/ 342322 w 8243652"/>
              <a:gd name="connsiteY2383" fmla="*/ 5828406 h 6857106"/>
              <a:gd name="connsiteX2384" fmla="*/ 342322 w 8243652"/>
              <a:gd name="connsiteY2384" fmla="*/ 5831581 h 6857106"/>
              <a:gd name="connsiteX2385" fmla="*/ 337664 w 8243652"/>
              <a:gd name="connsiteY2385" fmla="*/ 5831581 h 6857106"/>
              <a:gd name="connsiteX2386" fmla="*/ 337664 w 8243652"/>
              <a:gd name="connsiteY2386" fmla="*/ 5820469 h 6857106"/>
              <a:gd name="connsiteX2387" fmla="*/ 330678 w 8243652"/>
              <a:gd name="connsiteY2387" fmla="*/ 5872856 h 6857106"/>
              <a:gd name="connsiteX2388" fmla="*/ 321363 w 8243652"/>
              <a:gd name="connsiteY2388" fmla="*/ 5899844 h 6857106"/>
              <a:gd name="connsiteX2389" fmla="*/ 316706 w 8243652"/>
              <a:gd name="connsiteY2389" fmla="*/ 5906194 h 6857106"/>
              <a:gd name="connsiteX2390" fmla="*/ 314377 w 8243652"/>
              <a:gd name="connsiteY2390" fmla="*/ 5907781 h 6857106"/>
              <a:gd name="connsiteX2391" fmla="*/ 309719 w 8243652"/>
              <a:gd name="connsiteY2391" fmla="*/ 5903019 h 6857106"/>
              <a:gd name="connsiteX2392" fmla="*/ 305062 w 8243652"/>
              <a:gd name="connsiteY2392" fmla="*/ 5895081 h 6857106"/>
              <a:gd name="connsiteX2393" fmla="*/ 298076 w 8243652"/>
              <a:gd name="connsiteY2393" fmla="*/ 5864919 h 6857106"/>
              <a:gd name="connsiteX2394" fmla="*/ 288761 w 8243652"/>
              <a:gd name="connsiteY2394" fmla="*/ 5817294 h 6857106"/>
              <a:gd name="connsiteX2395" fmla="*/ 277117 w 8243652"/>
              <a:gd name="connsiteY2395" fmla="*/ 5677594 h 6857106"/>
              <a:gd name="connsiteX2396" fmla="*/ 244515 w 8243652"/>
              <a:gd name="connsiteY2396" fmla="*/ 5661719 h 6857106"/>
              <a:gd name="connsiteX2397" fmla="*/ 253830 w 8243652"/>
              <a:gd name="connsiteY2397" fmla="*/ 5571231 h 6857106"/>
              <a:gd name="connsiteX2398" fmla="*/ 258488 w 8243652"/>
              <a:gd name="connsiteY2398" fmla="*/ 5480744 h 6857106"/>
              <a:gd name="connsiteX2399" fmla="*/ 258488 w 8243652"/>
              <a:gd name="connsiteY2399" fmla="*/ 5382319 h 6857106"/>
              <a:gd name="connsiteX2400" fmla="*/ 258488 w 8243652"/>
              <a:gd name="connsiteY2400" fmla="*/ 5280719 h 6857106"/>
              <a:gd name="connsiteX2401" fmla="*/ 244515 w 8243652"/>
              <a:gd name="connsiteY2401" fmla="*/ 5047356 h 6857106"/>
              <a:gd name="connsiteX2402" fmla="*/ 242187 w 8243652"/>
              <a:gd name="connsiteY2402" fmla="*/ 4915594 h 6857106"/>
              <a:gd name="connsiteX2403" fmla="*/ 242187 w 8243652"/>
              <a:gd name="connsiteY2403" fmla="*/ 4775894 h 6857106"/>
              <a:gd name="connsiteX2404" fmla="*/ 216571 w 8243652"/>
              <a:gd name="connsiteY2404" fmla="*/ 5091806 h 6857106"/>
              <a:gd name="connsiteX2405" fmla="*/ 216571 w 8243652"/>
              <a:gd name="connsiteY2405" fmla="*/ 4960044 h 6857106"/>
              <a:gd name="connsiteX2406" fmla="*/ 221228 w 8243652"/>
              <a:gd name="connsiteY2406" fmla="*/ 4855269 h 6857106"/>
              <a:gd name="connsiteX2407" fmla="*/ 221228 w 8243652"/>
              <a:gd name="connsiteY2407" fmla="*/ 4767956 h 6857106"/>
              <a:gd name="connsiteX2408" fmla="*/ 221228 w 8243652"/>
              <a:gd name="connsiteY2408" fmla="*/ 4731444 h 6857106"/>
              <a:gd name="connsiteX2409" fmla="*/ 216571 w 8243652"/>
              <a:gd name="connsiteY2409" fmla="*/ 4696519 h 6857106"/>
              <a:gd name="connsiteX2410" fmla="*/ 209585 w 8243652"/>
              <a:gd name="connsiteY2410" fmla="*/ 4767956 h 6857106"/>
              <a:gd name="connsiteX2411" fmla="*/ 200270 w 8243652"/>
              <a:gd name="connsiteY2411" fmla="*/ 4821931 h 6857106"/>
              <a:gd name="connsiteX2412" fmla="*/ 183969 w 8243652"/>
              <a:gd name="connsiteY2412" fmla="*/ 4926706 h 6857106"/>
              <a:gd name="connsiteX2413" fmla="*/ 172325 w 8243652"/>
              <a:gd name="connsiteY2413" fmla="*/ 4987031 h 6857106"/>
              <a:gd name="connsiteX2414" fmla="*/ 165339 w 8243652"/>
              <a:gd name="connsiteY2414" fmla="*/ 5066406 h 6857106"/>
              <a:gd name="connsiteX2415" fmla="*/ 156024 w 8243652"/>
              <a:gd name="connsiteY2415" fmla="*/ 5168006 h 6857106"/>
              <a:gd name="connsiteX2416" fmla="*/ 149038 w 8243652"/>
              <a:gd name="connsiteY2416" fmla="*/ 5302944 h 6857106"/>
              <a:gd name="connsiteX2417" fmla="*/ 156024 w 8243652"/>
              <a:gd name="connsiteY2417" fmla="*/ 5444231 h 6857106"/>
              <a:gd name="connsiteX2418" fmla="*/ 165339 w 8243652"/>
              <a:gd name="connsiteY2418" fmla="*/ 5574406 h 6857106"/>
              <a:gd name="connsiteX2419" fmla="*/ 165339 w 8243652"/>
              <a:gd name="connsiteY2419" fmla="*/ 5579169 h 6857106"/>
              <a:gd name="connsiteX2420" fmla="*/ 165339 w 8243652"/>
              <a:gd name="connsiteY2420" fmla="*/ 5587106 h 6857106"/>
              <a:gd name="connsiteX2421" fmla="*/ 156024 w 8243652"/>
              <a:gd name="connsiteY2421" fmla="*/ 5744269 h 6857106"/>
              <a:gd name="connsiteX2422" fmla="*/ 149038 w 8243652"/>
              <a:gd name="connsiteY2422" fmla="*/ 5722044 h 6857106"/>
              <a:gd name="connsiteX2423" fmla="*/ 149038 w 8243652"/>
              <a:gd name="connsiteY2423" fmla="*/ 5718869 h 6857106"/>
              <a:gd name="connsiteX2424" fmla="*/ 144381 w 8243652"/>
              <a:gd name="connsiteY2424" fmla="*/ 5722044 h 6857106"/>
              <a:gd name="connsiteX2425" fmla="*/ 139723 w 8243652"/>
              <a:gd name="connsiteY2425" fmla="*/ 5737919 h 6857106"/>
              <a:gd name="connsiteX2426" fmla="*/ 139723 w 8243652"/>
              <a:gd name="connsiteY2426" fmla="*/ 5771256 h 6857106"/>
              <a:gd name="connsiteX2427" fmla="*/ 144381 w 8243652"/>
              <a:gd name="connsiteY2427" fmla="*/ 5996681 h 6857106"/>
              <a:gd name="connsiteX2428" fmla="*/ 132737 w 8243652"/>
              <a:gd name="connsiteY2428" fmla="*/ 5817294 h 6857106"/>
              <a:gd name="connsiteX2429" fmla="*/ 125751 w 8243652"/>
              <a:gd name="connsiteY2429" fmla="*/ 5702994 h 6857106"/>
              <a:gd name="connsiteX2430" fmla="*/ 116436 w 8243652"/>
              <a:gd name="connsiteY2430" fmla="*/ 5634731 h 6857106"/>
              <a:gd name="connsiteX2431" fmla="*/ 109450 w 8243652"/>
              <a:gd name="connsiteY2431" fmla="*/ 5585519 h 6857106"/>
              <a:gd name="connsiteX2432" fmla="*/ 100135 w 8243652"/>
              <a:gd name="connsiteY2432" fmla="*/ 5537894 h 6857106"/>
              <a:gd name="connsiteX2433" fmla="*/ 93149 w 8243652"/>
              <a:gd name="connsiteY2433" fmla="*/ 5466456 h 6857106"/>
              <a:gd name="connsiteX2434" fmla="*/ 88492 w 8243652"/>
              <a:gd name="connsiteY2434" fmla="*/ 5353744 h 6857106"/>
              <a:gd name="connsiteX2435" fmla="*/ 81505 w 8243652"/>
              <a:gd name="connsiteY2435" fmla="*/ 5179119 h 6857106"/>
              <a:gd name="connsiteX2436" fmla="*/ 81505 w 8243652"/>
              <a:gd name="connsiteY2436" fmla="*/ 5360094 h 6857106"/>
              <a:gd name="connsiteX2437" fmla="*/ 81505 w 8243652"/>
              <a:gd name="connsiteY2437" fmla="*/ 5414069 h 6857106"/>
              <a:gd name="connsiteX2438" fmla="*/ 76848 w 8243652"/>
              <a:gd name="connsiteY2438" fmla="*/ 5450581 h 6857106"/>
              <a:gd name="connsiteX2439" fmla="*/ 72191 w 8243652"/>
              <a:gd name="connsiteY2439" fmla="*/ 5469631 h 6857106"/>
              <a:gd name="connsiteX2440" fmla="*/ 67533 w 8243652"/>
              <a:gd name="connsiteY2440" fmla="*/ 5477569 h 6857106"/>
              <a:gd name="connsiteX2441" fmla="*/ 60547 w 8243652"/>
              <a:gd name="connsiteY2441" fmla="*/ 5480744 h 6857106"/>
              <a:gd name="connsiteX2442" fmla="*/ 51232 w 8243652"/>
              <a:gd name="connsiteY2442" fmla="*/ 5480744 h 6857106"/>
              <a:gd name="connsiteX2443" fmla="*/ 48903 w 8243652"/>
              <a:gd name="connsiteY2443" fmla="*/ 5480744 h 6857106"/>
              <a:gd name="connsiteX2444" fmla="*/ 39589 w 8243652"/>
              <a:gd name="connsiteY2444" fmla="*/ 5485506 h 6857106"/>
              <a:gd name="connsiteX2445" fmla="*/ 37260 w 8243652"/>
              <a:gd name="connsiteY2445" fmla="*/ 5499794 h 6857106"/>
              <a:gd name="connsiteX2446" fmla="*/ 32602 w 8243652"/>
              <a:gd name="connsiteY2446" fmla="*/ 5526781 h 6857106"/>
              <a:gd name="connsiteX2447" fmla="*/ 27945 w 8243652"/>
              <a:gd name="connsiteY2447" fmla="*/ 5574406 h 6857106"/>
              <a:gd name="connsiteX2448" fmla="*/ 27945 w 8243652"/>
              <a:gd name="connsiteY2448" fmla="*/ 5639494 h 6857106"/>
              <a:gd name="connsiteX2449" fmla="*/ 27945 w 8243652"/>
              <a:gd name="connsiteY2449" fmla="*/ 5856981 h 6857106"/>
              <a:gd name="connsiteX2450" fmla="*/ 16301 w 8243652"/>
              <a:gd name="connsiteY2450" fmla="*/ 5579169 h 6857106"/>
              <a:gd name="connsiteX2451" fmla="*/ 11644 w 8243652"/>
              <a:gd name="connsiteY2451" fmla="*/ 5544244 h 6857106"/>
              <a:gd name="connsiteX2452" fmla="*/ 11644 w 8243652"/>
              <a:gd name="connsiteY2452" fmla="*/ 5541069 h 6857106"/>
              <a:gd name="connsiteX2453" fmla="*/ 6987 w 8243652"/>
              <a:gd name="connsiteY2453" fmla="*/ 5541069 h 6857106"/>
              <a:gd name="connsiteX2454" fmla="*/ 6987 w 8243652"/>
              <a:gd name="connsiteY2454" fmla="*/ 5518844 h 6857106"/>
              <a:gd name="connsiteX2455" fmla="*/ 0 w 8243652"/>
              <a:gd name="connsiteY2455" fmla="*/ 5293419 h 6857106"/>
              <a:gd name="connsiteX2456" fmla="*/ 4658 w 8243652"/>
              <a:gd name="connsiteY2456" fmla="*/ 5318819 h 6857106"/>
              <a:gd name="connsiteX2457" fmla="*/ 6987 w 8243652"/>
              <a:gd name="connsiteY2457" fmla="*/ 5323581 h 6857106"/>
              <a:gd name="connsiteX2458" fmla="*/ 11644 w 8243652"/>
              <a:gd name="connsiteY2458" fmla="*/ 5323581 h 6857106"/>
              <a:gd name="connsiteX2459" fmla="*/ 16301 w 8243652"/>
              <a:gd name="connsiteY2459" fmla="*/ 5323581 h 6857106"/>
              <a:gd name="connsiteX2460" fmla="*/ 16301 w 8243652"/>
              <a:gd name="connsiteY2460" fmla="*/ 5318819 h 6857106"/>
              <a:gd name="connsiteX2461" fmla="*/ 23287 w 8243652"/>
              <a:gd name="connsiteY2461" fmla="*/ 5299769 h 6857106"/>
              <a:gd name="connsiteX2462" fmla="*/ 32602 w 8243652"/>
              <a:gd name="connsiteY2462" fmla="*/ 5228331 h 6857106"/>
              <a:gd name="connsiteX2463" fmla="*/ 44246 w 8243652"/>
              <a:gd name="connsiteY2463" fmla="*/ 5123556 h 6857106"/>
              <a:gd name="connsiteX2464" fmla="*/ 65204 w 8243652"/>
              <a:gd name="connsiteY2464" fmla="*/ 4866381 h 6857106"/>
              <a:gd name="connsiteX2465" fmla="*/ 83834 w 8243652"/>
              <a:gd name="connsiteY2465" fmla="*/ 4621906 h 6857106"/>
              <a:gd name="connsiteX2466" fmla="*/ 60547 w 8243652"/>
              <a:gd name="connsiteY2466" fmla="*/ 4248844 h 6857106"/>
              <a:gd name="connsiteX2467" fmla="*/ 67533 w 8243652"/>
              <a:gd name="connsiteY2467" fmla="*/ 4056756 h 6857106"/>
              <a:gd name="connsiteX2468" fmla="*/ 72191 w 8243652"/>
              <a:gd name="connsiteY2468" fmla="*/ 4010719 h 6857106"/>
              <a:gd name="connsiteX2469" fmla="*/ 76848 w 8243652"/>
              <a:gd name="connsiteY2469" fmla="*/ 3988494 h 6857106"/>
              <a:gd name="connsiteX2470" fmla="*/ 81505 w 8243652"/>
              <a:gd name="connsiteY2470" fmla="*/ 3991669 h 6857106"/>
              <a:gd name="connsiteX2471" fmla="*/ 83834 w 8243652"/>
              <a:gd name="connsiteY2471" fmla="*/ 4010719 h 6857106"/>
              <a:gd name="connsiteX2472" fmla="*/ 95477 w 8243652"/>
              <a:gd name="connsiteY2472" fmla="*/ 4086919 h 6857106"/>
              <a:gd name="connsiteX2473" fmla="*/ 111779 w 8243652"/>
              <a:gd name="connsiteY2473" fmla="*/ 4271069 h 6857106"/>
              <a:gd name="connsiteX2474" fmla="*/ 116436 w 8243652"/>
              <a:gd name="connsiteY2474" fmla="*/ 4298056 h 6857106"/>
              <a:gd name="connsiteX2475" fmla="*/ 121093 w 8243652"/>
              <a:gd name="connsiteY2475" fmla="*/ 4312344 h 6857106"/>
              <a:gd name="connsiteX2476" fmla="*/ 125751 w 8243652"/>
              <a:gd name="connsiteY2476" fmla="*/ 4309169 h 6857106"/>
              <a:gd name="connsiteX2477" fmla="*/ 125751 w 8243652"/>
              <a:gd name="connsiteY2477" fmla="*/ 4304406 h 6857106"/>
              <a:gd name="connsiteX2478" fmla="*/ 128080 w 8243652"/>
              <a:gd name="connsiteY2478" fmla="*/ 4274244 h 6857106"/>
              <a:gd name="connsiteX2479" fmla="*/ 125751 w 8243652"/>
              <a:gd name="connsiteY2479" fmla="*/ 4318694 h 6857106"/>
              <a:gd name="connsiteX2480" fmla="*/ 121093 w 8243652"/>
              <a:gd name="connsiteY2480" fmla="*/ 4339331 h 6857106"/>
              <a:gd name="connsiteX2481" fmla="*/ 116436 w 8243652"/>
              <a:gd name="connsiteY2481" fmla="*/ 4342506 h 6857106"/>
              <a:gd name="connsiteX2482" fmla="*/ 116436 w 8243652"/>
              <a:gd name="connsiteY2482" fmla="*/ 4339331 h 6857106"/>
              <a:gd name="connsiteX2483" fmla="*/ 109450 w 8243652"/>
              <a:gd name="connsiteY2483" fmla="*/ 4320281 h 6857106"/>
              <a:gd name="connsiteX2484" fmla="*/ 100135 w 8243652"/>
              <a:gd name="connsiteY2484" fmla="*/ 4247256 h 6857106"/>
              <a:gd name="connsiteX2485" fmla="*/ 95477 w 8243652"/>
              <a:gd name="connsiteY2485" fmla="*/ 4142481 h 6857106"/>
              <a:gd name="connsiteX2486" fmla="*/ 104793 w 8243652"/>
              <a:gd name="connsiteY2486" fmla="*/ 4655244 h 6857106"/>
              <a:gd name="connsiteX2487" fmla="*/ 109450 w 8243652"/>
              <a:gd name="connsiteY2487" fmla="*/ 4688581 h 6857106"/>
              <a:gd name="connsiteX2488" fmla="*/ 116436 w 8243652"/>
              <a:gd name="connsiteY2488" fmla="*/ 4707631 h 6857106"/>
              <a:gd name="connsiteX2489" fmla="*/ 121093 w 8243652"/>
              <a:gd name="connsiteY2489" fmla="*/ 4715569 h 6857106"/>
              <a:gd name="connsiteX2490" fmla="*/ 125751 w 8243652"/>
              <a:gd name="connsiteY2490" fmla="*/ 4712394 h 6857106"/>
              <a:gd name="connsiteX2491" fmla="*/ 128080 w 8243652"/>
              <a:gd name="connsiteY2491" fmla="*/ 4710806 h 6857106"/>
              <a:gd name="connsiteX2492" fmla="*/ 132737 w 8243652"/>
              <a:gd name="connsiteY2492" fmla="*/ 4693344 h 6857106"/>
              <a:gd name="connsiteX2493" fmla="*/ 139723 w 8243652"/>
              <a:gd name="connsiteY2493" fmla="*/ 4671119 h 6857106"/>
              <a:gd name="connsiteX2494" fmla="*/ 149038 w 8243652"/>
              <a:gd name="connsiteY2494" fmla="*/ 4599681 h 6857106"/>
              <a:gd name="connsiteX2495" fmla="*/ 169997 w 8243652"/>
              <a:gd name="connsiteY2495" fmla="*/ 4399656 h 6857106"/>
              <a:gd name="connsiteX2496" fmla="*/ 188626 w 8243652"/>
              <a:gd name="connsiteY2496" fmla="*/ 4183756 h 6857106"/>
              <a:gd name="connsiteX2497" fmla="*/ 183969 w 8243652"/>
              <a:gd name="connsiteY2497" fmla="*/ 4117081 h 6857106"/>
              <a:gd name="connsiteX2498" fmla="*/ 183969 w 8243652"/>
              <a:gd name="connsiteY2498" fmla="*/ 4051994 h 6857106"/>
              <a:gd name="connsiteX2499" fmla="*/ 193283 w 8243652"/>
              <a:gd name="connsiteY2499" fmla="*/ 3905944 h 6857106"/>
              <a:gd name="connsiteX2500" fmla="*/ 197941 w 8243652"/>
              <a:gd name="connsiteY2500" fmla="*/ 3821806 h 6857106"/>
              <a:gd name="connsiteX2501" fmla="*/ 200270 w 8243652"/>
              <a:gd name="connsiteY2501" fmla="*/ 3723381 h 6857106"/>
              <a:gd name="connsiteX2502" fmla="*/ 204927 w 8243652"/>
              <a:gd name="connsiteY2502" fmla="*/ 3610669 h 6857106"/>
              <a:gd name="connsiteX2503" fmla="*/ 200270 w 8243652"/>
              <a:gd name="connsiteY2503" fmla="*/ 3478906 h 6857106"/>
              <a:gd name="connsiteX2504" fmla="*/ 181640 w 8243652"/>
              <a:gd name="connsiteY2504" fmla="*/ 3543994 h 6857106"/>
              <a:gd name="connsiteX2505" fmla="*/ 181640 w 8243652"/>
              <a:gd name="connsiteY2505" fmla="*/ 3407469 h 6857106"/>
              <a:gd name="connsiteX2506" fmla="*/ 183969 w 8243652"/>
              <a:gd name="connsiteY2506" fmla="*/ 3275706 h 6857106"/>
              <a:gd name="connsiteX2507" fmla="*/ 200270 w 8243652"/>
              <a:gd name="connsiteY2507" fmla="*/ 3031231 h 6857106"/>
              <a:gd name="connsiteX2508" fmla="*/ 214242 w 8243652"/>
              <a:gd name="connsiteY2508" fmla="*/ 3097906 h 6857106"/>
              <a:gd name="connsiteX2509" fmla="*/ 225886 w 8243652"/>
              <a:gd name="connsiteY2509" fmla="*/ 3147119 h 6857106"/>
              <a:gd name="connsiteX2510" fmla="*/ 237529 w 8243652"/>
              <a:gd name="connsiteY2510" fmla="*/ 3185219 h 6857106"/>
              <a:gd name="connsiteX2511" fmla="*/ 249173 w 8243652"/>
              <a:gd name="connsiteY2511" fmla="*/ 3212206 h 6857106"/>
              <a:gd name="connsiteX2512" fmla="*/ 265474 w 8243652"/>
              <a:gd name="connsiteY2512" fmla="*/ 3229669 h 6857106"/>
              <a:gd name="connsiteX2513" fmla="*/ 277117 w 8243652"/>
              <a:gd name="connsiteY2513" fmla="*/ 3242369 h 6857106"/>
              <a:gd name="connsiteX2514" fmla="*/ 293418 w 8243652"/>
              <a:gd name="connsiteY2514" fmla="*/ 3251894 h 6857106"/>
              <a:gd name="connsiteX2515" fmla="*/ 305062 w 8243652"/>
              <a:gd name="connsiteY2515" fmla="*/ 3256656 h 6857106"/>
              <a:gd name="connsiteX2516" fmla="*/ 316706 w 8243652"/>
              <a:gd name="connsiteY2516" fmla="*/ 3264594 h 6857106"/>
              <a:gd name="connsiteX2517" fmla="*/ 330678 w 8243652"/>
              <a:gd name="connsiteY2517" fmla="*/ 3272531 h 6857106"/>
              <a:gd name="connsiteX2518" fmla="*/ 342322 w 8243652"/>
              <a:gd name="connsiteY2518" fmla="*/ 3286819 h 6857106"/>
              <a:gd name="connsiteX2519" fmla="*/ 353965 w 8243652"/>
              <a:gd name="connsiteY2519" fmla="*/ 3309044 h 6857106"/>
              <a:gd name="connsiteX2520" fmla="*/ 360951 w 8243652"/>
              <a:gd name="connsiteY2520" fmla="*/ 3339206 h 6857106"/>
              <a:gd name="connsiteX2521" fmla="*/ 370266 w 8243652"/>
              <a:gd name="connsiteY2521" fmla="*/ 3380481 h 6857106"/>
              <a:gd name="connsiteX2522" fmla="*/ 377252 w 8243652"/>
              <a:gd name="connsiteY2522" fmla="*/ 3434456 h 6857106"/>
              <a:gd name="connsiteX2523" fmla="*/ 381909 w 8243652"/>
              <a:gd name="connsiteY2523" fmla="*/ 3505894 h 6857106"/>
              <a:gd name="connsiteX2524" fmla="*/ 377252 w 8243652"/>
              <a:gd name="connsiteY2524" fmla="*/ 3464619 h 6857106"/>
              <a:gd name="connsiteX2525" fmla="*/ 374924 w 8243652"/>
              <a:gd name="connsiteY2525" fmla="*/ 3448744 h 6857106"/>
              <a:gd name="connsiteX2526" fmla="*/ 370266 w 8243652"/>
              <a:gd name="connsiteY2526" fmla="*/ 3445569 h 6857106"/>
              <a:gd name="connsiteX2527" fmla="*/ 365609 w 8243652"/>
              <a:gd name="connsiteY2527" fmla="*/ 3448744 h 6857106"/>
              <a:gd name="connsiteX2528" fmla="*/ 360951 w 8243652"/>
              <a:gd name="connsiteY2528" fmla="*/ 3464619 h 6857106"/>
              <a:gd name="connsiteX2529" fmla="*/ 349308 w 8243652"/>
              <a:gd name="connsiteY2529" fmla="*/ 3536056 h 6857106"/>
              <a:gd name="connsiteX2530" fmla="*/ 342322 w 8243652"/>
              <a:gd name="connsiteY2530" fmla="*/ 3644006 h 6857106"/>
              <a:gd name="connsiteX2531" fmla="*/ 365609 w 8243652"/>
              <a:gd name="connsiteY2531" fmla="*/ 3867844 h 6857106"/>
              <a:gd name="connsiteX2532" fmla="*/ 360951 w 8243652"/>
              <a:gd name="connsiteY2532" fmla="*/ 3866256 h 6857106"/>
              <a:gd name="connsiteX2533" fmla="*/ 358623 w 8243652"/>
              <a:gd name="connsiteY2533" fmla="*/ 3855144 h 6857106"/>
              <a:gd name="connsiteX2534" fmla="*/ 349308 w 8243652"/>
              <a:gd name="connsiteY2534" fmla="*/ 3807519 h 6857106"/>
              <a:gd name="connsiteX2535" fmla="*/ 333007 w 8243652"/>
              <a:gd name="connsiteY2535" fmla="*/ 3667819 h 6857106"/>
              <a:gd name="connsiteX2536" fmla="*/ 326020 w 8243652"/>
              <a:gd name="connsiteY2536" fmla="*/ 3602731 h 6857106"/>
              <a:gd name="connsiteX2537" fmla="*/ 316706 w 8243652"/>
              <a:gd name="connsiteY2537" fmla="*/ 3558281 h 6857106"/>
              <a:gd name="connsiteX2538" fmla="*/ 314377 w 8243652"/>
              <a:gd name="connsiteY2538" fmla="*/ 3547169 h 6857106"/>
              <a:gd name="connsiteX2539" fmla="*/ 309719 w 8243652"/>
              <a:gd name="connsiteY2539" fmla="*/ 3547169 h 6857106"/>
              <a:gd name="connsiteX2540" fmla="*/ 305062 w 8243652"/>
              <a:gd name="connsiteY2540" fmla="*/ 3550344 h 6857106"/>
              <a:gd name="connsiteX2541" fmla="*/ 302733 w 8243652"/>
              <a:gd name="connsiteY2541" fmla="*/ 3561456 h 6857106"/>
              <a:gd name="connsiteX2542" fmla="*/ 298076 w 8243652"/>
              <a:gd name="connsiteY2542" fmla="*/ 3588444 h 6857106"/>
              <a:gd name="connsiteX2543" fmla="*/ 293418 w 8243652"/>
              <a:gd name="connsiteY2543" fmla="*/ 3866256 h 6857106"/>
              <a:gd name="connsiteX2544" fmla="*/ 293418 w 8243652"/>
              <a:gd name="connsiteY2544" fmla="*/ 4177406 h 6857106"/>
              <a:gd name="connsiteX2545" fmla="*/ 293418 w 8243652"/>
              <a:gd name="connsiteY2545" fmla="*/ 4515544 h 6857106"/>
              <a:gd name="connsiteX2546" fmla="*/ 293418 w 8243652"/>
              <a:gd name="connsiteY2546" fmla="*/ 4690169 h 6857106"/>
              <a:gd name="connsiteX2547" fmla="*/ 302733 w 8243652"/>
              <a:gd name="connsiteY2547" fmla="*/ 4866381 h 6857106"/>
              <a:gd name="connsiteX2548" fmla="*/ 314377 w 8243652"/>
              <a:gd name="connsiteY2548" fmla="*/ 4942581 h 6857106"/>
              <a:gd name="connsiteX2549" fmla="*/ 321363 w 8243652"/>
              <a:gd name="connsiteY2549" fmla="*/ 4982269 h 6857106"/>
              <a:gd name="connsiteX2550" fmla="*/ 326020 w 8243652"/>
              <a:gd name="connsiteY2550" fmla="*/ 4987031 h 6857106"/>
              <a:gd name="connsiteX2551" fmla="*/ 330678 w 8243652"/>
              <a:gd name="connsiteY2551" fmla="*/ 4983856 h 6857106"/>
              <a:gd name="connsiteX2552" fmla="*/ 337664 w 8243652"/>
              <a:gd name="connsiteY2552" fmla="*/ 4953694 h 6857106"/>
              <a:gd name="connsiteX2553" fmla="*/ 342322 w 8243652"/>
              <a:gd name="connsiteY2553" fmla="*/ 4901306 h 6857106"/>
              <a:gd name="connsiteX2554" fmla="*/ 349308 w 8243652"/>
              <a:gd name="connsiteY2554" fmla="*/ 4828281 h 6857106"/>
              <a:gd name="connsiteX2555" fmla="*/ 358623 w 8243652"/>
              <a:gd name="connsiteY2555" fmla="*/ 4639369 h 6857106"/>
              <a:gd name="connsiteX2556" fmla="*/ 370266 w 8243652"/>
              <a:gd name="connsiteY2556" fmla="*/ 4429819 h 6857106"/>
              <a:gd name="connsiteX2557" fmla="*/ 386567 w 8243652"/>
              <a:gd name="connsiteY2557" fmla="*/ 4247256 h 6857106"/>
              <a:gd name="connsiteX2558" fmla="*/ 393553 w 8243652"/>
              <a:gd name="connsiteY2558" fmla="*/ 4175819 h 6857106"/>
              <a:gd name="connsiteX2559" fmla="*/ 402868 w 8243652"/>
              <a:gd name="connsiteY2559" fmla="*/ 4126606 h 6857106"/>
              <a:gd name="connsiteX2560" fmla="*/ 405197 w 8243652"/>
              <a:gd name="connsiteY2560" fmla="*/ 4109144 h 6857106"/>
              <a:gd name="connsiteX2561" fmla="*/ 414512 w 8243652"/>
              <a:gd name="connsiteY2561" fmla="*/ 4101206 h 6857106"/>
              <a:gd name="connsiteX2562" fmla="*/ 419169 w 8243652"/>
              <a:gd name="connsiteY2562" fmla="*/ 4098031 h 6857106"/>
              <a:gd name="connsiteX2563" fmla="*/ 426155 w 8243652"/>
              <a:gd name="connsiteY2563" fmla="*/ 4107556 h 6857106"/>
              <a:gd name="connsiteX2564" fmla="*/ 426155 w 8243652"/>
              <a:gd name="connsiteY2564" fmla="*/ 4147244 h 6857106"/>
              <a:gd name="connsiteX2565" fmla="*/ 426155 w 8243652"/>
              <a:gd name="connsiteY2565" fmla="*/ 4323456 h 6857106"/>
              <a:gd name="connsiteX2566" fmla="*/ 426155 w 8243652"/>
              <a:gd name="connsiteY2566" fmla="*/ 4417119 h 6857106"/>
              <a:gd name="connsiteX2567" fmla="*/ 430813 w 8243652"/>
              <a:gd name="connsiteY2567" fmla="*/ 4485381 h 6857106"/>
              <a:gd name="connsiteX2568" fmla="*/ 433141 w 8243652"/>
              <a:gd name="connsiteY2568" fmla="*/ 4504431 h 6857106"/>
              <a:gd name="connsiteX2569" fmla="*/ 437799 w 8243652"/>
              <a:gd name="connsiteY2569" fmla="*/ 4512369 h 6857106"/>
              <a:gd name="connsiteX2570" fmla="*/ 442456 w 8243652"/>
              <a:gd name="connsiteY2570" fmla="*/ 4504431 h 6857106"/>
              <a:gd name="connsiteX2571" fmla="*/ 449442 w 8243652"/>
              <a:gd name="connsiteY2571" fmla="*/ 4479031 h 6857106"/>
              <a:gd name="connsiteX2572" fmla="*/ 465743 w 8243652"/>
              <a:gd name="connsiteY2572" fmla="*/ 4331394 h 6857106"/>
              <a:gd name="connsiteX2573" fmla="*/ 486702 w 8243652"/>
              <a:gd name="connsiteY2573" fmla="*/ 4150419 h 6857106"/>
              <a:gd name="connsiteX2574" fmla="*/ 498345 w 8243652"/>
              <a:gd name="connsiteY2574" fmla="*/ 3936106 h 6857106"/>
              <a:gd name="connsiteX2575" fmla="*/ 509989 w 8243652"/>
              <a:gd name="connsiteY2575" fmla="*/ 3701156 h 6857106"/>
              <a:gd name="connsiteX2576" fmla="*/ 521633 w 8243652"/>
              <a:gd name="connsiteY2576" fmla="*/ 3445569 h 6857106"/>
              <a:gd name="connsiteX2577" fmla="*/ 530947 w 8243652"/>
              <a:gd name="connsiteY2577" fmla="*/ 3177281 h 6857106"/>
              <a:gd name="connsiteX2578" fmla="*/ 535605 w 8243652"/>
              <a:gd name="connsiteY2578" fmla="*/ 2899469 h 6857106"/>
              <a:gd name="connsiteX2579" fmla="*/ 535605 w 8243652"/>
              <a:gd name="connsiteY2579" fmla="*/ 2623244 h 6857106"/>
              <a:gd name="connsiteX2580" fmla="*/ 519304 w 8243652"/>
              <a:gd name="connsiteY2580" fmla="*/ 2807394 h 6857106"/>
              <a:gd name="connsiteX2581" fmla="*/ 507660 w 8243652"/>
              <a:gd name="connsiteY2581" fmla="*/ 2894706 h 6857106"/>
              <a:gd name="connsiteX2582" fmla="*/ 493688 w 8243652"/>
              <a:gd name="connsiteY2582" fmla="*/ 2962969 h 6857106"/>
              <a:gd name="connsiteX2583" fmla="*/ 491359 w 8243652"/>
              <a:gd name="connsiteY2583" fmla="*/ 2982019 h 6857106"/>
              <a:gd name="connsiteX2584" fmla="*/ 486702 w 8243652"/>
              <a:gd name="connsiteY2584" fmla="*/ 2993131 h 6857106"/>
              <a:gd name="connsiteX2585" fmla="*/ 482044 w 8243652"/>
              <a:gd name="connsiteY2585" fmla="*/ 2993131 h 6857106"/>
              <a:gd name="connsiteX2586" fmla="*/ 482044 w 8243652"/>
              <a:gd name="connsiteY2586" fmla="*/ 2989956 h 6857106"/>
              <a:gd name="connsiteX2587" fmla="*/ 477387 w 8243652"/>
              <a:gd name="connsiteY2587" fmla="*/ 2974081 h 6857106"/>
              <a:gd name="connsiteX2588" fmla="*/ 470401 w 8243652"/>
              <a:gd name="connsiteY2588" fmla="*/ 2894706 h 6857106"/>
              <a:gd name="connsiteX2589" fmla="*/ 465743 w 8243652"/>
              <a:gd name="connsiteY2589" fmla="*/ 2735956 h 6857106"/>
              <a:gd name="connsiteX2590" fmla="*/ 486702 w 8243652"/>
              <a:gd name="connsiteY2590" fmla="*/ 2585144 h 6857106"/>
              <a:gd name="connsiteX2591" fmla="*/ 503003 w 8243652"/>
              <a:gd name="connsiteY2591" fmla="*/ 2437506 h 6857106"/>
              <a:gd name="connsiteX2592" fmla="*/ 509989 w 8243652"/>
              <a:gd name="connsiteY2592" fmla="*/ 2354956 h 6857106"/>
              <a:gd name="connsiteX2593" fmla="*/ 519304 w 8243652"/>
              <a:gd name="connsiteY2593" fmla="*/ 2264469 h 6857106"/>
              <a:gd name="connsiteX2594" fmla="*/ 521633 w 8243652"/>
              <a:gd name="connsiteY2594" fmla="*/ 2159694 h 6857106"/>
              <a:gd name="connsiteX2595" fmla="*/ 526290 w 8243652"/>
              <a:gd name="connsiteY2595" fmla="*/ 2039044 h 6857106"/>
              <a:gd name="connsiteX2596" fmla="*/ 530947 w 8243652"/>
              <a:gd name="connsiteY2596" fmla="*/ 2226369 h 6857106"/>
              <a:gd name="connsiteX2597" fmla="*/ 530947 w 8243652"/>
              <a:gd name="connsiteY2597" fmla="*/ 2337494 h 6857106"/>
              <a:gd name="connsiteX2598" fmla="*/ 521633 w 8243652"/>
              <a:gd name="connsiteY2598" fmla="*/ 2397819 h 6857106"/>
              <a:gd name="connsiteX2599" fmla="*/ 519304 w 8243652"/>
              <a:gd name="connsiteY2599" fmla="*/ 2427981 h 6857106"/>
              <a:gd name="connsiteX2600" fmla="*/ 509989 w 8243652"/>
              <a:gd name="connsiteY2600" fmla="*/ 2456556 h 6857106"/>
              <a:gd name="connsiteX2601" fmla="*/ 507660 w 8243652"/>
              <a:gd name="connsiteY2601" fmla="*/ 2499419 h 6857106"/>
              <a:gd name="connsiteX2602" fmla="*/ 507660 w 8243652"/>
              <a:gd name="connsiteY2602" fmla="*/ 2588319 h 6857106"/>
              <a:gd name="connsiteX2603" fmla="*/ 514646 w 8243652"/>
              <a:gd name="connsiteY2603" fmla="*/ 2740719 h 6857106"/>
              <a:gd name="connsiteX2604" fmla="*/ 519304 w 8243652"/>
              <a:gd name="connsiteY2604" fmla="*/ 2728019 h 6857106"/>
              <a:gd name="connsiteX2605" fmla="*/ 521633 w 8243652"/>
              <a:gd name="connsiteY2605" fmla="*/ 2699444 h 6857106"/>
              <a:gd name="connsiteX2606" fmla="*/ 530947 w 8243652"/>
              <a:gd name="connsiteY2606" fmla="*/ 2615306 h 6857106"/>
              <a:gd name="connsiteX2607" fmla="*/ 542591 w 8243652"/>
              <a:gd name="connsiteY2607" fmla="*/ 2416869 h 6857106"/>
              <a:gd name="connsiteX2608" fmla="*/ 537934 w 8243652"/>
              <a:gd name="connsiteY2608" fmla="*/ 2510531 h 6857106"/>
              <a:gd name="connsiteX2609" fmla="*/ 537934 w 8243652"/>
              <a:gd name="connsiteY2609" fmla="*/ 2596256 h 6857106"/>
              <a:gd name="connsiteX2610" fmla="*/ 547248 w 8243652"/>
              <a:gd name="connsiteY2610" fmla="*/ 2748656 h 6857106"/>
              <a:gd name="connsiteX2611" fmla="*/ 554235 w 8243652"/>
              <a:gd name="connsiteY2611" fmla="*/ 2880419 h 6857106"/>
              <a:gd name="connsiteX2612" fmla="*/ 558892 w 8243652"/>
              <a:gd name="connsiteY2612" fmla="*/ 2996306 h 6857106"/>
              <a:gd name="connsiteX2613" fmla="*/ 565878 w 8243652"/>
              <a:gd name="connsiteY2613" fmla="*/ 2999481 h 6857106"/>
              <a:gd name="connsiteX2614" fmla="*/ 575193 w 8243652"/>
              <a:gd name="connsiteY2614" fmla="*/ 3010594 h 6857106"/>
              <a:gd name="connsiteX2615" fmla="*/ 591494 w 8243652"/>
              <a:gd name="connsiteY2615" fmla="*/ 3042344 h 6857106"/>
              <a:gd name="connsiteX2616" fmla="*/ 607795 w 8243652"/>
              <a:gd name="connsiteY2616" fmla="*/ 3089969 h 6857106"/>
              <a:gd name="connsiteX2617" fmla="*/ 624096 w 8243652"/>
              <a:gd name="connsiteY2617" fmla="*/ 3143944 h 6857106"/>
              <a:gd name="connsiteX2618" fmla="*/ 652041 w 8243652"/>
              <a:gd name="connsiteY2618" fmla="*/ 3253481 h 6857106"/>
              <a:gd name="connsiteX2619" fmla="*/ 668342 w 8243652"/>
              <a:gd name="connsiteY2619" fmla="*/ 3297931 h 6857106"/>
              <a:gd name="connsiteX2620" fmla="*/ 675328 w 8243652"/>
              <a:gd name="connsiteY2620" fmla="*/ 3313806 h 6857106"/>
              <a:gd name="connsiteX2621" fmla="*/ 684642 w 8243652"/>
              <a:gd name="connsiteY2621" fmla="*/ 3328094 h 6857106"/>
              <a:gd name="connsiteX2622" fmla="*/ 691629 w 8243652"/>
              <a:gd name="connsiteY2622" fmla="*/ 3523356 h 6857106"/>
              <a:gd name="connsiteX2623" fmla="*/ 691629 w 8243652"/>
              <a:gd name="connsiteY2623" fmla="*/ 3766244 h 6857106"/>
              <a:gd name="connsiteX2624" fmla="*/ 703272 w 8243652"/>
              <a:gd name="connsiteY2624" fmla="*/ 3670994 h 6857106"/>
              <a:gd name="connsiteX2625" fmla="*/ 712587 w 8243652"/>
              <a:gd name="connsiteY2625" fmla="*/ 3517006 h 6857106"/>
              <a:gd name="connsiteX2626" fmla="*/ 731217 w 8243652"/>
              <a:gd name="connsiteY2626" fmla="*/ 3105844 h 6857106"/>
              <a:gd name="connsiteX2627" fmla="*/ 742861 w 8243652"/>
              <a:gd name="connsiteY2627" fmla="*/ 2653406 h 6857106"/>
              <a:gd name="connsiteX2628" fmla="*/ 742861 w 8243652"/>
              <a:gd name="connsiteY2628" fmla="*/ 2450206 h 6857106"/>
              <a:gd name="connsiteX2629" fmla="*/ 742861 w 8243652"/>
              <a:gd name="connsiteY2629" fmla="*/ 2280344 h 6857106"/>
              <a:gd name="connsiteX2630" fmla="*/ 747518 w 8243652"/>
              <a:gd name="connsiteY2630" fmla="*/ 2280344 h 6857106"/>
              <a:gd name="connsiteX2631" fmla="*/ 752175 w 8243652"/>
              <a:gd name="connsiteY2631" fmla="*/ 2286694 h 6857106"/>
              <a:gd name="connsiteX2632" fmla="*/ 759162 w 8243652"/>
              <a:gd name="connsiteY2632" fmla="*/ 2310506 h 6857106"/>
              <a:gd name="connsiteX2633" fmla="*/ 773134 w 8243652"/>
              <a:gd name="connsiteY2633" fmla="*/ 2385119 h 6857106"/>
              <a:gd name="connsiteX2634" fmla="*/ 775463 w 8243652"/>
              <a:gd name="connsiteY2634" fmla="*/ 2415281 h 6857106"/>
              <a:gd name="connsiteX2635" fmla="*/ 784777 w 8243652"/>
              <a:gd name="connsiteY2635" fmla="*/ 2431156 h 6857106"/>
              <a:gd name="connsiteX2636" fmla="*/ 787106 w 8243652"/>
              <a:gd name="connsiteY2636" fmla="*/ 2431156 h 6857106"/>
              <a:gd name="connsiteX2637" fmla="*/ 791763 w 8243652"/>
              <a:gd name="connsiteY2637" fmla="*/ 2423219 h 6857106"/>
              <a:gd name="connsiteX2638" fmla="*/ 801078 w 8243652"/>
              <a:gd name="connsiteY2638" fmla="*/ 2378769 h 6857106"/>
              <a:gd name="connsiteX2639" fmla="*/ 784777 w 8243652"/>
              <a:gd name="connsiteY2639" fmla="*/ 2148581 h 6857106"/>
              <a:gd name="connsiteX2640" fmla="*/ 784777 w 8243652"/>
              <a:gd name="connsiteY2640" fmla="*/ 2132706 h 6857106"/>
              <a:gd name="connsiteX2641" fmla="*/ 787106 w 8243652"/>
              <a:gd name="connsiteY2641" fmla="*/ 2140644 h 6857106"/>
              <a:gd name="connsiteX2642" fmla="*/ 791763 w 8243652"/>
              <a:gd name="connsiteY2642" fmla="*/ 2145406 h 6857106"/>
              <a:gd name="connsiteX2643" fmla="*/ 796421 w 8243652"/>
              <a:gd name="connsiteY2643" fmla="*/ 2148581 h 6857106"/>
              <a:gd name="connsiteX2644" fmla="*/ 796421 w 8243652"/>
              <a:gd name="connsiteY2644" fmla="*/ 2143819 h 6857106"/>
              <a:gd name="connsiteX2645" fmla="*/ 801078 w 8243652"/>
              <a:gd name="connsiteY2645" fmla="*/ 2126356 h 6857106"/>
              <a:gd name="connsiteX2646" fmla="*/ 808064 w 8243652"/>
              <a:gd name="connsiteY2646" fmla="*/ 2042219 h 6857106"/>
              <a:gd name="connsiteX2647" fmla="*/ 812722 w 8243652"/>
              <a:gd name="connsiteY2647" fmla="*/ 1872356 h 6857106"/>
              <a:gd name="connsiteX2648" fmla="*/ 817379 w 8243652"/>
              <a:gd name="connsiteY2648" fmla="*/ 1864419 h 6857106"/>
              <a:gd name="connsiteX2649" fmla="*/ 819708 w 8243652"/>
              <a:gd name="connsiteY2649" fmla="*/ 1864419 h 6857106"/>
              <a:gd name="connsiteX2650" fmla="*/ 824365 w 8243652"/>
              <a:gd name="connsiteY2650" fmla="*/ 1888231 h 6857106"/>
              <a:gd name="connsiteX2651" fmla="*/ 824365 w 8243652"/>
              <a:gd name="connsiteY2651" fmla="*/ 2005706 h 6857106"/>
              <a:gd name="connsiteX2652" fmla="*/ 829023 w 8243652"/>
              <a:gd name="connsiteY2652" fmla="*/ 2166044 h 6857106"/>
              <a:gd name="connsiteX2653" fmla="*/ 829023 w 8243652"/>
              <a:gd name="connsiteY2653" fmla="*/ 2239069 h 6857106"/>
              <a:gd name="connsiteX2654" fmla="*/ 831352 w 8243652"/>
              <a:gd name="connsiteY2654" fmla="*/ 2299394 h 6857106"/>
              <a:gd name="connsiteX2655" fmla="*/ 840667 w 8243652"/>
              <a:gd name="connsiteY2655" fmla="*/ 2124769 h 6857106"/>
              <a:gd name="connsiteX2656" fmla="*/ 845324 w 8243652"/>
              <a:gd name="connsiteY2656" fmla="*/ 2000944 h 6857106"/>
              <a:gd name="connsiteX2657" fmla="*/ 845324 w 8243652"/>
              <a:gd name="connsiteY2657" fmla="*/ 1873944 h 6857106"/>
              <a:gd name="connsiteX2658" fmla="*/ 847653 w 8243652"/>
              <a:gd name="connsiteY2658" fmla="*/ 2058094 h 6857106"/>
              <a:gd name="connsiteX2659" fmla="*/ 847653 w 8243652"/>
              <a:gd name="connsiteY2659" fmla="*/ 2258119 h 6857106"/>
              <a:gd name="connsiteX2660" fmla="*/ 840667 w 8243652"/>
              <a:gd name="connsiteY2660" fmla="*/ 2702619 h 6857106"/>
              <a:gd name="connsiteX2661" fmla="*/ 831352 w 8243652"/>
              <a:gd name="connsiteY2661" fmla="*/ 3161406 h 6857106"/>
              <a:gd name="connsiteX2662" fmla="*/ 829023 w 8243652"/>
              <a:gd name="connsiteY2662" fmla="*/ 3380481 h 6857106"/>
              <a:gd name="connsiteX2663" fmla="*/ 831352 w 8243652"/>
              <a:gd name="connsiteY2663" fmla="*/ 3585269 h 6857106"/>
              <a:gd name="connsiteX2664" fmla="*/ 847653 w 8243652"/>
              <a:gd name="connsiteY2664" fmla="*/ 3874194 h 6857106"/>
              <a:gd name="connsiteX2665" fmla="*/ 873268 w 8243652"/>
              <a:gd name="connsiteY2665" fmla="*/ 4180581 h 6857106"/>
              <a:gd name="connsiteX2666" fmla="*/ 905870 w 8243652"/>
              <a:gd name="connsiteY2666" fmla="*/ 4561581 h 6857106"/>
              <a:gd name="connsiteX2667" fmla="*/ 908199 w 8243652"/>
              <a:gd name="connsiteY2667" fmla="*/ 4304406 h 6857106"/>
              <a:gd name="connsiteX2668" fmla="*/ 912857 w 8243652"/>
              <a:gd name="connsiteY2668" fmla="*/ 3934519 h 6857106"/>
              <a:gd name="connsiteX2669" fmla="*/ 912857 w 8243652"/>
              <a:gd name="connsiteY2669" fmla="*/ 2993131 h 6857106"/>
              <a:gd name="connsiteX2670" fmla="*/ 905870 w 8243652"/>
              <a:gd name="connsiteY2670" fmla="*/ 2023169 h 6857106"/>
              <a:gd name="connsiteX2671" fmla="*/ 901214 w 8243652"/>
              <a:gd name="connsiteY2671" fmla="*/ 1613594 h 6857106"/>
              <a:gd name="connsiteX2672" fmla="*/ 896556 w 8243652"/>
              <a:gd name="connsiteY2672" fmla="*/ 1300856 h 6857106"/>
              <a:gd name="connsiteX2673" fmla="*/ 896556 w 8243652"/>
              <a:gd name="connsiteY2673" fmla="*/ 1216719 h 6857106"/>
              <a:gd name="connsiteX2674" fmla="*/ 901214 w 8243652"/>
              <a:gd name="connsiteY2674" fmla="*/ 1205606 h 6857106"/>
              <a:gd name="connsiteX2675" fmla="*/ 901214 w 8243652"/>
              <a:gd name="connsiteY2675" fmla="*/ 1213544 h 6857106"/>
              <a:gd name="connsiteX2676" fmla="*/ 908199 w 8243652"/>
              <a:gd name="connsiteY2676" fmla="*/ 1361181 h 6857106"/>
              <a:gd name="connsiteX2677" fmla="*/ 919843 w 8243652"/>
              <a:gd name="connsiteY2677" fmla="*/ 1583431 h 6857106"/>
              <a:gd name="connsiteX2678" fmla="*/ 924500 w 8243652"/>
              <a:gd name="connsiteY2678" fmla="*/ 1669156 h 6857106"/>
              <a:gd name="connsiteX2679" fmla="*/ 929158 w 8243652"/>
              <a:gd name="connsiteY2679" fmla="*/ 1713606 h 6857106"/>
              <a:gd name="connsiteX2680" fmla="*/ 940801 w 8243652"/>
              <a:gd name="connsiteY2680" fmla="*/ 1854894 h 6857106"/>
              <a:gd name="connsiteX2681" fmla="*/ 950116 w 8243652"/>
              <a:gd name="connsiteY2681" fmla="*/ 1883469 h 6857106"/>
              <a:gd name="connsiteX2682" fmla="*/ 950116 w 8243652"/>
              <a:gd name="connsiteY2682" fmla="*/ 1885056 h 6857106"/>
              <a:gd name="connsiteX2683" fmla="*/ 952445 w 8243652"/>
              <a:gd name="connsiteY2683" fmla="*/ 1883469 h 6857106"/>
              <a:gd name="connsiteX2684" fmla="*/ 957102 w 8243652"/>
              <a:gd name="connsiteY2684" fmla="*/ 1866006 h 6857106"/>
              <a:gd name="connsiteX2685" fmla="*/ 961760 w 8243652"/>
              <a:gd name="connsiteY2685" fmla="*/ 1831081 h 6857106"/>
              <a:gd name="connsiteX2686" fmla="*/ 968746 w 8243652"/>
              <a:gd name="connsiteY2686" fmla="*/ 1729481 h 6857106"/>
              <a:gd name="connsiteX2687" fmla="*/ 989704 w 8243652"/>
              <a:gd name="connsiteY2687" fmla="*/ 1511994 h 6857106"/>
              <a:gd name="connsiteX2688" fmla="*/ 994362 w 8243652"/>
              <a:gd name="connsiteY2688" fmla="*/ 1480244 h 6857106"/>
              <a:gd name="connsiteX2689" fmla="*/ 996690 w 8243652"/>
              <a:gd name="connsiteY2689" fmla="*/ 1461194 h 6857106"/>
              <a:gd name="connsiteX2690" fmla="*/ 1001348 w 8243652"/>
              <a:gd name="connsiteY2690" fmla="*/ 1461194 h 6857106"/>
              <a:gd name="connsiteX2691" fmla="*/ 1001348 w 8243652"/>
              <a:gd name="connsiteY2691" fmla="*/ 1465956 h 6857106"/>
              <a:gd name="connsiteX2692" fmla="*/ 1006005 w 8243652"/>
              <a:gd name="connsiteY2692" fmla="*/ 1492944 h 6857106"/>
              <a:gd name="connsiteX2693" fmla="*/ 985047 w 8243652"/>
              <a:gd name="connsiteY2693" fmla="*/ 1808856 h 6857106"/>
              <a:gd name="connsiteX2694" fmla="*/ 989704 w 8243652"/>
              <a:gd name="connsiteY2694" fmla="*/ 1846956 h 6857106"/>
              <a:gd name="connsiteX2695" fmla="*/ 994362 w 8243652"/>
              <a:gd name="connsiteY2695" fmla="*/ 1854894 h 6857106"/>
              <a:gd name="connsiteX2696" fmla="*/ 994362 w 8243652"/>
              <a:gd name="connsiteY2696" fmla="*/ 1858069 h 6857106"/>
              <a:gd name="connsiteX2697" fmla="*/ 996690 w 8243652"/>
              <a:gd name="connsiteY2697" fmla="*/ 1854894 h 6857106"/>
              <a:gd name="connsiteX2698" fmla="*/ 1001348 w 8243652"/>
              <a:gd name="connsiteY2698" fmla="*/ 1846956 h 6857106"/>
              <a:gd name="connsiteX2699" fmla="*/ 1008334 w 8243652"/>
              <a:gd name="connsiteY2699" fmla="*/ 1816794 h 6857106"/>
              <a:gd name="connsiteX2700" fmla="*/ 1017649 w 8243652"/>
              <a:gd name="connsiteY2700" fmla="*/ 1767581 h 6857106"/>
              <a:gd name="connsiteX2701" fmla="*/ 1024635 w 8243652"/>
              <a:gd name="connsiteY2701" fmla="*/ 1707256 h 6857106"/>
              <a:gd name="connsiteX2702" fmla="*/ 1033950 w 8243652"/>
              <a:gd name="connsiteY2702" fmla="*/ 1638994 h 6857106"/>
              <a:gd name="connsiteX2703" fmla="*/ 1038607 w 8243652"/>
              <a:gd name="connsiteY2703" fmla="*/ 1564381 h 6857106"/>
              <a:gd name="connsiteX2704" fmla="*/ 1033950 w 8243652"/>
              <a:gd name="connsiteY2704" fmla="*/ 1808856 h 6857106"/>
              <a:gd name="connsiteX2705" fmla="*/ 1029292 w 8243652"/>
              <a:gd name="connsiteY2705" fmla="*/ 2173981 h 6857106"/>
              <a:gd name="connsiteX2706" fmla="*/ 1024635 w 8243652"/>
              <a:gd name="connsiteY2706" fmla="*/ 2547044 h 6857106"/>
              <a:gd name="connsiteX2707" fmla="*/ 1024635 w 8243652"/>
              <a:gd name="connsiteY2707" fmla="*/ 2697856 h 6857106"/>
              <a:gd name="connsiteX2708" fmla="*/ 1029292 w 8243652"/>
              <a:gd name="connsiteY2708" fmla="*/ 2812156 h 6857106"/>
              <a:gd name="connsiteX2709" fmla="*/ 1033950 w 8243652"/>
              <a:gd name="connsiteY2709" fmla="*/ 2818506 h 6857106"/>
              <a:gd name="connsiteX2710" fmla="*/ 1038607 w 8243652"/>
              <a:gd name="connsiteY2710" fmla="*/ 2818506 h 6857106"/>
              <a:gd name="connsiteX2711" fmla="*/ 1040936 w 8243652"/>
              <a:gd name="connsiteY2711" fmla="*/ 2808981 h 6857106"/>
              <a:gd name="connsiteX2712" fmla="*/ 1045593 w 8243652"/>
              <a:gd name="connsiteY2712" fmla="*/ 2799456 h 6857106"/>
              <a:gd name="connsiteX2713" fmla="*/ 1052579 w 8243652"/>
              <a:gd name="connsiteY2713" fmla="*/ 2755006 h 6857106"/>
              <a:gd name="connsiteX2714" fmla="*/ 1061894 w 8243652"/>
              <a:gd name="connsiteY2714" fmla="*/ 2691506 h 6857106"/>
              <a:gd name="connsiteX2715" fmla="*/ 1078195 w 8243652"/>
              <a:gd name="connsiteY2715" fmla="*/ 2516881 h 6857106"/>
              <a:gd name="connsiteX2716" fmla="*/ 1094496 w 8243652"/>
              <a:gd name="connsiteY2716" fmla="*/ 2286694 h 6857106"/>
              <a:gd name="connsiteX2717" fmla="*/ 1106140 w 8243652"/>
              <a:gd name="connsiteY2717" fmla="*/ 2023169 h 6857106"/>
              <a:gd name="connsiteX2718" fmla="*/ 1113126 w 8243652"/>
              <a:gd name="connsiteY2718" fmla="*/ 1748531 h 6857106"/>
              <a:gd name="connsiteX2719" fmla="*/ 1117784 w 8243652"/>
              <a:gd name="connsiteY2719" fmla="*/ 1481831 h 6857106"/>
              <a:gd name="connsiteX2720" fmla="*/ 1117784 w 8243652"/>
              <a:gd name="connsiteY2720" fmla="*/ 1240531 h 6857106"/>
              <a:gd name="connsiteX2721" fmla="*/ 1045593 w 8243652"/>
              <a:gd name="connsiteY2721" fmla="*/ 1853306 h 6857106"/>
              <a:gd name="connsiteX2722" fmla="*/ 1045593 w 8243652"/>
              <a:gd name="connsiteY2722" fmla="*/ 1688206 h 6857106"/>
              <a:gd name="connsiteX2723" fmla="*/ 1052579 w 8243652"/>
              <a:gd name="connsiteY2723" fmla="*/ 1559619 h 6857106"/>
              <a:gd name="connsiteX2724" fmla="*/ 1061894 w 8243652"/>
              <a:gd name="connsiteY2724" fmla="*/ 1450081 h 6857106"/>
              <a:gd name="connsiteX2725" fmla="*/ 1068880 w 8243652"/>
              <a:gd name="connsiteY2725" fmla="*/ 1348481 h 6857106"/>
              <a:gd name="connsiteX2726" fmla="*/ 1078195 w 8243652"/>
              <a:gd name="connsiteY2726" fmla="*/ 1240531 h 6857106"/>
              <a:gd name="connsiteX2727" fmla="*/ 1089839 w 8243652"/>
              <a:gd name="connsiteY2727" fmla="*/ 1118294 h 6857106"/>
              <a:gd name="connsiteX2728" fmla="*/ 1094496 w 8243652"/>
              <a:gd name="connsiteY2728" fmla="*/ 964306 h 6857106"/>
              <a:gd name="connsiteX2729" fmla="*/ 1094496 w 8243652"/>
              <a:gd name="connsiteY2729" fmla="*/ 769044 h 6857106"/>
              <a:gd name="connsiteX2730" fmla="*/ 1162030 w 8243652"/>
              <a:gd name="connsiteY2730" fmla="*/ 945256 h 6857106"/>
              <a:gd name="connsiteX2731" fmla="*/ 1155043 w 8243652"/>
              <a:gd name="connsiteY2731" fmla="*/ 980181 h 6857106"/>
              <a:gd name="connsiteX2732" fmla="*/ 1141071 w 8243652"/>
              <a:gd name="connsiteY2732" fmla="*/ 1062731 h 6857106"/>
              <a:gd name="connsiteX2733" fmla="*/ 1138742 w 8243652"/>
              <a:gd name="connsiteY2733" fmla="*/ 1191319 h 6857106"/>
              <a:gd name="connsiteX2734" fmla="*/ 1134085 w 8243652"/>
              <a:gd name="connsiteY2734" fmla="*/ 1273869 h 6857106"/>
              <a:gd name="connsiteX2735" fmla="*/ 1138742 w 8243652"/>
              <a:gd name="connsiteY2735" fmla="*/ 1370706 h 6857106"/>
              <a:gd name="connsiteX2736" fmla="*/ 1141071 w 8243652"/>
              <a:gd name="connsiteY2736" fmla="*/ 1367531 h 6857106"/>
              <a:gd name="connsiteX2737" fmla="*/ 1145728 w 8243652"/>
              <a:gd name="connsiteY2737" fmla="*/ 1367531 h 6857106"/>
              <a:gd name="connsiteX2738" fmla="*/ 1150386 w 8243652"/>
              <a:gd name="connsiteY2738" fmla="*/ 1370706 h 6857106"/>
              <a:gd name="connsiteX2739" fmla="*/ 1155043 w 8243652"/>
              <a:gd name="connsiteY2739" fmla="*/ 1375469 h 6857106"/>
              <a:gd name="connsiteX2740" fmla="*/ 1157372 w 8243652"/>
              <a:gd name="connsiteY2740" fmla="*/ 1397694 h 6857106"/>
              <a:gd name="connsiteX2741" fmla="*/ 1157372 w 8243652"/>
              <a:gd name="connsiteY2741" fmla="*/ 1432619 h 6857106"/>
              <a:gd name="connsiteX2742" fmla="*/ 1162030 w 8243652"/>
              <a:gd name="connsiteY2742" fmla="*/ 1537394 h 6857106"/>
              <a:gd name="connsiteX2743" fmla="*/ 1173673 w 8243652"/>
              <a:gd name="connsiteY2743" fmla="*/ 1685031 h 6857106"/>
              <a:gd name="connsiteX2744" fmla="*/ 1141071 w 8243652"/>
              <a:gd name="connsiteY2744" fmla="*/ 2307331 h 6857106"/>
              <a:gd name="connsiteX2745" fmla="*/ 1110797 w 8243652"/>
              <a:gd name="connsiteY2745" fmla="*/ 3124894 h 6857106"/>
              <a:gd name="connsiteX2746" fmla="*/ 1078195 w 8243652"/>
              <a:gd name="connsiteY2746" fmla="*/ 3969444 h 6857106"/>
              <a:gd name="connsiteX2747" fmla="*/ 1057237 w 8243652"/>
              <a:gd name="connsiteY2747" fmla="*/ 4669531 h 6857106"/>
              <a:gd name="connsiteX2748" fmla="*/ 1089839 w 8243652"/>
              <a:gd name="connsiteY2748" fmla="*/ 4339331 h 6857106"/>
              <a:gd name="connsiteX2749" fmla="*/ 1101483 w 8243652"/>
              <a:gd name="connsiteY2749" fmla="*/ 4628256 h 6857106"/>
              <a:gd name="connsiteX2750" fmla="*/ 1110797 w 8243652"/>
              <a:gd name="connsiteY2750" fmla="*/ 4537769 h 6857106"/>
              <a:gd name="connsiteX2751" fmla="*/ 1117784 w 8243652"/>
              <a:gd name="connsiteY2751" fmla="*/ 4417119 h 6857106"/>
              <a:gd name="connsiteX2752" fmla="*/ 1134085 w 8243652"/>
              <a:gd name="connsiteY2752" fmla="*/ 4096444 h 6857106"/>
              <a:gd name="connsiteX2753" fmla="*/ 1150386 w 8243652"/>
              <a:gd name="connsiteY2753" fmla="*/ 3697981 h 6857106"/>
              <a:gd name="connsiteX2754" fmla="*/ 1162030 w 8243652"/>
              <a:gd name="connsiteY2754" fmla="*/ 3261419 h 6857106"/>
              <a:gd name="connsiteX2755" fmla="*/ 1185316 w 8243652"/>
              <a:gd name="connsiteY2755" fmla="*/ 2407344 h 6857106"/>
              <a:gd name="connsiteX2756" fmla="*/ 1199289 w 8243652"/>
              <a:gd name="connsiteY2756" fmla="*/ 1808856 h 6857106"/>
              <a:gd name="connsiteX2757" fmla="*/ 1201617 w 8243652"/>
              <a:gd name="connsiteY2757" fmla="*/ 1842194 h 6857106"/>
              <a:gd name="connsiteX2758" fmla="*/ 1206275 w 8243652"/>
              <a:gd name="connsiteY2758" fmla="*/ 1894581 h 6857106"/>
              <a:gd name="connsiteX2759" fmla="*/ 1215590 w 8243652"/>
              <a:gd name="connsiteY2759" fmla="*/ 2046981 h 6857106"/>
              <a:gd name="connsiteX2760" fmla="*/ 1215590 w 8243652"/>
              <a:gd name="connsiteY2760" fmla="*/ 2245419 h 6857106"/>
              <a:gd name="connsiteX2761" fmla="*/ 1215590 w 8243652"/>
              <a:gd name="connsiteY2761" fmla="*/ 2467669 h 6857106"/>
              <a:gd name="connsiteX2762" fmla="*/ 1215590 w 8243652"/>
              <a:gd name="connsiteY2762" fmla="*/ 2902644 h 6857106"/>
              <a:gd name="connsiteX2763" fmla="*/ 1210932 w 8243652"/>
              <a:gd name="connsiteY2763" fmla="*/ 3188394 h 6857106"/>
              <a:gd name="connsiteX2764" fmla="*/ 1215590 w 8243652"/>
              <a:gd name="connsiteY2764" fmla="*/ 3188394 h 6857106"/>
              <a:gd name="connsiteX2765" fmla="*/ 1217918 w 8243652"/>
              <a:gd name="connsiteY2765" fmla="*/ 3180456 h 6857106"/>
              <a:gd name="connsiteX2766" fmla="*/ 1227233 w 8243652"/>
              <a:gd name="connsiteY2766" fmla="*/ 3139181 h 6857106"/>
              <a:gd name="connsiteX2767" fmla="*/ 1234220 w 8243652"/>
              <a:gd name="connsiteY2767" fmla="*/ 3070919 h 6857106"/>
              <a:gd name="connsiteX2768" fmla="*/ 1238877 w 8243652"/>
              <a:gd name="connsiteY2768" fmla="*/ 2980431 h 6857106"/>
              <a:gd name="connsiteX2769" fmla="*/ 1250520 w 8243652"/>
              <a:gd name="connsiteY2769" fmla="*/ 2747069 h 6857106"/>
              <a:gd name="connsiteX2770" fmla="*/ 1262164 w 8243652"/>
              <a:gd name="connsiteY2770" fmla="*/ 2483544 h 6857106"/>
              <a:gd name="connsiteX2771" fmla="*/ 1271479 w 8243652"/>
              <a:gd name="connsiteY2771" fmla="*/ 2223194 h 6857106"/>
              <a:gd name="connsiteX2772" fmla="*/ 1283122 w 8243652"/>
              <a:gd name="connsiteY2772" fmla="*/ 2004119 h 6857106"/>
              <a:gd name="connsiteX2773" fmla="*/ 1287780 w 8243652"/>
              <a:gd name="connsiteY2773" fmla="*/ 1924744 h 6857106"/>
              <a:gd name="connsiteX2774" fmla="*/ 1294766 w 8243652"/>
              <a:gd name="connsiteY2774" fmla="*/ 1869181 h 6857106"/>
              <a:gd name="connsiteX2775" fmla="*/ 1299423 w 8243652"/>
              <a:gd name="connsiteY2775" fmla="*/ 1850131 h 6857106"/>
              <a:gd name="connsiteX2776" fmla="*/ 1301752 w 8243652"/>
              <a:gd name="connsiteY2776" fmla="*/ 1842194 h 6857106"/>
              <a:gd name="connsiteX2777" fmla="*/ 1306410 w 8243652"/>
              <a:gd name="connsiteY2777" fmla="*/ 1842194 h 6857106"/>
              <a:gd name="connsiteX2778" fmla="*/ 1311067 w 8243652"/>
              <a:gd name="connsiteY2778" fmla="*/ 1850131 h 6857106"/>
              <a:gd name="connsiteX2779" fmla="*/ 1294766 w 8243652"/>
              <a:gd name="connsiteY2779" fmla="*/ 1623119 h 6857106"/>
              <a:gd name="connsiteX2780" fmla="*/ 1299423 w 8243652"/>
              <a:gd name="connsiteY2780" fmla="*/ 1597719 h 6857106"/>
              <a:gd name="connsiteX2781" fmla="*/ 1301752 w 8243652"/>
              <a:gd name="connsiteY2781" fmla="*/ 1594544 h 6857106"/>
              <a:gd name="connsiteX2782" fmla="*/ 1306410 w 8243652"/>
              <a:gd name="connsiteY2782" fmla="*/ 1594544 h 6857106"/>
              <a:gd name="connsiteX2783" fmla="*/ 1315724 w 8243652"/>
              <a:gd name="connsiteY2783" fmla="*/ 1605656 h 6857106"/>
              <a:gd name="connsiteX2784" fmla="*/ 1327368 w 8243652"/>
              <a:gd name="connsiteY2784" fmla="*/ 1619944 h 6857106"/>
              <a:gd name="connsiteX2785" fmla="*/ 1334354 w 8243652"/>
              <a:gd name="connsiteY2785" fmla="*/ 1627881 h 6857106"/>
              <a:gd name="connsiteX2786" fmla="*/ 1339011 w 8243652"/>
              <a:gd name="connsiteY2786" fmla="*/ 1627881 h 6857106"/>
              <a:gd name="connsiteX2787" fmla="*/ 1339011 w 8243652"/>
              <a:gd name="connsiteY2787" fmla="*/ 1623119 h 6857106"/>
              <a:gd name="connsiteX2788" fmla="*/ 1343669 w 8243652"/>
              <a:gd name="connsiteY2788" fmla="*/ 1597719 h 6857106"/>
              <a:gd name="connsiteX2789" fmla="*/ 1345998 w 8243652"/>
              <a:gd name="connsiteY2789" fmla="*/ 1542156 h 6857106"/>
              <a:gd name="connsiteX2790" fmla="*/ 1350655 w 8243652"/>
              <a:gd name="connsiteY2790" fmla="*/ 1786631 h 6857106"/>
              <a:gd name="connsiteX2791" fmla="*/ 1355312 w 8243652"/>
              <a:gd name="connsiteY2791" fmla="*/ 2088256 h 6857106"/>
              <a:gd name="connsiteX2792" fmla="*/ 1359970 w 8243652"/>
              <a:gd name="connsiteY2792" fmla="*/ 2381944 h 6857106"/>
              <a:gd name="connsiteX2793" fmla="*/ 1355312 w 8243652"/>
              <a:gd name="connsiteY2793" fmla="*/ 2608956 h 6857106"/>
              <a:gd name="connsiteX2794" fmla="*/ 1399558 w 8243652"/>
              <a:gd name="connsiteY2794" fmla="*/ 1688206 h 6857106"/>
              <a:gd name="connsiteX2795" fmla="*/ 1394901 w 8243652"/>
              <a:gd name="connsiteY2795" fmla="*/ 1902519 h 6857106"/>
              <a:gd name="connsiteX2796" fmla="*/ 1394901 w 8243652"/>
              <a:gd name="connsiteY2796" fmla="*/ 2231131 h 6857106"/>
              <a:gd name="connsiteX2797" fmla="*/ 1394901 w 8243652"/>
              <a:gd name="connsiteY2797" fmla="*/ 2769294 h 6857106"/>
              <a:gd name="connsiteX2798" fmla="*/ 1399558 w 8243652"/>
              <a:gd name="connsiteY2798" fmla="*/ 2762944 h 6857106"/>
              <a:gd name="connsiteX2799" fmla="*/ 1399558 w 8243652"/>
              <a:gd name="connsiteY2799" fmla="*/ 2739131 h 6857106"/>
              <a:gd name="connsiteX2800" fmla="*/ 1406544 w 8243652"/>
              <a:gd name="connsiteY2800" fmla="*/ 2639119 h 6857106"/>
              <a:gd name="connsiteX2801" fmla="*/ 1415859 w 8243652"/>
              <a:gd name="connsiteY2801" fmla="*/ 2313681 h 6857106"/>
              <a:gd name="connsiteX2802" fmla="*/ 1420516 w 8243652"/>
              <a:gd name="connsiteY2802" fmla="*/ 1943794 h 6857106"/>
              <a:gd name="connsiteX2803" fmla="*/ 1420516 w 8243652"/>
              <a:gd name="connsiteY2803" fmla="*/ 1789806 h 6857106"/>
              <a:gd name="connsiteX2804" fmla="*/ 1415859 w 8243652"/>
              <a:gd name="connsiteY2804" fmla="*/ 1683444 h 6857106"/>
              <a:gd name="connsiteX2805" fmla="*/ 1434489 w 8243652"/>
              <a:gd name="connsiteY2805" fmla="*/ 1975544 h 6857106"/>
              <a:gd name="connsiteX2806" fmla="*/ 1443804 w 8243652"/>
              <a:gd name="connsiteY2806" fmla="*/ 2115244 h 6857106"/>
              <a:gd name="connsiteX2807" fmla="*/ 1455447 w 8243652"/>
              <a:gd name="connsiteY2807" fmla="*/ 2280344 h 6857106"/>
              <a:gd name="connsiteX2808" fmla="*/ 1471748 w 8243652"/>
              <a:gd name="connsiteY2808" fmla="*/ 2648644 h 6857106"/>
              <a:gd name="connsiteX2809" fmla="*/ 1471748 w 8243652"/>
              <a:gd name="connsiteY2809" fmla="*/ 2593081 h 6857106"/>
              <a:gd name="connsiteX2810" fmla="*/ 1476406 w 8243652"/>
              <a:gd name="connsiteY2810" fmla="*/ 2480369 h 6857106"/>
              <a:gd name="connsiteX2811" fmla="*/ 1471748 w 8243652"/>
              <a:gd name="connsiteY2811" fmla="*/ 2167631 h 6857106"/>
              <a:gd name="connsiteX2812" fmla="*/ 1467091 w 8243652"/>
              <a:gd name="connsiteY2812" fmla="*/ 1846956 h 6857106"/>
              <a:gd name="connsiteX2813" fmla="*/ 1464762 w 8243652"/>
              <a:gd name="connsiteY2813" fmla="*/ 1662806 h 6857106"/>
              <a:gd name="connsiteX2814" fmla="*/ 1471748 w 8243652"/>
              <a:gd name="connsiteY2814" fmla="*/ 1592956 h 6857106"/>
              <a:gd name="connsiteX2815" fmla="*/ 1478734 w 8243652"/>
              <a:gd name="connsiteY2815" fmla="*/ 1548506 h 6857106"/>
              <a:gd name="connsiteX2816" fmla="*/ 1483392 w 8243652"/>
              <a:gd name="connsiteY2816" fmla="*/ 1529456 h 6857106"/>
              <a:gd name="connsiteX2817" fmla="*/ 1488049 w 8243652"/>
              <a:gd name="connsiteY2817" fmla="*/ 1526281 h 6857106"/>
              <a:gd name="connsiteX2818" fmla="*/ 1492707 w 8243652"/>
              <a:gd name="connsiteY2818" fmla="*/ 1529456 h 6857106"/>
              <a:gd name="connsiteX2819" fmla="*/ 1495035 w 8243652"/>
              <a:gd name="connsiteY2819" fmla="*/ 1542156 h 6857106"/>
              <a:gd name="connsiteX2820" fmla="*/ 1504350 w 8243652"/>
              <a:gd name="connsiteY2820" fmla="*/ 1567556 h 6857106"/>
              <a:gd name="connsiteX2821" fmla="*/ 1511337 w 8243652"/>
              <a:gd name="connsiteY2821" fmla="*/ 1632644 h 6857106"/>
              <a:gd name="connsiteX2822" fmla="*/ 1504350 w 8243652"/>
              <a:gd name="connsiteY2822" fmla="*/ 1715194 h 6857106"/>
              <a:gd name="connsiteX2823" fmla="*/ 1499693 w 8243652"/>
              <a:gd name="connsiteY2823" fmla="*/ 1819969 h 6857106"/>
              <a:gd name="connsiteX2824" fmla="*/ 1492707 w 8243652"/>
              <a:gd name="connsiteY2824" fmla="*/ 2091431 h 6857106"/>
              <a:gd name="connsiteX2825" fmla="*/ 1492707 w 8243652"/>
              <a:gd name="connsiteY2825" fmla="*/ 2423219 h 6857106"/>
              <a:gd name="connsiteX2826" fmla="*/ 1492707 w 8243652"/>
              <a:gd name="connsiteY2826" fmla="*/ 2793106 h 6857106"/>
              <a:gd name="connsiteX2827" fmla="*/ 1492707 w 8243652"/>
              <a:gd name="connsiteY2827" fmla="*/ 3550344 h 6857106"/>
              <a:gd name="connsiteX2828" fmla="*/ 1495035 w 8243652"/>
              <a:gd name="connsiteY2828" fmla="*/ 3885306 h 6857106"/>
              <a:gd name="connsiteX2829" fmla="*/ 1492707 w 8243652"/>
              <a:gd name="connsiteY2829" fmla="*/ 4164706 h 6857106"/>
              <a:gd name="connsiteX2830" fmla="*/ 1581198 w 8243652"/>
              <a:gd name="connsiteY2830" fmla="*/ 1653281 h 6857106"/>
              <a:gd name="connsiteX2831" fmla="*/ 1567226 w 8243652"/>
              <a:gd name="connsiteY2831" fmla="*/ 2702619 h 6857106"/>
              <a:gd name="connsiteX2832" fmla="*/ 1576540 w 8243652"/>
              <a:gd name="connsiteY2832" fmla="*/ 2453381 h 6857106"/>
              <a:gd name="connsiteX2833" fmla="*/ 1583527 w 8243652"/>
              <a:gd name="connsiteY2833" fmla="*/ 2348606 h 6857106"/>
              <a:gd name="connsiteX2834" fmla="*/ 1588184 w 8243652"/>
              <a:gd name="connsiteY2834" fmla="*/ 2258119 h 6857106"/>
              <a:gd name="connsiteX2835" fmla="*/ 1599828 w 8243652"/>
              <a:gd name="connsiteY2835" fmla="*/ 2178744 h 6857106"/>
              <a:gd name="connsiteX2836" fmla="*/ 1609142 w 8243652"/>
              <a:gd name="connsiteY2836" fmla="*/ 2113656 h 6857106"/>
              <a:gd name="connsiteX2837" fmla="*/ 1620786 w 8243652"/>
              <a:gd name="connsiteY2837" fmla="*/ 2058094 h 6857106"/>
              <a:gd name="connsiteX2838" fmla="*/ 1632430 w 8243652"/>
              <a:gd name="connsiteY2838" fmla="*/ 2015231 h 6857106"/>
              <a:gd name="connsiteX2839" fmla="*/ 1644073 w 8243652"/>
              <a:gd name="connsiteY2839" fmla="*/ 1978719 h 6857106"/>
              <a:gd name="connsiteX2840" fmla="*/ 1655717 w 8243652"/>
              <a:gd name="connsiteY2840" fmla="*/ 1954906 h 6857106"/>
              <a:gd name="connsiteX2841" fmla="*/ 1669689 w 8243652"/>
              <a:gd name="connsiteY2841" fmla="*/ 1937444 h 6857106"/>
              <a:gd name="connsiteX2842" fmla="*/ 1681333 w 8243652"/>
              <a:gd name="connsiteY2842" fmla="*/ 1929506 h 6857106"/>
              <a:gd name="connsiteX2843" fmla="*/ 1685990 w 8243652"/>
              <a:gd name="connsiteY2843" fmla="*/ 1929506 h 6857106"/>
              <a:gd name="connsiteX2844" fmla="*/ 1692976 w 8243652"/>
              <a:gd name="connsiteY2844" fmla="*/ 1929506 h 6857106"/>
              <a:gd name="connsiteX2845" fmla="*/ 1704620 w 8243652"/>
              <a:gd name="connsiteY2845" fmla="*/ 1934269 h 6857106"/>
              <a:gd name="connsiteX2846" fmla="*/ 1713935 w 8243652"/>
              <a:gd name="connsiteY2846" fmla="*/ 1945381 h 6857106"/>
              <a:gd name="connsiteX2847" fmla="*/ 1725579 w 8243652"/>
              <a:gd name="connsiteY2847" fmla="*/ 1962844 h 6857106"/>
              <a:gd name="connsiteX2848" fmla="*/ 1716263 w 8243652"/>
              <a:gd name="connsiteY2848" fmla="*/ 1967606 h 6857106"/>
              <a:gd name="connsiteX2849" fmla="*/ 1713935 w 8243652"/>
              <a:gd name="connsiteY2849" fmla="*/ 2061269 h 6857106"/>
              <a:gd name="connsiteX2850" fmla="*/ 1716263 w 8243652"/>
              <a:gd name="connsiteY2850" fmla="*/ 2145406 h 6857106"/>
              <a:gd name="connsiteX2851" fmla="*/ 1720921 w 8243652"/>
              <a:gd name="connsiteY2851" fmla="*/ 2215256 h 6857106"/>
              <a:gd name="connsiteX2852" fmla="*/ 1730236 w 8243652"/>
              <a:gd name="connsiteY2852" fmla="*/ 2264469 h 6857106"/>
              <a:gd name="connsiteX2853" fmla="*/ 1732564 w 8243652"/>
              <a:gd name="connsiteY2853" fmla="*/ 2280344 h 6857106"/>
              <a:gd name="connsiteX2854" fmla="*/ 1741879 w 8243652"/>
              <a:gd name="connsiteY2854" fmla="*/ 2291456 h 6857106"/>
              <a:gd name="connsiteX2855" fmla="*/ 1744208 w 8243652"/>
              <a:gd name="connsiteY2855" fmla="*/ 2291456 h 6857106"/>
              <a:gd name="connsiteX2856" fmla="*/ 1748865 w 8243652"/>
              <a:gd name="connsiteY2856" fmla="*/ 2286694 h 6857106"/>
              <a:gd name="connsiteX2857" fmla="*/ 1749114 w 8243652"/>
              <a:gd name="connsiteY2857" fmla="*/ 2285635 h 6857106"/>
              <a:gd name="connsiteX2858" fmla="*/ 1758180 w 8243652"/>
              <a:gd name="connsiteY2858" fmla="*/ 2362894 h 6857106"/>
              <a:gd name="connsiteX2859" fmla="*/ 1760509 w 8243652"/>
              <a:gd name="connsiteY2859" fmla="*/ 2397819 h 6857106"/>
              <a:gd name="connsiteX2860" fmla="*/ 1765166 w 8243652"/>
              <a:gd name="connsiteY2860" fmla="*/ 2397819 h 6857106"/>
              <a:gd name="connsiteX2861" fmla="*/ 1765166 w 8243652"/>
              <a:gd name="connsiteY2861" fmla="*/ 2393056 h 6857106"/>
              <a:gd name="connsiteX2862" fmla="*/ 1774481 w 8243652"/>
              <a:gd name="connsiteY2862" fmla="*/ 2354956 h 6857106"/>
              <a:gd name="connsiteX2863" fmla="*/ 1781467 w 8243652"/>
              <a:gd name="connsiteY2863" fmla="*/ 2205731 h 6857106"/>
              <a:gd name="connsiteX2864" fmla="*/ 1788454 w 8243652"/>
              <a:gd name="connsiteY2864" fmla="*/ 2012056 h 6857106"/>
              <a:gd name="connsiteX2865" fmla="*/ 1797769 w 8243652"/>
              <a:gd name="connsiteY2865" fmla="*/ 1819969 h 6857106"/>
              <a:gd name="connsiteX2866" fmla="*/ 1804755 w 8243652"/>
              <a:gd name="connsiteY2866" fmla="*/ 1688206 h 6857106"/>
              <a:gd name="connsiteX2867" fmla="*/ 1809412 w 8243652"/>
              <a:gd name="connsiteY2867" fmla="*/ 1658044 h 6857106"/>
              <a:gd name="connsiteX2868" fmla="*/ 1814069 w 8243652"/>
              <a:gd name="connsiteY2868" fmla="*/ 1665981 h 6857106"/>
              <a:gd name="connsiteX2869" fmla="*/ 1818727 w 8243652"/>
              <a:gd name="connsiteY2869" fmla="*/ 1715194 h 6857106"/>
              <a:gd name="connsiteX2870" fmla="*/ 1825713 w 8243652"/>
              <a:gd name="connsiteY2870" fmla="*/ 1813619 h 6857106"/>
              <a:gd name="connsiteX2871" fmla="*/ 1821056 w 8243652"/>
              <a:gd name="connsiteY2871" fmla="*/ 1804094 h 6857106"/>
              <a:gd name="connsiteX2872" fmla="*/ 1818727 w 8243652"/>
              <a:gd name="connsiteY2872" fmla="*/ 1804094 h 6857106"/>
              <a:gd name="connsiteX2873" fmla="*/ 1814069 w 8243652"/>
              <a:gd name="connsiteY2873" fmla="*/ 1804094 h 6857106"/>
              <a:gd name="connsiteX2874" fmla="*/ 1809412 w 8243652"/>
              <a:gd name="connsiteY2874" fmla="*/ 1812031 h 6857106"/>
              <a:gd name="connsiteX2875" fmla="*/ 1804755 w 8243652"/>
              <a:gd name="connsiteY2875" fmla="*/ 1824731 h 6857106"/>
              <a:gd name="connsiteX2876" fmla="*/ 1802426 w 8243652"/>
              <a:gd name="connsiteY2876" fmla="*/ 1872356 h 6857106"/>
              <a:gd name="connsiteX2877" fmla="*/ 1797769 w 8243652"/>
              <a:gd name="connsiteY2877" fmla="*/ 1937444 h 6857106"/>
              <a:gd name="connsiteX2878" fmla="*/ 1793111 w 8243652"/>
              <a:gd name="connsiteY2878" fmla="*/ 2121594 h 6857106"/>
              <a:gd name="connsiteX2879" fmla="*/ 1788454 w 8243652"/>
              <a:gd name="connsiteY2879" fmla="*/ 2337494 h 6857106"/>
              <a:gd name="connsiteX2880" fmla="*/ 1802426 w 8243652"/>
              <a:gd name="connsiteY2880" fmla="*/ 2261294 h 6857106"/>
              <a:gd name="connsiteX2881" fmla="*/ 1814069 w 8243652"/>
              <a:gd name="connsiteY2881" fmla="*/ 2215256 h 6857106"/>
              <a:gd name="connsiteX2882" fmla="*/ 1825713 w 8243652"/>
              <a:gd name="connsiteY2882" fmla="*/ 2181919 h 6857106"/>
              <a:gd name="connsiteX2883" fmla="*/ 1837357 w 8243652"/>
              <a:gd name="connsiteY2883" fmla="*/ 2140644 h 6857106"/>
              <a:gd name="connsiteX2884" fmla="*/ 1849000 w 8243652"/>
              <a:gd name="connsiteY2884" fmla="*/ 2069206 h 6857106"/>
              <a:gd name="connsiteX2885" fmla="*/ 1858316 w 8243652"/>
              <a:gd name="connsiteY2885" fmla="*/ 1951731 h 6857106"/>
              <a:gd name="connsiteX2886" fmla="*/ 1862972 w 8243652"/>
              <a:gd name="connsiteY2886" fmla="*/ 1762819 h 6857106"/>
              <a:gd name="connsiteX2887" fmla="*/ 1862972 w 8243652"/>
              <a:gd name="connsiteY2887" fmla="*/ 1485006 h 6857106"/>
              <a:gd name="connsiteX2888" fmla="*/ 1869959 w 8243652"/>
              <a:gd name="connsiteY2888" fmla="*/ 1578669 h 6857106"/>
              <a:gd name="connsiteX2889" fmla="*/ 1881602 w 8243652"/>
              <a:gd name="connsiteY2889" fmla="*/ 1643756 h 6857106"/>
              <a:gd name="connsiteX2890" fmla="*/ 1886260 w 8243652"/>
              <a:gd name="connsiteY2890" fmla="*/ 1759644 h 6857106"/>
              <a:gd name="connsiteX2891" fmla="*/ 1890917 w 8243652"/>
              <a:gd name="connsiteY2891" fmla="*/ 2000944 h 6857106"/>
              <a:gd name="connsiteX2892" fmla="*/ 1951464 w 8243652"/>
              <a:gd name="connsiteY2892" fmla="*/ 1477069 h 6857106"/>
              <a:gd name="connsiteX2893" fmla="*/ 1946806 w 8243652"/>
              <a:gd name="connsiteY2893" fmla="*/ 1570731 h 6857106"/>
              <a:gd name="connsiteX2894" fmla="*/ 1946806 w 8243652"/>
              <a:gd name="connsiteY2894" fmla="*/ 1692969 h 6857106"/>
              <a:gd name="connsiteX2895" fmla="*/ 1946806 w 8243652"/>
              <a:gd name="connsiteY2895" fmla="*/ 1812031 h 6857106"/>
              <a:gd name="connsiteX2896" fmla="*/ 1951464 w 8243652"/>
              <a:gd name="connsiteY2896" fmla="*/ 1854894 h 6857106"/>
              <a:gd name="connsiteX2897" fmla="*/ 1958450 w 8243652"/>
              <a:gd name="connsiteY2897" fmla="*/ 1888231 h 6857106"/>
              <a:gd name="connsiteX2898" fmla="*/ 1953792 w 8243652"/>
              <a:gd name="connsiteY2898" fmla="*/ 1880294 h 6857106"/>
              <a:gd name="connsiteX2899" fmla="*/ 1951464 w 8243652"/>
              <a:gd name="connsiteY2899" fmla="*/ 1877119 h 6857106"/>
              <a:gd name="connsiteX2900" fmla="*/ 1946806 w 8243652"/>
              <a:gd name="connsiteY2900" fmla="*/ 1877119 h 6857106"/>
              <a:gd name="connsiteX2901" fmla="*/ 1946806 w 8243652"/>
              <a:gd name="connsiteY2901" fmla="*/ 1883469 h 6857106"/>
              <a:gd name="connsiteX2902" fmla="*/ 1937491 w 8243652"/>
              <a:gd name="connsiteY2902" fmla="*/ 1904106 h 6857106"/>
              <a:gd name="connsiteX2903" fmla="*/ 1935163 w 8243652"/>
              <a:gd name="connsiteY2903" fmla="*/ 1940619 h 6857106"/>
              <a:gd name="connsiteX2904" fmla="*/ 1909547 w 8243652"/>
              <a:gd name="connsiteY2904" fmla="*/ 2124769 h 6857106"/>
              <a:gd name="connsiteX2905" fmla="*/ 1897903 w 8243652"/>
              <a:gd name="connsiteY2905" fmla="*/ 2197794 h 6857106"/>
              <a:gd name="connsiteX2906" fmla="*/ 1893246 w 8243652"/>
              <a:gd name="connsiteY2906" fmla="*/ 2216844 h 6857106"/>
              <a:gd name="connsiteX2907" fmla="*/ 1893246 w 8243652"/>
              <a:gd name="connsiteY2907" fmla="*/ 2220019 h 6857106"/>
              <a:gd name="connsiteX2908" fmla="*/ 1890917 w 8243652"/>
              <a:gd name="connsiteY2908" fmla="*/ 2223194 h 6857106"/>
              <a:gd name="connsiteX2909" fmla="*/ 1886260 w 8243652"/>
              <a:gd name="connsiteY2909" fmla="*/ 2205731 h 6857106"/>
              <a:gd name="connsiteX2910" fmla="*/ 1881602 w 8243652"/>
              <a:gd name="connsiteY2910" fmla="*/ 2170806 h 6857106"/>
              <a:gd name="connsiteX2911" fmla="*/ 1874616 w 8243652"/>
              <a:gd name="connsiteY2911" fmla="*/ 2015231 h 6857106"/>
              <a:gd name="connsiteX2912" fmla="*/ 1874616 w 8243652"/>
              <a:gd name="connsiteY2912" fmla="*/ 2381944 h 6857106"/>
              <a:gd name="connsiteX2913" fmla="*/ 1876945 w 8243652"/>
              <a:gd name="connsiteY2913" fmla="*/ 2694681 h 6857106"/>
              <a:gd name="connsiteX2914" fmla="*/ 1876945 w 8243652"/>
              <a:gd name="connsiteY2914" fmla="*/ 2988369 h 6857106"/>
              <a:gd name="connsiteX2915" fmla="*/ 1869959 w 8243652"/>
              <a:gd name="connsiteY2915" fmla="*/ 3309044 h 6857106"/>
              <a:gd name="connsiteX2916" fmla="*/ 1881602 w 8243652"/>
              <a:gd name="connsiteY2916" fmla="*/ 3251894 h 6857106"/>
              <a:gd name="connsiteX2917" fmla="*/ 1893246 w 8243652"/>
              <a:gd name="connsiteY2917" fmla="*/ 3182044 h 6857106"/>
              <a:gd name="connsiteX2918" fmla="*/ 1914204 w 8243652"/>
              <a:gd name="connsiteY2918" fmla="*/ 3004244 h 6857106"/>
              <a:gd name="connsiteX2919" fmla="*/ 1930506 w 8243652"/>
              <a:gd name="connsiteY2919" fmla="*/ 2788344 h 6857106"/>
              <a:gd name="connsiteX2920" fmla="*/ 1951464 w 8243652"/>
              <a:gd name="connsiteY2920" fmla="*/ 2540694 h 6857106"/>
              <a:gd name="connsiteX2921" fmla="*/ 1979408 w 8243652"/>
              <a:gd name="connsiteY2921" fmla="*/ 2005706 h 6857106"/>
              <a:gd name="connsiteX2922" fmla="*/ 2009681 w 8243652"/>
              <a:gd name="connsiteY2922" fmla="*/ 1492944 h 6857106"/>
              <a:gd name="connsiteX2923" fmla="*/ 2067899 w 8243652"/>
              <a:gd name="connsiteY2923" fmla="*/ 1885056 h 6857106"/>
              <a:gd name="connsiteX2924" fmla="*/ 2070228 w 8243652"/>
              <a:gd name="connsiteY2924" fmla="*/ 1635819 h 6857106"/>
              <a:gd name="connsiteX2925" fmla="*/ 2079543 w 8243652"/>
              <a:gd name="connsiteY2925" fmla="*/ 2261294 h 6857106"/>
              <a:gd name="connsiteX2926" fmla="*/ 2086529 w 8243652"/>
              <a:gd name="connsiteY2926" fmla="*/ 2083494 h 6857106"/>
              <a:gd name="connsiteX2927" fmla="*/ 2091186 w 8243652"/>
              <a:gd name="connsiteY2927" fmla="*/ 2042219 h 6857106"/>
              <a:gd name="connsiteX2928" fmla="*/ 2091186 w 8243652"/>
              <a:gd name="connsiteY2928" fmla="*/ 2053331 h 6857106"/>
              <a:gd name="connsiteX2929" fmla="*/ 2091186 w 8243652"/>
              <a:gd name="connsiteY2929" fmla="*/ 2154931 h 6857106"/>
              <a:gd name="connsiteX2930" fmla="*/ 2091186 w 8243652"/>
              <a:gd name="connsiteY2930" fmla="*/ 2286694 h 6857106"/>
              <a:gd name="connsiteX2931" fmla="*/ 2098173 w 8243652"/>
              <a:gd name="connsiteY2931" fmla="*/ 2220019 h 6857106"/>
              <a:gd name="connsiteX2932" fmla="*/ 2102830 w 8243652"/>
              <a:gd name="connsiteY2932" fmla="*/ 2132706 h 6857106"/>
              <a:gd name="connsiteX2933" fmla="*/ 2102830 w 8243652"/>
              <a:gd name="connsiteY2933" fmla="*/ 2386706 h 6857106"/>
              <a:gd name="connsiteX2934" fmla="*/ 2098173 w 8243652"/>
              <a:gd name="connsiteY2934" fmla="*/ 2650231 h 6857106"/>
              <a:gd name="connsiteX2935" fmla="*/ 2086529 w 8243652"/>
              <a:gd name="connsiteY2935" fmla="*/ 3180456 h 6857106"/>
              <a:gd name="connsiteX2936" fmla="*/ 2070228 w 8243652"/>
              <a:gd name="connsiteY2936" fmla="*/ 2834381 h 6857106"/>
              <a:gd name="connsiteX2937" fmla="*/ 2063242 w 8243652"/>
              <a:gd name="connsiteY2937" fmla="*/ 3070919 h 6857106"/>
              <a:gd name="connsiteX2938" fmla="*/ 2058584 w 8243652"/>
              <a:gd name="connsiteY2938" fmla="*/ 3294756 h 6857106"/>
              <a:gd name="connsiteX2939" fmla="*/ 2058584 w 8243652"/>
              <a:gd name="connsiteY2939" fmla="*/ 3504306 h 6857106"/>
              <a:gd name="connsiteX2940" fmla="*/ 2063242 w 8243652"/>
              <a:gd name="connsiteY2940" fmla="*/ 3596381 h 6857106"/>
              <a:gd name="connsiteX2941" fmla="*/ 2067899 w 8243652"/>
              <a:gd name="connsiteY2941" fmla="*/ 3678931 h 6857106"/>
              <a:gd name="connsiteX2942" fmla="*/ 2074886 w 8243652"/>
              <a:gd name="connsiteY2942" fmla="*/ 3543994 h 6857106"/>
              <a:gd name="connsiteX2943" fmla="*/ 2067899 w 8243652"/>
              <a:gd name="connsiteY2943" fmla="*/ 3856731 h 6857106"/>
              <a:gd name="connsiteX2944" fmla="*/ 2067899 w 8243652"/>
              <a:gd name="connsiteY2944" fmla="*/ 3977381 h 6857106"/>
              <a:gd name="connsiteX2945" fmla="*/ 2067899 w 8243652"/>
              <a:gd name="connsiteY2945" fmla="*/ 4063106 h 6857106"/>
              <a:gd name="connsiteX2946" fmla="*/ 2112145 w 8243652"/>
              <a:gd name="connsiteY2946" fmla="*/ 3761481 h 6857106"/>
              <a:gd name="connsiteX2947" fmla="*/ 2091186 w 8243652"/>
              <a:gd name="connsiteY2947" fmla="*/ 3294756 h 6857106"/>
              <a:gd name="connsiteX2948" fmla="*/ 2112145 w 8243652"/>
              <a:gd name="connsiteY2948" fmla="*/ 2974081 h 6857106"/>
              <a:gd name="connsiteX2949" fmla="*/ 2126117 w 8243652"/>
              <a:gd name="connsiteY2949" fmla="*/ 2634356 h 6857106"/>
              <a:gd name="connsiteX2950" fmla="*/ 2130775 w 8243652"/>
              <a:gd name="connsiteY2950" fmla="*/ 2464494 h 6857106"/>
              <a:gd name="connsiteX2951" fmla="*/ 2130775 w 8243652"/>
              <a:gd name="connsiteY2951" fmla="*/ 2294631 h 6857106"/>
              <a:gd name="connsiteX2952" fmla="*/ 2130775 w 8243652"/>
              <a:gd name="connsiteY2952" fmla="*/ 2126356 h 6857106"/>
              <a:gd name="connsiteX2953" fmla="*/ 2123788 w 8243652"/>
              <a:gd name="connsiteY2953" fmla="*/ 1964431 h 6857106"/>
              <a:gd name="connsiteX2954" fmla="*/ 2158719 w 8243652"/>
              <a:gd name="connsiteY2954" fmla="*/ 2335906 h 6857106"/>
              <a:gd name="connsiteX2955" fmla="*/ 2179678 w 8243652"/>
              <a:gd name="connsiteY2955" fmla="*/ 1989831 h 6857106"/>
              <a:gd name="connsiteX2956" fmla="*/ 2195979 w 8243652"/>
              <a:gd name="connsiteY2956" fmla="*/ 1797744 h 6857106"/>
              <a:gd name="connsiteX2957" fmla="*/ 2235567 w 8243652"/>
              <a:gd name="connsiteY2957" fmla="*/ 1381819 h 6857106"/>
              <a:gd name="connsiteX2958" fmla="*/ 2235567 w 8243652"/>
              <a:gd name="connsiteY2958" fmla="*/ 1537394 h 6857106"/>
              <a:gd name="connsiteX2959" fmla="*/ 2235567 w 8243652"/>
              <a:gd name="connsiteY2959" fmla="*/ 1683444 h 6857106"/>
              <a:gd name="connsiteX2960" fmla="*/ 2230909 w 8243652"/>
              <a:gd name="connsiteY2960" fmla="*/ 1816794 h 6857106"/>
              <a:gd name="connsiteX2961" fmla="*/ 2235567 w 8243652"/>
              <a:gd name="connsiteY2961" fmla="*/ 1940619 h 6857106"/>
              <a:gd name="connsiteX2962" fmla="*/ 2244882 w 8243652"/>
              <a:gd name="connsiteY2962" fmla="*/ 1834256 h 6857106"/>
              <a:gd name="connsiteX2963" fmla="*/ 2247210 w 8243652"/>
              <a:gd name="connsiteY2963" fmla="*/ 1773931 h 6857106"/>
              <a:gd name="connsiteX2964" fmla="*/ 2251869 w 8243652"/>
              <a:gd name="connsiteY2964" fmla="*/ 1759644 h 6857106"/>
              <a:gd name="connsiteX2965" fmla="*/ 2256525 w 8243652"/>
              <a:gd name="connsiteY2965" fmla="*/ 1751706 h 6857106"/>
              <a:gd name="connsiteX2966" fmla="*/ 2258854 w 8243652"/>
              <a:gd name="connsiteY2966" fmla="*/ 1753294 h 6857106"/>
              <a:gd name="connsiteX2967" fmla="*/ 2263511 w 8243652"/>
              <a:gd name="connsiteY2967" fmla="*/ 1762819 h 6857106"/>
              <a:gd name="connsiteX2968" fmla="*/ 2272826 w 8243652"/>
              <a:gd name="connsiteY2968" fmla="*/ 1800919 h 6857106"/>
              <a:gd name="connsiteX2969" fmla="*/ 2275155 w 8243652"/>
              <a:gd name="connsiteY2969" fmla="*/ 1858069 h 6857106"/>
              <a:gd name="connsiteX2970" fmla="*/ 2291456 w 8243652"/>
              <a:gd name="connsiteY2970" fmla="*/ 2008881 h 6857106"/>
              <a:gd name="connsiteX2971" fmla="*/ 2303100 w 8243652"/>
              <a:gd name="connsiteY2971" fmla="*/ 2166044 h 6857106"/>
              <a:gd name="connsiteX2972" fmla="*/ 2317072 w 8243652"/>
              <a:gd name="connsiteY2972" fmla="*/ 2272406 h 6857106"/>
              <a:gd name="connsiteX2973" fmla="*/ 2319401 w 8243652"/>
              <a:gd name="connsiteY2973" fmla="*/ 2294631 h 6857106"/>
              <a:gd name="connsiteX2974" fmla="*/ 2319401 w 8243652"/>
              <a:gd name="connsiteY2974" fmla="*/ 2291456 h 6857106"/>
              <a:gd name="connsiteX2975" fmla="*/ 2324059 w 8243652"/>
              <a:gd name="connsiteY2975" fmla="*/ 2283519 h 6857106"/>
              <a:gd name="connsiteX2976" fmla="*/ 2324059 w 8243652"/>
              <a:gd name="connsiteY2976" fmla="*/ 2234306 h 6857106"/>
              <a:gd name="connsiteX2977" fmla="*/ 2328715 w 8243652"/>
              <a:gd name="connsiteY2977" fmla="*/ 2143819 h 6857106"/>
              <a:gd name="connsiteX2978" fmla="*/ 2335702 w 8243652"/>
              <a:gd name="connsiteY2978" fmla="*/ 2075556 h 6857106"/>
              <a:gd name="connsiteX2979" fmla="*/ 2340359 w 8243652"/>
              <a:gd name="connsiteY2979" fmla="*/ 1989831 h 6857106"/>
              <a:gd name="connsiteX2980" fmla="*/ 2345016 w 8243652"/>
              <a:gd name="connsiteY2980" fmla="*/ 1792981 h 6857106"/>
              <a:gd name="connsiteX2981" fmla="*/ 2347345 w 8243652"/>
              <a:gd name="connsiteY2981" fmla="*/ 1592956 h 6857106"/>
              <a:gd name="connsiteX2982" fmla="*/ 2352003 w 8243652"/>
              <a:gd name="connsiteY2982" fmla="*/ 1504056 h 6857106"/>
              <a:gd name="connsiteX2983" fmla="*/ 2356660 w 8243652"/>
              <a:gd name="connsiteY2983" fmla="*/ 1431031 h 6857106"/>
              <a:gd name="connsiteX2984" fmla="*/ 2356660 w 8243652"/>
              <a:gd name="connsiteY2984" fmla="*/ 1559619 h 6857106"/>
              <a:gd name="connsiteX2985" fmla="*/ 2356660 w 8243652"/>
              <a:gd name="connsiteY2985" fmla="*/ 1616769 h 6857106"/>
              <a:gd name="connsiteX2986" fmla="*/ 2361318 w 8243652"/>
              <a:gd name="connsiteY2986" fmla="*/ 1646931 h 6857106"/>
              <a:gd name="connsiteX2987" fmla="*/ 2379947 w 8243652"/>
              <a:gd name="connsiteY2987" fmla="*/ 1200844 h 6857106"/>
              <a:gd name="connsiteX2988" fmla="*/ 2379947 w 8243652"/>
              <a:gd name="connsiteY2988" fmla="*/ 1257994 h 6857106"/>
              <a:gd name="connsiteX2989" fmla="*/ 2379947 w 8243652"/>
              <a:gd name="connsiteY2989" fmla="*/ 1318319 h 6857106"/>
              <a:gd name="connsiteX2990" fmla="*/ 2377618 w 8243652"/>
              <a:gd name="connsiteY2990" fmla="*/ 1438969 h 6857106"/>
              <a:gd name="connsiteX2991" fmla="*/ 2377618 w 8243652"/>
              <a:gd name="connsiteY2991" fmla="*/ 1564381 h 6857106"/>
              <a:gd name="connsiteX2992" fmla="*/ 2377618 w 8243652"/>
              <a:gd name="connsiteY2992" fmla="*/ 1632644 h 6857106"/>
              <a:gd name="connsiteX2993" fmla="*/ 2384605 w 8243652"/>
              <a:gd name="connsiteY2993" fmla="*/ 1702494 h 6857106"/>
              <a:gd name="connsiteX2994" fmla="*/ 2412549 w 8243652"/>
              <a:gd name="connsiteY2994" fmla="*/ 1477069 h 6857106"/>
              <a:gd name="connsiteX2995" fmla="*/ 2424193 w 8243652"/>
              <a:gd name="connsiteY2995" fmla="*/ 1386581 h 6857106"/>
              <a:gd name="connsiteX2996" fmla="*/ 2435836 w 8243652"/>
              <a:gd name="connsiteY2996" fmla="*/ 1321494 h 6857106"/>
              <a:gd name="connsiteX2997" fmla="*/ 2449809 w 8243652"/>
              <a:gd name="connsiteY2997" fmla="*/ 1280219 h 6857106"/>
              <a:gd name="connsiteX2998" fmla="*/ 2452137 w 8243652"/>
              <a:gd name="connsiteY2998" fmla="*/ 1270694 h 6857106"/>
              <a:gd name="connsiteX2999" fmla="*/ 2456795 w 8243652"/>
              <a:gd name="connsiteY2999" fmla="*/ 1269106 h 6857106"/>
              <a:gd name="connsiteX3000" fmla="*/ 2461452 w 8243652"/>
              <a:gd name="connsiteY3000" fmla="*/ 1269106 h 6857106"/>
              <a:gd name="connsiteX3001" fmla="*/ 2466110 w 8243652"/>
              <a:gd name="connsiteY3001" fmla="*/ 1277044 h 6857106"/>
              <a:gd name="connsiteX3002" fmla="*/ 2473096 w 8243652"/>
              <a:gd name="connsiteY3002" fmla="*/ 1292919 h 6857106"/>
              <a:gd name="connsiteX3003" fmla="*/ 2484739 w 8243652"/>
              <a:gd name="connsiteY3003" fmla="*/ 1353244 h 6857106"/>
              <a:gd name="connsiteX3004" fmla="*/ 2494055 w 8243652"/>
              <a:gd name="connsiteY3004" fmla="*/ 1326256 h 6857106"/>
              <a:gd name="connsiteX3005" fmla="*/ 2496383 w 8243652"/>
              <a:gd name="connsiteY3005" fmla="*/ 1284981 h 6857106"/>
              <a:gd name="connsiteX3006" fmla="*/ 2501040 w 8243652"/>
              <a:gd name="connsiteY3006" fmla="*/ 1170681 h 6857106"/>
              <a:gd name="connsiteX3007" fmla="*/ 2501040 w 8243652"/>
              <a:gd name="connsiteY3007" fmla="*/ 1027806 h 6857106"/>
              <a:gd name="connsiteX3008" fmla="*/ 2496383 w 8243652"/>
              <a:gd name="connsiteY3008" fmla="*/ 876994 h 6857106"/>
              <a:gd name="connsiteX3009" fmla="*/ 2489397 w 8243652"/>
              <a:gd name="connsiteY3009" fmla="*/ 621406 h 6857106"/>
              <a:gd name="connsiteX3010" fmla="*/ 2494055 w 8243652"/>
              <a:gd name="connsiteY3010" fmla="*/ 553144 h 6857106"/>
              <a:gd name="connsiteX3011" fmla="*/ 2496383 w 8243652"/>
              <a:gd name="connsiteY3011" fmla="*/ 542031 h 6857106"/>
              <a:gd name="connsiteX3012" fmla="*/ 2501040 w 8243652"/>
              <a:gd name="connsiteY3012" fmla="*/ 545206 h 6857106"/>
              <a:gd name="connsiteX3013" fmla="*/ 2505698 w 8243652"/>
              <a:gd name="connsiteY3013" fmla="*/ 549969 h 6857106"/>
              <a:gd name="connsiteX3014" fmla="*/ 2510355 w 8243652"/>
              <a:gd name="connsiteY3014" fmla="*/ 829369 h 6857106"/>
              <a:gd name="connsiteX3015" fmla="*/ 2512684 w 8243652"/>
              <a:gd name="connsiteY3015" fmla="*/ 1092894 h 6857106"/>
              <a:gd name="connsiteX3016" fmla="*/ 2524327 w 8243652"/>
              <a:gd name="connsiteY3016" fmla="*/ 1300856 h 6857106"/>
              <a:gd name="connsiteX3017" fmla="*/ 2533642 w 8243652"/>
              <a:gd name="connsiteY3017" fmla="*/ 1367531 h 6857106"/>
              <a:gd name="connsiteX3018" fmla="*/ 2540629 w 8243652"/>
              <a:gd name="connsiteY3018" fmla="*/ 1405631 h 6857106"/>
              <a:gd name="connsiteX3019" fmla="*/ 2549943 w 8243652"/>
              <a:gd name="connsiteY3019" fmla="*/ 1213544 h 6857106"/>
              <a:gd name="connsiteX3020" fmla="*/ 2554601 w 8243652"/>
              <a:gd name="connsiteY3020" fmla="*/ 1021456 h 6857106"/>
              <a:gd name="connsiteX3021" fmla="*/ 2561587 w 8243652"/>
              <a:gd name="connsiteY3021" fmla="*/ 846831 h 6857106"/>
              <a:gd name="connsiteX3022" fmla="*/ 2568573 w 8243652"/>
              <a:gd name="connsiteY3022" fmla="*/ 772219 h 6857106"/>
              <a:gd name="connsiteX3023" fmla="*/ 2573230 w 8243652"/>
              <a:gd name="connsiteY3023" fmla="*/ 707131 h 6857106"/>
              <a:gd name="connsiteX3024" fmla="*/ 2573230 w 8243652"/>
              <a:gd name="connsiteY3024" fmla="*/ 1265931 h 6857106"/>
              <a:gd name="connsiteX3025" fmla="*/ 2584874 w 8243652"/>
              <a:gd name="connsiteY3025" fmla="*/ 1250056 h 6857106"/>
              <a:gd name="connsiteX3026" fmla="*/ 2577888 w 8243652"/>
              <a:gd name="connsiteY3026" fmla="*/ 1134169 h 6857106"/>
              <a:gd name="connsiteX3027" fmla="*/ 2589531 w 8243652"/>
              <a:gd name="connsiteY3027" fmla="*/ 1240531 h 6857106"/>
              <a:gd name="connsiteX3028" fmla="*/ 2594189 w 8243652"/>
              <a:gd name="connsiteY3028" fmla="*/ 1238944 h 6857106"/>
              <a:gd name="connsiteX3029" fmla="*/ 2598846 w 8243652"/>
              <a:gd name="connsiteY3029" fmla="*/ 1243706 h 6857106"/>
              <a:gd name="connsiteX3030" fmla="*/ 2601176 w 8243652"/>
              <a:gd name="connsiteY3030" fmla="*/ 1257994 h 6857106"/>
              <a:gd name="connsiteX3031" fmla="*/ 2605832 w 8243652"/>
              <a:gd name="connsiteY3031" fmla="*/ 1284981 h 6857106"/>
              <a:gd name="connsiteX3032" fmla="*/ 2610490 w 8243652"/>
              <a:gd name="connsiteY3032" fmla="*/ 1383406 h 6857106"/>
              <a:gd name="connsiteX3033" fmla="*/ 2612819 w 8243652"/>
              <a:gd name="connsiteY3033" fmla="*/ 1562794 h 6857106"/>
              <a:gd name="connsiteX3034" fmla="*/ 2626791 w 8243652"/>
              <a:gd name="connsiteY3034" fmla="*/ 1432619 h 6857106"/>
              <a:gd name="connsiteX3035" fmla="*/ 2629120 w 8243652"/>
              <a:gd name="connsiteY3035" fmla="*/ 1400869 h 6857106"/>
              <a:gd name="connsiteX3036" fmla="*/ 2633777 w 8243652"/>
              <a:gd name="connsiteY3036" fmla="*/ 1383406 h 6857106"/>
              <a:gd name="connsiteX3037" fmla="*/ 2638435 w 8243652"/>
              <a:gd name="connsiteY3037" fmla="*/ 1383406 h 6857106"/>
              <a:gd name="connsiteX3038" fmla="*/ 2638435 w 8243652"/>
              <a:gd name="connsiteY3038" fmla="*/ 1386581 h 6857106"/>
              <a:gd name="connsiteX3039" fmla="*/ 2643092 w 8243652"/>
              <a:gd name="connsiteY3039" fmla="*/ 1400869 h 6857106"/>
              <a:gd name="connsiteX3040" fmla="*/ 2650078 w 8243652"/>
              <a:gd name="connsiteY3040" fmla="*/ 1454844 h 6857106"/>
              <a:gd name="connsiteX3041" fmla="*/ 2654736 w 8243652"/>
              <a:gd name="connsiteY3041" fmla="*/ 1394519 h 6857106"/>
              <a:gd name="connsiteX3042" fmla="*/ 2657064 w 8243652"/>
              <a:gd name="connsiteY3042" fmla="*/ 1321494 h 6857106"/>
              <a:gd name="connsiteX3043" fmla="*/ 2657064 w 8243652"/>
              <a:gd name="connsiteY3043" fmla="*/ 1148456 h 6857106"/>
              <a:gd name="connsiteX3044" fmla="*/ 2657064 w 8243652"/>
              <a:gd name="connsiteY3044" fmla="*/ 953194 h 6857106"/>
              <a:gd name="connsiteX3045" fmla="*/ 2650078 w 8243652"/>
              <a:gd name="connsiteY3045" fmla="*/ 748406 h 6857106"/>
              <a:gd name="connsiteX3046" fmla="*/ 2629120 w 8243652"/>
              <a:gd name="connsiteY3046" fmla="*/ 361056 h 6857106"/>
              <a:gd name="connsiteX3047" fmla="*/ 2617476 w 8243652"/>
              <a:gd name="connsiteY3047" fmla="*/ 94356 h 6857106"/>
              <a:gd name="connsiteX3048" fmla="*/ 2629120 w 8243652"/>
              <a:gd name="connsiteY3048" fmla="*/ 226119 h 6857106"/>
              <a:gd name="connsiteX3049" fmla="*/ 2643092 w 8243652"/>
              <a:gd name="connsiteY3049" fmla="*/ 311844 h 6857106"/>
              <a:gd name="connsiteX3050" fmla="*/ 2657064 w 8243652"/>
              <a:gd name="connsiteY3050" fmla="*/ 426144 h 6857106"/>
              <a:gd name="connsiteX3051" fmla="*/ 2671037 w 8243652"/>
              <a:gd name="connsiteY3051" fmla="*/ 492819 h 6857106"/>
              <a:gd name="connsiteX3052" fmla="*/ 2678023 w 8243652"/>
              <a:gd name="connsiteY3052" fmla="*/ 588069 h 6857106"/>
              <a:gd name="connsiteX3053" fmla="*/ 2682680 w 8243652"/>
              <a:gd name="connsiteY3053" fmla="*/ 737294 h 6857106"/>
              <a:gd name="connsiteX3054" fmla="*/ 2689666 w 8243652"/>
              <a:gd name="connsiteY3054" fmla="*/ 948431 h 6857106"/>
              <a:gd name="connsiteX3055" fmla="*/ 2661722 w 8243652"/>
              <a:gd name="connsiteY3055" fmla="*/ 1100831 h 6857106"/>
              <a:gd name="connsiteX3056" fmla="*/ 2673366 w 8243652"/>
              <a:gd name="connsiteY3056" fmla="*/ 1205606 h 6857106"/>
              <a:gd name="connsiteX3057" fmla="*/ 2682680 w 8243652"/>
              <a:gd name="connsiteY3057" fmla="*/ 1269106 h 6857106"/>
              <a:gd name="connsiteX3058" fmla="*/ 2687338 w 8243652"/>
              <a:gd name="connsiteY3058" fmla="*/ 1284981 h 6857106"/>
              <a:gd name="connsiteX3059" fmla="*/ 2689666 w 8243652"/>
              <a:gd name="connsiteY3059" fmla="*/ 1292919 h 6857106"/>
              <a:gd name="connsiteX3060" fmla="*/ 2694324 w 8243652"/>
              <a:gd name="connsiteY3060" fmla="*/ 1292919 h 6857106"/>
              <a:gd name="connsiteX3061" fmla="*/ 2698981 w 8243652"/>
              <a:gd name="connsiteY3061" fmla="*/ 1288156 h 6857106"/>
              <a:gd name="connsiteX3062" fmla="*/ 2701310 w 8243652"/>
              <a:gd name="connsiteY3062" fmla="*/ 1261169 h 6857106"/>
              <a:gd name="connsiteX3063" fmla="*/ 2705967 w 8243652"/>
              <a:gd name="connsiteY3063" fmla="*/ 1216719 h 6857106"/>
              <a:gd name="connsiteX3064" fmla="*/ 2717611 w 8243652"/>
              <a:gd name="connsiteY3064" fmla="*/ 1111944 h 6857106"/>
              <a:gd name="connsiteX3065" fmla="*/ 2722268 w 8243652"/>
              <a:gd name="connsiteY3065" fmla="*/ 1029394 h 6857106"/>
              <a:gd name="connsiteX3066" fmla="*/ 2726926 w 8243652"/>
              <a:gd name="connsiteY3066" fmla="*/ 1016694 h 6857106"/>
              <a:gd name="connsiteX3067" fmla="*/ 2731583 w 8243652"/>
              <a:gd name="connsiteY3067" fmla="*/ 1029394 h 6857106"/>
              <a:gd name="connsiteX3068" fmla="*/ 2738569 w 8243652"/>
              <a:gd name="connsiteY3068" fmla="*/ 1164331 h 6857106"/>
              <a:gd name="connsiteX3069" fmla="*/ 2745555 w 8243652"/>
              <a:gd name="connsiteY3069" fmla="*/ 1496119 h 6857106"/>
              <a:gd name="connsiteX3070" fmla="*/ 2743227 w 8243652"/>
              <a:gd name="connsiteY3070" fmla="*/ 1491356 h 6857106"/>
              <a:gd name="connsiteX3071" fmla="*/ 2733912 w 8243652"/>
              <a:gd name="connsiteY3071" fmla="*/ 1502469 h 6857106"/>
              <a:gd name="connsiteX3072" fmla="*/ 2726926 w 8243652"/>
              <a:gd name="connsiteY3072" fmla="*/ 1562794 h 6857106"/>
              <a:gd name="connsiteX3073" fmla="*/ 2743227 w 8243652"/>
              <a:gd name="connsiteY3073" fmla="*/ 1680269 h 6857106"/>
              <a:gd name="connsiteX3074" fmla="*/ 2754870 w 8243652"/>
              <a:gd name="connsiteY3074" fmla="*/ 1781869 h 6857106"/>
              <a:gd name="connsiteX3075" fmla="*/ 2775829 w 8243652"/>
              <a:gd name="connsiteY3075" fmla="*/ 1446906 h 6857106"/>
              <a:gd name="connsiteX3076" fmla="*/ 2775829 w 8243652"/>
              <a:gd name="connsiteY3076" fmla="*/ 1481831 h 6857106"/>
              <a:gd name="connsiteX3077" fmla="*/ 2822403 w 8243652"/>
              <a:gd name="connsiteY3077" fmla="*/ 1394519 h 6857106"/>
              <a:gd name="connsiteX3078" fmla="*/ 2820074 w 8243652"/>
              <a:gd name="connsiteY3078" fmla="*/ 1442144 h 6857106"/>
              <a:gd name="connsiteX3079" fmla="*/ 2820074 w 8243652"/>
              <a:gd name="connsiteY3079" fmla="*/ 1502469 h 6857106"/>
              <a:gd name="connsiteX3080" fmla="*/ 2820074 w 8243652"/>
              <a:gd name="connsiteY3080" fmla="*/ 1562794 h 6857106"/>
              <a:gd name="connsiteX3081" fmla="*/ 2822403 w 8243652"/>
              <a:gd name="connsiteY3081" fmla="*/ 1594544 h 6857106"/>
              <a:gd name="connsiteX3082" fmla="*/ 2859662 w 8243652"/>
              <a:gd name="connsiteY3082" fmla="*/ 1299269 h 6857106"/>
              <a:gd name="connsiteX3083" fmla="*/ 2855005 w 8243652"/>
              <a:gd name="connsiteY3083" fmla="*/ 1408806 h 6857106"/>
              <a:gd name="connsiteX3084" fmla="*/ 2859662 w 8243652"/>
              <a:gd name="connsiteY3084" fmla="*/ 1521519 h 6857106"/>
              <a:gd name="connsiteX3085" fmla="*/ 2864320 w 8243652"/>
              <a:gd name="connsiteY3085" fmla="*/ 1623119 h 6857106"/>
              <a:gd name="connsiteX3086" fmla="*/ 2875963 w 8243652"/>
              <a:gd name="connsiteY3086" fmla="*/ 1704081 h 6857106"/>
              <a:gd name="connsiteX3087" fmla="*/ 2878292 w 8243652"/>
              <a:gd name="connsiteY3087" fmla="*/ 1715194 h 6857106"/>
              <a:gd name="connsiteX3088" fmla="*/ 2882950 w 8243652"/>
              <a:gd name="connsiteY3088" fmla="*/ 1718369 h 6857106"/>
              <a:gd name="connsiteX3089" fmla="*/ 2887607 w 8243652"/>
              <a:gd name="connsiteY3089" fmla="*/ 1713606 h 6857106"/>
              <a:gd name="connsiteX3090" fmla="*/ 2892264 w 8243652"/>
              <a:gd name="connsiteY3090" fmla="*/ 1702494 h 6857106"/>
              <a:gd name="connsiteX3091" fmla="*/ 2894593 w 8243652"/>
              <a:gd name="connsiteY3091" fmla="*/ 1654869 h 6857106"/>
              <a:gd name="connsiteX3092" fmla="*/ 2899251 w 8243652"/>
              <a:gd name="connsiteY3092" fmla="*/ 1589781 h 6857106"/>
              <a:gd name="connsiteX3093" fmla="*/ 2906237 w 8243652"/>
              <a:gd name="connsiteY3093" fmla="*/ 1411981 h 6857106"/>
              <a:gd name="connsiteX3094" fmla="*/ 2915552 w 8243652"/>
              <a:gd name="connsiteY3094" fmla="*/ 1208781 h 6857106"/>
              <a:gd name="connsiteX3095" fmla="*/ 2920209 w 8243652"/>
              <a:gd name="connsiteY3095" fmla="*/ 1027806 h 6857106"/>
              <a:gd name="connsiteX3096" fmla="*/ 2927195 w 8243652"/>
              <a:gd name="connsiteY3096" fmla="*/ 903981 h 6857106"/>
              <a:gd name="connsiteX3097" fmla="*/ 2931853 w 8243652"/>
              <a:gd name="connsiteY3097" fmla="*/ 878581 h 6857106"/>
              <a:gd name="connsiteX3098" fmla="*/ 2936510 w 8243652"/>
              <a:gd name="connsiteY3098" fmla="*/ 884931 h 6857106"/>
              <a:gd name="connsiteX3099" fmla="*/ 2938839 w 8243652"/>
              <a:gd name="connsiteY3099" fmla="*/ 929381 h 6857106"/>
              <a:gd name="connsiteX3100" fmla="*/ 2948154 w 8243652"/>
              <a:gd name="connsiteY3100" fmla="*/ 1013519 h 6857106"/>
              <a:gd name="connsiteX3101" fmla="*/ 2943496 w 8243652"/>
              <a:gd name="connsiteY3101" fmla="*/ 1010344 h 6857106"/>
              <a:gd name="connsiteX3102" fmla="*/ 2943496 w 8243652"/>
              <a:gd name="connsiteY3102" fmla="*/ 1016694 h 6857106"/>
              <a:gd name="connsiteX3103" fmla="*/ 2938839 w 8243652"/>
              <a:gd name="connsiteY3103" fmla="*/ 1035744 h 6857106"/>
              <a:gd name="connsiteX3104" fmla="*/ 2938839 w 8243652"/>
              <a:gd name="connsiteY3104" fmla="*/ 1054794 h 6857106"/>
              <a:gd name="connsiteX3105" fmla="*/ 2936510 w 8243652"/>
              <a:gd name="connsiteY3105" fmla="*/ 1059556 h 6857106"/>
              <a:gd name="connsiteX3106" fmla="*/ 2950482 w 8243652"/>
              <a:gd name="connsiteY3106" fmla="*/ 1310381 h 6857106"/>
              <a:gd name="connsiteX3107" fmla="*/ 2955140 w 8243652"/>
              <a:gd name="connsiteY3107" fmla="*/ 1111944 h 6857106"/>
              <a:gd name="connsiteX3108" fmla="*/ 2959797 w 8243652"/>
              <a:gd name="connsiteY3108" fmla="*/ 961131 h 6857106"/>
              <a:gd name="connsiteX3109" fmla="*/ 2964455 w 8243652"/>
              <a:gd name="connsiteY3109" fmla="*/ 848419 h 6857106"/>
              <a:gd name="connsiteX3110" fmla="*/ 2971441 w 8243652"/>
              <a:gd name="connsiteY3110" fmla="*/ 769044 h 6857106"/>
              <a:gd name="connsiteX3111" fmla="*/ 2980756 w 8243652"/>
              <a:gd name="connsiteY3111" fmla="*/ 718244 h 6857106"/>
              <a:gd name="connsiteX3112" fmla="*/ 2987742 w 8243652"/>
              <a:gd name="connsiteY3112" fmla="*/ 688081 h 6857106"/>
              <a:gd name="connsiteX3113" fmla="*/ 2999385 w 8243652"/>
              <a:gd name="connsiteY3113" fmla="*/ 667444 h 6857106"/>
              <a:gd name="connsiteX3114" fmla="*/ 3008700 w 8243652"/>
              <a:gd name="connsiteY3114" fmla="*/ 654744 h 6857106"/>
              <a:gd name="connsiteX3115" fmla="*/ 3020344 w 8243652"/>
              <a:gd name="connsiteY3115" fmla="*/ 643631 h 6857106"/>
              <a:gd name="connsiteX3116" fmla="*/ 3027330 w 8243652"/>
              <a:gd name="connsiteY3116" fmla="*/ 624581 h 6857106"/>
              <a:gd name="connsiteX3117" fmla="*/ 3036645 w 8243652"/>
              <a:gd name="connsiteY3117" fmla="*/ 591244 h 6857106"/>
              <a:gd name="connsiteX3118" fmla="*/ 3043631 w 8243652"/>
              <a:gd name="connsiteY3118" fmla="*/ 538856 h 6857106"/>
              <a:gd name="connsiteX3119" fmla="*/ 3052946 w 8243652"/>
              <a:gd name="connsiteY3119" fmla="*/ 459481 h 6857106"/>
              <a:gd name="connsiteX3120" fmla="*/ 3055275 w 8243652"/>
              <a:gd name="connsiteY3120" fmla="*/ 346769 h 6857106"/>
              <a:gd name="connsiteX3121" fmla="*/ 3059932 w 8243652"/>
              <a:gd name="connsiteY3121" fmla="*/ 195956 h 6857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</a:cxnLst>
            <a:rect l="l" t="t" r="r" b="b"/>
            <a:pathLst>
              <a:path w="8243652" h="6857106">
                <a:moveTo>
                  <a:pt x="1748865" y="2283519"/>
                </a:moveTo>
                <a:lnTo>
                  <a:pt x="1749611" y="2283519"/>
                </a:lnTo>
                <a:lnTo>
                  <a:pt x="1749114" y="2285635"/>
                </a:lnTo>
                <a:close/>
                <a:moveTo>
                  <a:pt x="1765166" y="2170806"/>
                </a:moveTo>
                <a:lnTo>
                  <a:pt x="1760509" y="2250181"/>
                </a:lnTo>
                <a:lnTo>
                  <a:pt x="1760509" y="2280344"/>
                </a:lnTo>
                <a:lnTo>
                  <a:pt x="1758180" y="2283519"/>
                </a:lnTo>
                <a:lnTo>
                  <a:pt x="1753523" y="2283519"/>
                </a:lnTo>
                <a:lnTo>
                  <a:pt x="1749611" y="2283519"/>
                </a:lnTo>
                <a:lnTo>
                  <a:pt x="1758180" y="2247006"/>
                </a:lnTo>
                <a:close/>
                <a:moveTo>
                  <a:pt x="6988474" y="1284981"/>
                </a:moveTo>
                <a:lnTo>
                  <a:pt x="7004776" y="1496119"/>
                </a:lnTo>
                <a:lnTo>
                  <a:pt x="6997790" y="1413569"/>
                </a:lnTo>
                <a:close/>
                <a:moveTo>
                  <a:pt x="3064568" y="0"/>
                </a:moveTo>
                <a:lnTo>
                  <a:pt x="3064614" y="0"/>
                </a:lnTo>
                <a:lnTo>
                  <a:pt x="3071576" y="254694"/>
                </a:lnTo>
                <a:lnTo>
                  <a:pt x="3071576" y="330894"/>
                </a:lnTo>
                <a:lnTo>
                  <a:pt x="3069247" y="391219"/>
                </a:lnTo>
                <a:lnTo>
                  <a:pt x="3055275" y="545206"/>
                </a:lnTo>
                <a:lnTo>
                  <a:pt x="3043631" y="667444"/>
                </a:lnTo>
                <a:lnTo>
                  <a:pt x="3031987" y="846831"/>
                </a:lnTo>
                <a:lnTo>
                  <a:pt x="3059932" y="1189731"/>
                </a:lnTo>
                <a:lnTo>
                  <a:pt x="3055275" y="1200844"/>
                </a:lnTo>
                <a:lnTo>
                  <a:pt x="3052946" y="1202431"/>
                </a:lnTo>
                <a:lnTo>
                  <a:pt x="3043631" y="1197669"/>
                </a:lnTo>
                <a:lnTo>
                  <a:pt x="3038974" y="1200844"/>
                </a:lnTo>
                <a:lnTo>
                  <a:pt x="3036645" y="1205606"/>
                </a:lnTo>
                <a:lnTo>
                  <a:pt x="3031987" y="1224656"/>
                </a:lnTo>
                <a:lnTo>
                  <a:pt x="3027330" y="1261169"/>
                </a:lnTo>
                <a:lnTo>
                  <a:pt x="3038974" y="1397694"/>
                </a:lnTo>
                <a:lnTo>
                  <a:pt x="3048288" y="1432619"/>
                </a:lnTo>
                <a:lnTo>
                  <a:pt x="3052946" y="1446906"/>
                </a:lnTo>
                <a:lnTo>
                  <a:pt x="3055275" y="1446906"/>
                </a:lnTo>
                <a:lnTo>
                  <a:pt x="3059932" y="1443731"/>
                </a:lnTo>
                <a:lnTo>
                  <a:pt x="3064589" y="1421506"/>
                </a:lnTo>
                <a:lnTo>
                  <a:pt x="3076233" y="1345306"/>
                </a:lnTo>
                <a:lnTo>
                  <a:pt x="3087877" y="1227831"/>
                </a:lnTo>
                <a:lnTo>
                  <a:pt x="3099520" y="1089719"/>
                </a:lnTo>
                <a:lnTo>
                  <a:pt x="3115821" y="818256"/>
                </a:lnTo>
                <a:lnTo>
                  <a:pt x="3120479" y="907156"/>
                </a:lnTo>
                <a:lnTo>
                  <a:pt x="3120479" y="1027806"/>
                </a:lnTo>
                <a:lnTo>
                  <a:pt x="3120479" y="1307206"/>
                </a:lnTo>
                <a:lnTo>
                  <a:pt x="3120479" y="1427856"/>
                </a:lnTo>
                <a:lnTo>
                  <a:pt x="3125136" y="1515169"/>
                </a:lnTo>
                <a:lnTo>
                  <a:pt x="3127465" y="1540569"/>
                </a:lnTo>
                <a:lnTo>
                  <a:pt x="3132122" y="1551681"/>
                </a:lnTo>
                <a:lnTo>
                  <a:pt x="3136780" y="1548506"/>
                </a:lnTo>
                <a:lnTo>
                  <a:pt x="3136780" y="1542156"/>
                </a:lnTo>
                <a:lnTo>
                  <a:pt x="3143766" y="1515169"/>
                </a:lnTo>
                <a:lnTo>
                  <a:pt x="3153081" y="1469131"/>
                </a:lnTo>
                <a:lnTo>
                  <a:pt x="3160067" y="1411981"/>
                </a:lnTo>
                <a:lnTo>
                  <a:pt x="3164724" y="1280219"/>
                </a:lnTo>
                <a:lnTo>
                  <a:pt x="3169382" y="1130994"/>
                </a:lnTo>
                <a:lnTo>
                  <a:pt x="3164724" y="978594"/>
                </a:lnTo>
                <a:lnTo>
                  <a:pt x="3157738" y="689669"/>
                </a:lnTo>
                <a:lnTo>
                  <a:pt x="3160067" y="580131"/>
                </a:lnTo>
                <a:lnTo>
                  <a:pt x="3160067" y="538856"/>
                </a:lnTo>
                <a:lnTo>
                  <a:pt x="3169382" y="507106"/>
                </a:lnTo>
                <a:lnTo>
                  <a:pt x="3192669" y="1123056"/>
                </a:lnTo>
                <a:lnTo>
                  <a:pt x="3204312" y="986531"/>
                </a:lnTo>
                <a:lnTo>
                  <a:pt x="3213627" y="945256"/>
                </a:lnTo>
                <a:lnTo>
                  <a:pt x="3220613" y="918269"/>
                </a:lnTo>
                <a:lnTo>
                  <a:pt x="3229928" y="907156"/>
                </a:lnTo>
                <a:lnTo>
                  <a:pt x="3232257" y="903981"/>
                </a:lnTo>
                <a:lnTo>
                  <a:pt x="3241572" y="915094"/>
                </a:lnTo>
                <a:lnTo>
                  <a:pt x="3248558" y="930969"/>
                </a:lnTo>
                <a:lnTo>
                  <a:pt x="3260201" y="983356"/>
                </a:lnTo>
                <a:lnTo>
                  <a:pt x="3274174" y="1050031"/>
                </a:lnTo>
                <a:lnTo>
                  <a:pt x="3290475" y="1110356"/>
                </a:lnTo>
                <a:lnTo>
                  <a:pt x="3302118" y="1150044"/>
                </a:lnTo>
                <a:lnTo>
                  <a:pt x="3309105" y="1069081"/>
                </a:lnTo>
                <a:lnTo>
                  <a:pt x="3313762" y="972244"/>
                </a:lnTo>
                <a:lnTo>
                  <a:pt x="3320748" y="1008756"/>
                </a:lnTo>
                <a:lnTo>
                  <a:pt x="3325406" y="1019869"/>
                </a:lnTo>
                <a:lnTo>
                  <a:pt x="3330063" y="1021456"/>
                </a:lnTo>
                <a:lnTo>
                  <a:pt x="3334720" y="1021456"/>
                </a:lnTo>
                <a:lnTo>
                  <a:pt x="3337049" y="1016694"/>
                </a:lnTo>
                <a:lnTo>
                  <a:pt x="3341707" y="994469"/>
                </a:lnTo>
                <a:lnTo>
                  <a:pt x="3358008" y="908744"/>
                </a:lnTo>
                <a:lnTo>
                  <a:pt x="3374309" y="797619"/>
                </a:lnTo>
                <a:lnTo>
                  <a:pt x="3385952" y="678556"/>
                </a:lnTo>
                <a:lnTo>
                  <a:pt x="3397596" y="586481"/>
                </a:lnTo>
                <a:lnTo>
                  <a:pt x="3406911" y="556319"/>
                </a:lnTo>
                <a:lnTo>
                  <a:pt x="3409239" y="542031"/>
                </a:lnTo>
                <a:lnTo>
                  <a:pt x="3413897" y="542031"/>
                </a:lnTo>
                <a:lnTo>
                  <a:pt x="3418554" y="545206"/>
                </a:lnTo>
                <a:lnTo>
                  <a:pt x="3423212" y="572194"/>
                </a:lnTo>
                <a:lnTo>
                  <a:pt x="3423212" y="624581"/>
                </a:lnTo>
                <a:lnTo>
                  <a:pt x="3423212" y="688081"/>
                </a:lnTo>
                <a:lnTo>
                  <a:pt x="3430198" y="832544"/>
                </a:lnTo>
                <a:lnTo>
                  <a:pt x="3437184" y="980181"/>
                </a:lnTo>
                <a:lnTo>
                  <a:pt x="3441841" y="1110356"/>
                </a:lnTo>
                <a:lnTo>
                  <a:pt x="3495402" y="727769"/>
                </a:lnTo>
                <a:lnTo>
                  <a:pt x="3486087" y="797619"/>
                </a:lnTo>
                <a:lnTo>
                  <a:pt x="3481429" y="881756"/>
                </a:lnTo>
                <a:lnTo>
                  <a:pt x="3474443" y="1089719"/>
                </a:lnTo>
                <a:lnTo>
                  <a:pt x="3469786" y="1589781"/>
                </a:lnTo>
                <a:lnTo>
                  <a:pt x="3474443" y="1567556"/>
                </a:lnTo>
                <a:lnTo>
                  <a:pt x="3479101" y="1537394"/>
                </a:lnTo>
                <a:lnTo>
                  <a:pt x="3486087" y="1451669"/>
                </a:lnTo>
                <a:lnTo>
                  <a:pt x="3495402" y="1370706"/>
                </a:lnTo>
                <a:lnTo>
                  <a:pt x="3502388" y="1311969"/>
                </a:lnTo>
                <a:lnTo>
                  <a:pt x="3495402" y="1504056"/>
                </a:lnTo>
                <a:lnTo>
                  <a:pt x="3495402" y="1608831"/>
                </a:lnTo>
                <a:lnTo>
                  <a:pt x="3497730" y="1723131"/>
                </a:lnTo>
                <a:lnTo>
                  <a:pt x="3551291" y="1137344"/>
                </a:lnTo>
                <a:lnTo>
                  <a:pt x="3546633" y="1070669"/>
                </a:lnTo>
                <a:lnTo>
                  <a:pt x="3539647" y="1038919"/>
                </a:lnTo>
                <a:lnTo>
                  <a:pt x="3541976" y="1027806"/>
                </a:lnTo>
                <a:lnTo>
                  <a:pt x="3551291" y="1005581"/>
                </a:lnTo>
                <a:lnTo>
                  <a:pt x="3558277" y="980181"/>
                </a:lnTo>
                <a:lnTo>
                  <a:pt x="3567592" y="959544"/>
                </a:lnTo>
                <a:lnTo>
                  <a:pt x="3569921" y="953194"/>
                </a:lnTo>
                <a:lnTo>
                  <a:pt x="3574578" y="953194"/>
                </a:lnTo>
                <a:lnTo>
                  <a:pt x="3579235" y="956369"/>
                </a:lnTo>
                <a:lnTo>
                  <a:pt x="3583893" y="967481"/>
                </a:lnTo>
                <a:lnTo>
                  <a:pt x="3590879" y="1013519"/>
                </a:lnTo>
                <a:lnTo>
                  <a:pt x="3600194" y="1100831"/>
                </a:lnTo>
                <a:lnTo>
                  <a:pt x="3595536" y="1300856"/>
                </a:lnTo>
                <a:lnTo>
                  <a:pt x="3590879" y="1502469"/>
                </a:lnTo>
                <a:lnTo>
                  <a:pt x="3583893" y="1389756"/>
                </a:lnTo>
                <a:lnTo>
                  <a:pt x="3579235" y="1331019"/>
                </a:lnTo>
                <a:lnTo>
                  <a:pt x="3574578" y="1323081"/>
                </a:lnTo>
                <a:lnTo>
                  <a:pt x="3574578" y="1326256"/>
                </a:lnTo>
                <a:lnTo>
                  <a:pt x="3569921" y="1359594"/>
                </a:lnTo>
                <a:lnTo>
                  <a:pt x="3562934" y="1510406"/>
                </a:lnTo>
                <a:lnTo>
                  <a:pt x="3555948" y="1710431"/>
                </a:lnTo>
                <a:lnTo>
                  <a:pt x="3567592" y="1696144"/>
                </a:lnTo>
                <a:lnTo>
                  <a:pt x="3569921" y="1696144"/>
                </a:lnTo>
                <a:lnTo>
                  <a:pt x="3574578" y="1702494"/>
                </a:lnTo>
                <a:lnTo>
                  <a:pt x="3574578" y="1723131"/>
                </a:lnTo>
                <a:lnTo>
                  <a:pt x="3574578" y="1762819"/>
                </a:lnTo>
                <a:lnTo>
                  <a:pt x="3574578" y="1883469"/>
                </a:lnTo>
                <a:lnTo>
                  <a:pt x="3579235" y="1962844"/>
                </a:lnTo>
                <a:lnTo>
                  <a:pt x="3583893" y="2050156"/>
                </a:lnTo>
                <a:lnTo>
                  <a:pt x="3586222" y="2045394"/>
                </a:lnTo>
                <a:lnTo>
                  <a:pt x="3590879" y="2024756"/>
                </a:lnTo>
                <a:lnTo>
                  <a:pt x="3600194" y="1964431"/>
                </a:lnTo>
                <a:lnTo>
                  <a:pt x="3607180" y="1877119"/>
                </a:lnTo>
                <a:lnTo>
                  <a:pt x="3611837" y="1767581"/>
                </a:lnTo>
                <a:lnTo>
                  <a:pt x="3614166" y="1515169"/>
                </a:lnTo>
                <a:lnTo>
                  <a:pt x="3614166" y="1269106"/>
                </a:lnTo>
                <a:lnTo>
                  <a:pt x="3630467" y="1356419"/>
                </a:lnTo>
                <a:lnTo>
                  <a:pt x="3639782" y="1381819"/>
                </a:lnTo>
                <a:lnTo>
                  <a:pt x="3644439" y="1389756"/>
                </a:lnTo>
                <a:lnTo>
                  <a:pt x="3646768" y="1389756"/>
                </a:lnTo>
                <a:lnTo>
                  <a:pt x="3651426" y="1383406"/>
                </a:lnTo>
                <a:lnTo>
                  <a:pt x="3656083" y="1372294"/>
                </a:lnTo>
                <a:lnTo>
                  <a:pt x="3663069" y="1329431"/>
                </a:lnTo>
                <a:lnTo>
                  <a:pt x="3684028" y="1140519"/>
                </a:lnTo>
                <a:lnTo>
                  <a:pt x="3674713" y="1623119"/>
                </a:lnTo>
                <a:lnTo>
                  <a:pt x="3702657" y="1469131"/>
                </a:lnTo>
                <a:lnTo>
                  <a:pt x="3684028" y="2054919"/>
                </a:lnTo>
                <a:lnTo>
                  <a:pt x="3695671" y="2110481"/>
                </a:lnTo>
                <a:lnTo>
                  <a:pt x="3700329" y="2115244"/>
                </a:lnTo>
                <a:lnTo>
                  <a:pt x="3702657" y="2110481"/>
                </a:lnTo>
                <a:lnTo>
                  <a:pt x="3711972" y="2015231"/>
                </a:lnTo>
                <a:lnTo>
                  <a:pt x="3716630" y="1816794"/>
                </a:lnTo>
                <a:lnTo>
                  <a:pt x="3718958" y="1605656"/>
                </a:lnTo>
                <a:lnTo>
                  <a:pt x="3723616" y="1526281"/>
                </a:lnTo>
                <a:lnTo>
                  <a:pt x="3728273" y="1473894"/>
                </a:lnTo>
                <a:lnTo>
                  <a:pt x="3735259" y="1462781"/>
                </a:lnTo>
                <a:lnTo>
                  <a:pt x="3735259" y="1461194"/>
                </a:lnTo>
                <a:lnTo>
                  <a:pt x="3739917" y="1462781"/>
                </a:lnTo>
                <a:lnTo>
                  <a:pt x="3744574" y="1473894"/>
                </a:lnTo>
                <a:lnTo>
                  <a:pt x="3751560" y="1502469"/>
                </a:lnTo>
                <a:lnTo>
                  <a:pt x="3751560" y="1926331"/>
                </a:lnTo>
                <a:lnTo>
                  <a:pt x="3760875" y="1842194"/>
                </a:lnTo>
                <a:lnTo>
                  <a:pt x="3767861" y="1729481"/>
                </a:lnTo>
                <a:lnTo>
                  <a:pt x="3779505" y="1491356"/>
                </a:lnTo>
                <a:lnTo>
                  <a:pt x="3784162" y="1408806"/>
                </a:lnTo>
                <a:lnTo>
                  <a:pt x="3788820" y="1386581"/>
                </a:lnTo>
                <a:lnTo>
                  <a:pt x="3788820" y="1378644"/>
                </a:lnTo>
                <a:lnTo>
                  <a:pt x="3791149" y="1389756"/>
                </a:lnTo>
                <a:lnTo>
                  <a:pt x="3795806" y="1419919"/>
                </a:lnTo>
                <a:lnTo>
                  <a:pt x="3800463" y="1556444"/>
                </a:lnTo>
                <a:lnTo>
                  <a:pt x="3805121" y="1458019"/>
                </a:lnTo>
                <a:lnTo>
                  <a:pt x="3805121" y="1353244"/>
                </a:lnTo>
                <a:lnTo>
                  <a:pt x="3795806" y="1150044"/>
                </a:lnTo>
                <a:lnTo>
                  <a:pt x="3791149" y="1059556"/>
                </a:lnTo>
                <a:lnTo>
                  <a:pt x="3791149" y="980181"/>
                </a:lnTo>
                <a:lnTo>
                  <a:pt x="3800463" y="918269"/>
                </a:lnTo>
                <a:lnTo>
                  <a:pt x="3807450" y="892869"/>
                </a:lnTo>
                <a:lnTo>
                  <a:pt x="3816764" y="873819"/>
                </a:lnTo>
                <a:lnTo>
                  <a:pt x="3823751" y="1024631"/>
                </a:lnTo>
                <a:lnTo>
                  <a:pt x="3835394" y="1153219"/>
                </a:lnTo>
                <a:lnTo>
                  <a:pt x="3849366" y="1261169"/>
                </a:lnTo>
                <a:lnTo>
                  <a:pt x="3861010" y="1337369"/>
                </a:lnTo>
                <a:lnTo>
                  <a:pt x="3863339" y="1265931"/>
                </a:lnTo>
                <a:lnTo>
                  <a:pt x="3863339" y="1191319"/>
                </a:lnTo>
                <a:lnTo>
                  <a:pt x="3861010" y="1046856"/>
                </a:lnTo>
                <a:lnTo>
                  <a:pt x="3849366" y="934144"/>
                </a:lnTo>
                <a:lnTo>
                  <a:pt x="3844709" y="899219"/>
                </a:lnTo>
                <a:lnTo>
                  <a:pt x="3840052" y="888106"/>
                </a:lnTo>
                <a:lnTo>
                  <a:pt x="3844709" y="878581"/>
                </a:lnTo>
                <a:lnTo>
                  <a:pt x="3849366" y="876994"/>
                </a:lnTo>
                <a:lnTo>
                  <a:pt x="3851695" y="878581"/>
                </a:lnTo>
                <a:lnTo>
                  <a:pt x="3856353" y="888106"/>
                </a:lnTo>
                <a:lnTo>
                  <a:pt x="3863339" y="918269"/>
                </a:lnTo>
                <a:lnTo>
                  <a:pt x="3872654" y="961131"/>
                </a:lnTo>
                <a:lnTo>
                  <a:pt x="3879640" y="1089719"/>
                </a:lnTo>
                <a:lnTo>
                  <a:pt x="3888955" y="1251644"/>
                </a:lnTo>
                <a:lnTo>
                  <a:pt x="3905256" y="1602481"/>
                </a:lnTo>
                <a:lnTo>
                  <a:pt x="3907584" y="1751706"/>
                </a:lnTo>
                <a:lnTo>
                  <a:pt x="3916899" y="1854894"/>
                </a:lnTo>
                <a:lnTo>
                  <a:pt x="3907584" y="1545331"/>
                </a:lnTo>
                <a:lnTo>
                  <a:pt x="3949501" y="1594544"/>
                </a:lnTo>
                <a:lnTo>
                  <a:pt x="3949501" y="1372294"/>
                </a:lnTo>
                <a:lnTo>
                  <a:pt x="3949501" y="1172269"/>
                </a:lnTo>
                <a:lnTo>
                  <a:pt x="3949501" y="1092894"/>
                </a:lnTo>
                <a:lnTo>
                  <a:pt x="3940186" y="1029394"/>
                </a:lnTo>
                <a:lnTo>
                  <a:pt x="3937858" y="1005581"/>
                </a:lnTo>
                <a:lnTo>
                  <a:pt x="3933200" y="989706"/>
                </a:lnTo>
                <a:lnTo>
                  <a:pt x="3923885" y="980181"/>
                </a:lnTo>
                <a:lnTo>
                  <a:pt x="3921557" y="978594"/>
                </a:lnTo>
                <a:lnTo>
                  <a:pt x="3916899" y="978594"/>
                </a:lnTo>
                <a:lnTo>
                  <a:pt x="3923885" y="942081"/>
                </a:lnTo>
                <a:lnTo>
                  <a:pt x="3928543" y="930969"/>
                </a:lnTo>
                <a:lnTo>
                  <a:pt x="3933200" y="934144"/>
                </a:lnTo>
                <a:lnTo>
                  <a:pt x="3933200" y="938906"/>
                </a:lnTo>
                <a:lnTo>
                  <a:pt x="3937858" y="961131"/>
                </a:lnTo>
                <a:lnTo>
                  <a:pt x="3949501" y="1038919"/>
                </a:lnTo>
                <a:lnTo>
                  <a:pt x="3956487" y="1130994"/>
                </a:lnTo>
                <a:lnTo>
                  <a:pt x="3968131" y="1219894"/>
                </a:lnTo>
                <a:lnTo>
                  <a:pt x="3972788" y="1250056"/>
                </a:lnTo>
                <a:lnTo>
                  <a:pt x="3982103" y="1265931"/>
                </a:lnTo>
                <a:lnTo>
                  <a:pt x="3982103" y="1269106"/>
                </a:lnTo>
                <a:lnTo>
                  <a:pt x="3984432" y="1265931"/>
                </a:lnTo>
                <a:lnTo>
                  <a:pt x="3989089" y="1246881"/>
                </a:lnTo>
                <a:lnTo>
                  <a:pt x="3993747" y="1202431"/>
                </a:lnTo>
                <a:lnTo>
                  <a:pt x="4000733" y="1129406"/>
                </a:lnTo>
                <a:lnTo>
                  <a:pt x="3982103" y="1669156"/>
                </a:lnTo>
                <a:lnTo>
                  <a:pt x="3984432" y="1669156"/>
                </a:lnTo>
                <a:lnTo>
                  <a:pt x="3984432" y="1665981"/>
                </a:lnTo>
                <a:lnTo>
                  <a:pt x="3989089" y="1643756"/>
                </a:lnTo>
                <a:lnTo>
                  <a:pt x="3996076" y="1572319"/>
                </a:lnTo>
                <a:lnTo>
                  <a:pt x="4010048" y="1419919"/>
                </a:lnTo>
                <a:lnTo>
                  <a:pt x="4005390" y="1834256"/>
                </a:lnTo>
                <a:lnTo>
                  <a:pt x="4021691" y="1638994"/>
                </a:lnTo>
                <a:lnTo>
                  <a:pt x="4026349" y="1589781"/>
                </a:lnTo>
                <a:lnTo>
                  <a:pt x="4033335" y="1567556"/>
                </a:lnTo>
                <a:lnTo>
                  <a:pt x="4033335" y="1532631"/>
                </a:lnTo>
                <a:lnTo>
                  <a:pt x="4028678" y="1458019"/>
                </a:lnTo>
                <a:lnTo>
                  <a:pt x="4049636" y="1408806"/>
                </a:lnTo>
                <a:lnTo>
                  <a:pt x="4054293" y="1421506"/>
                </a:lnTo>
                <a:lnTo>
                  <a:pt x="4054293" y="1458019"/>
                </a:lnTo>
                <a:lnTo>
                  <a:pt x="4044979" y="1572319"/>
                </a:lnTo>
                <a:lnTo>
                  <a:pt x="4056622" y="1624706"/>
                </a:lnTo>
                <a:lnTo>
                  <a:pt x="4065937" y="1643756"/>
                </a:lnTo>
                <a:lnTo>
                  <a:pt x="4070594" y="1646931"/>
                </a:lnTo>
                <a:lnTo>
                  <a:pt x="4070594" y="1643756"/>
                </a:lnTo>
                <a:lnTo>
                  <a:pt x="4077581" y="1612006"/>
                </a:lnTo>
                <a:lnTo>
                  <a:pt x="4082238" y="1540569"/>
                </a:lnTo>
                <a:lnTo>
                  <a:pt x="4089224" y="1413569"/>
                </a:lnTo>
                <a:lnTo>
                  <a:pt x="4093882" y="1224656"/>
                </a:lnTo>
                <a:lnTo>
                  <a:pt x="4089224" y="1438969"/>
                </a:lnTo>
                <a:lnTo>
                  <a:pt x="4089224" y="1540569"/>
                </a:lnTo>
                <a:lnTo>
                  <a:pt x="4093882" y="1556444"/>
                </a:lnTo>
                <a:lnTo>
                  <a:pt x="4093882" y="1559619"/>
                </a:lnTo>
                <a:lnTo>
                  <a:pt x="4098539" y="1556444"/>
                </a:lnTo>
                <a:lnTo>
                  <a:pt x="4100868" y="1521519"/>
                </a:lnTo>
                <a:lnTo>
                  <a:pt x="4110183" y="1465956"/>
                </a:lnTo>
                <a:lnTo>
                  <a:pt x="4117169" y="1416744"/>
                </a:lnTo>
                <a:lnTo>
                  <a:pt x="4121826" y="1405631"/>
                </a:lnTo>
                <a:lnTo>
                  <a:pt x="4126484" y="1405631"/>
                </a:lnTo>
                <a:lnTo>
                  <a:pt x="4126484" y="1411981"/>
                </a:lnTo>
                <a:lnTo>
                  <a:pt x="4128812" y="1431031"/>
                </a:lnTo>
                <a:lnTo>
                  <a:pt x="4133470" y="1473894"/>
                </a:lnTo>
                <a:lnTo>
                  <a:pt x="4121826" y="1612006"/>
                </a:lnTo>
                <a:lnTo>
                  <a:pt x="4142785" y="1627881"/>
                </a:lnTo>
                <a:lnTo>
                  <a:pt x="4142785" y="1553269"/>
                </a:lnTo>
                <a:lnTo>
                  <a:pt x="4149771" y="1638994"/>
                </a:lnTo>
                <a:lnTo>
                  <a:pt x="4170729" y="1669156"/>
                </a:lnTo>
                <a:lnTo>
                  <a:pt x="4187030" y="1570731"/>
                </a:lnTo>
                <a:lnTo>
                  <a:pt x="4189359" y="1559619"/>
                </a:lnTo>
                <a:lnTo>
                  <a:pt x="4194016" y="1556444"/>
                </a:lnTo>
                <a:lnTo>
                  <a:pt x="4198674" y="1559619"/>
                </a:lnTo>
                <a:lnTo>
                  <a:pt x="4203331" y="1578669"/>
                </a:lnTo>
                <a:lnTo>
                  <a:pt x="4205660" y="1616769"/>
                </a:lnTo>
                <a:lnTo>
                  <a:pt x="4203331" y="1624706"/>
                </a:lnTo>
                <a:lnTo>
                  <a:pt x="4198674" y="1646931"/>
                </a:lnTo>
                <a:lnTo>
                  <a:pt x="4198674" y="1669156"/>
                </a:lnTo>
                <a:lnTo>
                  <a:pt x="4194016" y="1673919"/>
                </a:lnTo>
                <a:lnTo>
                  <a:pt x="4194016" y="1677094"/>
                </a:lnTo>
                <a:lnTo>
                  <a:pt x="4198674" y="1677094"/>
                </a:lnTo>
                <a:lnTo>
                  <a:pt x="4203331" y="1680269"/>
                </a:lnTo>
                <a:lnTo>
                  <a:pt x="4205660" y="1696144"/>
                </a:lnTo>
                <a:lnTo>
                  <a:pt x="4217304" y="1756469"/>
                </a:lnTo>
                <a:lnTo>
                  <a:pt x="4277850" y="1888231"/>
                </a:lnTo>
                <a:lnTo>
                  <a:pt x="4282508" y="1734244"/>
                </a:lnTo>
                <a:lnTo>
                  <a:pt x="4287165" y="1534219"/>
                </a:lnTo>
                <a:lnTo>
                  <a:pt x="4298809" y="1819969"/>
                </a:lnTo>
                <a:lnTo>
                  <a:pt x="4303466" y="1891406"/>
                </a:lnTo>
                <a:lnTo>
                  <a:pt x="4310452" y="1924744"/>
                </a:lnTo>
                <a:lnTo>
                  <a:pt x="4315110" y="1929506"/>
                </a:lnTo>
                <a:lnTo>
                  <a:pt x="4322096" y="1907281"/>
                </a:lnTo>
                <a:lnTo>
                  <a:pt x="4336068" y="1819969"/>
                </a:lnTo>
                <a:lnTo>
                  <a:pt x="4350040" y="1718369"/>
                </a:lnTo>
                <a:lnTo>
                  <a:pt x="4359355" y="1677094"/>
                </a:lnTo>
                <a:lnTo>
                  <a:pt x="4370999" y="1653281"/>
                </a:lnTo>
                <a:lnTo>
                  <a:pt x="4375656" y="1650106"/>
                </a:lnTo>
                <a:lnTo>
                  <a:pt x="4380314" y="1653281"/>
                </a:lnTo>
                <a:lnTo>
                  <a:pt x="4382642" y="1662806"/>
                </a:lnTo>
                <a:lnTo>
                  <a:pt x="4391957" y="1683444"/>
                </a:lnTo>
                <a:lnTo>
                  <a:pt x="4398943" y="1748531"/>
                </a:lnTo>
                <a:lnTo>
                  <a:pt x="4410587" y="1858069"/>
                </a:lnTo>
                <a:lnTo>
                  <a:pt x="4408258" y="1956494"/>
                </a:lnTo>
                <a:lnTo>
                  <a:pt x="4403601" y="2050156"/>
                </a:lnTo>
                <a:lnTo>
                  <a:pt x="4415244" y="2053331"/>
                </a:lnTo>
                <a:lnTo>
                  <a:pt x="4431545" y="2050156"/>
                </a:lnTo>
                <a:lnTo>
                  <a:pt x="4431545" y="2148581"/>
                </a:lnTo>
                <a:lnTo>
                  <a:pt x="4436203" y="2223194"/>
                </a:lnTo>
                <a:lnTo>
                  <a:pt x="4438532" y="2277169"/>
                </a:lnTo>
                <a:lnTo>
                  <a:pt x="4443189" y="2313681"/>
                </a:lnTo>
                <a:lnTo>
                  <a:pt x="4447846" y="2189856"/>
                </a:lnTo>
                <a:lnTo>
                  <a:pt x="4454833" y="2348606"/>
                </a:lnTo>
                <a:lnTo>
                  <a:pt x="4468805" y="2374006"/>
                </a:lnTo>
                <a:lnTo>
                  <a:pt x="4480448" y="2042219"/>
                </a:lnTo>
                <a:lnTo>
                  <a:pt x="4487435" y="1843781"/>
                </a:lnTo>
                <a:lnTo>
                  <a:pt x="4492092" y="1770756"/>
                </a:lnTo>
                <a:lnTo>
                  <a:pt x="4499078" y="1691381"/>
                </a:lnTo>
                <a:lnTo>
                  <a:pt x="4527023" y="1480244"/>
                </a:lnTo>
                <a:lnTo>
                  <a:pt x="4524694" y="1572319"/>
                </a:lnTo>
                <a:lnTo>
                  <a:pt x="4524694" y="1662806"/>
                </a:lnTo>
                <a:lnTo>
                  <a:pt x="4531680" y="1839019"/>
                </a:lnTo>
                <a:lnTo>
                  <a:pt x="4540995" y="2008881"/>
                </a:lnTo>
                <a:lnTo>
                  <a:pt x="4540995" y="2094606"/>
                </a:lnTo>
                <a:lnTo>
                  <a:pt x="4536338" y="2178744"/>
                </a:lnTo>
                <a:lnTo>
                  <a:pt x="4540995" y="2181919"/>
                </a:lnTo>
                <a:lnTo>
                  <a:pt x="4554967" y="2045394"/>
                </a:lnTo>
                <a:lnTo>
                  <a:pt x="4564282" y="1672331"/>
                </a:lnTo>
                <a:lnTo>
                  <a:pt x="4568940" y="1545331"/>
                </a:lnTo>
                <a:lnTo>
                  <a:pt x="4575926" y="1454844"/>
                </a:lnTo>
                <a:lnTo>
                  <a:pt x="4585241" y="1394519"/>
                </a:lnTo>
                <a:lnTo>
                  <a:pt x="4592227" y="1364356"/>
                </a:lnTo>
                <a:lnTo>
                  <a:pt x="4596884" y="1356419"/>
                </a:lnTo>
                <a:lnTo>
                  <a:pt x="4599213" y="1356419"/>
                </a:lnTo>
                <a:lnTo>
                  <a:pt x="4603870" y="1359594"/>
                </a:lnTo>
                <a:lnTo>
                  <a:pt x="4608528" y="1367531"/>
                </a:lnTo>
                <a:lnTo>
                  <a:pt x="4620171" y="1397694"/>
                </a:lnTo>
                <a:lnTo>
                  <a:pt x="4629486" y="1438969"/>
                </a:lnTo>
                <a:lnTo>
                  <a:pt x="4648116" y="1542156"/>
                </a:lnTo>
                <a:lnTo>
                  <a:pt x="4673732" y="1653281"/>
                </a:lnTo>
                <a:lnTo>
                  <a:pt x="4680718" y="1702494"/>
                </a:lnTo>
                <a:lnTo>
                  <a:pt x="4692361" y="1737419"/>
                </a:lnTo>
                <a:lnTo>
                  <a:pt x="4704005" y="1665981"/>
                </a:lnTo>
                <a:lnTo>
                  <a:pt x="4720306" y="1608831"/>
                </a:lnTo>
                <a:lnTo>
                  <a:pt x="4731950" y="1564381"/>
                </a:lnTo>
                <a:lnTo>
                  <a:pt x="4748251" y="1532631"/>
                </a:lnTo>
                <a:lnTo>
                  <a:pt x="4764552" y="1510406"/>
                </a:lnTo>
                <a:lnTo>
                  <a:pt x="4776195" y="1496119"/>
                </a:lnTo>
                <a:lnTo>
                  <a:pt x="4792496" y="1488181"/>
                </a:lnTo>
                <a:lnTo>
                  <a:pt x="4808797" y="1481831"/>
                </a:lnTo>
                <a:lnTo>
                  <a:pt x="4836742" y="1480244"/>
                </a:lnTo>
                <a:lnTo>
                  <a:pt x="4853043" y="1477069"/>
                </a:lnTo>
                <a:lnTo>
                  <a:pt x="4864686" y="1469131"/>
                </a:lnTo>
                <a:lnTo>
                  <a:pt x="4880987" y="1458019"/>
                </a:lnTo>
                <a:lnTo>
                  <a:pt x="4897288" y="1442144"/>
                </a:lnTo>
                <a:lnTo>
                  <a:pt x="4908932" y="1413569"/>
                </a:lnTo>
                <a:lnTo>
                  <a:pt x="4925233" y="1375469"/>
                </a:lnTo>
                <a:lnTo>
                  <a:pt x="4901946" y="1231006"/>
                </a:lnTo>
                <a:lnTo>
                  <a:pt x="4906603" y="1224656"/>
                </a:lnTo>
                <a:lnTo>
                  <a:pt x="4913589" y="1200844"/>
                </a:lnTo>
                <a:lnTo>
                  <a:pt x="4934548" y="1126231"/>
                </a:lnTo>
                <a:lnTo>
                  <a:pt x="4941534" y="1099244"/>
                </a:lnTo>
                <a:lnTo>
                  <a:pt x="4950849" y="1096069"/>
                </a:lnTo>
                <a:lnTo>
                  <a:pt x="4953178" y="1099244"/>
                </a:lnTo>
                <a:lnTo>
                  <a:pt x="4957835" y="1110356"/>
                </a:lnTo>
                <a:lnTo>
                  <a:pt x="4962492" y="1130994"/>
                </a:lnTo>
                <a:lnTo>
                  <a:pt x="4974136" y="1210369"/>
                </a:lnTo>
                <a:lnTo>
                  <a:pt x="4962492" y="1269106"/>
                </a:lnTo>
                <a:lnTo>
                  <a:pt x="4957835" y="1292919"/>
                </a:lnTo>
                <a:lnTo>
                  <a:pt x="4957835" y="1296094"/>
                </a:lnTo>
                <a:lnTo>
                  <a:pt x="4953178" y="1291331"/>
                </a:lnTo>
                <a:lnTo>
                  <a:pt x="4957835" y="1472306"/>
                </a:lnTo>
                <a:lnTo>
                  <a:pt x="4962492" y="1653281"/>
                </a:lnTo>
                <a:lnTo>
                  <a:pt x="4969479" y="1805681"/>
                </a:lnTo>
                <a:lnTo>
                  <a:pt x="4978793" y="1861244"/>
                </a:lnTo>
                <a:lnTo>
                  <a:pt x="4983451" y="1891406"/>
                </a:lnTo>
                <a:lnTo>
                  <a:pt x="4990437" y="1556444"/>
                </a:lnTo>
                <a:lnTo>
                  <a:pt x="4997423" y="1816794"/>
                </a:lnTo>
                <a:lnTo>
                  <a:pt x="5002080" y="1812031"/>
                </a:lnTo>
                <a:lnTo>
                  <a:pt x="5006738" y="1797744"/>
                </a:lnTo>
                <a:lnTo>
                  <a:pt x="5011395" y="1745356"/>
                </a:lnTo>
                <a:lnTo>
                  <a:pt x="5006738" y="1578669"/>
                </a:lnTo>
                <a:lnTo>
                  <a:pt x="5006738" y="1413569"/>
                </a:lnTo>
                <a:lnTo>
                  <a:pt x="5011395" y="1361181"/>
                </a:lnTo>
                <a:lnTo>
                  <a:pt x="5013724" y="1345306"/>
                </a:lnTo>
                <a:lnTo>
                  <a:pt x="5013724" y="1342131"/>
                </a:lnTo>
                <a:lnTo>
                  <a:pt x="5018382" y="1342131"/>
                </a:lnTo>
                <a:lnTo>
                  <a:pt x="5023039" y="1502469"/>
                </a:lnTo>
                <a:lnTo>
                  <a:pt x="5027696" y="1624706"/>
                </a:lnTo>
                <a:lnTo>
                  <a:pt x="5034682" y="1715194"/>
                </a:lnTo>
                <a:lnTo>
                  <a:pt x="5041668" y="1781869"/>
                </a:lnTo>
                <a:lnTo>
                  <a:pt x="5050984" y="1751706"/>
                </a:lnTo>
                <a:lnTo>
                  <a:pt x="5057970" y="1737419"/>
                </a:lnTo>
                <a:lnTo>
                  <a:pt x="5062627" y="1734244"/>
                </a:lnTo>
                <a:lnTo>
                  <a:pt x="5067284" y="1734244"/>
                </a:lnTo>
                <a:lnTo>
                  <a:pt x="5074270" y="1748531"/>
                </a:lnTo>
                <a:lnTo>
                  <a:pt x="5074270" y="1864419"/>
                </a:lnTo>
                <a:lnTo>
                  <a:pt x="5085914" y="1872356"/>
                </a:lnTo>
                <a:lnTo>
                  <a:pt x="5127831" y="1827906"/>
                </a:lnTo>
                <a:lnTo>
                  <a:pt x="5127831" y="1734244"/>
                </a:lnTo>
                <a:lnTo>
                  <a:pt x="5130160" y="1583431"/>
                </a:lnTo>
                <a:lnTo>
                  <a:pt x="5139474" y="1748531"/>
                </a:lnTo>
                <a:lnTo>
                  <a:pt x="5146460" y="1819969"/>
                </a:lnTo>
                <a:lnTo>
                  <a:pt x="5155776" y="1850131"/>
                </a:lnTo>
                <a:lnTo>
                  <a:pt x="5160433" y="1873944"/>
                </a:lnTo>
                <a:lnTo>
                  <a:pt x="5155776" y="1461194"/>
                </a:lnTo>
                <a:lnTo>
                  <a:pt x="5179062" y="1540569"/>
                </a:lnTo>
                <a:lnTo>
                  <a:pt x="5204678" y="1623119"/>
                </a:lnTo>
                <a:lnTo>
                  <a:pt x="5239610" y="1786631"/>
                </a:lnTo>
                <a:lnTo>
                  <a:pt x="5260568" y="1854894"/>
                </a:lnTo>
                <a:lnTo>
                  <a:pt x="5276869" y="1915219"/>
                </a:lnTo>
                <a:lnTo>
                  <a:pt x="5295498" y="1956494"/>
                </a:lnTo>
                <a:lnTo>
                  <a:pt x="5304814" y="1967606"/>
                </a:lnTo>
                <a:lnTo>
                  <a:pt x="5316457" y="1975544"/>
                </a:lnTo>
                <a:lnTo>
                  <a:pt x="5337416" y="1861244"/>
                </a:lnTo>
                <a:lnTo>
                  <a:pt x="5351388" y="1745356"/>
                </a:lnTo>
                <a:lnTo>
                  <a:pt x="5351388" y="1834256"/>
                </a:lnTo>
                <a:lnTo>
                  <a:pt x="5356045" y="1926331"/>
                </a:lnTo>
                <a:lnTo>
                  <a:pt x="5365360" y="1778694"/>
                </a:lnTo>
                <a:lnTo>
                  <a:pt x="5372346" y="1692969"/>
                </a:lnTo>
                <a:lnTo>
                  <a:pt x="5377004" y="1669156"/>
                </a:lnTo>
                <a:lnTo>
                  <a:pt x="5379332" y="1654869"/>
                </a:lnTo>
                <a:lnTo>
                  <a:pt x="5379332" y="1653281"/>
                </a:lnTo>
                <a:lnTo>
                  <a:pt x="5383990" y="1653281"/>
                </a:lnTo>
                <a:lnTo>
                  <a:pt x="5388647" y="1661219"/>
                </a:lnTo>
                <a:lnTo>
                  <a:pt x="5395633" y="1696144"/>
                </a:lnTo>
                <a:lnTo>
                  <a:pt x="5404948" y="1753294"/>
                </a:lnTo>
                <a:lnTo>
                  <a:pt x="5423578" y="1904106"/>
                </a:lnTo>
                <a:lnTo>
                  <a:pt x="5428236" y="1907281"/>
                </a:lnTo>
                <a:lnTo>
                  <a:pt x="5432892" y="1915219"/>
                </a:lnTo>
                <a:lnTo>
                  <a:pt x="5439879" y="1951731"/>
                </a:lnTo>
                <a:lnTo>
                  <a:pt x="5453851" y="2075556"/>
                </a:lnTo>
                <a:lnTo>
                  <a:pt x="5456180" y="2069206"/>
                </a:lnTo>
                <a:lnTo>
                  <a:pt x="5460838" y="2004119"/>
                </a:lnTo>
                <a:lnTo>
                  <a:pt x="5465494" y="1932681"/>
                </a:lnTo>
                <a:lnTo>
                  <a:pt x="5467824" y="1775519"/>
                </a:lnTo>
                <a:lnTo>
                  <a:pt x="5465494" y="1612006"/>
                </a:lnTo>
                <a:lnTo>
                  <a:pt x="5460838" y="1438969"/>
                </a:lnTo>
                <a:lnTo>
                  <a:pt x="5465494" y="1526281"/>
                </a:lnTo>
                <a:lnTo>
                  <a:pt x="5472481" y="1575494"/>
                </a:lnTo>
                <a:lnTo>
                  <a:pt x="5477138" y="1589781"/>
                </a:lnTo>
                <a:lnTo>
                  <a:pt x="5481796" y="1594544"/>
                </a:lnTo>
                <a:lnTo>
                  <a:pt x="5484124" y="1592956"/>
                </a:lnTo>
                <a:lnTo>
                  <a:pt x="5488782" y="1583431"/>
                </a:lnTo>
                <a:lnTo>
                  <a:pt x="5498096" y="1551681"/>
                </a:lnTo>
                <a:lnTo>
                  <a:pt x="5509740" y="1502469"/>
                </a:lnTo>
                <a:lnTo>
                  <a:pt x="5526042" y="1364356"/>
                </a:lnTo>
                <a:lnTo>
                  <a:pt x="5553986" y="1084956"/>
                </a:lnTo>
                <a:lnTo>
                  <a:pt x="5556314" y="1040506"/>
                </a:lnTo>
                <a:lnTo>
                  <a:pt x="5565630" y="1016694"/>
                </a:lnTo>
                <a:lnTo>
                  <a:pt x="5565630" y="1013519"/>
                </a:lnTo>
                <a:lnTo>
                  <a:pt x="5570287" y="1016694"/>
                </a:lnTo>
                <a:lnTo>
                  <a:pt x="5570287" y="1043681"/>
                </a:lnTo>
                <a:lnTo>
                  <a:pt x="5577273" y="1059556"/>
                </a:lnTo>
                <a:lnTo>
                  <a:pt x="5577273" y="1081781"/>
                </a:lnTo>
                <a:lnTo>
                  <a:pt x="5586588" y="1153219"/>
                </a:lnTo>
                <a:lnTo>
                  <a:pt x="5586588" y="1359594"/>
                </a:lnTo>
                <a:lnTo>
                  <a:pt x="5586588" y="1612006"/>
                </a:lnTo>
                <a:lnTo>
                  <a:pt x="5588916" y="1854894"/>
                </a:lnTo>
                <a:lnTo>
                  <a:pt x="5593574" y="1823144"/>
                </a:lnTo>
                <a:lnTo>
                  <a:pt x="5598232" y="1767581"/>
                </a:lnTo>
                <a:lnTo>
                  <a:pt x="5605218" y="1619944"/>
                </a:lnTo>
                <a:lnTo>
                  <a:pt x="5605218" y="1269106"/>
                </a:lnTo>
                <a:lnTo>
                  <a:pt x="5605218" y="1123056"/>
                </a:lnTo>
                <a:lnTo>
                  <a:pt x="5609875" y="1040506"/>
                </a:lnTo>
                <a:lnTo>
                  <a:pt x="5609875" y="1032569"/>
                </a:lnTo>
                <a:lnTo>
                  <a:pt x="5614532" y="1029394"/>
                </a:lnTo>
                <a:lnTo>
                  <a:pt x="5616861" y="1046856"/>
                </a:lnTo>
                <a:lnTo>
                  <a:pt x="5633162" y="1175444"/>
                </a:lnTo>
                <a:lnTo>
                  <a:pt x="5621518" y="1261169"/>
                </a:lnTo>
                <a:lnTo>
                  <a:pt x="5621518" y="1307206"/>
                </a:lnTo>
                <a:lnTo>
                  <a:pt x="5621518" y="1361181"/>
                </a:lnTo>
                <a:lnTo>
                  <a:pt x="5630834" y="1462781"/>
                </a:lnTo>
                <a:lnTo>
                  <a:pt x="5637820" y="1662806"/>
                </a:lnTo>
                <a:lnTo>
                  <a:pt x="5658778" y="2193031"/>
                </a:lnTo>
                <a:lnTo>
                  <a:pt x="5670422" y="2445444"/>
                </a:lnTo>
                <a:lnTo>
                  <a:pt x="5677408" y="2642294"/>
                </a:lnTo>
                <a:lnTo>
                  <a:pt x="5682065" y="2705794"/>
                </a:lnTo>
                <a:lnTo>
                  <a:pt x="5686722" y="2740719"/>
                </a:lnTo>
                <a:lnTo>
                  <a:pt x="5689052" y="2747069"/>
                </a:lnTo>
                <a:lnTo>
                  <a:pt x="5693709" y="2743894"/>
                </a:lnTo>
                <a:lnTo>
                  <a:pt x="5693709" y="2705794"/>
                </a:lnTo>
                <a:lnTo>
                  <a:pt x="5682065" y="2464494"/>
                </a:lnTo>
                <a:lnTo>
                  <a:pt x="5689052" y="2420044"/>
                </a:lnTo>
                <a:lnTo>
                  <a:pt x="5693709" y="2412106"/>
                </a:lnTo>
                <a:lnTo>
                  <a:pt x="5693709" y="2408931"/>
                </a:lnTo>
                <a:lnTo>
                  <a:pt x="5698366" y="2412106"/>
                </a:lnTo>
                <a:lnTo>
                  <a:pt x="5705352" y="2431156"/>
                </a:lnTo>
                <a:lnTo>
                  <a:pt x="5710010" y="2475606"/>
                </a:lnTo>
                <a:lnTo>
                  <a:pt x="5726311" y="2612131"/>
                </a:lnTo>
                <a:lnTo>
                  <a:pt x="5737954" y="2769294"/>
                </a:lnTo>
                <a:lnTo>
                  <a:pt x="5754256" y="2899469"/>
                </a:lnTo>
                <a:lnTo>
                  <a:pt x="5758913" y="2940744"/>
                </a:lnTo>
                <a:lnTo>
                  <a:pt x="5763570" y="2958206"/>
                </a:lnTo>
                <a:lnTo>
                  <a:pt x="5765899" y="2951856"/>
                </a:lnTo>
                <a:lnTo>
                  <a:pt x="5765899" y="2940744"/>
                </a:lnTo>
                <a:lnTo>
                  <a:pt x="5770556" y="2889944"/>
                </a:lnTo>
                <a:lnTo>
                  <a:pt x="5775214" y="2653406"/>
                </a:lnTo>
                <a:lnTo>
                  <a:pt x="5770556" y="2231131"/>
                </a:lnTo>
                <a:lnTo>
                  <a:pt x="5791515" y="2385119"/>
                </a:lnTo>
                <a:lnTo>
                  <a:pt x="5803158" y="2447031"/>
                </a:lnTo>
                <a:lnTo>
                  <a:pt x="5807816" y="2456556"/>
                </a:lnTo>
                <a:lnTo>
                  <a:pt x="5810144" y="2450206"/>
                </a:lnTo>
                <a:lnTo>
                  <a:pt x="5814802" y="2420044"/>
                </a:lnTo>
                <a:lnTo>
                  <a:pt x="5821788" y="2385119"/>
                </a:lnTo>
                <a:lnTo>
                  <a:pt x="5826446" y="2377181"/>
                </a:lnTo>
                <a:lnTo>
                  <a:pt x="5826446" y="2374006"/>
                </a:lnTo>
                <a:lnTo>
                  <a:pt x="5831103" y="2377181"/>
                </a:lnTo>
                <a:lnTo>
                  <a:pt x="5835760" y="2393056"/>
                </a:lnTo>
                <a:lnTo>
                  <a:pt x="5842746" y="2423219"/>
                </a:lnTo>
                <a:lnTo>
                  <a:pt x="5863705" y="2554981"/>
                </a:lnTo>
                <a:lnTo>
                  <a:pt x="5859048" y="2623244"/>
                </a:lnTo>
                <a:lnTo>
                  <a:pt x="5866034" y="2615306"/>
                </a:lnTo>
                <a:lnTo>
                  <a:pt x="5870691" y="2618481"/>
                </a:lnTo>
                <a:lnTo>
                  <a:pt x="5880006" y="2648644"/>
                </a:lnTo>
                <a:lnTo>
                  <a:pt x="5896307" y="2729606"/>
                </a:lnTo>
                <a:lnTo>
                  <a:pt x="5896307" y="2740719"/>
                </a:lnTo>
                <a:lnTo>
                  <a:pt x="5898636" y="2743894"/>
                </a:lnTo>
                <a:lnTo>
                  <a:pt x="5898636" y="2740719"/>
                </a:lnTo>
                <a:lnTo>
                  <a:pt x="5903293" y="2729606"/>
                </a:lnTo>
                <a:lnTo>
                  <a:pt x="5907950" y="2702619"/>
                </a:lnTo>
                <a:lnTo>
                  <a:pt x="5910280" y="2593081"/>
                </a:lnTo>
                <a:lnTo>
                  <a:pt x="5914936" y="2393056"/>
                </a:lnTo>
                <a:lnTo>
                  <a:pt x="5907950" y="2299394"/>
                </a:lnTo>
                <a:lnTo>
                  <a:pt x="5919594" y="2286694"/>
                </a:lnTo>
                <a:lnTo>
                  <a:pt x="5926580" y="2277169"/>
                </a:lnTo>
                <a:lnTo>
                  <a:pt x="5935895" y="2277169"/>
                </a:lnTo>
                <a:lnTo>
                  <a:pt x="5942882" y="2283519"/>
                </a:lnTo>
                <a:lnTo>
                  <a:pt x="5959182" y="2305744"/>
                </a:lnTo>
                <a:lnTo>
                  <a:pt x="5968497" y="2318444"/>
                </a:lnTo>
                <a:lnTo>
                  <a:pt x="5980141" y="2332731"/>
                </a:lnTo>
                <a:lnTo>
                  <a:pt x="5984798" y="2280344"/>
                </a:lnTo>
                <a:lnTo>
                  <a:pt x="5991784" y="2242244"/>
                </a:lnTo>
                <a:lnTo>
                  <a:pt x="5996442" y="2235894"/>
                </a:lnTo>
                <a:lnTo>
                  <a:pt x="5998770" y="2242244"/>
                </a:lnTo>
                <a:lnTo>
                  <a:pt x="6003428" y="2266056"/>
                </a:lnTo>
                <a:lnTo>
                  <a:pt x="6003428" y="2307331"/>
                </a:lnTo>
                <a:lnTo>
                  <a:pt x="6008086" y="2135881"/>
                </a:lnTo>
                <a:lnTo>
                  <a:pt x="6012743" y="2077144"/>
                </a:lnTo>
                <a:lnTo>
                  <a:pt x="6019729" y="2031106"/>
                </a:lnTo>
                <a:lnTo>
                  <a:pt x="6024386" y="2000944"/>
                </a:lnTo>
                <a:lnTo>
                  <a:pt x="6031372" y="1981894"/>
                </a:lnTo>
                <a:lnTo>
                  <a:pt x="6040688" y="1973956"/>
                </a:lnTo>
                <a:lnTo>
                  <a:pt x="6043016" y="1970781"/>
                </a:lnTo>
                <a:lnTo>
                  <a:pt x="6047674" y="1973956"/>
                </a:lnTo>
                <a:lnTo>
                  <a:pt x="6056988" y="1978719"/>
                </a:lnTo>
                <a:lnTo>
                  <a:pt x="6063974" y="1993006"/>
                </a:lnTo>
                <a:lnTo>
                  <a:pt x="6080276" y="2024756"/>
                </a:lnTo>
                <a:lnTo>
                  <a:pt x="6101234" y="2083494"/>
                </a:lnTo>
                <a:lnTo>
                  <a:pt x="6091919" y="2121594"/>
                </a:lnTo>
                <a:lnTo>
                  <a:pt x="6087262" y="2170806"/>
                </a:lnTo>
                <a:lnTo>
                  <a:pt x="6084933" y="2234306"/>
                </a:lnTo>
                <a:lnTo>
                  <a:pt x="6084933" y="2302569"/>
                </a:lnTo>
                <a:lnTo>
                  <a:pt x="6087262" y="2461319"/>
                </a:lnTo>
                <a:lnTo>
                  <a:pt x="6096576" y="2634356"/>
                </a:lnTo>
                <a:lnTo>
                  <a:pt x="6108220" y="2366069"/>
                </a:lnTo>
                <a:lnTo>
                  <a:pt x="6112878" y="2288281"/>
                </a:lnTo>
                <a:lnTo>
                  <a:pt x="6117535" y="2250181"/>
                </a:lnTo>
                <a:lnTo>
                  <a:pt x="6119864" y="2245419"/>
                </a:lnTo>
                <a:lnTo>
                  <a:pt x="6124521" y="2247006"/>
                </a:lnTo>
                <a:lnTo>
                  <a:pt x="6129178" y="2283519"/>
                </a:lnTo>
                <a:lnTo>
                  <a:pt x="6145480" y="2458144"/>
                </a:lnTo>
                <a:lnTo>
                  <a:pt x="6147808" y="1937444"/>
                </a:lnTo>
                <a:lnTo>
                  <a:pt x="6157123" y="1469131"/>
                </a:lnTo>
                <a:lnTo>
                  <a:pt x="6161780" y="1277044"/>
                </a:lnTo>
                <a:lnTo>
                  <a:pt x="6173424" y="1123056"/>
                </a:lnTo>
                <a:lnTo>
                  <a:pt x="6185068" y="1019869"/>
                </a:lnTo>
                <a:lnTo>
                  <a:pt x="6189725" y="989706"/>
                </a:lnTo>
                <a:lnTo>
                  <a:pt x="6196712" y="972244"/>
                </a:lnTo>
                <a:lnTo>
                  <a:pt x="6189725" y="1111944"/>
                </a:lnTo>
                <a:lnTo>
                  <a:pt x="6185068" y="1186556"/>
                </a:lnTo>
                <a:lnTo>
                  <a:pt x="6185068" y="1281806"/>
                </a:lnTo>
                <a:lnTo>
                  <a:pt x="6189725" y="1340544"/>
                </a:lnTo>
                <a:lnTo>
                  <a:pt x="6192054" y="1337369"/>
                </a:lnTo>
                <a:lnTo>
                  <a:pt x="6192054" y="1323081"/>
                </a:lnTo>
                <a:lnTo>
                  <a:pt x="6201368" y="1216719"/>
                </a:lnTo>
                <a:lnTo>
                  <a:pt x="6203698" y="1321494"/>
                </a:lnTo>
                <a:lnTo>
                  <a:pt x="6201368" y="1427856"/>
                </a:lnTo>
                <a:lnTo>
                  <a:pt x="6196712" y="1553269"/>
                </a:lnTo>
                <a:lnTo>
                  <a:pt x="6196712" y="1713606"/>
                </a:lnTo>
                <a:lnTo>
                  <a:pt x="6208355" y="1521519"/>
                </a:lnTo>
                <a:lnTo>
                  <a:pt x="6219998" y="1421506"/>
                </a:lnTo>
                <a:lnTo>
                  <a:pt x="6224656" y="1400869"/>
                </a:lnTo>
                <a:lnTo>
                  <a:pt x="6229314" y="1391344"/>
                </a:lnTo>
                <a:lnTo>
                  <a:pt x="6236300" y="1397694"/>
                </a:lnTo>
                <a:lnTo>
                  <a:pt x="6240957" y="1411981"/>
                </a:lnTo>
                <a:lnTo>
                  <a:pt x="6252600" y="1446906"/>
                </a:lnTo>
                <a:lnTo>
                  <a:pt x="6264244" y="1480244"/>
                </a:lnTo>
                <a:lnTo>
                  <a:pt x="6268902" y="1485006"/>
                </a:lnTo>
                <a:lnTo>
                  <a:pt x="6273559" y="1485006"/>
                </a:lnTo>
                <a:lnTo>
                  <a:pt x="6278216" y="1481831"/>
                </a:lnTo>
                <a:lnTo>
                  <a:pt x="6285202" y="1462781"/>
                </a:lnTo>
                <a:lnTo>
                  <a:pt x="6292188" y="1431031"/>
                </a:lnTo>
                <a:lnTo>
                  <a:pt x="6289860" y="1575494"/>
                </a:lnTo>
                <a:lnTo>
                  <a:pt x="6289860" y="1713606"/>
                </a:lnTo>
                <a:lnTo>
                  <a:pt x="6296846" y="2016819"/>
                </a:lnTo>
                <a:lnTo>
                  <a:pt x="6301504" y="1816794"/>
                </a:lnTo>
                <a:lnTo>
                  <a:pt x="6301504" y="1781869"/>
                </a:lnTo>
                <a:lnTo>
                  <a:pt x="6306161" y="1773931"/>
                </a:lnTo>
                <a:lnTo>
                  <a:pt x="6306161" y="1775519"/>
                </a:lnTo>
                <a:lnTo>
                  <a:pt x="6308490" y="1794569"/>
                </a:lnTo>
                <a:lnTo>
                  <a:pt x="6317804" y="1834256"/>
                </a:lnTo>
                <a:lnTo>
                  <a:pt x="6324790" y="1937444"/>
                </a:lnTo>
                <a:lnTo>
                  <a:pt x="6334106" y="2031106"/>
                </a:lnTo>
                <a:lnTo>
                  <a:pt x="6336434" y="2054919"/>
                </a:lnTo>
                <a:lnTo>
                  <a:pt x="6336434" y="2058094"/>
                </a:lnTo>
                <a:lnTo>
                  <a:pt x="6341092" y="2054919"/>
                </a:lnTo>
                <a:lnTo>
                  <a:pt x="6341092" y="1959669"/>
                </a:lnTo>
                <a:lnTo>
                  <a:pt x="6341092" y="1683444"/>
                </a:lnTo>
                <a:lnTo>
                  <a:pt x="6357392" y="1783456"/>
                </a:lnTo>
                <a:lnTo>
                  <a:pt x="6373694" y="1864419"/>
                </a:lnTo>
                <a:lnTo>
                  <a:pt x="6389994" y="1918394"/>
                </a:lnTo>
                <a:lnTo>
                  <a:pt x="6410953" y="1959669"/>
                </a:lnTo>
                <a:lnTo>
                  <a:pt x="6429583" y="1986656"/>
                </a:lnTo>
                <a:lnTo>
                  <a:pt x="6445884" y="2000944"/>
                </a:lnTo>
                <a:lnTo>
                  <a:pt x="6466842" y="2012056"/>
                </a:lnTo>
                <a:lnTo>
                  <a:pt x="6483144" y="2016819"/>
                </a:lnTo>
                <a:lnTo>
                  <a:pt x="6501773" y="2024756"/>
                </a:lnTo>
                <a:lnTo>
                  <a:pt x="6518074" y="2035869"/>
                </a:lnTo>
                <a:lnTo>
                  <a:pt x="6534375" y="2054919"/>
                </a:lnTo>
                <a:lnTo>
                  <a:pt x="6546018" y="2085081"/>
                </a:lnTo>
                <a:lnTo>
                  <a:pt x="6562320" y="2129531"/>
                </a:lnTo>
                <a:lnTo>
                  <a:pt x="6573963" y="2193031"/>
                </a:lnTo>
                <a:lnTo>
                  <a:pt x="6583278" y="2277169"/>
                </a:lnTo>
                <a:lnTo>
                  <a:pt x="6590264" y="2386706"/>
                </a:lnTo>
                <a:lnTo>
                  <a:pt x="6594922" y="2464494"/>
                </a:lnTo>
                <a:lnTo>
                  <a:pt x="6594922" y="2477194"/>
                </a:lnTo>
                <a:lnTo>
                  <a:pt x="6599579" y="2480369"/>
                </a:lnTo>
                <a:lnTo>
                  <a:pt x="6601908" y="2458144"/>
                </a:lnTo>
                <a:lnTo>
                  <a:pt x="6611222" y="2407344"/>
                </a:lnTo>
                <a:lnTo>
                  <a:pt x="6622866" y="2272406"/>
                </a:lnTo>
                <a:lnTo>
                  <a:pt x="6632181" y="2220019"/>
                </a:lnTo>
                <a:lnTo>
                  <a:pt x="6639167" y="2197794"/>
                </a:lnTo>
                <a:lnTo>
                  <a:pt x="6634510" y="2543869"/>
                </a:lnTo>
                <a:lnTo>
                  <a:pt x="6660126" y="2231131"/>
                </a:lnTo>
                <a:lnTo>
                  <a:pt x="6667112" y="2159694"/>
                </a:lnTo>
                <a:lnTo>
                  <a:pt x="6671769" y="2110481"/>
                </a:lnTo>
                <a:lnTo>
                  <a:pt x="6688070" y="1989831"/>
                </a:lnTo>
                <a:lnTo>
                  <a:pt x="6699714" y="1869181"/>
                </a:lnTo>
                <a:lnTo>
                  <a:pt x="6716015" y="1673919"/>
                </a:lnTo>
                <a:lnTo>
                  <a:pt x="6706700" y="1948556"/>
                </a:lnTo>
                <a:lnTo>
                  <a:pt x="6706700" y="2173981"/>
                </a:lnTo>
                <a:lnTo>
                  <a:pt x="6711358" y="2378769"/>
                </a:lnTo>
                <a:lnTo>
                  <a:pt x="6723001" y="2607369"/>
                </a:lnTo>
                <a:lnTo>
                  <a:pt x="6760260" y="1883469"/>
                </a:lnTo>
                <a:lnTo>
                  <a:pt x="6764918" y="2420044"/>
                </a:lnTo>
                <a:lnTo>
                  <a:pt x="6771904" y="2354956"/>
                </a:lnTo>
                <a:lnTo>
                  <a:pt x="6776562" y="2313681"/>
                </a:lnTo>
                <a:lnTo>
                  <a:pt x="6778890" y="2294631"/>
                </a:lnTo>
                <a:lnTo>
                  <a:pt x="6783548" y="2288281"/>
                </a:lnTo>
                <a:lnTo>
                  <a:pt x="6788205" y="2288281"/>
                </a:lnTo>
                <a:lnTo>
                  <a:pt x="6792862" y="2299394"/>
                </a:lnTo>
                <a:lnTo>
                  <a:pt x="6799848" y="2318444"/>
                </a:lnTo>
                <a:lnTo>
                  <a:pt x="6809164" y="2377181"/>
                </a:lnTo>
                <a:lnTo>
                  <a:pt x="6816150" y="2186681"/>
                </a:lnTo>
                <a:lnTo>
                  <a:pt x="6823136" y="2042219"/>
                </a:lnTo>
                <a:lnTo>
                  <a:pt x="6837108" y="1934269"/>
                </a:lnTo>
                <a:lnTo>
                  <a:pt x="6848752" y="1853306"/>
                </a:lnTo>
                <a:lnTo>
                  <a:pt x="6872038" y="1707256"/>
                </a:lnTo>
                <a:lnTo>
                  <a:pt x="6881354" y="1624706"/>
                </a:lnTo>
                <a:lnTo>
                  <a:pt x="6883682" y="1515169"/>
                </a:lnTo>
                <a:lnTo>
                  <a:pt x="6888340" y="1718369"/>
                </a:lnTo>
                <a:lnTo>
                  <a:pt x="6897654" y="1805681"/>
                </a:lnTo>
                <a:lnTo>
                  <a:pt x="6899984" y="1816794"/>
                </a:lnTo>
                <a:lnTo>
                  <a:pt x="6904640" y="1813619"/>
                </a:lnTo>
                <a:lnTo>
                  <a:pt x="6911627" y="1781869"/>
                </a:lnTo>
                <a:lnTo>
                  <a:pt x="6916284" y="1748531"/>
                </a:lnTo>
                <a:lnTo>
                  <a:pt x="6920942" y="1743769"/>
                </a:lnTo>
                <a:lnTo>
                  <a:pt x="6925599" y="1751706"/>
                </a:lnTo>
                <a:lnTo>
                  <a:pt x="6927928" y="1827906"/>
                </a:lnTo>
                <a:lnTo>
                  <a:pt x="6937242" y="2015231"/>
                </a:lnTo>
                <a:lnTo>
                  <a:pt x="6944229" y="1873944"/>
                </a:lnTo>
                <a:lnTo>
                  <a:pt x="6953544" y="1759644"/>
                </a:lnTo>
                <a:lnTo>
                  <a:pt x="6948886" y="1523106"/>
                </a:lnTo>
                <a:lnTo>
                  <a:pt x="6948886" y="1323081"/>
                </a:lnTo>
                <a:lnTo>
                  <a:pt x="6948886" y="1210369"/>
                </a:lnTo>
                <a:lnTo>
                  <a:pt x="6953544" y="1202431"/>
                </a:lnTo>
                <a:lnTo>
                  <a:pt x="6953544" y="1205606"/>
                </a:lnTo>
                <a:lnTo>
                  <a:pt x="6955872" y="1240531"/>
                </a:lnTo>
                <a:lnTo>
                  <a:pt x="6960530" y="1231006"/>
                </a:lnTo>
                <a:lnTo>
                  <a:pt x="6965188" y="1653281"/>
                </a:lnTo>
                <a:lnTo>
                  <a:pt x="6976831" y="1586606"/>
                </a:lnTo>
                <a:lnTo>
                  <a:pt x="6986146" y="1540569"/>
                </a:lnTo>
                <a:lnTo>
                  <a:pt x="6997790" y="1510406"/>
                </a:lnTo>
                <a:lnTo>
                  <a:pt x="7004776" y="1496119"/>
                </a:lnTo>
                <a:lnTo>
                  <a:pt x="7009433" y="1496119"/>
                </a:lnTo>
                <a:lnTo>
                  <a:pt x="7009433" y="1499294"/>
                </a:lnTo>
                <a:lnTo>
                  <a:pt x="7009433" y="1521519"/>
                </a:lnTo>
                <a:lnTo>
                  <a:pt x="7014090" y="1583431"/>
                </a:lnTo>
                <a:lnTo>
                  <a:pt x="7021076" y="1613594"/>
                </a:lnTo>
                <a:lnTo>
                  <a:pt x="7025734" y="1612006"/>
                </a:lnTo>
                <a:lnTo>
                  <a:pt x="7028062" y="1597719"/>
                </a:lnTo>
                <a:lnTo>
                  <a:pt x="7037378" y="1523106"/>
                </a:lnTo>
                <a:lnTo>
                  <a:pt x="7044364" y="1623119"/>
                </a:lnTo>
                <a:lnTo>
                  <a:pt x="7058336" y="1673919"/>
                </a:lnTo>
                <a:lnTo>
                  <a:pt x="7060664" y="1685031"/>
                </a:lnTo>
                <a:lnTo>
                  <a:pt x="7065322" y="1688206"/>
                </a:lnTo>
                <a:lnTo>
                  <a:pt x="7069980" y="1685031"/>
                </a:lnTo>
                <a:lnTo>
                  <a:pt x="7072308" y="1673919"/>
                </a:lnTo>
                <a:lnTo>
                  <a:pt x="7086280" y="1632644"/>
                </a:lnTo>
                <a:lnTo>
                  <a:pt x="7093266" y="1575494"/>
                </a:lnTo>
                <a:lnTo>
                  <a:pt x="7114225" y="1435794"/>
                </a:lnTo>
                <a:lnTo>
                  <a:pt x="7137512" y="1307206"/>
                </a:lnTo>
                <a:lnTo>
                  <a:pt x="7146827" y="1262756"/>
                </a:lnTo>
                <a:lnTo>
                  <a:pt x="7149156" y="1250056"/>
                </a:lnTo>
                <a:lnTo>
                  <a:pt x="7158470" y="1240531"/>
                </a:lnTo>
                <a:lnTo>
                  <a:pt x="7160800" y="1240531"/>
                </a:lnTo>
                <a:lnTo>
                  <a:pt x="7165457" y="1251644"/>
                </a:lnTo>
                <a:lnTo>
                  <a:pt x="7177100" y="1296094"/>
                </a:lnTo>
                <a:lnTo>
                  <a:pt x="7186416" y="1386581"/>
                </a:lnTo>
                <a:lnTo>
                  <a:pt x="7198059" y="1526281"/>
                </a:lnTo>
                <a:lnTo>
                  <a:pt x="7191072" y="1469131"/>
                </a:lnTo>
                <a:lnTo>
                  <a:pt x="7186416" y="1451669"/>
                </a:lnTo>
                <a:lnTo>
                  <a:pt x="7186416" y="1446906"/>
                </a:lnTo>
                <a:lnTo>
                  <a:pt x="7181758" y="1450081"/>
                </a:lnTo>
                <a:lnTo>
                  <a:pt x="7177100" y="1465956"/>
                </a:lnTo>
                <a:lnTo>
                  <a:pt x="7174772" y="1545331"/>
                </a:lnTo>
                <a:lnTo>
                  <a:pt x="7177100" y="1542156"/>
                </a:lnTo>
                <a:lnTo>
                  <a:pt x="7181758" y="1545331"/>
                </a:lnTo>
                <a:lnTo>
                  <a:pt x="7191072" y="1559619"/>
                </a:lnTo>
                <a:lnTo>
                  <a:pt x="7202716" y="1581844"/>
                </a:lnTo>
                <a:lnTo>
                  <a:pt x="7209702" y="1612006"/>
                </a:lnTo>
                <a:lnTo>
                  <a:pt x="7226004" y="1688206"/>
                </a:lnTo>
                <a:lnTo>
                  <a:pt x="7237647" y="1773931"/>
                </a:lnTo>
                <a:lnTo>
                  <a:pt x="7253948" y="1842194"/>
                </a:lnTo>
                <a:lnTo>
                  <a:pt x="7263263" y="1866006"/>
                </a:lnTo>
                <a:lnTo>
                  <a:pt x="7270249" y="1880294"/>
                </a:lnTo>
                <a:lnTo>
                  <a:pt x="7274906" y="1880294"/>
                </a:lnTo>
                <a:lnTo>
                  <a:pt x="7281892" y="1866006"/>
                </a:lnTo>
                <a:lnTo>
                  <a:pt x="7286550" y="1835844"/>
                </a:lnTo>
                <a:lnTo>
                  <a:pt x="7291208" y="1786631"/>
                </a:lnTo>
                <a:lnTo>
                  <a:pt x="7291208" y="1391344"/>
                </a:lnTo>
                <a:lnTo>
                  <a:pt x="7314494" y="1269106"/>
                </a:lnTo>
                <a:lnTo>
                  <a:pt x="7335453" y="1175444"/>
                </a:lnTo>
                <a:lnTo>
                  <a:pt x="7347096" y="1142106"/>
                </a:lnTo>
                <a:lnTo>
                  <a:pt x="7354083" y="1119881"/>
                </a:lnTo>
                <a:lnTo>
                  <a:pt x="7358740" y="1111944"/>
                </a:lnTo>
                <a:lnTo>
                  <a:pt x="7363398" y="1110356"/>
                </a:lnTo>
                <a:lnTo>
                  <a:pt x="7370384" y="1110356"/>
                </a:lnTo>
                <a:lnTo>
                  <a:pt x="7375041" y="1111944"/>
                </a:lnTo>
                <a:lnTo>
                  <a:pt x="7375041" y="667444"/>
                </a:lnTo>
                <a:lnTo>
                  <a:pt x="7382028" y="688081"/>
                </a:lnTo>
                <a:lnTo>
                  <a:pt x="7386685" y="692844"/>
                </a:lnTo>
                <a:lnTo>
                  <a:pt x="7391342" y="692844"/>
                </a:lnTo>
                <a:lnTo>
                  <a:pt x="7402986" y="681731"/>
                </a:lnTo>
                <a:lnTo>
                  <a:pt x="7412300" y="662681"/>
                </a:lnTo>
                <a:lnTo>
                  <a:pt x="7430930" y="610294"/>
                </a:lnTo>
                <a:lnTo>
                  <a:pt x="7442574" y="586481"/>
                </a:lnTo>
                <a:lnTo>
                  <a:pt x="7456546" y="567431"/>
                </a:lnTo>
                <a:lnTo>
                  <a:pt x="7463532" y="553144"/>
                </a:lnTo>
                <a:lnTo>
                  <a:pt x="7468190" y="553144"/>
                </a:lnTo>
                <a:lnTo>
                  <a:pt x="7475176" y="556319"/>
                </a:lnTo>
                <a:lnTo>
                  <a:pt x="7479834" y="561081"/>
                </a:lnTo>
                <a:lnTo>
                  <a:pt x="7484491" y="572194"/>
                </a:lnTo>
                <a:lnTo>
                  <a:pt x="7491477" y="610294"/>
                </a:lnTo>
                <a:lnTo>
                  <a:pt x="7500792" y="670619"/>
                </a:lnTo>
                <a:lnTo>
                  <a:pt x="7507778" y="757931"/>
                </a:lnTo>
                <a:lnTo>
                  <a:pt x="7514764" y="876994"/>
                </a:lnTo>
                <a:lnTo>
                  <a:pt x="7519422" y="1029394"/>
                </a:lnTo>
                <a:lnTo>
                  <a:pt x="7524079" y="930969"/>
                </a:lnTo>
                <a:lnTo>
                  <a:pt x="7528736" y="907156"/>
                </a:lnTo>
                <a:lnTo>
                  <a:pt x="7531065" y="896044"/>
                </a:lnTo>
                <a:lnTo>
                  <a:pt x="7535722" y="892869"/>
                </a:lnTo>
                <a:lnTo>
                  <a:pt x="7545038" y="900806"/>
                </a:lnTo>
                <a:lnTo>
                  <a:pt x="7552024" y="934144"/>
                </a:lnTo>
                <a:lnTo>
                  <a:pt x="7563667" y="978594"/>
                </a:lnTo>
                <a:lnTo>
                  <a:pt x="7575310" y="1019869"/>
                </a:lnTo>
                <a:lnTo>
                  <a:pt x="7579968" y="1029394"/>
                </a:lnTo>
                <a:lnTo>
                  <a:pt x="7584626" y="1035744"/>
                </a:lnTo>
                <a:lnTo>
                  <a:pt x="7589283" y="1035744"/>
                </a:lnTo>
                <a:lnTo>
                  <a:pt x="7591612" y="1032569"/>
                </a:lnTo>
                <a:lnTo>
                  <a:pt x="7596269" y="1016694"/>
                </a:lnTo>
                <a:lnTo>
                  <a:pt x="7600926" y="1356419"/>
                </a:lnTo>
                <a:lnTo>
                  <a:pt x="7612570" y="1389756"/>
                </a:lnTo>
                <a:lnTo>
                  <a:pt x="7617228" y="1397694"/>
                </a:lnTo>
                <a:lnTo>
                  <a:pt x="7619556" y="1400869"/>
                </a:lnTo>
                <a:lnTo>
                  <a:pt x="7624214" y="1400869"/>
                </a:lnTo>
                <a:lnTo>
                  <a:pt x="7628871" y="1397694"/>
                </a:lnTo>
                <a:lnTo>
                  <a:pt x="7635858" y="1381819"/>
                </a:lnTo>
                <a:lnTo>
                  <a:pt x="7647501" y="1323081"/>
                </a:lnTo>
                <a:lnTo>
                  <a:pt x="7663802" y="1246881"/>
                </a:lnTo>
                <a:lnTo>
                  <a:pt x="7673117" y="1364356"/>
                </a:lnTo>
                <a:lnTo>
                  <a:pt x="7684760" y="1451669"/>
                </a:lnTo>
                <a:lnTo>
                  <a:pt x="7696404" y="1511994"/>
                </a:lnTo>
                <a:lnTo>
                  <a:pt x="7705719" y="1551681"/>
                </a:lnTo>
                <a:lnTo>
                  <a:pt x="7708048" y="1562794"/>
                </a:lnTo>
                <a:lnTo>
                  <a:pt x="7717362" y="1567556"/>
                </a:lnTo>
                <a:lnTo>
                  <a:pt x="7722020" y="1567556"/>
                </a:lnTo>
                <a:lnTo>
                  <a:pt x="7724348" y="1564381"/>
                </a:lnTo>
                <a:lnTo>
                  <a:pt x="7735992" y="1551681"/>
                </a:lnTo>
                <a:lnTo>
                  <a:pt x="7745307" y="1526281"/>
                </a:lnTo>
                <a:lnTo>
                  <a:pt x="7766266" y="1451669"/>
                </a:lnTo>
                <a:lnTo>
                  <a:pt x="7784895" y="1375469"/>
                </a:lnTo>
                <a:lnTo>
                  <a:pt x="7796538" y="1342131"/>
                </a:lnTo>
                <a:lnTo>
                  <a:pt x="7805854" y="1318319"/>
                </a:lnTo>
                <a:lnTo>
                  <a:pt x="7812840" y="1304031"/>
                </a:lnTo>
                <a:lnTo>
                  <a:pt x="7822154" y="1304031"/>
                </a:lnTo>
                <a:lnTo>
                  <a:pt x="7824484" y="1307206"/>
                </a:lnTo>
                <a:lnTo>
                  <a:pt x="7824484" y="1405631"/>
                </a:lnTo>
                <a:lnTo>
                  <a:pt x="7878044" y="1161156"/>
                </a:lnTo>
                <a:lnTo>
                  <a:pt x="7873386" y="1261169"/>
                </a:lnTo>
                <a:lnTo>
                  <a:pt x="7878044" y="1180206"/>
                </a:lnTo>
                <a:lnTo>
                  <a:pt x="7889688" y="1059556"/>
                </a:lnTo>
                <a:lnTo>
                  <a:pt x="7894344" y="1027806"/>
                </a:lnTo>
                <a:lnTo>
                  <a:pt x="7896674" y="1024631"/>
                </a:lnTo>
                <a:lnTo>
                  <a:pt x="7901331" y="1032569"/>
                </a:lnTo>
                <a:lnTo>
                  <a:pt x="7905988" y="983356"/>
                </a:lnTo>
                <a:lnTo>
                  <a:pt x="7912974" y="953194"/>
                </a:lnTo>
                <a:lnTo>
                  <a:pt x="7917632" y="948431"/>
                </a:lnTo>
                <a:lnTo>
                  <a:pt x="7922290" y="948431"/>
                </a:lnTo>
                <a:lnTo>
                  <a:pt x="7926946" y="950019"/>
                </a:lnTo>
                <a:lnTo>
                  <a:pt x="7929276" y="959544"/>
                </a:lnTo>
                <a:lnTo>
                  <a:pt x="7938590" y="989706"/>
                </a:lnTo>
                <a:lnTo>
                  <a:pt x="7945576" y="1038919"/>
                </a:lnTo>
                <a:lnTo>
                  <a:pt x="7961878" y="1175444"/>
                </a:lnTo>
                <a:lnTo>
                  <a:pt x="7994480" y="1194494"/>
                </a:lnTo>
                <a:lnTo>
                  <a:pt x="7985164" y="1281806"/>
                </a:lnTo>
                <a:lnTo>
                  <a:pt x="7982836" y="1375469"/>
                </a:lnTo>
                <a:lnTo>
                  <a:pt x="7982836" y="1472306"/>
                </a:lnTo>
                <a:lnTo>
                  <a:pt x="7982836" y="1575494"/>
                </a:lnTo>
                <a:lnTo>
                  <a:pt x="7994480" y="1805681"/>
                </a:lnTo>
                <a:lnTo>
                  <a:pt x="7999137" y="1937444"/>
                </a:lnTo>
                <a:lnTo>
                  <a:pt x="7999137" y="2080319"/>
                </a:lnTo>
                <a:lnTo>
                  <a:pt x="8022424" y="1764406"/>
                </a:lnTo>
                <a:lnTo>
                  <a:pt x="8022424" y="1894581"/>
                </a:lnTo>
                <a:lnTo>
                  <a:pt x="8017766" y="2000944"/>
                </a:lnTo>
                <a:lnTo>
                  <a:pt x="8017766" y="2085081"/>
                </a:lnTo>
                <a:lnTo>
                  <a:pt x="8017766" y="2124769"/>
                </a:lnTo>
                <a:lnTo>
                  <a:pt x="8022424" y="2156519"/>
                </a:lnTo>
                <a:lnTo>
                  <a:pt x="8029410" y="2088256"/>
                </a:lnTo>
                <a:lnTo>
                  <a:pt x="8038725" y="2031106"/>
                </a:lnTo>
                <a:lnTo>
                  <a:pt x="8059684" y="1926331"/>
                </a:lnTo>
                <a:lnTo>
                  <a:pt x="8066670" y="1866006"/>
                </a:lnTo>
                <a:lnTo>
                  <a:pt x="8073656" y="1789806"/>
                </a:lnTo>
                <a:lnTo>
                  <a:pt x="8082970" y="1685031"/>
                </a:lnTo>
                <a:lnTo>
                  <a:pt x="8089957" y="1551681"/>
                </a:lnTo>
                <a:lnTo>
                  <a:pt x="8087628" y="1408806"/>
                </a:lnTo>
                <a:lnTo>
                  <a:pt x="8078313" y="1281806"/>
                </a:lnTo>
                <a:lnTo>
                  <a:pt x="8073656" y="1296094"/>
                </a:lnTo>
                <a:lnTo>
                  <a:pt x="8078313" y="1273869"/>
                </a:lnTo>
                <a:lnTo>
                  <a:pt x="8073656" y="1251644"/>
                </a:lnTo>
                <a:lnTo>
                  <a:pt x="8078313" y="1265931"/>
                </a:lnTo>
                <a:lnTo>
                  <a:pt x="8082970" y="1110356"/>
                </a:lnTo>
                <a:lnTo>
                  <a:pt x="8089957" y="1130994"/>
                </a:lnTo>
                <a:lnTo>
                  <a:pt x="8094614" y="1134169"/>
                </a:lnTo>
                <a:lnTo>
                  <a:pt x="8094614" y="1130994"/>
                </a:lnTo>
                <a:lnTo>
                  <a:pt x="8099272" y="1115119"/>
                </a:lnTo>
                <a:lnTo>
                  <a:pt x="8099272" y="1084956"/>
                </a:lnTo>
                <a:lnTo>
                  <a:pt x="8099272" y="857944"/>
                </a:lnTo>
                <a:lnTo>
                  <a:pt x="8106258" y="1038919"/>
                </a:lnTo>
                <a:lnTo>
                  <a:pt x="8117902" y="1150044"/>
                </a:lnTo>
                <a:lnTo>
                  <a:pt x="8127216" y="1221481"/>
                </a:lnTo>
                <a:lnTo>
                  <a:pt x="8134202" y="1269106"/>
                </a:lnTo>
                <a:lnTo>
                  <a:pt x="8138860" y="1318319"/>
                </a:lnTo>
                <a:lnTo>
                  <a:pt x="8148174" y="1386581"/>
                </a:lnTo>
                <a:lnTo>
                  <a:pt x="8155161" y="1499294"/>
                </a:lnTo>
                <a:lnTo>
                  <a:pt x="8162147" y="1677094"/>
                </a:lnTo>
                <a:lnTo>
                  <a:pt x="8159818" y="1492944"/>
                </a:lnTo>
                <a:lnTo>
                  <a:pt x="8162147" y="1442144"/>
                </a:lnTo>
                <a:lnTo>
                  <a:pt x="8166804" y="1405631"/>
                </a:lnTo>
                <a:lnTo>
                  <a:pt x="8171462" y="1386581"/>
                </a:lnTo>
                <a:lnTo>
                  <a:pt x="8176120" y="1375469"/>
                </a:lnTo>
                <a:lnTo>
                  <a:pt x="8183106" y="1375469"/>
                </a:lnTo>
                <a:lnTo>
                  <a:pt x="8187763" y="1375469"/>
                </a:lnTo>
                <a:lnTo>
                  <a:pt x="8194749" y="1375469"/>
                </a:lnTo>
                <a:lnTo>
                  <a:pt x="8204064" y="1370706"/>
                </a:lnTo>
                <a:lnTo>
                  <a:pt x="8206392" y="1353244"/>
                </a:lnTo>
                <a:lnTo>
                  <a:pt x="8211050" y="1326256"/>
                </a:lnTo>
                <a:lnTo>
                  <a:pt x="8215708" y="1281806"/>
                </a:lnTo>
                <a:lnTo>
                  <a:pt x="8215708" y="1213544"/>
                </a:lnTo>
                <a:lnTo>
                  <a:pt x="8215708" y="999231"/>
                </a:lnTo>
                <a:lnTo>
                  <a:pt x="8227351" y="1273869"/>
                </a:lnTo>
                <a:lnTo>
                  <a:pt x="8232008" y="1310381"/>
                </a:lnTo>
                <a:lnTo>
                  <a:pt x="8232008" y="1311969"/>
                </a:lnTo>
                <a:lnTo>
                  <a:pt x="8236666" y="1311969"/>
                </a:lnTo>
                <a:lnTo>
                  <a:pt x="8236666" y="1337369"/>
                </a:lnTo>
                <a:lnTo>
                  <a:pt x="8243652" y="1559619"/>
                </a:lnTo>
                <a:lnTo>
                  <a:pt x="8238994" y="1537394"/>
                </a:lnTo>
                <a:lnTo>
                  <a:pt x="8236666" y="1532631"/>
                </a:lnTo>
                <a:lnTo>
                  <a:pt x="8232008" y="1529456"/>
                </a:lnTo>
                <a:lnTo>
                  <a:pt x="8227351" y="1532631"/>
                </a:lnTo>
                <a:lnTo>
                  <a:pt x="8227351" y="1537394"/>
                </a:lnTo>
                <a:lnTo>
                  <a:pt x="8220365" y="1556444"/>
                </a:lnTo>
                <a:lnTo>
                  <a:pt x="8211050" y="1627881"/>
                </a:lnTo>
                <a:lnTo>
                  <a:pt x="8199406" y="1732656"/>
                </a:lnTo>
                <a:lnTo>
                  <a:pt x="8176120" y="1989831"/>
                </a:lnTo>
                <a:lnTo>
                  <a:pt x="8159818" y="2231131"/>
                </a:lnTo>
                <a:lnTo>
                  <a:pt x="8183106" y="2604194"/>
                </a:lnTo>
                <a:lnTo>
                  <a:pt x="8176120" y="2796281"/>
                </a:lnTo>
                <a:lnTo>
                  <a:pt x="8171462" y="2842319"/>
                </a:lnTo>
                <a:lnTo>
                  <a:pt x="8166804" y="2864544"/>
                </a:lnTo>
                <a:lnTo>
                  <a:pt x="8162147" y="2867719"/>
                </a:lnTo>
                <a:lnTo>
                  <a:pt x="8162147" y="2864544"/>
                </a:lnTo>
                <a:lnTo>
                  <a:pt x="8155161" y="2842319"/>
                </a:lnTo>
                <a:lnTo>
                  <a:pt x="8148174" y="2769294"/>
                </a:lnTo>
                <a:lnTo>
                  <a:pt x="8127216" y="2581969"/>
                </a:lnTo>
                <a:lnTo>
                  <a:pt x="8122559" y="2554981"/>
                </a:lnTo>
                <a:lnTo>
                  <a:pt x="8117902" y="2543869"/>
                </a:lnTo>
                <a:lnTo>
                  <a:pt x="8115572" y="2548631"/>
                </a:lnTo>
                <a:lnTo>
                  <a:pt x="8110915" y="2581969"/>
                </a:lnTo>
                <a:lnTo>
                  <a:pt x="8115572" y="2535931"/>
                </a:lnTo>
                <a:lnTo>
                  <a:pt x="8122559" y="2516881"/>
                </a:lnTo>
                <a:lnTo>
                  <a:pt x="8122559" y="2513706"/>
                </a:lnTo>
                <a:lnTo>
                  <a:pt x="8127216" y="2516881"/>
                </a:lnTo>
                <a:lnTo>
                  <a:pt x="8131874" y="2532756"/>
                </a:lnTo>
                <a:lnTo>
                  <a:pt x="8138860" y="2607369"/>
                </a:lnTo>
                <a:lnTo>
                  <a:pt x="8143517" y="2713731"/>
                </a:lnTo>
                <a:lnTo>
                  <a:pt x="8138860" y="2197794"/>
                </a:lnTo>
                <a:lnTo>
                  <a:pt x="8131874" y="2166044"/>
                </a:lnTo>
                <a:lnTo>
                  <a:pt x="8127216" y="2145406"/>
                </a:lnTo>
                <a:lnTo>
                  <a:pt x="8117902" y="2140644"/>
                </a:lnTo>
                <a:lnTo>
                  <a:pt x="8115572" y="2140644"/>
                </a:lnTo>
                <a:lnTo>
                  <a:pt x="8115572" y="2145406"/>
                </a:lnTo>
                <a:lnTo>
                  <a:pt x="8106258" y="2159694"/>
                </a:lnTo>
                <a:lnTo>
                  <a:pt x="8103929" y="2185094"/>
                </a:lnTo>
                <a:lnTo>
                  <a:pt x="8089957" y="2256531"/>
                </a:lnTo>
                <a:lnTo>
                  <a:pt x="8071327" y="2456556"/>
                </a:lnTo>
                <a:lnTo>
                  <a:pt x="8050368" y="2672456"/>
                </a:lnTo>
                <a:lnTo>
                  <a:pt x="8059684" y="2739131"/>
                </a:lnTo>
                <a:lnTo>
                  <a:pt x="8059684" y="2804219"/>
                </a:lnTo>
                <a:lnTo>
                  <a:pt x="8045711" y="2947094"/>
                </a:lnTo>
                <a:lnTo>
                  <a:pt x="8043382" y="3031231"/>
                </a:lnTo>
                <a:lnTo>
                  <a:pt x="8038725" y="3131244"/>
                </a:lnTo>
                <a:lnTo>
                  <a:pt x="8038725" y="3242369"/>
                </a:lnTo>
                <a:lnTo>
                  <a:pt x="8038725" y="3377306"/>
                </a:lnTo>
                <a:lnTo>
                  <a:pt x="8059684" y="3309044"/>
                </a:lnTo>
                <a:lnTo>
                  <a:pt x="8062012" y="3448744"/>
                </a:lnTo>
                <a:lnTo>
                  <a:pt x="8055026" y="3577331"/>
                </a:lnTo>
                <a:lnTo>
                  <a:pt x="8038725" y="3821806"/>
                </a:lnTo>
                <a:lnTo>
                  <a:pt x="8027082" y="3755131"/>
                </a:lnTo>
                <a:lnTo>
                  <a:pt x="8015438" y="3705919"/>
                </a:lnTo>
                <a:lnTo>
                  <a:pt x="8001466" y="3667819"/>
                </a:lnTo>
                <a:lnTo>
                  <a:pt x="7989822" y="3644006"/>
                </a:lnTo>
                <a:lnTo>
                  <a:pt x="7973521" y="3624956"/>
                </a:lnTo>
                <a:lnTo>
                  <a:pt x="7961878" y="3613844"/>
                </a:lnTo>
                <a:lnTo>
                  <a:pt x="7945576" y="3604319"/>
                </a:lnTo>
                <a:lnTo>
                  <a:pt x="7933933" y="3596381"/>
                </a:lnTo>
                <a:lnTo>
                  <a:pt x="7917632" y="3591619"/>
                </a:lnTo>
                <a:lnTo>
                  <a:pt x="7905988" y="3580506"/>
                </a:lnTo>
                <a:lnTo>
                  <a:pt x="7894344" y="3566219"/>
                </a:lnTo>
                <a:lnTo>
                  <a:pt x="7882701" y="3547169"/>
                </a:lnTo>
                <a:lnTo>
                  <a:pt x="7873386" y="3517006"/>
                </a:lnTo>
                <a:lnTo>
                  <a:pt x="7866400" y="3475731"/>
                </a:lnTo>
                <a:lnTo>
                  <a:pt x="7857086" y="3418581"/>
                </a:lnTo>
                <a:lnTo>
                  <a:pt x="7852428" y="3350319"/>
                </a:lnTo>
                <a:lnTo>
                  <a:pt x="7857086" y="3388419"/>
                </a:lnTo>
                <a:lnTo>
                  <a:pt x="7866400" y="3407469"/>
                </a:lnTo>
                <a:lnTo>
                  <a:pt x="7868729" y="3407469"/>
                </a:lnTo>
                <a:lnTo>
                  <a:pt x="7878044" y="3388419"/>
                </a:lnTo>
                <a:lnTo>
                  <a:pt x="7889688" y="3316981"/>
                </a:lnTo>
                <a:lnTo>
                  <a:pt x="7896674" y="3210619"/>
                </a:lnTo>
                <a:lnTo>
                  <a:pt x="7868729" y="2985194"/>
                </a:lnTo>
                <a:lnTo>
                  <a:pt x="7873386" y="2985194"/>
                </a:lnTo>
                <a:lnTo>
                  <a:pt x="7873386" y="2988369"/>
                </a:lnTo>
                <a:lnTo>
                  <a:pt x="7878044" y="3001069"/>
                </a:lnTo>
                <a:lnTo>
                  <a:pt x="7885030" y="3048694"/>
                </a:lnTo>
                <a:lnTo>
                  <a:pt x="7901331" y="3188394"/>
                </a:lnTo>
                <a:lnTo>
                  <a:pt x="7910646" y="3251894"/>
                </a:lnTo>
                <a:lnTo>
                  <a:pt x="7922290" y="3294756"/>
                </a:lnTo>
                <a:lnTo>
                  <a:pt x="7926946" y="3305869"/>
                </a:lnTo>
                <a:lnTo>
                  <a:pt x="7929276" y="3305869"/>
                </a:lnTo>
                <a:lnTo>
                  <a:pt x="7938590" y="3291581"/>
                </a:lnTo>
                <a:lnTo>
                  <a:pt x="7940919" y="3267769"/>
                </a:lnTo>
                <a:lnTo>
                  <a:pt x="7940919" y="2989956"/>
                </a:lnTo>
                <a:lnTo>
                  <a:pt x="7945576" y="2678806"/>
                </a:lnTo>
                <a:lnTo>
                  <a:pt x="7945576" y="2337494"/>
                </a:lnTo>
                <a:lnTo>
                  <a:pt x="7940919" y="2166044"/>
                </a:lnTo>
                <a:lnTo>
                  <a:pt x="7938590" y="1986656"/>
                </a:lnTo>
                <a:lnTo>
                  <a:pt x="7926946" y="1910456"/>
                </a:lnTo>
                <a:lnTo>
                  <a:pt x="7912974" y="1872356"/>
                </a:lnTo>
                <a:lnTo>
                  <a:pt x="7910646" y="1866006"/>
                </a:lnTo>
                <a:lnTo>
                  <a:pt x="7905988" y="1872356"/>
                </a:lnTo>
                <a:lnTo>
                  <a:pt x="7901331" y="1899344"/>
                </a:lnTo>
                <a:lnTo>
                  <a:pt x="7894344" y="1954906"/>
                </a:lnTo>
                <a:lnTo>
                  <a:pt x="7889688" y="2027931"/>
                </a:lnTo>
                <a:lnTo>
                  <a:pt x="7878044" y="2215256"/>
                </a:lnTo>
                <a:lnTo>
                  <a:pt x="7866400" y="2423219"/>
                </a:lnTo>
                <a:lnTo>
                  <a:pt x="7852428" y="2607369"/>
                </a:lnTo>
                <a:lnTo>
                  <a:pt x="7845442" y="2678806"/>
                </a:lnTo>
                <a:lnTo>
                  <a:pt x="7833798" y="2729606"/>
                </a:lnTo>
                <a:lnTo>
                  <a:pt x="7829140" y="2747069"/>
                </a:lnTo>
                <a:lnTo>
                  <a:pt x="7822154" y="2755006"/>
                </a:lnTo>
                <a:lnTo>
                  <a:pt x="7817497" y="2755006"/>
                </a:lnTo>
                <a:lnTo>
                  <a:pt x="7810511" y="2747069"/>
                </a:lnTo>
                <a:lnTo>
                  <a:pt x="7810511" y="2708969"/>
                </a:lnTo>
                <a:lnTo>
                  <a:pt x="7810511" y="2529581"/>
                </a:lnTo>
                <a:lnTo>
                  <a:pt x="7810511" y="2439094"/>
                </a:lnTo>
                <a:lnTo>
                  <a:pt x="7805854" y="2367656"/>
                </a:lnTo>
                <a:lnTo>
                  <a:pt x="7801196" y="2348606"/>
                </a:lnTo>
                <a:lnTo>
                  <a:pt x="7796538" y="2340669"/>
                </a:lnTo>
                <a:lnTo>
                  <a:pt x="7794210" y="2343844"/>
                </a:lnTo>
                <a:lnTo>
                  <a:pt x="7794210" y="2348606"/>
                </a:lnTo>
                <a:lnTo>
                  <a:pt x="7784895" y="2374006"/>
                </a:lnTo>
                <a:lnTo>
                  <a:pt x="7766266" y="2521644"/>
                </a:lnTo>
                <a:lnTo>
                  <a:pt x="7749964" y="2705794"/>
                </a:lnTo>
                <a:lnTo>
                  <a:pt x="7735992" y="2916931"/>
                </a:lnTo>
                <a:lnTo>
                  <a:pt x="7722020" y="3151881"/>
                </a:lnTo>
                <a:lnTo>
                  <a:pt x="7712705" y="3410644"/>
                </a:lnTo>
                <a:lnTo>
                  <a:pt x="7705719" y="3675756"/>
                </a:lnTo>
                <a:lnTo>
                  <a:pt x="7701062" y="3953569"/>
                </a:lnTo>
                <a:lnTo>
                  <a:pt x="7696404" y="4232969"/>
                </a:lnTo>
                <a:lnTo>
                  <a:pt x="7717362" y="4047231"/>
                </a:lnTo>
                <a:lnTo>
                  <a:pt x="7729006" y="3958331"/>
                </a:lnTo>
                <a:lnTo>
                  <a:pt x="7735992" y="3893244"/>
                </a:lnTo>
                <a:lnTo>
                  <a:pt x="7745307" y="3871019"/>
                </a:lnTo>
                <a:lnTo>
                  <a:pt x="7749964" y="3859906"/>
                </a:lnTo>
                <a:lnTo>
                  <a:pt x="7752293" y="3863081"/>
                </a:lnTo>
                <a:lnTo>
                  <a:pt x="7756950" y="3878956"/>
                </a:lnTo>
                <a:lnTo>
                  <a:pt x="7766266" y="3958331"/>
                </a:lnTo>
                <a:lnTo>
                  <a:pt x="7768594" y="4117081"/>
                </a:lnTo>
                <a:lnTo>
                  <a:pt x="7749964" y="4267894"/>
                </a:lnTo>
                <a:lnTo>
                  <a:pt x="7729006" y="4417119"/>
                </a:lnTo>
                <a:lnTo>
                  <a:pt x="7722020" y="4499669"/>
                </a:lnTo>
                <a:lnTo>
                  <a:pt x="7717362" y="4590156"/>
                </a:lnTo>
                <a:lnTo>
                  <a:pt x="7708048" y="4693344"/>
                </a:lnTo>
                <a:lnTo>
                  <a:pt x="7708048" y="4813994"/>
                </a:lnTo>
                <a:lnTo>
                  <a:pt x="7705719" y="4628256"/>
                </a:lnTo>
                <a:lnTo>
                  <a:pt x="7705719" y="4515544"/>
                </a:lnTo>
                <a:lnTo>
                  <a:pt x="7708048" y="4455219"/>
                </a:lnTo>
                <a:lnTo>
                  <a:pt x="7717362" y="4425056"/>
                </a:lnTo>
                <a:lnTo>
                  <a:pt x="7722020" y="4398069"/>
                </a:lnTo>
                <a:lnTo>
                  <a:pt x="7724348" y="4353619"/>
                </a:lnTo>
                <a:lnTo>
                  <a:pt x="7724348" y="4266306"/>
                </a:lnTo>
                <a:lnTo>
                  <a:pt x="7722020" y="4112319"/>
                </a:lnTo>
                <a:lnTo>
                  <a:pt x="7712705" y="4126606"/>
                </a:lnTo>
                <a:lnTo>
                  <a:pt x="7708048" y="4153594"/>
                </a:lnTo>
                <a:lnTo>
                  <a:pt x="7701062" y="4240906"/>
                </a:lnTo>
                <a:lnTo>
                  <a:pt x="7691746" y="4436169"/>
                </a:lnTo>
                <a:lnTo>
                  <a:pt x="7691746" y="4342506"/>
                </a:lnTo>
                <a:lnTo>
                  <a:pt x="7691746" y="4258369"/>
                </a:lnTo>
                <a:lnTo>
                  <a:pt x="7689418" y="4104381"/>
                </a:lnTo>
                <a:lnTo>
                  <a:pt x="7680103" y="3972619"/>
                </a:lnTo>
                <a:lnTo>
                  <a:pt x="7673117" y="3856731"/>
                </a:lnTo>
                <a:lnTo>
                  <a:pt x="7663802" y="3855144"/>
                </a:lnTo>
                <a:lnTo>
                  <a:pt x="7656816" y="3845619"/>
                </a:lnTo>
                <a:lnTo>
                  <a:pt x="7640514" y="3813869"/>
                </a:lnTo>
                <a:lnTo>
                  <a:pt x="7624214" y="3766244"/>
                </a:lnTo>
                <a:lnTo>
                  <a:pt x="7612570" y="3712269"/>
                </a:lnTo>
                <a:lnTo>
                  <a:pt x="7579968" y="3602731"/>
                </a:lnTo>
                <a:lnTo>
                  <a:pt x="7563667" y="3558281"/>
                </a:lnTo>
                <a:lnTo>
                  <a:pt x="7556681" y="3539231"/>
                </a:lnTo>
                <a:lnTo>
                  <a:pt x="7545038" y="3528119"/>
                </a:lnTo>
                <a:lnTo>
                  <a:pt x="7540380" y="3331269"/>
                </a:lnTo>
                <a:lnTo>
                  <a:pt x="7540380" y="3086794"/>
                </a:lnTo>
                <a:lnTo>
                  <a:pt x="7528736" y="3185219"/>
                </a:lnTo>
                <a:lnTo>
                  <a:pt x="7519422" y="3336031"/>
                </a:lnTo>
                <a:lnTo>
                  <a:pt x="7500792" y="3750369"/>
                </a:lnTo>
                <a:lnTo>
                  <a:pt x="7486820" y="4202806"/>
                </a:lnTo>
                <a:lnTo>
                  <a:pt x="7484491" y="4406006"/>
                </a:lnTo>
                <a:lnTo>
                  <a:pt x="7486820" y="4572694"/>
                </a:lnTo>
                <a:lnTo>
                  <a:pt x="7479834" y="4575869"/>
                </a:lnTo>
                <a:lnTo>
                  <a:pt x="7475176" y="4569519"/>
                </a:lnTo>
                <a:lnTo>
                  <a:pt x="7468190" y="4545706"/>
                </a:lnTo>
                <a:lnTo>
                  <a:pt x="7456546" y="4471094"/>
                </a:lnTo>
                <a:lnTo>
                  <a:pt x="7451889" y="4439344"/>
                </a:lnTo>
                <a:lnTo>
                  <a:pt x="7442574" y="4421881"/>
                </a:lnTo>
                <a:lnTo>
                  <a:pt x="7442574" y="4425056"/>
                </a:lnTo>
                <a:lnTo>
                  <a:pt x="7440245" y="4432994"/>
                </a:lnTo>
                <a:lnTo>
                  <a:pt x="7430930" y="4477444"/>
                </a:lnTo>
                <a:lnTo>
                  <a:pt x="7447232" y="4704456"/>
                </a:lnTo>
                <a:lnTo>
                  <a:pt x="7442574" y="4723506"/>
                </a:lnTo>
                <a:lnTo>
                  <a:pt x="7440245" y="4712394"/>
                </a:lnTo>
                <a:lnTo>
                  <a:pt x="7435588" y="4707631"/>
                </a:lnTo>
                <a:lnTo>
                  <a:pt x="7435588" y="4704456"/>
                </a:lnTo>
                <a:lnTo>
                  <a:pt x="7430930" y="4712394"/>
                </a:lnTo>
                <a:lnTo>
                  <a:pt x="7426273" y="4729856"/>
                </a:lnTo>
                <a:lnTo>
                  <a:pt x="7419287" y="4810819"/>
                </a:lnTo>
                <a:lnTo>
                  <a:pt x="7419287" y="4982269"/>
                </a:lnTo>
                <a:lnTo>
                  <a:pt x="7412300" y="4990206"/>
                </a:lnTo>
                <a:lnTo>
                  <a:pt x="7402986" y="4964806"/>
                </a:lnTo>
                <a:lnTo>
                  <a:pt x="7402986" y="4847331"/>
                </a:lnTo>
                <a:lnTo>
                  <a:pt x="7402986" y="4690169"/>
                </a:lnTo>
                <a:lnTo>
                  <a:pt x="7398328" y="4617144"/>
                </a:lnTo>
                <a:lnTo>
                  <a:pt x="7396000" y="4556819"/>
                </a:lnTo>
                <a:lnTo>
                  <a:pt x="7386685" y="4731444"/>
                </a:lnTo>
                <a:lnTo>
                  <a:pt x="7382028" y="4855269"/>
                </a:lnTo>
                <a:lnTo>
                  <a:pt x="7382028" y="4979094"/>
                </a:lnTo>
                <a:lnTo>
                  <a:pt x="7379698" y="4798119"/>
                </a:lnTo>
                <a:lnTo>
                  <a:pt x="7379698" y="4594919"/>
                </a:lnTo>
                <a:lnTo>
                  <a:pt x="7386685" y="4150419"/>
                </a:lnTo>
                <a:lnTo>
                  <a:pt x="7398328" y="3694806"/>
                </a:lnTo>
                <a:lnTo>
                  <a:pt x="7398328" y="3474144"/>
                </a:lnTo>
                <a:lnTo>
                  <a:pt x="7396000" y="3267769"/>
                </a:lnTo>
                <a:lnTo>
                  <a:pt x="7379698" y="2982019"/>
                </a:lnTo>
                <a:lnTo>
                  <a:pt x="7354083" y="2672456"/>
                </a:lnTo>
                <a:lnTo>
                  <a:pt x="7323810" y="2291456"/>
                </a:lnTo>
                <a:lnTo>
                  <a:pt x="7319152" y="2548631"/>
                </a:lnTo>
                <a:lnTo>
                  <a:pt x="7314494" y="2920106"/>
                </a:lnTo>
                <a:lnTo>
                  <a:pt x="7314494" y="3859906"/>
                </a:lnTo>
                <a:lnTo>
                  <a:pt x="7319152" y="4831456"/>
                </a:lnTo>
                <a:lnTo>
                  <a:pt x="7323810" y="5239444"/>
                </a:lnTo>
                <a:lnTo>
                  <a:pt x="7330796" y="5552181"/>
                </a:lnTo>
                <a:lnTo>
                  <a:pt x="7330796" y="5636319"/>
                </a:lnTo>
                <a:lnTo>
                  <a:pt x="7326138" y="5647431"/>
                </a:lnTo>
                <a:lnTo>
                  <a:pt x="7326138" y="5642669"/>
                </a:lnTo>
                <a:lnTo>
                  <a:pt x="7314494" y="5491856"/>
                </a:lnTo>
                <a:lnTo>
                  <a:pt x="7307508" y="5272781"/>
                </a:lnTo>
                <a:lnTo>
                  <a:pt x="7298194" y="5183881"/>
                </a:lnTo>
                <a:lnTo>
                  <a:pt x="7293536" y="5142606"/>
                </a:lnTo>
                <a:lnTo>
                  <a:pt x="7291208" y="5055294"/>
                </a:lnTo>
                <a:lnTo>
                  <a:pt x="7281892" y="5001319"/>
                </a:lnTo>
                <a:lnTo>
                  <a:pt x="7279564" y="4972744"/>
                </a:lnTo>
                <a:lnTo>
                  <a:pt x="7274906" y="4967981"/>
                </a:lnTo>
                <a:lnTo>
                  <a:pt x="7274906" y="4971156"/>
                </a:lnTo>
                <a:lnTo>
                  <a:pt x="7265592" y="4990206"/>
                </a:lnTo>
                <a:lnTo>
                  <a:pt x="7263263" y="5021956"/>
                </a:lnTo>
                <a:lnTo>
                  <a:pt x="7253948" y="5123556"/>
                </a:lnTo>
                <a:lnTo>
                  <a:pt x="7237647" y="5341044"/>
                </a:lnTo>
                <a:lnTo>
                  <a:pt x="7230661" y="5375969"/>
                </a:lnTo>
                <a:lnTo>
                  <a:pt x="7226004" y="5393431"/>
                </a:lnTo>
                <a:lnTo>
                  <a:pt x="7221346" y="5390256"/>
                </a:lnTo>
                <a:lnTo>
                  <a:pt x="7219018" y="5363269"/>
                </a:lnTo>
                <a:lnTo>
                  <a:pt x="7237647" y="5047356"/>
                </a:lnTo>
                <a:lnTo>
                  <a:pt x="7235318" y="5006081"/>
                </a:lnTo>
                <a:lnTo>
                  <a:pt x="7235318" y="4998144"/>
                </a:lnTo>
                <a:lnTo>
                  <a:pt x="7230661" y="4994969"/>
                </a:lnTo>
                <a:lnTo>
                  <a:pt x="7226004" y="4998144"/>
                </a:lnTo>
                <a:lnTo>
                  <a:pt x="7221346" y="5006081"/>
                </a:lnTo>
                <a:lnTo>
                  <a:pt x="7214360" y="5039419"/>
                </a:lnTo>
                <a:lnTo>
                  <a:pt x="7205045" y="5085456"/>
                </a:lnTo>
                <a:lnTo>
                  <a:pt x="7198059" y="5145781"/>
                </a:lnTo>
                <a:lnTo>
                  <a:pt x="7191072" y="5214044"/>
                </a:lnTo>
                <a:lnTo>
                  <a:pt x="7186416" y="5288656"/>
                </a:lnTo>
                <a:lnTo>
                  <a:pt x="7191072" y="5044181"/>
                </a:lnTo>
                <a:lnTo>
                  <a:pt x="7193402" y="4680644"/>
                </a:lnTo>
                <a:lnTo>
                  <a:pt x="7198059" y="4309169"/>
                </a:lnTo>
                <a:lnTo>
                  <a:pt x="7198059" y="4156769"/>
                </a:lnTo>
                <a:lnTo>
                  <a:pt x="7193402" y="4044056"/>
                </a:lnTo>
                <a:lnTo>
                  <a:pt x="7191072" y="4036119"/>
                </a:lnTo>
                <a:lnTo>
                  <a:pt x="7186416" y="4037706"/>
                </a:lnTo>
                <a:lnTo>
                  <a:pt x="7181758" y="4044056"/>
                </a:lnTo>
                <a:lnTo>
                  <a:pt x="7177100" y="4056756"/>
                </a:lnTo>
                <a:lnTo>
                  <a:pt x="7170114" y="4098031"/>
                </a:lnTo>
                <a:lnTo>
                  <a:pt x="7160800" y="4161531"/>
                </a:lnTo>
                <a:lnTo>
                  <a:pt x="7146827" y="4339331"/>
                </a:lnTo>
                <a:lnTo>
                  <a:pt x="7130526" y="4567931"/>
                </a:lnTo>
                <a:lnTo>
                  <a:pt x="7116554" y="4831456"/>
                </a:lnTo>
                <a:lnTo>
                  <a:pt x="7109568" y="5104506"/>
                </a:lnTo>
                <a:lnTo>
                  <a:pt x="7104910" y="5374381"/>
                </a:lnTo>
                <a:lnTo>
                  <a:pt x="7102582" y="5612506"/>
                </a:lnTo>
                <a:lnTo>
                  <a:pt x="7177100" y="5001319"/>
                </a:lnTo>
                <a:lnTo>
                  <a:pt x="7177100" y="5164831"/>
                </a:lnTo>
                <a:lnTo>
                  <a:pt x="7170114" y="5296594"/>
                </a:lnTo>
                <a:lnTo>
                  <a:pt x="7160800" y="5404544"/>
                </a:lnTo>
                <a:lnTo>
                  <a:pt x="7153814" y="5504556"/>
                </a:lnTo>
                <a:lnTo>
                  <a:pt x="7142170" y="5612506"/>
                </a:lnTo>
                <a:lnTo>
                  <a:pt x="7132855" y="5736331"/>
                </a:lnTo>
                <a:lnTo>
                  <a:pt x="7130526" y="5888731"/>
                </a:lnTo>
                <a:lnTo>
                  <a:pt x="7130526" y="6083994"/>
                </a:lnTo>
                <a:lnTo>
                  <a:pt x="7058336" y="5910956"/>
                </a:lnTo>
                <a:lnTo>
                  <a:pt x="7069980" y="5876031"/>
                </a:lnTo>
                <a:lnTo>
                  <a:pt x="7076966" y="5793481"/>
                </a:lnTo>
                <a:lnTo>
                  <a:pt x="7086280" y="5661719"/>
                </a:lnTo>
                <a:lnTo>
                  <a:pt x="7086280" y="5579169"/>
                </a:lnTo>
                <a:lnTo>
                  <a:pt x="7086280" y="5483919"/>
                </a:lnTo>
                <a:lnTo>
                  <a:pt x="7076966" y="5485506"/>
                </a:lnTo>
                <a:lnTo>
                  <a:pt x="7072308" y="5485506"/>
                </a:lnTo>
                <a:lnTo>
                  <a:pt x="7069980" y="5483919"/>
                </a:lnTo>
                <a:lnTo>
                  <a:pt x="7069980" y="5477569"/>
                </a:lnTo>
                <a:lnTo>
                  <a:pt x="7065322" y="5455344"/>
                </a:lnTo>
                <a:lnTo>
                  <a:pt x="7060664" y="5423594"/>
                </a:lnTo>
                <a:lnTo>
                  <a:pt x="7058336" y="5318819"/>
                </a:lnTo>
                <a:lnTo>
                  <a:pt x="7049021" y="5168006"/>
                </a:lnTo>
                <a:lnTo>
                  <a:pt x="7076966" y="4548881"/>
                </a:lnTo>
                <a:lnTo>
                  <a:pt x="7114225" y="3728144"/>
                </a:lnTo>
                <a:lnTo>
                  <a:pt x="7146827" y="2886769"/>
                </a:lnTo>
                <a:lnTo>
                  <a:pt x="7165457" y="2185094"/>
                </a:lnTo>
                <a:lnTo>
                  <a:pt x="7130526" y="2513706"/>
                </a:lnTo>
                <a:lnTo>
                  <a:pt x="7121211" y="2226369"/>
                </a:lnTo>
                <a:lnTo>
                  <a:pt x="7114225" y="2316856"/>
                </a:lnTo>
                <a:lnTo>
                  <a:pt x="7104910" y="2439094"/>
                </a:lnTo>
                <a:lnTo>
                  <a:pt x="7088609" y="2759769"/>
                </a:lnTo>
                <a:lnTo>
                  <a:pt x="7072308" y="3155056"/>
                </a:lnTo>
                <a:lnTo>
                  <a:pt x="7060664" y="3591619"/>
                </a:lnTo>
                <a:lnTo>
                  <a:pt x="7037378" y="4447281"/>
                </a:lnTo>
                <a:lnTo>
                  <a:pt x="7021076" y="5047356"/>
                </a:lnTo>
                <a:lnTo>
                  <a:pt x="7016419" y="5012431"/>
                </a:lnTo>
                <a:lnTo>
                  <a:pt x="7014090" y="4960044"/>
                </a:lnTo>
                <a:lnTo>
                  <a:pt x="7009433" y="4806056"/>
                </a:lnTo>
                <a:lnTo>
                  <a:pt x="7004776" y="4609206"/>
                </a:lnTo>
                <a:lnTo>
                  <a:pt x="7004776" y="4386956"/>
                </a:lnTo>
                <a:lnTo>
                  <a:pt x="7004776" y="3950394"/>
                </a:lnTo>
                <a:lnTo>
                  <a:pt x="7009433" y="3667819"/>
                </a:lnTo>
                <a:lnTo>
                  <a:pt x="7009433" y="3664644"/>
                </a:lnTo>
                <a:lnTo>
                  <a:pt x="7004776" y="3667819"/>
                </a:lnTo>
                <a:lnTo>
                  <a:pt x="7000118" y="3675756"/>
                </a:lnTo>
                <a:lnTo>
                  <a:pt x="6993132" y="3715444"/>
                </a:lnTo>
                <a:lnTo>
                  <a:pt x="6986146" y="3783706"/>
                </a:lnTo>
                <a:lnTo>
                  <a:pt x="6981488" y="3875781"/>
                </a:lnTo>
                <a:lnTo>
                  <a:pt x="6969845" y="4107556"/>
                </a:lnTo>
                <a:lnTo>
                  <a:pt x="6955872" y="4372669"/>
                </a:lnTo>
                <a:lnTo>
                  <a:pt x="6948886" y="4633019"/>
                </a:lnTo>
                <a:lnTo>
                  <a:pt x="6937242" y="4850506"/>
                </a:lnTo>
                <a:lnTo>
                  <a:pt x="6927928" y="4931469"/>
                </a:lnTo>
                <a:lnTo>
                  <a:pt x="6925599" y="4987031"/>
                </a:lnTo>
                <a:lnTo>
                  <a:pt x="6920942" y="5002906"/>
                </a:lnTo>
                <a:lnTo>
                  <a:pt x="6916284" y="5012431"/>
                </a:lnTo>
                <a:lnTo>
                  <a:pt x="6911627" y="5014019"/>
                </a:lnTo>
                <a:lnTo>
                  <a:pt x="6911627" y="5012431"/>
                </a:lnTo>
                <a:lnTo>
                  <a:pt x="6904640" y="5002906"/>
                </a:lnTo>
                <a:lnTo>
                  <a:pt x="6925599" y="5231506"/>
                </a:lnTo>
                <a:lnTo>
                  <a:pt x="6920942" y="5255319"/>
                </a:lnTo>
                <a:lnTo>
                  <a:pt x="6916284" y="5258494"/>
                </a:lnTo>
                <a:lnTo>
                  <a:pt x="6911627" y="5258494"/>
                </a:lnTo>
                <a:lnTo>
                  <a:pt x="6899984" y="5250556"/>
                </a:lnTo>
                <a:lnTo>
                  <a:pt x="6892997" y="5236269"/>
                </a:lnTo>
                <a:lnTo>
                  <a:pt x="6883682" y="5228331"/>
                </a:lnTo>
                <a:lnTo>
                  <a:pt x="6881354" y="5228331"/>
                </a:lnTo>
                <a:lnTo>
                  <a:pt x="6876696" y="5231506"/>
                </a:lnTo>
                <a:lnTo>
                  <a:pt x="6872038" y="5255319"/>
                </a:lnTo>
                <a:lnTo>
                  <a:pt x="6872038" y="5310881"/>
                </a:lnTo>
                <a:lnTo>
                  <a:pt x="6865052" y="5069581"/>
                </a:lnTo>
                <a:lnTo>
                  <a:pt x="6860395" y="4767956"/>
                </a:lnTo>
                <a:lnTo>
                  <a:pt x="6860395" y="4471094"/>
                </a:lnTo>
                <a:lnTo>
                  <a:pt x="6860395" y="4244081"/>
                </a:lnTo>
                <a:lnTo>
                  <a:pt x="6816150" y="5168006"/>
                </a:lnTo>
                <a:lnTo>
                  <a:pt x="6820807" y="4952106"/>
                </a:lnTo>
                <a:lnTo>
                  <a:pt x="6820807" y="4621906"/>
                </a:lnTo>
                <a:lnTo>
                  <a:pt x="6823136" y="4086919"/>
                </a:lnTo>
                <a:lnTo>
                  <a:pt x="6820807" y="4086919"/>
                </a:lnTo>
                <a:lnTo>
                  <a:pt x="6820807" y="4090094"/>
                </a:lnTo>
                <a:lnTo>
                  <a:pt x="6816150" y="4115494"/>
                </a:lnTo>
                <a:lnTo>
                  <a:pt x="6811492" y="4213919"/>
                </a:lnTo>
                <a:lnTo>
                  <a:pt x="6799848" y="4539356"/>
                </a:lnTo>
                <a:lnTo>
                  <a:pt x="6795191" y="4910831"/>
                </a:lnTo>
                <a:lnTo>
                  <a:pt x="6799848" y="5066406"/>
                </a:lnTo>
                <a:lnTo>
                  <a:pt x="6799848" y="5171181"/>
                </a:lnTo>
                <a:lnTo>
                  <a:pt x="6778890" y="4877494"/>
                </a:lnTo>
                <a:lnTo>
                  <a:pt x="6771904" y="4737794"/>
                </a:lnTo>
                <a:lnTo>
                  <a:pt x="6760260" y="4572694"/>
                </a:lnTo>
                <a:lnTo>
                  <a:pt x="6743960" y="4205981"/>
                </a:lnTo>
                <a:lnTo>
                  <a:pt x="6739302" y="4263131"/>
                </a:lnTo>
                <a:lnTo>
                  <a:pt x="6739302" y="4372669"/>
                </a:lnTo>
                <a:lnTo>
                  <a:pt x="6743960" y="4688581"/>
                </a:lnTo>
                <a:lnTo>
                  <a:pt x="6748617" y="5009256"/>
                </a:lnTo>
                <a:lnTo>
                  <a:pt x="6750946" y="5193406"/>
                </a:lnTo>
                <a:lnTo>
                  <a:pt x="6743960" y="5261669"/>
                </a:lnTo>
                <a:lnTo>
                  <a:pt x="6734644" y="5304531"/>
                </a:lnTo>
                <a:lnTo>
                  <a:pt x="6732316" y="5323581"/>
                </a:lnTo>
                <a:lnTo>
                  <a:pt x="6727658" y="5326756"/>
                </a:lnTo>
                <a:lnTo>
                  <a:pt x="6723001" y="5323581"/>
                </a:lnTo>
                <a:lnTo>
                  <a:pt x="6720672" y="5310881"/>
                </a:lnTo>
                <a:lnTo>
                  <a:pt x="6711358" y="5285481"/>
                </a:lnTo>
                <a:lnTo>
                  <a:pt x="6704371" y="5220394"/>
                </a:lnTo>
                <a:lnTo>
                  <a:pt x="6711358" y="5141019"/>
                </a:lnTo>
                <a:lnTo>
                  <a:pt x="6716015" y="5033069"/>
                </a:lnTo>
                <a:lnTo>
                  <a:pt x="6723001" y="4761606"/>
                </a:lnTo>
                <a:lnTo>
                  <a:pt x="6723001" y="4429819"/>
                </a:lnTo>
                <a:lnTo>
                  <a:pt x="6723001" y="4059931"/>
                </a:lnTo>
                <a:lnTo>
                  <a:pt x="6720672" y="3305869"/>
                </a:lnTo>
                <a:lnTo>
                  <a:pt x="6720672" y="2969319"/>
                </a:lnTo>
                <a:lnTo>
                  <a:pt x="6723001" y="2691506"/>
                </a:lnTo>
                <a:lnTo>
                  <a:pt x="6634510" y="5201344"/>
                </a:lnTo>
                <a:lnTo>
                  <a:pt x="6639167" y="4655244"/>
                </a:lnTo>
                <a:lnTo>
                  <a:pt x="6643824" y="4150419"/>
                </a:lnTo>
                <a:lnTo>
                  <a:pt x="6639167" y="4285356"/>
                </a:lnTo>
                <a:lnTo>
                  <a:pt x="6634510" y="4402831"/>
                </a:lnTo>
                <a:lnTo>
                  <a:pt x="6632181" y="4507606"/>
                </a:lnTo>
                <a:lnTo>
                  <a:pt x="6622866" y="4598094"/>
                </a:lnTo>
                <a:lnTo>
                  <a:pt x="6615880" y="4674294"/>
                </a:lnTo>
                <a:lnTo>
                  <a:pt x="6601908" y="4740969"/>
                </a:lnTo>
                <a:lnTo>
                  <a:pt x="6590264" y="4794944"/>
                </a:lnTo>
                <a:lnTo>
                  <a:pt x="6583278" y="4840981"/>
                </a:lnTo>
                <a:lnTo>
                  <a:pt x="6566977" y="4874319"/>
                </a:lnTo>
                <a:lnTo>
                  <a:pt x="6555334" y="4899719"/>
                </a:lnTo>
                <a:lnTo>
                  <a:pt x="6543690" y="4915594"/>
                </a:lnTo>
                <a:lnTo>
                  <a:pt x="6529718" y="4923531"/>
                </a:lnTo>
                <a:lnTo>
                  <a:pt x="6527389" y="4926706"/>
                </a:lnTo>
                <a:lnTo>
                  <a:pt x="6518074" y="4926706"/>
                </a:lnTo>
                <a:lnTo>
                  <a:pt x="6506430" y="4921944"/>
                </a:lnTo>
                <a:lnTo>
                  <a:pt x="6499444" y="4907656"/>
                </a:lnTo>
                <a:lnTo>
                  <a:pt x="6485472" y="4891781"/>
                </a:lnTo>
                <a:lnTo>
                  <a:pt x="6494787" y="4885431"/>
                </a:lnTo>
                <a:lnTo>
                  <a:pt x="6494787" y="4791769"/>
                </a:lnTo>
                <a:lnTo>
                  <a:pt x="6494787" y="4707631"/>
                </a:lnTo>
                <a:lnTo>
                  <a:pt x="6485472" y="4639369"/>
                </a:lnTo>
                <a:lnTo>
                  <a:pt x="6478486" y="4590156"/>
                </a:lnTo>
                <a:lnTo>
                  <a:pt x="6473828" y="4572694"/>
                </a:lnTo>
                <a:lnTo>
                  <a:pt x="6469171" y="4564756"/>
                </a:lnTo>
                <a:lnTo>
                  <a:pt x="6466842" y="4561581"/>
                </a:lnTo>
                <a:lnTo>
                  <a:pt x="6462185" y="4567931"/>
                </a:lnTo>
                <a:lnTo>
                  <a:pt x="6457528" y="4580631"/>
                </a:lnTo>
                <a:lnTo>
                  <a:pt x="6455198" y="4606031"/>
                </a:lnTo>
                <a:lnTo>
                  <a:pt x="6445884" y="4682231"/>
                </a:lnTo>
                <a:lnTo>
                  <a:pt x="6445884" y="4602856"/>
                </a:lnTo>
                <a:lnTo>
                  <a:pt x="6450542" y="4572694"/>
                </a:lnTo>
                <a:lnTo>
                  <a:pt x="6450542" y="4569519"/>
                </a:lnTo>
                <a:lnTo>
                  <a:pt x="6455198" y="4569519"/>
                </a:lnTo>
                <a:lnTo>
                  <a:pt x="6457528" y="4572694"/>
                </a:lnTo>
                <a:lnTo>
                  <a:pt x="6457528" y="4569519"/>
                </a:lnTo>
                <a:lnTo>
                  <a:pt x="6455198" y="4490144"/>
                </a:lnTo>
                <a:lnTo>
                  <a:pt x="6445884" y="4458394"/>
                </a:lnTo>
                <a:lnTo>
                  <a:pt x="6445884" y="4455219"/>
                </a:lnTo>
                <a:lnTo>
                  <a:pt x="6441226" y="4463156"/>
                </a:lnTo>
                <a:lnTo>
                  <a:pt x="6438898" y="4501256"/>
                </a:lnTo>
                <a:lnTo>
                  <a:pt x="6429583" y="4647306"/>
                </a:lnTo>
                <a:lnTo>
                  <a:pt x="6422596" y="4844156"/>
                </a:lnTo>
                <a:lnTo>
                  <a:pt x="6413282" y="5033069"/>
                </a:lnTo>
                <a:lnTo>
                  <a:pt x="6406296" y="5168006"/>
                </a:lnTo>
                <a:lnTo>
                  <a:pt x="6396981" y="5194994"/>
                </a:lnTo>
                <a:lnTo>
                  <a:pt x="6394652" y="5187056"/>
                </a:lnTo>
                <a:lnTo>
                  <a:pt x="6389994" y="5137844"/>
                </a:lnTo>
                <a:lnTo>
                  <a:pt x="6380680" y="5042594"/>
                </a:lnTo>
                <a:lnTo>
                  <a:pt x="6389994" y="5050531"/>
                </a:lnTo>
                <a:lnTo>
                  <a:pt x="6389994" y="5052119"/>
                </a:lnTo>
                <a:lnTo>
                  <a:pt x="6394652" y="5050531"/>
                </a:lnTo>
                <a:lnTo>
                  <a:pt x="6396981" y="5044181"/>
                </a:lnTo>
                <a:lnTo>
                  <a:pt x="6401638" y="5031481"/>
                </a:lnTo>
                <a:lnTo>
                  <a:pt x="6406296" y="4983856"/>
                </a:lnTo>
                <a:lnTo>
                  <a:pt x="6413282" y="4915594"/>
                </a:lnTo>
                <a:lnTo>
                  <a:pt x="6417939" y="4731444"/>
                </a:lnTo>
                <a:lnTo>
                  <a:pt x="6417939" y="4515544"/>
                </a:lnTo>
                <a:lnTo>
                  <a:pt x="6406296" y="4594919"/>
                </a:lnTo>
                <a:lnTo>
                  <a:pt x="6394652" y="4639369"/>
                </a:lnTo>
                <a:lnTo>
                  <a:pt x="6380680" y="4671119"/>
                </a:lnTo>
                <a:lnTo>
                  <a:pt x="6369036" y="4715569"/>
                </a:lnTo>
                <a:lnTo>
                  <a:pt x="6357392" y="4783831"/>
                </a:lnTo>
                <a:lnTo>
                  <a:pt x="6350406" y="4904481"/>
                </a:lnTo>
                <a:lnTo>
                  <a:pt x="6345749" y="5091806"/>
                </a:lnTo>
                <a:lnTo>
                  <a:pt x="6345749" y="5371206"/>
                </a:lnTo>
                <a:lnTo>
                  <a:pt x="6336434" y="5274369"/>
                </a:lnTo>
                <a:lnTo>
                  <a:pt x="6324790" y="5209281"/>
                </a:lnTo>
                <a:lnTo>
                  <a:pt x="6322462" y="5164831"/>
                </a:lnTo>
                <a:lnTo>
                  <a:pt x="6322462" y="5096569"/>
                </a:lnTo>
                <a:lnTo>
                  <a:pt x="6317804" y="4852094"/>
                </a:lnTo>
                <a:lnTo>
                  <a:pt x="6257258" y="5375969"/>
                </a:lnTo>
                <a:lnTo>
                  <a:pt x="6261916" y="5283894"/>
                </a:lnTo>
                <a:lnTo>
                  <a:pt x="6261916" y="5160069"/>
                </a:lnTo>
                <a:lnTo>
                  <a:pt x="6257258" y="5044181"/>
                </a:lnTo>
                <a:lnTo>
                  <a:pt x="6252600" y="4998144"/>
                </a:lnTo>
                <a:lnTo>
                  <a:pt x="6247943" y="4967981"/>
                </a:lnTo>
                <a:lnTo>
                  <a:pt x="6252600" y="4975919"/>
                </a:lnTo>
                <a:lnTo>
                  <a:pt x="6252600" y="4979094"/>
                </a:lnTo>
                <a:lnTo>
                  <a:pt x="6257258" y="4975919"/>
                </a:lnTo>
                <a:lnTo>
                  <a:pt x="6261916" y="4971156"/>
                </a:lnTo>
                <a:lnTo>
                  <a:pt x="6268902" y="4948931"/>
                </a:lnTo>
                <a:lnTo>
                  <a:pt x="6273559" y="4915594"/>
                </a:lnTo>
                <a:lnTo>
                  <a:pt x="6285202" y="4825106"/>
                </a:lnTo>
                <a:lnTo>
                  <a:pt x="6296846" y="4731444"/>
                </a:lnTo>
                <a:lnTo>
                  <a:pt x="6308490" y="4658419"/>
                </a:lnTo>
                <a:lnTo>
                  <a:pt x="6313147" y="4639369"/>
                </a:lnTo>
                <a:lnTo>
                  <a:pt x="6313147" y="4633019"/>
                </a:lnTo>
                <a:lnTo>
                  <a:pt x="6317804" y="4633019"/>
                </a:lnTo>
                <a:lnTo>
                  <a:pt x="6322462" y="4647306"/>
                </a:lnTo>
                <a:lnTo>
                  <a:pt x="6324790" y="4685406"/>
                </a:lnTo>
                <a:lnTo>
                  <a:pt x="6334106" y="4839394"/>
                </a:lnTo>
                <a:lnTo>
                  <a:pt x="6334106" y="4471094"/>
                </a:lnTo>
                <a:lnTo>
                  <a:pt x="6329448" y="4161531"/>
                </a:lnTo>
                <a:lnTo>
                  <a:pt x="6329448" y="3866256"/>
                </a:lnTo>
                <a:lnTo>
                  <a:pt x="6336434" y="3547169"/>
                </a:lnTo>
                <a:lnTo>
                  <a:pt x="6324790" y="3602731"/>
                </a:lnTo>
                <a:lnTo>
                  <a:pt x="6313147" y="3674169"/>
                </a:lnTo>
                <a:lnTo>
                  <a:pt x="6292188" y="3848794"/>
                </a:lnTo>
                <a:lnTo>
                  <a:pt x="6273559" y="4067869"/>
                </a:lnTo>
                <a:lnTo>
                  <a:pt x="6257258" y="4315519"/>
                </a:lnTo>
                <a:lnTo>
                  <a:pt x="6224656" y="4847331"/>
                </a:lnTo>
                <a:lnTo>
                  <a:pt x="6192054" y="5363269"/>
                </a:lnTo>
                <a:lnTo>
                  <a:pt x="6136164" y="4971156"/>
                </a:lnTo>
                <a:lnTo>
                  <a:pt x="6131508" y="5217219"/>
                </a:lnTo>
                <a:lnTo>
                  <a:pt x="6124521" y="4591744"/>
                </a:lnTo>
                <a:lnTo>
                  <a:pt x="6117535" y="4772719"/>
                </a:lnTo>
                <a:lnTo>
                  <a:pt x="6112878" y="4813994"/>
                </a:lnTo>
                <a:lnTo>
                  <a:pt x="6108220" y="4801294"/>
                </a:lnTo>
                <a:lnTo>
                  <a:pt x="6112878" y="4699694"/>
                </a:lnTo>
                <a:lnTo>
                  <a:pt x="6112878" y="4569519"/>
                </a:lnTo>
                <a:lnTo>
                  <a:pt x="6103562" y="4633019"/>
                </a:lnTo>
                <a:lnTo>
                  <a:pt x="6101234" y="4720331"/>
                </a:lnTo>
                <a:lnTo>
                  <a:pt x="6101234" y="4466331"/>
                </a:lnTo>
                <a:lnTo>
                  <a:pt x="6103562" y="4202806"/>
                </a:lnTo>
                <a:lnTo>
                  <a:pt x="6117535" y="3674169"/>
                </a:lnTo>
                <a:lnTo>
                  <a:pt x="6131508" y="4021831"/>
                </a:lnTo>
                <a:lnTo>
                  <a:pt x="6140822" y="3785294"/>
                </a:lnTo>
                <a:lnTo>
                  <a:pt x="6145480" y="3558281"/>
                </a:lnTo>
                <a:lnTo>
                  <a:pt x="6145480" y="3350319"/>
                </a:lnTo>
                <a:lnTo>
                  <a:pt x="6145480" y="3259831"/>
                </a:lnTo>
                <a:lnTo>
                  <a:pt x="6136164" y="3174106"/>
                </a:lnTo>
                <a:lnTo>
                  <a:pt x="6129178" y="3309044"/>
                </a:lnTo>
                <a:lnTo>
                  <a:pt x="6136164" y="2996306"/>
                </a:lnTo>
                <a:lnTo>
                  <a:pt x="6136164" y="2878831"/>
                </a:lnTo>
                <a:lnTo>
                  <a:pt x="6136164" y="2789931"/>
                </a:lnTo>
                <a:lnTo>
                  <a:pt x="6091919" y="3091556"/>
                </a:lnTo>
                <a:lnTo>
                  <a:pt x="6112878" y="3558281"/>
                </a:lnTo>
                <a:lnTo>
                  <a:pt x="6091919" y="3878956"/>
                </a:lnTo>
                <a:lnTo>
                  <a:pt x="6075618" y="4218681"/>
                </a:lnTo>
                <a:lnTo>
                  <a:pt x="6073290" y="4388544"/>
                </a:lnTo>
                <a:lnTo>
                  <a:pt x="6068632" y="4559994"/>
                </a:lnTo>
                <a:lnTo>
                  <a:pt x="6073290" y="4726681"/>
                </a:lnTo>
                <a:lnTo>
                  <a:pt x="6080276" y="4888606"/>
                </a:lnTo>
                <a:lnTo>
                  <a:pt x="6043016" y="4520306"/>
                </a:lnTo>
                <a:lnTo>
                  <a:pt x="6019729" y="4866381"/>
                </a:lnTo>
                <a:lnTo>
                  <a:pt x="6008086" y="5058469"/>
                </a:lnTo>
                <a:lnTo>
                  <a:pt x="5963840" y="5474394"/>
                </a:lnTo>
                <a:lnTo>
                  <a:pt x="5963840" y="5318819"/>
                </a:lnTo>
                <a:lnTo>
                  <a:pt x="5968497" y="5172769"/>
                </a:lnTo>
                <a:lnTo>
                  <a:pt x="5968497" y="5036244"/>
                </a:lnTo>
                <a:lnTo>
                  <a:pt x="5963840" y="4912419"/>
                </a:lnTo>
                <a:lnTo>
                  <a:pt x="5959182" y="5020369"/>
                </a:lnTo>
                <a:lnTo>
                  <a:pt x="5952196" y="5080694"/>
                </a:lnTo>
                <a:lnTo>
                  <a:pt x="5947539" y="5096569"/>
                </a:lnTo>
                <a:lnTo>
                  <a:pt x="5942882" y="5102919"/>
                </a:lnTo>
                <a:lnTo>
                  <a:pt x="5940552" y="5099744"/>
                </a:lnTo>
                <a:lnTo>
                  <a:pt x="5935895" y="5091806"/>
                </a:lnTo>
                <a:lnTo>
                  <a:pt x="5926580" y="5052119"/>
                </a:lnTo>
                <a:lnTo>
                  <a:pt x="5924252" y="4994969"/>
                </a:lnTo>
                <a:lnTo>
                  <a:pt x="5907950" y="4844156"/>
                </a:lnTo>
                <a:lnTo>
                  <a:pt x="5896307" y="4688581"/>
                </a:lnTo>
                <a:lnTo>
                  <a:pt x="5882334" y="4580631"/>
                </a:lnTo>
                <a:lnTo>
                  <a:pt x="5880006" y="4561581"/>
                </a:lnTo>
                <a:lnTo>
                  <a:pt x="5875348" y="4572694"/>
                </a:lnTo>
                <a:lnTo>
                  <a:pt x="5870691" y="4620319"/>
                </a:lnTo>
                <a:lnTo>
                  <a:pt x="5870691" y="4712394"/>
                </a:lnTo>
                <a:lnTo>
                  <a:pt x="5863705" y="4779069"/>
                </a:lnTo>
                <a:lnTo>
                  <a:pt x="5854390" y="4863206"/>
                </a:lnTo>
                <a:lnTo>
                  <a:pt x="5852062" y="5061644"/>
                </a:lnTo>
                <a:lnTo>
                  <a:pt x="5852062" y="5261669"/>
                </a:lnTo>
                <a:lnTo>
                  <a:pt x="5847404" y="5352156"/>
                </a:lnTo>
                <a:lnTo>
                  <a:pt x="5842746" y="5425181"/>
                </a:lnTo>
                <a:lnTo>
                  <a:pt x="5842746" y="5293419"/>
                </a:lnTo>
                <a:lnTo>
                  <a:pt x="5842746" y="5236269"/>
                </a:lnTo>
                <a:lnTo>
                  <a:pt x="5838089" y="5206106"/>
                </a:lnTo>
                <a:lnTo>
                  <a:pt x="5819460" y="5655369"/>
                </a:lnTo>
                <a:lnTo>
                  <a:pt x="5814802" y="5595044"/>
                </a:lnTo>
                <a:lnTo>
                  <a:pt x="5814802" y="5534719"/>
                </a:lnTo>
                <a:lnTo>
                  <a:pt x="5819460" y="5414069"/>
                </a:lnTo>
                <a:lnTo>
                  <a:pt x="5821788" y="5288656"/>
                </a:lnTo>
                <a:lnTo>
                  <a:pt x="5819460" y="5223569"/>
                </a:lnTo>
                <a:lnTo>
                  <a:pt x="5810144" y="5152131"/>
                </a:lnTo>
                <a:lnTo>
                  <a:pt x="5782200" y="5379144"/>
                </a:lnTo>
                <a:lnTo>
                  <a:pt x="5770556" y="5466456"/>
                </a:lnTo>
                <a:lnTo>
                  <a:pt x="5758913" y="5533131"/>
                </a:lnTo>
                <a:lnTo>
                  <a:pt x="5747269" y="5574406"/>
                </a:lnTo>
                <a:lnTo>
                  <a:pt x="5742612" y="5585519"/>
                </a:lnTo>
                <a:lnTo>
                  <a:pt x="5737954" y="5585519"/>
                </a:lnTo>
                <a:lnTo>
                  <a:pt x="5730968" y="5579169"/>
                </a:lnTo>
                <a:lnTo>
                  <a:pt x="5726311" y="5563294"/>
                </a:lnTo>
                <a:lnTo>
                  <a:pt x="5710010" y="5502969"/>
                </a:lnTo>
                <a:lnTo>
                  <a:pt x="5703024" y="5529956"/>
                </a:lnTo>
                <a:lnTo>
                  <a:pt x="5698366" y="5571231"/>
                </a:lnTo>
                <a:lnTo>
                  <a:pt x="5693709" y="5683944"/>
                </a:lnTo>
                <a:lnTo>
                  <a:pt x="5693709" y="5826819"/>
                </a:lnTo>
                <a:lnTo>
                  <a:pt x="5698366" y="5977631"/>
                </a:lnTo>
                <a:lnTo>
                  <a:pt x="5703024" y="6117331"/>
                </a:lnTo>
                <a:lnTo>
                  <a:pt x="5705352" y="6231631"/>
                </a:lnTo>
                <a:lnTo>
                  <a:pt x="5703024" y="6299894"/>
                </a:lnTo>
                <a:lnTo>
                  <a:pt x="5698366" y="6311006"/>
                </a:lnTo>
                <a:lnTo>
                  <a:pt x="5693709" y="6311006"/>
                </a:lnTo>
                <a:lnTo>
                  <a:pt x="5689052" y="6306244"/>
                </a:lnTo>
                <a:lnTo>
                  <a:pt x="5686722" y="6023669"/>
                </a:lnTo>
                <a:lnTo>
                  <a:pt x="5682065" y="5760144"/>
                </a:lnTo>
                <a:lnTo>
                  <a:pt x="5670422" y="5555356"/>
                </a:lnTo>
                <a:lnTo>
                  <a:pt x="5661107" y="5485506"/>
                </a:lnTo>
                <a:lnTo>
                  <a:pt x="5658778" y="5464869"/>
                </a:lnTo>
                <a:lnTo>
                  <a:pt x="5654120" y="5447406"/>
                </a:lnTo>
                <a:lnTo>
                  <a:pt x="5644806" y="5642669"/>
                </a:lnTo>
                <a:lnTo>
                  <a:pt x="5642477" y="5831581"/>
                </a:lnTo>
                <a:lnTo>
                  <a:pt x="5633162" y="6007794"/>
                </a:lnTo>
                <a:lnTo>
                  <a:pt x="5626176" y="6083994"/>
                </a:lnTo>
                <a:lnTo>
                  <a:pt x="5616861" y="6149081"/>
                </a:lnTo>
                <a:lnTo>
                  <a:pt x="5621518" y="5587106"/>
                </a:lnTo>
                <a:lnTo>
                  <a:pt x="5605218" y="5612506"/>
                </a:lnTo>
                <a:lnTo>
                  <a:pt x="5600560" y="5615681"/>
                </a:lnTo>
                <a:lnTo>
                  <a:pt x="5598232" y="5617269"/>
                </a:lnTo>
                <a:lnTo>
                  <a:pt x="5598232" y="5615681"/>
                </a:lnTo>
                <a:lnTo>
                  <a:pt x="5593574" y="5609331"/>
                </a:lnTo>
                <a:lnTo>
                  <a:pt x="5588916" y="5579169"/>
                </a:lnTo>
                <a:lnTo>
                  <a:pt x="5586588" y="5525194"/>
                </a:lnTo>
                <a:lnTo>
                  <a:pt x="5581930" y="5304531"/>
                </a:lnTo>
                <a:lnTo>
                  <a:pt x="5581930" y="5293419"/>
                </a:lnTo>
                <a:lnTo>
                  <a:pt x="5570287" y="5423594"/>
                </a:lnTo>
                <a:lnTo>
                  <a:pt x="5560972" y="5455344"/>
                </a:lnTo>
                <a:lnTo>
                  <a:pt x="5556314" y="5469631"/>
                </a:lnTo>
                <a:lnTo>
                  <a:pt x="5553986" y="5466456"/>
                </a:lnTo>
                <a:lnTo>
                  <a:pt x="5549328" y="5453756"/>
                </a:lnTo>
                <a:lnTo>
                  <a:pt x="5542342" y="5398194"/>
                </a:lnTo>
                <a:lnTo>
                  <a:pt x="5537685" y="5461694"/>
                </a:lnTo>
                <a:lnTo>
                  <a:pt x="5533028" y="5533131"/>
                </a:lnTo>
                <a:lnTo>
                  <a:pt x="5533028" y="5706169"/>
                </a:lnTo>
                <a:lnTo>
                  <a:pt x="5537685" y="5903019"/>
                </a:lnTo>
                <a:lnTo>
                  <a:pt x="5542342" y="6107806"/>
                </a:lnTo>
                <a:lnTo>
                  <a:pt x="5560972" y="6495156"/>
                </a:lnTo>
                <a:lnTo>
                  <a:pt x="5572616" y="6758681"/>
                </a:lnTo>
                <a:lnTo>
                  <a:pt x="5560972" y="6630094"/>
                </a:lnTo>
                <a:lnTo>
                  <a:pt x="5553986" y="6541194"/>
                </a:lnTo>
                <a:lnTo>
                  <a:pt x="5533028" y="6426894"/>
                </a:lnTo>
                <a:lnTo>
                  <a:pt x="5526042" y="6360219"/>
                </a:lnTo>
                <a:lnTo>
                  <a:pt x="5516726" y="6264969"/>
                </a:lnTo>
                <a:lnTo>
                  <a:pt x="5509740" y="6118919"/>
                </a:lnTo>
                <a:lnTo>
                  <a:pt x="5500426" y="5906194"/>
                </a:lnTo>
                <a:lnTo>
                  <a:pt x="5528370" y="5755381"/>
                </a:lnTo>
                <a:lnTo>
                  <a:pt x="5516726" y="5647431"/>
                </a:lnTo>
                <a:lnTo>
                  <a:pt x="5509740" y="5587106"/>
                </a:lnTo>
                <a:lnTo>
                  <a:pt x="5505083" y="5571231"/>
                </a:lnTo>
                <a:lnTo>
                  <a:pt x="5500426" y="5563294"/>
                </a:lnTo>
                <a:lnTo>
                  <a:pt x="5500426" y="5560119"/>
                </a:lnTo>
                <a:lnTo>
                  <a:pt x="5498096" y="5560119"/>
                </a:lnTo>
                <a:lnTo>
                  <a:pt x="5493440" y="5564881"/>
                </a:lnTo>
                <a:lnTo>
                  <a:pt x="5488782" y="5595044"/>
                </a:lnTo>
                <a:lnTo>
                  <a:pt x="5484124" y="5636319"/>
                </a:lnTo>
                <a:lnTo>
                  <a:pt x="5472481" y="5744269"/>
                </a:lnTo>
                <a:lnTo>
                  <a:pt x="5467824" y="5823644"/>
                </a:lnTo>
                <a:lnTo>
                  <a:pt x="5465494" y="5836344"/>
                </a:lnTo>
                <a:lnTo>
                  <a:pt x="5460838" y="5826819"/>
                </a:lnTo>
                <a:lnTo>
                  <a:pt x="5453851" y="5688706"/>
                </a:lnTo>
                <a:lnTo>
                  <a:pt x="5444536" y="5360094"/>
                </a:lnTo>
                <a:lnTo>
                  <a:pt x="5449194" y="5363269"/>
                </a:lnTo>
                <a:lnTo>
                  <a:pt x="5456180" y="5344219"/>
                </a:lnTo>
                <a:lnTo>
                  <a:pt x="5465494" y="5307706"/>
                </a:lnTo>
                <a:lnTo>
                  <a:pt x="5467824" y="5255319"/>
                </a:lnTo>
                <a:lnTo>
                  <a:pt x="5477138" y="5112444"/>
                </a:lnTo>
                <a:lnTo>
                  <a:pt x="5481796" y="4937819"/>
                </a:lnTo>
                <a:lnTo>
                  <a:pt x="5472481" y="4850506"/>
                </a:lnTo>
                <a:lnTo>
                  <a:pt x="5449194" y="5072756"/>
                </a:lnTo>
                <a:lnTo>
                  <a:pt x="5456180" y="5052119"/>
                </a:lnTo>
                <a:lnTo>
                  <a:pt x="5449194" y="5082281"/>
                </a:lnTo>
                <a:lnTo>
                  <a:pt x="5439879" y="5096569"/>
                </a:lnTo>
                <a:lnTo>
                  <a:pt x="5437550" y="5096569"/>
                </a:lnTo>
                <a:lnTo>
                  <a:pt x="5437550" y="5082281"/>
                </a:lnTo>
                <a:lnTo>
                  <a:pt x="5444536" y="5074344"/>
                </a:lnTo>
                <a:lnTo>
                  <a:pt x="5449194" y="4998144"/>
                </a:lnTo>
                <a:lnTo>
                  <a:pt x="5453851" y="4952106"/>
                </a:lnTo>
                <a:lnTo>
                  <a:pt x="5456180" y="4901306"/>
                </a:lnTo>
                <a:lnTo>
                  <a:pt x="5449194" y="4809231"/>
                </a:lnTo>
                <a:lnTo>
                  <a:pt x="5432892" y="5069581"/>
                </a:lnTo>
                <a:lnTo>
                  <a:pt x="5437550" y="5082281"/>
                </a:lnTo>
                <a:lnTo>
                  <a:pt x="5432892" y="5082281"/>
                </a:lnTo>
                <a:lnTo>
                  <a:pt x="5421249" y="5314056"/>
                </a:lnTo>
                <a:lnTo>
                  <a:pt x="5428236" y="5420419"/>
                </a:lnTo>
                <a:lnTo>
                  <a:pt x="5421249" y="5348981"/>
                </a:lnTo>
                <a:lnTo>
                  <a:pt x="5416592" y="5406131"/>
                </a:lnTo>
                <a:lnTo>
                  <a:pt x="5416592" y="5374381"/>
                </a:lnTo>
                <a:lnTo>
                  <a:pt x="5367688" y="5458519"/>
                </a:lnTo>
                <a:lnTo>
                  <a:pt x="5372346" y="5414069"/>
                </a:lnTo>
                <a:lnTo>
                  <a:pt x="5372346" y="5352156"/>
                </a:lnTo>
                <a:lnTo>
                  <a:pt x="5367688" y="5293419"/>
                </a:lnTo>
                <a:lnTo>
                  <a:pt x="5365360" y="5261669"/>
                </a:lnTo>
                <a:lnTo>
                  <a:pt x="5328100" y="5555356"/>
                </a:lnTo>
                <a:lnTo>
                  <a:pt x="5332758" y="5444231"/>
                </a:lnTo>
                <a:lnTo>
                  <a:pt x="5332758" y="5333106"/>
                </a:lnTo>
                <a:lnTo>
                  <a:pt x="5323443" y="5231506"/>
                </a:lnTo>
                <a:lnTo>
                  <a:pt x="5311800" y="5148956"/>
                </a:lnTo>
                <a:lnTo>
                  <a:pt x="5307142" y="5137844"/>
                </a:lnTo>
                <a:lnTo>
                  <a:pt x="5304814" y="5134669"/>
                </a:lnTo>
                <a:lnTo>
                  <a:pt x="5300156" y="5141019"/>
                </a:lnTo>
                <a:lnTo>
                  <a:pt x="5295498" y="5153719"/>
                </a:lnTo>
                <a:lnTo>
                  <a:pt x="5293170" y="5198169"/>
                </a:lnTo>
                <a:lnTo>
                  <a:pt x="5288512" y="5266431"/>
                </a:lnTo>
                <a:lnTo>
                  <a:pt x="5279198" y="5444231"/>
                </a:lnTo>
                <a:lnTo>
                  <a:pt x="5272212" y="5645844"/>
                </a:lnTo>
                <a:lnTo>
                  <a:pt x="5267554" y="5828406"/>
                </a:lnTo>
                <a:lnTo>
                  <a:pt x="5260568" y="5949056"/>
                </a:lnTo>
                <a:lnTo>
                  <a:pt x="5255910" y="5974456"/>
                </a:lnTo>
                <a:lnTo>
                  <a:pt x="5255910" y="5977631"/>
                </a:lnTo>
                <a:lnTo>
                  <a:pt x="5251253" y="5968106"/>
                </a:lnTo>
                <a:lnTo>
                  <a:pt x="5248924" y="5925244"/>
                </a:lnTo>
                <a:lnTo>
                  <a:pt x="5239610" y="5842694"/>
                </a:lnTo>
                <a:lnTo>
                  <a:pt x="5244267" y="5842694"/>
                </a:lnTo>
                <a:lnTo>
                  <a:pt x="5244267" y="5836344"/>
                </a:lnTo>
                <a:lnTo>
                  <a:pt x="5248924" y="5817294"/>
                </a:lnTo>
                <a:lnTo>
                  <a:pt x="5248924" y="5798244"/>
                </a:lnTo>
                <a:lnTo>
                  <a:pt x="5248924" y="5793481"/>
                </a:lnTo>
                <a:lnTo>
                  <a:pt x="5251253" y="5796656"/>
                </a:lnTo>
                <a:lnTo>
                  <a:pt x="5232623" y="5544244"/>
                </a:lnTo>
                <a:lnTo>
                  <a:pt x="5232623" y="5741094"/>
                </a:lnTo>
                <a:lnTo>
                  <a:pt x="5227966" y="5895081"/>
                </a:lnTo>
                <a:lnTo>
                  <a:pt x="5223308" y="6004619"/>
                </a:lnTo>
                <a:lnTo>
                  <a:pt x="5216322" y="6083994"/>
                </a:lnTo>
                <a:lnTo>
                  <a:pt x="5207008" y="6136381"/>
                </a:lnTo>
                <a:lnTo>
                  <a:pt x="5195364" y="6168131"/>
                </a:lnTo>
                <a:lnTo>
                  <a:pt x="5188378" y="6188769"/>
                </a:lnTo>
                <a:lnTo>
                  <a:pt x="5174406" y="6198294"/>
                </a:lnTo>
                <a:lnTo>
                  <a:pt x="5167419" y="6212581"/>
                </a:lnTo>
                <a:lnTo>
                  <a:pt x="5155776" y="6231631"/>
                </a:lnTo>
                <a:lnTo>
                  <a:pt x="5146460" y="6264969"/>
                </a:lnTo>
                <a:lnTo>
                  <a:pt x="5139474" y="6317356"/>
                </a:lnTo>
                <a:lnTo>
                  <a:pt x="5130160" y="6393556"/>
                </a:lnTo>
                <a:lnTo>
                  <a:pt x="5127831" y="6506269"/>
                </a:lnTo>
                <a:lnTo>
                  <a:pt x="5123174" y="6660256"/>
                </a:lnTo>
                <a:lnTo>
                  <a:pt x="5118516" y="6857106"/>
                </a:lnTo>
                <a:lnTo>
                  <a:pt x="5111530" y="6599931"/>
                </a:lnTo>
                <a:lnTo>
                  <a:pt x="5111530" y="6525319"/>
                </a:lnTo>
                <a:lnTo>
                  <a:pt x="5116188" y="6461819"/>
                </a:lnTo>
                <a:lnTo>
                  <a:pt x="5130160" y="6309419"/>
                </a:lnTo>
                <a:lnTo>
                  <a:pt x="5139474" y="6185594"/>
                </a:lnTo>
                <a:lnTo>
                  <a:pt x="5151118" y="6007794"/>
                </a:lnTo>
                <a:lnTo>
                  <a:pt x="5123174" y="5664894"/>
                </a:lnTo>
                <a:lnTo>
                  <a:pt x="5127831" y="5653781"/>
                </a:lnTo>
                <a:lnTo>
                  <a:pt x="5130160" y="5650606"/>
                </a:lnTo>
                <a:lnTo>
                  <a:pt x="5139474" y="5655369"/>
                </a:lnTo>
                <a:lnTo>
                  <a:pt x="5144132" y="5655369"/>
                </a:lnTo>
                <a:lnTo>
                  <a:pt x="5146460" y="5647431"/>
                </a:lnTo>
                <a:lnTo>
                  <a:pt x="5155776" y="5628381"/>
                </a:lnTo>
                <a:lnTo>
                  <a:pt x="5160433" y="5593456"/>
                </a:lnTo>
                <a:lnTo>
                  <a:pt x="5144132" y="5455344"/>
                </a:lnTo>
                <a:lnTo>
                  <a:pt x="5139474" y="5423594"/>
                </a:lnTo>
                <a:lnTo>
                  <a:pt x="5130160" y="5406131"/>
                </a:lnTo>
                <a:lnTo>
                  <a:pt x="5127831" y="5406131"/>
                </a:lnTo>
                <a:lnTo>
                  <a:pt x="5123174" y="5412481"/>
                </a:lnTo>
                <a:lnTo>
                  <a:pt x="5118516" y="5431531"/>
                </a:lnTo>
                <a:lnTo>
                  <a:pt x="5106872" y="5510906"/>
                </a:lnTo>
                <a:lnTo>
                  <a:pt x="5095229" y="5625206"/>
                </a:lnTo>
                <a:lnTo>
                  <a:pt x="5083586" y="5766494"/>
                </a:lnTo>
                <a:lnTo>
                  <a:pt x="5067284" y="6037956"/>
                </a:lnTo>
                <a:lnTo>
                  <a:pt x="5062627" y="5949056"/>
                </a:lnTo>
                <a:lnTo>
                  <a:pt x="5062627" y="5826819"/>
                </a:lnTo>
                <a:lnTo>
                  <a:pt x="5062627" y="5549006"/>
                </a:lnTo>
                <a:lnTo>
                  <a:pt x="5062627" y="5425181"/>
                </a:lnTo>
                <a:lnTo>
                  <a:pt x="5057970" y="5341044"/>
                </a:lnTo>
                <a:lnTo>
                  <a:pt x="5055641" y="5314056"/>
                </a:lnTo>
                <a:lnTo>
                  <a:pt x="5050984" y="5304531"/>
                </a:lnTo>
                <a:lnTo>
                  <a:pt x="5046326" y="5304531"/>
                </a:lnTo>
                <a:lnTo>
                  <a:pt x="5046326" y="5310881"/>
                </a:lnTo>
                <a:lnTo>
                  <a:pt x="5039340" y="5337869"/>
                </a:lnTo>
                <a:lnTo>
                  <a:pt x="5030025" y="5387081"/>
                </a:lnTo>
                <a:lnTo>
                  <a:pt x="5023039" y="5442644"/>
                </a:lnTo>
                <a:lnTo>
                  <a:pt x="5013724" y="5574406"/>
                </a:lnTo>
                <a:lnTo>
                  <a:pt x="5013724" y="5722044"/>
                </a:lnTo>
                <a:lnTo>
                  <a:pt x="5018382" y="5877619"/>
                </a:lnTo>
                <a:lnTo>
                  <a:pt x="5027696" y="6163369"/>
                </a:lnTo>
                <a:lnTo>
                  <a:pt x="5023039" y="6272906"/>
                </a:lnTo>
                <a:lnTo>
                  <a:pt x="5018382" y="6317356"/>
                </a:lnTo>
                <a:lnTo>
                  <a:pt x="5013724" y="6347519"/>
                </a:lnTo>
                <a:lnTo>
                  <a:pt x="4990437" y="5729981"/>
                </a:lnTo>
                <a:lnTo>
                  <a:pt x="4974136" y="5866506"/>
                </a:lnTo>
                <a:lnTo>
                  <a:pt x="4967150" y="5910956"/>
                </a:lnTo>
                <a:lnTo>
                  <a:pt x="4957835" y="5936356"/>
                </a:lnTo>
                <a:lnTo>
                  <a:pt x="4953178" y="5949056"/>
                </a:lnTo>
                <a:lnTo>
                  <a:pt x="4950849" y="5949056"/>
                </a:lnTo>
                <a:lnTo>
                  <a:pt x="4946191" y="5949056"/>
                </a:lnTo>
                <a:lnTo>
                  <a:pt x="4939205" y="5941119"/>
                </a:lnTo>
                <a:lnTo>
                  <a:pt x="4934548" y="5922069"/>
                </a:lnTo>
                <a:lnTo>
                  <a:pt x="4918247" y="5869681"/>
                </a:lnTo>
                <a:lnTo>
                  <a:pt x="4906603" y="5806181"/>
                </a:lnTo>
                <a:lnTo>
                  <a:pt x="4894960" y="5745856"/>
                </a:lnTo>
                <a:lnTo>
                  <a:pt x="4878659" y="5702994"/>
                </a:lnTo>
                <a:lnTo>
                  <a:pt x="4869344" y="5785544"/>
                </a:lnTo>
                <a:lnTo>
                  <a:pt x="4864686" y="5883969"/>
                </a:lnTo>
                <a:lnTo>
                  <a:pt x="4857700" y="5845869"/>
                </a:lnTo>
                <a:lnTo>
                  <a:pt x="4853043" y="5834756"/>
                </a:lnTo>
                <a:lnTo>
                  <a:pt x="4850714" y="5831581"/>
                </a:lnTo>
                <a:lnTo>
                  <a:pt x="4846057" y="5831581"/>
                </a:lnTo>
                <a:lnTo>
                  <a:pt x="4841399" y="5836344"/>
                </a:lnTo>
                <a:lnTo>
                  <a:pt x="4834413" y="5861744"/>
                </a:lnTo>
                <a:lnTo>
                  <a:pt x="4820441" y="5944294"/>
                </a:lnTo>
                <a:lnTo>
                  <a:pt x="4806469" y="6058594"/>
                </a:lnTo>
                <a:lnTo>
                  <a:pt x="4792496" y="6174481"/>
                </a:lnTo>
                <a:lnTo>
                  <a:pt x="4776195" y="6268144"/>
                </a:lnTo>
                <a:lnTo>
                  <a:pt x="4773867" y="6298306"/>
                </a:lnTo>
                <a:lnTo>
                  <a:pt x="4764552" y="6314181"/>
                </a:lnTo>
                <a:lnTo>
                  <a:pt x="4762223" y="6314181"/>
                </a:lnTo>
                <a:lnTo>
                  <a:pt x="4762223" y="6309419"/>
                </a:lnTo>
                <a:lnTo>
                  <a:pt x="4752908" y="6284019"/>
                </a:lnTo>
                <a:lnTo>
                  <a:pt x="4757566" y="6228456"/>
                </a:lnTo>
                <a:lnTo>
                  <a:pt x="4752908" y="6166544"/>
                </a:lnTo>
                <a:lnTo>
                  <a:pt x="4748251" y="6023669"/>
                </a:lnTo>
                <a:lnTo>
                  <a:pt x="4741265" y="5876031"/>
                </a:lnTo>
                <a:lnTo>
                  <a:pt x="4731950" y="5745856"/>
                </a:lnTo>
                <a:lnTo>
                  <a:pt x="4680718" y="6128444"/>
                </a:lnTo>
                <a:lnTo>
                  <a:pt x="4687704" y="6057006"/>
                </a:lnTo>
                <a:lnTo>
                  <a:pt x="4697019" y="5971281"/>
                </a:lnTo>
                <a:lnTo>
                  <a:pt x="4701676" y="5766494"/>
                </a:lnTo>
                <a:lnTo>
                  <a:pt x="4708662" y="5266431"/>
                </a:lnTo>
                <a:lnTo>
                  <a:pt x="4701676" y="5285481"/>
                </a:lnTo>
                <a:lnTo>
                  <a:pt x="4697019" y="5318819"/>
                </a:lnTo>
                <a:lnTo>
                  <a:pt x="4687704" y="5401369"/>
                </a:lnTo>
                <a:lnTo>
                  <a:pt x="4680718" y="5485506"/>
                </a:lnTo>
                <a:lnTo>
                  <a:pt x="4673732" y="5544244"/>
                </a:lnTo>
                <a:lnTo>
                  <a:pt x="4680718" y="5348981"/>
                </a:lnTo>
                <a:lnTo>
                  <a:pt x="4680718" y="5244206"/>
                </a:lnTo>
                <a:lnTo>
                  <a:pt x="4676060" y="5133081"/>
                </a:lnTo>
                <a:lnTo>
                  <a:pt x="4620171" y="5715694"/>
                </a:lnTo>
                <a:lnTo>
                  <a:pt x="4629486" y="5785544"/>
                </a:lnTo>
                <a:lnTo>
                  <a:pt x="4636472" y="5817294"/>
                </a:lnTo>
                <a:lnTo>
                  <a:pt x="4631815" y="5826819"/>
                </a:lnTo>
                <a:lnTo>
                  <a:pt x="4624829" y="5847456"/>
                </a:lnTo>
                <a:lnTo>
                  <a:pt x="4615514" y="5876031"/>
                </a:lnTo>
                <a:lnTo>
                  <a:pt x="4608528" y="5895081"/>
                </a:lnTo>
                <a:lnTo>
                  <a:pt x="4603870" y="5899844"/>
                </a:lnTo>
                <a:lnTo>
                  <a:pt x="4599213" y="5903019"/>
                </a:lnTo>
                <a:lnTo>
                  <a:pt x="4596884" y="5896669"/>
                </a:lnTo>
                <a:lnTo>
                  <a:pt x="4587569" y="5887144"/>
                </a:lnTo>
                <a:lnTo>
                  <a:pt x="4580583" y="5839519"/>
                </a:lnTo>
                <a:lnTo>
                  <a:pt x="4571268" y="5755381"/>
                </a:lnTo>
                <a:lnTo>
                  <a:pt x="4580583" y="5555356"/>
                </a:lnTo>
                <a:lnTo>
                  <a:pt x="4585241" y="5352156"/>
                </a:lnTo>
                <a:lnTo>
                  <a:pt x="4587569" y="5466456"/>
                </a:lnTo>
                <a:lnTo>
                  <a:pt x="4596884" y="5522019"/>
                </a:lnTo>
                <a:lnTo>
                  <a:pt x="4596884" y="5529956"/>
                </a:lnTo>
                <a:lnTo>
                  <a:pt x="4599213" y="5526781"/>
                </a:lnTo>
                <a:lnTo>
                  <a:pt x="4603870" y="5495031"/>
                </a:lnTo>
                <a:lnTo>
                  <a:pt x="4613185" y="5344219"/>
                </a:lnTo>
                <a:lnTo>
                  <a:pt x="4620171" y="5145781"/>
                </a:lnTo>
                <a:lnTo>
                  <a:pt x="4613185" y="5153719"/>
                </a:lnTo>
                <a:lnTo>
                  <a:pt x="4608528" y="5156894"/>
                </a:lnTo>
                <a:lnTo>
                  <a:pt x="4603870" y="5156894"/>
                </a:lnTo>
                <a:lnTo>
                  <a:pt x="4599213" y="5152131"/>
                </a:lnTo>
                <a:lnTo>
                  <a:pt x="4596884" y="5129906"/>
                </a:lnTo>
                <a:lnTo>
                  <a:pt x="4596884" y="5091806"/>
                </a:lnTo>
                <a:lnTo>
                  <a:pt x="4596884" y="4971156"/>
                </a:lnTo>
                <a:lnTo>
                  <a:pt x="4596884" y="4893369"/>
                </a:lnTo>
                <a:lnTo>
                  <a:pt x="4592227" y="4802881"/>
                </a:lnTo>
                <a:lnTo>
                  <a:pt x="4585241" y="4810819"/>
                </a:lnTo>
                <a:lnTo>
                  <a:pt x="4580583" y="4828281"/>
                </a:lnTo>
                <a:lnTo>
                  <a:pt x="4571268" y="4888606"/>
                </a:lnTo>
                <a:lnTo>
                  <a:pt x="4568940" y="4979094"/>
                </a:lnTo>
                <a:lnTo>
                  <a:pt x="4564282" y="5088631"/>
                </a:lnTo>
                <a:lnTo>
                  <a:pt x="4554967" y="5337869"/>
                </a:lnTo>
                <a:lnTo>
                  <a:pt x="4559625" y="5585519"/>
                </a:lnTo>
                <a:lnTo>
                  <a:pt x="4540995" y="5496619"/>
                </a:lnTo>
                <a:lnTo>
                  <a:pt x="4531680" y="5472806"/>
                </a:lnTo>
                <a:lnTo>
                  <a:pt x="4527023" y="5466456"/>
                </a:lnTo>
                <a:lnTo>
                  <a:pt x="4524694" y="5464869"/>
                </a:lnTo>
                <a:lnTo>
                  <a:pt x="4520037" y="5469631"/>
                </a:lnTo>
                <a:lnTo>
                  <a:pt x="4515379" y="5480744"/>
                </a:lnTo>
                <a:lnTo>
                  <a:pt x="4508393" y="5525194"/>
                </a:lnTo>
                <a:lnTo>
                  <a:pt x="4487435" y="5714106"/>
                </a:lnTo>
                <a:lnTo>
                  <a:pt x="4496749" y="5233094"/>
                </a:lnTo>
                <a:lnTo>
                  <a:pt x="4468805" y="5383906"/>
                </a:lnTo>
                <a:lnTo>
                  <a:pt x="4487435" y="4798119"/>
                </a:lnTo>
                <a:lnTo>
                  <a:pt x="4480448" y="4753669"/>
                </a:lnTo>
                <a:lnTo>
                  <a:pt x="4475791" y="4742556"/>
                </a:lnTo>
                <a:lnTo>
                  <a:pt x="4471134" y="4737794"/>
                </a:lnTo>
                <a:lnTo>
                  <a:pt x="4471134" y="4740969"/>
                </a:lnTo>
                <a:lnTo>
                  <a:pt x="4468805" y="4750494"/>
                </a:lnTo>
                <a:lnTo>
                  <a:pt x="4464147" y="4783831"/>
                </a:lnTo>
                <a:lnTo>
                  <a:pt x="4459490" y="4899719"/>
                </a:lnTo>
                <a:lnTo>
                  <a:pt x="4454833" y="5052119"/>
                </a:lnTo>
                <a:lnTo>
                  <a:pt x="4452504" y="5209281"/>
                </a:lnTo>
                <a:lnTo>
                  <a:pt x="4447846" y="5333106"/>
                </a:lnTo>
                <a:lnTo>
                  <a:pt x="4443189" y="5374381"/>
                </a:lnTo>
                <a:lnTo>
                  <a:pt x="4436203" y="5393431"/>
                </a:lnTo>
                <a:lnTo>
                  <a:pt x="4431545" y="5393431"/>
                </a:lnTo>
                <a:lnTo>
                  <a:pt x="4426888" y="5387081"/>
                </a:lnTo>
                <a:lnTo>
                  <a:pt x="4419902" y="5352156"/>
                </a:lnTo>
                <a:lnTo>
                  <a:pt x="4419902" y="4929881"/>
                </a:lnTo>
                <a:lnTo>
                  <a:pt x="4410587" y="5012431"/>
                </a:lnTo>
                <a:lnTo>
                  <a:pt x="4403601" y="5126731"/>
                </a:lnTo>
                <a:lnTo>
                  <a:pt x="4391957" y="5363269"/>
                </a:lnTo>
                <a:lnTo>
                  <a:pt x="4387300" y="5444231"/>
                </a:lnTo>
                <a:lnTo>
                  <a:pt x="4382642" y="5469631"/>
                </a:lnTo>
                <a:lnTo>
                  <a:pt x="4380314" y="5474394"/>
                </a:lnTo>
                <a:lnTo>
                  <a:pt x="4380314" y="5464869"/>
                </a:lnTo>
                <a:lnTo>
                  <a:pt x="4375656" y="5434706"/>
                </a:lnTo>
                <a:lnTo>
                  <a:pt x="4366341" y="5296594"/>
                </a:lnTo>
                <a:lnTo>
                  <a:pt x="4364013" y="5395019"/>
                </a:lnTo>
                <a:lnTo>
                  <a:pt x="4364013" y="5499794"/>
                </a:lnTo>
                <a:lnTo>
                  <a:pt x="4375656" y="5702994"/>
                </a:lnTo>
                <a:lnTo>
                  <a:pt x="4375656" y="5793481"/>
                </a:lnTo>
                <a:lnTo>
                  <a:pt x="4375656" y="5872856"/>
                </a:lnTo>
                <a:lnTo>
                  <a:pt x="4370999" y="5937944"/>
                </a:lnTo>
                <a:lnTo>
                  <a:pt x="4364013" y="5963344"/>
                </a:lnTo>
                <a:lnTo>
                  <a:pt x="4354698" y="5982394"/>
                </a:lnTo>
                <a:lnTo>
                  <a:pt x="4347712" y="5828406"/>
                </a:lnTo>
                <a:lnTo>
                  <a:pt x="4336068" y="5699819"/>
                </a:lnTo>
                <a:lnTo>
                  <a:pt x="4322096" y="5595044"/>
                </a:lnTo>
                <a:lnTo>
                  <a:pt x="4310452" y="5515669"/>
                </a:lnTo>
                <a:lnTo>
                  <a:pt x="4305795" y="5587106"/>
                </a:lnTo>
                <a:lnTo>
                  <a:pt x="4303466" y="5661719"/>
                </a:lnTo>
                <a:lnTo>
                  <a:pt x="4310452" y="5806181"/>
                </a:lnTo>
                <a:lnTo>
                  <a:pt x="4319767" y="5922069"/>
                </a:lnTo>
                <a:lnTo>
                  <a:pt x="4326753" y="5955406"/>
                </a:lnTo>
                <a:lnTo>
                  <a:pt x="4331411" y="5968106"/>
                </a:lnTo>
                <a:lnTo>
                  <a:pt x="4322096" y="5977631"/>
                </a:lnTo>
                <a:lnTo>
                  <a:pt x="4319767" y="5977631"/>
                </a:lnTo>
                <a:lnTo>
                  <a:pt x="4315110" y="5971281"/>
                </a:lnTo>
                <a:lnTo>
                  <a:pt x="4310452" y="5963344"/>
                </a:lnTo>
                <a:lnTo>
                  <a:pt x="4303466" y="5926831"/>
                </a:lnTo>
                <a:lnTo>
                  <a:pt x="4294151" y="5872856"/>
                </a:lnTo>
                <a:lnTo>
                  <a:pt x="4282508" y="5722044"/>
                </a:lnTo>
                <a:lnTo>
                  <a:pt x="4275521" y="5537894"/>
                </a:lnTo>
                <a:lnTo>
                  <a:pt x="4261549" y="5168006"/>
                </a:lnTo>
                <a:lnTo>
                  <a:pt x="4249906" y="5031481"/>
                </a:lnTo>
                <a:lnTo>
                  <a:pt x="4247577" y="4983856"/>
                </a:lnTo>
                <a:lnTo>
                  <a:pt x="4242919" y="4960044"/>
                </a:lnTo>
                <a:lnTo>
                  <a:pt x="4254563" y="5307706"/>
                </a:lnTo>
                <a:lnTo>
                  <a:pt x="4217304" y="5266431"/>
                </a:lnTo>
                <a:lnTo>
                  <a:pt x="4217304" y="5485506"/>
                </a:lnTo>
                <a:lnTo>
                  <a:pt x="4217304" y="5683944"/>
                </a:lnTo>
                <a:lnTo>
                  <a:pt x="4217304" y="5763319"/>
                </a:lnTo>
                <a:lnTo>
                  <a:pt x="4226618" y="5826819"/>
                </a:lnTo>
                <a:lnTo>
                  <a:pt x="4231276" y="5847456"/>
                </a:lnTo>
                <a:lnTo>
                  <a:pt x="4233605" y="5864919"/>
                </a:lnTo>
                <a:lnTo>
                  <a:pt x="4242919" y="5876031"/>
                </a:lnTo>
                <a:lnTo>
                  <a:pt x="4247577" y="5876031"/>
                </a:lnTo>
                <a:lnTo>
                  <a:pt x="4249906" y="5876031"/>
                </a:lnTo>
                <a:lnTo>
                  <a:pt x="4242919" y="5910956"/>
                </a:lnTo>
                <a:lnTo>
                  <a:pt x="4238262" y="5922069"/>
                </a:lnTo>
                <a:lnTo>
                  <a:pt x="4233605" y="5922069"/>
                </a:lnTo>
                <a:lnTo>
                  <a:pt x="4233605" y="5917306"/>
                </a:lnTo>
                <a:lnTo>
                  <a:pt x="4231276" y="5895081"/>
                </a:lnTo>
                <a:lnTo>
                  <a:pt x="4217304" y="5817294"/>
                </a:lnTo>
                <a:lnTo>
                  <a:pt x="4205660" y="5722044"/>
                </a:lnTo>
                <a:lnTo>
                  <a:pt x="4198674" y="5636319"/>
                </a:lnTo>
                <a:lnTo>
                  <a:pt x="4194016" y="5606156"/>
                </a:lnTo>
                <a:lnTo>
                  <a:pt x="4187030" y="5590281"/>
                </a:lnTo>
                <a:lnTo>
                  <a:pt x="4187030" y="5587106"/>
                </a:lnTo>
                <a:lnTo>
                  <a:pt x="4182373" y="5587106"/>
                </a:lnTo>
                <a:lnTo>
                  <a:pt x="4177715" y="5609331"/>
                </a:lnTo>
                <a:lnTo>
                  <a:pt x="4170729" y="5653781"/>
                </a:lnTo>
                <a:lnTo>
                  <a:pt x="4166072" y="5725219"/>
                </a:lnTo>
                <a:lnTo>
                  <a:pt x="4187030" y="5183881"/>
                </a:lnTo>
                <a:lnTo>
                  <a:pt x="4182373" y="5183881"/>
                </a:lnTo>
                <a:lnTo>
                  <a:pt x="4182373" y="5190231"/>
                </a:lnTo>
                <a:lnTo>
                  <a:pt x="4177715" y="5209281"/>
                </a:lnTo>
                <a:lnTo>
                  <a:pt x="4170729" y="5280719"/>
                </a:lnTo>
                <a:lnTo>
                  <a:pt x="4159086" y="5436294"/>
                </a:lnTo>
                <a:lnTo>
                  <a:pt x="4159086" y="5020369"/>
                </a:lnTo>
                <a:lnTo>
                  <a:pt x="4149771" y="5142606"/>
                </a:lnTo>
                <a:lnTo>
                  <a:pt x="4145113" y="5225156"/>
                </a:lnTo>
                <a:lnTo>
                  <a:pt x="4138127" y="5272781"/>
                </a:lnTo>
                <a:lnTo>
                  <a:pt x="4128812" y="5291831"/>
                </a:lnTo>
                <a:lnTo>
                  <a:pt x="4128812" y="5323581"/>
                </a:lnTo>
                <a:lnTo>
                  <a:pt x="4133470" y="5398194"/>
                </a:lnTo>
                <a:lnTo>
                  <a:pt x="4114840" y="5444231"/>
                </a:lnTo>
                <a:lnTo>
                  <a:pt x="4110183" y="5431531"/>
                </a:lnTo>
                <a:lnTo>
                  <a:pt x="4114840" y="5395019"/>
                </a:lnTo>
                <a:lnTo>
                  <a:pt x="4121826" y="5277544"/>
                </a:lnTo>
                <a:lnTo>
                  <a:pt x="4105525" y="5225156"/>
                </a:lnTo>
                <a:lnTo>
                  <a:pt x="4098539" y="5209281"/>
                </a:lnTo>
                <a:lnTo>
                  <a:pt x="4093882" y="5212456"/>
                </a:lnTo>
                <a:lnTo>
                  <a:pt x="4084567" y="5244206"/>
                </a:lnTo>
                <a:lnTo>
                  <a:pt x="4082238" y="5318819"/>
                </a:lnTo>
                <a:lnTo>
                  <a:pt x="4077581" y="5442644"/>
                </a:lnTo>
                <a:lnTo>
                  <a:pt x="4070594" y="5628381"/>
                </a:lnTo>
                <a:lnTo>
                  <a:pt x="4072923" y="5414069"/>
                </a:lnTo>
                <a:lnTo>
                  <a:pt x="4072923" y="5314056"/>
                </a:lnTo>
                <a:lnTo>
                  <a:pt x="4070594" y="5296594"/>
                </a:lnTo>
                <a:lnTo>
                  <a:pt x="4061280" y="5333106"/>
                </a:lnTo>
                <a:lnTo>
                  <a:pt x="4054293" y="5390256"/>
                </a:lnTo>
                <a:lnTo>
                  <a:pt x="4044979" y="5436294"/>
                </a:lnTo>
                <a:lnTo>
                  <a:pt x="4040321" y="5447406"/>
                </a:lnTo>
                <a:lnTo>
                  <a:pt x="4037992" y="5447406"/>
                </a:lnTo>
                <a:lnTo>
                  <a:pt x="4037992" y="5444231"/>
                </a:lnTo>
                <a:lnTo>
                  <a:pt x="4033335" y="5423594"/>
                </a:lnTo>
                <a:lnTo>
                  <a:pt x="4028678" y="5379144"/>
                </a:lnTo>
                <a:lnTo>
                  <a:pt x="4040321" y="5242619"/>
                </a:lnTo>
                <a:lnTo>
                  <a:pt x="4021691" y="5223569"/>
                </a:lnTo>
                <a:lnTo>
                  <a:pt x="4021691" y="5299769"/>
                </a:lnTo>
                <a:lnTo>
                  <a:pt x="4012377" y="5209281"/>
                </a:lnTo>
                <a:lnTo>
                  <a:pt x="3993747" y="5182294"/>
                </a:lnTo>
                <a:lnTo>
                  <a:pt x="3984432" y="5231506"/>
                </a:lnTo>
                <a:lnTo>
                  <a:pt x="3977446" y="5280719"/>
                </a:lnTo>
                <a:lnTo>
                  <a:pt x="3968131" y="5293419"/>
                </a:lnTo>
                <a:lnTo>
                  <a:pt x="3968131" y="5296594"/>
                </a:lnTo>
                <a:lnTo>
                  <a:pt x="3965802" y="5293419"/>
                </a:lnTo>
                <a:lnTo>
                  <a:pt x="3961145" y="5277544"/>
                </a:lnTo>
                <a:lnTo>
                  <a:pt x="3956487" y="5239444"/>
                </a:lnTo>
                <a:lnTo>
                  <a:pt x="3956487" y="5236269"/>
                </a:lnTo>
                <a:lnTo>
                  <a:pt x="3961145" y="5231506"/>
                </a:lnTo>
                <a:lnTo>
                  <a:pt x="3961145" y="5209281"/>
                </a:lnTo>
                <a:lnTo>
                  <a:pt x="3965802" y="5187056"/>
                </a:lnTo>
                <a:lnTo>
                  <a:pt x="3965802" y="5179119"/>
                </a:lnTo>
                <a:lnTo>
                  <a:pt x="3968131" y="5179119"/>
                </a:lnTo>
                <a:lnTo>
                  <a:pt x="3965802" y="5175944"/>
                </a:lnTo>
                <a:lnTo>
                  <a:pt x="3961145" y="5172769"/>
                </a:lnTo>
                <a:lnTo>
                  <a:pt x="3951830" y="5153719"/>
                </a:lnTo>
                <a:lnTo>
                  <a:pt x="3940186" y="5082281"/>
                </a:lnTo>
                <a:lnTo>
                  <a:pt x="3879640" y="4952106"/>
                </a:lnTo>
                <a:lnTo>
                  <a:pt x="3879640" y="5107681"/>
                </a:lnTo>
                <a:lnTo>
                  <a:pt x="3872654" y="5318819"/>
                </a:lnTo>
                <a:lnTo>
                  <a:pt x="3861010" y="5036244"/>
                </a:lnTo>
                <a:lnTo>
                  <a:pt x="3856353" y="4961631"/>
                </a:lnTo>
                <a:lnTo>
                  <a:pt x="3849366" y="4929881"/>
                </a:lnTo>
                <a:lnTo>
                  <a:pt x="3849366" y="4923531"/>
                </a:lnTo>
                <a:lnTo>
                  <a:pt x="3844709" y="4926706"/>
                </a:lnTo>
                <a:lnTo>
                  <a:pt x="3835394" y="4945756"/>
                </a:lnTo>
                <a:lnTo>
                  <a:pt x="3823751" y="5033069"/>
                </a:lnTo>
                <a:lnTo>
                  <a:pt x="3807450" y="5137844"/>
                </a:lnTo>
                <a:lnTo>
                  <a:pt x="3800463" y="5175944"/>
                </a:lnTo>
                <a:lnTo>
                  <a:pt x="3788820" y="5201344"/>
                </a:lnTo>
                <a:lnTo>
                  <a:pt x="3784162" y="5202931"/>
                </a:lnTo>
                <a:lnTo>
                  <a:pt x="3779505" y="5201344"/>
                </a:lnTo>
                <a:lnTo>
                  <a:pt x="3774848" y="5190231"/>
                </a:lnTo>
                <a:lnTo>
                  <a:pt x="3767861" y="5171181"/>
                </a:lnTo>
                <a:lnTo>
                  <a:pt x="3756218" y="5104506"/>
                </a:lnTo>
                <a:lnTo>
                  <a:pt x="3744574" y="4994969"/>
                </a:lnTo>
                <a:lnTo>
                  <a:pt x="3751560" y="4896544"/>
                </a:lnTo>
                <a:lnTo>
                  <a:pt x="3756218" y="4801294"/>
                </a:lnTo>
                <a:lnTo>
                  <a:pt x="3739917" y="4802881"/>
                </a:lnTo>
                <a:lnTo>
                  <a:pt x="3739917" y="4669531"/>
                </a:lnTo>
                <a:lnTo>
                  <a:pt x="3730602" y="4580631"/>
                </a:lnTo>
                <a:lnTo>
                  <a:pt x="3723616" y="4529831"/>
                </a:lnTo>
                <a:lnTo>
                  <a:pt x="3716630" y="4499669"/>
                </a:lnTo>
                <a:lnTo>
                  <a:pt x="3707315" y="4666356"/>
                </a:lnTo>
                <a:lnTo>
                  <a:pt x="3702657" y="4474269"/>
                </a:lnTo>
                <a:lnTo>
                  <a:pt x="3691014" y="4447281"/>
                </a:lnTo>
                <a:lnTo>
                  <a:pt x="3674713" y="4798119"/>
                </a:lnTo>
                <a:lnTo>
                  <a:pt x="3672384" y="5002906"/>
                </a:lnTo>
                <a:lnTo>
                  <a:pt x="3663069" y="5080694"/>
                </a:lnTo>
                <a:lnTo>
                  <a:pt x="3658412" y="5160069"/>
                </a:lnTo>
                <a:lnTo>
                  <a:pt x="3628138" y="5374381"/>
                </a:lnTo>
                <a:lnTo>
                  <a:pt x="3630467" y="5310881"/>
                </a:lnTo>
                <a:lnTo>
                  <a:pt x="3630467" y="5244206"/>
                </a:lnTo>
                <a:lnTo>
                  <a:pt x="3630467" y="5121969"/>
                </a:lnTo>
                <a:lnTo>
                  <a:pt x="3614166" y="4882256"/>
                </a:lnTo>
                <a:lnTo>
                  <a:pt x="3611837" y="5093394"/>
                </a:lnTo>
                <a:lnTo>
                  <a:pt x="3607180" y="5253731"/>
                </a:lnTo>
                <a:lnTo>
                  <a:pt x="3600194" y="5368031"/>
                </a:lnTo>
                <a:lnTo>
                  <a:pt x="3590879" y="5444231"/>
                </a:lnTo>
                <a:lnTo>
                  <a:pt x="3583893" y="5485506"/>
                </a:lnTo>
                <a:lnTo>
                  <a:pt x="3579235" y="5496619"/>
                </a:lnTo>
                <a:lnTo>
                  <a:pt x="3574578" y="5499794"/>
                </a:lnTo>
                <a:lnTo>
                  <a:pt x="3569921" y="5495031"/>
                </a:lnTo>
                <a:lnTo>
                  <a:pt x="3567592" y="5485506"/>
                </a:lnTo>
                <a:lnTo>
                  <a:pt x="3555948" y="5453756"/>
                </a:lnTo>
                <a:lnTo>
                  <a:pt x="3534990" y="5352156"/>
                </a:lnTo>
                <a:lnTo>
                  <a:pt x="3511703" y="5231506"/>
                </a:lnTo>
                <a:lnTo>
                  <a:pt x="3497730" y="5172769"/>
                </a:lnTo>
                <a:lnTo>
                  <a:pt x="3486087" y="5129906"/>
                </a:lnTo>
                <a:lnTo>
                  <a:pt x="3474443" y="5099744"/>
                </a:lnTo>
                <a:lnTo>
                  <a:pt x="3469786" y="5091806"/>
                </a:lnTo>
                <a:lnTo>
                  <a:pt x="3467457" y="5088631"/>
                </a:lnTo>
                <a:lnTo>
                  <a:pt x="3451156" y="5168006"/>
                </a:lnTo>
                <a:lnTo>
                  <a:pt x="3434855" y="5231506"/>
                </a:lnTo>
                <a:lnTo>
                  <a:pt x="3423212" y="5277544"/>
                </a:lnTo>
                <a:lnTo>
                  <a:pt x="3406911" y="5314056"/>
                </a:lnTo>
                <a:lnTo>
                  <a:pt x="3390610" y="5341044"/>
                </a:lnTo>
                <a:lnTo>
                  <a:pt x="3374309" y="5356919"/>
                </a:lnTo>
                <a:lnTo>
                  <a:pt x="3362665" y="5364856"/>
                </a:lnTo>
                <a:lnTo>
                  <a:pt x="3346364" y="5371206"/>
                </a:lnTo>
                <a:lnTo>
                  <a:pt x="3313762" y="5374381"/>
                </a:lnTo>
                <a:lnTo>
                  <a:pt x="3297461" y="5379144"/>
                </a:lnTo>
                <a:lnTo>
                  <a:pt x="3281160" y="5383906"/>
                </a:lnTo>
                <a:lnTo>
                  <a:pt x="3269516" y="5395019"/>
                </a:lnTo>
                <a:lnTo>
                  <a:pt x="3253215" y="5412481"/>
                </a:lnTo>
                <a:lnTo>
                  <a:pt x="3236914" y="5439469"/>
                </a:lnTo>
                <a:lnTo>
                  <a:pt x="3225271" y="5477569"/>
                </a:lnTo>
                <a:lnTo>
                  <a:pt x="3248558" y="5623619"/>
                </a:lnTo>
                <a:lnTo>
                  <a:pt x="3246229" y="5623619"/>
                </a:lnTo>
                <a:lnTo>
                  <a:pt x="3241572" y="5628381"/>
                </a:lnTo>
                <a:lnTo>
                  <a:pt x="3232257" y="5655369"/>
                </a:lnTo>
                <a:lnTo>
                  <a:pt x="3215956" y="5729981"/>
                </a:lnTo>
                <a:lnTo>
                  <a:pt x="3204312" y="5755381"/>
                </a:lnTo>
                <a:lnTo>
                  <a:pt x="3201984" y="5760144"/>
                </a:lnTo>
                <a:lnTo>
                  <a:pt x="3192669" y="5755381"/>
                </a:lnTo>
                <a:lnTo>
                  <a:pt x="3188011" y="5744269"/>
                </a:lnTo>
                <a:lnTo>
                  <a:pt x="3185683" y="5722044"/>
                </a:lnTo>
                <a:lnTo>
                  <a:pt x="3171710" y="5642669"/>
                </a:lnTo>
                <a:lnTo>
                  <a:pt x="3185683" y="5587106"/>
                </a:lnTo>
                <a:lnTo>
                  <a:pt x="3188011" y="5563294"/>
                </a:lnTo>
                <a:lnTo>
                  <a:pt x="3188011" y="5556944"/>
                </a:lnTo>
                <a:lnTo>
                  <a:pt x="3192669" y="5563294"/>
                </a:lnTo>
                <a:lnTo>
                  <a:pt x="3188011" y="5383906"/>
                </a:lnTo>
                <a:lnTo>
                  <a:pt x="3185683" y="5201344"/>
                </a:lnTo>
                <a:lnTo>
                  <a:pt x="3176368" y="5047356"/>
                </a:lnTo>
                <a:lnTo>
                  <a:pt x="3169382" y="4994969"/>
                </a:lnTo>
                <a:lnTo>
                  <a:pt x="3164724" y="4961631"/>
                </a:lnTo>
                <a:lnTo>
                  <a:pt x="3157738" y="5296594"/>
                </a:lnTo>
                <a:lnTo>
                  <a:pt x="3148423" y="5036244"/>
                </a:lnTo>
                <a:lnTo>
                  <a:pt x="3143766" y="5039419"/>
                </a:lnTo>
                <a:lnTo>
                  <a:pt x="3141437" y="5074344"/>
                </a:lnTo>
                <a:lnTo>
                  <a:pt x="3136780" y="5193406"/>
                </a:lnTo>
                <a:lnTo>
                  <a:pt x="3141437" y="5337869"/>
                </a:lnTo>
                <a:lnTo>
                  <a:pt x="3141437" y="5461694"/>
                </a:lnTo>
                <a:lnTo>
                  <a:pt x="3136780" y="5499794"/>
                </a:lnTo>
                <a:lnTo>
                  <a:pt x="3132122" y="5510906"/>
                </a:lnTo>
                <a:lnTo>
                  <a:pt x="3127465" y="5514081"/>
                </a:lnTo>
                <a:lnTo>
                  <a:pt x="3120479" y="5261669"/>
                </a:lnTo>
                <a:lnTo>
                  <a:pt x="3113492" y="5172769"/>
                </a:lnTo>
                <a:lnTo>
                  <a:pt x="3108835" y="5107681"/>
                </a:lnTo>
                <a:lnTo>
                  <a:pt x="3108835" y="5104506"/>
                </a:lnTo>
                <a:lnTo>
                  <a:pt x="3108835" y="5102919"/>
                </a:lnTo>
                <a:lnTo>
                  <a:pt x="3099520" y="5063231"/>
                </a:lnTo>
                <a:lnTo>
                  <a:pt x="3092534" y="5036244"/>
                </a:lnTo>
                <a:lnTo>
                  <a:pt x="3087877" y="5014019"/>
                </a:lnTo>
                <a:lnTo>
                  <a:pt x="3080890" y="5001319"/>
                </a:lnTo>
                <a:lnTo>
                  <a:pt x="3043631" y="5039419"/>
                </a:lnTo>
                <a:lnTo>
                  <a:pt x="3043631" y="4972744"/>
                </a:lnTo>
                <a:lnTo>
                  <a:pt x="3036645" y="4967981"/>
                </a:lnTo>
                <a:lnTo>
                  <a:pt x="3027330" y="4956869"/>
                </a:lnTo>
                <a:lnTo>
                  <a:pt x="3020344" y="4942581"/>
                </a:lnTo>
                <a:lnTo>
                  <a:pt x="3015686" y="4921944"/>
                </a:lnTo>
                <a:lnTo>
                  <a:pt x="3004043" y="4852094"/>
                </a:lnTo>
                <a:lnTo>
                  <a:pt x="2992399" y="4742556"/>
                </a:lnTo>
                <a:lnTo>
                  <a:pt x="2980756" y="4817169"/>
                </a:lnTo>
                <a:lnTo>
                  <a:pt x="2983084" y="4882256"/>
                </a:lnTo>
                <a:lnTo>
                  <a:pt x="2992399" y="4912419"/>
                </a:lnTo>
                <a:lnTo>
                  <a:pt x="2999385" y="4926706"/>
                </a:lnTo>
                <a:lnTo>
                  <a:pt x="3008700" y="4940994"/>
                </a:lnTo>
                <a:lnTo>
                  <a:pt x="3011029" y="4964806"/>
                </a:lnTo>
                <a:lnTo>
                  <a:pt x="3015686" y="5017194"/>
                </a:lnTo>
                <a:lnTo>
                  <a:pt x="3020344" y="5112444"/>
                </a:lnTo>
                <a:lnTo>
                  <a:pt x="3015686" y="5269606"/>
                </a:lnTo>
                <a:lnTo>
                  <a:pt x="3004043" y="5104506"/>
                </a:lnTo>
                <a:lnTo>
                  <a:pt x="2994728" y="5033069"/>
                </a:lnTo>
                <a:lnTo>
                  <a:pt x="2987742" y="5002906"/>
                </a:lnTo>
                <a:lnTo>
                  <a:pt x="2983084" y="4979094"/>
                </a:lnTo>
                <a:lnTo>
                  <a:pt x="2987742" y="5395019"/>
                </a:lnTo>
                <a:lnTo>
                  <a:pt x="2966783" y="5334694"/>
                </a:lnTo>
                <a:lnTo>
                  <a:pt x="2950482" y="5272781"/>
                </a:lnTo>
                <a:lnTo>
                  <a:pt x="2920209" y="5145781"/>
                </a:lnTo>
                <a:lnTo>
                  <a:pt x="2892264" y="5028306"/>
                </a:lnTo>
                <a:lnTo>
                  <a:pt x="2875963" y="4979094"/>
                </a:lnTo>
                <a:lnTo>
                  <a:pt x="2864320" y="4934644"/>
                </a:lnTo>
                <a:lnTo>
                  <a:pt x="2848019" y="5020369"/>
                </a:lnTo>
                <a:lnTo>
                  <a:pt x="2834047" y="5107681"/>
                </a:lnTo>
                <a:lnTo>
                  <a:pt x="2834047" y="5020369"/>
                </a:lnTo>
                <a:lnTo>
                  <a:pt x="2831718" y="4929881"/>
                </a:lnTo>
                <a:lnTo>
                  <a:pt x="2822403" y="5093394"/>
                </a:lnTo>
                <a:lnTo>
                  <a:pt x="2815417" y="5182294"/>
                </a:lnTo>
                <a:lnTo>
                  <a:pt x="2810759" y="5198169"/>
                </a:lnTo>
                <a:lnTo>
                  <a:pt x="2806102" y="5201344"/>
                </a:lnTo>
                <a:lnTo>
                  <a:pt x="2799116" y="5193406"/>
                </a:lnTo>
                <a:lnTo>
                  <a:pt x="2794458" y="5171181"/>
                </a:lnTo>
                <a:lnTo>
                  <a:pt x="2782815" y="5107681"/>
                </a:lnTo>
                <a:lnTo>
                  <a:pt x="2775829" y="5021956"/>
                </a:lnTo>
                <a:lnTo>
                  <a:pt x="2754870" y="4852094"/>
                </a:lnTo>
                <a:lnTo>
                  <a:pt x="2743227" y="5074344"/>
                </a:lnTo>
                <a:lnTo>
                  <a:pt x="2743227" y="4931469"/>
                </a:lnTo>
                <a:lnTo>
                  <a:pt x="2745555" y="4813994"/>
                </a:lnTo>
                <a:lnTo>
                  <a:pt x="2743227" y="4790181"/>
                </a:lnTo>
                <a:lnTo>
                  <a:pt x="2738569" y="4779069"/>
                </a:lnTo>
                <a:lnTo>
                  <a:pt x="2731583" y="4861619"/>
                </a:lnTo>
                <a:lnTo>
                  <a:pt x="2726926" y="4912419"/>
                </a:lnTo>
                <a:lnTo>
                  <a:pt x="2722268" y="5031481"/>
                </a:lnTo>
                <a:lnTo>
                  <a:pt x="2722268" y="5153719"/>
                </a:lnTo>
                <a:lnTo>
                  <a:pt x="2731583" y="5414069"/>
                </a:lnTo>
                <a:lnTo>
                  <a:pt x="2722268" y="5326756"/>
                </a:lnTo>
                <a:lnTo>
                  <a:pt x="2717611" y="5277544"/>
                </a:lnTo>
                <a:lnTo>
                  <a:pt x="2715282" y="5263256"/>
                </a:lnTo>
                <a:lnTo>
                  <a:pt x="2710625" y="5261669"/>
                </a:lnTo>
                <a:lnTo>
                  <a:pt x="2705967" y="5261669"/>
                </a:lnTo>
                <a:lnTo>
                  <a:pt x="2701310" y="5269606"/>
                </a:lnTo>
                <a:lnTo>
                  <a:pt x="2694324" y="5302944"/>
                </a:lnTo>
                <a:lnTo>
                  <a:pt x="2687338" y="5352156"/>
                </a:lnTo>
                <a:lnTo>
                  <a:pt x="2666379" y="5488681"/>
                </a:lnTo>
                <a:lnTo>
                  <a:pt x="2638435" y="5768081"/>
                </a:lnTo>
                <a:lnTo>
                  <a:pt x="2633777" y="5815706"/>
                </a:lnTo>
                <a:lnTo>
                  <a:pt x="2629120" y="5839519"/>
                </a:lnTo>
                <a:lnTo>
                  <a:pt x="2626791" y="5842694"/>
                </a:lnTo>
                <a:lnTo>
                  <a:pt x="2626791" y="5839519"/>
                </a:lnTo>
                <a:lnTo>
                  <a:pt x="2622134" y="5809356"/>
                </a:lnTo>
                <a:lnTo>
                  <a:pt x="2617476" y="5796656"/>
                </a:lnTo>
                <a:lnTo>
                  <a:pt x="2612819" y="5771256"/>
                </a:lnTo>
                <a:lnTo>
                  <a:pt x="2610490" y="5702994"/>
                </a:lnTo>
                <a:lnTo>
                  <a:pt x="2605832" y="5495031"/>
                </a:lnTo>
                <a:lnTo>
                  <a:pt x="2605832" y="5242619"/>
                </a:lnTo>
                <a:lnTo>
                  <a:pt x="2605832" y="4998144"/>
                </a:lnTo>
                <a:lnTo>
                  <a:pt x="2598846" y="5033069"/>
                </a:lnTo>
                <a:lnTo>
                  <a:pt x="2594189" y="5085456"/>
                </a:lnTo>
                <a:lnTo>
                  <a:pt x="2589531" y="5233094"/>
                </a:lnTo>
                <a:lnTo>
                  <a:pt x="2584874" y="5587106"/>
                </a:lnTo>
                <a:lnTo>
                  <a:pt x="2584874" y="5729981"/>
                </a:lnTo>
                <a:lnTo>
                  <a:pt x="2582545" y="5815706"/>
                </a:lnTo>
                <a:lnTo>
                  <a:pt x="2582545" y="5823644"/>
                </a:lnTo>
                <a:lnTo>
                  <a:pt x="2573230" y="5806181"/>
                </a:lnTo>
                <a:lnTo>
                  <a:pt x="2561587" y="5677594"/>
                </a:lnTo>
                <a:lnTo>
                  <a:pt x="2568573" y="5593456"/>
                </a:lnTo>
                <a:lnTo>
                  <a:pt x="2573230" y="5545831"/>
                </a:lnTo>
                <a:lnTo>
                  <a:pt x="2573230" y="5495031"/>
                </a:lnTo>
                <a:lnTo>
                  <a:pt x="2566245" y="5390256"/>
                </a:lnTo>
                <a:lnTo>
                  <a:pt x="2556929" y="5193406"/>
                </a:lnTo>
                <a:lnTo>
                  <a:pt x="2538300" y="4663181"/>
                </a:lnTo>
                <a:lnTo>
                  <a:pt x="2524327" y="4409181"/>
                </a:lnTo>
                <a:lnTo>
                  <a:pt x="2517341" y="4213919"/>
                </a:lnTo>
                <a:lnTo>
                  <a:pt x="2512684" y="4147244"/>
                </a:lnTo>
                <a:lnTo>
                  <a:pt x="2505698" y="4112319"/>
                </a:lnTo>
                <a:lnTo>
                  <a:pt x="2505698" y="4107556"/>
                </a:lnTo>
                <a:lnTo>
                  <a:pt x="2501040" y="4112319"/>
                </a:lnTo>
                <a:lnTo>
                  <a:pt x="2496383" y="4147244"/>
                </a:lnTo>
                <a:lnTo>
                  <a:pt x="2512684" y="4388544"/>
                </a:lnTo>
                <a:lnTo>
                  <a:pt x="2505698" y="4432994"/>
                </a:lnTo>
                <a:lnTo>
                  <a:pt x="2501040" y="4444106"/>
                </a:lnTo>
                <a:lnTo>
                  <a:pt x="2496383" y="4444106"/>
                </a:lnTo>
                <a:lnTo>
                  <a:pt x="2489397" y="4421881"/>
                </a:lnTo>
                <a:lnTo>
                  <a:pt x="2484739" y="4379019"/>
                </a:lnTo>
                <a:lnTo>
                  <a:pt x="2468439" y="4244081"/>
                </a:lnTo>
                <a:lnTo>
                  <a:pt x="2456795" y="4085331"/>
                </a:lnTo>
                <a:lnTo>
                  <a:pt x="2445151" y="3953569"/>
                </a:lnTo>
                <a:lnTo>
                  <a:pt x="2435836" y="3915469"/>
                </a:lnTo>
                <a:lnTo>
                  <a:pt x="2433508" y="3898006"/>
                </a:lnTo>
                <a:lnTo>
                  <a:pt x="2433508" y="3901181"/>
                </a:lnTo>
                <a:lnTo>
                  <a:pt x="2428850" y="3912294"/>
                </a:lnTo>
                <a:lnTo>
                  <a:pt x="2424193" y="3964681"/>
                </a:lnTo>
                <a:lnTo>
                  <a:pt x="2421865" y="4202806"/>
                </a:lnTo>
                <a:lnTo>
                  <a:pt x="2424193" y="4621906"/>
                </a:lnTo>
                <a:lnTo>
                  <a:pt x="2405563" y="4469506"/>
                </a:lnTo>
                <a:lnTo>
                  <a:pt x="2391591" y="4406006"/>
                </a:lnTo>
                <a:lnTo>
                  <a:pt x="2389262" y="4399656"/>
                </a:lnTo>
                <a:lnTo>
                  <a:pt x="2389262" y="4402831"/>
                </a:lnTo>
                <a:lnTo>
                  <a:pt x="2379947" y="4436169"/>
                </a:lnTo>
                <a:lnTo>
                  <a:pt x="2377618" y="4469506"/>
                </a:lnTo>
                <a:lnTo>
                  <a:pt x="2372961" y="4479031"/>
                </a:lnTo>
                <a:lnTo>
                  <a:pt x="2368304" y="4477444"/>
                </a:lnTo>
                <a:lnTo>
                  <a:pt x="2363646" y="4463156"/>
                </a:lnTo>
                <a:lnTo>
                  <a:pt x="2356660" y="4429819"/>
                </a:lnTo>
                <a:lnTo>
                  <a:pt x="2335702" y="4298056"/>
                </a:lnTo>
                <a:lnTo>
                  <a:pt x="2335702" y="4229794"/>
                </a:lnTo>
                <a:lnTo>
                  <a:pt x="2333373" y="4237731"/>
                </a:lnTo>
                <a:lnTo>
                  <a:pt x="2328715" y="4236144"/>
                </a:lnTo>
                <a:lnTo>
                  <a:pt x="2319401" y="4205981"/>
                </a:lnTo>
                <a:lnTo>
                  <a:pt x="2303100" y="4123431"/>
                </a:lnTo>
                <a:lnTo>
                  <a:pt x="2300771" y="4112319"/>
                </a:lnTo>
                <a:lnTo>
                  <a:pt x="2291456" y="4150419"/>
                </a:lnTo>
                <a:lnTo>
                  <a:pt x="2289128" y="4259956"/>
                </a:lnTo>
                <a:lnTo>
                  <a:pt x="2284470" y="4463156"/>
                </a:lnTo>
                <a:lnTo>
                  <a:pt x="2291456" y="4553644"/>
                </a:lnTo>
                <a:lnTo>
                  <a:pt x="2279812" y="4569519"/>
                </a:lnTo>
                <a:lnTo>
                  <a:pt x="2272826" y="4575869"/>
                </a:lnTo>
                <a:lnTo>
                  <a:pt x="2263511" y="4575869"/>
                </a:lnTo>
                <a:lnTo>
                  <a:pt x="2256525" y="4569519"/>
                </a:lnTo>
                <a:lnTo>
                  <a:pt x="2244882" y="4548881"/>
                </a:lnTo>
                <a:lnTo>
                  <a:pt x="2230909" y="4537769"/>
                </a:lnTo>
                <a:lnTo>
                  <a:pt x="2219266" y="4523481"/>
                </a:lnTo>
                <a:lnTo>
                  <a:pt x="2214608" y="4572694"/>
                </a:lnTo>
                <a:lnTo>
                  <a:pt x="2207622" y="4610794"/>
                </a:lnTo>
                <a:lnTo>
                  <a:pt x="2202965" y="4620319"/>
                </a:lnTo>
                <a:lnTo>
                  <a:pt x="2200636" y="4610794"/>
                </a:lnTo>
                <a:lnTo>
                  <a:pt x="2200636" y="4590156"/>
                </a:lnTo>
                <a:lnTo>
                  <a:pt x="2195979" y="4545706"/>
                </a:lnTo>
                <a:lnTo>
                  <a:pt x="2191321" y="4718744"/>
                </a:lnTo>
                <a:lnTo>
                  <a:pt x="2186664" y="4779069"/>
                </a:lnTo>
                <a:lnTo>
                  <a:pt x="2184335" y="4821931"/>
                </a:lnTo>
                <a:lnTo>
                  <a:pt x="2175020" y="4852094"/>
                </a:lnTo>
                <a:lnTo>
                  <a:pt x="2168034" y="4871144"/>
                </a:lnTo>
                <a:lnTo>
                  <a:pt x="2163377" y="4882256"/>
                </a:lnTo>
                <a:lnTo>
                  <a:pt x="2158719" y="4882256"/>
                </a:lnTo>
                <a:lnTo>
                  <a:pt x="2156391" y="4882256"/>
                </a:lnTo>
                <a:lnTo>
                  <a:pt x="2147076" y="4874319"/>
                </a:lnTo>
                <a:lnTo>
                  <a:pt x="2140089" y="4863206"/>
                </a:lnTo>
                <a:lnTo>
                  <a:pt x="2123788" y="4828281"/>
                </a:lnTo>
                <a:lnTo>
                  <a:pt x="2098173" y="4771131"/>
                </a:lnTo>
                <a:lnTo>
                  <a:pt x="2112145" y="4734619"/>
                </a:lnTo>
                <a:lnTo>
                  <a:pt x="2114474" y="4682231"/>
                </a:lnTo>
                <a:lnTo>
                  <a:pt x="2114474" y="4621906"/>
                </a:lnTo>
                <a:lnTo>
                  <a:pt x="2119131" y="4550469"/>
                </a:lnTo>
                <a:lnTo>
                  <a:pt x="2114474" y="4391719"/>
                </a:lnTo>
                <a:lnTo>
                  <a:pt x="2107487" y="4221856"/>
                </a:lnTo>
                <a:lnTo>
                  <a:pt x="2095844" y="4488556"/>
                </a:lnTo>
                <a:lnTo>
                  <a:pt x="2091186" y="4564756"/>
                </a:lnTo>
                <a:lnTo>
                  <a:pt x="2086529" y="4606031"/>
                </a:lnTo>
                <a:lnTo>
                  <a:pt x="2081872" y="4610794"/>
                </a:lnTo>
                <a:lnTo>
                  <a:pt x="2079543" y="4606031"/>
                </a:lnTo>
                <a:lnTo>
                  <a:pt x="2074886" y="4572694"/>
                </a:lnTo>
                <a:lnTo>
                  <a:pt x="2058584" y="4394894"/>
                </a:lnTo>
                <a:lnTo>
                  <a:pt x="2053927" y="4915594"/>
                </a:lnTo>
                <a:lnTo>
                  <a:pt x="2046941" y="5383906"/>
                </a:lnTo>
                <a:lnTo>
                  <a:pt x="2042283" y="5575994"/>
                </a:lnTo>
                <a:lnTo>
                  <a:pt x="2035297" y="5729981"/>
                </a:lnTo>
                <a:lnTo>
                  <a:pt x="2023654" y="5834756"/>
                </a:lnTo>
                <a:lnTo>
                  <a:pt x="2014339" y="5864919"/>
                </a:lnTo>
                <a:lnTo>
                  <a:pt x="2007353" y="5880794"/>
                </a:lnTo>
                <a:lnTo>
                  <a:pt x="2018996" y="5741094"/>
                </a:lnTo>
                <a:lnTo>
                  <a:pt x="2023654" y="5666481"/>
                </a:lnTo>
                <a:lnTo>
                  <a:pt x="2018996" y="5574406"/>
                </a:lnTo>
                <a:lnTo>
                  <a:pt x="2014339" y="5514081"/>
                </a:lnTo>
                <a:lnTo>
                  <a:pt x="2014339" y="5515669"/>
                </a:lnTo>
                <a:lnTo>
                  <a:pt x="2009681" y="5533131"/>
                </a:lnTo>
                <a:lnTo>
                  <a:pt x="2002696" y="5639494"/>
                </a:lnTo>
                <a:lnTo>
                  <a:pt x="2002696" y="5534719"/>
                </a:lnTo>
                <a:lnTo>
                  <a:pt x="2007353" y="5425181"/>
                </a:lnTo>
                <a:lnTo>
                  <a:pt x="2007353" y="5299769"/>
                </a:lnTo>
                <a:lnTo>
                  <a:pt x="2007353" y="5141019"/>
                </a:lnTo>
                <a:lnTo>
                  <a:pt x="1995709" y="5334694"/>
                </a:lnTo>
                <a:lnTo>
                  <a:pt x="1986394" y="5434706"/>
                </a:lnTo>
                <a:lnTo>
                  <a:pt x="1981737" y="5455344"/>
                </a:lnTo>
                <a:lnTo>
                  <a:pt x="1974751" y="5461694"/>
                </a:lnTo>
                <a:lnTo>
                  <a:pt x="1970093" y="5455344"/>
                </a:lnTo>
                <a:lnTo>
                  <a:pt x="1965436" y="5444231"/>
                </a:lnTo>
                <a:lnTo>
                  <a:pt x="1953792" y="5406131"/>
                </a:lnTo>
                <a:lnTo>
                  <a:pt x="1942149" y="5374381"/>
                </a:lnTo>
                <a:lnTo>
                  <a:pt x="1935163" y="5368031"/>
                </a:lnTo>
                <a:lnTo>
                  <a:pt x="1930506" y="5368031"/>
                </a:lnTo>
                <a:lnTo>
                  <a:pt x="1930506" y="5374381"/>
                </a:lnTo>
                <a:lnTo>
                  <a:pt x="1921190" y="5390256"/>
                </a:lnTo>
                <a:lnTo>
                  <a:pt x="1914204" y="5425181"/>
                </a:lnTo>
                <a:lnTo>
                  <a:pt x="1918862" y="5277544"/>
                </a:lnTo>
                <a:lnTo>
                  <a:pt x="1918862" y="5142606"/>
                </a:lnTo>
                <a:lnTo>
                  <a:pt x="1909547" y="4836219"/>
                </a:lnTo>
                <a:lnTo>
                  <a:pt x="1907218" y="5036244"/>
                </a:lnTo>
                <a:lnTo>
                  <a:pt x="1902561" y="5074344"/>
                </a:lnTo>
                <a:lnTo>
                  <a:pt x="1902561" y="5080694"/>
                </a:lnTo>
                <a:lnTo>
                  <a:pt x="1897903" y="5080694"/>
                </a:lnTo>
                <a:lnTo>
                  <a:pt x="1893246" y="5058469"/>
                </a:lnTo>
                <a:lnTo>
                  <a:pt x="1890917" y="5020369"/>
                </a:lnTo>
                <a:lnTo>
                  <a:pt x="1881602" y="4918769"/>
                </a:lnTo>
                <a:lnTo>
                  <a:pt x="1874616" y="4825106"/>
                </a:lnTo>
                <a:lnTo>
                  <a:pt x="1869959" y="4801294"/>
                </a:lnTo>
                <a:lnTo>
                  <a:pt x="1869959" y="4794944"/>
                </a:lnTo>
                <a:lnTo>
                  <a:pt x="1865301" y="4798119"/>
                </a:lnTo>
                <a:lnTo>
                  <a:pt x="1865301" y="4896544"/>
                </a:lnTo>
                <a:lnTo>
                  <a:pt x="1869959" y="5171181"/>
                </a:lnTo>
                <a:lnTo>
                  <a:pt x="1849000" y="5069581"/>
                </a:lnTo>
                <a:lnTo>
                  <a:pt x="1832700" y="4991794"/>
                </a:lnTo>
                <a:lnTo>
                  <a:pt x="1818727" y="4934644"/>
                </a:lnTo>
                <a:lnTo>
                  <a:pt x="1797769" y="4893369"/>
                </a:lnTo>
                <a:lnTo>
                  <a:pt x="1781467" y="4869556"/>
                </a:lnTo>
                <a:lnTo>
                  <a:pt x="1760509" y="4852094"/>
                </a:lnTo>
                <a:lnTo>
                  <a:pt x="1744208" y="4840981"/>
                </a:lnTo>
                <a:lnTo>
                  <a:pt x="1725579" y="4836219"/>
                </a:lnTo>
                <a:lnTo>
                  <a:pt x="1709277" y="4828281"/>
                </a:lnTo>
                <a:lnTo>
                  <a:pt x="1692976" y="4817169"/>
                </a:lnTo>
                <a:lnTo>
                  <a:pt x="1676675" y="4798119"/>
                </a:lnTo>
                <a:lnTo>
                  <a:pt x="1665032" y="4767956"/>
                </a:lnTo>
                <a:lnTo>
                  <a:pt x="1648731" y="4723506"/>
                </a:lnTo>
                <a:lnTo>
                  <a:pt x="1641744" y="4660006"/>
                </a:lnTo>
                <a:lnTo>
                  <a:pt x="1627772" y="4575869"/>
                </a:lnTo>
                <a:lnTo>
                  <a:pt x="1625443" y="4466331"/>
                </a:lnTo>
                <a:lnTo>
                  <a:pt x="1620786" y="4391719"/>
                </a:lnTo>
                <a:lnTo>
                  <a:pt x="1616129" y="4375844"/>
                </a:lnTo>
                <a:lnTo>
                  <a:pt x="1611471" y="4372669"/>
                </a:lnTo>
                <a:lnTo>
                  <a:pt x="1609142" y="4398069"/>
                </a:lnTo>
                <a:lnTo>
                  <a:pt x="1599828" y="4448869"/>
                </a:lnTo>
                <a:lnTo>
                  <a:pt x="1588184" y="4580631"/>
                </a:lnTo>
                <a:lnTo>
                  <a:pt x="1581198" y="4633019"/>
                </a:lnTo>
                <a:lnTo>
                  <a:pt x="1576540" y="4658419"/>
                </a:lnTo>
                <a:lnTo>
                  <a:pt x="1576540" y="4309169"/>
                </a:lnTo>
                <a:lnTo>
                  <a:pt x="1555582" y="4621906"/>
                </a:lnTo>
                <a:lnTo>
                  <a:pt x="1548596" y="4693344"/>
                </a:lnTo>
                <a:lnTo>
                  <a:pt x="1539281" y="4742556"/>
                </a:lnTo>
                <a:lnTo>
                  <a:pt x="1522980" y="4863206"/>
                </a:lnTo>
                <a:lnTo>
                  <a:pt x="1499693" y="5179119"/>
                </a:lnTo>
                <a:lnTo>
                  <a:pt x="1509008" y="4904481"/>
                </a:lnTo>
                <a:lnTo>
                  <a:pt x="1509008" y="4682231"/>
                </a:lnTo>
                <a:lnTo>
                  <a:pt x="1504350" y="4474269"/>
                </a:lnTo>
                <a:lnTo>
                  <a:pt x="1488049" y="4248844"/>
                </a:lnTo>
                <a:lnTo>
                  <a:pt x="1455447" y="4971156"/>
                </a:lnTo>
                <a:lnTo>
                  <a:pt x="1450790" y="4432994"/>
                </a:lnTo>
                <a:lnTo>
                  <a:pt x="1443804" y="4499669"/>
                </a:lnTo>
                <a:lnTo>
                  <a:pt x="1439147" y="4539356"/>
                </a:lnTo>
                <a:lnTo>
                  <a:pt x="1434489" y="4561581"/>
                </a:lnTo>
                <a:lnTo>
                  <a:pt x="1432160" y="4564756"/>
                </a:lnTo>
                <a:lnTo>
                  <a:pt x="1427503" y="4564756"/>
                </a:lnTo>
                <a:lnTo>
                  <a:pt x="1422845" y="4556819"/>
                </a:lnTo>
                <a:lnTo>
                  <a:pt x="1420516" y="4534594"/>
                </a:lnTo>
                <a:lnTo>
                  <a:pt x="1406544" y="4477444"/>
                </a:lnTo>
                <a:lnTo>
                  <a:pt x="1399558" y="4669531"/>
                </a:lnTo>
                <a:lnTo>
                  <a:pt x="1390243" y="4810819"/>
                </a:lnTo>
                <a:lnTo>
                  <a:pt x="1378600" y="4918769"/>
                </a:lnTo>
                <a:lnTo>
                  <a:pt x="1366957" y="5002906"/>
                </a:lnTo>
                <a:lnTo>
                  <a:pt x="1345998" y="5145781"/>
                </a:lnTo>
                <a:lnTo>
                  <a:pt x="1339011" y="5231506"/>
                </a:lnTo>
                <a:lnTo>
                  <a:pt x="1334354" y="5337869"/>
                </a:lnTo>
                <a:lnTo>
                  <a:pt x="1327368" y="5134669"/>
                </a:lnTo>
                <a:lnTo>
                  <a:pt x="1322710" y="5050531"/>
                </a:lnTo>
                <a:lnTo>
                  <a:pt x="1318053" y="5036244"/>
                </a:lnTo>
                <a:lnTo>
                  <a:pt x="1315724" y="5036244"/>
                </a:lnTo>
                <a:lnTo>
                  <a:pt x="1315724" y="5042594"/>
                </a:lnTo>
                <a:lnTo>
                  <a:pt x="1306410" y="5072756"/>
                </a:lnTo>
                <a:lnTo>
                  <a:pt x="1299423" y="5104506"/>
                </a:lnTo>
                <a:lnTo>
                  <a:pt x="1299423" y="5110856"/>
                </a:lnTo>
                <a:lnTo>
                  <a:pt x="1294766" y="5102919"/>
                </a:lnTo>
                <a:lnTo>
                  <a:pt x="1287780" y="5028306"/>
                </a:lnTo>
                <a:lnTo>
                  <a:pt x="1283122" y="4839394"/>
                </a:lnTo>
                <a:lnTo>
                  <a:pt x="1273807" y="4979094"/>
                </a:lnTo>
                <a:lnTo>
                  <a:pt x="1266821" y="5093394"/>
                </a:lnTo>
                <a:lnTo>
                  <a:pt x="1271479" y="5533131"/>
                </a:lnTo>
                <a:lnTo>
                  <a:pt x="1271479" y="5642669"/>
                </a:lnTo>
                <a:lnTo>
                  <a:pt x="1266821" y="5650606"/>
                </a:lnTo>
                <a:lnTo>
                  <a:pt x="1266821" y="5647431"/>
                </a:lnTo>
                <a:lnTo>
                  <a:pt x="1262164" y="5612506"/>
                </a:lnTo>
                <a:lnTo>
                  <a:pt x="1257506" y="5625206"/>
                </a:lnTo>
                <a:lnTo>
                  <a:pt x="1255178" y="5202931"/>
                </a:lnTo>
                <a:lnTo>
                  <a:pt x="1243534" y="5266431"/>
                </a:lnTo>
                <a:lnTo>
                  <a:pt x="1234220" y="5314056"/>
                </a:lnTo>
                <a:lnTo>
                  <a:pt x="1227233" y="5344219"/>
                </a:lnTo>
                <a:lnTo>
                  <a:pt x="1217918" y="5356919"/>
                </a:lnTo>
                <a:lnTo>
                  <a:pt x="1222576" y="5442644"/>
                </a:lnTo>
                <a:lnTo>
                  <a:pt x="1229562" y="5568056"/>
                </a:lnTo>
                <a:lnTo>
                  <a:pt x="1215590" y="5360094"/>
                </a:lnTo>
                <a:lnTo>
                  <a:pt x="1210932" y="5360094"/>
                </a:lnTo>
                <a:lnTo>
                  <a:pt x="1210932" y="5353744"/>
                </a:lnTo>
                <a:lnTo>
                  <a:pt x="1215590" y="5334694"/>
                </a:lnTo>
                <a:lnTo>
                  <a:pt x="1206275" y="5272781"/>
                </a:lnTo>
                <a:lnTo>
                  <a:pt x="1199289" y="5242619"/>
                </a:lnTo>
                <a:lnTo>
                  <a:pt x="1199289" y="5239444"/>
                </a:lnTo>
                <a:lnTo>
                  <a:pt x="1194631" y="5242619"/>
                </a:lnTo>
                <a:lnTo>
                  <a:pt x="1189974" y="5255319"/>
                </a:lnTo>
                <a:lnTo>
                  <a:pt x="1182988" y="5329931"/>
                </a:lnTo>
                <a:lnTo>
                  <a:pt x="1173673" y="5233094"/>
                </a:lnTo>
                <a:lnTo>
                  <a:pt x="1166687" y="5179119"/>
                </a:lnTo>
                <a:lnTo>
                  <a:pt x="1162030" y="5168006"/>
                </a:lnTo>
                <a:lnTo>
                  <a:pt x="1157372" y="5164831"/>
                </a:lnTo>
                <a:lnTo>
                  <a:pt x="1150386" y="5171181"/>
                </a:lnTo>
                <a:lnTo>
                  <a:pt x="1145728" y="5182294"/>
                </a:lnTo>
                <a:lnTo>
                  <a:pt x="1138742" y="5220394"/>
                </a:lnTo>
                <a:lnTo>
                  <a:pt x="1127099" y="5277544"/>
                </a:lnTo>
                <a:lnTo>
                  <a:pt x="1106140" y="5420419"/>
                </a:lnTo>
                <a:lnTo>
                  <a:pt x="1085181" y="5549006"/>
                </a:lnTo>
                <a:lnTo>
                  <a:pt x="1078195" y="5593456"/>
                </a:lnTo>
                <a:lnTo>
                  <a:pt x="1068880" y="5606156"/>
                </a:lnTo>
                <a:lnTo>
                  <a:pt x="1066552" y="5612506"/>
                </a:lnTo>
                <a:lnTo>
                  <a:pt x="1061894" y="5612506"/>
                </a:lnTo>
                <a:lnTo>
                  <a:pt x="1057237" y="5604569"/>
                </a:lnTo>
                <a:lnTo>
                  <a:pt x="1045593" y="5556944"/>
                </a:lnTo>
                <a:lnTo>
                  <a:pt x="1038607" y="5466456"/>
                </a:lnTo>
                <a:lnTo>
                  <a:pt x="1024635" y="5329931"/>
                </a:lnTo>
                <a:lnTo>
                  <a:pt x="1033950" y="5383906"/>
                </a:lnTo>
                <a:lnTo>
                  <a:pt x="1038607" y="5401369"/>
                </a:lnTo>
                <a:lnTo>
                  <a:pt x="1038607" y="5409306"/>
                </a:lnTo>
                <a:lnTo>
                  <a:pt x="1040936" y="5404544"/>
                </a:lnTo>
                <a:lnTo>
                  <a:pt x="1045593" y="5387081"/>
                </a:lnTo>
                <a:lnTo>
                  <a:pt x="1050251" y="5307706"/>
                </a:lnTo>
                <a:lnTo>
                  <a:pt x="1045593" y="5310881"/>
                </a:lnTo>
                <a:lnTo>
                  <a:pt x="1040936" y="5307706"/>
                </a:lnTo>
                <a:lnTo>
                  <a:pt x="1033950" y="5296594"/>
                </a:lnTo>
                <a:lnTo>
                  <a:pt x="1024635" y="5274369"/>
                </a:lnTo>
                <a:lnTo>
                  <a:pt x="1017649" y="5242619"/>
                </a:lnTo>
                <a:lnTo>
                  <a:pt x="1001348" y="5164831"/>
                </a:lnTo>
                <a:lnTo>
                  <a:pt x="985047" y="5082281"/>
                </a:lnTo>
                <a:lnTo>
                  <a:pt x="968746" y="5014019"/>
                </a:lnTo>
                <a:lnTo>
                  <a:pt x="964088" y="4990206"/>
                </a:lnTo>
                <a:lnTo>
                  <a:pt x="957102" y="4975919"/>
                </a:lnTo>
                <a:lnTo>
                  <a:pt x="952445" y="4972744"/>
                </a:lnTo>
                <a:lnTo>
                  <a:pt x="950116" y="4972744"/>
                </a:lnTo>
                <a:lnTo>
                  <a:pt x="945459" y="4987031"/>
                </a:lnTo>
                <a:lnTo>
                  <a:pt x="936144" y="5020369"/>
                </a:lnTo>
                <a:lnTo>
                  <a:pt x="933815" y="5069581"/>
                </a:lnTo>
                <a:lnTo>
                  <a:pt x="936144" y="5461694"/>
                </a:lnTo>
                <a:lnTo>
                  <a:pt x="912857" y="5585519"/>
                </a:lnTo>
                <a:lnTo>
                  <a:pt x="891898" y="5677594"/>
                </a:lnTo>
                <a:lnTo>
                  <a:pt x="880255" y="5710931"/>
                </a:lnTo>
                <a:lnTo>
                  <a:pt x="873268" y="5733156"/>
                </a:lnTo>
                <a:lnTo>
                  <a:pt x="868611" y="5741094"/>
                </a:lnTo>
                <a:lnTo>
                  <a:pt x="861625" y="5744269"/>
                </a:lnTo>
                <a:lnTo>
                  <a:pt x="856967" y="5744269"/>
                </a:lnTo>
                <a:lnTo>
                  <a:pt x="852310" y="5741094"/>
                </a:lnTo>
                <a:lnTo>
                  <a:pt x="852310" y="6188769"/>
                </a:lnTo>
                <a:lnTo>
                  <a:pt x="845324" y="6166544"/>
                </a:lnTo>
                <a:lnTo>
                  <a:pt x="840667" y="6163369"/>
                </a:lnTo>
                <a:lnTo>
                  <a:pt x="836009" y="6163369"/>
                </a:lnTo>
                <a:lnTo>
                  <a:pt x="824365" y="6171306"/>
                </a:lnTo>
                <a:lnTo>
                  <a:pt x="817379" y="6190356"/>
                </a:lnTo>
                <a:lnTo>
                  <a:pt x="796421" y="6242744"/>
                </a:lnTo>
                <a:lnTo>
                  <a:pt x="784777" y="6268144"/>
                </a:lnTo>
                <a:lnTo>
                  <a:pt x="775463" y="6288781"/>
                </a:lnTo>
                <a:lnTo>
                  <a:pt x="763819" y="6299894"/>
                </a:lnTo>
                <a:lnTo>
                  <a:pt x="759162" y="6299894"/>
                </a:lnTo>
                <a:lnTo>
                  <a:pt x="756833" y="6299894"/>
                </a:lnTo>
                <a:lnTo>
                  <a:pt x="752175" y="6291956"/>
                </a:lnTo>
                <a:lnTo>
                  <a:pt x="742861" y="6280844"/>
                </a:lnTo>
                <a:lnTo>
                  <a:pt x="735874" y="6245919"/>
                </a:lnTo>
                <a:lnTo>
                  <a:pt x="728888" y="6185594"/>
                </a:lnTo>
                <a:lnTo>
                  <a:pt x="719573" y="6098281"/>
                </a:lnTo>
                <a:lnTo>
                  <a:pt x="714916" y="5977631"/>
                </a:lnTo>
                <a:lnTo>
                  <a:pt x="712587" y="5823644"/>
                </a:lnTo>
                <a:lnTo>
                  <a:pt x="703272" y="5922069"/>
                </a:lnTo>
                <a:lnTo>
                  <a:pt x="703272" y="5947469"/>
                </a:lnTo>
                <a:lnTo>
                  <a:pt x="698615" y="5960169"/>
                </a:lnTo>
                <a:lnTo>
                  <a:pt x="696286" y="5960169"/>
                </a:lnTo>
                <a:lnTo>
                  <a:pt x="691629" y="5960169"/>
                </a:lnTo>
                <a:lnTo>
                  <a:pt x="686971" y="5952231"/>
                </a:lnTo>
                <a:lnTo>
                  <a:pt x="679985" y="5918894"/>
                </a:lnTo>
                <a:lnTo>
                  <a:pt x="668342" y="5876031"/>
                </a:lnTo>
                <a:lnTo>
                  <a:pt x="654369" y="5836344"/>
                </a:lnTo>
                <a:lnTo>
                  <a:pt x="652041" y="5823644"/>
                </a:lnTo>
                <a:lnTo>
                  <a:pt x="647383" y="5817294"/>
                </a:lnTo>
                <a:lnTo>
                  <a:pt x="642726" y="5817294"/>
                </a:lnTo>
                <a:lnTo>
                  <a:pt x="640397" y="5823644"/>
                </a:lnTo>
                <a:lnTo>
                  <a:pt x="635740" y="5836344"/>
                </a:lnTo>
                <a:lnTo>
                  <a:pt x="631082" y="5496619"/>
                </a:lnTo>
                <a:lnTo>
                  <a:pt x="624096" y="5466456"/>
                </a:lnTo>
                <a:lnTo>
                  <a:pt x="614781" y="5458519"/>
                </a:lnTo>
                <a:lnTo>
                  <a:pt x="610124" y="5453756"/>
                </a:lnTo>
                <a:lnTo>
                  <a:pt x="607795" y="5453756"/>
                </a:lnTo>
                <a:lnTo>
                  <a:pt x="603138" y="5455344"/>
                </a:lnTo>
                <a:lnTo>
                  <a:pt x="596151" y="5472806"/>
                </a:lnTo>
                <a:lnTo>
                  <a:pt x="582179" y="5533131"/>
                </a:lnTo>
                <a:lnTo>
                  <a:pt x="570536" y="5606156"/>
                </a:lnTo>
                <a:lnTo>
                  <a:pt x="558892" y="5488681"/>
                </a:lnTo>
                <a:lnTo>
                  <a:pt x="551906" y="5401369"/>
                </a:lnTo>
                <a:lnTo>
                  <a:pt x="537934" y="5341044"/>
                </a:lnTo>
                <a:lnTo>
                  <a:pt x="526290" y="5304531"/>
                </a:lnTo>
                <a:lnTo>
                  <a:pt x="521633" y="5293419"/>
                </a:lnTo>
                <a:lnTo>
                  <a:pt x="519304" y="5288656"/>
                </a:lnTo>
                <a:lnTo>
                  <a:pt x="514646" y="5285481"/>
                </a:lnTo>
                <a:lnTo>
                  <a:pt x="507660" y="5288656"/>
                </a:lnTo>
                <a:lnTo>
                  <a:pt x="498345" y="5302944"/>
                </a:lnTo>
                <a:lnTo>
                  <a:pt x="486702" y="5329931"/>
                </a:lnTo>
                <a:lnTo>
                  <a:pt x="470401" y="5401369"/>
                </a:lnTo>
                <a:lnTo>
                  <a:pt x="449442" y="5477569"/>
                </a:lnTo>
                <a:lnTo>
                  <a:pt x="437799" y="5510906"/>
                </a:lnTo>
                <a:lnTo>
                  <a:pt x="430813" y="5534719"/>
                </a:lnTo>
                <a:lnTo>
                  <a:pt x="421498" y="5549006"/>
                </a:lnTo>
                <a:lnTo>
                  <a:pt x="419169" y="5549006"/>
                </a:lnTo>
                <a:lnTo>
                  <a:pt x="409854" y="5549006"/>
                </a:lnTo>
                <a:lnTo>
                  <a:pt x="409854" y="5450581"/>
                </a:lnTo>
                <a:lnTo>
                  <a:pt x="360951" y="5695056"/>
                </a:lnTo>
                <a:lnTo>
                  <a:pt x="365609" y="5595044"/>
                </a:lnTo>
                <a:lnTo>
                  <a:pt x="358623" y="5672831"/>
                </a:lnTo>
                <a:lnTo>
                  <a:pt x="349308" y="5793481"/>
                </a:lnTo>
                <a:lnTo>
                  <a:pt x="342322" y="5828406"/>
                </a:lnTo>
                <a:lnTo>
                  <a:pt x="342322" y="5831581"/>
                </a:lnTo>
                <a:lnTo>
                  <a:pt x="337664" y="5831581"/>
                </a:lnTo>
                <a:lnTo>
                  <a:pt x="337664" y="5820469"/>
                </a:lnTo>
                <a:lnTo>
                  <a:pt x="330678" y="5872856"/>
                </a:lnTo>
                <a:lnTo>
                  <a:pt x="321363" y="5899844"/>
                </a:lnTo>
                <a:lnTo>
                  <a:pt x="316706" y="5906194"/>
                </a:lnTo>
                <a:lnTo>
                  <a:pt x="314377" y="5907781"/>
                </a:lnTo>
                <a:lnTo>
                  <a:pt x="309719" y="5903019"/>
                </a:lnTo>
                <a:lnTo>
                  <a:pt x="305062" y="5895081"/>
                </a:lnTo>
                <a:lnTo>
                  <a:pt x="298076" y="5864919"/>
                </a:lnTo>
                <a:lnTo>
                  <a:pt x="288761" y="5817294"/>
                </a:lnTo>
                <a:lnTo>
                  <a:pt x="277117" y="5677594"/>
                </a:lnTo>
                <a:lnTo>
                  <a:pt x="244515" y="5661719"/>
                </a:lnTo>
                <a:lnTo>
                  <a:pt x="253830" y="5571231"/>
                </a:lnTo>
                <a:lnTo>
                  <a:pt x="258488" y="5480744"/>
                </a:lnTo>
                <a:lnTo>
                  <a:pt x="258488" y="5382319"/>
                </a:lnTo>
                <a:lnTo>
                  <a:pt x="258488" y="5280719"/>
                </a:lnTo>
                <a:lnTo>
                  <a:pt x="244515" y="5047356"/>
                </a:lnTo>
                <a:lnTo>
                  <a:pt x="242187" y="4915594"/>
                </a:lnTo>
                <a:lnTo>
                  <a:pt x="242187" y="4775894"/>
                </a:lnTo>
                <a:lnTo>
                  <a:pt x="216571" y="5091806"/>
                </a:lnTo>
                <a:lnTo>
                  <a:pt x="216571" y="4960044"/>
                </a:lnTo>
                <a:lnTo>
                  <a:pt x="221228" y="4855269"/>
                </a:lnTo>
                <a:lnTo>
                  <a:pt x="221228" y="4767956"/>
                </a:lnTo>
                <a:lnTo>
                  <a:pt x="221228" y="4731444"/>
                </a:lnTo>
                <a:lnTo>
                  <a:pt x="216571" y="4696519"/>
                </a:lnTo>
                <a:lnTo>
                  <a:pt x="209585" y="4767956"/>
                </a:lnTo>
                <a:lnTo>
                  <a:pt x="200270" y="4821931"/>
                </a:lnTo>
                <a:lnTo>
                  <a:pt x="183969" y="4926706"/>
                </a:lnTo>
                <a:lnTo>
                  <a:pt x="172325" y="4987031"/>
                </a:lnTo>
                <a:lnTo>
                  <a:pt x="165339" y="5066406"/>
                </a:lnTo>
                <a:lnTo>
                  <a:pt x="156024" y="5168006"/>
                </a:lnTo>
                <a:lnTo>
                  <a:pt x="149038" y="5302944"/>
                </a:lnTo>
                <a:lnTo>
                  <a:pt x="156024" y="5444231"/>
                </a:lnTo>
                <a:lnTo>
                  <a:pt x="165339" y="5574406"/>
                </a:lnTo>
                <a:lnTo>
                  <a:pt x="165339" y="5579169"/>
                </a:lnTo>
                <a:lnTo>
                  <a:pt x="165339" y="5587106"/>
                </a:lnTo>
                <a:lnTo>
                  <a:pt x="156024" y="5744269"/>
                </a:lnTo>
                <a:lnTo>
                  <a:pt x="149038" y="5722044"/>
                </a:lnTo>
                <a:lnTo>
                  <a:pt x="149038" y="5718869"/>
                </a:lnTo>
                <a:lnTo>
                  <a:pt x="144381" y="5722044"/>
                </a:lnTo>
                <a:lnTo>
                  <a:pt x="139723" y="5737919"/>
                </a:lnTo>
                <a:lnTo>
                  <a:pt x="139723" y="5771256"/>
                </a:lnTo>
                <a:lnTo>
                  <a:pt x="144381" y="5996681"/>
                </a:lnTo>
                <a:lnTo>
                  <a:pt x="132737" y="5817294"/>
                </a:lnTo>
                <a:lnTo>
                  <a:pt x="125751" y="5702994"/>
                </a:lnTo>
                <a:lnTo>
                  <a:pt x="116436" y="5634731"/>
                </a:lnTo>
                <a:lnTo>
                  <a:pt x="109450" y="5585519"/>
                </a:lnTo>
                <a:lnTo>
                  <a:pt x="100135" y="5537894"/>
                </a:lnTo>
                <a:lnTo>
                  <a:pt x="93149" y="5466456"/>
                </a:lnTo>
                <a:lnTo>
                  <a:pt x="88492" y="5353744"/>
                </a:lnTo>
                <a:lnTo>
                  <a:pt x="81505" y="5179119"/>
                </a:lnTo>
                <a:lnTo>
                  <a:pt x="81505" y="5360094"/>
                </a:lnTo>
                <a:lnTo>
                  <a:pt x="81505" y="5414069"/>
                </a:lnTo>
                <a:lnTo>
                  <a:pt x="76848" y="5450581"/>
                </a:lnTo>
                <a:lnTo>
                  <a:pt x="72191" y="5469631"/>
                </a:lnTo>
                <a:lnTo>
                  <a:pt x="67533" y="5477569"/>
                </a:lnTo>
                <a:lnTo>
                  <a:pt x="60547" y="5480744"/>
                </a:lnTo>
                <a:lnTo>
                  <a:pt x="51232" y="5480744"/>
                </a:lnTo>
                <a:lnTo>
                  <a:pt x="48903" y="5480744"/>
                </a:lnTo>
                <a:lnTo>
                  <a:pt x="39589" y="5485506"/>
                </a:lnTo>
                <a:lnTo>
                  <a:pt x="37260" y="5499794"/>
                </a:lnTo>
                <a:lnTo>
                  <a:pt x="32602" y="5526781"/>
                </a:lnTo>
                <a:lnTo>
                  <a:pt x="27945" y="5574406"/>
                </a:lnTo>
                <a:lnTo>
                  <a:pt x="27945" y="5639494"/>
                </a:lnTo>
                <a:lnTo>
                  <a:pt x="27945" y="5856981"/>
                </a:lnTo>
                <a:lnTo>
                  <a:pt x="16301" y="5579169"/>
                </a:lnTo>
                <a:lnTo>
                  <a:pt x="11644" y="5544244"/>
                </a:lnTo>
                <a:lnTo>
                  <a:pt x="11644" y="5541069"/>
                </a:lnTo>
                <a:lnTo>
                  <a:pt x="6987" y="5541069"/>
                </a:lnTo>
                <a:lnTo>
                  <a:pt x="6987" y="5518844"/>
                </a:lnTo>
                <a:lnTo>
                  <a:pt x="0" y="5293419"/>
                </a:lnTo>
                <a:lnTo>
                  <a:pt x="4658" y="5318819"/>
                </a:lnTo>
                <a:lnTo>
                  <a:pt x="6987" y="5323581"/>
                </a:lnTo>
                <a:lnTo>
                  <a:pt x="11644" y="5323581"/>
                </a:lnTo>
                <a:lnTo>
                  <a:pt x="16301" y="5323581"/>
                </a:lnTo>
                <a:lnTo>
                  <a:pt x="16301" y="5318819"/>
                </a:lnTo>
                <a:lnTo>
                  <a:pt x="23287" y="5299769"/>
                </a:lnTo>
                <a:lnTo>
                  <a:pt x="32602" y="5228331"/>
                </a:lnTo>
                <a:lnTo>
                  <a:pt x="44246" y="5123556"/>
                </a:lnTo>
                <a:lnTo>
                  <a:pt x="65204" y="4866381"/>
                </a:lnTo>
                <a:lnTo>
                  <a:pt x="83834" y="4621906"/>
                </a:lnTo>
                <a:lnTo>
                  <a:pt x="60547" y="4248844"/>
                </a:lnTo>
                <a:lnTo>
                  <a:pt x="67533" y="4056756"/>
                </a:lnTo>
                <a:lnTo>
                  <a:pt x="72191" y="4010719"/>
                </a:lnTo>
                <a:lnTo>
                  <a:pt x="76848" y="3988494"/>
                </a:lnTo>
                <a:lnTo>
                  <a:pt x="81505" y="3991669"/>
                </a:lnTo>
                <a:lnTo>
                  <a:pt x="83834" y="4010719"/>
                </a:lnTo>
                <a:lnTo>
                  <a:pt x="95477" y="4086919"/>
                </a:lnTo>
                <a:lnTo>
                  <a:pt x="111779" y="4271069"/>
                </a:lnTo>
                <a:lnTo>
                  <a:pt x="116436" y="4298056"/>
                </a:lnTo>
                <a:lnTo>
                  <a:pt x="121093" y="4312344"/>
                </a:lnTo>
                <a:lnTo>
                  <a:pt x="125751" y="4309169"/>
                </a:lnTo>
                <a:lnTo>
                  <a:pt x="125751" y="4304406"/>
                </a:lnTo>
                <a:lnTo>
                  <a:pt x="128080" y="4274244"/>
                </a:lnTo>
                <a:lnTo>
                  <a:pt x="125751" y="4318694"/>
                </a:lnTo>
                <a:lnTo>
                  <a:pt x="121093" y="4339331"/>
                </a:lnTo>
                <a:lnTo>
                  <a:pt x="116436" y="4342506"/>
                </a:lnTo>
                <a:lnTo>
                  <a:pt x="116436" y="4339331"/>
                </a:lnTo>
                <a:lnTo>
                  <a:pt x="109450" y="4320281"/>
                </a:lnTo>
                <a:lnTo>
                  <a:pt x="100135" y="4247256"/>
                </a:lnTo>
                <a:lnTo>
                  <a:pt x="95477" y="4142481"/>
                </a:lnTo>
                <a:lnTo>
                  <a:pt x="104793" y="4655244"/>
                </a:lnTo>
                <a:lnTo>
                  <a:pt x="109450" y="4688581"/>
                </a:lnTo>
                <a:lnTo>
                  <a:pt x="116436" y="4707631"/>
                </a:lnTo>
                <a:lnTo>
                  <a:pt x="121093" y="4715569"/>
                </a:lnTo>
                <a:lnTo>
                  <a:pt x="125751" y="4712394"/>
                </a:lnTo>
                <a:lnTo>
                  <a:pt x="128080" y="4710806"/>
                </a:lnTo>
                <a:lnTo>
                  <a:pt x="132737" y="4693344"/>
                </a:lnTo>
                <a:lnTo>
                  <a:pt x="139723" y="4671119"/>
                </a:lnTo>
                <a:lnTo>
                  <a:pt x="149038" y="4599681"/>
                </a:lnTo>
                <a:lnTo>
                  <a:pt x="169997" y="4399656"/>
                </a:lnTo>
                <a:lnTo>
                  <a:pt x="188626" y="4183756"/>
                </a:lnTo>
                <a:lnTo>
                  <a:pt x="183969" y="4117081"/>
                </a:lnTo>
                <a:lnTo>
                  <a:pt x="183969" y="4051994"/>
                </a:lnTo>
                <a:lnTo>
                  <a:pt x="193283" y="3905944"/>
                </a:lnTo>
                <a:lnTo>
                  <a:pt x="197941" y="3821806"/>
                </a:lnTo>
                <a:lnTo>
                  <a:pt x="200270" y="3723381"/>
                </a:lnTo>
                <a:lnTo>
                  <a:pt x="204927" y="3610669"/>
                </a:lnTo>
                <a:lnTo>
                  <a:pt x="200270" y="3478906"/>
                </a:lnTo>
                <a:lnTo>
                  <a:pt x="181640" y="3543994"/>
                </a:lnTo>
                <a:lnTo>
                  <a:pt x="181640" y="3407469"/>
                </a:lnTo>
                <a:lnTo>
                  <a:pt x="183969" y="3275706"/>
                </a:lnTo>
                <a:lnTo>
                  <a:pt x="200270" y="3031231"/>
                </a:lnTo>
                <a:lnTo>
                  <a:pt x="214242" y="3097906"/>
                </a:lnTo>
                <a:lnTo>
                  <a:pt x="225886" y="3147119"/>
                </a:lnTo>
                <a:lnTo>
                  <a:pt x="237529" y="3185219"/>
                </a:lnTo>
                <a:lnTo>
                  <a:pt x="249173" y="3212206"/>
                </a:lnTo>
                <a:lnTo>
                  <a:pt x="265474" y="3229669"/>
                </a:lnTo>
                <a:lnTo>
                  <a:pt x="277117" y="3242369"/>
                </a:lnTo>
                <a:lnTo>
                  <a:pt x="293418" y="3251894"/>
                </a:lnTo>
                <a:lnTo>
                  <a:pt x="305062" y="3256656"/>
                </a:lnTo>
                <a:lnTo>
                  <a:pt x="316706" y="3264594"/>
                </a:lnTo>
                <a:lnTo>
                  <a:pt x="330678" y="3272531"/>
                </a:lnTo>
                <a:lnTo>
                  <a:pt x="342322" y="3286819"/>
                </a:lnTo>
                <a:lnTo>
                  <a:pt x="353965" y="3309044"/>
                </a:lnTo>
                <a:lnTo>
                  <a:pt x="360951" y="3339206"/>
                </a:lnTo>
                <a:lnTo>
                  <a:pt x="370266" y="3380481"/>
                </a:lnTo>
                <a:lnTo>
                  <a:pt x="377252" y="3434456"/>
                </a:lnTo>
                <a:lnTo>
                  <a:pt x="381909" y="3505894"/>
                </a:lnTo>
                <a:lnTo>
                  <a:pt x="377252" y="3464619"/>
                </a:lnTo>
                <a:lnTo>
                  <a:pt x="374924" y="3448744"/>
                </a:lnTo>
                <a:lnTo>
                  <a:pt x="370266" y="3445569"/>
                </a:lnTo>
                <a:lnTo>
                  <a:pt x="365609" y="3448744"/>
                </a:lnTo>
                <a:lnTo>
                  <a:pt x="360951" y="3464619"/>
                </a:lnTo>
                <a:lnTo>
                  <a:pt x="349308" y="3536056"/>
                </a:lnTo>
                <a:lnTo>
                  <a:pt x="342322" y="3644006"/>
                </a:lnTo>
                <a:lnTo>
                  <a:pt x="365609" y="3867844"/>
                </a:lnTo>
                <a:lnTo>
                  <a:pt x="360951" y="3866256"/>
                </a:lnTo>
                <a:lnTo>
                  <a:pt x="358623" y="3855144"/>
                </a:lnTo>
                <a:lnTo>
                  <a:pt x="349308" y="3807519"/>
                </a:lnTo>
                <a:lnTo>
                  <a:pt x="333007" y="3667819"/>
                </a:lnTo>
                <a:lnTo>
                  <a:pt x="326020" y="3602731"/>
                </a:lnTo>
                <a:lnTo>
                  <a:pt x="316706" y="3558281"/>
                </a:lnTo>
                <a:lnTo>
                  <a:pt x="314377" y="3547169"/>
                </a:lnTo>
                <a:lnTo>
                  <a:pt x="309719" y="3547169"/>
                </a:lnTo>
                <a:lnTo>
                  <a:pt x="305062" y="3550344"/>
                </a:lnTo>
                <a:lnTo>
                  <a:pt x="302733" y="3561456"/>
                </a:lnTo>
                <a:lnTo>
                  <a:pt x="298076" y="3588444"/>
                </a:lnTo>
                <a:lnTo>
                  <a:pt x="293418" y="3866256"/>
                </a:lnTo>
                <a:lnTo>
                  <a:pt x="293418" y="4177406"/>
                </a:lnTo>
                <a:lnTo>
                  <a:pt x="293418" y="4515544"/>
                </a:lnTo>
                <a:lnTo>
                  <a:pt x="293418" y="4690169"/>
                </a:lnTo>
                <a:lnTo>
                  <a:pt x="302733" y="4866381"/>
                </a:lnTo>
                <a:lnTo>
                  <a:pt x="314377" y="4942581"/>
                </a:lnTo>
                <a:lnTo>
                  <a:pt x="321363" y="4982269"/>
                </a:lnTo>
                <a:lnTo>
                  <a:pt x="326020" y="4987031"/>
                </a:lnTo>
                <a:lnTo>
                  <a:pt x="330678" y="4983856"/>
                </a:lnTo>
                <a:lnTo>
                  <a:pt x="337664" y="4953694"/>
                </a:lnTo>
                <a:lnTo>
                  <a:pt x="342322" y="4901306"/>
                </a:lnTo>
                <a:lnTo>
                  <a:pt x="349308" y="4828281"/>
                </a:lnTo>
                <a:lnTo>
                  <a:pt x="358623" y="4639369"/>
                </a:lnTo>
                <a:lnTo>
                  <a:pt x="370266" y="4429819"/>
                </a:lnTo>
                <a:lnTo>
                  <a:pt x="386567" y="4247256"/>
                </a:lnTo>
                <a:lnTo>
                  <a:pt x="393553" y="4175819"/>
                </a:lnTo>
                <a:lnTo>
                  <a:pt x="402868" y="4126606"/>
                </a:lnTo>
                <a:lnTo>
                  <a:pt x="405197" y="4109144"/>
                </a:lnTo>
                <a:lnTo>
                  <a:pt x="414512" y="4101206"/>
                </a:lnTo>
                <a:lnTo>
                  <a:pt x="419169" y="4098031"/>
                </a:lnTo>
                <a:lnTo>
                  <a:pt x="426155" y="4107556"/>
                </a:lnTo>
                <a:lnTo>
                  <a:pt x="426155" y="4147244"/>
                </a:lnTo>
                <a:lnTo>
                  <a:pt x="426155" y="4323456"/>
                </a:lnTo>
                <a:lnTo>
                  <a:pt x="426155" y="4417119"/>
                </a:lnTo>
                <a:lnTo>
                  <a:pt x="430813" y="4485381"/>
                </a:lnTo>
                <a:lnTo>
                  <a:pt x="433141" y="4504431"/>
                </a:lnTo>
                <a:lnTo>
                  <a:pt x="437799" y="4512369"/>
                </a:lnTo>
                <a:lnTo>
                  <a:pt x="442456" y="4504431"/>
                </a:lnTo>
                <a:lnTo>
                  <a:pt x="449442" y="4479031"/>
                </a:lnTo>
                <a:lnTo>
                  <a:pt x="465743" y="4331394"/>
                </a:lnTo>
                <a:lnTo>
                  <a:pt x="486702" y="4150419"/>
                </a:lnTo>
                <a:lnTo>
                  <a:pt x="498345" y="3936106"/>
                </a:lnTo>
                <a:lnTo>
                  <a:pt x="509989" y="3701156"/>
                </a:lnTo>
                <a:lnTo>
                  <a:pt x="521633" y="3445569"/>
                </a:lnTo>
                <a:lnTo>
                  <a:pt x="530947" y="3177281"/>
                </a:lnTo>
                <a:lnTo>
                  <a:pt x="535605" y="2899469"/>
                </a:lnTo>
                <a:lnTo>
                  <a:pt x="535605" y="2623244"/>
                </a:lnTo>
                <a:lnTo>
                  <a:pt x="519304" y="2807394"/>
                </a:lnTo>
                <a:lnTo>
                  <a:pt x="507660" y="2894706"/>
                </a:lnTo>
                <a:lnTo>
                  <a:pt x="493688" y="2962969"/>
                </a:lnTo>
                <a:lnTo>
                  <a:pt x="491359" y="2982019"/>
                </a:lnTo>
                <a:lnTo>
                  <a:pt x="486702" y="2993131"/>
                </a:lnTo>
                <a:lnTo>
                  <a:pt x="482044" y="2993131"/>
                </a:lnTo>
                <a:lnTo>
                  <a:pt x="482044" y="2989956"/>
                </a:lnTo>
                <a:lnTo>
                  <a:pt x="477387" y="2974081"/>
                </a:lnTo>
                <a:lnTo>
                  <a:pt x="470401" y="2894706"/>
                </a:lnTo>
                <a:lnTo>
                  <a:pt x="465743" y="2735956"/>
                </a:lnTo>
                <a:lnTo>
                  <a:pt x="486702" y="2585144"/>
                </a:lnTo>
                <a:lnTo>
                  <a:pt x="503003" y="2437506"/>
                </a:lnTo>
                <a:lnTo>
                  <a:pt x="509989" y="2354956"/>
                </a:lnTo>
                <a:lnTo>
                  <a:pt x="519304" y="2264469"/>
                </a:lnTo>
                <a:lnTo>
                  <a:pt x="521633" y="2159694"/>
                </a:lnTo>
                <a:lnTo>
                  <a:pt x="526290" y="2039044"/>
                </a:lnTo>
                <a:lnTo>
                  <a:pt x="530947" y="2226369"/>
                </a:lnTo>
                <a:lnTo>
                  <a:pt x="530947" y="2337494"/>
                </a:lnTo>
                <a:lnTo>
                  <a:pt x="521633" y="2397819"/>
                </a:lnTo>
                <a:lnTo>
                  <a:pt x="519304" y="2427981"/>
                </a:lnTo>
                <a:lnTo>
                  <a:pt x="509989" y="2456556"/>
                </a:lnTo>
                <a:lnTo>
                  <a:pt x="507660" y="2499419"/>
                </a:lnTo>
                <a:lnTo>
                  <a:pt x="507660" y="2588319"/>
                </a:lnTo>
                <a:lnTo>
                  <a:pt x="514646" y="2740719"/>
                </a:lnTo>
                <a:lnTo>
                  <a:pt x="519304" y="2728019"/>
                </a:lnTo>
                <a:lnTo>
                  <a:pt x="521633" y="2699444"/>
                </a:lnTo>
                <a:lnTo>
                  <a:pt x="530947" y="2615306"/>
                </a:lnTo>
                <a:lnTo>
                  <a:pt x="542591" y="2416869"/>
                </a:lnTo>
                <a:lnTo>
                  <a:pt x="537934" y="2510531"/>
                </a:lnTo>
                <a:lnTo>
                  <a:pt x="537934" y="2596256"/>
                </a:lnTo>
                <a:lnTo>
                  <a:pt x="547248" y="2748656"/>
                </a:lnTo>
                <a:lnTo>
                  <a:pt x="554235" y="2880419"/>
                </a:lnTo>
                <a:lnTo>
                  <a:pt x="558892" y="2996306"/>
                </a:lnTo>
                <a:lnTo>
                  <a:pt x="565878" y="2999481"/>
                </a:lnTo>
                <a:lnTo>
                  <a:pt x="575193" y="3010594"/>
                </a:lnTo>
                <a:lnTo>
                  <a:pt x="591494" y="3042344"/>
                </a:lnTo>
                <a:lnTo>
                  <a:pt x="607795" y="3089969"/>
                </a:lnTo>
                <a:lnTo>
                  <a:pt x="624096" y="3143944"/>
                </a:lnTo>
                <a:lnTo>
                  <a:pt x="652041" y="3253481"/>
                </a:lnTo>
                <a:lnTo>
                  <a:pt x="668342" y="3297931"/>
                </a:lnTo>
                <a:lnTo>
                  <a:pt x="675328" y="3313806"/>
                </a:lnTo>
                <a:lnTo>
                  <a:pt x="684642" y="3328094"/>
                </a:lnTo>
                <a:lnTo>
                  <a:pt x="691629" y="3523356"/>
                </a:lnTo>
                <a:lnTo>
                  <a:pt x="691629" y="3766244"/>
                </a:lnTo>
                <a:lnTo>
                  <a:pt x="703272" y="3670994"/>
                </a:lnTo>
                <a:lnTo>
                  <a:pt x="712587" y="3517006"/>
                </a:lnTo>
                <a:lnTo>
                  <a:pt x="731217" y="3105844"/>
                </a:lnTo>
                <a:lnTo>
                  <a:pt x="742861" y="2653406"/>
                </a:lnTo>
                <a:lnTo>
                  <a:pt x="742861" y="2450206"/>
                </a:lnTo>
                <a:lnTo>
                  <a:pt x="742861" y="2280344"/>
                </a:lnTo>
                <a:lnTo>
                  <a:pt x="747518" y="2280344"/>
                </a:lnTo>
                <a:lnTo>
                  <a:pt x="752175" y="2286694"/>
                </a:lnTo>
                <a:lnTo>
                  <a:pt x="759162" y="2310506"/>
                </a:lnTo>
                <a:lnTo>
                  <a:pt x="773134" y="2385119"/>
                </a:lnTo>
                <a:lnTo>
                  <a:pt x="775463" y="2415281"/>
                </a:lnTo>
                <a:lnTo>
                  <a:pt x="784777" y="2431156"/>
                </a:lnTo>
                <a:lnTo>
                  <a:pt x="787106" y="2431156"/>
                </a:lnTo>
                <a:lnTo>
                  <a:pt x="791763" y="2423219"/>
                </a:lnTo>
                <a:lnTo>
                  <a:pt x="801078" y="2378769"/>
                </a:lnTo>
                <a:lnTo>
                  <a:pt x="784777" y="2148581"/>
                </a:lnTo>
                <a:lnTo>
                  <a:pt x="784777" y="2132706"/>
                </a:lnTo>
                <a:lnTo>
                  <a:pt x="787106" y="2140644"/>
                </a:lnTo>
                <a:lnTo>
                  <a:pt x="791763" y="2145406"/>
                </a:lnTo>
                <a:lnTo>
                  <a:pt x="796421" y="2148581"/>
                </a:lnTo>
                <a:lnTo>
                  <a:pt x="796421" y="2143819"/>
                </a:lnTo>
                <a:lnTo>
                  <a:pt x="801078" y="2126356"/>
                </a:lnTo>
                <a:lnTo>
                  <a:pt x="808064" y="2042219"/>
                </a:lnTo>
                <a:lnTo>
                  <a:pt x="812722" y="1872356"/>
                </a:lnTo>
                <a:lnTo>
                  <a:pt x="817379" y="1864419"/>
                </a:lnTo>
                <a:lnTo>
                  <a:pt x="819708" y="1864419"/>
                </a:lnTo>
                <a:lnTo>
                  <a:pt x="824365" y="1888231"/>
                </a:lnTo>
                <a:lnTo>
                  <a:pt x="824365" y="2005706"/>
                </a:lnTo>
                <a:lnTo>
                  <a:pt x="829023" y="2166044"/>
                </a:lnTo>
                <a:lnTo>
                  <a:pt x="829023" y="2239069"/>
                </a:lnTo>
                <a:lnTo>
                  <a:pt x="831352" y="2299394"/>
                </a:lnTo>
                <a:lnTo>
                  <a:pt x="840667" y="2124769"/>
                </a:lnTo>
                <a:lnTo>
                  <a:pt x="845324" y="2000944"/>
                </a:lnTo>
                <a:lnTo>
                  <a:pt x="845324" y="1873944"/>
                </a:lnTo>
                <a:lnTo>
                  <a:pt x="847653" y="2058094"/>
                </a:lnTo>
                <a:lnTo>
                  <a:pt x="847653" y="2258119"/>
                </a:lnTo>
                <a:lnTo>
                  <a:pt x="840667" y="2702619"/>
                </a:lnTo>
                <a:lnTo>
                  <a:pt x="831352" y="3161406"/>
                </a:lnTo>
                <a:lnTo>
                  <a:pt x="829023" y="3380481"/>
                </a:lnTo>
                <a:lnTo>
                  <a:pt x="831352" y="3585269"/>
                </a:lnTo>
                <a:lnTo>
                  <a:pt x="847653" y="3874194"/>
                </a:lnTo>
                <a:lnTo>
                  <a:pt x="873268" y="4180581"/>
                </a:lnTo>
                <a:lnTo>
                  <a:pt x="905870" y="4561581"/>
                </a:lnTo>
                <a:lnTo>
                  <a:pt x="908199" y="4304406"/>
                </a:lnTo>
                <a:lnTo>
                  <a:pt x="912857" y="3934519"/>
                </a:lnTo>
                <a:lnTo>
                  <a:pt x="912857" y="2993131"/>
                </a:lnTo>
                <a:lnTo>
                  <a:pt x="905870" y="2023169"/>
                </a:lnTo>
                <a:lnTo>
                  <a:pt x="901214" y="1613594"/>
                </a:lnTo>
                <a:lnTo>
                  <a:pt x="896556" y="1300856"/>
                </a:lnTo>
                <a:lnTo>
                  <a:pt x="896556" y="1216719"/>
                </a:lnTo>
                <a:lnTo>
                  <a:pt x="901214" y="1205606"/>
                </a:lnTo>
                <a:lnTo>
                  <a:pt x="901214" y="1213544"/>
                </a:lnTo>
                <a:lnTo>
                  <a:pt x="908199" y="1361181"/>
                </a:lnTo>
                <a:lnTo>
                  <a:pt x="919843" y="1583431"/>
                </a:lnTo>
                <a:lnTo>
                  <a:pt x="924500" y="1669156"/>
                </a:lnTo>
                <a:lnTo>
                  <a:pt x="929158" y="1713606"/>
                </a:lnTo>
                <a:lnTo>
                  <a:pt x="940801" y="1854894"/>
                </a:lnTo>
                <a:lnTo>
                  <a:pt x="950116" y="1883469"/>
                </a:lnTo>
                <a:lnTo>
                  <a:pt x="950116" y="1885056"/>
                </a:lnTo>
                <a:lnTo>
                  <a:pt x="952445" y="1883469"/>
                </a:lnTo>
                <a:lnTo>
                  <a:pt x="957102" y="1866006"/>
                </a:lnTo>
                <a:lnTo>
                  <a:pt x="961760" y="1831081"/>
                </a:lnTo>
                <a:lnTo>
                  <a:pt x="968746" y="1729481"/>
                </a:lnTo>
                <a:lnTo>
                  <a:pt x="989704" y="1511994"/>
                </a:lnTo>
                <a:lnTo>
                  <a:pt x="994362" y="1480244"/>
                </a:lnTo>
                <a:lnTo>
                  <a:pt x="996690" y="1461194"/>
                </a:lnTo>
                <a:lnTo>
                  <a:pt x="1001348" y="1461194"/>
                </a:lnTo>
                <a:lnTo>
                  <a:pt x="1001348" y="1465956"/>
                </a:lnTo>
                <a:lnTo>
                  <a:pt x="1006005" y="1492944"/>
                </a:lnTo>
                <a:lnTo>
                  <a:pt x="985047" y="1808856"/>
                </a:lnTo>
                <a:lnTo>
                  <a:pt x="989704" y="1846956"/>
                </a:lnTo>
                <a:lnTo>
                  <a:pt x="994362" y="1854894"/>
                </a:lnTo>
                <a:lnTo>
                  <a:pt x="994362" y="1858069"/>
                </a:lnTo>
                <a:lnTo>
                  <a:pt x="996690" y="1854894"/>
                </a:lnTo>
                <a:lnTo>
                  <a:pt x="1001348" y="1846956"/>
                </a:lnTo>
                <a:lnTo>
                  <a:pt x="1008334" y="1816794"/>
                </a:lnTo>
                <a:lnTo>
                  <a:pt x="1017649" y="1767581"/>
                </a:lnTo>
                <a:lnTo>
                  <a:pt x="1024635" y="1707256"/>
                </a:lnTo>
                <a:lnTo>
                  <a:pt x="1033950" y="1638994"/>
                </a:lnTo>
                <a:lnTo>
                  <a:pt x="1038607" y="1564381"/>
                </a:lnTo>
                <a:lnTo>
                  <a:pt x="1033950" y="1808856"/>
                </a:lnTo>
                <a:lnTo>
                  <a:pt x="1029292" y="2173981"/>
                </a:lnTo>
                <a:lnTo>
                  <a:pt x="1024635" y="2547044"/>
                </a:lnTo>
                <a:lnTo>
                  <a:pt x="1024635" y="2697856"/>
                </a:lnTo>
                <a:lnTo>
                  <a:pt x="1029292" y="2812156"/>
                </a:lnTo>
                <a:lnTo>
                  <a:pt x="1033950" y="2818506"/>
                </a:lnTo>
                <a:lnTo>
                  <a:pt x="1038607" y="2818506"/>
                </a:lnTo>
                <a:lnTo>
                  <a:pt x="1040936" y="2808981"/>
                </a:lnTo>
                <a:lnTo>
                  <a:pt x="1045593" y="2799456"/>
                </a:lnTo>
                <a:lnTo>
                  <a:pt x="1052579" y="2755006"/>
                </a:lnTo>
                <a:lnTo>
                  <a:pt x="1061894" y="2691506"/>
                </a:lnTo>
                <a:lnTo>
                  <a:pt x="1078195" y="2516881"/>
                </a:lnTo>
                <a:lnTo>
                  <a:pt x="1094496" y="2286694"/>
                </a:lnTo>
                <a:lnTo>
                  <a:pt x="1106140" y="2023169"/>
                </a:lnTo>
                <a:lnTo>
                  <a:pt x="1113126" y="1748531"/>
                </a:lnTo>
                <a:lnTo>
                  <a:pt x="1117784" y="1481831"/>
                </a:lnTo>
                <a:lnTo>
                  <a:pt x="1117784" y="1240531"/>
                </a:lnTo>
                <a:lnTo>
                  <a:pt x="1045593" y="1853306"/>
                </a:lnTo>
                <a:lnTo>
                  <a:pt x="1045593" y="1688206"/>
                </a:lnTo>
                <a:lnTo>
                  <a:pt x="1052579" y="1559619"/>
                </a:lnTo>
                <a:lnTo>
                  <a:pt x="1061894" y="1450081"/>
                </a:lnTo>
                <a:lnTo>
                  <a:pt x="1068880" y="1348481"/>
                </a:lnTo>
                <a:lnTo>
                  <a:pt x="1078195" y="1240531"/>
                </a:lnTo>
                <a:lnTo>
                  <a:pt x="1089839" y="1118294"/>
                </a:lnTo>
                <a:lnTo>
                  <a:pt x="1094496" y="964306"/>
                </a:lnTo>
                <a:lnTo>
                  <a:pt x="1094496" y="769044"/>
                </a:lnTo>
                <a:lnTo>
                  <a:pt x="1162030" y="945256"/>
                </a:lnTo>
                <a:lnTo>
                  <a:pt x="1155043" y="980181"/>
                </a:lnTo>
                <a:lnTo>
                  <a:pt x="1141071" y="1062731"/>
                </a:lnTo>
                <a:lnTo>
                  <a:pt x="1138742" y="1191319"/>
                </a:lnTo>
                <a:lnTo>
                  <a:pt x="1134085" y="1273869"/>
                </a:lnTo>
                <a:lnTo>
                  <a:pt x="1138742" y="1370706"/>
                </a:lnTo>
                <a:lnTo>
                  <a:pt x="1141071" y="1367531"/>
                </a:lnTo>
                <a:lnTo>
                  <a:pt x="1145728" y="1367531"/>
                </a:lnTo>
                <a:lnTo>
                  <a:pt x="1150386" y="1370706"/>
                </a:lnTo>
                <a:lnTo>
                  <a:pt x="1155043" y="1375469"/>
                </a:lnTo>
                <a:lnTo>
                  <a:pt x="1157372" y="1397694"/>
                </a:lnTo>
                <a:lnTo>
                  <a:pt x="1157372" y="1432619"/>
                </a:lnTo>
                <a:lnTo>
                  <a:pt x="1162030" y="1537394"/>
                </a:lnTo>
                <a:lnTo>
                  <a:pt x="1173673" y="1685031"/>
                </a:lnTo>
                <a:lnTo>
                  <a:pt x="1141071" y="2307331"/>
                </a:lnTo>
                <a:lnTo>
                  <a:pt x="1110797" y="3124894"/>
                </a:lnTo>
                <a:lnTo>
                  <a:pt x="1078195" y="3969444"/>
                </a:lnTo>
                <a:lnTo>
                  <a:pt x="1057237" y="4669531"/>
                </a:lnTo>
                <a:lnTo>
                  <a:pt x="1089839" y="4339331"/>
                </a:lnTo>
                <a:lnTo>
                  <a:pt x="1101483" y="4628256"/>
                </a:lnTo>
                <a:lnTo>
                  <a:pt x="1110797" y="4537769"/>
                </a:lnTo>
                <a:lnTo>
                  <a:pt x="1117784" y="4417119"/>
                </a:lnTo>
                <a:lnTo>
                  <a:pt x="1134085" y="4096444"/>
                </a:lnTo>
                <a:lnTo>
                  <a:pt x="1150386" y="3697981"/>
                </a:lnTo>
                <a:lnTo>
                  <a:pt x="1162030" y="3261419"/>
                </a:lnTo>
                <a:lnTo>
                  <a:pt x="1185316" y="2407344"/>
                </a:lnTo>
                <a:lnTo>
                  <a:pt x="1199289" y="1808856"/>
                </a:lnTo>
                <a:lnTo>
                  <a:pt x="1201617" y="1842194"/>
                </a:lnTo>
                <a:lnTo>
                  <a:pt x="1206275" y="1894581"/>
                </a:lnTo>
                <a:lnTo>
                  <a:pt x="1215590" y="2046981"/>
                </a:lnTo>
                <a:lnTo>
                  <a:pt x="1215590" y="2245419"/>
                </a:lnTo>
                <a:lnTo>
                  <a:pt x="1215590" y="2467669"/>
                </a:lnTo>
                <a:lnTo>
                  <a:pt x="1215590" y="2902644"/>
                </a:lnTo>
                <a:lnTo>
                  <a:pt x="1210932" y="3188394"/>
                </a:lnTo>
                <a:lnTo>
                  <a:pt x="1215590" y="3188394"/>
                </a:lnTo>
                <a:lnTo>
                  <a:pt x="1217918" y="3180456"/>
                </a:lnTo>
                <a:lnTo>
                  <a:pt x="1227233" y="3139181"/>
                </a:lnTo>
                <a:lnTo>
                  <a:pt x="1234220" y="3070919"/>
                </a:lnTo>
                <a:lnTo>
                  <a:pt x="1238877" y="2980431"/>
                </a:lnTo>
                <a:lnTo>
                  <a:pt x="1250520" y="2747069"/>
                </a:lnTo>
                <a:lnTo>
                  <a:pt x="1262164" y="2483544"/>
                </a:lnTo>
                <a:lnTo>
                  <a:pt x="1271479" y="2223194"/>
                </a:lnTo>
                <a:lnTo>
                  <a:pt x="1283122" y="2004119"/>
                </a:lnTo>
                <a:lnTo>
                  <a:pt x="1287780" y="1924744"/>
                </a:lnTo>
                <a:lnTo>
                  <a:pt x="1294766" y="1869181"/>
                </a:lnTo>
                <a:lnTo>
                  <a:pt x="1299423" y="1850131"/>
                </a:lnTo>
                <a:lnTo>
                  <a:pt x="1301752" y="1842194"/>
                </a:lnTo>
                <a:lnTo>
                  <a:pt x="1306410" y="1842194"/>
                </a:lnTo>
                <a:lnTo>
                  <a:pt x="1311067" y="1850131"/>
                </a:lnTo>
                <a:lnTo>
                  <a:pt x="1294766" y="1623119"/>
                </a:lnTo>
                <a:lnTo>
                  <a:pt x="1299423" y="1597719"/>
                </a:lnTo>
                <a:lnTo>
                  <a:pt x="1301752" y="1594544"/>
                </a:lnTo>
                <a:lnTo>
                  <a:pt x="1306410" y="1594544"/>
                </a:lnTo>
                <a:lnTo>
                  <a:pt x="1315724" y="1605656"/>
                </a:lnTo>
                <a:lnTo>
                  <a:pt x="1327368" y="1619944"/>
                </a:lnTo>
                <a:lnTo>
                  <a:pt x="1334354" y="1627881"/>
                </a:lnTo>
                <a:lnTo>
                  <a:pt x="1339011" y="1627881"/>
                </a:lnTo>
                <a:lnTo>
                  <a:pt x="1339011" y="1623119"/>
                </a:lnTo>
                <a:lnTo>
                  <a:pt x="1343669" y="1597719"/>
                </a:lnTo>
                <a:lnTo>
                  <a:pt x="1345998" y="1542156"/>
                </a:lnTo>
                <a:lnTo>
                  <a:pt x="1350655" y="1786631"/>
                </a:lnTo>
                <a:lnTo>
                  <a:pt x="1355312" y="2088256"/>
                </a:lnTo>
                <a:lnTo>
                  <a:pt x="1359970" y="2381944"/>
                </a:lnTo>
                <a:lnTo>
                  <a:pt x="1355312" y="2608956"/>
                </a:lnTo>
                <a:lnTo>
                  <a:pt x="1399558" y="1688206"/>
                </a:lnTo>
                <a:lnTo>
                  <a:pt x="1394901" y="1902519"/>
                </a:lnTo>
                <a:lnTo>
                  <a:pt x="1394901" y="2231131"/>
                </a:lnTo>
                <a:lnTo>
                  <a:pt x="1394901" y="2769294"/>
                </a:lnTo>
                <a:lnTo>
                  <a:pt x="1399558" y="2762944"/>
                </a:lnTo>
                <a:lnTo>
                  <a:pt x="1399558" y="2739131"/>
                </a:lnTo>
                <a:lnTo>
                  <a:pt x="1406544" y="2639119"/>
                </a:lnTo>
                <a:lnTo>
                  <a:pt x="1415859" y="2313681"/>
                </a:lnTo>
                <a:lnTo>
                  <a:pt x="1420516" y="1943794"/>
                </a:lnTo>
                <a:lnTo>
                  <a:pt x="1420516" y="1789806"/>
                </a:lnTo>
                <a:lnTo>
                  <a:pt x="1415859" y="1683444"/>
                </a:lnTo>
                <a:lnTo>
                  <a:pt x="1434489" y="1975544"/>
                </a:lnTo>
                <a:lnTo>
                  <a:pt x="1443804" y="2115244"/>
                </a:lnTo>
                <a:lnTo>
                  <a:pt x="1455447" y="2280344"/>
                </a:lnTo>
                <a:lnTo>
                  <a:pt x="1471748" y="2648644"/>
                </a:lnTo>
                <a:lnTo>
                  <a:pt x="1471748" y="2593081"/>
                </a:lnTo>
                <a:lnTo>
                  <a:pt x="1476406" y="2480369"/>
                </a:lnTo>
                <a:lnTo>
                  <a:pt x="1471748" y="2167631"/>
                </a:lnTo>
                <a:lnTo>
                  <a:pt x="1467091" y="1846956"/>
                </a:lnTo>
                <a:lnTo>
                  <a:pt x="1464762" y="1662806"/>
                </a:lnTo>
                <a:lnTo>
                  <a:pt x="1471748" y="1592956"/>
                </a:lnTo>
                <a:lnTo>
                  <a:pt x="1478734" y="1548506"/>
                </a:lnTo>
                <a:lnTo>
                  <a:pt x="1483392" y="1529456"/>
                </a:lnTo>
                <a:lnTo>
                  <a:pt x="1488049" y="1526281"/>
                </a:lnTo>
                <a:lnTo>
                  <a:pt x="1492707" y="1529456"/>
                </a:lnTo>
                <a:lnTo>
                  <a:pt x="1495035" y="1542156"/>
                </a:lnTo>
                <a:lnTo>
                  <a:pt x="1504350" y="1567556"/>
                </a:lnTo>
                <a:lnTo>
                  <a:pt x="1511337" y="1632644"/>
                </a:lnTo>
                <a:lnTo>
                  <a:pt x="1504350" y="1715194"/>
                </a:lnTo>
                <a:lnTo>
                  <a:pt x="1499693" y="1819969"/>
                </a:lnTo>
                <a:lnTo>
                  <a:pt x="1492707" y="2091431"/>
                </a:lnTo>
                <a:lnTo>
                  <a:pt x="1492707" y="2423219"/>
                </a:lnTo>
                <a:lnTo>
                  <a:pt x="1492707" y="2793106"/>
                </a:lnTo>
                <a:lnTo>
                  <a:pt x="1492707" y="3550344"/>
                </a:lnTo>
                <a:lnTo>
                  <a:pt x="1495035" y="3885306"/>
                </a:lnTo>
                <a:lnTo>
                  <a:pt x="1492707" y="4164706"/>
                </a:lnTo>
                <a:lnTo>
                  <a:pt x="1581198" y="1653281"/>
                </a:lnTo>
                <a:lnTo>
                  <a:pt x="1567226" y="2702619"/>
                </a:lnTo>
                <a:lnTo>
                  <a:pt x="1576540" y="2453381"/>
                </a:lnTo>
                <a:lnTo>
                  <a:pt x="1583527" y="2348606"/>
                </a:lnTo>
                <a:lnTo>
                  <a:pt x="1588184" y="2258119"/>
                </a:lnTo>
                <a:lnTo>
                  <a:pt x="1599828" y="2178744"/>
                </a:lnTo>
                <a:lnTo>
                  <a:pt x="1609142" y="2113656"/>
                </a:lnTo>
                <a:lnTo>
                  <a:pt x="1620786" y="2058094"/>
                </a:lnTo>
                <a:lnTo>
                  <a:pt x="1632430" y="2015231"/>
                </a:lnTo>
                <a:lnTo>
                  <a:pt x="1644073" y="1978719"/>
                </a:lnTo>
                <a:lnTo>
                  <a:pt x="1655717" y="1954906"/>
                </a:lnTo>
                <a:lnTo>
                  <a:pt x="1669689" y="1937444"/>
                </a:lnTo>
                <a:lnTo>
                  <a:pt x="1681333" y="1929506"/>
                </a:lnTo>
                <a:lnTo>
                  <a:pt x="1685990" y="1929506"/>
                </a:lnTo>
                <a:lnTo>
                  <a:pt x="1692976" y="1929506"/>
                </a:lnTo>
                <a:lnTo>
                  <a:pt x="1704620" y="1934269"/>
                </a:lnTo>
                <a:lnTo>
                  <a:pt x="1713935" y="1945381"/>
                </a:lnTo>
                <a:lnTo>
                  <a:pt x="1725579" y="1962844"/>
                </a:lnTo>
                <a:lnTo>
                  <a:pt x="1716263" y="1967606"/>
                </a:lnTo>
                <a:lnTo>
                  <a:pt x="1713935" y="2061269"/>
                </a:lnTo>
                <a:lnTo>
                  <a:pt x="1716263" y="2145406"/>
                </a:lnTo>
                <a:lnTo>
                  <a:pt x="1720921" y="2215256"/>
                </a:lnTo>
                <a:lnTo>
                  <a:pt x="1730236" y="2264469"/>
                </a:lnTo>
                <a:lnTo>
                  <a:pt x="1732564" y="2280344"/>
                </a:lnTo>
                <a:lnTo>
                  <a:pt x="1741879" y="2291456"/>
                </a:lnTo>
                <a:lnTo>
                  <a:pt x="1744208" y="2291456"/>
                </a:lnTo>
                <a:lnTo>
                  <a:pt x="1748865" y="2286694"/>
                </a:lnTo>
                <a:lnTo>
                  <a:pt x="1749114" y="2285635"/>
                </a:lnTo>
                <a:lnTo>
                  <a:pt x="1758180" y="2362894"/>
                </a:lnTo>
                <a:lnTo>
                  <a:pt x="1760509" y="2397819"/>
                </a:lnTo>
                <a:lnTo>
                  <a:pt x="1765166" y="2397819"/>
                </a:lnTo>
                <a:lnTo>
                  <a:pt x="1765166" y="2393056"/>
                </a:lnTo>
                <a:lnTo>
                  <a:pt x="1774481" y="2354956"/>
                </a:lnTo>
                <a:lnTo>
                  <a:pt x="1781467" y="2205731"/>
                </a:lnTo>
                <a:lnTo>
                  <a:pt x="1788454" y="2012056"/>
                </a:lnTo>
                <a:lnTo>
                  <a:pt x="1797769" y="1819969"/>
                </a:lnTo>
                <a:lnTo>
                  <a:pt x="1804755" y="1688206"/>
                </a:lnTo>
                <a:lnTo>
                  <a:pt x="1809412" y="1658044"/>
                </a:lnTo>
                <a:lnTo>
                  <a:pt x="1814069" y="1665981"/>
                </a:lnTo>
                <a:lnTo>
                  <a:pt x="1818727" y="1715194"/>
                </a:lnTo>
                <a:lnTo>
                  <a:pt x="1825713" y="1813619"/>
                </a:lnTo>
                <a:lnTo>
                  <a:pt x="1821056" y="1804094"/>
                </a:lnTo>
                <a:lnTo>
                  <a:pt x="1818727" y="1804094"/>
                </a:lnTo>
                <a:lnTo>
                  <a:pt x="1814069" y="1804094"/>
                </a:lnTo>
                <a:lnTo>
                  <a:pt x="1809412" y="1812031"/>
                </a:lnTo>
                <a:lnTo>
                  <a:pt x="1804755" y="1824731"/>
                </a:lnTo>
                <a:lnTo>
                  <a:pt x="1802426" y="1872356"/>
                </a:lnTo>
                <a:lnTo>
                  <a:pt x="1797769" y="1937444"/>
                </a:lnTo>
                <a:lnTo>
                  <a:pt x="1793111" y="2121594"/>
                </a:lnTo>
                <a:lnTo>
                  <a:pt x="1788454" y="2337494"/>
                </a:lnTo>
                <a:lnTo>
                  <a:pt x="1802426" y="2261294"/>
                </a:lnTo>
                <a:lnTo>
                  <a:pt x="1814069" y="2215256"/>
                </a:lnTo>
                <a:lnTo>
                  <a:pt x="1825713" y="2181919"/>
                </a:lnTo>
                <a:lnTo>
                  <a:pt x="1837357" y="2140644"/>
                </a:lnTo>
                <a:lnTo>
                  <a:pt x="1849000" y="2069206"/>
                </a:lnTo>
                <a:lnTo>
                  <a:pt x="1858316" y="1951731"/>
                </a:lnTo>
                <a:lnTo>
                  <a:pt x="1862972" y="1762819"/>
                </a:lnTo>
                <a:lnTo>
                  <a:pt x="1862972" y="1485006"/>
                </a:lnTo>
                <a:lnTo>
                  <a:pt x="1869959" y="1578669"/>
                </a:lnTo>
                <a:lnTo>
                  <a:pt x="1881602" y="1643756"/>
                </a:lnTo>
                <a:lnTo>
                  <a:pt x="1886260" y="1759644"/>
                </a:lnTo>
                <a:lnTo>
                  <a:pt x="1890917" y="2000944"/>
                </a:lnTo>
                <a:lnTo>
                  <a:pt x="1951464" y="1477069"/>
                </a:lnTo>
                <a:lnTo>
                  <a:pt x="1946806" y="1570731"/>
                </a:lnTo>
                <a:lnTo>
                  <a:pt x="1946806" y="1692969"/>
                </a:lnTo>
                <a:lnTo>
                  <a:pt x="1946806" y="1812031"/>
                </a:lnTo>
                <a:lnTo>
                  <a:pt x="1951464" y="1854894"/>
                </a:lnTo>
                <a:lnTo>
                  <a:pt x="1958450" y="1888231"/>
                </a:lnTo>
                <a:lnTo>
                  <a:pt x="1953792" y="1880294"/>
                </a:lnTo>
                <a:lnTo>
                  <a:pt x="1951464" y="1877119"/>
                </a:lnTo>
                <a:lnTo>
                  <a:pt x="1946806" y="1877119"/>
                </a:lnTo>
                <a:lnTo>
                  <a:pt x="1946806" y="1883469"/>
                </a:lnTo>
                <a:lnTo>
                  <a:pt x="1937491" y="1904106"/>
                </a:lnTo>
                <a:lnTo>
                  <a:pt x="1935163" y="1940619"/>
                </a:lnTo>
                <a:lnTo>
                  <a:pt x="1909547" y="2124769"/>
                </a:lnTo>
                <a:lnTo>
                  <a:pt x="1897903" y="2197794"/>
                </a:lnTo>
                <a:lnTo>
                  <a:pt x="1893246" y="2216844"/>
                </a:lnTo>
                <a:lnTo>
                  <a:pt x="1893246" y="2220019"/>
                </a:lnTo>
                <a:lnTo>
                  <a:pt x="1890917" y="2223194"/>
                </a:lnTo>
                <a:lnTo>
                  <a:pt x="1886260" y="2205731"/>
                </a:lnTo>
                <a:lnTo>
                  <a:pt x="1881602" y="2170806"/>
                </a:lnTo>
                <a:lnTo>
                  <a:pt x="1874616" y="2015231"/>
                </a:lnTo>
                <a:lnTo>
                  <a:pt x="1874616" y="2381944"/>
                </a:lnTo>
                <a:lnTo>
                  <a:pt x="1876945" y="2694681"/>
                </a:lnTo>
                <a:lnTo>
                  <a:pt x="1876945" y="2988369"/>
                </a:lnTo>
                <a:lnTo>
                  <a:pt x="1869959" y="3309044"/>
                </a:lnTo>
                <a:lnTo>
                  <a:pt x="1881602" y="3251894"/>
                </a:lnTo>
                <a:lnTo>
                  <a:pt x="1893246" y="3182044"/>
                </a:lnTo>
                <a:lnTo>
                  <a:pt x="1914204" y="3004244"/>
                </a:lnTo>
                <a:lnTo>
                  <a:pt x="1930506" y="2788344"/>
                </a:lnTo>
                <a:lnTo>
                  <a:pt x="1951464" y="2540694"/>
                </a:lnTo>
                <a:lnTo>
                  <a:pt x="1979408" y="2005706"/>
                </a:lnTo>
                <a:lnTo>
                  <a:pt x="2009681" y="1492944"/>
                </a:lnTo>
                <a:lnTo>
                  <a:pt x="2067899" y="1885056"/>
                </a:lnTo>
                <a:lnTo>
                  <a:pt x="2070228" y="1635819"/>
                </a:lnTo>
                <a:lnTo>
                  <a:pt x="2079543" y="2261294"/>
                </a:lnTo>
                <a:lnTo>
                  <a:pt x="2086529" y="2083494"/>
                </a:lnTo>
                <a:lnTo>
                  <a:pt x="2091186" y="2042219"/>
                </a:lnTo>
                <a:lnTo>
                  <a:pt x="2091186" y="2053331"/>
                </a:lnTo>
                <a:lnTo>
                  <a:pt x="2091186" y="2154931"/>
                </a:lnTo>
                <a:lnTo>
                  <a:pt x="2091186" y="2286694"/>
                </a:lnTo>
                <a:lnTo>
                  <a:pt x="2098173" y="2220019"/>
                </a:lnTo>
                <a:lnTo>
                  <a:pt x="2102830" y="2132706"/>
                </a:lnTo>
                <a:lnTo>
                  <a:pt x="2102830" y="2386706"/>
                </a:lnTo>
                <a:lnTo>
                  <a:pt x="2098173" y="2650231"/>
                </a:lnTo>
                <a:lnTo>
                  <a:pt x="2086529" y="3180456"/>
                </a:lnTo>
                <a:lnTo>
                  <a:pt x="2070228" y="2834381"/>
                </a:lnTo>
                <a:lnTo>
                  <a:pt x="2063242" y="3070919"/>
                </a:lnTo>
                <a:lnTo>
                  <a:pt x="2058584" y="3294756"/>
                </a:lnTo>
                <a:lnTo>
                  <a:pt x="2058584" y="3504306"/>
                </a:lnTo>
                <a:lnTo>
                  <a:pt x="2063242" y="3596381"/>
                </a:lnTo>
                <a:lnTo>
                  <a:pt x="2067899" y="3678931"/>
                </a:lnTo>
                <a:lnTo>
                  <a:pt x="2074886" y="3543994"/>
                </a:lnTo>
                <a:lnTo>
                  <a:pt x="2067899" y="3856731"/>
                </a:lnTo>
                <a:lnTo>
                  <a:pt x="2067899" y="3977381"/>
                </a:lnTo>
                <a:lnTo>
                  <a:pt x="2067899" y="4063106"/>
                </a:lnTo>
                <a:lnTo>
                  <a:pt x="2112145" y="3761481"/>
                </a:lnTo>
                <a:lnTo>
                  <a:pt x="2091186" y="3294756"/>
                </a:lnTo>
                <a:lnTo>
                  <a:pt x="2112145" y="2974081"/>
                </a:lnTo>
                <a:lnTo>
                  <a:pt x="2126117" y="2634356"/>
                </a:lnTo>
                <a:lnTo>
                  <a:pt x="2130775" y="2464494"/>
                </a:lnTo>
                <a:lnTo>
                  <a:pt x="2130775" y="2294631"/>
                </a:lnTo>
                <a:lnTo>
                  <a:pt x="2130775" y="2126356"/>
                </a:lnTo>
                <a:lnTo>
                  <a:pt x="2123788" y="1964431"/>
                </a:lnTo>
                <a:lnTo>
                  <a:pt x="2158719" y="2335906"/>
                </a:lnTo>
                <a:lnTo>
                  <a:pt x="2179678" y="1989831"/>
                </a:lnTo>
                <a:lnTo>
                  <a:pt x="2195979" y="1797744"/>
                </a:lnTo>
                <a:lnTo>
                  <a:pt x="2235567" y="1381819"/>
                </a:lnTo>
                <a:lnTo>
                  <a:pt x="2235567" y="1537394"/>
                </a:lnTo>
                <a:lnTo>
                  <a:pt x="2235567" y="1683444"/>
                </a:lnTo>
                <a:lnTo>
                  <a:pt x="2230909" y="1816794"/>
                </a:lnTo>
                <a:lnTo>
                  <a:pt x="2235567" y="1940619"/>
                </a:lnTo>
                <a:lnTo>
                  <a:pt x="2244882" y="1834256"/>
                </a:lnTo>
                <a:lnTo>
                  <a:pt x="2247210" y="1773931"/>
                </a:lnTo>
                <a:lnTo>
                  <a:pt x="2251869" y="1759644"/>
                </a:lnTo>
                <a:lnTo>
                  <a:pt x="2256525" y="1751706"/>
                </a:lnTo>
                <a:lnTo>
                  <a:pt x="2258854" y="1753294"/>
                </a:lnTo>
                <a:lnTo>
                  <a:pt x="2263511" y="1762819"/>
                </a:lnTo>
                <a:lnTo>
                  <a:pt x="2272826" y="1800919"/>
                </a:lnTo>
                <a:lnTo>
                  <a:pt x="2275155" y="1858069"/>
                </a:lnTo>
                <a:lnTo>
                  <a:pt x="2291456" y="2008881"/>
                </a:lnTo>
                <a:lnTo>
                  <a:pt x="2303100" y="2166044"/>
                </a:lnTo>
                <a:lnTo>
                  <a:pt x="2317072" y="2272406"/>
                </a:lnTo>
                <a:lnTo>
                  <a:pt x="2319401" y="2294631"/>
                </a:lnTo>
                <a:lnTo>
                  <a:pt x="2319401" y="2291456"/>
                </a:lnTo>
                <a:lnTo>
                  <a:pt x="2324059" y="2283519"/>
                </a:lnTo>
                <a:lnTo>
                  <a:pt x="2324059" y="2234306"/>
                </a:lnTo>
                <a:lnTo>
                  <a:pt x="2328715" y="2143819"/>
                </a:lnTo>
                <a:lnTo>
                  <a:pt x="2335702" y="2075556"/>
                </a:lnTo>
                <a:lnTo>
                  <a:pt x="2340359" y="1989831"/>
                </a:lnTo>
                <a:lnTo>
                  <a:pt x="2345016" y="1792981"/>
                </a:lnTo>
                <a:lnTo>
                  <a:pt x="2347345" y="1592956"/>
                </a:lnTo>
                <a:lnTo>
                  <a:pt x="2352003" y="1504056"/>
                </a:lnTo>
                <a:lnTo>
                  <a:pt x="2356660" y="1431031"/>
                </a:lnTo>
                <a:lnTo>
                  <a:pt x="2356660" y="1559619"/>
                </a:lnTo>
                <a:lnTo>
                  <a:pt x="2356660" y="1616769"/>
                </a:lnTo>
                <a:lnTo>
                  <a:pt x="2361318" y="1646931"/>
                </a:lnTo>
                <a:lnTo>
                  <a:pt x="2379947" y="1200844"/>
                </a:lnTo>
                <a:lnTo>
                  <a:pt x="2379947" y="1257994"/>
                </a:lnTo>
                <a:lnTo>
                  <a:pt x="2379947" y="1318319"/>
                </a:lnTo>
                <a:lnTo>
                  <a:pt x="2377618" y="1438969"/>
                </a:lnTo>
                <a:lnTo>
                  <a:pt x="2377618" y="1564381"/>
                </a:lnTo>
                <a:lnTo>
                  <a:pt x="2377618" y="1632644"/>
                </a:lnTo>
                <a:lnTo>
                  <a:pt x="2384605" y="1702494"/>
                </a:lnTo>
                <a:lnTo>
                  <a:pt x="2412549" y="1477069"/>
                </a:lnTo>
                <a:lnTo>
                  <a:pt x="2424193" y="1386581"/>
                </a:lnTo>
                <a:lnTo>
                  <a:pt x="2435836" y="1321494"/>
                </a:lnTo>
                <a:lnTo>
                  <a:pt x="2449809" y="1280219"/>
                </a:lnTo>
                <a:lnTo>
                  <a:pt x="2452137" y="1270694"/>
                </a:lnTo>
                <a:lnTo>
                  <a:pt x="2456795" y="1269106"/>
                </a:lnTo>
                <a:lnTo>
                  <a:pt x="2461452" y="1269106"/>
                </a:lnTo>
                <a:lnTo>
                  <a:pt x="2466110" y="1277044"/>
                </a:lnTo>
                <a:lnTo>
                  <a:pt x="2473096" y="1292919"/>
                </a:lnTo>
                <a:lnTo>
                  <a:pt x="2484739" y="1353244"/>
                </a:lnTo>
                <a:lnTo>
                  <a:pt x="2494055" y="1326256"/>
                </a:lnTo>
                <a:lnTo>
                  <a:pt x="2496383" y="1284981"/>
                </a:lnTo>
                <a:lnTo>
                  <a:pt x="2501040" y="1170681"/>
                </a:lnTo>
                <a:lnTo>
                  <a:pt x="2501040" y="1027806"/>
                </a:lnTo>
                <a:lnTo>
                  <a:pt x="2496383" y="876994"/>
                </a:lnTo>
                <a:lnTo>
                  <a:pt x="2489397" y="621406"/>
                </a:lnTo>
                <a:lnTo>
                  <a:pt x="2494055" y="553144"/>
                </a:lnTo>
                <a:lnTo>
                  <a:pt x="2496383" y="542031"/>
                </a:lnTo>
                <a:lnTo>
                  <a:pt x="2501040" y="545206"/>
                </a:lnTo>
                <a:lnTo>
                  <a:pt x="2505698" y="549969"/>
                </a:lnTo>
                <a:lnTo>
                  <a:pt x="2510355" y="829369"/>
                </a:lnTo>
                <a:lnTo>
                  <a:pt x="2512684" y="1092894"/>
                </a:lnTo>
                <a:lnTo>
                  <a:pt x="2524327" y="1300856"/>
                </a:lnTo>
                <a:lnTo>
                  <a:pt x="2533642" y="1367531"/>
                </a:lnTo>
                <a:lnTo>
                  <a:pt x="2540629" y="1405631"/>
                </a:lnTo>
                <a:lnTo>
                  <a:pt x="2549943" y="1213544"/>
                </a:lnTo>
                <a:lnTo>
                  <a:pt x="2554601" y="1021456"/>
                </a:lnTo>
                <a:lnTo>
                  <a:pt x="2561587" y="846831"/>
                </a:lnTo>
                <a:lnTo>
                  <a:pt x="2568573" y="772219"/>
                </a:lnTo>
                <a:lnTo>
                  <a:pt x="2573230" y="707131"/>
                </a:lnTo>
                <a:lnTo>
                  <a:pt x="2573230" y="1265931"/>
                </a:lnTo>
                <a:lnTo>
                  <a:pt x="2584874" y="1250056"/>
                </a:lnTo>
                <a:lnTo>
                  <a:pt x="2577888" y="1134169"/>
                </a:lnTo>
                <a:lnTo>
                  <a:pt x="2589531" y="1240531"/>
                </a:lnTo>
                <a:lnTo>
                  <a:pt x="2594189" y="1238944"/>
                </a:lnTo>
                <a:lnTo>
                  <a:pt x="2598846" y="1243706"/>
                </a:lnTo>
                <a:lnTo>
                  <a:pt x="2601176" y="1257994"/>
                </a:lnTo>
                <a:lnTo>
                  <a:pt x="2605832" y="1284981"/>
                </a:lnTo>
                <a:lnTo>
                  <a:pt x="2610490" y="1383406"/>
                </a:lnTo>
                <a:lnTo>
                  <a:pt x="2612819" y="1562794"/>
                </a:lnTo>
                <a:lnTo>
                  <a:pt x="2626791" y="1432619"/>
                </a:lnTo>
                <a:lnTo>
                  <a:pt x="2629120" y="1400869"/>
                </a:lnTo>
                <a:lnTo>
                  <a:pt x="2633777" y="1383406"/>
                </a:lnTo>
                <a:lnTo>
                  <a:pt x="2638435" y="1383406"/>
                </a:lnTo>
                <a:lnTo>
                  <a:pt x="2638435" y="1386581"/>
                </a:lnTo>
                <a:lnTo>
                  <a:pt x="2643092" y="1400869"/>
                </a:lnTo>
                <a:lnTo>
                  <a:pt x="2650078" y="1454844"/>
                </a:lnTo>
                <a:lnTo>
                  <a:pt x="2654736" y="1394519"/>
                </a:lnTo>
                <a:lnTo>
                  <a:pt x="2657064" y="1321494"/>
                </a:lnTo>
                <a:lnTo>
                  <a:pt x="2657064" y="1148456"/>
                </a:lnTo>
                <a:lnTo>
                  <a:pt x="2657064" y="953194"/>
                </a:lnTo>
                <a:lnTo>
                  <a:pt x="2650078" y="748406"/>
                </a:lnTo>
                <a:lnTo>
                  <a:pt x="2629120" y="361056"/>
                </a:lnTo>
                <a:lnTo>
                  <a:pt x="2617476" y="94356"/>
                </a:lnTo>
                <a:lnTo>
                  <a:pt x="2629120" y="226119"/>
                </a:lnTo>
                <a:lnTo>
                  <a:pt x="2643092" y="311844"/>
                </a:lnTo>
                <a:lnTo>
                  <a:pt x="2657064" y="426144"/>
                </a:lnTo>
                <a:lnTo>
                  <a:pt x="2671037" y="492819"/>
                </a:lnTo>
                <a:lnTo>
                  <a:pt x="2678023" y="588069"/>
                </a:lnTo>
                <a:lnTo>
                  <a:pt x="2682680" y="737294"/>
                </a:lnTo>
                <a:lnTo>
                  <a:pt x="2689666" y="948431"/>
                </a:lnTo>
                <a:lnTo>
                  <a:pt x="2661722" y="1100831"/>
                </a:lnTo>
                <a:lnTo>
                  <a:pt x="2673366" y="1205606"/>
                </a:lnTo>
                <a:lnTo>
                  <a:pt x="2682680" y="1269106"/>
                </a:lnTo>
                <a:lnTo>
                  <a:pt x="2687338" y="1284981"/>
                </a:lnTo>
                <a:lnTo>
                  <a:pt x="2689666" y="1292919"/>
                </a:lnTo>
                <a:lnTo>
                  <a:pt x="2694324" y="1292919"/>
                </a:lnTo>
                <a:lnTo>
                  <a:pt x="2698981" y="1288156"/>
                </a:lnTo>
                <a:lnTo>
                  <a:pt x="2701310" y="1261169"/>
                </a:lnTo>
                <a:lnTo>
                  <a:pt x="2705967" y="1216719"/>
                </a:lnTo>
                <a:lnTo>
                  <a:pt x="2717611" y="1111944"/>
                </a:lnTo>
                <a:lnTo>
                  <a:pt x="2722268" y="1029394"/>
                </a:lnTo>
                <a:lnTo>
                  <a:pt x="2726926" y="1016694"/>
                </a:lnTo>
                <a:lnTo>
                  <a:pt x="2731583" y="1029394"/>
                </a:lnTo>
                <a:lnTo>
                  <a:pt x="2738569" y="1164331"/>
                </a:lnTo>
                <a:lnTo>
                  <a:pt x="2745555" y="1496119"/>
                </a:lnTo>
                <a:lnTo>
                  <a:pt x="2743227" y="1491356"/>
                </a:lnTo>
                <a:lnTo>
                  <a:pt x="2733912" y="1502469"/>
                </a:lnTo>
                <a:lnTo>
                  <a:pt x="2726926" y="1562794"/>
                </a:lnTo>
                <a:lnTo>
                  <a:pt x="2743227" y="1680269"/>
                </a:lnTo>
                <a:lnTo>
                  <a:pt x="2754870" y="1781869"/>
                </a:lnTo>
                <a:lnTo>
                  <a:pt x="2775829" y="1446906"/>
                </a:lnTo>
                <a:lnTo>
                  <a:pt x="2775829" y="1481831"/>
                </a:lnTo>
                <a:lnTo>
                  <a:pt x="2822403" y="1394519"/>
                </a:lnTo>
                <a:lnTo>
                  <a:pt x="2820074" y="1442144"/>
                </a:lnTo>
                <a:lnTo>
                  <a:pt x="2820074" y="1502469"/>
                </a:lnTo>
                <a:lnTo>
                  <a:pt x="2820074" y="1562794"/>
                </a:lnTo>
                <a:lnTo>
                  <a:pt x="2822403" y="1594544"/>
                </a:lnTo>
                <a:lnTo>
                  <a:pt x="2859662" y="1299269"/>
                </a:lnTo>
                <a:lnTo>
                  <a:pt x="2855005" y="1408806"/>
                </a:lnTo>
                <a:lnTo>
                  <a:pt x="2859662" y="1521519"/>
                </a:lnTo>
                <a:lnTo>
                  <a:pt x="2864320" y="1623119"/>
                </a:lnTo>
                <a:lnTo>
                  <a:pt x="2875963" y="1704081"/>
                </a:lnTo>
                <a:lnTo>
                  <a:pt x="2878292" y="1715194"/>
                </a:lnTo>
                <a:lnTo>
                  <a:pt x="2882950" y="1718369"/>
                </a:lnTo>
                <a:lnTo>
                  <a:pt x="2887607" y="1713606"/>
                </a:lnTo>
                <a:lnTo>
                  <a:pt x="2892264" y="1702494"/>
                </a:lnTo>
                <a:lnTo>
                  <a:pt x="2894593" y="1654869"/>
                </a:lnTo>
                <a:lnTo>
                  <a:pt x="2899251" y="1589781"/>
                </a:lnTo>
                <a:lnTo>
                  <a:pt x="2906237" y="1411981"/>
                </a:lnTo>
                <a:lnTo>
                  <a:pt x="2915552" y="1208781"/>
                </a:lnTo>
                <a:lnTo>
                  <a:pt x="2920209" y="1027806"/>
                </a:lnTo>
                <a:lnTo>
                  <a:pt x="2927195" y="903981"/>
                </a:lnTo>
                <a:lnTo>
                  <a:pt x="2931853" y="878581"/>
                </a:lnTo>
                <a:lnTo>
                  <a:pt x="2936510" y="884931"/>
                </a:lnTo>
                <a:lnTo>
                  <a:pt x="2938839" y="929381"/>
                </a:lnTo>
                <a:lnTo>
                  <a:pt x="2948154" y="1013519"/>
                </a:lnTo>
                <a:lnTo>
                  <a:pt x="2943496" y="1010344"/>
                </a:lnTo>
                <a:lnTo>
                  <a:pt x="2943496" y="1016694"/>
                </a:lnTo>
                <a:lnTo>
                  <a:pt x="2938839" y="1035744"/>
                </a:lnTo>
                <a:lnTo>
                  <a:pt x="2938839" y="1054794"/>
                </a:lnTo>
                <a:lnTo>
                  <a:pt x="2936510" y="1059556"/>
                </a:lnTo>
                <a:lnTo>
                  <a:pt x="2950482" y="1310381"/>
                </a:lnTo>
                <a:lnTo>
                  <a:pt x="2955140" y="1111944"/>
                </a:lnTo>
                <a:lnTo>
                  <a:pt x="2959797" y="961131"/>
                </a:lnTo>
                <a:lnTo>
                  <a:pt x="2964455" y="848419"/>
                </a:lnTo>
                <a:lnTo>
                  <a:pt x="2971441" y="769044"/>
                </a:lnTo>
                <a:lnTo>
                  <a:pt x="2980756" y="718244"/>
                </a:lnTo>
                <a:lnTo>
                  <a:pt x="2987742" y="688081"/>
                </a:lnTo>
                <a:lnTo>
                  <a:pt x="2999385" y="667444"/>
                </a:lnTo>
                <a:lnTo>
                  <a:pt x="3008700" y="654744"/>
                </a:lnTo>
                <a:lnTo>
                  <a:pt x="3020344" y="643631"/>
                </a:lnTo>
                <a:lnTo>
                  <a:pt x="3027330" y="624581"/>
                </a:lnTo>
                <a:lnTo>
                  <a:pt x="3036645" y="591244"/>
                </a:lnTo>
                <a:lnTo>
                  <a:pt x="3043631" y="538856"/>
                </a:lnTo>
                <a:lnTo>
                  <a:pt x="3052946" y="459481"/>
                </a:lnTo>
                <a:lnTo>
                  <a:pt x="3055275" y="346769"/>
                </a:lnTo>
                <a:lnTo>
                  <a:pt x="3059932" y="195956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76740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3091534" y="-1"/>
            <a:ext cx="11292468" cy="1027992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4"/>
          <p:cNvSpPr/>
          <p:nvPr userDrawn="1"/>
        </p:nvSpPr>
        <p:spPr>
          <a:xfrm>
            <a:off x="3177" y="0"/>
            <a:ext cx="24377650" cy="13716000"/>
          </a:xfrm>
          <a:custGeom>
            <a:avLst/>
            <a:gdLst>
              <a:gd name="connsiteX0" fmla="*/ 0 w 23626916"/>
              <a:gd name="connsiteY0" fmla="*/ 0 h 12831096"/>
              <a:gd name="connsiteX1" fmla="*/ 19067816 w 23626916"/>
              <a:gd name="connsiteY1" fmla="*/ 0 h 12831096"/>
              <a:gd name="connsiteX2" fmla="*/ 14383180 w 23626916"/>
              <a:gd name="connsiteY2" fmla="*/ 4684639 h 12831096"/>
              <a:gd name="connsiteX3" fmla="*/ 19067816 w 23626916"/>
              <a:gd name="connsiteY3" fmla="*/ 9369278 h 12831096"/>
              <a:gd name="connsiteX4" fmla="*/ 23626916 w 23626916"/>
              <a:gd name="connsiteY4" fmla="*/ 9369278 h 12831096"/>
              <a:gd name="connsiteX5" fmla="*/ 23626916 w 23626916"/>
              <a:gd name="connsiteY5" fmla="*/ 12831096 h 12831096"/>
              <a:gd name="connsiteX6" fmla="*/ 0 w 23626916"/>
              <a:gd name="connsiteY6" fmla="*/ 12831096 h 1283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26916" h="12831096">
                <a:moveTo>
                  <a:pt x="0" y="0"/>
                </a:moveTo>
                <a:lnTo>
                  <a:pt x="19067816" y="0"/>
                </a:lnTo>
                <a:cubicBezTo>
                  <a:pt x="16480557" y="0"/>
                  <a:pt x="14383180" y="2097378"/>
                  <a:pt x="14383180" y="4684639"/>
                </a:cubicBezTo>
                <a:cubicBezTo>
                  <a:pt x="14383180" y="7271900"/>
                  <a:pt x="16480557" y="9369278"/>
                  <a:pt x="19067816" y="9369278"/>
                </a:cubicBezTo>
                <a:lnTo>
                  <a:pt x="23626916" y="9369278"/>
                </a:lnTo>
                <a:lnTo>
                  <a:pt x="23626916" y="12831096"/>
                </a:lnTo>
                <a:lnTo>
                  <a:pt x="0" y="1283109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3176" y="10561159"/>
            <a:ext cx="24423148" cy="3245958"/>
            <a:chOff x="685800" y="2700871"/>
            <a:chExt cx="7683500" cy="983892"/>
          </a:xfrm>
          <a:solidFill>
            <a:schemeClr val="bg1">
              <a:alpha val="48000"/>
            </a:schemeClr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648200" y="2700871"/>
              <a:ext cx="3721100" cy="962025"/>
            </a:xfrm>
            <a:custGeom>
              <a:avLst/>
              <a:gdLst>
                <a:gd name="T0" fmla="*/ 2285 w 2344"/>
                <a:gd name="T1" fmla="*/ 502 h 606"/>
                <a:gd name="T2" fmla="*/ 2271 w 2344"/>
                <a:gd name="T3" fmla="*/ 405 h 606"/>
                <a:gd name="T4" fmla="*/ 2226 w 2344"/>
                <a:gd name="T5" fmla="*/ 384 h 606"/>
                <a:gd name="T6" fmla="*/ 2118 w 2344"/>
                <a:gd name="T7" fmla="*/ 396 h 606"/>
                <a:gd name="T8" fmla="*/ 2094 w 2344"/>
                <a:gd name="T9" fmla="*/ 436 h 606"/>
                <a:gd name="T10" fmla="*/ 2071 w 2344"/>
                <a:gd name="T11" fmla="*/ 502 h 606"/>
                <a:gd name="T12" fmla="*/ 2059 w 2344"/>
                <a:gd name="T13" fmla="*/ 455 h 606"/>
                <a:gd name="T14" fmla="*/ 2042 w 2344"/>
                <a:gd name="T15" fmla="*/ 490 h 606"/>
                <a:gd name="T16" fmla="*/ 2000 w 2344"/>
                <a:gd name="T17" fmla="*/ 490 h 606"/>
                <a:gd name="T18" fmla="*/ 1918 w 2344"/>
                <a:gd name="T19" fmla="*/ 368 h 606"/>
                <a:gd name="T20" fmla="*/ 1774 w 2344"/>
                <a:gd name="T21" fmla="*/ 361 h 606"/>
                <a:gd name="T22" fmla="*/ 1668 w 2344"/>
                <a:gd name="T23" fmla="*/ 349 h 606"/>
                <a:gd name="T24" fmla="*/ 1574 w 2344"/>
                <a:gd name="T25" fmla="*/ 356 h 606"/>
                <a:gd name="T26" fmla="*/ 1526 w 2344"/>
                <a:gd name="T27" fmla="*/ 384 h 606"/>
                <a:gd name="T28" fmla="*/ 1371 w 2344"/>
                <a:gd name="T29" fmla="*/ 431 h 606"/>
                <a:gd name="T30" fmla="*/ 1253 w 2344"/>
                <a:gd name="T31" fmla="*/ 313 h 606"/>
                <a:gd name="T32" fmla="*/ 1253 w 2344"/>
                <a:gd name="T33" fmla="*/ 104 h 606"/>
                <a:gd name="T34" fmla="*/ 1100 w 2344"/>
                <a:gd name="T35" fmla="*/ 115 h 606"/>
                <a:gd name="T36" fmla="*/ 1100 w 2344"/>
                <a:gd name="T37" fmla="*/ 361 h 606"/>
                <a:gd name="T38" fmla="*/ 1017 w 2344"/>
                <a:gd name="T39" fmla="*/ 443 h 606"/>
                <a:gd name="T40" fmla="*/ 850 w 2344"/>
                <a:gd name="T41" fmla="*/ 337 h 606"/>
                <a:gd name="T42" fmla="*/ 744 w 2344"/>
                <a:gd name="T43" fmla="*/ 302 h 606"/>
                <a:gd name="T44" fmla="*/ 744 w 2344"/>
                <a:gd name="T45" fmla="*/ 490 h 606"/>
                <a:gd name="T46" fmla="*/ 650 w 2344"/>
                <a:gd name="T47" fmla="*/ 502 h 606"/>
                <a:gd name="T48" fmla="*/ 636 w 2344"/>
                <a:gd name="T49" fmla="*/ 525 h 606"/>
                <a:gd name="T50" fmla="*/ 603 w 2344"/>
                <a:gd name="T51" fmla="*/ 408 h 606"/>
                <a:gd name="T52" fmla="*/ 542 w 2344"/>
                <a:gd name="T53" fmla="*/ 361 h 606"/>
                <a:gd name="T54" fmla="*/ 494 w 2344"/>
                <a:gd name="T55" fmla="*/ 419 h 606"/>
                <a:gd name="T56" fmla="*/ 483 w 2344"/>
                <a:gd name="T57" fmla="*/ 535 h 606"/>
                <a:gd name="T58" fmla="*/ 459 w 2344"/>
                <a:gd name="T59" fmla="*/ 525 h 606"/>
                <a:gd name="T60" fmla="*/ 355 w 2344"/>
                <a:gd name="T61" fmla="*/ 514 h 606"/>
                <a:gd name="T62" fmla="*/ 341 w 2344"/>
                <a:gd name="T63" fmla="*/ 490 h 606"/>
                <a:gd name="T64" fmla="*/ 318 w 2344"/>
                <a:gd name="T65" fmla="*/ 467 h 606"/>
                <a:gd name="T66" fmla="*/ 318 w 2344"/>
                <a:gd name="T67" fmla="*/ 269 h 606"/>
                <a:gd name="T68" fmla="*/ 247 w 2344"/>
                <a:gd name="T69" fmla="*/ 92 h 606"/>
                <a:gd name="T70" fmla="*/ 223 w 2344"/>
                <a:gd name="T71" fmla="*/ 0 h 606"/>
                <a:gd name="T72" fmla="*/ 223 w 2344"/>
                <a:gd name="T73" fmla="*/ 80 h 606"/>
                <a:gd name="T74" fmla="*/ 162 w 2344"/>
                <a:gd name="T75" fmla="*/ 92 h 606"/>
                <a:gd name="T76" fmla="*/ 162 w 2344"/>
                <a:gd name="T77" fmla="*/ 12 h 606"/>
                <a:gd name="T78" fmla="*/ 150 w 2344"/>
                <a:gd name="T79" fmla="*/ 68 h 606"/>
                <a:gd name="T80" fmla="*/ 56 w 2344"/>
                <a:gd name="T81" fmla="*/ 104 h 606"/>
                <a:gd name="T82" fmla="*/ 56 w 2344"/>
                <a:gd name="T83" fmla="*/ 349 h 606"/>
                <a:gd name="T84" fmla="*/ 56 w 2344"/>
                <a:gd name="T85" fmla="*/ 471 h 606"/>
                <a:gd name="T86" fmla="*/ 4 w 2344"/>
                <a:gd name="T87" fmla="*/ 490 h 606"/>
                <a:gd name="T88" fmla="*/ 127 w 2344"/>
                <a:gd name="T89" fmla="*/ 606 h 606"/>
                <a:gd name="T90" fmla="*/ 271 w 2344"/>
                <a:gd name="T91" fmla="*/ 606 h 606"/>
                <a:gd name="T92" fmla="*/ 412 w 2344"/>
                <a:gd name="T93" fmla="*/ 606 h 606"/>
                <a:gd name="T94" fmla="*/ 565 w 2344"/>
                <a:gd name="T95" fmla="*/ 606 h 606"/>
                <a:gd name="T96" fmla="*/ 709 w 2344"/>
                <a:gd name="T97" fmla="*/ 606 h 606"/>
                <a:gd name="T98" fmla="*/ 850 w 2344"/>
                <a:gd name="T99" fmla="*/ 606 h 606"/>
                <a:gd name="T100" fmla="*/ 994 w 2344"/>
                <a:gd name="T101" fmla="*/ 606 h 606"/>
                <a:gd name="T102" fmla="*/ 1135 w 2344"/>
                <a:gd name="T103" fmla="*/ 606 h 606"/>
                <a:gd name="T104" fmla="*/ 1277 w 2344"/>
                <a:gd name="T105" fmla="*/ 606 h 606"/>
                <a:gd name="T106" fmla="*/ 1432 w 2344"/>
                <a:gd name="T107" fmla="*/ 606 h 606"/>
                <a:gd name="T108" fmla="*/ 1574 w 2344"/>
                <a:gd name="T109" fmla="*/ 606 h 606"/>
                <a:gd name="T110" fmla="*/ 1715 w 2344"/>
                <a:gd name="T111" fmla="*/ 606 h 606"/>
                <a:gd name="T112" fmla="*/ 1859 w 2344"/>
                <a:gd name="T113" fmla="*/ 606 h 606"/>
                <a:gd name="T114" fmla="*/ 2000 w 2344"/>
                <a:gd name="T115" fmla="*/ 606 h 606"/>
                <a:gd name="T116" fmla="*/ 2141 w 2344"/>
                <a:gd name="T117" fmla="*/ 606 h 606"/>
                <a:gd name="T118" fmla="*/ 2297 w 2344"/>
                <a:gd name="T119" fmla="*/ 606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44" h="606">
                  <a:moveTo>
                    <a:pt x="2344" y="514"/>
                  </a:moveTo>
                  <a:lnTo>
                    <a:pt x="2344" y="514"/>
                  </a:lnTo>
                  <a:lnTo>
                    <a:pt x="2332" y="514"/>
                  </a:lnTo>
                  <a:lnTo>
                    <a:pt x="2332" y="514"/>
                  </a:lnTo>
                  <a:lnTo>
                    <a:pt x="2320" y="514"/>
                  </a:lnTo>
                  <a:lnTo>
                    <a:pt x="2320" y="514"/>
                  </a:lnTo>
                  <a:lnTo>
                    <a:pt x="2309" y="514"/>
                  </a:lnTo>
                  <a:lnTo>
                    <a:pt x="2309" y="514"/>
                  </a:lnTo>
                  <a:lnTo>
                    <a:pt x="2302" y="514"/>
                  </a:lnTo>
                  <a:lnTo>
                    <a:pt x="2297" y="514"/>
                  </a:lnTo>
                  <a:lnTo>
                    <a:pt x="2297" y="514"/>
                  </a:lnTo>
                  <a:lnTo>
                    <a:pt x="2297" y="507"/>
                  </a:lnTo>
                  <a:lnTo>
                    <a:pt x="2297" y="502"/>
                  </a:lnTo>
                  <a:lnTo>
                    <a:pt x="2297" y="502"/>
                  </a:lnTo>
                  <a:lnTo>
                    <a:pt x="2290" y="502"/>
                  </a:lnTo>
                  <a:lnTo>
                    <a:pt x="2285" y="502"/>
                  </a:lnTo>
                  <a:lnTo>
                    <a:pt x="2285" y="502"/>
                  </a:lnTo>
                  <a:lnTo>
                    <a:pt x="2285" y="490"/>
                  </a:lnTo>
                  <a:lnTo>
                    <a:pt x="2285" y="490"/>
                  </a:lnTo>
                  <a:lnTo>
                    <a:pt x="2285" y="443"/>
                  </a:lnTo>
                  <a:lnTo>
                    <a:pt x="2285" y="443"/>
                  </a:lnTo>
                  <a:lnTo>
                    <a:pt x="2285" y="431"/>
                  </a:lnTo>
                  <a:lnTo>
                    <a:pt x="2285" y="431"/>
                  </a:lnTo>
                  <a:lnTo>
                    <a:pt x="2285" y="419"/>
                  </a:lnTo>
                  <a:lnTo>
                    <a:pt x="2285" y="419"/>
                  </a:lnTo>
                  <a:lnTo>
                    <a:pt x="2285" y="412"/>
                  </a:lnTo>
                  <a:lnTo>
                    <a:pt x="2285" y="408"/>
                  </a:lnTo>
                  <a:lnTo>
                    <a:pt x="2285" y="408"/>
                  </a:lnTo>
                  <a:lnTo>
                    <a:pt x="2278" y="408"/>
                  </a:lnTo>
                  <a:lnTo>
                    <a:pt x="2273" y="408"/>
                  </a:lnTo>
                  <a:lnTo>
                    <a:pt x="2273" y="408"/>
                  </a:lnTo>
                  <a:lnTo>
                    <a:pt x="2271" y="405"/>
                  </a:lnTo>
                  <a:lnTo>
                    <a:pt x="2273" y="403"/>
                  </a:lnTo>
                  <a:lnTo>
                    <a:pt x="2273" y="396"/>
                  </a:lnTo>
                  <a:lnTo>
                    <a:pt x="2273" y="396"/>
                  </a:lnTo>
                  <a:lnTo>
                    <a:pt x="2266" y="396"/>
                  </a:lnTo>
                  <a:lnTo>
                    <a:pt x="2262" y="396"/>
                  </a:lnTo>
                  <a:lnTo>
                    <a:pt x="2262" y="396"/>
                  </a:lnTo>
                  <a:lnTo>
                    <a:pt x="2262" y="391"/>
                  </a:lnTo>
                  <a:lnTo>
                    <a:pt x="2262" y="384"/>
                  </a:lnTo>
                  <a:lnTo>
                    <a:pt x="2262" y="384"/>
                  </a:lnTo>
                  <a:lnTo>
                    <a:pt x="2254" y="384"/>
                  </a:lnTo>
                  <a:lnTo>
                    <a:pt x="2250" y="384"/>
                  </a:lnTo>
                  <a:lnTo>
                    <a:pt x="2250" y="384"/>
                  </a:lnTo>
                  <a:lnTo>
                    <a:pt x="2238" y="384"/>
                  </a:lnTo>
                  <a:lnTo>
                    <a:pt x="2238" y="384"/>
                  </a:lnTo>
                  <a:lnTo>
                    <a:pt x="2226" y="384"/>
                  </a:lnTo>
                  <a:lnTo>
                    <a:pt x="2226" y="384"/>
                  </a:lnTo>
                  <a:lnTo>
                    <a:pt x="2214" y="384"/>
                  </a:lnTo>
                  <a:lnTo>
                    <a:pt x="2214" y="384"/>
                  </a:lnTo>
                  <a:lnTo>
                    <a:pt x="2188" y="384"/>
                  </a:lnTo>
                  <a:lnTo>
                    <a:pt x="2188" y="384"/>
                  </a:lnTo>
                  <a:lnTo>
                    <a:pt x="2165" y="384"/>
                  </a:lnTo>
                  <a:lnTo>
                    <a:pt x="2165" y="384"/>
                  </a:lnTo>
                  <a:lnTo>
                    <a:pt x="2141" y="384"/>
                  </a:lnTo>
                  <a:lnTo>
                    <a:pt x="2141" y="384"/>
                  </a:lnTo>
                  <a:lnTo>
                    <a:pt x="2130" y="384"/>
                  </a:lnTo>
                  <a:lnTo>
                    <a:pt x="2130" y="384"/>
                  </a:lnTo>
                  <a:lnTo>
                    <a:pt x="2125" y="384"/>
                  </a:lnTo>
                  <a:lnTo>
                    <a:pt x="2118" y="384"/>
                  </a:lnTo>
                  <a:lnTo>
                    <a:pt x="2118" y="384"/>
                  </a:lnTo>
                  <a:lnTo>
                    <a:pt x="2118" y="391"/>
                  </a:lnTo>
                  <a:lnTo>
                    <a:pt x="2118" y="396"/>
                  </a:lnTo>
                  <a:lnTo>
                    <a:pt x="2118" y="396"/>
                  </a:lnTo>
                  <a:lnTo>
                    <a:pt x="2113" y="396"/>
                  </a:lnTo>
                  <a:lnTo>
                    <a:pt x="2106" y="396"/>
                  </a:lnTo>
                  <a:lnTo>
                    <a:pt x="2106" y="396"/>
                  </a:lnTo>
                  <a:lnTo>
                    <a:pt x="2106" y="408"/>
                  </a:lnTo>
                  <a:lnTo>
                    <a:pt x="2106" y="408"/>
                  </a:lnTo>
                  <a:lnTo>
                    <a:pt x="2106" y="415"/>
                  </a:lnTo>
                  <a:lnTo>
                    <a:pt x="2106" y="419"/>
                  </a:lnTo>
                  <a:lnTo>
                    <a:pt x="2106" y="419"/>
                  </a:lnTo>
                  <a:lnTo>
                    <a:pt x="2106" y="427"/>
                  </a:lnTo>
                  <a:lnTo>
                    <a:pt x="2106" y="431"/>
                  </a:lnTo>
                  <a:lnTo>
                    <a:pt x="2106" y="431"/>
                  </a:lnTo>
                  <a:lnTo>
                    <a:pt x="2101" y="431"/>
                  </a:lnTo>
                  <a:lnTo>
                    <a:pt x="2094" y="431"/>
                  </a:lnTo>
                  <a:lnTo>
                    <a:pt x="2094" y="431"/>
                  </a:lnTo>
                  <a:lnTo>
                    <a:pt x="2094" y="434"/>
                  </a:lnTo>
                  <a:lnTo>
                    <a:pt x="2094" y="436"/>
                  </a:lnTo>
                  <a:lnTo>
                    <a:pt x="2094" y="443"/>
                  </a:lnTo>
                  <a:lnTo>
                    <a:pt x="2094" y="443"/>
                  </a:lnTo>
                  <a:lnTo>
                    <a:pt x="2090" y="443"/>
                  </a:lnTo>
                  <a:lnTo>
                    <a:pt x="2082" y="443"/>
                  </a:lnTo>
                  <a:lnTo>
                    <a:pt x="2082" y="443"/>
                  </a:lnTo>
                  <a:lnTo>
                    <a:pt x="2082" y="448"/>
                  </a:lnTo>
                  <a:lnTo>
                    <a:pt x="2082" y="455"/>
                  </a:lnTo>
                  <a:lnTo>
                    <a:pt x="2082" y="455"/>
                  </a:lnTo>
                  <a:lnTo>
                    <a:pt x="2082" y="467"/>
                  </a:lnTo>
                  <a:lnTo>
                    <a:pt x="2082" y="467"/>
                  </a:lnTo>
                  <a:lnTo>
                    <a:pt x="2082" y="478"/>
                  </a:lnTo>
                  <a:lnTo>
                    <a:pt x="2082" y="478"/>
                  </a:lnTo>
                  <a:lnTo>
                    <a:pt x="2082" y="502"/>
                  </a:lnTo>
                  <a:lnTo>
                    <a:pt x="2082" y="502"/>
                  </a:lnTo>
                  <a:lnTo>
                    <a:pt x="2071" y="502"/>
                  </a:lnTo>
                  <a:lnTo>
                    <a:pt x="2071" y="502"/>
                  </a:lnTo>
                  <a:lnTo>
                    <a:pt x="2071" y="490"/>
                  </a:lnTo>
                  <a:lnTo>
                    <a:pt x="2071" y="490"/>
                  </a:lnTo>
                  <a:lnTo>
                    <a:pt x="2071" y="478"/>
                  </a:lnTo>
                  <a:lnTo>
                    <a:pt x="2071" y="478"/>
                  </a:lnTo>
                  <a:lnTo>
                    <a:pt x="2071" y="467"/>
                  </a:lnTo>
                  <a:lnTo>
                    <a:pt x="2071" y="467"/>
                  </a:lnTo>
                  <a:lnTo>
                    <a:pt x="2071" y="455"/>
                  </a:lnTo>
                  <a:lnTo>
                    <a:pt x="2071" y="455"/>
                  </a:lnTo>
                  <a:lnTo>
                    <a:pt x="2071" y="448"/>
                  </a:lnTo>
                  <a:lnTo>
                    <a:pt x="2071" y="443"/>
                  </a:lnTo>
                  <a:lnTo>
                    <a:pt x="2071" y="443"/>
                  </a:lnTo>
                  <a:lnTo>
                    <a:pt x="2059" y="443"/>
                  </a:lnTo>
                  <a:lnTo>
                    <a:pt x="2059" y="443"/>
                  </a:lnTo>
                  <a:lnTo>
                    <a:pt x="2059" y="448"/>
                  </a:lnTo>
                  <a:lnTo>
                    <a:pt x="2059" y="455"/>
                  </a:lnTo>
                  <a:lnTo>
                    <a:pt x="2059" y="455"/>
                  </a:lnTo>
                  <a:lnTo>
                    <a:pt x="2059" y="478"/>
                  </a:lnTo>
                  <a:lnTo>
                    <a:pt x="2059" y="478"/>
                  </a:lnTo>
                  <a:lnTo>
                    <a:pt x="2059" y="525"/>
                  </a:lnTo>
                  <a:lnTo>
                    <a:pt x="2059" y="525"/>
                  </a:lnTo>
                  <a:lnTo>
                    <a:pt x="2054" y="525"/>
                  </a:lnTo>
                  <a:lnTo>
                    <a:pt x="2047" y="525"/>
                  </a:lnTo>
                  <a:lnTo>
                    <a:pt x="2047" y="525"/>
                  </a:lnTo>
                  <a:lnTo>
                    <a:pt x="2047" y="518"/>
                  </a:lnTo>
                  <a:lnTo>
                    <a:pt x="2047" y="514"/>
                  </a:lnTo>
                  <a:lnTo>
                    <a:pt x="2047" y="514"/>
                  </a:lnTo>
                  <a:lnTo>
                    <a:pt x="2047" y="502"/>
                  </a:lnTo>
                  <a:lnTo>
                    <a:pt x="2047" y="502"/>
                  </a:lnTo>
                  <a:lnTo>
                    <a:pt x="2047" y="495"/>
                  </a:lnTo>
                  <a:lnTo>
                    <a:pt x="2047" y="490"/>
                  </a:lnTo>
                  <a:lnTo>
                    <a:pt x="2047" y="490"/>
                  </a:lnTo>
                  <a:lnTo>
                    <a:pt x="2042" y="490"/>
                  </a:lnTo>
                  <a:lnTo>
                    <a:pt x="2035" y="490"/>
                  </a:lnTo>
                  <a:lnTo>
                    <a:pt x="2035" y="490"/>
                  </a:lnTo>
                  <a:lnTo>
                    <a:pt x="2035" y="483"/>
                  </a:lnTo>
                  <a:lnTo>
                    <a:pt x="2035" y="478"/>
                  </a:lnTo>
                  <a:lnTo>
                    <a:pt x="2035" y="478"/>
                  </a:lnTo>
                  <a:lnTo>
                    <a:pt x="2031" y="478"/>
                  </a:lnTo>
                  <a:lnTo>
                    <a:pt x="2024" y="478"/>
                  </a:lnTo>
                  <a:lnTo>
                    <a:pt x="2024" y="478"/>
                  </a:lnTo>
                  <a:lnTo>
                    <a:pt x="2012" y="478"/>
                  </a:lnTo>
                  <a:lnTo>
                    <a:pt x="2012" y="478"/>
                  </a:lnTo>
                  <a:lnTo>
                    <a:pt x="2005" y="478"/>
                  </a:lnTo>
                  <a:lnTo>
                    <a:pt x="2000" y="478"/>
                  </a:lnTo>
                  <a:lnTo>
                    <a:pt x="2000" y="478"/>
                  </a:lnTo>
                  <a:lnTo>
                    <a:pt x="2000" y="483"/>
                  </a:lnTo>
                  <a:lnTo>
                    <a:pt x="2000" y="490"/>
                  </a:lnTo>
                  <a:lnTo>
                    <a:pt x="2000" y="490"/>
                  </a:lnTo>
                  <a:lnTo>
                    <a:pt x="1998" y="490"/>
                  </a:lnTo>
                  <a:lnTo>
                    <a:pt x="1995" y="490"/>
                  </a:lnTo>
                  <a:lnTo>
                    <a:pt x="1988" y="490"/>
                  </a:lnTo>
                  <a:lnTo>
                    <a:pt x="1988" y="490"/>
                  </a:lnTo>
                  <a:lnTo>
                    <a:pt x="1988" y="396"/>
                  </a:lnTo>
                  <a:lnTo>
                    <a:pt x="1988" y="396"/>
                  </a:lnTo>
                  <a:lnTo>
                    <a:pt x="1988" y="372"/>
                  </a:lnTo>
                  <a:lnTo>
                    <a:pt x="1988" y="372"/>
                  </a:lnTo>
                  <a:lnTo>
                    <a:pt x="1941" y="372"/>
                  </a:lnTo>
                  <a:lnTo>
                    <a:pt x="1941" y="372"/>
                  </a:lnTo>
                  <a:lnTo>
                    <a:pt x="1929" y="372"/>
                  </a:lnTo>
                  <a:lnTo>
                    <a:pt x="1929" y="372"/>
                  </a:lnTo>
                  <a:lnTo>
                    <a:pt x="1922" y="372"/>
                  </a:lnTo>
                  <a:lnTo>
                    <a:pt x="1918" y="372"/>
                  </a:lnTo>
                  <a:lnTo>
                    <a:pt x="1918" y="372"/>
                  </a:lnTo>
                  <a:lnTo>
                    <a:pt x="1918" y="368"/>
                  </a:lnTo>
                  <a:lnTo>
                    <a:pt x="1918" y="361"/>
                  </a:lnTo>
                  <a:lnTo>
                    <a:pt x="1918" y="361"/>
                  </a:lnTo>
                  <a:lnTo>
                    <a:pt x="1906" y="361"/>
                  </a:lnTo>
                  <a:lnTo>
                    <a:pt x="1906" y="361"/>
                  </a:lnTo>
                  <a:lnTo>
                    <a:pt x="1894" y="361"/>
                  </a:lnTo>
                  <a:lnTo>
                    <a:pt x="1894" y="361"/>
                  </a:lnTo>
                  <a:lnTo>
                    <a:pt x="1847" y="361"/>
                  </a:lnTo>
                  <a:lnTo>
                    <a:pt x="1847" y="361"/>
                  </a:lnTo>
                  <a:lnTo>
                    <a:pt x="1823" y="361"/>
                  </a:lnTo>
                  <a:lnTo>
                    <a:pt x="1823" y="361"/>
                  </a:lnTo>
                  <a:lnTo>
                    <a:pt x="1812" y="361"/>
                  </a:lnTo>
                  <a:lnTo>
                    <a:pt x="1812" y="361"/>
                  </a:lnTo>
                  <a:lnTo>
                    <a:pt x="1786" y="361"/>
                  </a:lnTo>
                  <a:lnTo>
                    <a:pt x="1786" y="361"/>
                  </a:lnTo>
                  <a:lnTo>
                    <a:pt x="1774" y="361"/>
                  </a:lnTo>
                  <a:lnTo>
                    <a:pt x="1774" y="361"/>
                  </a:lnTo>
                  <a:lnTo>
                    <a:pt x="1750" y="361"/>
                  </a:lnTo>
                  <a:lnTo>
                    <a:pt x="1750" y="361"/>
                  </a:lnTo>
                  <a:lnTo>
                    <a:pt x="1738" y="361"/>
                  </a:lnTo>
                  <a:lnTo>
                    <a:pt x="1738" y="361"/>
                  </a:lnTo>
                  <a:lnTo>
                    <a:pt x="1715" y="361"/>
                  </a:lnTo>
                  <a:lnTo>
                    <a:pt x="1715" y="361"/>
                  </a:lnTo>
                  <a:lnTo>
                    <a:pt x="1691" y="361"/>
                  </a:lnTo>
                  <a:lnTo>
                    <a:pt x="1691" y="361"/>
                  </a:lnTo>
                  <a:lnTo>
                    <a:pt x="1680" y="361"/>
                  </a:lnTo>
                  <a:lnTo>
                    <a:pt x="1680" y="361"/>
                  </a:lnTo>
                  <a:lnTo>
                    <a:pt x="1675" y="361"/>
                  </a:lnTo>
                  <a:lnTo>
                    <a:pt x="1668" y="361"/>
                  </a:lnTo>
                  <a:lnTo>
                    <a:pt x="1668" y="361"/>
                  </a:lnTo>
                  <a:lnTo>
                    <a:pt x="1668" y="356"/>
                  </a:lnTo>
                  <a:lnTo>
                    <a:pt x="1668" y="349"/>
                  </a:lnTo>
                  <a:lnTo>
                    <a:pt x="1668" y="349"/>
                  </a:lnTo>
                  <a:lnTo>
                    <a:pt x="1663" y="349"/>
                  </a:lnTo>
                  <a:lnTo>
                    <a:pt x="1656" y="349"/>
                  </a:lnTo>
                  <a:lnTo>
                    <a:pt x="1656" y="349"/>
                  </a:lnTo>
                  <a:lnTo>
                    <a:pt x="1644" y="349"/>
                  </a:lnTo>
                  <a:lnTo>
                    <a:pt x="1644" y="349"/>
                  </a:lnTo>
                  <a:lnTo>
                    <a:pt x="1632" y="349"/>
                  </a:lnTo>
                  <a:lnTo>
                    <a:pt x="1632" y="349"/>
                  </a:lnTo>
                  <a:lnTo>
                    <a:pt x="1609" y="349"/>
                  </a:lnTo>
                  <a:lnTo>
                    <a:pt x="1609" y="349"/>
                  </a:lnTo>
                  <a:lnTo>
                    <a:pt x="1585" y="349"/>
                  </a:lnTo>
                  <a:lnTo>
                    <a:pt x="1585" y="349"/>
                  </a:lnTo>
                  <a:lnTo>
                    <a:pt x="1578" y="349"/>
                  </a:lnTo>
                  <a:lnTo>
                    <a:pt x="1574" y="349"/>
                  </a:lnTo>
                  <a:lnTo>
                    <a:pt x="1574" y="349"/>
                  </a:lnTo>
                  <a:lnTo>
                    <a:pt x="1574" y="351"/>
                  </a:lnTo>
                  <a:lnTo>
                    <a:pt x="1574" y="356"/>
                  </a:lnTo>
                  <a:lnTo>
                    <a:pt x="1574" y="361"/>
                  </a:lnTo>
                  <a:lnTo>
                    <a:pt x="1574" y="361"/>
                  </a:lnTo>
                  <a:lnTo>
                    <a:pt x="1574" y="363"/>
                  </a:lnTo>
                  <a:lnTo>
                    <a:pt x="1574" y="368"/>
                  </a:lnTo>
                  <a:lnTo>
                    <a:pt x="1574" y="370"/>
                  </a:lnTo>
                  <a:lnTo>
                    <a:pt x="1574" y="372"/>
                  </a:lnTo>
                  <a:lnTo>
                    <a:pt x="1574" y="372"/>
                  </a:lnTo>
                  <a:lnTo>
                    <a:pt x="1562" y="372"/>
                  </a:lnTo>
                  <a:lnTo>
                    <a:pt x="1562" y="372"/>
                  </a:lnTo>
                  <a:lnTo>
                    <a:pt x="1550" y="372"/>
                  </a:lnTo>
                  <a:lnTo>
                    <a:pt x="1550" y="372"/>
                  </a:lnTo>
                  <a:lnTo>
                    <a:pt x="1526" y="372"/>
                  </a:lnTo>
                  <a:lnTo>
                    <a:pt x="1526" y="372"/>
                  </a:lnTo>
                  <a:lnTo>
                    <a:pt x="1526" y="379"/>
                  </a:lnTo>
                  <a:lnTo>
                    <a:pt x="1526" y="382"/>
                  </a:lnTo>
                  <a:lnTo>
                    <a:pt x="1526" y="384"/>
                  </a:lnTo>
                  <a:lnTo>
                    <a:pt x="1526" y="384"/>
                  </a:lnTo>
                  <a:lnTo>
                    <a:pt x="1519" y="384"/>
                  </a:lnTo>
                  <a:lnTo>
                    <a:pt x="1515" y="384"/>
                  </a:lnTo>
                  <a:lnTo>
                    <a:pt x="1515" y="384"/>
                  </a:lnTo>
                  <a:lnTo>
                    <a:pt x="1503" y="384"/>
                  </a:lnTo>
                  <a:lnTo>
                    <a:pt x="1503" y="384"/>
                  </a:lnTo>
                  <a:lnTo>
                    <a:pt x="1491" y="384"/>
                  </a:lnTo>
                  <a:lnTo>
                    <a:pt x="1491" y="384"/>
                  </a:lnTo>
                  <a:lnTo>
                    <a:pt x="1468" y="384"/>
                  </a:lnTo>
                  <a:lnTo>
                    <a:pt x="1468" y="384"/>
                  </a:lnTo>
                  <a:lnTo>
                    <a:pt x="1420" y="384"/>
                  </a:lnTo>
                  <a:lnTo>
                    <a:pt x="1420" y="384"/>
                  </a:lnTo>
                  <a:lnTo>
                    <a:pt x="1420" y="431"/>
                  </a:lnTo>
                  <a:lnTo>
                    <a:pt x="1420" y="431"/>
                  </a:lnTo>
                  <a:lnTo>
                    <a:pt x="1371" y="431"/>
                  </a:lnTo>
                  <a:lnTo>
                    <a:pt x="1371" y="431"/>
                  </a:lnTo>
                  <a:lnTo>
                    <a:pt x="1324" y="431"/>
                  </a:lnTo>
                  <a:lnTo>
                    <a:pt x="1324" y="431"/>
                  </a:lnTo>
                  <a:lnTo>
                    <a:pt x="1312" y="431"/>
                  </a:lnTo>
                  <a:lnTo>
                    <a:pt x="1312" y="431"/>
                  </a:lnTo>
                  <a:lnTo>
                    <a:pt x="1288" y="431"/>
                  </a:lnTo>
                  <a:lnTo>
                    <a:pt x="1288" y="431"/>
                  </a:lnTo>
                  <a:lnTo>
                    <a:pt x="1277" y="431"/>
                  </a:lnTo>
                  <a:lnTo>
                    <a:pt x="1277" y="431"/>
                  </a:lnTo>
                  <a:lnTo>
                    <a:pt x="1253" y="431"/>
                  </a:lnTo>
                  <a:lnTo>
                    <a:pt x="1253" y="431"/>
                  </a:lnTo>
                  <a:lnTo>
                    <a:pt x="1253" y="384"/>
                  </a:lnTo>
                  <a:lnTo>
                    <a:pt x="1253" y="384"/>
                  </a:lnTo>
                  <a:lnTo>
                    <a:pt x="1253" y="337"/>
                  </a:lnTo>
                  <a:lnTo>
                    <a:pt x="1253" y="337"/>
                  </a:lnTo>
                  <a:lnTo>
                    <a:pt x="1253" y="313"/>
                  </a:lnTo>
                  <a:lnTo>
                    <a:pt x="1253" y="313"/>
                  </a:lnTo>
                  <a:lnTo>
                    <a:pt x="1253" y="292"/>
                  </a:lnTo>
                  <a:lnTo>
                    <a:pt x="1253" y="292"/>
                  </a:lnTo>
                  <a:lnTo>
                    <a:pt x="1253" y="280"/>
                  </a:lnTo>
                  <a:lnTo>
                    <a:pt x="1253" y="280"/>
                  </a:lnTo>
                  <a:lnTo>
                    <a:pt x="1253" y="257"/>
                  </a:lnTo>
                  <a:lnTo>
                    <a:pt x="1253" y="257"/>
                  </a:lnTo>
                  <a:lnTo>
                    <a:pt x="1253" y="233"/>
                  </a:lnTo>
                  <a:lnTo>
                    <a:pt x="1253" y="233"/>
                  </a:lnTo>
                  <a:lnTo>
                    <a:pt x="1253" y="186"/>
                  </a:lnTo>
                  <a:lnTo>
                    <a:pt x="1253" y="186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3" y="151"/>
                  </a:lnTo>
                  <a:lnTo>
                    <a:pt x="1253" y="151"/>
                  </a:lnTo>
                  <a:lnTo>
                    <a:pt x="1253" y="104"/>
                  </a:lnTo>
                  <a:lnTo>
                    <a:pt x="1253" y="104"/>
                  </a:lnTo>
                  <a:lnTo>
                    <a:pt x="1241" y="104"/>
                  </a:lnTo>
                  <a:lnTo>
                    <a:pt x="1241" y="104"/>
                  </a:lnTo>
                  <a:lnTo>
                    <a:pt x="1218" y="104"/>
                  </a:lnTo>
                  <a:lnTo>
                    <a:pt x="1218" y="104"/>
                  </a:lnTo>
                  <a:lnTo>
                    <a:pt x="1206" y="104"/>
                  </a:lnTo>
                  <a:lnTo>
                    <a:pt x="1206" y="104"/>
                  </a:lnTo>
                  <a:lnTo>
                    <a:pt x="1182" y="104"/>
                  </a:lnTo>
                  <a:lnTo>
                    <a:pt x="1182" y="104"/>
                  </a:lnTo>
                  <a:lnTo>
                    <a:pt x="1171" y="104"/>
                  </a:lnTo>
                  <a:lnTo>
                    <a:pt x="1171" y="104"/>
                  </a:lnTo>
                  <a:lnTo>
                    <a:pt x="1147" y="104"/>
                  </a:lnTo>
                  <a:lnTo>
                    <a:pt x="1147" y="104"/>
                  </a:lnTo>
                  <a:lnTo>
                    <a:pt x="1100" y="104"/>
                  </a:lnTo>
                  <a:lnTo>
                    <a:pt x="1100" y="104"/>
                  </a:lnTo>
                  <a:lnTo>
                    <a:pt x="1100" y="115"/>
                  </a:lnTo>
                  <a:lnTo>
                    <a:pt x="1100" y="115"/>
                  </a:lnTo>
                  <a:lnTo>
                    <a:pt x="1100" y="139"/>
                  </a:lnTo>
                  <a:lnTo>
                    <a:pt x="1100" y="139"/>
                  </a:lnTo>
                  <a:lnTo>
                    <a:pt x="1100" y="186"/>
                  </a:lnTo>
                  <a:lnTo>
                    <a:pt x="1100" y="186"/>
                  </a:lnTo>
                  <a:lnTo>
                    <a:pt x="1100" y="233"/>
                  </a:lnTo>
                  <a:lnTo>
                    <a:pt x="1100" y="233"/>
                  </a:lnTo>
                  <a:lnTo>
                    <a:pt x="1100" y="257"/>
                  </a:lnTo>
                  <a:lnTo>
                    <a:pt x="1100" y="257"/>
                  </a:lnTo>
                  <a:lnTo>
                    <a:pt x="1100" y="269"/>
                  </a:lnTo>
                  <a:lnTo>
                    <a:pt x="1100" y="269"/>
                  </a:lnTo>
                  <a:lnTo>
                    <a:pt x="1100" y="292"/>
                  </a:lnTo>
                  <a:lnTo>
                    <a:pt x="1100" y="292"/>
                  </a:lnTo>
                  <a:lnTo>
                    <a:pt x="1100" y="313"/>
                  </a:lnTo>
                  <a:lnTo>
                    <a:pt x="1100" y="313"/>
                  </a:lnTo>
                  <a:lnTo>
                    <a:pt x="1100" y="361"/>
                  </a:lnTo>
                  <a:lnTo>
                    <a:pt x="1100" y="361"/>
                  </a:lnTo>
                  <a:lnTo>
                    <a:pt x="1100" y="408"/>
                  </a:lnTo>
                  <a:lnTo>
                    <a:pt x="1100" y="408"/>
                  </a:lnTo>
                  <a:lnTo>
                    <a:pt x="1100" y="419"/>
                  </a:lnTo>
                  <a:lnTo>
                    <a:pt x="1100" y="419"/>
                  </a:lnTo>
                  <a:lnTo>
                    <a:pt x="1100" y="443"/>
                  </a:lnTo>
                  <a:lnTo>
                    <a:pt x="1100" y="443"/>
                  </a:lnTo>
                  <a:lnTo>
                    <a:pt x="1088" y="443"/>
                  </a:lnTo>
                  <a:lnTo>
                    <a:pt x="1088" y="443"/>
                  </a:lnTo>
                  <a:lnTo>
                    <a:pt x="1065" y="443"/>
                  </a:lnTo>
                  <a:lnTo>
                    <a:pt x="1065" y="443"/>
                  </a:lnTo>
                  <a:lnTo>
                    <a:pt x="1053" y="443"/>
                  </a:lnTo>
                  <a:lnTo>
                    <a:pt x="1053" y="443"/>
                  </a:lnTo>
                  <a:lnTo>
                    <a:pt x="1029" y="443"/>
                  </a:lnTo>
                  <a:lnTo>
                    <a:pt x="1029" y="443"/>
                  </a:lnTo>
                  <a:lnTo>
                    <a:pt x="1017" y="443"/>
                  </a:lnTo>
                  <a:lnTo>
                    <a:pt x="1017" y="443"/>
                  </a:lnTo>
                  <a:lnTo>
                    <a:pt x="994" y="443"/>
                  </a:lnTo>
                  <a:lnTo>
                    <a:pt x="994" y="443"/>
                  </a:lnTo>
                  <a:lnTo>
                    <a:pt x="968" y="443"/>
                  </a:lnTo>
                  <a:lnTo>
                    <a:pt x="968" y="443"/>
                  </a:lnTo>
                  <a:lnTo>
                    <a:pt x="944" y="443"/>
                  </a:lnTo>
                  <a:lnTo>
                    <a:pt x="944" y="443"/>
                  </a:lnTo>
                  <a:lnTo>
                    <a:pt x="897" y="443"/>
                  </a:lnTo>
                  <a:lnTo>
                    <a:pt x="897" y="443"/>
                  </a:lnTo>
                  <a:lnTo>
                    <a:pt x="850" y="443"/>
                  </a:lnTo>
                  <a:lnTo>
                    <a:pt x="850" y="443"/>
                  </a:lnTo>
                  <a:lnTo>
                    <a:pt x="850" y="431"/>
                  </a:lnTo>
                  <a:lnTo>
                    <a:pt x="850" y="431"/>
                  </a:lnTo>
                  <a:lnTo>
                    <a:pt x="850" y="384"/>
                  </a:lnTo>
                  <a:lnTo>
                    <a:pt x="850" y="384"/>
                  </a:lnTo>
                  <a:lnTo>
                    <a:pt x="850" y="337"/>
                  </a:lnTo>
                  <a:lnTo>
                    <a:pt x="850" y="337"/>
                  </a:lnTo>
                  <a:lnTo>
                    <a:pt x="850" y="245"/>
                  </a:lnTo>
                  <a:lnTo>
                    <a:pt x="850" y="245"/>
                  </a:lnTo>
                  <a:lnTo>
                    <a:pt x="827" y="245"/>
                  </a:lnTo>
                  <a:lnTo>
                    <a:pt x="827" y="245"/>
                  </a:lnTo>
                  <a:lnTo>
                    <a:pt x="815" y="245"/>
                  </a:lnTo>
                  <a:lnTo>
                    <a:pt x="815" y="245"/>
                  </a:lnTo>
                  <a:lnTo>
                    <a:pt x="791" y="245"/>
                  </a:lnTo>
                  <a:lnTo>
                    <a:pt x="791" y="245"/>
                  </a:lnTo>
                  <a:lnTo>
                    <a:pt x="744" y="245"/>
                  </a:lnTo>
                  <a:lnTo>
                    <a:pt x="744" y="245"/>
                  </a:lnTo>
                  <a:lnTo>
                    <a:pt x="744" y="269"/>
                  </a:lnTo>
                  <a:lnTo>
                    <a:pt x="744" y="269"/>
                  </a:lnTo>
                  <a:lnTo>
                    <a:pt x="744" y="280"/>
                  </a:lnTo>
                  <a:lnTo>
                    <a:pt x="744" y="280"/>
                  </a:lnTo>
                  <a:lnTo>
                    <a:pt x="744" y="302"/>
                  </a:lnTo>
                  <a:lnTo>
                    <a:pt x="744" y="302"/>
                  </a:lnTo>
                  <a:lnTo>
                    <a:pt x="744" y="325"/>
                  </a:lnTo>
                  <a:lnTo>
                    <a:pt x="744" y="325"/>
                  </a:lnTo>
                  <a:lnTo>
                    <a:pt x="744" y="337"/>
                  </a:lnTo>
                  <a:lnTo>
                    <a:pt x="744" y="337"/>
                  </a:lnTo>
                  <a:lnTo>
                    <a:pt x="744" y="361"/>
                  </a:lnTo>
                  <a:lnTo>
                    <a:pt x="744" y="361"/>
                  </a:lnTo>
                  <a:lnTo>
                    <a:pt x="744" y="372"/>
                  </a:lnTo>
                  <a:lnTo>
                    <a:pt x="744" y="372"/>
                  </a:lnTo>
                  <a:lnTo>
                    <a:pt x="744" y="396"/>
                  </a:lnTo>
                  <a:lnTo>
                    <a:pt x="744" y="396"/>
                  </a:lnTo>
                  <a:lnTo>
                    <a:pt x="744" y="419"/>
                  </a:lnTo>
                  <a:lnTo>
                    <a:pt x="744" y="419"/>
                  </a:lnTo>
                  <a:lnTo>
                    <a:pt x="744" y="467"/>
                  </a:lnTo>
                  <a:lnTo>
                    <a:pt x="744" y="467"/>
                  </a:lnTo>
                  <a:lnTo>
                    <a:pt x="744" y="490"/>
                  </a:lnTo>
                  <a:lnTo>
                    <a:pt x="744" y="490"/>
                  </a:lnTo>
                  <a:lnTo>
                    <a:pt x="732" y="490"/>
                  </a:lnTo>
                  <a:lnTo>
                    <a:pt x="732" y="490"/>
                  </a:lnTo>
                  <a:lnTo>
                    <a:pt x="709" y="490"/>
                  </a:lnTo>
                  <a:lnTo>
                    <a:pt x="709" y="490"/>
                  </a:lnTo>
                  <a:lnTo>
                    <a:pt x="709" y="495"/>
                  </a:lnTo>
                  <a:lnTo>
                    <a:pt x="709" y="500"/>
                  </a:lnTo>
                  <a:lnTo>
                    <a:pt x="709" y="502"/>
                  </a:lnTo>
                  <a:lnTo>
                    <a:pt x="709" y="502"/>
                  </a:lnTo>
                  <a:lnTo>
                    <a:pt x="702" y="502"/>
                  </a:lnTo>
                  <a:lnTo>
                    <a:pt x="697" y="502"/>
                  </a:lnTo>
                  <a:lnTo>
                    <a:pt x="697" y="502"/>
                  </a:lnTo>
                  <a:lnTo>
                    <a:pt x="685" y="502"/>
                  </a:lnTo>
                  <a:lnTo>
                    <a:pt x="685" y="502"/>
                  </a:lnTo>
                  <a:lnTo>
                    <a:pt x="673" y="502"/>
                  </a:lnTo>
                  <a:lnTo>
                    <a:pt x="673" y="502"/>
                  </a:lnTo>
                  <a:lnTo>
                    <a:pt x="650" y="502"/>
                  </a:lnTo>
                  <a:lnTo>
                    <a:pt x="650" y="502"/>
                  </a:lnTo>
                  <a:lnTo>
                    <a:pt x="650" y="507"/>
                  </a:lnTo>
                  <a:lnTo>
                    <a:pt x="650" y="511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48" y="514"/>
                  </a:lnTo>
                  <a:lnTo>
                    <a:pt x="643" y="514"/>
                  </a:lnTo>
                  <a:lnTo>
                    <a:pt x="640" y="511"/>
                  </a:lnTo>
                  <a:lnTo>
                    <a:pt x="638" y="514"/>
                  </a:lnTo>
                  <a:lnTo>
                    <a:pt x="638" y="514"/>
                  </a:lnTo>
                  <a:lnTo>
                    <a:pt x="636" y="516"/>
                  </a:lnTo>
                  <a:lnTo>
                    <a:pt x="638" y="518"/>
                  </a:lnTo>
                  <a:lnTo>
                    <a:pt x="638" y="523"/>
                  </a:lnTo>
                  <a:lnTo>
                    <a:pt x="638" y="525"/>
                  </a:lnTo>
                  <a:lnTo>
                    <a:pt x="638" y="525"/>
                  </a:lnTo>
                  <a:lnTo>
                    <a:pt x="636" y="525"/>
                  </a:lnTo>
                  <a:lnTo>
                    <a:pt x="631" y="525"/>
                  </a:lnTo>
                  <a:lnTo>
                    <a:pt x="626" y="525"/>
                  </a:lnTo>
                  <a:lnTo>
                    <a:pt x="626" y="525"/>
                  </a:lnTo>
                  <a:lnTo>
                    <a:pt x="603" y="525"/>
                  </a:lnTo>
                  <a:lnTo>
                    <a:pt x="603" y="525"/>
                  </a:lnTo>
                  <a:lnTo>
                    <a:pt x="603" y="502"/>
                  </a:lnTo>
                  <a:lnTo>
                    <a:pt x="603" y="502"/>
                  </a:lnTo>
                  <a:lnTo>
                    <a:pt x="603" y="490"/>
                  </a:lnTo>
                  <a:lnTo>
                    <a:pt x="603" y="490"/>
                  </a:lnTo>
                  <a:lnTo>
                    <a:pt x="603" y="467"/>
                  </a:lnTo>
                  <a:lnTo>
                    <a:pt x="603" y="467"/>
                  </a:lnTo>
                  <a:lnTo>
                    <a:pt x="603" y="455"/>
                  </a:lnTo>
                  <a:lnTo>
                    <a:pt x="603" y="455"/>
                  </a:lnTo>
                  <a:lnTo>
                    <a:pt x="603" y="431"/>
                  </a:lnTo>
                  <a:lnTo>
                    <a:pt x="603" y="431"/>
                  </a:lnTo>
                  <a:lnTo>
                    <a:pt x="603" y="408"/>
                  </a:lnTo>
                  <a:lnTo>
                    <a:pt x="603" y="408"/>
                  </a:lnTo>
                  <a:lnTo>
                    <a:pt x="577" y="408"/>
                  </a:lnTo>
                  <a:lnTo>
                    <a:pt x="577" y="408"/>
                  </a:lnTo>
                  <a:lnTo>
                    <a:pt x="579" y="401"/>
                  </a:lnTo>
                  <a:lnTo>
                    <a:pt x="579" y="398"/>
                  </a:lnTo>
                  <a:lnTo>
                    <a:pt x="577" y="396"/>
                  </a:lnTo>
                  <a:lnTo>
                    <a:pt x="577" y="396"/>
                  </a:lnTo>
                  <a:lnTo>
                    <a:pt x="575" y="396"/>
                  </a:lnTo>
                  <a:lnTo>
                    <a:pt x="572" y="396"/>
                  </a:lnTo>
                  <a:lnTo>
                    <a:pt x="565" y="396"/>
                  </a:lnTo>
                  <a:lnTo>
                    <a:pt x="565" y="396"/>
                  </a:lnTo>
                  <a:lnTo>
                    <a:pt x="565" y="384"/>
                  </a:lnTo>
                  <a:lnTo>
                    <a:pt x="565" y="384"/>
                  </a:lnTo>
                  <a:lnTo>
                    <a:pt x="565" y="361"/>
                  </a:lnTo>
                  <a:lnTo>
                    <a:pt x="565" y="361"/>
                  </a:lnTo>
                  <a:lnTo>
                    <a:pt x="542" y="361"/>
                  </a:lnTo>
                  <a:lnTo>
                    <a:pt x="542" y="361"/>
                  </a:lnTo>
                  <a:lnTo>
                    <a:pt x="542" y="408"/>
                  </a:lnTo>
                  <a:lnTo>
                    <a:pt x="542" y="408"/>
                  </a:lnTo>
                  <a:lnTo>
                    <a:pt x="530" y="408"/>
                  </a:lnTo>
                  <a:lnTo>
                    <a:pt x="530" y="408"/>
                  </a:lnTo>
                  <a:lnTo>
                    <a:pt x="518" y="408"/>
                  </a:lnTo>
                  <a:lnTo>
                    <a:pt x="518" y="408"/>
                  </a:lnTo>
                  <a:lnTo>
                    <a:pt x="513" y="408"/>
                  </a:lnTo>
                  <a:lnTo>
                    <a:pt x="506" y="408"/>
                  </a:lnTo>
                  <a:lnTo>
                    <a:pt x="506" y="408"/>
                  </a:lnTo>
                  <a:lnTo>
                    <a:pt x="501" y="408"/>
                  </a:lnTo>
                  <a:lnTo>
                    <a:pt x="494" y="408"/>
                  </a:lnTo>
                  <a:lnTo>
                    <a:pt x="494" y="408"/>
                  </a:lnTo>
                  <a:lnTo>
                    <a:pt x="494" y="410"/>
                  </a:lnTo>
                  <a:lnTo>
                    <a:pt x="494" y="412"/>
                  </a:lnTo>
                  <a:lnTo>
                    <a:pt x="494" y="419"/>
                  </a:lnTo>
                  <a:lnTo>
                    <a:pt x="494" y="419"/>
                  </a:lnTo>
                  <a:lnTo>
                    <a:pt x="494" y="427"/>
                  </a:lnTo>
                  <a:lnTo>
                    <a:pt x="497" y="429"/>
                  </a:lnTo>
                  <a:lnTo>
                    <a:pt x="494" y="431"/>
                  </a:lnTo>
                  <a:lnTo>
                    <a:pt x="494" y="431"/>
                  </a:lnTo>
                  <a:lnTo>
                    <a:pt x="490" y="431"/>
                  </a:lnTo>
                  <a:lnTo>
                    <a:pt x="483" y="431"/>
                  </a:lnTo>
                  <a:lnTo>
                    <a:pt x="483" y="431"/>
                  </a:lnTo>
                  <a:lnTo>
                    <a:pt x="483" y="443"/>
                  </a:lnTo>
                  <a:lnTo>
                    <a:pt x="483" y="443"/>
                  </a:lnTo>
                  <a:lnTo>
                    <a:pt x="483" y="467"/>
                  </a:lnTo>
                  <a:lnTo>
                    <a:pt x="483" y="467"/>
                  </a:lnTo>
                  <a:lnTo>
                    <a:pt x="483" y="514"/>
                  </a:lnTo>
                  <a:lnTo>
                    <a:pt x="483" y="514"/>
                  </a:lnTo>
                  <a:lnTo>
                    <a:pt x="483" y="535"/>
                  </a:lnTo>
                  <a:lnTo>
                    <a:pt x="483" y="535"/>
                  </a:lnTo>
                  <a:lnTo>
                    <a:pt x="483" y="547"/>
                  </a:lnTo>
                  <a:lnTo>
                    <a:pt x="483" y="547"/>
                  </a:lnTo>
                  <a:lnTo>
                    <a:pt x="483" y="570"/>
                  </a:lnTo>
                  <a:lnTo>
                    <a:pt x="483" y="570"/>
                  </a:lnTo>
                  <a:lnTo>
                    <a:pt x="478" y="570"/>
                  </a:lnTo>
                  <a:lnTo>
                    <a:pt x="471" y="570"/>
                  </a:lnTo>
                  <a:lnTo>
                    <a:pt x="471" y="570"/>
                  </a:lnTo>
                  <a:lnTo>
                    <a:pt x="466" y="570"/>
                  </a:lnTo>
                  <a:lnTo>
                    <a:pt x="459" y="570"/>
                  </a:lnTo>
                  <a:lnTo>
                    <a:pt x="459" y="570"/>
                  </a:lnTo>
                  <a:lnTo>
                    <a:pt x="459" y="566"/>
                  </a:lnTo>
                  <a:lnTo>
                    <a:pt x="459" y="558"/>
                  </a:lnTo>
                  <a:lnTo>
                    <a:pt x="459" y="558"/>
                  </a:lnTo>
                  <a:lnTo>
                    <a:pt x="459" y="547"/>
                  </a:lnTo>
                  <a:lnTo>
                    <a:pt x="459" y="547"/>
                  </a:lnTo>
                  <a:lnTo>
                    <a:pt x="459" y="525"/>
                  </a:lnTo>
                  <a:lnTo>
                    <a:pt x="459" y="525"/>
                  </a:lnTo>
                  <a:lnTo>
                    <a:pt x="412" y="525"/>
                  </a:lnTo>
                  <a:lnTo>
                    <a:pt x="412" y="525"/>
                  </a:lnTo>
                  <a:lnTo>
                    <a:pt x="388" y="525"/>
                  </a:lnTo>
                  <a:lnTo>
                    <a:pt x="388" y="525"/>
                  </a:lnTo>
                  <a:lnTo>
                    <a:pt x="377" y="525"/>
                  </a:lnTo>
                  <a:lnTo>
                    <a:pt x="377" y="525"/>
                  </a:lnTo>
                  <a:lnTo>
                    <a:pt x="370" y="525"/>
                  </a:lnTo>
                  <a:lnTo>
                    <a:pt x="365" y="525"/>
                  </a:lnTo>
                  <a:lnTo>
                    <a:pt x="365" y="525"/>
                  </a:lnTo>
                  <a:lnTo>
                    <a:pt x="365" y="518"/>
                  </a:lnTo>
                  <a:lnTo>
                    <a:pt x="365" y="514"/>
                  </a:lnTo>
                  <a:lnTo>
                    <a:pt x="365" y="514"/>
                  </a:lnTo>
                  <a:lnTo>
                    <a:pt x="362" y="511"/>
                  </a:lnTo>
                  <a:lnTo>
                    <a:pt x="358" y="514"/>
                  </a:lnTo>
                  <a:lnTo>
                    <a:pt x="355" y="514"/>
                  </a:lnTo>
                  <a:lnTo>
                    <a:pt x="353" y="514"/>
                  </a:lnTo>
                  <a:lnTo>
                    <a:pt x="353" y="514"/>
                  </a:lnTo>
                  <a:lnTo>
                    <a:pt x="353" y="511"/>
                  </a:lnTo>
                  <a:lnTo>
                    <a:pt x="353" y="507"/>
                  </a:lnTo>
                  <a:lnTo>
                    <a:pt x="353" y="504"/>
                  </a:lnTo>
                  <a:lnTo>
                    <a:pt x="353" y="502"/>
                  </a:lnTo>
                  <a:lnTo>
                    <a:pt x="353" y="502"/>
                  </a:lnTo>
                  <a:lnTo>
                    <a:pt x="351" y="500"/>
                  </a:lnTo>
                  <a:lnTo>
                    <a:pt x="346" y="502"/>
                  </a:lnTo>
                  <a:lnTo>
                    <a:pt x="344" y="502"/>
                  </a:lnTo>
                  <a:lnTo>
                    <a:pt x="341" y="502"/>
                  </a:lnTo>
                  <a:lnTo>
                    <a:pt x="341" y="502"/>
                  </a:lnTo>
                  <a:lnTo>
                    <a:pt x="341" y="500"/>
                  </a:lnTo>
                  <a:lnTo>
                    <a:pt x="341" y="495"/>
                  </a:lnTo>
                  <a:lnTo>
                    <a:pt x="341" y="492"/>
                  </a:lnTo>
                  <a:lnTo>
                    <a:pt x="341" y="490"/>
                  </a:lnTo>
                  <a:lnTo>
                    <a:pt x="341" y="490"/>
                  </a:lnTo>
                  <a:lnTo>
                    <a:pt x="339" y="488"/>
                  </a:lnTo>
                  <a:lnTo>
                    <a:pt x="334" y="490"/>
                  </a:lnTo>
                  <a:lnTo>
                    <a:pt x="332" y="490"/>
                  </a:lnTo>
                  <a:lnTo>
                    <a:pt x="329" y="490"/>
                  </a:lnTo>
                  <a:lnTo>
                    <a:pt x="329" y="490"/>
                  </a:lnTo>
                  <a:lnTo>
                    <a:pt x="329" y="488"/>
                  </a:lnTo>
                  <a:lnTo>
                    <a:pt x="329" y="483"/>
                  </a:lnTo>
                  <a:lnTo>
                    <a:pt x="329" y="481"/>
                  </a:lnTo>
                  <a:lnTo>
                    <a:pt x="329" y="478"/>
                  </a:lnTo>
                  <a:lnTo>
                    <a:pt x="329" y="478"/>
                  </a:lnTo>
                  <a:lnTo>
                    <a:pt x="322" y="478"/>
                  </a:lnTo>
                  <a:lnTo>
                    <a:pt x="318" y="478"/>
                  </a:lnTo>
                  <a:lnTo>
                    <a:pt x="318" y="478"/>
                  </a:lnTo>
                  <a:lnTo>
                    <a:pt x="318" y="467"/>
                  </a:lnTo>
                  <a:lnTo>
                    <a:pt x="318" y="467"/>
                  </a:lnTo>
                  <a:lnTo>
                    <a:pt x="318" y="419"/>
                  </a:lnTo>
                  <a:lnTo>
                    <a:pt x="318" y="419"/>
                  </a:lnTo>
                  <a:lnTo>
                    <a:pt x="318" y="372"/>
                  </a:lnTo>
                  <a:lnTo>
                    <a:pt x="318" y="372"/>
                  </a:lnTo>
                  <a:lnTo>
                    <a:pt x="318" y="361"/>
                  </a:lnTo>
                  <a:lnTo>
                    <a:pt x="318" y="361"/>
                  </a:lnTo>
                  <a:lnTo>
                    <a:pt x="318" y="337"/>
                  </a:lnTo>
                  <a:lnTo>
                    <a:pt x="318" y="337"/>
                  </a:lnTo>
                  <a:lnTo>
                    <a:pt x="318" y="325"/>
                  </a:lnTo>
                  <a:lnTo>
                    <a:pt x="318" y="325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18" y="186"/>
                  </a:lnTo>
                  <a:lnTo>
                    <a:pt x="318" y="186"/>
                  </a:lnTo>
                  <a:lnTo>
                    <a:pt x="318" y="92"/>
                  </a:lnTo>
                  <a:lnTo>
                    <a:pt x="318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282" y="92"/>
                  </a:lnTo>
                  <a:lnTo>
                    <a:pt x="282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47" y="92"/>
                  </a:lnTo>
                  <a:lnTo>
                    <a:pt x="247" y="92"/>
                  </a:lnTo>
                  <a:lnTo>
                    <a:pt x="240" y="92"/>
                  </a:lnTo>
                  <a:lnTo>
                    <a:pt x="238" y="94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3" y="90"/>
                  </a:lnTo>
                  <a:lnTo>
                    <a:pt x="235" y="87"/>
                  </a:lnTo>
                  <a:lnTo>
                    <a:pt x="235" y="80"/>
                  </a:lnTo>
                  <a:lnTo>
                    <a:pt x="235" y="80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28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1" y="5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24"/>
                  </a:lnTo>
                  <a:lnTo>
                    <a:pt x="223" y="24"/>
                  </a:lnTo>
                  <a:lnTo>
                    <a:pt x="223" y="35"/>
                  </a:lnTo>
                  <a:lnTo>
                    <a:pt x="223" y="35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59"/>
                  </a:lnTo>
                  <a:lnTo>
                    <a:pt x="223" y="59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80"/>
                  </a:lnTo>
                  <a:lnTo>
                    <a:pt x="223" y="80"/>
                  </a:lnTo>
                  <a:lnTo>
                    <a:pt x="223" y="87"/>
                  </a:lnTo>
                  <a:lnTo>
                    <a:pt x="223" y="92"/>
                  </a:lnTo>
                  <a:lnTo>
                    <a:pt x="223" y="92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05" y="92"/>
                  </a:lnTo>
                  <a:lnTo>
                    <a:pt x="200" y="92"/>
                  </a:lnTo>
                  <a:lnTo>
                    <a:pt x="200" y="92"/>
                  </a:lnTo>
                  <a:lnTo>
                    <a:pt x="193" y="94"/>
                  </a:lnTo>
                  <a:lnTo>
                    <a:pt x="188" y="92"/>
                  </a:lnTo>
                  <a:lnTo>
                    <a:pt x="188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69" y="92"/>
                  </a:lnTo>
                  <a:lnTo>
                    <a:pt x="162" y="92"/>
                  </a:lnTo>
                  <a:lnTo>
                    <a:pt x="162" y="92"/>
                  </a:lnTo>
                  <a:lnTo>
                    <a:pt x="162" y="87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75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59"/>
                  </a:lnTo>
                  <a:lnTo>
                    <a:pt x="162" y="59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35"/>
                  </a:lnTo>
                  <a:lnTo>
                    <a:pt x="162" y="35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5" y="5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0" y="5"/>
                  </a:lnTo>
                  <a:lnTo>
                    <a:pt x="150" y="12"/>
                  </a:lnTo>
                  <a:lnTo>
                    <a:pt x="150" y="12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50" y="35"/>
                  </a:lnTo>
                  <a:lnTo>
                    <a:pt x="150" y="35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68"/>
                  </a:lnTo>
                  <a:lnTo>
                    <a:pt x="150" y="6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53" y="87"/>
                  </a:lnTo>
                  <a:lnTo>
                    <a:pt x="150" y="92"/>
                  </a:lnTo>
                  <a:lnTo>
                    <a:pt x="150" y="92"/>
                  </a:lnTo>
                  <a:lnTo>
                    <a:pt x="148" y="94"/>
                  </a:lnTo>
                  <a:lnTo>
                    <a:pt x="146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03" y="92"/>
                  </a:lnTo>
                  <a:lnTo>
                    <a:pt x="103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92"/>
                  </a:lnTo>
                  <a:lnTo>
                    <a:pt x="56" y="292"/>
                  </a:lnTo>
                  <a:lnTo>
                    <a:pt x="56" y="313"/>
                  </a:lnTo>
                  <a:lnTo>
                    <a:pt x="56" y="313"/>
                  </a:lnTo>
                  <a:lnTo>
                    <a:pt x="56" y="325"/>
                  </a:lnTo>
                  <a:lnTo>
                    <a:pt x="56" y="325"/>
                  </a:lnTo>
                  <a:lnTo>
                    <a:pt x="56" y="349"/>
                  </a:lnTo>
                  <a:lnTo>
                    <a:pt x="56" y="349"/>
                  </a:lnTo>
                  <a:lnTo>
                    <a:pt x="56" y="372"/>
                  </a:lnTo>
                  <a:lnTo>
                    <a:pt x="56" y="372"/>
                  </a:lnTo>
                  <a:lnTo>
                    <a:pt x="56" y="384"/>
                  </a:lnTo>
                  <a:lnTo>
                    <a:pt x="56" y="384"/>
                  </a:lnTo>
                  <a:lnTo>
                    <a:pt x="56" y="408"/>
                  </a:lnTo>
                  <a:lnTo>
                    <a:pt x="56" y="408"/>
                  </a:lnTo>
                  <a:lnTo>
                    <a:pt x="56" y="419"/>
                  </a:lnTo>
                  <a:lnTo>
                    <a:pt x="56" y="419"/>
                  </a:lnTo>
                  <a:lnTo>
                    <a:pt x="56" y="443"/>
                  </a:lnTo>
                  <a:lnTo>
                    <a:pt x="56" y="443"/>
                  </a:lnTo>
                  <a:lnTo>
                    <a:pt x="56" y="455"/>
                  </a:lnTo>
                  <a:lnTo>
                    <a:pt x="56" y="455"/>
                  </a:lnTo>
                  <a:lnTo>
                    <a:pt x="56" y="467"/>
                  </a:lnTo>
                  <a:lnTo>
                    <a:pt x="56" y="467"/>
                  </a:lnTo>
                  <a:lnTo>
                    <a:pt x="56" y="471"/>
                  </a:lnTo>
                  <a:lnTo>
                    <a:pt x="56" y="478"/>
                  </a:lnTo>
                  <a:lnTo>
                    <a:pt x="56" y="478"/>
                  </a:lnTo>
                  <a:lnTo>
                    <a:pt x="51" y="478"/>
                  </a:lnTo>
                  <a:lnTo>
                    <a:pt x="44" y="478"/>
                  </a:lnTo>
                  <a:lnTo>
                    <a:pt x="44" y="478"/>
                  </a:lnTo>
                  <a:lnTo>
                    <a:pt x="44" y="481"/>
                  </a:lnTo>
                  <a:lnTo>
                    <a:pt x="44" y="483"/>
                  </a:lnTo>
                  <a:lnTo>
                    <a:pt x="44" y="490"/>
                  </a:lnTo>
                  <a:lnTo>
                    <a:pt x="44" y="490"/>
                  </a:lnTo>
                  <a:lnTo>
                    <a:pt x="33" y="490"/>
                  </a:lnTo>
                  <a:lnTo>
                    <a:pt x="33" y="490"/>
                  </a:lnTo>
                  <a:lnTo>
                    <a:pt x="21" y="490"/>
                  </a:lnTo>
                  <a:lnTo>
                    <a:pt x="21" y="490"/>
                  </a:lnTo>
                  <a:lnTo>
                    <a:pt x="9" y="490"/>
                  </a:lnTo>
                  <a:lnTo>
                    <a:pt x="9" y="490"/>
                  </a:lnTo>
                  <a:lnTo>
                    <a:pt x="4" y="490"/>
                  </a:lnTo>
                  <a:lnTo>
                    <a:pt x="0" y="490"/>
                  </a:lnTo>
                  <a:lnTo>
                    <a:pt x="0" y="606"/>
                  </a:lnTo>
                  <a:lnTo>
                    <a:pt x="0" y="606"/>
                  </a:lnTo>
                  <a:lnTo>
                    <a:pt x="21" y="606"/>
                  </a:lnTo>
                  <a:lnTo>
                    <a:pt x="21" y="606"/>
                  </a:lnTo>
                  <a:lnTo>
                    <a:pt x="33" y="606"/>
                  </a:lnTo>
                  <a:lnTo>
                    <a:pt x="33" y="606"/>
                  </a:lnTo>
                  <a:lnTo>
                    <a:pt x="56" y="606"/>
                  </a:lnTo>
                  <a:lnTo>
                    <a:pt x="56" y="606"/>
                  </a:lnTo>
                  <a:lnTo>
                    <a:pt x="68" y="606"/>
                  </a:lnTo>
                  <a:lnTo>
                    <a:pt x="68" y="606"/>
                  </a:lnTo>
                  <a:lnTo>
                    <a:pt x="91" y="606"/>
                  </a:lnTo>
                  <a:lnTo>
                    <a:pt x="91" y="606"/>
                  </a:lnTo>
                  <a:lnTo>
                    <a:pt x="103" y="606"/>
                  </a:lnTo>
                  <a:lnTo>
                    <a:pt x="103" y="606"/>
                  </a:lnTo>
                  <a:lnTo>
                    <a:pt x="127" y="606"/>
                  </a:lnTo>
                  <a:lnTo>
                    <a:pt x="127" y="606"/>
                  </a:lnTo>
                  <a:lnTo>
                    <a:pt x="139" y="606"/>
                  </a:lnTo>
                  <a:lnTo>
                    <a:pt x="139" y="606"/>
                  </a:lnTo>
                  <a:lnTo>
                    <a:pt x="162" y="606"/>
                  </a:lnTo>
                  <a:lnTo>
                    <a:pt x="162" y="606"/>
                  </a:lnTo>
                  <a:lnTo>
                    <a:pt x="176" y="606"/>
                  </a:lnTo>
                  <a:lnTo>
                    <a:pt x="176" y="606"/>
                  </a:lnTo>
                  <a:lnTo>
                    <a:pt x="200" y="606"/>
                  </a:lnTo>
                  <a:lnTo>
                    <a:pt x="200" y="606"/>
                  </a:lnTo>
                  <a:lnTo>
                    <a:pt x="212" y="606"/>
                  </a:lnTo>
                  <a:lnTo>
                    <a:pt x="212" y="606"/>
                  </a:lnTo>
                  <a:lnTo>
                    <a:pt x="235" y="606"/>
                  </a:lnTo>
                  <a:lnTo>
                    <a:pt x="235" y="606"/>
                  </a:lnTo>
                  <a:lnTo>
                    <a:pt x="247" y="606"/>
                  </a:lnTo>
                  <a:lnTo>
                    <a:pt x="247" y="606"/>
                  </a:lnTo>
                  <a:lnTo>
                    <a:pt x="271" y="606"/>
                  </a:lnTo>
                  <a:lnTo>
                    <a:pt x="271" y="606"/>
                  </a:lnTo>
                  <a:lnTo>
                    <a:pt x="294" y="606"/>
                  </a:lnTo>
                  <a:lnTo>
                    <a:pt x="294" y="606"/>
                  </a:lnTo>
                  <a:lnTo>
                    <a:pt x="306" y="606"/>
                  </a:lnTo>
                  <a:lnTo>
                    <a:pt x="306" y="606"/>
                  </a:lnTo>
                  <a:lnTo>
                    <a:pt x="329" y="606"/>
                  </a:lnTo>
                  <a:lnTo>
                    <a:pt x="329" y="606"/>
                  </a:lnTo>
                  <a:lnTo>
                    <a:pt x="341" y="606"/>
                  </a:lnTo>
                  <a:lnTo>
                    <a:pt x="341" y="606"/>
                  </a:lnTo>
                  <a:lnTo>
                    <a:pt x="365" y="606"/>
                  </a:lnTo>
                  <a:lnTo>
                    <a:pt x="365" y="606"/>
                  </a:lnTo>
                  <a:lnTo>
                    <a:pt x="377" y="606"/>
                  </a:lnTo>
                  <a:lnTo>
                    <a:pt x="377" y="606"/>
                  </a:lnTo>
                  <a:lnTo>
                    <a:pt x="400" y="606"/>
                  </a:lnTo>
                  <a:lnTo>
                    <a:pt x="400" y="606"/>
                  </a:lnTo>
                  <a:lnTo>
                    <a:pt x="412" y="606"/>
                  </a:lnTo>
                  <a:lnTo>
                    <a:pt x="412" y="606"/>
                  </a:lnTo>
                  <a:lnTo>
                    <a:pt x="435" y="606"/>
                  </a:lnTo>
                  <a:lnTo>
                    <a:pt x="435" y="606"/>
                  </a:lnTo>
                  <a:lnTo>
                    <a:pt x="447" y="606"/>
                  </a:lnTo>
                  <a:lnTo>
                    <a:pt x="447" y="606"/>
                  </a:lnTo>
                  <a:lnTo>
                    <a:pt x="471" y="606"/>
                  </a:lnTo>
                  <a:lnTo>
                    <a:pt x="471" y="606"/>
                  </a:lnTo>
                  <a:lnTo>
                    <a:pt x="483" y="606"/>
                  </a:lnTo>
                  <a:lnTo>
                    <a:pt x="483" y="606"/>
                  </a:lnTo>
                  <a:lnTo>
                    <a:pt x="506" y="606"/>
                  </a:lnTo>
                  <a:lnTo>
                    <a:pt x="506" y="606"/>
                  </a:lnTo>
                  <a:lnTo>
                    <a:pt x="518" y="606"/>
                  </a:lnTo>
                  <a:lnTo>
                    <a:pt x="518" y="606"/>
                  </a:lnTo>
                  <a:lnTo>
                    <a:pt x="542" y="606"/>
                  </a:lnTo>
                  <a:lnTo>
                    <a:pt x="542" y="606"/>
                  </a:lnTo>
                  <a:lnTo>
                    <a:pt x="565" y="606"/>
                  </a:lnTo>
                  <a:lnTo>
                    <a:pt x="565" y="606"/>
                  </a:lnTo>
                  <a:lnTo>
                    <a:pt x="577" y="606"/>
                  </a:lnTo>
                  <a:lnTo>
                    <a:pt x="577" y="606"/>
                  </a:lnTo>
                  <a:lnTo>
                    <a:pt x="603" y="606"/>
                  </a:lnTo>
                  <a:lnTo>
                    <a:pt x="603" y="606"/>
                  </a:lnTo>
                  <a:lnTo>
                    <a:pt x="615" y="606"/>
                  </a:lnTo>
                  <a:lnTo>
                    <a:pt x="615" y="606"/>
                  </a:lnTo>
                  <a:lnTo>
                    <a:pt x="638" y="606"/>
                  </a:lnTo>
                  <a:lnTo>
                    <a:pt x="638" y="606"/>
                  </a:lnTo>
                  <a:lnTo>
                    <a:pt x="650" y="606"/>
                  </a:lnTo>
                  <a:lnTo>
                    <a:pt x="650" y="606"/>
                  </a:lnTo>
                  <a:lnTo>
                    <a:pt x="673" y="606"/>
                  </a:lnTo>
                  <a:lnTo>
                    <a:pt x="673" y="606"/>
                  </a:lnTo>
                  <a:lnTo>
                    <a:pt x="685" y="606"/>
                  </a:lnTo>
                  <a:lnTo>
                    <a:pt x="685" y="606"/>
                  </a:lnTo>
                  <a:lnTo>
                    <a:pt x="709" y="606"/>
                  </a:lnTo>
                  <a:lnTo>
                    <a:pt x="709" y="606"/>
                  </a:lnTo>
                  <a:lnTo>
                    <a:pt x="721" y="606"/>
                  </a:lnTo>
                  <a:lnTo>
                    <a:pt x="721" y="606"/>
                  </a:lnTo>
                  <a:lnTo>
                    <a:pt x="744" y="606"/>
                  </a:lnTo>
                  <a:lnTo>
                    <a:pt x="744" y="606"/>
                  </a:lnTo>
                  <a:lnTo>
                    <a:pt x="756" y="606"/>
                  </a:lnTo>
                  <a:lnTo>
                    <a:pt x="756" y="606"/>
                  </a:lnTo>
                  <a:lnTo>
                    <a:pt x="779" y="606"/>
                  </a:lnTo>
                  <a:lnTo>
                    <a:pt x="779" y="606"/>
                  </a:lnTo>
                  <a:lnTo>
                    <a:pt x="791" y="606"/>
                  </a:lnTo>
                  <a:lnTo>
                    <a:pt x="791" y="606"/>
                  </a:lnTo>
                  <a:lnTo>
                    <a:pt x="815" y="606"/>
                  </a:lnTo>
                  <a:lnTo>
                    <a:pt x="815" y="606"/>
                  </a:lnTo>
                  <a:lnTo>
                    <a:pt x="827" y="606"/>
                  </a:lnTo>
                  <a:lnTo>
                    <a:pt x="827" y="606"/>
                  </a:lnTo>
                  <a:lnTo>
                    <a:pt x="850" y="606"/>
                  </a:lnTo>
                  <a:lnTo>
                    <a:pt x="850" y="606"/>
                  </a:lnTo>
                  <a:lnTo>
                    <a:pt x="862" y="606"/>
                  </a:lnTo>
                  <a:lnTo>
                    <a:pt x="862" y="606"/>
                  </a:lnTo>
                  <a:lnTo>
                    <a:pt x="886" y="606"/>
                  </a:lnTo>
                  <a:lnTo>
                    <a:pt x="886" y="606"/>
                  </a:lnTo>
                  <a:lnTo>
                    <a:pt x="897" y="606"/>
                  </a:lnTo>
                  <a:lnTo>
                    <a:pt x="897" y="606"/>
                  </a:lnTo>
                  <a:lnTo>
                    <a:pt x="921" y="606"/>
                  </a:lnTo>
                  <a:lnTo>
                    <a:pt x="921" y="606"/>
                  </a:lnTo>
                  <a:lnTo>
                    <a:pt x="933" y="606"/>
                  </a:lnTo>
                  <a:lnTo>
                    <a:pt x="933" y="606"/>
                  </a:lnTo>
                  <a:lnTo>
                    <a:pt x="956" y="606"/>
                  </a:lnTo>
                  <a:lnTo>
                    <a:pt x="956" y="606"/>
                  </a:lnTo>
                  <a:lnTo>
                    <a:pt x="968" y="606"/>
                  </a:lnTo>
                  <a:lnTo>
                    <a:pt x="968" y="606"/>
                  </a:lnTo>
                  <a:lnTo>
                    <a:pt x="994" y="606"/>
                  </a:lnTo>
                  <a:lnTo>
                    <a:pt x="994" y="606"/>
                  </a:lnTo>
                  <a:lnTo>
                    <a:pt x="1006" y="606"/>
                  </a:lnTo>
                  <a:lnTo>
                    <a:pt x="1006" y="606"/>
                  </a:lnTo>
                  <a:lnTo>
                    <a:pt x="1029" y="606"/>
                  </a:lnTo>
                  <a:lnTo>
                    <a:pt x="1029" y="606"/>
                  </a:lnTo>
                  <a:lnTo>
                    <a:pt x="1041" y="606"/>
                  </a:lnTo>
                  <a:lnTo>
                    <a:pt x="1041" y="606"/>
                  </a:lnTo>
                  <a:lnTo>
                    <a:pt x="1065" y="606"/>
                  </a:lnTo>
                  <a:lnTo>
                    <a:pt x="1065" y="606"/>
                  </a:lnTo>
                  <a:lnTo>
                    <a:pt x="1076" y="606"/>
                  </a:lnTo>
                  <a:lnTo>
                    <a:pt x="1076" y="606"/>
                  </a:lnTo>
                  <a:lnTo>
                    <a:pt x="1100" y="606"/>
                  </a:lnTo>
                  <a:lnTo>
                    <a:pt x="1100" y="606"/>
                  </a:lnTo>
                  <a:lnTo>
                    <a:pt x="1123" y="606"/>
                  </a:lnTo>
                  <a:lnTo>
                    <a:pt x="1123" y="606"/>
                  </a:lnTo>
                  <a:lnTo>
                    <a:pt x="1135" y="606"/>
                  </a:lnTo>
                  <a:lnTo>
                    <a:pt x="1135" y="606"/>
                  </a:lnTo>
                  <a:lnTo>
                    <a:pt x="1159" y="606"/>
                  </a:lnTo>
                  <a:lnTo>
                    <a:pt x="1159" y="606"/>
                  </a:lnTo>
                  <a:lnTo>
                    <a:pt x="1171" y="606"/>
                  </a:lnTo>
                  <a:lnTo>
                    <a:pt x="1171" y="606"/>
                  </a:lnTo>
                  <a:lnTo>
                    <a:pt x="1194" y="606"/>
                  </a:lnTo>
                  <a:lnTo>
                    <a:pt x="1194" y="606"/>
                  </a:lnTo>
                  <a:lnTo>
                    <a:pt x="1206" y="606"/>
                  </a:lnTo>
                  <a:lnTo>
                    <a:pt x="1206" y="606"/>
                  </a:lnTo>
                  <a:lnTo>
                    <a:pt x="1230" y="606"/>
                  </a:lnTo>
                  <a:lnTo>
                    <a:pt x="1230" y="606"/>
                  </a:lnTo>
                  <a:lnTo>
                    <a:pt x="1241" y="606"/>
                  </a:lnTo>
                  <a:lnTo>
                    <a:pt x="1241" y="606"/>
                  </a:lnTo>
                  <a:lnTo>
                    <a:pt x="1265" y="606"/>
                  </a:lnTo>
                  <a:lnTo>
                    <a:pt x="1265" y="606"/>
                  </a:lnTo>
                  <a:lnTo>
                    <a:pt x="1277" y="606"/>
                  </a:lnTo>
                  <a:lnTo>
                    <a:pt x="1277" y="606"/>
                  </a:lnTo>
                  <a:lnTo>
                    <a:pt x="1300" y="606"/>
                  </a:lnTo>
                  <a:lnTo>
                    <a:pt x="1300" y="606"/>
                  </a:lnTo>
                  <a:lnTo>
                    <a:pt x="1312" y="606"/>
                  </a:lnTo>
                  <a:lnTo>
                    <a:pt x="1312" y="606"/>
                  </a:lnTo>
                  <a:lnTo>
                    <a:pt x="1336" y="606"/>
                  </a:lnTo>
                  <a:lnTo>
                    <a:pt x="1336" y="606"/>
                  </a:lnTo>
                  <a:lnTo>
                    <a:pt x="1347" y="606"/>
                  </a:lnTo>
                  <a:lnTo>
                    <a:pt x="1347" y="606"/>
                  </a:lnTo>
                  <a:lnTo>
                    <a:pt x="1371" y="606"/>
                  </a:lnTo>
                  <a:lnTo>
                    <a:pt x="1371" y="606"/>
                  </a:lnTo>
                  <a:lnTo>
                    <a:pt x="1397" y="606"/>
                  </a:lnTo>
                  <a:lnTo>
                    <a:pt x="1397" y="606"/>
                  </a:lnTo>
                  <a:lnTo>
                    <a:pt x="1409" y="606"/>
                  </a:lnTo>
                  <a:lnTo>
                    <a:pt x="1409" y="606"/>
                  </a:lnTo>
                  <a:lnTo>
                    <a:pt x="1432" y="606"/>
                  </a:lnTo>
                  <a:lnTo>
                    <a:pt x="1432" y="606"/>
                  </a:lnTo>
                  <a:lnTo>
                    <a:pt x="1444" y="606"/>
                  </a:lnTo>
                  <a:lnTo>
                    <a:pt x="1444" y="606"/>
                  </a:lnTo>
                  <a:lnTo>
                    <a:pt x="1468" y="606"/>
                  </a:lnTo>
                  <a:lnTo>
                    <a:pt x="1468" y="606"/>
                  </a:lnTo>
                  <a:lnTo>
                    <a:pt x="1479" y="606"/>
                  </a:lnTo>
                  <a:lnTo>
                    <a:pt x="1479" y="606"/>
                  </a:lnTo>
                  <a:lnTo>
                    <a:pt x="1503" y="606"/>
                  </a:lnTo>
                  <a:lnTo>
                    <a:pt x="1503" y="606"/>
                  </a:lnTo>
                  <a:lnTo>
                    <a:pt x="1515" y="606"/>
                  </a:lnTo>
                  <a:lnTo>
                    <a:pt x="1515" y="606"/>
                  </a:lnTo>
                  <a:lnTo>
                    <a:pt x="1538" y="606"/>
                  </a:lnTo>
                  <a:lnTo>
                    <a:pt x="1538" y="606"/>
                  </a:lnTo>
                  <a:lnTo>
                    <a:pt x="1550" y="606"/>
                  </a:lnTo>
                  <a:lnTo>
                    <a:pt x="1550" y="606"/>
                  </a:lnTo>
                  <a:lnTo>
                    <a:pt x="1574" y="606"/>
                  </a:lnTo>
                  <a:lnTo>
                    <a:pt x="1574" y="606"/>
                  </a:lnTo>
                  <a:lnTo>
                    <a:pt x="1585" y="606"/>
                  </a:lnTo>
                  <a:lnTo>
                    <a:pt x="1585" y="606"/>
                  </a:lnTo>
                  <a:lnTo>
                    <a:pt x="1609" y="606"/>
                  </a:lnTo>
                  <a:lnTo>
                    <a:pt x="1609" y="606"/>
                  </a:lnTo>
                  <a:lnTo>
                    <a:pt x="1621" y="606"/>
                  </a:lnTo>
                  <a:lnTo>
                    <a:pt x="1621" y="606"/>
                  </a:lnTo>
                  <a:lnTo>
                    <a:pt x="1644" y="606"/>
                  </a:lnTo>
                  <a:lnTo>
                    <a:pt x="1644" y="606"/>
                  </a:lnTo>
                  <a:lnTo>
                    <a:pt x="1668" y="606"/>
                  </a:lnTo>
                  <a:lnTo>
                    <a:pt x="1668" y="606"/>
                  </a:lnTo>
                  <a:lnTo>
                    <a:pt x="1680" y="606"/>
                  </a:lnTo>
                  <a:lnTo>
                    <a:pt x="1680" y="606"/>
                  </a:lnTo>
                  <a:lnTo>
                    <a:pt x="1703" y="606"/>
                  </a:lnTo>
                  <a:lnTo>
                    <a:pt x="1703" y="606"/>
                  </a:lnTo>
                  <a:lnTo>
                    <a:pt x="1715" y="606"/>
                  </a:lnTo>
                  <a:lnTo>
                    <a:pt x="1715" y="606"/>
                  </a:lnTo>
                  <a:lnTo>
                    <a:pt x="1738" y="606"/>
                  </a:lnTo>
                  <a:lnTo>
                    <a:pt x="1738" y="606"/>
                  </a:lnTo>
                  <a:lnTo>
                    <a:pt x="1750" y="606"/>
                  </a:lnTo>
                  <a:lnTo>
                    <a:pt x="1750" y="606"/>
                  </a:lnTo>
                  <a:lnTo>
                    <a:pt x="1774" y="606"/>
                  </a:lnTo>
                  <a:lnTo>
                    <a:pt x="1774" y="606"/>
                  </a:lnTo>
                  <a:lnTo>
                    <a:pt x="1786" y="606"/>
                  </a:lnTo>
                  <a:lnTo>
                    <a:pt x="1786" y="606"/>
                  </a:lnTo>
                  <a:lnTo>
                    <a:pt x="1812" y="606"/>
                  </a:lnTo>
                  <a:lnTo>
                    <a:pt x="1812" y="606"/>
                  </a:lnTo>
                  <a:lnTo>
                    <a:pt x="1823" y="606"/>
                  </a:lnTo>
                  <a:lnTo>
                    <a:pt x="1823" y="606"/>
                  </a:lnTo>
                  <a:lnTo>
                    <a:pt x="1847" y="606"/>
                  </a:lnTo>
                  <a:lnTo>
                    <a:pt x="1847" y="606"/>
                  </a:lnTo>
                  <a:lnTo>
                    <a:pt x="1859" y="606"/>
                  </a:lnTo>
                  <a:lnTo>
                    <a:pt x="1859" y="606"/>
                  </a:lnTo>
                  <a:lnTo>
                    <a:pt x="1882" y="606"/>
                  </a:lnTo>
                  <a:lnTo>
                    <a:pt x="1882" y="606"/>
                  </a:lnTo>
                  <a:lnTo>
                    <a:pt x="1894" y="606"/>
                  </a:lnTo>
                  <a:lnTo>
                    <a:pt x="1894" y="606"/>
                  </a:lnTo>
                  <a:lnTo>
                    <a:pt x="1918" y="606"/>
                  </a:lnTo>
                  <a:lnTo>
                    <a:pt x="1918" y="606"/>
                  </a:lnTo>
                  <a:lnTo>
                    <a:pt x="1929" y="606"/>
                  </a:lnTo>
                  <a:lnTo>
                    <a:pt x="1929" y="606"/>
                  </a:lnTo>
                  <a:lnTo>
                    <a:pt x="1953" y="606"/>
                  </a:lnTo>
                  <a:lnTo>
                    <a:pt x="1953" y="606"/>
                  </a:lnTo>
                  <a:lnTo>
                    <a:pt x="1965" y="606"/>
                  </a:lnTo>
                  <a:lnTo>
                    <a:pt x="1965" y="606"/>
                  </a:lnTo>
                  <a:lnTo>
                    <a:pt x="1988" y="606"/>
                  </a:lnTo>
                  <a:lnTo>
                    <a:pt x="1988" y="606"/>
                  </a:lnTo>
                  <a:lnTo>
                    <a:pt x="2000" y="606"/>
                  </a:lnTo>
                  <a:lnTo>
                    <a:pt x="2000" y="606"/>
                  </a:lnTo>
                  <a:lnTo>
                    <a:pt x="2024" y="606"/>
                  </a:lnTo>
                  <a:lnTo>
                    <a:pt x="2024" y="606"/>
                  </a:lnTo>
                  <a:lnTo>
                    <a:pt x="2035" y="606"/>
                  </a:lnTo>
                  <a:lnTo>
                    <a:pt x="2035" y="606"/>
                  </a:lnTo>
                  <a:lnTo>
                    <a:pt x="2059" y="606"/>
                  </a:lnTo>
                  <a:lnTo>
                    <a:pt x="2059" y="606"/>
                  </a:lnTo>
                  <a:lnTo>
                    <a:pt x="2071" y="606"/>
                  </a:lnTo>
                  <a:lnTo>
                    <a:pt x="2071" y="606"/>
                  </a:lnTo>
                  <a:lnTo>
                    <a:pt x="2094" y="606"/>
                  </a:lnTo>
                  <a:lnTo>
                    <a:pt x="2094" y="606"/>
                  </a:lnTo>
                  <a:lnTo>
                    <a:pt x="2106" y="606"/>
                  </a:lnTo>
                  <a:lnTo>
                    <a:pt x="2106" y="606"/>
                  </a:lnTo>
                  <a:lnTo>
                    <a:pt x="2130" y="606"/>
                  </a:lnTo>
                  <a:lnTo>
                    <a:pt x="2130" y="606"/>
                  </a:lnTo>
                  <a:lnTo>
                    <a:pt x="2141" y="606"/>
                  </a:lnTo>
                  <a:lnTo>
                    <a:pt x="2141" y="606"/>
                  </a:lnTo>
                  <a:lnTo>
                    <a:pt x="2165" y="606"/>
                  </a:lnTo>
                  <a:lnTo>
                    <a:pt x="2165" y="606"/>
                  </a:lnTo>
                  <a:lnTo>
                    <a:pt x="2177" y="606"/>
                  </a:lnTo>
                  <a:lnTo>
                    <a:pt x="2177" y="606"/>
                  </a:lnTo>
                  <a:lnTo>
                    <a:pt x="2200" y="606"/>
                  </a:lnTo>
                  <a:lnTo>
                    <a:pt x="2200" y="606"/>
                  </a:lnTo>
                  <a:lnTo>
                    <a:pt x="2214" y="606"/>
                  </a:lnTo>
                  <a:lnTo>
                    <a:pt x="2214" y="606"/>
                  </a:lnTo>
                  <a:lnTo>
                    <a:pt x="2238" y="606"/>
                  </a:lnTo>
                  <a:lnTo>
                    <a:pt x="2238" y="606"/>
                  </a:lnTo>
                  <a:lnTo>
                    <a:pt x="2262" y="606"/>
                  </a:lnTo>
                  <a:lnTo>
                    <a:pt x="2262" y="606"/>
                  </a:lnTo>
                  <a:lnTo>
                    <a:pt x="2273" y="606"/>
                  </a:lnTo>
                  <a:lnTo>
                    <a:pt x="2273" y="606"/>
                  </a:lnTo>
                  <a:lnTo>
                    <a:pt x="2297" y="606"/>
                  </a:lnTo>
                  <a:lnTo>
                    <a:pt x="2297" y="606"/>
                  </a:lnTo>
                  <a:lnTo>
                    <a:pt x="2344" y="606"/>
                  </a:lnTo>
                  <a:lnTo>
                    <a:pt x="2344" y="606"/>
                  </a:lnTo>
                  <a:lnTo>
                    <a:pt x="2344" y="582"/>
                  </a:lnTo>
                  <a:lnTo>
                    <a:pt x="2344" y="582"/>
                  </a:lnTo>
                  <a:lnTo>
                    <a:pt x="2344" y="570"/>
                  </a:lnTo>
                  <a:lnTo>
                    <a:pt x="2344" y="570"/>
                  </a:lnTo>
                  <a:lnTo>
                    <a:pt x="2344" y="547"/>
                  </a:lnTo>
                  <a:lnTo>
                    <a:pt x="2344" y="547"/>
                  </a:lnTo>
                  <a:lnTo>
                    <a:pt x="2344" y="525"/>
                  </a:lnTo>
                  <a:lnTo>
                    <a:pt x="2344" y="525"/>
                  </a:lnTo>
                  <a:lnTo>
                    <a:pt x="2344" y="518"/>
                  </a:lnTo>
                  <a:lnTo>
                    <a:pt x="2344" y="514"/>
                  </a:lnTo>
                  <a:lnTo>
                    <a:pt x="2344" y="514"/>
                  </a:lnTo>
                  <a:close/>
                </a:path>
              </a:pathLst>
            </a:custGeom>
            <a:solidFill>
              <a:schemeClr val="bg1">
                <a:alpha val="5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0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946150" y="2708929"/>
              <a:ext cx="3451225" cy="962025"/>
              <a:chOff x="1447800" y="1524000"/>
              <a:chExt cx="3451225" cy="962025"/>
            </a:xfrm>
            <a:grpFill/>
          </p:grpSpPr>
          <p:sp>
            <p:nvSpPr>
              <p:cNvPr id="11" name="Freeform 10"/>
              <p:cNvSpPr>
                <a:spLocks/>
              </p:cNvSpPr>
              <p:nvPr/>
            </p:nvSpPr>
            <p:spPr bwMode="auto">
              <a:xfrm>
                <a:off x="1962150" y="2246313"/>
                <a:ext cx="55563" cy="19050"/>
              </a:xfrm>
              <a:custGeom>
                <a:avLst/>
                <a:gdLst>
                  <a:gd name="T0" fmla="*/ 35 w 35"/>
                  <a:gd name="T1" fmla="*/ 0 h 12"/>
                  <a:gd name="T2" fmla="*/ 35 w 35"/>
                  <a:gd name="T3" fmla="*/ 0 h 12"/>
                  <a:gd name="T4" fmla="*/ 28 w 35"/>
                  <a:gd name="T5" fmla="*/ 0 h 12"/>
                  <a:gd name="T6" fmla="*/ 24 w 35"/>
                  <a:gd name="T7" fmla="*/ 0 h 12"/>
                  <a:gd name="T8" fmla="*/ 24 w 35"/>
                  <a:gd name="T9" fmla="*/ 0 h 12"/>
                  <a:gd name="T10" fmla="*/ 12 w 35"/>
                  <a:gd name="T11" fmla="*/ 0 h 12"/>
                  <a:gd name="T12" fmla="*/ 12 w 35"/>
                  <a:gd name="T13" fmla="*/ 0 h 12"/>
                  <a:gd name="T14" fmla="*/ 5 w 35"/>
                  <a:gd name="T15" fmla="*/ 0 h 12"/>
                  <a:gd name="T16" fmla="*/ 0 w 35"/>
                  <a:gd name="T17" fmla="*/ 0 h 12"/>
                  <a:gd name="T18" fmla="*/ 0 w 35"/>
                  <a:gd name="T19" fmla="*/ 0 h 12"/>
                  <a:gd name="T20" fmla="*/ 0 w 35"/>
                  <a:gd name="T21" fmla="*/ 12 h 12"/>
                  <a:gd name="T22" fmla="*/ 0 w 35"/>
                  <a:gd name="T23" fmla="*/ 12 h 12"/>
                  <a:gd name="T24" fmla="*/ 5 w 35"/>
                  <a:gd name="T25" fmla="*/ 12 h 12"/>
                  <a:gd name="T26" fmla="*/ 12 w 35"/>
                  <a:gd name="T27" fmla="*/ 12 h 12"/>
                  <a:gd name="T28" fmla="*/ 12 w 35"/>
                  <a:gd name="T29" fmla="*/ 12 h 12"/>
                  <a:gd name="T30" fmla="*/ 24 w 35"/>
                  <a:gd name="T31" fmla="*/ 12 h 12"/>
                  <a:gd name="T32" fmla="*/ 24 w 35"/>
                  <a:gd name="T33" fmla="*/ 12 h 12"/>
                  <a:gd name="T34" fmla="*/ 35 w 35"/>
                  <a:gd name="T35" fmla="*/ 12 h 12"/>
                  <a:gd name="T36" fmla="*/ 35 w 35"/>
                  <a:gd name="T37" fmla="*/ 12 h 12"/>
                  <a:gd name="T38" fmla="*/ 35 w 35"/>
                  <a:gd name="T39" fmla="*/ 4 h 12"/>
                  <a:gd name="T40" fmla="*/ 35 w 35"/>
                  <a:gd name="T41" fmla="*/ 0 h 12"/>
                  <a:gd name="T42" fmla="*/ 35 w 35"/>
                  <a:gd name="T4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12">
                    <a:moveTo>
                      <a:pt x="35" y="0"/>
                    </a:moveTo>
                    <a:lnTo>
                      <a:pt x="35" y="0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35" y="12"/>
                    </a:lnTo>
                    <a:lnTo>
                      <a:pt x="35" y="12"/>
                    </a:lnTo>
                    <a:lnTo>
                      <a:pt x="35" y="4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0"/>
              </a:p>
            </p:txBody>
          </p:sp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 flipH="1">
                <a:off x="1447800" y="1524000"/>
                <a:ext cx="3451225" cy="962025"/>
              </a:xfrm>
              <a:custGeom>
                <a:avLst/>
                <a:gdLst>
                  <a:gd name="T0" fmla="*/ 2323 w 2338"/>
                  <a:gd name="T1" fmla="*/ 455 h 606"/>
                  <a:gd name="T2" fmla="*/ 2265 w 2338"/>
                  <a:gd name="T3" fmla="*/ 412 h 606"/>
                  <a:gd name="T4" fmla="*/ 2253 w 2338"/>
                  <a:gd name="T5" fmla="*/ 280 h 606"/>
                  <a:gd name="T6" fmla="*/ 2253 w 2338"/>
                  <a:gd name="T7" fmla="*/ 127 h 606"/>
                  <a:gd name="T8" fmla="*/ 2229 w 2338"/>
                  <a:gd name="T9" fmla="*/ 57 h 606"/>
                  <a:gd name="T10" fmla="*/ 2210 w 2338"/>
                  <a:gd name="T11" fmla="*/ 35 h 606"/>
                  <a:gd name="T12" fmla="*/ 2182 w 2338"/>
                  <a:gd name="T13" fmla="*/ 12 h 606"/>
                  <a:gd name="T14" fmla="*/ 2147 w 2338"/>
                  <a:gd name="T15" fmla="*/ 12 h 606"/>
                  <a:gd name="T16" fmla="*/ 2133 w 2338"/>
                  <a:gd name="T17" fmla="*/ 35 h 606"/>
                  <a:gd name="T18" fmla="*/ 2085 w 2338"/>
                  <a:gd name="T19" fmla="*/ 68 h 606"/>
                  <a:gd name="T20" fmla="*/ 2074 w 2338"/>
                  <a:gd name="T21" fmla="*/ 163 h 606"/>
                  <a:gd name="T22" fmla="*/ 2062 w 2338"/>
                  <a:gd name="T23" fmla="*/ 257 h 606"/>
                  <a:gd name="T24" fmla="*/ 2034 w 2338"/>
                  <a:gd name="T25" fmla="*/ 325 h 606"/>
                  <a:gd name="T26" fmla="*/ 2027 w 2338"/>
                  <a:gd name="T27" fmla="*/ 467 h 606"/>
                  <a:gd name="T28" fmla="*/ 1979 w 2338"/>
                  <a:gd name="T29" fmla="*/ 467 h 606"/>
                  <a:gd name="T30" fmla="*/ 1956 w 2338"/>
                  <a:gd name="T31" fmla="*/ 419 h 606"/>
                  <a:gd name="T32" fmla="*/ 1791 w 2338"/>
                  <a:gd name="T33" fmla="*/ 349 h 606"/>
                  <a:gd name="T34" fmla="*/ 1635 w 2338"/>
                  <a:gd name="T35" fmla="*/ 535 h 606"/>
                  <a:gd name="T36" fmla="*/ 1612 w 2338"/>
                  <a:gd name="T37" fmla="*/ 478 h 606"/>
                  <a:gd name="T38" fmla="*/ 1612 w 2338"/>
                  <a:gd name="T39" fmla="*/ 313 h 606"/>
                  <a:gd name="T40" fmla="*/ 1572 w 2338"/>
                  <a:gd name="T41" fmla="*/ 280 h 606"/>
                  <a:gd name="T42" fmla="*/ 1553 w 2338"/>
                  <a:gd name="T43" fmla="*/ 221 h 606"/>
                  <a:gd name="T44" fmla="*/ 1447 w 2338"/>
                  <a:gd name="T45" fmla="*/ 198 h 606"/>
                  <a:gd name="T46" fmla="*/ 1353 w 2338"/>
                  <a:gd name="T47" fmla="*/ 203 h 606"/>
                  <a:gd name="T48" fmla="*/ 1268 w 2338"/>
                  <a:gd name="T49" fmla="*/ 221 h 606"/>
                  <a:gd name="T50" fmla="*/ 1233 w 2338"/>
                  <a:gd name="T51" fmla="*/ 269 h 606"/>
                  <a:gd name="T52" fmla="*/ 1233 w 2338"/>
                  <a:gd name="T53" fmla="*/ 408 h 606"/>
                  <a:gd name="T54" fmla="*/ 1162 w 2338"/>
                  <a:gd name="T55" fmla="*/ 467 h 606"/>
                  <a:gd name="T56" fmla="*/ 1009 w 2338"/>
                  <a:gd name="T57" fmla="*/ 455 h 606"/>
                  <a:gd name="T58" fmla="*/ 891 w 2338"/>
                  <a:gd name="T59" fmla="*/ 443 h 606"/>
                  <a:gd name="T60" fmla="*/ 830 w 2338"/>
                  <a:gd name="T61" fmla="*/ 467 h 606"/>
                  <a:gd name="T62" fmla="*/ 700 w 2338"/>
                  <a:gd name="T63" fmla="*/ 547 h 606"/>
                  <a:gd name="T64" fmla="*/ 629 w 2338"/>
                  <a:gd name="T65" fmla="*/ 525 h 606"/>
                  <a:gd name="T66" fmla="*/ 606 w 2338"/>
                  <a:gd name="T67" fmla="*/ 525 h 606"/>
                  <a:gd name="T68" fmla="*/ 547 w 2338"/>
                  <a:gd name="T69" fmla="*/ 547 h 606"/>
                  <a:gd name="T70" fmla="*/ 474 w 2338"/>
                  <a:gd name="T71" fmla="*/ 525 h 606"/>
                  <a:gd name="T72" fmla="*/ 523 w 2338"/>
                  <a:gd name="T73" fmla="*/ 467 h 606"/>
                  <a:gd name="T74" fmla="*/ 474 w 2338"/>
                  <a:gd name="T75" fmla="*/ 313 h 606"/>
                  <a:gd name="T76" fmla="*/ 403 w 2338"/>
                  <a:gd name="T77" fmla="*/ 292 h 606"/>
                  <a:gd name="T78" fmla="*/ 250 w 2338"/>
                  <a:gd name="T79" fmla="*/ 221 h 606"/>
                  <a:gd name="T80" fmla="*/ 132 w 2338"/>
                  <a:gd name="T81" fmla="*/ 292 h 606"/>
                  <a:gd name="T82" fmla="*/ 47 w 2338"/>
                  <a:gd name="T83" fmla="*/ 349 h 606"/>
                  <a:gd name="T84" fmla="*/ 47 w 2338"/>
                  <a:gd name="T85" fmla="*/ 514 h 606"/>
                  <a:gd name="T86" fmla="*/ 0 w 2338"/>
                  <a:gd name="T87" fmla="*/ 570 h 606"/>
                  <a:gd name="T88" fmla="*/ 109 w 2338"/>
                  <a:gd name="T89" fmla="*/ 606 h 606"/>
                  <a:gd name="T90" fmla="*/ 262 w 2338"/>
                  <a:gd name="T91" fmla="*/ 606 h 606"/>
                  <a:gd name="T92" fmla="*/ 403 w 2338"/>
                  <a:gd name="T93" fmla="*/ 606 h 606"/>
                  <a:gd name="T94" fmla="*/ 547 w 2338"/>
                  <a:gd name="T95" fmla="*/ 606 h 606"/>
                  <a:gd name="T96" fmla="*/ 700 w 2338"/>
                  <a:gd name="T97" fmla="*/ 606 h 606"/>
                  <a:gd name="T98" fmla="*/ 841 w 2338"/>
                  <a:gd name="T99" fmla="*/ 606 h 606"/>
                  <a:gd name="T100" fmla="*/ 985 w 2338"/>
                  <a:gd name="T101" fmla="*/ 606 h 606"/>
                  <a:gd name="T102" fmla="*/ 1127 w 2338"/>
                  <a:gd name="T103" fmla="*/ 606 h 606"/>
                  <a:gd name="T104" fmla="*/ 1268 w 2338"/>
                  <a:gd name="T105" fmla="*/ 606 h 606"/>
                  <a:gd name="T106" fmla="*/ 1412 w 2338"/>
                  <a:gd name="T107" fmla="*/ 606 h 606"/>
                  <a:gd name="T108" fmla="*/ 1565 w 2338"/>
                  <a:gd name="T109" fmla="*/ 606 h 606"/>
                  <a:gd name="T110" fmla="*/ 1709 w 2338"/>
                  <a:gd name="T111" fmla="*/ 606 h 606"/>
                  <a:gd name="T112" fmla="*/ 1850 w 2338"/>
                  <a:gd name="T113" fmla="*/ 606 h 606"/>
                  <a:gd name="T114" fmla="*/ 1991 w 2338"/>
                  <a:gd name="T115" fmla="*/ 606 h 606"/>
                  <a:gd name="T116" fmla="*/ 2135 w 2338"/>
                  <a:gd name="T117" fmla="*/ 606 h 606"/>
                  <a:gd name="T118" fmla="*/ 2276 w 2338"/>
                  <a:gd name="T119" fmla="*/ 606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38" h="606">
                    <a:moveTo>
                      <a:pt x="2338" y="490"/>
                    </a:moveTo>
                    <a:lnTo>
                      <a:pt x="2338" y="490"/>
                    </a:lnTo>
                    <a:lnTo>
                      <a:pt x="2335" y="490"/>
                    </a:lnTo>
                    <a:lnTo>
                      <a:pt x="2335" y="490"/>
                    </a:lnTo>
                    <a:lnTo>
                      <a:pt x="2335" y="488"/>
                    </a:lnTo>
                    <a:lnTo>
                      <a:pt x="2335" y="483"/>
                    </a:lnTo>
                    <a:lnTo>
                      <a:pt x="2335" y="478"/>
                    </a:lnTo>
                    <a:lnTo>
                      <a:pt x="2335" y="478"/>
                    </a:lnTo>
                    <a:lnTo>
                      <a:pt x="2328" y="478"/>
                    </a:lnTo>
                    <a:lnTo>
                      <a:pt x="2323" y="478"/>
                    </a:lnTo>
                    <a:lnTo>
                      <a:pt x="2323" y="478"/>
                    </a:lnTo>
                    <a:lnTo>
                      <a:pt x="2323" y="471"/>
                    </a:lnTo>
                    <a:lnTo>
                      <a:pt x="2323" y="467"/>
                    </a:lnTo>
                    <a:lnTo>
                      <a:pt x="2323" y="467"/>
                    </a:lnTo>
                    <a:lnTo>
                      <a:pt x="2323" y="455"/>
                    </a:lnTo>
                    <a:lnTo>
                      <a:pt x="2323" y="455"/>
                    </a:lnTo>
                    <a:lnTo>
                      <a:pt x="2323" y="431"/>
                    </a:lnTo>
                    <a:lnTo>
                      <a:pt x="2323" y="431"/>
                    </a:lnTo>
                    <a:lnTo>
                      <a:pt x="2323" y="408"/>
                    </a:lnTo>
                    <a:lnTo>
                      <a:pt x="2323" y="408"/>
                    </a:lnTo>
                    <a:lnTo>
                      <a:pt x="2312" y="408"/>
                    </a:lnTo>
                    <a:lnTo>
                      <a:pt x="2312" y="408"/>
                    </a:lnTo>
                    <a:lnTo>
                      <a:pt x="2300" y="408"/>
                    </a:lnTo>
                    <a:lnTo>
                      <a:pt x="2300" y="408"/>
                    </a:lnTo>
                    <a:lnTo>
                      <a:pt x="2288" y="408"/>
                    </a:lnTo>
                    <a:lnTo>
                      <a:pt x="2288" y="408"/>
                    </a:lnTo>
                    <a:lnTo>
                      <a:pt x="2276" y="408"/>
                    </a:lnTo>
                    <a:lnTo>
                      <a:pt x="2276" y="408"/>
                    </a:lnTo>
                    <a:lnTo>
                      <a:pt x="2269" y="408"/>
                    </a:lnTo>
                    <a:lnTo>
                      <a:pt x="2265" y="408"/>
                    </a:lnTo>
                    <a:lnTo>
                      <a:pt x="2265" y="408"/>
                    </a:lnTo>
                    <a:lnTo>
                      <a:pt x="2265" y="412"/>
                    </a:lnTo>
                    <a:lnTo>
                      <a:pt x="2265" y="419"/>
                    </a:lnTo>
                    <a:lnTo>
                      <a:pt x="2265" y="419"/>
                    </a:lnTo>
                    <a:lnTo>
                      <a:pt x="2262" y="419"/>
                    </a:lnTo>
                    <a:lnTo>
                      <a:pt x="2257" y="419"/>
                    </a:lnTo>
                    <a:lnTo>
                      <a:pt x="2253" y="419"/>
                    </a:lnTo>
                    <a:lnTo>
                      <a:pt x="2253" y="419"/>
                    </a:lnTo>
                    <a:lnTo>
                      <a:pt x="2253" y="372"/>
                    </a:lnTo>
                    <a:lnTo>
                      <a:pt x="2253" y="372"/>
                    </a:lnTo>
                    <a:lnTo>
                      <a:pt x="2253" y="325"/>
                    </a:lnTo>
                    <a:lnTo>
                      <a:pt x="2253" y="325"/>
                    </a:lnTo>
                    <a:lnTo>
                      <a:pt x="2253" y="313"/>
                    </a:lnTo>
                    <a:lnTo>
                      <a:pt x="2253" y="313"/>
                    </a:lnTo>
                    <a:lnTo>
                      <a:pt x="2253" y="292"/>
                    </a:lnTo>
                    <a:lnTo>
                      <a:pt x="2253" y="292"/>
                    </a:lnTo>
                    <a:lnTo>
                      <a:pt x="2253" y="280"/>
                    </a:lnTo>
                    <a:lnTo>
                      <a:pt x="2253" y="280"/>
                    </a:lnTo>
                    <a:lnTo>
                      <a:pt x="2253" y="257"/>
                    </a:lnTo>
                    <a:lnTo>
                      <a:pt x="2253" y="257"/>
                    </a:lnTo>
                    <a:lnTo>
                      <a:pt x="2253" y="245"/>
                    </a:lnTo>
                    <a:lnTo>
                      <a:pt x="2253" y="245"/>
                    </a:lnTo>
                    <a:lnTo>
                      <a:pt x="2253" y="221"/>
                    </a:lnTo>
                    <a:lnTo>
                      <a:pt x="2253" y="221"/>
                    </a:lnTo>
                    <a:lnTo>
                      <a:pt x="2253" y="210"/>
                    </a:lnTo>
                    <a:lnTo>
                      <a:pt x="2253" y="210"/>
                    </a:lnTo>
                    <a:lnTo>
                      <a:pt x="2253" y="186"/>
                    </a:lnTo>
                    <a:lnTo>
                      <a:pt x="2253" y="186"/>
                    </a:lnTo>
                    <a:lnTo>
                      <a:pt x="2253" y="174"/>
                    </a:lnTo>
                    <a:lnTo>
                      <a:pt x="2253" y="174"/>
                    </a:lnTo>
                    <a:lnTo>
                      <a:pt x="2253" y="151"/>
                    </a:lnTo>
                    <a:lnTo>
                      <a:pt x="2253" y="151"/>
                    </a:lnTo>
                    <a:lnTo>
                      <a:pt x="2253" y="127"/>
                    </a:lnTo>
                    <a:lnTo>
                      <a:pt x="2253" y="127"/>
                    </a:lnTo>
                    <a:lnTo>
                      <a:pt x="2253" y="80"/>
                    </a:lnTo>
                    <a:lnTo>
                      <a:pt x="2253" y="80"/>
                    </a:lnTo>
                    <a:lnTo>
                      <a:pt x="2253" y="68"/>
                    </a:lnTo>
                    <a:lnTo>
                      <a:pt x="2253" y="68"/>
                    </a:lnTo>
                    <a:lnTo>
                      <a:pt x="2246" y="71"/>
                    </a:lnTo>
                    <a:lnTo>
                      <a:pt x="2241" y="68"/>
                    </a:lnTo>
                    <a:lnTo>
                      <a:pt x="2241" y="68"/>
                    </a:lnTo>
                    <a:lnTo>
                      <a:pt x="2241" y="64"/>
                    </a:lnTo>
                    <a:lnTo>
                      <a:pt x="2241" y="59"/>
                    </a:lnTo>
                    <a:lnTo>
                      <a:pt x="2241" y="59"/>
                    </a:lnTo>
                    <a:lnTo>
                      <a:pt x="2239" y="57"/>
                    </a:lnTo>
                    <a:lnTo>
                      <a:pt x="2234" y="57"/>
                    </a:lnTo>
                    <a:lnTo>
                      <a:pt x="2232" y="59"/>
                    </a:lnTo>
                    <a:lnTo>
                      <a:pt x="2229" y="59"/>
                    </a:lnTo>
                    <a:lnTo>
                      <a:pt x="2229" y="59"/>
                    </a:lnTo>
                    <a:lnTo>
                      <a:pt x="2229" y="57"/>
                    </a:lnTo>
                    <a:lnTo>
                      <a:pt x="2229" y="52"/>
                    </a:lnTo>
                    <a:lnTo>
                      <a:pt x="2229" y="49"/>
                    </a:lnTo>
                    <a:lnTo>
                      <a:pt x="2229" y="47"/>
                    </a:lnTo>
                    <a:lnTo>
                      <a:pt x="2229" y="47"/>
                    </a:lnTo>
                    <a:lnTo>
                      <a:pt x="2227" y="45"/>
                    </a:lnTo>
                    <a:lnTo>
                      <a:pt x="2222" y="47"/>
                    </a:lnTo>
                    <a:lnTo>
                      <a:pt x="2220" y="47"/>
                    </a:lnTo>
                    <a:lnTo>
                      <a:pt x="2217" y="47"/>
                    </a:lnTo>
                    <a:lnTo>
                      <a:pt x="2217" y="47"/>
                    </a:lnTo>
                    <a:lnTo>
                      <a:pt x="2217" y="45"/>
                    </a:lnTo>
                    <a:lnTo>
                      <a:pt x="2217" y="40"/>
                    </a:lnTo>
                    <a:lnTo>
                      <a:pt x="2217" y="38"/>
                    </a:lnTo>
                    <a:lnTo>
                      <a:pt x="2217" y="35"/>
                    </a:lnTo>
                    <a:lnTo>
                      <a:pt x="2217" y="35"/>
                    </a:lnTo>
                    <a:lnTo>
                      <a:pt x="2215" y="33"/>
                    </a:lnTo>
                    <a:lnTo>
                      <a:pt x="2210" y="35"/>
                    </a:lnTo>
                    <a:lnTo>
                      <a:pt x="2206" y="35"/>
                    </a:lnTo>
                    <a:lnTo>
                      <a:pt x="2206" y="35"/>
                    </a:lnTo>
                    <a:lnTo>
                      <a:pt x="2206" y="28"/>
                    </a:lnTo>
                    <a:lnTo>
                      <a:pt x="2206" y="26"/>
                    </a:lnTo>
                    <a:lnTo>
                      <a:pt x="2206" y="24"/>
                    </a:lnTo>
                    <a:lnTo>
                      <a:pt x="2206" y="24"/>
                    </a:lnTo>
                    <a:lnTo>
                      <a:pt x="2199" y="24"/>
                    </a:lnTo>
                    <a:lnTo>
                      <a:pt x="2196" y="24"/>
                    </a:lnTo>
                    <a:lnTo>
                      <a:pt x="2194" y="24"/>
                    </a:lnTo>
                    <a:lnTo>
                      <a:pt x="2194" y="24"/>
                    </a:lnTo>
                    <a:lnTo>
                      <a:pt x="2192" y="21"/>
                    </a:lnTo>
                    <a:lnTo>
                      <a:pt x="2194" y="16"/>
                    </a:lnTo>
                    <a:lnTo>
                      <a:pt x="2194" y="12"/>
                    </a:lnTo>
                    <a:lnTo>
                      <a:pt x="2194" y="12"/>
                    </a:lnTo>
                    <a:lnTo>
                      <a:pt x="2187" y="12"/>
                    </a:lnTo>
                    <a:lnTo>
                      <a:pt x="2182" y="12"/>
                    </a:lnTo>
                    <a:lnTo>
                      <a:pt x="2182" y="12"/>
                    </a:lnTo>
                    <a:lnTo>
                      <a:pt x="2180" y="9"/>
                    </a:lnTo>
                    <a:lnTo>
                      <a:pt x="2182" y="5"/>
                    </a:lnTo>
                    <a:lnTo>
                      <a:pt x="2182" y="0"/>
                    </a:lnTo>
                    <a:lnTo>
                      <a:pt x="2182" y="0"/>
                    </a:lnTo>
                    <a:lnTo>
                      <a:pt x="2170" y="0"/>
                    </a:lnTo>
                    <a:lnTo>
                      <a:pt x="2170" y="0"/>
                    </a:lnTo>
                    <a:lnTo>
                      <a:pt x="2163" y="0"/>
                    </a:lnTo>
                    <a:lnTo>
                      <a:pt x="2159" y="0"/>
                    </a:lnTo>
                    <a:lnTo>
                      <a:pt x="2159" y="0"/>
                    </a:lnTo>
                    <a:lnTo>
                      <a:pt x="2159" y="5"/>
                    </a:lnTo>
                    <a:lnTo>
                      <a:pt x="2159" y="12"/>
                    </a:lnTo>
                    <a:lnTo>
                      <a:pt x="2159" y="12"/>
                    </a:lnTo>
                    <a:lnTo>
                      <a:pt x="2156" y="12"/>
                    </a:lnTo>
                    <a:lnTo>
                      <a:pt x="2151" y="12"/>
                    </a:lnTo>
                    <a:lnTo>
                      <a:pt x="2147" y="12"/>
                    </a:lnTo>
                    <a:lnTo>
                      <a:pt x="2147" y="12"/>
                    </a:lnTo>
                    <a:lnTo>
                      <a:pt x="2144" y="14"/>
                    </a:lnTo>
                    <a:lnTo>
                      <a:pt x="2147" y="16"/>
                    </a:lnTo>
                    <a:lnTo>
                      <a:pt x="2147" y="24"/>
                    </a:lnTo>
                    <a:lnTo>
                      <a:pt x="2147" y="24"/>
                    </a:lnTo>
                    <a:lnTo>
                      <a:pt x="2144" y="24"/>
                    </a:lnTo>
                    <a:lnTo>
                      <a:pt x="2140" y="24"/>
                    </a:lnTo>
                    <a:lnTo>
                      <a:pt x="2137" y="21"/>
                    </a:lnTo>
                    <a:lnTo>
                      <a:pt x="2135" y="24"/>
                    </a:lnTo>
                    <a:lnTo>
                      <a:pt x="2135" y="24"/>
                    </a:lnTo>
                    <a:lnTo>
                      <a:pt x="2133" y="26"/>
                    </a:lnTo>
                    <a:lnTo>
                      <a:pt x="2135" y="28"/>
                    </a:lnTo>
                    <a:lnTo>
                      <a:pt x="2135" y="33"/>
                    </a:lnTo>
                    <a:lnTo>
                      <a:pt x="2135" y="35"/>
                    </a:lnTo>
                    <a:lnTo>
                      <a:pt x="2135" y="35"/>
                    </a:lnTo>
                    <a:lnTo>
                      <a:pt x="2133" y="35"/>
                    </a:lnTo>
                    <a:lnTo>
                      <a:pt x="2128" y="35"/>
                    </a:lnTo>
                    <a:lnTo>
                      <a:pt x="2123" y="35"/>
                    </a:lnTo>
                    <a:lnTo>
                      <a:pt x="2123" y="35"/>
                    </a:lnTo>
                    <a:lnTo>
                      <a:pt x="2123" y="40"/>
                    </a:lnTo>
                    <a:lnTo>
                      <a:pt x="2123" y="47"/>
                    </a:lnTo>
                    <a:lnTo>
                      <a:pt x="2123" y="47"/>
                    </a:lnTo>
                    <a:lnTo>
                      <a:pt x="2116" y="47"/>
                    </a:lnTo>
                    <a:lnTo>
                      <a:pt x="2111" y="47"/>
                    </a:lnTo>
                    <a:lnTo>
                      <a:pt x="2111" y="47"/>
                    </a:lnTo>
                    <a:lnTo>
                      <a:pt x="2109" y="49"/>
                    </a:lnTo>
                    <a:lnTo>
                      <a:pt x="2109" y="52"/>
                    </a:lnTo>
                    <a:lnTo>
                      <a:pt x="2111" y="59"/>
                    </a:lnTo>
                    <a:lnTo>
                      <a:pt x="2111" y="59"/>
                    </a:lnTo>
                    <a:lnTo>
                      <a:pt x="2085" y="59"/>
                    </a:lnTo>
                    <a:lnTo>
                      <a:pt x="2085" y="59"/>
                    </a:lnTo>
                    <a:lnTo>
                      <a:pt x="2085" y="68"/>
                    </a:lnTo>
                    <a:lnTo>
                      <a:pt x="2085" y="68"/>
                    </a:lnTo>
                    <a:lnTo>
                      <a:pt x="2085" y="92"/>
                    </a:lnTo>
                    <a:lnTo>
                      <a:pt x="2085" y="92"/>
                    </a:lnTo>
                    <a:lnTo>
                      <a:pt x="2085" y="104"/>
                    </a:lnTo>
                    <a:lnTo>
                      <a:pt x="2085" y="104"/>
                    </a:lnTo>
                    <a:lnTo>
                      <a:pt x="2088" y="111"/>
                    </a:lnTo>
                    <a:lnTo>
                      <a:pt x="2085" y="115"/>
                    </a:lnTo>
                    <a:lnTo>
                      <a:pt x="2085" y="115"/>
                    </a:lnTo>
                    <a:lnTo>
                      <a:pt x="2081" y="115"/>
                    </a:lnTo>
                    <a:lnTo>
                      <a:pt x="2074" y="115"/>
                    </a:lnTo>
                    <a:lnTo>
                      <a:pt x="2074" y="115"/>
                    </a:lnTo>
                    <a:lnTo>
                      <a:pt x="2074" y="127"/>
                    </a:lnTo>
                    <a:lnTo>
                      <a:pt x="2074" y="127"/>
                    </a:lnTo>
                    <a:lnTo>
                      <a:pt x="2074" y="139"/>
                    </a:lnTo>
                    <a:lnTo>
                      <a:pt x="2074" y="139"/>
                    </a:lnTo>
                    <a:lnTo>
                      <a:pt x="2074" y="163"/>
                    </a:lnTo>
                    <a:lnTo>
                      <a:pt x="2074" y="163"/>
                    </a:lnTo>
                    <a:lnTo>
                      <a:pt x="2074" y="174"/>
                    </a:lnTo>
                    <a:lnTo>
                      <a:pt x="2074" y="174"/>
                    </a:lnTo>
                    <a:lnTo>
                      <a:pt x="2074" y="198"/>
                    </a:lnTo>
                    <a:lnTo>
                      <a:pt x="2074" y="198"/>
                    </a:lnTo>
                    <a:lnTo>
                      <a:pt x="2074" y="221"/>
                    </a:lnTo>
                    <a:lnTo>
                      <a:pt x="2074" y="221"/>
                    </a:lnTo>
                    <a:lnTo>
                      <a:pt x="2069" y="221"/>
                    </a:lnTo>
                    <a:lnTo>
                      <a:pt x="2062" y="221"/>
                    </a:lnTo>
                    <a:lnTo>
                      <a:pt x="2062" y="221"/>
                    </a:lnTo>
                    <a:lnTo>
                      <a:pt x="2062" y="226"/>
                    </a:lnTo>
                    <a:lnTo>
                      <a:pt x="2062" y="233"/>
                    </a:lnTo>
                    <a:lnTo>
                      <a:pt x="2062" y="233"/>
                    </a:lnTo>
                    <a:lnTo>
                      <a:pt x="2062" y="245"/>
                    </a:lnTo>
                    <a:lnTo>
                      <a:pt x="2062" y="245"/>
                    </a:lnTo>
                    <a:lnTo>
                      <a:pt x="2062" y="257"/>
                    </a:lnTo>
                    <a:lnTo>
                      <a:pt x="2062" y="257"/>
                    </a:lnTo>
                    <a:lnTo>
                      <a:pt x="2038" y="257"/>
                    </a:lnTo>
                    <a:lnTo>
                      <a:pt x="2038" y="257"/>
                    </a:lnTo>
                    <a:lnTo>
                      <a:pt x="2038" y="280"/>
                    </a:lnTo>
                    <a:lnTo>
                      <a:pt x="2038" y="280"/>
                    </a:lnTo>
                    <a:lnTo>
                      <a:pt x="2038" y="292"/>
                    </a:lnTo>
                    <a:lnTo>
                      <a:pt x="2038" y="292"/>
                    </a:lnTo>
                    <a:lnTo>
                      <a:pt x="2038" y="302"/>
                    </a:lnTo>
                    <a:lnTo>
                      <a:pt x="2038" y="302"/>
                    </a:lnTo>
                    <a:lnTo>
                      <a:pt x="2038" y="313"/>
                    </a:lnTo>
                    <a:lnTo>
                      <a:pt x="2038" y="313"/>
                    </a:lnTo>
                    <a:lnTo>
                      <a:pt x="2038" y="320"/>
                    </a:lnTo>
                    <a:lnTo>
                      <a:pt x="2038" y="325"/>
                    </a:lnTo>
                    <a:lnTo>
                      <a:pt x="2038" y="325"/>
                    </a:lnTo>
                    <a:lnTo>
                      <a:pt x="2036" y="328"/>
                    </a:lnTo>
                    <a:lnTo>
                      <a:pt x="2034" y="325"/>
                    </a:lnTo>
                    <a:lnTo>
                      <a:pt x="2027" y="325"/>
                    </a:lnTo>
                    <a:lnTo>
                      <a:pt x="2027" y="325"/>
                    </a:lnTo>
                    <a:lnTo>
                      <a:pt x="2027" y="349"/>
                    </a:lnTo>
                    <a:lnTo>
                      <a:pt x="2027" y="349"/>
                    </a:lnTo>
                    <a:lnTo>
                      <a:pt x="2027" y="361"/>
                    </a:lnTo>
                    <a:lnTo>
                      <a:pt x="2027" y="361"/>
                    </a:lnTo>
                    <a:lnTo>
                      <a:pt x="2027" y="384"/>
                    </a:lnTo>
                    <a:lnTo>
                      <a:pt x="2027" y="384"/>
                    </a:lnTo>
                    <a:lnTo>
                      <a:pt x="2027" y="431"/>
                    </a:lnTo>
                    <a:lnTo>
                      <a:pt x="2027" y="431"/>
                    </a:lnTo>
                    <a:lnTo>
                      <a:pt x="2027" y="443"/>
                    </a:lnTo>
                    <a:lnTo>
                      <a:pt x="2027" y="443"/>
                    </a:lnTo>
                    <a:lnTo>
                      <a:pt x="2027" y="455"/>
                    </a:lnTo>
                    <a:lnTo>
                      <a:pt x="2027" y="455"/>
                    </a:lnTo>
                    <a:lnTo>
                      <a:pt x="2027" y="467"/>
                    </a:lnTo>
                    <a:lnTo>
                      <a:pt x="2027" y="467"/>
                    </a:lnTo>
                    <a:lnTo>
                      <a:pt x="2027" y="471"/>
                    </a:lnTo>
                    <a:lnTo>
                      <a:pt x="2027" y="478"/>
                    </a:lnTo>
                    <a:lnTo>
                      <a:pt x="2027" y="478"/>
                    </a:lnTo>
                    <a:lnTo>
                      <a:pt x="2024" y="478"/>
                    </a:lnTo>
                    <a:lnTo>
                      <a:pt x="2022" y="478"/>
                    </a:lnTo>
                    <a:lnTo>
                      <a:pt x="2015" y="478"/>
                    </a:lnTo>
                    <a:lnTo>
                      <a:pt x="2015" y="478"/>
                    </a:lnTo>
                    <a:lnTo>
                      <a:pt x="2003" y="478"/>
                    </a:lnTo>
                    <a:lnTo>
                      <a:pt x="2003" y="478"/>
                    </a:lnTo>
                    <a:lnTo>
                      <a:pt x="1998" y="478"/>
                    </a:lnTo>
                    <a:lnTo>
                      <a:pt x="1991" y="478"/>
                    </a:lnTo>
                    <a:lnTo>
                      <a:pt x="1991" y="478"/>
                    </a:lnTo>
                    <a:lnTo>
                      <a:pt x="1991" y="471"/>
                    </a:lnTo>
                    <a:lnTo>
                      <a:pt x="1991" y="467"/>
                    </a:lnTo>
                    <a:lnTo>
                      <a:pt x="1991" y="467"/>
                    </a:lnTo>
                    <a:lnTo>
                      <a:pt x="1979" y="467"/>
                    </a:lnTo>
                    <a:lnTo>
                      <a:pt x="1979" y="467"/>
                    </a:lnTo>
                    <a:lnTo>
                      <a:pt x="1968" y="467"/>
                    </a:lnTo>
                    <a:lnTo>
                      <a:pt x="1968" y="467"/>
                    </a:lnTo>
                    <a:lnTo>
                      <a:pt x="1968" y="459"/>
                    </a:lnTo>
                    <a:lnTo>
                      <a:pt x="1968" y="455"/>
                    </a:lnTo>
                    <a:lnTo>
                      <a:pt x="1968" y="455"/>
                    </a:lnTo>
                    <a:lnTo>
                      <a:pt x="1968" y="443"/>
                    </a:lnTo>
                    <a:lnTo>
                      <a:pt x="1968" y="443"/>
                    </a:lnTo>
                    <a:lnTo>
                      <a:pt x="1968" y="431"/>
                    </a:lnTo>
                    <a:lnTo>
                      <a:pt x="1968" y="431"/>
                    </a:lnTo>
                    <a:lnTo>
                      <a:pt x="1968" y="424"/>
                    </a:lnTo>
                    <a:lnTo>
                      <a:pt x="1968" y="419"/>
                    </a:lnTo>
                    <a:lnTo>
                      <a:pt x="1968" y="419"/>
                    </a:lnTo>
                    <a:lnTo>
                      <a:pt x="1965" y="419"/>
                    </a:lnTo>
                    <a:lnTo>
                      <a:pt x="1963" y="419"/>
                    </a:lnTo>
                    <a:lnTo>
                      <a:pt x="1956" y="419"/>
                    </a:lnTo>
                    <a:lnTo>
                      <a:pt x="1956" y="419"/>
                    </a:lnTo>
                    <a:lnTo>
                      <a:pt x="1956" y="396"/>
                    </a:lnTo>
                    <a:lnTo>
                      <a:pt x="1956" y="396"/>
                    </a:lnTo>
                    <a:lnTo>
                      <a:pt x="1909" y="396"/>
                    </a:lnTo>
                    <a:lnTo>
                      <a:pt x="1909" y="396"/>
                    </a:lnTo>
                    <a:lnTo>
                      <a:pt x="1885" y="396"/>
                    </a:lnTo>
                    <a:lnTo>
                      <a:pt x="1885" y="396"/>
                    </a:lnTo>
                    <a:lnTo>
                      <a:pt x="1885" y="349"/>
                    </a:lnTo>
                    <a:lnTo>
                      <a:pt x="1885" y="349"/>
                    </a:lnTo>
                    <a:lnTo>
                      <a:pt x="1873" y="349"/>
                    </a:lnTo>
                    <a:lnTo>
                      <a:pt x="1873" y="349"/>
                    </a:lnTo>
                    <a:lnTo>
                      <a:pt x="1850" y="349"/>
                    </a:lnTo>
                    <a:lnTo>
                      <a:pt x="1850" y="349"/>
                    </a:lnTo>
                    <a:lnTo>
                      <a:pt x="1803" y="349"/>
                    </a:lnTo>
                    <a:lnTo>
                      <a:pt x="1803" y="349"/>
                    </a:lnTo>
                    <a:lnTo>
                      <a:pt x="1791" y="349"/>
                    </a:lnTo>
                    <a:lnTo>
                      <a:pt x="1791" y="349"/>
                    </a:lnTo>
                    <a:lnTo>
                      <a:pt x="1767" y="349"/>
                    </a:lnTo>
                    <a:lnTo>
                      <a:pt x="1767" y="349"/>
                    </a:lnTo>
                    <a:lnTo>
                      <a:pt x="1720" y="349"/>
                    </a:lnTo>
                    <a:lnTo>
                      <a:pt x="1720" y="349"/>
                    </a:lnTo>
                    <a:lnTo>
                      <a:pt x="1720" y="396"/>
                    </a:lnTo>
                    <a:lnTo>
                      <a:pt x="1720" y="396"/>
                    </a:lnTo>
                    <a:lnTo>
                      <a:pt x="1720" y="490"/>
                    </a:lnTo>
                    <a:lnTo>
                      <a:pt x="1720" y="490"/>
                    </a:lnTo>
                    <a:lnTo>
                      <a:pt x="1720" y="535"/>
                    </a:lnTo>
                    <a:lnTo>
                      <a:pt x="1720" y="535"/>
                    </a:lnTo>
                    <a:lnTo>
                      <a:pt x="1709" y="535"/>
                    </a:lnTo>
                    <a:lnTo>
                      <a:pt x="1709" y="535"/>
                    </a:lnTo>
                    <a:lnTo>
                      <a:pt x="1659" y="535"/>
                    </a:lnTo>
                    <a:lnTo>
                      <a:pt x="1659" y="535"/>
                    </a:lnTo>
                    <a:lnTo>
                      <a:pt x="1635" y="535"/>
                    </a:lnTo>
                    <a:lnTo>
                      <a:pt x="1635" y="535"/>
                    </a:lnTo>
                    <a:lnTo>
                      <a:pt x="1635" y="525"/>
                    </a:lnTo>
                    <a:lnTo>
                      <a:pt x="1635" y="525"/>
                    </a:lnTo>
                    <a:lnTo>
                      <a:pt x="1635" y="514"/>
                    </a:lnTo>
                    <a:lnTo>
                      <a:pt x="1635" y="514"/>
                    </a:lnTo>
                    <a:lnTo>
                      <a:pt x="1635" y="502"/>
                    </a:lnTo>
                    <a:lnTo>
                      <a:pt x="1635" y="502"/>
                    </a:lnTo>
                    <a:lnTo>
                      <a:pt x="1635" y="490"/>
                    </a:lnTo>
                    <a:lnTo>
                      <a:pt x="1635" y="490"/>
                    </a:lnTo>
                    <a:lnTo>
                      <a:pt x="1638" y="483"/>
                    </a:lnTo>
                    <a:lnTo>
                      <a:pt x="1635" y="478"/>
                    </a:lnTo>
                    <a:lnTo>
                      <a:pt x="1635" y="478"/>
                    </a:lnTo>
                    <a:lnTo>
                      <a:pt x="1631" y="478"/>
                    </a:lnTo>
                    <a:lnTo>
                      <a:pt x="1624" y="478"/>
                    </a:lnTo>
                    <a:lnTo>
                      <a:pt x="1624" y="478"/>
                    </a:lnTo>
                    <a:lnTo>
                      <a:pt x="1612" y="478"/>
                    </a:lnTo>
                    <a:lnTo>
                      <a:pt x="1612" y="478"/>
                    </a:lnTo>
                    <a:lnTo>
                      <a:pt x="1612" y="455"/>
                    </a:lnTo>
                    <a:lnTo>
                      <a:pt x="1612" y="455"/>
                    </a:lnTo>
                    <a:lnTo>
                      <a:pt x="1612" y="431"/>
                    </a:lnTo>
                    <a:lnTo>
                      <a:pt x="1612" y="431"/>
                    </a:lnTo>
                    <a:lnTo>
                      <a:pt x="1612" y="419"/>
                    </a:lnTo>
                    <a:lnTo>
                      <a:pt x="1612" y="419"/>
                    </a:lnTo>
                    <a:lnTo>
                      <a:pt x="1612" y="396"/>
                    </a:lnTo>
                    <a:lnTo>
                      <a:pt x="1612" y="396"/>
                    </a:lnTo>
                    <a:lnTo>
                      <a:pt x="1612" y="349"/>
                    </a:lnTo>
                    <a:lnTo>
                      <a:pt x="1612" y="349"/>
                    </a:lnTo>
                    <a:lnTo>
                      <a:pt x="1612" y="325"/>
                    </a:lnTo>
                    <a:lnTo>
                      <a:pt x="1612" y="325"/>
                    </a:lnTo>
                    <a:lnTo>
                      <a:pt x="1612" y="320"/>
                    </a:lnTo>
                    <a:lnTo>
                      <a:pt x="1612" y="313"/>
                    </a:lnTo>
                    <a:lnTo>
                      <a:pt x="1612" y="313"/>
                    </a:lnTo>
                    <a:lnTo>
                      <a:pt x="1600" y="313"/>
                    </a:lnTo>
                    <a:lnTo>
                      <a:pt x="1600" y="313"/>
                    </a:lnTo>
                    <a:lnTo>
                      <a:pt x="1588" y="313"/>
                    </a:lnTo>
                    <a:lnTo>
                      <a:pt x="1588" y="313"/>
                    </a:lnTo>
                    <a:lnTo>
                      <a:pt x="1588" y="302"/>
                    </a:lnTo>
                    <a:lnTo>
                      <a:pt x="1588" y="302"/>
                    </a:lnTo>
                    <a:lnTo>
                      <a:pt x="1588" y="297"/>
                    </a:lnTo>
                    <a:lnTo>
                      <a:pt x="1588" y="292"/>
                    </a:lnTo>
                    <a:lnTo>
                      <a:pt x="1588" y="292"/>
                    </a:lnTo>
                    <a:lnTo>
                      <a:pt x="1584" y="292"/>
                    </a:lnTo>
                    <a:lnTo>
                      <a:pt x="1577" y="292"/>
                    </a:lnTo>
                    <a:lnTo>
                      <a:pt x="1577" y="292"/>
                    </a:lnTo>
                    <a:lnTo>
                      <a:pt x="1577" y="285"/>
                    </a:lnTo>
                    <a:lnTo>
                      <a:pt x="1577" y="280"/>
                    </a:lnTo>
                    <a:lnTo>
                      <a:pt x="1577" y="280"/>
                    </a:lnTo>
                    <a:lnTo>
                      <a:pt x="1572" y="280"/>
                    </a:lnTo>
                    <a:lnTo>
                      <a:pt x="1565" y="280"/>
                    </a:lnTo>
                    <a:lnTo>
                      <a:pt x="1565" y="280"/>
                    </a:lnTo>
                    <a:lnTo>
                      <a:pt x="1565" y="278"/>
                    </a:lnTo>
                    <a:lnTo>
                      <a:pt x="1565" y="273"/>
                    </a:lnTo>
                    <a:lnTo>
                      <a:pt x="1565" y="269"/>
                    </a:lnTo>
                    <a:lnTo>
                      <a:pt x="1565" y="269"/>
                    </a:lnTo>
                    <a:lnTo>
                      <a:pt x="1560" y="269"/>
                    </a:lnTo>
                    <a:lnTo>
                      <a:pt x="1555" y="269"/>
                    </a:lnTo>
                    <a:lnTo>
                      <a:pt x="1553" y="269"/>
                    </a:lnTo>
                    <a:lnTo>
                      <a:pt x="1553" y="269"/>
                    </a:lnTo>
                    <a:lnTo>
                      <a:pt x="1553" y="262"/>
                    </a:lnTo>
                    <a:lnTo>
                      <a:pt x="1553" y="257"/>
                    </a:lnTo>
                    <a:lnTo>
                      <a:pt x="1553" y="257"/>
                    </a:lnTo>
                    <a:lnTo>
                      <a:pt x="1553" y="245"/>
                    </a:lnTo>
                    <a:lnTo>
                      <a:pt x="1553" y="245"/>
                    </a:lnTo>
                    <a:lnTo>
                      <a:pt x="1553" y="221"/>
                    </a:lnTo>
                    <a:lnTo>
                      <a:pt x="1553" y="221"/>
                    </a:lnTo>
                    <a:lnTo>
                      <a:pt x="1541" y="221"/>
                    </a:lnTo>
                    <a:lnTo>
                      <a:pt x="1541" y="221"/>
                    </a:lnTo>
                    <a:lnTo>
                      <a:pt x="1518" y="221"/>
                    </a:lnTo>
                    <a:lnTo>
                      <a:pt x="1518" y="221"/>
                    </a:lnTo>
                    <a:lnTo>
                      <a:pt x="1471" y="221"/>
                    </a:lnTo>
                    <a:lnTo>
                      <a:pt x="1471" y="221"/>
                    </a:lnTo>
                    <a:lnTo>
                      <a:pt x="1459" y="221"/>
                    </a:lnTo>
                    <a:lnTo>
                      <a:pt x="1459" y="221"/>
                    </a:lnTo>
                    <a:lnTo>
                      <a:pt x="1459" y="210"/>
                    </a:lnTo>
                    <a:lnTo>
                      <a:pt x="1459" y="210"/>
                    </a:lnTo>
                    <a:lnTo>
                      <a:pt x="1459" y="203"/>
                    </a:lnTo>
                    <a:lnTo>
                      <a:pt x="1459" y="198"/>
                    </a:lnTo>
                    <a:lnTo>
                      <a:pt x="1459" y="198"/>
                    </a:lnTo>
                    <a:lnTo>
                      <a:pt x="1452" y="198"/>
                    </a:lnTo>
                    <a:lnTo>
                      <a:pt x="1447" y="198"/>
                    </a:lnTo>
                    <a:lnTo>
                      <a:pt x="1447" y="198"/>
                    </a:lnTo>
                    <a:lnTo>
                      <a:pt x="1435" y="198"/>
                    </a:lnTo>
                    <a:lnTo>
                      <a:pt x="1435" y="198"/>
                    </a:lnTo>
                    <a:lnTo>
                      <a:pt x="1423" y="198"/>
                    </a:lnTo>
                    <a:lnTo>
                      <a:pt x="1423" y="198"/>
                    </a:lnTo>
                    <a:lnTo>
                      <a:pt x="1412" y="198"/>
                    </a:lnTo>
                    <a:lnTo>
                      <a:pt x="1412" y="198"/>
                    </a:lnTo>
                    <a:lnTo>
                      <a:pt x="1388" y="198"/>
                    </a:lnTo>
                    <a:lnTo>
                      <a:pt x="1388" y="198"/>
                    </a:lnTo>
                    <a:lnTo>
                      <a:pt x="1365" y="198"/>
                    </a:lnTo>
                    <a:lnTo>
                      <a:pt x="1365" y="198"/>
                    </a:lnTo>
                    <a:lnTo>
                      <a:pt x="1357" y="198"/>
                    </a:lnTo>
                    <a:lnTo>
                      <a:pt x="1353" y="198"/>
                    </a:lnTo>
                    <a:lnTo>
                      <a:pt x="1353" y="198"/>
                    </a:lnTo>
                    <a:lnTo>
                      <a:pt x="1350" y="200"/>
                    </a:lnTo>
                    <a:lnTo>
                      <a:pt x="1353" y="203"/>
                    </a:lnTo>
                    <a:lnTo>
                      <a:pt x="1353" y="207"/>
                    </a:lnTo>
                    <a:lnTo>
                      <a:pt x="1353" y="210"/>
                    </a:lnTo>
                    <a:lnTo>
                      <a:pt x="1353" y="210"/>
                    </a:lnTo>
                    <a:lnTo>
                      <a:pt x="1350" y="210"/>
                    </a:lnTo>
                    <a:lnTo>
                      <a:pt x="1346" y="210"/>
                    </a:lnTo>
                    <a:lnTo>
                      <a:pt x="1343" y="210"/>
                    </a:lnTo>
                    <a:lnTo>
                      <a:pt x="1341" y="210"/>
                    </a:lnTo>
                    <a:lnTo>
                      <a:pt x="1341" y="210"/>
                    </a:lnTo>
                    <a:lnTo>
                      <a:pt x="1339" y="212"/>
                    </a:lnTo>
                    <a:lnTo>
                      <a:pt x="1341" y="214"/>
                    </a:lnTo>
                    <a:lnTo>
                      <a:pt x="1341" y="221"/>
                    </a:lnTo>
                    <a:lnTo>
                      <a:pt x="1341" y="221"/>
                    </a:lnTo>
                    <a:lnTo>
                      <a:pt x="1317" y="221"/>
                    </a:lnTo>
                    <a:lnTo>
                      <a:pt x="1317" y="221"/>
                    </a:lnTo>
                    <a:lnTo>
                      <a:pt x="1268" y="221"/>
                    </a:lnTo>
                    <a:lnTo>
                      <a:pt x="1268" y="221"/>
                    </a:lnTo>
                    <a:lnTo>
                      <a:pt x="1256" y="221"/>
                    </a:lnTo>
                    <a:lnTo>
                      <a:pt x="1256" y="221"/>
                    </a:lnTo>
                    <a:lnTo>
                      <a:pt x="1251" y="221"/>
                    </a:lnTo>
                    <a:lnTo>
                      <a:pt x="1244" y="221"/>
                    </a:lnTo>
                    <a:lnTo>
                      <a:pt x="1244" y="221"/>
                    </a:lnTo>
                    <a:lnTo>
                      <a:pt x="1244" y="226"/>
                    </a:lnTo>
                    <a:lnTo>
                      <a:pt x="1244" y="233"/>
                    </a:lnTo>
                    <a:lnTo>
                      <a:pt x="1244" y="233"/>
                    </a:lnTo>
                    <a:lnTo>
                      <a:pt x="1242" y="233"/>
                    </a:lnTo>
                    <a:lnTo>
                      <a:pt x="1240" y="233"/>
                    </a:lnTo>
                    <a:lnTo>
                      <a:pt x="1233" y="233"/>
                    </a:lnTo>
                    <a:lnTo>
                      <a:pt x="1233" y="233"/>
                    </a:lnTo>
                    <a:lnTo>
                      <a:pt x="1233" y="245"/>
                    </a:lnTo>
                    <a:lnTo>
                      <a:pt x="1233" y="245"/>
                    </a:lnTo>
                    <a:lnTo>
                      <a:pt x="1233" y="269"/>
                    </a:lnTo>
                    <a:lnTo>
                      <a:pt x="1233" y="269"/>
                    </a:lnTo>
                    <a:lnTo>
                      <a:pt x="1233" y="280"/>
                    </a:lnTo>
                    <a:lnTo>
                      <a:pt x="1233" y="280"/>
                    </a:lnTo>
                    <a:lnTo>
                      <a:pt x="1233" y="302"/>
                    </a:lnTo>
                    <a:lnTo>
                      <a:pt x="1233" y="302"/>
                    </a:lnTo>
                    <a:lnTo>
                      <a:pt x="1233" y="313"/>
                    </a:lnTo>
                    <a:lnTo>
                      <a:pt x="1233" y="313"/>
                    </a:lnTo>
                    <a:lnTo>
                      <a:pt x="1233" y="337"/>
                    </a:lnTo>
                    <a:lnTo>
                      <a:pt x="1233" y="337"/>
                    </a:lnTo>
                    <a:lnTo>
                      <a:pt x="1233" y="349"/>
                    </a:lnTo>
                    <a:lnTo>
                      <a:pt x="1233" y="349"/>
                    </a:lnTo>
                    <a:lnTo>
                      <a:pt x="1233" y="372"/>
                    </a:lnTo>
                    <a:lnTo>
                      <a:pt x="1233" y="372"/>
                    </a:lnTo>
                    <a:lnTo>
                      <a:pt x="1233" y="384"/>
                    </a:lnTo>
                    <a:lnTo>
                      <a:pt x="1233" y="384"/>
                    </a:lnTo>
                    <a:lnTo>
                      <a:pt x="1233" y="408"/>
                    </a:lnTo>
                    <a:lnTo>
                      <a:pt x="1233" y="408"/>
                    </a:lnTo>
                    <a:lnTo>
                      <a:pt x="1221" y="408"/>
                    </a:lnTo>
                    <a:lnTo>
                      <a:pt x="1221" y="408"/>
                    </a:lnTo>
                    <a:lnTo>
                      <a:pt x="1216" y="408"/>
                    </a:lnTo>
                    <a:lnTo>
                      <a:pt x="1209" y="408"/>
                    </a:lnTo>
                    <a:lnTo>
                      <a:pt x="1209" y="408"/>
                    </a:lnTo>
                    <a:lnTo>
                      <a:pt x="1209" y="415"/>
                    </a:lnTo>
                    <a:lnTo>
                      <a:pt x="1209" y="419"/>
                    </a:lnTo>
                    <a:lnTo>
                      <a:pt x="1209" y="419"/>
                    </a:lnTo>
                    <a:lnTo>
                      <a:pt x="1197" y="419"/>
                    </a:lnTo>
                    <a:lnTo>
                      <a:pt x="1197" y="419"/>
                    </a:lnTo>
                    <a:lnTo>
                      <a:pt x="1185" y="419"/>
                    </a:lnTo>
                    <a:lnTo>
                      <a:pt x="1185" y="419"/>
                    </a:lnTo>
                    <a:lnTo>
                      <a:pt x="1162" y="419"/>
                    </a:lnTo>
                    <a:lnTo>
                      <a:pt x="1162" y="419"/>
                    </a:lnTo>
                    <a:lnTo>
                      <a:pt x="1162" y="467"/>
                    </a:lnTo>
                    <a:lnTo>
                      <a:pt x="1162" y="467"/>
                    </a:lnTo>
                    <a:lnTo>
                      <a:pt x="1162" y="514"/>
                    </a:lnTo>
                    <a:lnTo>
                      <a:pt x="1162" y="514"/>
                    </a:lnTo>
                    <a:lnTo>
                      <a:pt x="1150" y="514"/>
                    </a:lnTo>
                    <a:lnTo>
                      <a:pt x="1150" y="514"/>
                    </a:lnTo>
                    <a:lnTo>
                      <a:pt x="1103" y="514"/>
                    </a:lnTo>
                    <a:lnTo>
                      <a:pt x="1103" y="514"/>
                    </a:lnTo>
                    <a:lnTo>
                      <a:pt x="1056" y="514"/>
                    </a:lnTo>
                    <a:lnTo>
                      <a:pt x="1056" y="514"/>
                    </a:lnTo>
                    <a:lnTo>
                      <a:pt x="1056" y="502"/>
                    </a:lnTo>
                    <a:lnTo>
                      <a:pt x="1056" y="502"/>
                    </a:lnTo>
                    <a:lnTo>
                      <a:pt x="1056" y="478"/>
                    </a:lnTo>
                    <a:lnTo>
                      <a:pt x="1056" y="478"/>
                    </a:lnTo>
                    <a:lnTo>
                      <a:pt x="1056" y="455"/>
                    </a:lnTo>
                    <a:lnTo>
                      <a:pt x="1056" y="455"/>
                    </a:lnTo>
                    <a:lnTo>
                      <a:pt x="1009" y="455"/>
                    </a:lnTo>
                    <a:lnTo>
                      <a:pt x="1009" y="455"/>
                    </a:lnTo>
                    <a:lnTo>
                      <a:pt x="997" y="455"/>
                    </a:lnTo>
                    <a:lnTo>
                      <a:pt x="997" y="455"/>
                    </a:lnTo>
                    <a:lnTo>
                      <a:pt x="990" y="455"/>
                    </a:lnTo>
                    <a:lnTo>
                      <a:pt x="985" y="455"/>
                    </a:lnTo>
                    <a:lnTo>
                      <a:pt x="985" y="455"/>
                    </a:lnTo>
                    <a:lnTo>
                      <a:pt x="985" y="448"/>
                    </a:lnTo>
                    <a:lnTo>
                      <a:pt x="985" y="443"/>
                    </a:lnTo>
                    <a:lnTo>
                      <a:pt x="985" y="443"/>
                    </a:lnTo>
                    <a:lnTo>
                      <a:pt x="978" y="443"/>
                    </a:lnTo>
                    <a:lnTo>
                      <a:pt x="973" y="443"/>
                    </a:lnTo>
                    <a:lnTo>
                      <a:pt x="973" y="443"/>
                    </a:lnTo>
                    <a:lnTo>
                      <a:pt x="962" y="443"/>
                    </a:lnTo>
                    <a:lnTo>
                      <a:pt x="962" y="443"/>
                    </a:lnTo>
                    <a:lnTo>
                      <a:pt x="914" y="443"/>
                    </a:lnTo>
                    <a:lnTo>
                      <a:pt x="914" y="443"/>
                    </a:lnTo>
                    <a:lnTo>
                      <a:pt x="891" y="443"/>
                    </a:lnTo>
                    <a:lnTo>
                      <a:pt x="891" y="443"/>
                    </a:lnTo>
                    <a:lnTo>
                      <a:pt x="877" y="443"/>
                    </a:lnTo>
                    <a:lnTo>
                      <a:pt x="877" y="443"/>
                    </a:lnTo>
                    <a:lnTo>
                      <a:pt x="865" y="443"/>
                    </a:lnTo>
                    <a:lnTo>
                      <a:pt x="865" y="443"/>
                    </a:lnTo>
                    <a:lnTo>
                      <a:pt x="853" y="443"/>
                    </a:lnTo>
                    <a:lnTo>
                      <a:pt x="853" y="443"/>
                    </a:lnTo>
                    <a:lnTo>
                      <a:pt x="841" y="443"/>
                    </a:lnTo>
                    <a:lnTo>
                      <a:pt x="841" y="443"/>
                    </a:lnTo>
                    <a:lnTo>
                      <a:pt x="841" y="455"/>
                    </a:lnTo>
                    <a:lnTo>
                      <a:pt x="841" y="455"/>
                    </a:lnTo>
                    <a:lnTo>
                      <a:pt x="844" y="459"/>
                    </a:lnTo>
                    <a:lnTo>
                      <a:pt x="841" y="467"/>
                    </a:lnTo>
                    <a:lnTo>
                      <a:pt x="841" y="467"/>
                    </a:lnTo>
                    <a:lnTo>
                      <a:pt x="837" y="467"/>
                    </a:lnTo>
                    <a:lnTo>
                      <a:pt x="830" y="467"/>
                    </a:lnTo>
                    <a:lnTo>
                      <a:pt x="830" y="467"/>
                    </a:lnTo>
                    <a:lnTo>
                      <a:pt x="783" y="467"/>
                    </a:lnTo>
                    <a:lnTo>
                      <a:pt x="783" y="467"/>
                    </a:lnTo>
                    <a:lnTo>
                      <a:pt x="783" y="490"/>
                    </a:lnTo>
                    <a:lnTo>
                      <a:pt x="783" y="490"/>
                    </a:lnTo>
                    <a:lnTo>
                      <a:pt x="783" y="502"/>
                    </a:lnTo>
                    <a:lnTo>
                      <a:pt x="783" y="502"/>
                    </a:lnTo>
                    <a:lnTo>
                      <a:pt x="783" y="525"/>
                    </a:lnTo>
                    <a:lnTo>
                      <a:pt x="783" y="525"/>
                    </a:lnTo>
                    <a:lnTo>
                      <a:pt x="771" y="525"/>
                    </a:lnTo>
                    <a:lnTo>
                      <a:pt x="771" y="525"/>
                    </a:lnTo>
                    <a:lnTo>
                      <a:pt x="747" y="525"/>
                    </a:lnTo>
                    <a:lnTo>
                      <a:pt x="747" y="525"/>
                    </a:lnTo>
                    <a:lnTo>
                      <a:pt x="700" y="525"/>
                    </a:lnTo>
                    <a:lnTo>
                      <a:pt x="700" y="525"/>
                    </a:lnTo>
                    <a:lnTo>
                      <a:pt x="700" y="547"/>
                    </a:lnTo>
                    <a:lnTo>
                      <a:pt x="700" y="547"/>
                    </a:lnTo>
                    <a:lnTo>
                      <a:pt x="676" y="547"/>
                    </a:lnTo>
                    <a:lnTo>
                      <a:pt x="676" y="547"/>
                    </a:lnTo>
                    <a:lnTo>
                      <a:pt x="653" y="547"/>
                    </a:lnTo>
                    <a:lnTo>
                      <a:pt x="653" y="547"/>
                    </a:lnTo>
                    <a:lnTo>
                      <a:pt x="653" y="535"/>
                    </a:lnTo>
                    <a:lnTo>
                      <a:pt x="653" y="535"/>
                    </a:lnTo>
                    <a:lnTo>
                      <a:pt x="653" y="530"/>
                    </a:lnTo>
                    <a:lnTo>
                      <a:pt x="653" y="525"/>
                    </a:lnTo>
                    <a:lnTo>
                      <a:pt x="653" y="525"/>
                    </a:lnTo>
                    <a:lnTo>
                      <a:pt x="648" y="523"/>
                    </a:lnTo>
                    <a:lnTo>
                      <a:pt x="641" y="525"/>
                    </a:lnTo>
                    <a:lnTo>
                      <a:pt x="641" y="525"/>
                    </a:lnTo>
                    <a:lnTo>
                      <a:pt x="634" y="523"/>
                    </a:lnTo>
                    <a:lnTo>
                      <a:pt x="629" y="525"/>
                    </a:lnTo>
                    <a:lnTo>
                      <a:pt x="629" y="525"/>
                    </a:lnTo>
                    <a:lnTo>
                      <a:pt x="629" y="530"/>
                    </a:lnTo>
                    <a:lnTo>
                      <a:pt x="629" y="535"/>
                    </a:lnTo>
                    <a:lnTo>
                      <a:pt x="629" y="535"/>
                    </a:lnTo>
                    <a:lnTo>
                      <a:pt x="622" y="537"/>
                    </a:lnTo>
                    <a:lnTo>
                      <a:pt x="618" y="535"/>
                    </a:lnTo>
                    <a:lnTo>
                      <a:pt x="618" y="535"/>
                    </a:lnTo>
                    <a:lnTo>
                      <a:pt x="618" y="537"/>
                    </a:lnTo>
                    <a:lnTo>
                      <a:pt x="618" y="542"/>
                    </a:lnTo>
                    <a:lnTo>
                      <a:pt x="618" y="547"/>
                    </a:lnTo>
                    <a:lnTo>
                      <a:pt x="618" y="547"/>
                    </a:lnTo>
                    <a:lnTo>
                      <a:pt x="611" y="547"/>
                    </a:lnTo>
                    <a:lnTo>
                      <a:pt x="606" y="547"/>
                    </a:lnTo>
                    <a:lnTo>
                      <a:pt x="606" y="547"/>
                    </a:lnTo>
                    <a:lnTo>
                      <a:pt x="606" y="535"/>
                    </a:lnTo>
                    <a:lnTo>
                      <a:pt x="606" y="535"/>
                    </a:lnTo>
                    <a:lnTo>
                      <a:pt x="606" y="525"/>
                    </a:lnTo>
                    <a:lnTo>
                      <a:pt x="606" y="525"/>
                    </a:lnTo>
                    <a:lnTo>
                      <a:pt x="594" y="525"/>
                    </a:lnTo>
                    <a:lnTo>
                      <a:pt x="594" y="525"/>
                    </a:lnTo>
                    <a:lnTo>
                      <a:pt x="582" y="525"/>
                    </a:lnTo>
                    <a:lnTo>
                      <a:pt x="582" y="525"/>
                    </a:lnTo>
                    <a:lnTo>
                      <a:pt x="570" y="525"/>
                    </a:lnTo>
                    <a:lnTo>
                      <a:pt x="570" y="525"/>
                    </a:lnTo>
                    <a:lnTo>
                      <a:pt x="559" y="525"/>
                    </a:lnTo>
                    <a:lnTo>
                      <a:pt x="559" y="525"/>
                    </a:lnTo>
                    <a:lnTo>
                      <a:pt x="552" y="523"/>
                    </a:lnTo>
                    <a:lnTo>
                      <a:pt x="547" y="525"/>
                    </a:lnTo>
                    <a:lnTo>
                      <a:pt x="547" y="525"/>
                    </a:lnTo>
                    <a:lnTo>
                      <a:pt x="545" y="530"/>
                    </a:lnTo>
                    <a:lnTo>
                      <a:pt x="547" y="535"/>
                    </a:lnTo>
                    <a:lnTo>
                      <a:pt x="547" y="535"/>
                    </a:lnTo>
                    <a:lnTo>
                      <a:pt x="547" y="547"/>
                    </a:lnTo>
                    <a:lnTo>
                      <a:pt x="547" y="547"/>
                    </a:lnTo>
                    <a:lnTo>
                      <a:pt x="523" y="547"/>
                    </a:lnTo>
                    <a:lnTo>
                      <a:pt x="523" y="547"/>
                    </a:lnTo>
                    <a:lnTo>
                      <a:pt x="523" y="535"/>
                    </a:lnTo>
                    <a:lnTo>
                      <a:pt x="523" y="535"/>
                    </a:lnTo>
                    <a:lnTo>
                      <a:pt x="523" y="530"/>
                    </a:lnTo>
                    <a:lnTo>
                      <a:pt x="523" y="525"/>
                    </a:lnTo>
                    <a:lnTo>
                      <a:pt x="523" y="525"/>
                    </a:lnTo>
                    <a:lnTo>
                      <a:pt x="516" y="523"/>
                    </a:lnTo>
                    <a:lnTo>
                      <a:pt x="512" y="525"/>
                    </a:lnTo>
                    <a:lnTo>
                      <a:pt x="512" y="525"/>
                    </a:lnTo>
                    <a:lnTo>
                      <a:pt x="504" y="523"/>
                    </a:lnTo>
                    <a:lnTo>
                      <a:pt x="500" y="525"/>
                    </a:lnTo>
                    <a:lnTo>
                      <a:pt x="500" y="525"/>
                    </a:lnTo>
                    <a:lnTo>
                      <a:pt x="474" y="525"/>
                    </a:lnTo>
                    <a:lnTo>
                      <a:pt x="474" y="525"/>
                    </a:lnTo>
                    <a:lnTo>
                      <a:pt x="474" y="518"/>
                    </a:lnTo>
                    <a:lnTo>
                      <a:pt x="474" y="516"/>
                    </a:lnTo>
                    <a:lnTo>
                      <a:pt x="474" y="514"/>
                    </a:lnTo>
                    <a:lnTo>
                      <a:pt x="474" y="514"/>
                    </a:lnTo>
                    <a:lnTo>
                      <a:pt x="481" y="511"/>
                    </a:lnTo>
                    <a:lnTo>
                      <a:pt x="488" y="514"/>
                    </a:lnTo>
                    <a:lnTo>
                      <a:pt x="488" y="514"/>
                    </a:lnTo>
                    <a:lnTo>
                      <a:pt x="512" y="514"/>
                    </a:lnTo>
                    <a:lnTo>
                      <a:pt x="512" y="514"/>
                    </a:lnTo>
                    <a:lnTo>
                      <a:pt x="535" y="514"/>
                    </a:lnTo>
                    <a:lnTo>
                      <a:pt x="535" y="514"/>
                    </a:lnTo>
                    <a:lnTo>
                      <a:pt x="535" y="467"/>
                    </a:lnTo>
                    <a:lnTo>
                      <a:pt x="535" y="467"/>
                    </a:lnTo>
                    <a:lnTo>
                      <a:pt x="528" y="467"/>
                    </a:lnTo>
                    <a:lnTo>
                      <a:pt x="523" y="467"/>
                    </a:lnTo>
                    <a:lnTo>
                      <a:pt x="523" y="467"/>
                    </a:lnTo>
                    <a:lnTo>
                      <a:pt x="523" y="478"/>
                    </a:lnTo>
                    <a:lnTo>
                      <a:pt x="523" y="478"/>
                    </a:lnTo>
                    <a:lnTo>
                      <a:pt x="474" y="478"/>
                    </a:lnTo>
                    <a:lnTo>
                      <a:pt x="474" y="478"/>
                    </a:lnTo>
                    <a:lnTo>
                      <a:pt x="474" y="467"/>
                    </a:lnTo>
                    <a:lnTo>
                      <a:pt x="474" y="467"/>
                    </a:lnTo>
                    <a:lnTo>
                      <a:pt x="474" y="443"/>
                    </a:lnTo>
                    <a:lnTo>
                      <a:pt x="474" y="443"/>
                    </a:lnTo>
                    <a:lnTo>
                      <a:pt x="474" y="431"/>
                    </a:lnTo>
                    <a:lnTo>
                      <a:pt x="474" y="431"/>
                    </a:lnTo>
                    <a:lnTo>
                      <a:pt x="474" y="408"/>
                    </a:lnTo>
                    <a:lnTo>
                      <a:pt x="474" y="408"/>
                    </a:lnTo>
                    <a:lnTo>
                      <a:pt x="474" y="361"/>
                    </a:lnTo>
                    <a:lnTo>
                      <a:pt x="474" y="361"/>
                    </a:lnTo>
                    <a:lnTo>
                      <a:pt x="474" y="313"/>
                    </a:lnTo>
                    <a:lnTo>
                      <a:pt x="474" y="313"/>
                    </a:lnTo>
                    <a:lnTo>
                      <a:pt x="450" y="313"/>
                    </a:lnTo>
                    <a:lnTo>
                      <a:pt x="450" y="313"/>
                    </a:lnTo>
                    <a:lnTo>
                      <a:pt x="439" y="313"/>
                    </a:lnTo>
                    <a:lnTo>
                      <a:pt x="439" y="313"/>
                    </a:lnTo>
                    <a:lnTo>
                      <a:pt x="427" y="313"/>
                    </a:lnTo>
                    <a:lnTo>
                      <a:pt x="427" y="313"/>
                    </a:lnTo>
                    <a:lnTo>
                      <a:pt x="422" y="316"/>
                    </a:lnTo>
                    <a:lnTo>
                      <a:pt x="415" y="313"/>
                    </a:lnTo>
                    <a:lnTo>
                      <a:pt x="415" y="313"/>
                    </a:lnTo>
                    <a:lnTo>
                      <a:pt x="410" y="316"/>
                    </a:lnTo>
                    <a:lnTo>
                      <a:pt x="403" y="313"/>
                    </a:lnTo>
                    <a:lnTo>
                      <a:pt x="403" y="313"/>
                    </a:lnTo>
                    <a:lnTo>
                      <a:pt x="403" y="302"/>
                    </a:lnTo>
                    <a:lnTo>
                      <a:pt x="403" y="302"/>
                    </a:lnTo>
                    <a:lnTo>
                      <a:pt x="403" y="292"/>
                    </a:lnTo>
                    <a:lnTo>
                      <a:pt x="403" y="292"/>
                    </a:lnTo>
                    <a:lnTo>
                      <a:pt x="380" y="292"/>
                    </a:lnTo>
                    <a:lnTo>
                      <a:pt x="380" y="292"/>
                    </a:lnTo>
                    <a:lnTo>
                      <a:pt x="332" y="292"/>
                    </a:lnTo>
                    <a:lnTo>
                      <a:pt x="332" y="292"/>
                    </a:lnTo>
                    <a:lnTo>
                      <a:pt x="321" y="292"/>
                    </a:lnTo>
                    <a:lnTo>
                      <a:pt x="321" y="292"/>
                    </a:lnTo>
                    <a:lnTo>
                      <a:pt x="297" y="292"/>
                    </a:lnTo>
                    <a:lnTo>
                      <a:pt x="297" y="292"/>
                    </a:lnTo>
                    <a:lnTo>
                      <a:pt x="274" y="292"/>
                    </a:lnTo>
                    <a:lnTo>
                      <a:pt x="274" y="292"/>
                    </a:lnTo>
                    <a:lnTo>
                      <a:pt x="274" y="245"/>
                    </a:lnTo>
                    <a:lnTo>
                      <a:pt x="274" y="245"/>
                    </a:lnTo>
                    <a:lnTo>
                      <a:pt x="274" y="221"/>
                    </a:lnTo>
                    <a:lnTo>
                      <a:pt x="274" y="221"/>
                    </a:lnTo>
                    <a:lnTo>
                      <a:pt x="250" y="221"/>
                    </a:lnTo>
                    <a:lnTo>
                      <a:pt x="250" y="221"/>
                    </a:lnTo>
                    <a:lnTo>
                      <a:pt x="250" y="245"/>
                    </a:lnTo>
                    <a:lnTo>
                      <a:pt x="250" y="245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38" y="292"/>
                    </a:lnTo>
                    <a:lnTo>
                      <a:pt x="238" y="292"/>
                    </a:lnTo>
                    <a:lnTo>
                      <a:pt x="191" y="292"/>
                    </a:lnTo>
                    <a:lnTo>
                      <a:pt x="191" y="292"/>
                    </a:lnTo>
                    <a:lnTo>
                      <a:pt x="179" y="292"/>
                    </a:lnTo>
                    <a:lnTo>
                      <a:pt x="179" y="292"/>
                    </a:lnTo>
                    <a:lnTo>
                      <a:pt x="156" y="292"/>
                    </a:lnTo>
                    <a:lnTo>
                      <a:pt x="156" y="292"/>
                    </a:lnTo>
                    <a:lnTo>
                      <a:pt x="144" y="292"/>
                    </a:lnTo>
                    <a:lnTo>
                      <a:pt x="144" y="292"/>
                    </a:lnTo>
                    <a:lnTo>
                      <a:pt x="132" y="292"/>
                    </a:lnTo>
                    <a:lnTo>
                      <a:pt x="132" y="292"/>
                    </a:lnTo>
                    <a:lnTo>
                      <a:pt x="125" y="290"/>
                    </a:lnTo>
                    <a:lnTo>
                      <a:pt x="120" y="292"/>
                    </a:lnTo>
                    <a:lnTo>
                      <a:pt x="120" y="292"/>
                    </a:lnTo>
                    <a:lnTo>
                      <a:pt x="118" y="297"/>
                    </a:lnTo>
                    <a:lnTo>
                      <a:pt x="120" y="302"/>
                    </a:lnTo>
                    <a:lnTo>
                      <a:pt x="120" y="302"/>
                    </a:lnTo>
                    <a:lnTo>
                      <a:pt x="120" y="313"/>
                    </a:lnTo>
                    <a:lnTo>
                      <a:pt x="120" y="313"/>
                    </a:lnTo>
                    <a:lnTo>
                      <a:pt x="120" y="325"/>
                    </a:lnTo>
                    <a:lnTo>
                      <a:pt x="120" y="325"/>
                    </a:lnTo>
                    <a:lnTo>
                      <a:pt x="71" y="325"/>
                    </a:lnTo>
                    <a:lnTo>
                      <a:pt x="71" y="325"/>
                    </a:lnTo>
                    <a:lnTo>
                      <a:pt x="47" y="325"/>
                    </a:lnTo>
                    <a:lnTo>
                      <a:pt x="47" y="325"/>
                    </a:lnTo>
                    <a:lnTo>
                      <a:pt x="47" y="349"/>
                    </a:lnTo>
                    <a:lnTo>
                      <a:pt x="47" y="349"/>
                    </a:lnTo>
                    <a:lnTo>
                      <a:pt x="47" y="361"/>
                    </a:lnTo>
                    <a:lnTo>
                      <a:pt x="47" y="361"/>
                    </a:lnTo>
                    <a:lnTo>
                      <a:pt x="47" y="384"/>
                    </a:lnTo>
                    <a:lnTo>
                      <a:pt x="47" y="384"/>
                    </a:lnTo>
                    <a:lnTo>
                      <a:pt x="47" y="396"/>
                    </a:lnTo>
                    <a:lnTo>
                      <a:pt x="47" y="396"/>
                    </a:lnTo>
                    <a:lnTo>
                      <a:pt x="47" y="419"/>
                    </a:lnTo>
                    <a:lnTo>
                      <a:pt x="47" y="419"/>
                    </a:lnTo>
                    <a:lnTo>
                      <a:pt x="47" y="431"/>
                    </a:lnTo>
                    <a:lnTo>
                      <a:pt x="47" y="431"/>
                    </a:lnTo>
                    <a:lnTo>
                      <a:pt x="47" y="455"/>
                    </a:lnTo>
                    <a:lnTo>
                      <a:pt x="47" y="455"/>
                    </a:lnTo>
                    <a:lnTo>
                      <a:pt x="47" y="502"/>
                    </a:lnTo>
                    <a:lnTo>
                      <a:pt x="47" y="502"/>
                    </a:lnTo>
                    <a:lnTo>
                      <a:pt x="47" y="514"/>
                    </a:lnTo>
                    <a:lnTo>
                      <a:pt x="47" y="514"/>
                    </a:lnTo>
                    <a:lnTo>
                      <a:pt x="47" y="535"/>
                    </a:lnTo>
                    <a:lnTo>
                      <a:pt x="47" y="535"/>
                    </a:lnTo>
                    <a:lnTo>
                      <a:pt x="47" y="558"/>
                    </a:lnTo>
                    <a:lnTo>
                      <a:pt x="47" y="558"/>
                    </a:lnTo>
                    <a:lnTo>
                      <a:pt x="36" y="558"/>
                    </a:lnTo>
                    <a:lnTo>
                      <a:pt x="36" y="558"/>
                    </a:lnTo>
                    <a:lnTo>
                      <a:pt x="24" y="558"/>
                    </a:lnTo>
                    <a:lnTo>
                      <a:pt x="24" y="558"/>
                    </a:lnTo>
                    <a:lnTo>
                      <a:pt x="12" y="558"/>
                    </a:lnTo>
                    <a:lnTo>
                      <a:pt x="12" y="558"/>
                    </a:lnTo>
                    <a:lnTo>
                      <a:pt x="7" y="558"/>
                    </a:lnTo>
                    <a:lnTo>
                      <a:pt x="0" y="558"/>
                    </a:lnTo>
                    <a:lnTo>
                      <a:pt x="0" y="558"/>
                    </a:lnTo>
                    <a:lnTo>
                      <a:pt x="0" y="561"/>
                    </a:lnTo>
                    <a:lnTo>
                      <a:pt x="0" y="566"/>
                    </a:lnTo>
                    <a:lnTo>
                      <a:pt x="0" y="570"/>
                    </a:lnTo>
                    <a:lnTo>
                      <a:pt x="0" y="570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0" y="601"/>
                    </a:lnTo>
                    <a:lnTo>
                      <a:pt x="0" y="606"/>
                    </a:lnTo>
                    <a:lnTo>
                      <a:pt x="0" y="606"/>
                    </a:lnTo>
                    <a:lnTo>
                      <a:pt x="12" y="606"/>
                    </a:lnTo>
                    <a:lnTo>
                      <a:pt x="12" y="606"/>
                    </a:lnTo>
                    <a:lnTo>
                      <a:pt x="24" y="606"/>
                    </a:lnTo>
                    <a:lnTo>
                      <a:pt x="24" y="606"/>
                    </a:lnTo>
                    <a:lnTo>
                      <a:pt x="36" y="606"/>
                    </a:lnTo>
                    <a:lnTo>
                      <a:pt x="36" y="606"/>
                    </a:lnTo>
                    <a:lnTo>
                      <a:pt x="59" y="606"/>
                    </a:lnTo>
                    <a:lnTo>
                      <a:pt x="59" y="606"/>
                    </a:lnTo>
                    <a:lnTo>
                      <a:pt x="109" y="606"/>
                    </a:lnTo>
                    <a:lnTo>
                      <a:pt x="109" y="606"/>
                    </a:lnTo>
                    <a:lnTo>
                      <a:pt x="132" y="606"/>
                    </a:lnTo>
                    <a:lnTo>
                      <a:pt x="132" y="606"/>
                    </a:lnTo>
                    <a:lnTo>
                      <a:pt x="156" y="606"/>
                    </a:lnTo>
                    <a:lnTo>
                      <a:pt x="156" y="606"/>
                    </a:lnTo>
                    <a:lnTo>
                      <a:pt x="168" y="606"/>
                    </a:lnTo>
                    <a:lnTo>
                      <a:pt x="168" y="606"/>
                    </a:lnTo>
                    <a:lnTo>
                      <a:pt x="191" y="606"/>
                    </a:lnTo>
                    <a:lnTo>
                      <a:pt x="191" y="606"/>
                    </a:lnTo>
                    <a:lnTo>
                      <a:pt x="203" y="606"/>
                    </a:lnTo>
                    <a:lnTo>
                      <a:pt x="203" y="606"/>
                    </a:lnTo>
                    <a:lnTo>
                      <a:pt x="226" y="606"/>
                    </a:lnTo>
                    <a:lnTo>
                      <a:pt x="226" y="606"/>
                    </a:lnTo>
                    <a:lnTo>
                      <a:pt x="238" y="606"/>
                    </a:lnTo>
                    <a:lnTo>
                      <a:pt x="238" y="606"/>
                    </a:lnTo>
                    <a:lnTo>
                      <a:pt x="262" y="606"/>
                    </a:lnTo>
                    <a:lnTo>
                      <a:pt x="262" y="606"/>
                    </a:lnTo>
                    <a:lnTo>
                      <a:pt x="274" y="606"/>
                    </a:lnTo>
                    <a:lnTo>
                      <a:pt x="274" y="606"/>
                    </a:lnTo>
                    <a:lnTo>
                      <a:pt x="297" y="606"/>
                    </a:lnTo>
                    <a:lnTo>
                      <a:pt x="297" y="606"/>
                    </a:lnTo>
                    <a:lnTo>
                      <a:pt x="309" y="606"/>
                    </a:lnTo>
                    <a:lnTo>
                      <a:pt x="309" y="606"/>
                    </a:lnTo>
                    <a:lnTo>
                      <a:pt x="332" y="606"/>
                    </a:lnTo>
                    <a:lnTo>
                      <a:pt x="332" y="606"/>
                    </a:lnTo>
                    <a:lnTo>
                      <a:pt x="344" y="606"/>
                    </a:lnTo>
                    <a:lnTo>
                      <a:pt x="344" y="606"/>
                    </a:lnTo>
                    <a:lnTo>
                      <a:pt x="368" y="606"/>
                    </a:lnTo>
                    <a:lnTo>
                      <a:pt x="368" y="606"/>
                    </a:lnTo>
                    <a:lnTo>
                      <a:pt x="380" y="606"/>
                    </a:lnTo>
                    <a:lnTo>
                      <a:pt x="380" y="606"/>
                    </a:lnTo>
                    <a:lnTo>
                      <a:pt x="403" y="606"/>
                    </a:lnTo>
                    <a:lnTo>
                      <a:pt x="403" y="606"/>
                    </a:lnTo>
                    <a:lnTo>
                      <a:pt x="427" y="606"/>
                    </a:lnTo>
                    <a:lnTo>
                      <a:pt x="427" y="606"/>
                    </a:lnTo>
                    <a:lnTo>
                      <a:pt x="439" y="606"/>
                    </a:lnTo>
                    <a:lnTo>
                      <a:pt x="439" y="606"/>
                    </a:lnTo>
                    <a:lnTo>
                      <a:pt x="462" y="606"/>
                    </a:lnTo>
                    <a:lnTo>
                      <a:pt x="462" y="606"/>
                    </a:lnTo>
                    <a:lnTo>
                      <a:pt x="474" y="606"/>
                    </a:lnTo>
                    <a:lnTo>
                      <a:pt x="474" y="606"/>
                    </a:lnTo>
                    <a:lnTo>
                      <a:pt x="500" y="606"/>
                    </a:lnTo>
                    <a:lnTo>
                      <a:pt x="500" y="606"/>
                    </a:lnTo>
                    <a:lnTo>
                      <a:pt x="512" y="606"/>
                    </a:lnTo>
                    <a:lnTo>
                      <a:pt x="512" y="606"/>
                    </a:lnTo>
                    <a:lnTo>
                      <a:pt x="535" y="606"/>
                    </a:lnTo>
                    <a:lnTo>
                      <a:pt x="535" y="606"/>
                    </a:lnTo>
                    <a:lnTo>
                      <a:pt x="547" y="606"/>
                    </a:lnTo>
                    <a:lnTo>
                      <a:pt x="547" y="606"/>
                    </a:lnTo>
                    <a:lnTo>
                      <a:pt x="570" y="606"/>
                    </a:lnTo>
                    <a:lnTo>
                      <a:pt x="570" y="606"/>
                    </a:lnTo>
                    <a:lnTo>
                      <a:pt x="582" y="606"/>
                    </a:lnTo>
                    <a:lnTo>
                      <a:pt x="582" y="606"/>
                    </a:lnTo>
                    <a:lnTo>
                      <a:pt x="606" y="606"/>
                    </a:lnTo>
                    <a:lnTo>
                      <a:pt x="606" y="606"/>
                    </a:lnTo>
                    <a:lnTo>
                      <a:pt x="618" y="606"/>
                    </a:lnTo>
                    <a:lnTo>
                      <a:pt x="618" y="606"/>
                    </a:lnTo>
                    <a:lnTo>
                      <a:pt x="641" y="606"/>
                    </a:lnTo>
                    <a:lnTo>
                      <a:pt x="641" y="606"/>
                    </a:lnTo>
                    <a:lnTo>
                      <a:pt x="653" y="606"/>
                    </a:lnTo>
                    <a:lnTo>
                      <a:pt x="653" y="606"/>
                    </a:lnTo>
                    <a:lnTo>
                      <a:pt x="676" y="606"/>
                    </a:lnTo>
                    <a:lnTo>
                      <a:pt x="676" y="606"/>
                    </a:lnTo>
                    <a:lnTo>
                      <a:pt x="700" y="606"/>
                    </a:lnTo>
                    <a:lnTo>
                      <a:pt x="700" y="606"/>
                    </a:lnTo>
                    <a:lnTo>
                      <a:pt x="712" y="606"/>
                    </a:lnTo>
                    <a:lnTo>
                      <a:pt x="712" y="606"/>
                    </a:lnTo>
                    <a:lnTo>
                      <a:pt x="735" y="606"/>
                    </a:lnTo>
                    <a:lnTo>
                      <a:pt x="735" y="606"/>
                    </a:lnTo>
                    <a:lnTo>
                      <a:pt x="747" y="606"/>
                    </a:lnTo>
                    <a:lnTo>
                      <a:pt x="747" y="606"/>
                    </a:lnTo>
                    <a:lnTo>
                      <a:pt x="771" y="606"/>
                    </a:lnTo>
                    <a:lnTo>
                      <a:pt x="771" y="606"/>
                    </a:lnTo>
                    <a:lnTo>
                      <a:pt x="783" y="606"/>
                    </a:lnTo>
                    <a:lnTo>
                      <a:pt x="783" y="606"/>
                    </a:lnTo>
                    <a:lnTo>
                      <a:pt x="806" y="606"/>
                    </a:lnTo>
                    <a:lnTo>
                      <a:pt x="806" y="606"/>
                    </a:lnTo>
                    <a:lnTo>
                      <a:pt x="818" y="606"/>
                    </a:lnTo>
                    <a:lnTo>
                      <a:pt x="818" y="606"/>
                    </a:lnTo>
                    <a:lnTo>
                      <a:pt x="841" y="606"/>
                    </a:lnTo>
                    <a:lnTo>
                      <a:pt x="841" y="606"/>
                    </a:lnTo>
                    <a:lnTo>
                      <a:pt x="853" y="606"/>
                    </a:lnTo>
                    <a:lnTo>
                      <a:pt x="853" y="606"/>
                    </a:lnTo>
                    <a:lnTo>
                      <a:pt x="877" y="606"/>
                    </a:lnTo>
                    <a:lnTo>
                      <a:pt x="877" y="606"/>
                    </a:lnTo>
                    <a:lnTo>
                      <a:pt x="891" y="606"/>
                    </a:lnTo>
                    <a:lnTo>
                      <a:pt x="891" y="606"/>
                    </a:lnTo>
                    <a:lnTo>
                      <a:pt x="914" y="606"/>
                    </a:lnTo>
                    <a:lnTo>
                      <a:pt x="914" y="606"/>
                    </a:lnTo>
                    <a:lnTo>
                      <a:pt x="926" y="606"/>
                    </a:lnTo>
                    <a:lnTo>
                      <a:pt x="926" y="606"/>
                    </a:lnTo>
                    <a:lnTo>
                      <a:pt x="950" y="606"/>
                    </a:lnTo>
                    <a:lnTo>
                      <a:pt x="950" y="606"/>
                    </a:lnTo>
                    <a:lnTo>
                      <a:pt x="962" y="606"/>
                    </a:lnTo>
                    <a:lnTo>
                      <a:pt x="962" y="606"/>
                    </a:lnTo>
                    <a:lnTo>
                      <a:pt x="985" y="606"/>
                    </a:lnTo>
                    <a:lnTo>
                      <a:pt x="985" y="606"/>
                    </a:lnTo>
                    <a:lnTo>
                      <a:pt x="997" y="606"/>
                    </a:lnTo>
                    <a:lnTo>
                      <a:pt x="997" y="606"/>
                    </a:lnTo>
                    <a:lnTo>
                      <a:pt x="1020" y="606"/>
                    </a:lnTo>
                    <a:lnTo>
                      <a:pt x="1020" y="606"/>
                    </a:lnTo>
                    <a:lnTo>
                      <a:pt x="1032" y="606"/>
                    </a:lnTo>
                    <a:lnTo>
                      <a:pt x="1032" y="606"/>
                    </a:lnTo>
                    <a:lnTo>
                      <a:pt x="1056" y="606"/>
                    </a:lnTo>
                    <a:lnTo>
                      <a:pt x="1056" y="606"/>
                    </a:lnTo>
                    <a:lnTo>
                      <a:pt x="1068" y="606"/>
                    </a:lnTo>
                    <a:lnTo>
                      <a:pt x="1068" y="606"/>
                    </a:lnTo>
                    <a:lnTo>
                      <a:pt x="1091" y="606"/>
                    </a:lnTo>
                    <a:lnTo>
                      <a:pt x="1091" y="606"/>
                    </a:lnTo>
                    <a:lnTo>
                      <a:pt x="1103" y="606"/>
                    </a:lnTo>
                    <a:lnTo>
                      <a:pt x="1103" y="606"/>
                    </a:lnTo>
                    <a:lnTo>
                      <a:pt x="1127" y="606"/>
                    </a:lnTo>
                    <a:lnTo>
                      <a:pt x="1127" y="606"/>
                    </a:lnTo>
                    <a:lnTo>
                      <a:pt x="1138" y="606"/>
                    </a:lnTo>
                    <a:lnTo>
                      <a:pt x="1138" y="606"/>
                    </a:lnTo>
                    <a:lnTo>
                      <a:pt x="1162" y="606"/>
                    </a:lnTo>
                    <a:lnTo>
                      <a:pt x="1162" y="606"/>
                    </a:lnTo>
                    <a:lnTo>
                      <a:pt x="1174" y="606"/>
                    </a:lnTo>
                    <a:lnTo>
                      <a:pt x="1174" y="606"/>
                    </a:lnTo>
                    <a:lnTo>
                      <a:pt x="1197" y="606"/>
                    </a:lnTo>
                    <a:lnTo>
                      <a:pt x="1197" y="606"/>
                    </a:lnTo>
                    <a:lnTo>
                      <a:pt x="1209" y="606"/>
                    </a:lnTo>
                    <a:lnTo>
                      <a:pt x="1209" y="606"/>
                    </a:lnTo>
                    <a:lnTo>
                      <a:pt x="1233" y="606"/>
                    </a:lnTo>
                    <a:lnTo>
                      <a:pt x="1233" y="606"/>
                    </a:lnTo>
                    <a:lnTo>
                      <a:pt x="1256" y="606"/>
                    </a:lnTo>
                    <a:lnTo>
                      <a:pt x="1256" y="606"/>
                    </a:lnTo>
                    <a:lnTo>
                      <a:pt x="1268" y="606"/>
                    </a:lnTo>
                    <a:lnTo>
                      <a:pt x="1268" y="606"/>
                    </a:lnTo>
                    <a:lnTo>
                      <a:pt x="1291" y="606"/>
                    </a:lnTo>
                    <a:lnTo>
                      <a:pt x="1291" y="606"/>
                    </a:lnTo>
                    <a:lnTo>
                      <a:pt x="1306" y="606"/>
                    </a:lnTo>
                    <a:lnTo>
                      <a:pt x="1306" y="606"/>
                    </a:lnTo>
                    <a:lnTo>
                      <a:pt x="1329" y="606"/>
                    </a:lnTo>
                    <a:lnTo>
                      <a:pt x="1329" y="606"/>
                    </a:lnTo>
                    <a:lnTo>
                      <a:pt x="1341" y="606"/>
                    </a:lnTo>
                    <a:lnTo>
                      <a:pt x="1341" y="606"/>
                    </a:lnTo>
                    <a:lnTo>
                      <a:pt x="1365" y="606"/>
                    </a:lnTo>
                    <a:lnTo>
                      <a:pt x="1365" y="606"/>
                    </a:lnTo>
                    <a:lnTo>
                      <a:pt x="1376" y="606"/>
                    </a:lnTo>
                    <a:lnTo>
                      <a:pt x="1376" y="606"/>
                    </a:lnTo>
                    <a:lnTo>
                      <a:pt x="1400" y="606"/>
                    </a:lnTo>
                    <a:lnTo>
                      <a:pt x="1400" y="606"/>
                    </a:lnTo>
                    <a:lnTo>
                      <a:pt x="1412" y="606"/>
                    </a:lnTo>
                    <a:lnTo>
                      <a:pt x="1412" y="606"/>
                    </a:lnTo>
                    <a:lnTo>
                      <a:pt x="1435" y="606"/>
                    </a:lnTo>
                    <a:lnTo>
                      <a:pt x="1435" y="606"/>
                    </a:lnTo>
                    <a:lnTo>
                      <a:pt x="1447" y="606"/>
                    </a:lnTo>
                    <a:lnTo>
                      <a:pt x="1447" y="606"/>
                    </a:lnTo>
                    <a:lnTo>
                      <a:pt x="1471" y="606"/>
                    </a:lnTo>
                    <a:lnTo>
                      <a:pt x="1471" y="606"/>
                    </a:lnTo>
                    <a:lnTo>
                      <a:pt x="1482" y="606"/>
                    </a:lnTo>
                    <a:lnTo>
                      <a:pt x="1482" y="606"/>
                    </a:lnTo>
                    <a:lnTo>
                      <a:pt x="1506" y="606"/>
                    </a:lnTo>
                    <a:lnTo>
                      <a:pt x="1506" y="606"/>
                    </a:lnTo>
                    <a:lnTo>
                      <a:pt x="1529" y="606"/>
                    </a:lnTo>
                    <a:lnTo>
                      <a:pt x="1529" y="606"/>
                    </a:lnTo>
                    <a:lnTo>
                      <a:pt x="1541" y="606"/>
                    </a:lnTo>
                    <a:lnTo>
                      <a:pt x="1541" y="606"/>
                    </a:lnTo>
                    <a:lnTo>
                      <a:pt x="1565" y="606"/>
                    </a:lnTo>
                    <a:lnTo>
                      <a:pt x="1565" y="606"/>
                    </a:lnTo>
                    <a:lnTo>
                      <a:pt x="1577" y="606"/>
                    </a:lnTo>
                    <a:lnTo>
                      <a:pt x="1577" y="606"/>
                    </a:lnTo>
                    <a:lnTo>
                      <a:pt x="1600" y="606"/>
                    </a:lnTo>
                    <a:lnTo>
                      <a:pt x="1600" y="606"/>
                    </a:lnTo>
                    <a:lnTo>
                      <a:pt x="1612" y="606"/>
                    </a:lnTo>
                    <a:lnTo>
                      <a:pt x="1612" y="606"/>
                    </a:lnTo>
                    <a:lnTo>
                      <a:pt x="1635" y="606"/>
                    </a:lnTo>
                    <a:lnTo>
                      <a:pt x="1635" y="606"/>
                    </a:lnTo>
                    <a:lnTo>
                      <a:pt x="1647" y="606"/>
                    </a:lnTo>
                    <a:lnTo>
                      <a:pt x="1647" y="606"/>
                    </a:lnTo>
                    <a:lnTo>
                      <a:pt x="1671" y="606"/>
                    </a:lnTo>
                    <a:lnTo>
                      <a:pt x="1671" y="606"/>
                    </a:lnTo>
                    <a:lnTo>
                      <a:pt x="1683" y="606"/>
                    </a:lnTo>
                    <a:lnTo>
                      <a:pt x="1683" y="606"/>
                    </a:lnTo>
                    <a:lnTo>
                      <a:pt x="1709" y="606"/>
                    </a:lnTo>
                    <a:lnTo>
                      <a:pt x="1709" y="606"/>
                    </a:lnTo>
                    <a:lnTo>
                      <a:pt x="1720" y="606"/>
                    </a:lnTo>
                    <a:lnTo>
                      <a:pt x="1720" y="606"/>
                    </a:lnTo>
                    <a:lnTo>
                      <a:pt x="1744" y="606"/>
                    </a:lnTo>
                    <a:lnTo>
                      <a:pt x="1744" y="606"/>
                    </a:lnTo>
                    <a:lnTo>
                      <a:pt x="1756" y="606"/>
                    </a:lnTo>
                    <a:lnTo>
                      <a:pt x="1756" y="606"/>
                    </a:lnTo>
                    <a:lnTo>
                      <a:pt x="1779" y="606"/>
                    </a:lnTo>
                    <a:lnTo>
                      <a:pt x="1779" y="606"/>
                    </a:lnTo>
                    <a:lnTo>
                      <a:pt x="1803" y="606"/>
                    </a:lnTo>
                    <a:lnTo>
                      <a:pt x="1803" y="606"/>
                    </a:lnTo>
                    <a:lnTo>
                      <a:pt x="1815" y="606"/>
                    </a:lnTo>
                    <a:lnTo>
                      <a:pt x="1815" y="606"/>
                    </a:lnTo>
                    <a:lnTo>
                      <a:pt x="1838" y="606"/>
                    </a:lnTo>
                    <a:lnTo>
                      <a:pt x="1838" y="606"/>
                    </a:lnTo>
                    <a:lnTo>
                      <a:pt x="1850" y="606"/>
                    </a:lnTo>
                    <a:lnTo>
                      <a:pt x="1850" y="606"/>
                    </a:lnTo>
                    <a:lnTo>
                      <a:pt x="1873" y="606"/>
                    </a:lnTo>
                    <a:lnTo>
                      <a:pt x="1873" y="606"/>
                    </a:lnTo>
                    <a:lnTo>
                      <a:pt x="1885" y="606"/>
                    </a:lnTo>
                    <a:lnTo>
                      <a:pt x="1885" y="606"/>
                    </a:lnTo>
                    <a:lnTo>
                      <a:pt x="1909" y="606"/>
                    </a:lnTo>
                    <a:lnTo>
                      <a:pt x="1909" y="606"/>
                    </a:lnTo>
                    <a:lnTo>
                      <a:pt x="1921" y="606"/>
                    </a:lnTo>
                    <a:lnTo>
                      <a:pt x="1921" y="606"/>
                    </a:lnTo>
                    <a:lnTo>
                      <a:pt x="1944" y="606"/>
                    </a:lnTo>
                    <a:lnTo>
                      <a:pt x="1944" y="606"/>
                    </a:lnTo>
                    <a:lnTo>
                      <a:pt x="1956" y="606"/>
                    </a:lnTo>
                    <a:lnTo>
                      <a:pt x="1956" y="606"/>
                    </a:lnTo>
                    <a:lnTo>
                      <a:pt x="1979" y="606"/>
                    </a:lnTo>
                    <a:lnTo>
                      <a:pt x="1979" y="606"/>
                    </a:lnTo>
                    <a:lnTo>
                      <a:pt x="1991" y="606"/>
                    </a:lnTo>
                    <a:lnTo>
                      <a:pt x="1991" y="606"/>
                    </a:lnTo>
                    <a:lnTo>
                      <a:pt x="2015" y="606"/>
                    </a:lnTo>
                    <a:lnTo>
                      <a:pt x="2015" y="606"/>
                    </a:lnTo>
                    <a:lnTo>
                      <a:pt x="2027" y="606"/>
                    </a:lnTo>
                    <a:lnTo>
                      <a:pt x="2027" y="606"/>
                    </a:lnTo>
                    <a:lnTo>
                      <a:pt x="2050" y="606"/>
                    </a:lnTo>
                    <a:lnTo>
                      <a:pt x="2050" y="606"/>
                    </a:lnTo>
                    <a:lnTo>
                      <a:pt x="2062" y="606"/>
                    </a:lnTo>
                    <a:lnTo>
                      <a:pt x="2062" y="606"/>
                    </a:lnTo>
                    <a:lnTo>
                      <a:pt x="2085" y="606"/>
                    </a:lnTo>
                    <a:lnTo>
                      <a:pt x="2085" y="606"/>
                    </a:lnTo>
                    <a:lnTo>
                      <a:pt x="2097" y="606"/>
                    </a:lnTo>
                    <a:lnTo>
                      <a:pt x="2097" y="606"/>
                    </a:lnTo>
                    <a:lnTo>
                      <a:pt x="2123" y="606"/>
                    </a:lnTo>
                    <a:lnTo>
                      <a:pt x="2123" y="606"/>
                    </a:lnTo>
                    <a:lnTo>
                      <a:pt x="2135" y="606"/>
                    </a:lnTo>
                    <a:lnTo>
                      <a:pt x="2135" y="606"/>
                    </a:lnTo>
                    <a:lnTo>
                      <a:pt x="2159" y="606"/>
                    </a:lnTo>
                    <a:lnTo>
                      <a:pt x="2159" y="606"/>
                    </a:lnTo>
                    <a:lnTo>
                      <a:pt x="2170" y="606"/>
                    </a:lnTo>
                    <a:lnTo>
                      <a:pt x="2170" y="606"/>
                    </a:lnTo>
                    <a:lnTo>
                      <a:pt x="2194" y="606"/>
                    </a:lnTo>
                    <a:lnTo>
                      <a:pt x="2194" y="606"/>
                    </a:lnTo>
                    <a:lnTo>
                      <a:pt x="2206" y="606"/>
                    </a:lnTo>
                    <a:lnTo>
                      <a:pt x="2206" y="606"/>
                    </a:lnTo>
                    <a:lnTo>
                      <a:pt x="2229" y="606"/>
                    </a:lnTo>
                    <a:lnTo>
                      <a:pt x="2229" y="606"/>
                    </a:lnTo>
                    <a:lnTo>
                      <a:pt x="2241" y="606"/>
                    </a:lnTo>
                    <a:lnTo>
                      <a:pt x="2241" y="606"/>
                    </a:lnTo>
                    <a:lnTo>
                      <a:pt x="2265" y="606"/>
                    </a:lnTo>
                    <a:lnTo>
                      <a:pt x="2265" y="606"/>
                    </a:lnTo>
                    <a:lnTo>
                      <a:pt x="2276" y="606"/>
                    </a:lnTo>
                    <a:lnTo>
                      <a:pt x="2276" y="606"/>
                    </a:lnTo>
                    <a:lnTo>
                      <a:pt x="2300" y="606"/>
                    </a:lnTo>
                    <a:lnTo>
                      <a:pt x="2300" y="606"/>
                    </a:lnTo>
                    <a:lnTo>
                      <a:pt x="2312" y="606"/>
                    </a:lnTo>
                    <a:lnTo>
                      <a:pt x="2312" y="606"/>
                    </a:lnTo>
                    <a:lnTo>
                      <a:pt x="2335" y="606"/>
                    </a:lnTo>
                    <a:lnTo>
                      <a:pt x="2335" y="606"/>
                    </a:lnTo>
                    <a:lnTo>
                      <a:pt x="2338" y="606"/>
                    </a:lnTo>
                    <a:lnTo>
                      <a:pt x="2338" y="490"/>
                    </a:lnTo>
                    <a:close/>
                  </a:path>
                </a:pathLst>
              </a:custGeom>
              <a:solidFill>
                <a:schemeClr val="bg1">
                  <a:alpha val="58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0"/>
              </a:p>
            </p:txBody>
          </p:sp>
        </p:grp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4648200" y="2794175"/>
              <a:ext cx="3702050" cy="890588"/>
            </a:xfrm>
            <a:custGeom>
              <a:avLst/>
              <a:gdLst>
                <a:gd name="T0" fmla="*/ 2259 w 2332"/>
                <a:gd name="T1" fmla="*/ 513 h 561"/>
                <a:gd name="T2" fmla="*/ 2177 w 2332"/>
                <a:gd name="T3" fmla="*/ 466 h 561"/>
                <a:gd name="T4" fmla="*/ 2059 w 2332"/>
                <a:gd name="T5" fmla="*/ 452 h 561"/>
                <a:gd name="T6" fmla="*/ 2005 w 2332"/>
                <a:gd name="T7" fmla="*/ 452 h 561"/>
                <a:gd name="T8" fmla="*/ 1927 w 2332"/>
                <a:gd name="T9" fmla="*/ 466 h 561"/>
                <a:gd name="T10" fmla="*/ 1892 w 2332"/>
                <a:gd name="T11" fmla="*/ 478 h 561"/>
                <a:gd name="T12" fmla="*/ 1837 w 2332"/>
                <a:gd name="T13" fmla="*/ 429 h 561"/>
                <a:gd name="T14" fmla="*/ 1797 w 2332"/>
                <a:gd name="T15" fmla="*/ 228 h 561"/>
                <a:gd name="T16" fmla="*/ 1748 w 2332"/>
                <a:gd name="T17" fmla="*/ 167 h 561"/>
                <a:gd name="T18" fmla="*/ 1630 w 2332"/>
                <a:gd name="T19" fmla="*/ 155 h 561"/>
                <a:gd name="T20" fmla="*/ 1618 w 2332"/>
                <a:gd name="T21" fmla="*/ 228 h 561"/>
                <a:gd name="T22" fmla="*/ 1576 w 2332"/>
                <a:gd name="T23" fmla="*/ 202 h 561"/>
                <a:gd name="T24" fmla="*/ 1486 w 2332"/>
                <a:gd name="T25" fmla="*/ 217 h 561"/>
                <a:gd name="T26" fmla="*/ 1451 w 2332"/>
                <a:gd name="T27" fmla="*/ 334 h 561"/>
                <a:gd name="T28" fmla="*/ 1416 w 2332"/>
                <a:gd name="T29" fmla="*/ 358 h 561"/>
                <a:gd name="T30" fmla="*/ 1357 w 2332"/>
                <a:gd name="T31" fmla="*/ 275 h 561"/>
                <a:gd name="T32" fmla="*/ 1357 w 2332"/>
                <a:gd name="T33" fmla="*/ 108 h 561"/>
                <a:gd name="T34" fmla="*/ 1296 w 2332"/>
                <a:gd name="T35" fmla="*/ 68 h 561"/>
                <a:gd name="T36" fmla="*/ 1225 w 2332"/>
                <a:gd name="T37" fmla="*/ 66 h 561"/>
                <a:gd name="T38" fmla="*/ 1201 w 2332"/>
                <a:gd name="T39" fmla="*/ 89 h 561"/>
                <a:gd name="T40" fmla="*/ 1178 w 2332"/>
                <a:gd name="T41" fmla="*/ 120 h 561"/>
                <a:gd name="T42" fmla="*/ 1166 w 2332"/>
                <a:gd name="T43" fmla="*/ 240 h 561"/>
                <a:gd name="T44" fmla="*/ 1135 w 2332"/>
                <a:gd name="T45" fmla="*/ 287 h 561"/>
                <a:gd name="T46" fmla="*/ 1046 w 2332"/>
                <a:gd name="T47" fmla="*/ 299 h 561"/>
                <a:gd name="T48" fmla="*/ 1008 w 2332"/>
                <a:gd name="T49" fmla="*/ 323 h 561"/>
                <a:gd name="T50" fmla="*/ 963 w 2332"/>
                <a:gd name="T51" fmla="*/ 217 h 561"/>
                <a:gd name="T52" fmla="*/ 881 w 2332"/>
                <a:gd name="T53" fmla="*/ 132 h 561"/>
                <a:gd name="T54" fmla="*/ 834 w 2332"/>
                <a:gd name="T55" fmla="*/ 96 h 561"/>
                <a:gd name="T56" fmla="*/ 810 w 2332"/>
                <a:gd name="T57" fmla="*/ 120 h 561"/>
                <a:gd name="T58" fmla="*/ 784 w 2332"/>
                <a:gd name="T59" fmla="*/ 217 h 561"/>
                <a:gd name="T60" fmla="*/ 737 w 2332"/>
                <a:gd name="T61" fmla="*/ 275 h 561"/>
                <a:gd name="T62" fmla="*/ 643 w 2332"/>
                <a:gd name="T63" fmla="*/ 144 h 561"/>
                <a:gd name="T64" fmla="*/ 631 w 2332"/>
                <a:gd name="T65" fmla="*/ 73 h 561"/>
                <a:gd name="T66" fmla="*/ 584 w 2332"/>
                <a:gd name="T67" fmla="*/ 108 h 561"/>
                <a:gd name="T68" fmla="*/ 511 w 2332"/>
                <a:gd name="T69" fmla="*/ 144 h 561"/>
                <a:gd name="T70" fmla="*/ 499 w 2332"/>
                <a:gd name="T71" fmla="*/ 191 h 561"/>
                <a:gd name="T72" fmla="*/ 476 w 2332"/>
                <a:gd name="T73" fmla="*/ 191 h 561"/>
                <a:gd name="T74" fmla="*/ 452 w 2332"/>
                <a:gd name="T75" fmla="*/ 108 h 561"/>
                <a:gd name="T76" fmla="*/ 440 w 2332"/>
                <a:gd name="T77" fmla="*/ 26 h 561"/>
                <a:gd name="T78" fmla="*/ 428 w 2332"/>
                <a:gd name="T79" fmla="*/ 49 h 561"/>
                <a:gd name="T80" fmla="*/ 405 w 2332"/>
                <a:gd name="T81" fmla="*/ 108 h 561"/>
                <a:gd name="T82" fmla="*/ 358 w 2332"/>
                <a:gd name="T83" fmla="*/ 252 h 561"/>
                <a:gd name="T84" fmla="*/ 304 w 2332"/>
                <a:gd name="T85" fmla="*/ 181 h 561"/>
                <a:gd name="T86" fmla="*/ 214 w 2332"/>
                <a:gd name="T87" fmla="*/ 179 h 561"/>
                <a:gd name="T88" fmla="*/ 167 w 2332"/>
                <a:gd name="T89" fmla="*/ 250 h 561"/>
                <a:gd name="T90" fmla="*/ 143 w 2332"/>
                <a:gd name="T91" fmla="*/ 299 h 561"/>
                <a:gd name="T92" fmla="*/ 120 w 2332"/>
                <a:gd name="T93" fmla="*/ 334 h 561"/>
                <a:gd name="T94" fmla="*/ 35 w 2332"/>
                <a:gd name="T95" fmla="*/ 561 h 561"/>
                <a:gd name="T96" fmla="*/ 190 w 2332"/>
                <a:gd name="T97" fmla="*/ 561 h 561"/>
                <a:gd name="T98" fmla="*/ 381 w 2332"/>
                <a:gd name="T99" fmla="*/ 561 h 561"/>
                <a:gd name="T100" fmla="*/ 558 w 2332"/>
                <a:gd name="T101" fmla="*/ 561 h 561"/>
                <a:gd name="T102" fmla="*/ 725 w 2332"/>
                <a:gd name="T103" fmla="*/ 561 h 561"/>
                <a:gd name="T104" fmla="*/ 881 w 2332"/>
                <a:gd name="T105" fmla="*/ 561 h 561"/>
                <a:gd name="T106" fmla="*/ 1046 w 2332"/>
                <a:gd name="T107" fmla="*/ 561 h 561"/>
                <a:gd name="T108" fmla="*/ 1225 w 2332"/>
                <a:gd name="T109" fmla="*/ 561 h 561"/>
                <a:gd name="T110" fmla="*/ 1416 w 2332"/>
                <a:gd name="T111" fmla="*/ 561 h 561"/>
                <a:gd name="T112" fmla="*/ 1571 w 2332"/>
                <a:gd name="T113" fmla="*/ 561 h 561"/>
                <a:gd name="T114" fmla="*/ 1760 w 2332"/>
                <a:gd name="T115" fmla="*/ 561 h 561"/>
                <a:gd name="T116" fmla="*/ 1951 w 2332"/>
                <a:gd name="T117" fmla="*/ 561 h 561"/>
                <a:gd name="T118" fmla="*/ 2153 w 2332"/>
                <a:gd name="T119" fmla="*/ 561 h 561"/>
                <a:gd name="T120" fmla="*/ 2332 w 2332"/>
                <a:gd name="T121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32" h="561">
                  <a:moveTo>
                    <a:pt x="2332" y="549"/>
                  </a:moveTo>
                  <a:lnTo>
                    <a:pt x="2332" y="549"/>
                  </a:lnTo>
                  <a:lnTo>
                    <a:pt x="2332" y="525"/>
                  </a:lnTo>
                  <a:lnTo>
                    <a:pt x="2332" y="525"/>
                  </a:lnTo>
                  <a:lnTo>
                    <a:pt x="2332" y="518"/>
                  </a:lnTo>
                  <a:lnTo>
                    <a:pt x="2332" y="513"/>
                  </a:lnTo>
                  <a:lnTo>
                    <a:pt x="2332" y="513"/>
                  </a:lnTo>
                  <a:lnTo>
                    <a:pt x="2325" y="513"/>
                  </a:lnTo>
                  <a:lnTo>
                    <a:pt x="2320" y="513"/>
                  </a:lnTo>
                  <a:lnTo>
                    <a:pt x="2320" y="513"/>
                  </a:lnTo>
                  <a:lnTo>
                    <a:pt x="2309" y="513"/>
                  </a:lnTo>
                  <a:lnTo>
                    <a:pt x="2309" y="513"/>
                  </a:lnTo>
                  <a:lnTo>
                    <a:pt x="2297" y="513"/>
                  </a:lnTo>
                  <a:lnTo>
                    <a:pt x="2297" y="513"/>
                  </a:lnTo>
                  <a:lnTo>
                    <a:pt x="2271" y="513"/>
                  </a:lnTo>
                  <a:lnTo>
                    <a:pt x="2271" y="513"/>
                  </a:lnTo>
                  <a:lnTo>
                    <a:pt x="2259" y="513"/>
                  </a:lnTo>
                  <a:lnTo>
                    <a:pt x="2259" y="513"/>
                  </a:lnTo>
                  <a:lnTo>
                    <a:pt x="2236" y="513"/>
                  </a:lnTo>
                  <a:lnTo>
                    <a:pt x="2236" y="513"/>
                  </a:lnTo>
                  <a:lnTo>
                    <a:pt x="2188" y="513"/>
                  </a:lnTo>
                  <a:lnTo>
                    <a:pt x="2188" y="513"/>
                  </a:lnTo>
                  <a:lnTo>
                    <a:pt x="2188" y="502"/>
                  </a:lnTo>
                  <a:lnTo>
                    <a:pt x="2188" y="502"/>
                  </a:lnTo>
                  <a:lnTo>
                    <a:pt x="2188" y="490"/>
                  </a:lnTo>
                  <a:lnTo>
                    <a:pt x="2188" y="490"/>
                  </a:lnTo>
                  <a:lnTo>
                    <a:pt x="2188" y="483"/>
                  </a:lnTo>
                  <a:lnTo>
                    <a:pt x="2188" y="478"/>
                  </a:lnTo>
                  <a:lnTo>
                    <a:pt x="2188" y="478"/>
                  </a:lnTo>
                  <a:lnTo>
                    <a:pt x="2184" y="478"/>
                  </a:lnTo>
                  <a:lnTo>
                    <a:pt x="2177" y="478"/>
                  </a:lnTo>
                  <a:lnTo>
                    <a:pt x="2177" y="478"/>
                  </a:lnTo>
                  <a:lnTo>
                    <a:pt x="2177" y="476"/>
                  </a:lnTo>
                  <a:lnTo>
                    <a:pt x="2177" y="471"/>
                  </a:lnTo>
                  <a:lnTo>
                    <a:pt x="2177" y="469"/>
                  </a:lnTo>
                  <a:lnTo>
                    <a:pt x="2177" y="466"/>
                  </a:lnTo>
                  <a:lnTo>
                    <a:pt x="2177" y="466"/>
                  </a:lnTo>
                  <a:lnTo>
                    <a:pt x="2174" y="464"/>
                  </a:lnTo>
                  <a:lnTo>
                    <a:pt x="2172" y="466"/>
                  </a:lnTo>
                  <a:lnTo>
                    <a:pt x="2167" y="466"/>
                  </a:lnTo>
                  <a:lnTo>
                    <a:pt x="2165" y="466"/>
                  </a:lnTo>
                  <a:lnTo>
                    <a:pt x="2165" y="466"/>
                  </a:lnTo>
                  <a:lnTo>
                    <a:pt x="2165" y="464"/>
                  </a:lnTo>
                  <a:lnTo>
                    <a:pt x="2165" y="459"/>
                  </a:lnTo>
                  <a:lnTo>
                    <a:pt x="2165" y="452"/>
                  </a:lnTo>
                  <a:lnTo>
                    <a:pt x="2165" y="452"/>
                  </a:lnTo>
                  <a:lnTo>
                    <a:pt x="2153" y="452"/>
                  </a:lnTo>
                  <a:lnTo>
                    <a:pt x="2153" y="452"/>
                  </a:lnTo>
                  <a:lnTo>
                    <a:pt x="2130" y="452"/>
                  </a:lnTo>
                  <a:lnTo>
                    <a:pt x="2130" y="452"/>
                  </a:lnTo>
                  <a:lnTo>
                    <a:pt x="2082" y="452"/>
                  </a:lnTo>
                  <a:lnTo>
                    <a:pt x="2082" y="452"/>
                  </a:lnTo>
                  <a:lnTo>
                    <a:pt x="2059" y="452"/>
                  </a:lnTo>
                  <a:lnTo>
                    <a:pt x="2059" y="452"/>
                  </a:lnTo>
                  <a:lnTo>
                    <a:pt x="2052" y="452"/>
                  </a:lnTo>
                  <a:lnTo>
                    <a:pt x="2047" y="452"/>
                  </a:lnTo>
                  <a:lnTo>
                    <a:pt x="2047" y="452"/>
                  </a:lnTo>
                  <a:lnTo>
                    <a:pt x="2045" y="455"/>
                  </a:lnTo>
                  <a:lnTo>
                    <a:pt x="2047" y="459"/>
                  </a:lnTo>
                  <a:lnTo>
                    <a:pt x="2047" y="466"/>
                  </a:lnTo>
                  <a:lnTo>
                    <a:pt x="2047" y="466"/>
                  </a:lnTo>
                  <a:lnTo>
                    <a:pt x="2040" y="466"/>
                  </a:lnTo>
                  <a:lnTo>
                    <a:pt x="2035" y="466"/>
                  </a:lnTo>
                  <a:lnTo>
                    <a:pt x="2035" y="466"/>
                  </a:lnTo>
                  <a:lnTo>
                    <a:pt x="2035" y="452"/>
                  </a:lnTo>
                  <a:lnTo>
                    <a:pt x="2035" y="452"/>
                  </a:lnTo>
                  <a:lnTo>
                    <a:pt x="2028" y="452"/>
                  </a:lnTo>
                  <a:lnTo>
                    <a:pt x="2021" y="452"/>
                  </a:lnTo>
                  <a:lnTo>
                    <a:pt x="2021" y="452"/>
                  </a:lnTo>
                  <a:lnTo>
                    <a:pt x="2009" y="452"/>
                  </a:lnTo>
                  <a:lnTo>
                    <a:pt x="2009" y="452"/>
                  </a:lnTo>
                  <a:lnTo>
                    <a:pt x="2005" y="452"/>
                  </a:lnTo>
                  <a:lnTo>
                    <a:pt x="2000" y="452"/>
                  </a:lnTo>
                  <a:lnTo>
                    <a:pt x="1998" y="452"/>
                  </a:lnTo>
                  <a:lnTo>
                    <a:pt x="1998" y="452"/>
                  </a:lnTo>
                  <a:lnTo>
                    <a:pt x="1998" y="459"/>
                  </a:lnTo>
                  <a:lnTo>
                    <a:pt x="1998" y="466"/>
                  </a:lnTo>
                  <a:lnTo>
                    <a:pt x="1998" y="466"/>
                  </a:lnTo>
                  <a:lnTo>
                    <a:pt x="1993" y="466"/>
                  </a:lnTo>
                  <a:lnTo>
                    <a:pt x="1986" y="466"/>
                  </a:lnTo>
                  <a:lnTo>
                    <a:pt x="1986" y="466"/>
                  </a:lnTo>
                  <a:lnTo>
                    <a:pt x="1962" y="466"/>
                  </a:lnTo>
                  <a:lnTo>
                    <a:pt x="1962" y="466"/>
                  </a:lnTo>
                  <a:lnTo>
                    <a:pt x="1951" y="466"/>
                  </a:lnTo>
                  <a:lnTo>
                    <a:pt x="1951" y="466"/>
                  </a:lnTo>
                  <a:lnTo>
                    <a:pt x="1939" y="466"/>
                  </a:lnTo>
                  <a:lnTo>
                    <a:pt x="1939" y="466"/>
                  </a:lnTo>
                  <a:lnTo>
                    <a:pt x="1932" y="466"/>
                  </a:lnTo>
                  <a:lnTo>
                    <a:pt x="1927" y="466"/>
                  </a:lnTo>
                  <a:lnTo>
                    <a:pt x="1927" y="466"/>
                  </a:lnTo>
                  <a:lnTo>
                    <a:pt x="1927" y="464"/>
                  </a:lnTo>
                  <a:lnTo>
                    <a:pt x="1927" y="459"/>
                  </a:lnTo>
                  <a:lnTo>
                    <a:pt x="1927" y="452"/>
                  </a:lnTo>
                  <a:lnTo>
                    <a:pt x="1927" y="452"/>
                  </a:lnTo>
                  <a:lnTo>
                    <a:pt x="1903" y="452"/>
                  </a:lnTo>
                  <a:lnTo>
                    <a:pt x="1903" y="452"/>
                  </a:lnTo>
                  <a:lnTo>
                    <a:pt x="1903" y="459"/>
                  </a:lnTo>
                  <a:lnTo>
                    <a:pt x="1903" y="464"/>
                  </a:lnTo>
                  <a:lnTo>
                    <a:pt x="1903" y="466"/>
                  </a:lnTo>
                  <a:lnTo>
                    <a:pt x="1903" y="466"/>
                  </a:lnTo>
                  <a:lnTo>
                    <a:pt x="1901" y="466"/>
                  </a:lnTo>
                  <a:lnTo>
                    <a:pt x="1896" y="466"/>
                  </a:lnTo>
                  <a:lnTo>
                    <a:pt x="1894" y="464"/>
                  </a:lnTo>
                  <a:lnTo>
                    <a:pt x="1892" y="466"/>
                  </a:lnTo>
                  <a:lnTo>
                    <a:pt x="1892" y="466"/>
                  </a:lnTo>
                  <a:lnTo>
                    <a:pt x="1892" y="469"/>
                  </a:lnTo>
                  <a:lnTo>
                    <a:pt x="1892" y="471"/>
                  </a:lnTo>
                  <a:lnTo>
                    <a:pt x="1892" y="478"/>
                  </a:lnTo>
                  <a:lnTo>
                    <a:pt x="1892" y="478"/>
                  </a:lnTo>
                  <a:lnTo>
                    <a:pt x="1880" y="478"/>
                  </a:lnTo>
                  <a:lnTo>
                    <a:pt x="1880" y="478"/>
                  </a:lnTo>
                  <a:lnTo>
                    <a:pt x="1868" y="478"/>
                  </a:lnTo>
                  <a:lnTo>
                    <a:pt x="1868" y="478"/>
                  </a:lnTo>
                  <a:lnTo>
                    <a:pt x="1844" y="478"/>
                  </a:lnTo>
                  <a:lnTo>
                    <a:pt x="1844" y="478"/>
                  </a:lnTo>
                  <a:lnTo>
                    <a:pt x="1844" y="466"/>
                  </a:lnTo>
                  <a:lnTo>
                    <a:pt x="1844" y="466"/>
                  </a:lnTo>
                  <a:lnTo>
                    <a:pt x="1844" y="452"/>
                  </a:lnTo>
                  <a:lnTo>
                    <a:pt x="1844" y="452"/>
                  </a:lnTo>
                  <a:lnTo>
                    <a:pt x="1844" y="440"/>
                  </a:lnTo>
                  <a:lnTo>
                    <a:pt x="1844" y="440"/>
                  </a:lnTo>
                  <a:lnTo>
                    <a:pt x="1844" y="436"/>
                  </a:lnTo>
                  <a:lnTo>
                    <a:pt x="1844" y="429"/>
                  </a:lnTo>
                  <a:lnTo>
                    <a:pt x="1844" y="429"/>
                  </a:lnTo>
                  <a:lnTo>
                    <a:pt x="1842" y="429"/>
                  </a:lnTo>
                  <a:lnTo>
                    <a:pt x="1837" y="429"/>
                  </a:lnTo>
                  <a:lnTo>
                    <a:pt x="1833" y="429"/>
                  </a:lnTo>
                  <a:lnTo>
                    <a:pt x="1833" y="429"/>
                  </a:lnTo>
                  <a:lnTo>
                    <a:pt x="1833" y="405"/>
                  </a:lnTo>
                  <a:lnTo>
                    <a:pt x="1833" y="405"/>
                  </a:lnTo>
                  <a:lnTo>
                    <a:pt x="1821" y="405"/>
                  </a:lnTo>
                  <a:lnTo>
                    <a:pt x="1821" y="405"/>
                  </a:lnTo>
                  <a:lnTo>
                    <a:pt x="1797" y="405"/>
                  </a:lnTo>
                  <a:lnTo>
                    <a:pt x="1797" y="405"/>
                  </a:lnTo>
                  <a:lnTo>
                    <a:pt x="1797" y="393"/>
                  </a:lnTo>
                  <a:lnTo>
                    <a:pt x="1797" y="393"/>
                  </a:lnTo>
                  <a:lnTo>
                    <a:pt x="1797" y="346"/>
                  </a:lnTo>
                  <a:lnTo>
                    <a:pt x="1797" y="346"/>
                  </a:lnTo>
                  <a:lnTo>
                    <a:pt x="1797" y="252"/>
                  </a:lnTo>
                  <a:lnTo>
                    <a:pt x="1797" y="252"/>
                  </a:lnTo>
                  <a:lnTo>
                    <a:pt x="1797" y="240"/>
                  </a:lnTo>
                  <a:lnTo>
                    <a:pt x="1797" y="240"/>
                  </a:lnTo>
                  <a:lnTo>
                    <a:pt x="1797" y="228"/>
                  </a:lnTo>
                  <a:lnTo>
                    <a:pt x="1797" y="228"/>
                  </a:lnTo>
                  <a:lnTo>
                    <a:pt x="1797" y="217"/>
                  </a:lnTo>
                  <a:lnTo>
                    <a:pt x="1797" y="217"/>
                  </a:lnTo>
                  <a:lnTo>
                    <a:pt x="1795" y="209"/>
                  </a:lnTo>
                  <a:lnTo>
                    <a:pt x="1797" y="202"/>
                  </a:lnTo>
                  <a:lnTo>
                    <a:pt x="1797" y="202"/>
                  </a:lnTo>
                  <a:lnTo>
                    <a:pt x="1800" y="202"/>
                  </a:lnTo>
                  <a:lnTo>
                    <a:pt x="1802" y="202"/>
                  </a:lnTo>
                  <a:lnTo>
                    <a:pt x="1809" y="202"/>
                  </a:lnTo>
                  <a:lnTo>
                    <a:pt x="1809" y="202"/>
                  </a:lnTo>
                  <a:lnTo>
                    <a:pt x="1809" y="179"/>
                  </a:lnTo>
                  <a:lnTo>
                    <a:pt x="1809" y="179"/>
                  </a:lnTo>
                  <a:lnTo>
                    <a:pt x="1783" y="179"/>
                  </a:lnTo>
                  <a:lnTo>
                    <a:pt x="1783" y="179"/>
                  </a:lnTo>
                  <a:lnTo>
                    <a:pt x="1771" y="179"/>
                  </a:lnTo>
                  <a:lnTo>
                    <a:pt x="1771" y="179"/>
                  </a:lnTo>
                  <a:lnTo>
                    <a:pt x="1748" y="179"/>
                  </a:lnTo>
                  <a:lnTo>
                    <a:pt x="1748" y="179"/>
                  </a:lnTo>
                  <a:lnTo>
                    <a:pt x="1748" y="167"/>
                  </a:lnTo>
                  <a:lnTo>
                    <a:pt x="1748" y="167"/>
                  </a:lnTo>
                  <a:lnTo>
                    <a:pt x="1750" y="162"/>
                  </a:lnTo>
                  <a:lnTo>
                    <a:pt x="1748" y="155"/>
                  </a:lnTo>
                  <a:lnTo>
                    <a:pt x="1748" y="155"/>
                  </a:lnTo>
                  <a:lnTo>
                    <a:pt x="1743" y="155"/>
                  </a:lnTo>
                  <a:lnTo>
                    <a:pt x="1736" y="155"/>
                  </a:lnTo>
                  <a:lnTo>
                    <a:pt x="1736" y="155"/>
                  </a:lnTo>
                  <a:lnTo>
                    <a:pt x="1724" y="155"/>
                  </a:lnTo>
                  <a:lnTo>
                    <a:pt x="1724" y="155"/>
                  </a:lnTo>
                  <a:lnTo>
                    <a:pt x="1701" y="155"/>
                  </a:lnTo>
                  <a:lnTo>
                    <a:pt x="1701" y="155"/>
                  </a:lnTo>
                  <a:lnTo>
                    <a:pt x="1654" y="155"/>
                  </a:lnTo>
                  <a:lnTo>
                    <a:pt x="1654" y="155"/>
                  </a:lnTo>
                  <a:lnTo>
                    <a:pt x="1642" y="155"/>
                  </a:lnTo>
                  <a:lnTo>
                    <a:pt x="1642" y="155"/>
                  </a:lnTo>
                  <a:lnTo>
                    <a:pt x="1635" y="155"/>
                  </a:lnTo>
                  <a:lnTo>
                    <a:pt x="1630" y="155"/>
                  </a:lnTo>
                  <a:lnTo>
                    <a:pt x="1630" y="155"/>
                  </a:lnTo>
                  <a:lnTo>
                    <a:pt x="1630" y="158"/>
                  </a:lnTo>
                  <a:lnTo>
                    <a:pt x="1630" y="162"/>
                  </a:lnTo>
                  <a:lnTo>
                    <a:pt x="1630" y="167"/>
                  </a:lnTo>
                  <a:lnTo>
                    <a:pt x="1630" y="167"/>
                  </a:lnTo>
                  <a:lnTo>
                    <a:pt x="1607" y="167"/>
                  </a:lnTo>
                  <a:lnTo>
                    <a:pt x="1607" y="167"/>
                  </a:lnTo>
                  <a:lnTo>
                    <a:pt x="1607" y="179"/>
                  </a:lnTo>
                  <a:lnTo>
                    <a:pt x="1607" y="179"/>
                  </a:lnTo>
                  <a:lnTo>
                    <a:pt x="1607" y="186"/>
                  </a:lnTo>
                  <a:lnTo>
                    <a:pt x="1607" y="191"/>
                  </a:lnTo>
                  <a:lnTo>
                    <a:pt x="1607" y="191"/>
                  </a:lnTo>
                  <a:lnTo>
                    <a:pt x="1611" y="191"/>
                  </a:lnTo>
                  <a:lnTo>
                    <a:pt x="1618" y="191"/>
                  </a:lnTo>
                  <a:lnTo>
                    <a:pt x="1618" y="191"/>
                  </a:lnTo>
                  <a:lnTo>
                    <a:pt x="1618" y="202"/>
                  </a:lnTo>
                  <a:lnTo>
                    <a:pt x="1618" y="202"/>
                  </a:lnTo>
                  <a:lnTo>
                    <a:pt x="1618" y="228"/>
                  </a:lnTo>
                  <a:lnTo>
                    <a:pt x="1618" y="228"/>
                  </a:lnTo>
                  <a:lnTo>
                    <a:pt x="1611" y="228"/>
                  </a:lnTo>
                  <a:lnTo>
                    <a:pt x="1607" y="228"/>
                  </a:lnTo>
                  <a:lnTo>
                    <a:pt x="1607" y="228"/>
                  </a:lnTo>
                  <a:lnTo>
                    <a:pt x="1599" y="226"/>
                  </a:lnTo>
                  <a:lnTo>
                    <a:pt x="1595" y="228"/>
                  </a:lnTo>
                  <a:lnTo>
                    <a:pt x="1595" y="228"/>
                  </a:lnTo>
                  <a:lnTo>
                    <a:pt x="1588" y="228"/>
                  </a:lnTo>
                  <a:lnTo>
                    <a:pt x="1583" y="228"/>
                  </a:lnTo>
                  <a:lnTo>
                    <a:pt x="1583" y="228"/>
                  </a:lnTo>
                  <a:lnTo>
                    <a:pt x="1583" y="221"/>
                  </a:lnTo>
                  <a:lnTo>
                    <a:pt x="1583" y="217"/>
                  </a:lnTo>
                  <a:lnTo>
                    <a:pt x="1583" y="217"/>
                  </a:lnTo>
                  <a:lnTo>
                    <a:pt x="1583" y="217"/>
                  </a:lnTo>
                  <a:lnTo>
                    <a:pt x="1581" y="214"/>
                  </a:lnTo>
                  <a:lnTo>
                    <a:pt x="1583" y="209"/>
                  </a:lnTo>
                  <a:lnTo>
                    <a:pt x="1583" y="202"/>
                  </a:lnTo>
                  <a:lnTo>
                    <a:pt x="1583" y="202"/>
                  </a:lnTo>
                  <a:lnTo>
                    <a:pt x="1576" y="202"/>
                  </a:lnTo>
                  <a:lnTo>
                    <a:pt x="1571" y="202"/>
                  </a:lnTo>
                  <a:lnTo>
                    <a:pt x="1571" y="202"/>
                  </a:lnTo>
                  <a:lnTo>
                    <a:pt x="1559" y="202"/>
                  </a:lnTo>
                  <a:lnTo>
                    <a:pt x="1559" y="202"/>
                  </a:lnTo>
                  <a:lnTo>
                    <a:pt x="1548" y="202"/>
                  </a:lnTo>
                  <a:lnTo>
                    <a:pt x="1548" y="202"/>
                  </a:lnTo>
                  <a:lnTo>
                    <a:pt x="1522" y="202"/>
                  </a:lnTo>
                  <a:lnTo>
                    <a:pt x="1522" y="202"/>
                  </a:lnTo>
                  <a:lnTo>
                    <a:pt x="1510" y="202"/>
                  </a:lnTo>
                  <a:lnTo>
                    <a:pt x="1510" y="202"/>
                  </a:lnTo>
                  <a:lnTo>
                    <a:pt x="1505" y="202"/>
                  </a:lnTo>
                  <a:lnTo>
                    <a:pt x="1498" y="202"/>
                  </a:lnTo>
                  <a:lnTo>
                    <a:pt x="1498" y="202"/>
                  </a:lnTo>
                  <a:lnTo>
                    <a:pt x="1498" y="209"/>
                  </a:lnTo>
                  <a:lnTo>
                    <a:pt x="1498" y="217"/>
                  </a:lnTo>
                  <a:lnTo>
                    <a:pt x="1498" y="217"/>
                  </a:lnTo>
                  <a:lnTo>
                    <a:pt x="1493" y="217"/>
                  </a:lnTo>
                  <a:lnTo>
                    <a:pt x="1486" y="217"/>
                  </a:lnTo>
                  <a:lnTo>
                    <a:pt x="1486" y="217"/>
                  </a:lnTo>
                  <a:lnTo>
                    <a:pt x="1475" y="217"/>
                  </a:lnTo>
                  <a:lnTo>
                    <a:pt x="1475" y="217"/>
                  </a:lnTo>
                  <a:lnTo>
                    <a:pt x="1451" y="217"/>
                  </a:lnTo>
                  <a:lnTo>
                    <a:pt x="1451" y="217"/>
                  </a:lnTo>
                  <a:lnTo>
                    <a:pt x="1451" y="228"/>
                  </a:lnTo>
                  <a:lnTo>
                    <a:pt x="1451" y="228"/>
                  </a:lnTo>
                  <a:lnTo>
                    <a:pt x="1451" y="252"/>
                  </a:lnTo>
                  <a:lnTo>
                    <a:pt x="1451" y="252"/>
                  </a:lnTo>
                  <a:lnTo>
                    <a:pt x="1451" y="275"/>
                  </a:lnTo>
                  <a:lnTo>
                    <a:pt x="1451" y="275"/>
                  </a:lnTo>
                  <a:lnTo>
                    <a:pt x="1451" y="287"/>
                  </a:lnTo>
                  <a:lnTo>
                    <a:pt x="1451" y="287"/>
                  </a:lnTo>
                  <a:lnTo>
                    <a:pt x="1451" y="311"/>
                  </a:lnTo>
                  <a:lnTo>
                    <a:pt x="1451" y="311"/>
                  </a:lnTo>
                  <a:lnTo>
                    <a:pt x="1451" y="323"/>
                  </a:lnTo>
                  <a:lnTo>
                    <a:pt x="1451" y="323"/>
                  </a:lnTo>
                  <a:lnTo>
                    <a:pt x="1451" y="334"/>
                  </a:lnTo>
                  <a:lnTo>
                    <a:pt x="1451" y="334"/>
                  </a:lnTo>
                  <a:lnTo>
                    <a:pt x="1451" y="341"/>
                  </a:lnTo>
                  <a:lnTo>
                    <a:pt x="1451" y="346"/>
                  </a:lnTo>
                  <a:lnTo>
                    <a:pt x="1451" y="346"/>
                  </a:lnTo>
                  <a:lnTo>
                    <a:pt x="1449" y="346"/>
                  </a:lnTo>
                  <a:lnTo>
                    <a:pt x="1446" y="346"/>
                  </a:lnTo>
                  <a:lnTo>
                    <a:pt x="1439" y="346"/>
                  </a:lnTo>
                  <a:lnTo>
                    <a:pt x="1439" y="346"/>
                  </a:lnTo>
                  <a:lnTo>
                    <a:pt x="1439" y="353"/>
                  </a:lnTo>
                  <a:lnTo>
                    <a:pt x="1439" y="356"/>
                  </a:lnTo>
                  <a:lnTo>
                    <a:pt x="1439" y="358"/>
                  </a:lnTo>
                  <a:lnTo>
                    <a:pt x="1439" y="358"/>
                  </a:lnTo>
                  <a:lnTo>
                    <a:pt x="1435" y="358"/>
                  </a:lnTo>
                  <a:lnTo>
                    <a:pt x="1427" y="358"/>
                  </a:lnTo>
                  <a:lnTo>
                    <a:pt x="1427" y="358"/>
                  </a:lnTo>
                  <a:lnTo>
                    <a:pt x="1420" y="358"/>
                  </a:lnTo>
                  <a:lnTo>
                    <a:pt x="1416" y="358"/>
                  </a:lnTo>
                  <a:lnTo>
                    <a:pt x="1416" y="358"/>
                  </a:lnTo>
                  <a:lnTo>
                    <a:pt x="1416" y="353"/>
                  </a:lnTo>
                  <a:lnTo>
                    <a:pt x="1416" y="346"/>
                  </a:lnTo>
                  <a:lnTo>
                    <a:pt x="1416" y="346"/>
                  </a:lnTo>
                  <a:lnTo>
                    <a:pt x="1416" y="334"/>
                  </a:lnTo>
                  <a:lnTo>
                    <a:pt x="1416" y="334"/>
                  </a:lnTo>
                  <a:lnTo>
                    <a:pt x="1416" y="323"/>
                  </a:lnTo>
                  <a:lnTo>
                    <a:pt x="1416" y="323"/>
                  </a:lnTo>
                  <a:lnTo>
                    <a:pt x="1392" y="323"/>
                  </a:lnTo>
                  <a:lnTo>
                    <a:pt x="1392" y="323"/>
                  </a:lnTo>
                  <a:lnTo>
                    <a:pt x="1380" y="323"/>
                  </a:lnTo>
                  <a:lnTo>
                    <a:pt x="1380" y="323"/>
                  </a:lnTo>
                  <a:lnTo>
                    <a:pt x="1357" y="323"/>
                  </a:lnTo>
                  <a:lnTo>
                    <a:pt x="1357" y="323"/>
                  </a:lnTo>
                  <a:lnTo>
                    <a:pt x="1357" y="311"/>
                  </a:lnTo>
                  <a:lnTo>
                    <a:pt x="1357" y="311"/>
                  </a:lnTo>
                  <a:lnTo>
                    <a:pt x="1357" y="299"/>
                  </a:lnTo>
                  <a:lnTo>
                    <a:pt x="1357" y="299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64"/>
                  </a:lnTo>
                  <a:lnTo>
                    <a:pt x="1357" y="264"/>
                  </a:lnTo>
                  <a:lnTo>
                    <a:pt x="1357" y="240"/>
                  </a:lnTo>
                  <a:lnTo>
                    <a:pt x="1357" y="240"/>
                  </a:lnTo>
                  <a:lnTo>
                    <a:pt x="1357" y="228"/>
                  </a:lnTo>
                  <a:lnTo>
                    <a:pt x="1357" y="228"/>
                  </a:lnTo>
                  <a:lnTo>
                    <a:pt x="1357" y="202"/>
                  </a:lnTo>
                  <a:lnTo>
                    <a:pt x="1357" y="202"/>
                  </a:lnTo>
                  <a:lnTo>
                    <a:pt x="1357" y="191"/>
                  </a:lnTo>
                  <a:lnTo>
                    <a:pt x="1357" y="191"/>
                  </a:lnTo>
                  <a:lnTo>
                    <a:pt x="1357" y="167"/>
                  </a:lnTo>
                  <a:lnTo>
                    <a:pt x="1357" y="167"/>
                  </a:lnTo>
                  <a:lnTo>
                    <a:pt x="1357" y="144"/>
                  </a:lnTo>
                  <a:lnTo>
                    <a:pt x="1357" y="144"/>
                  </a:lnTo>
                  <a:lnTo>
                    <a:pt x="1357" y="132"/>
                  </a:lnTo>
                  <a:lnTo>
                    <a:pt x="1357" y="132"/>
                  </a:lnTo>
                  <a:lnTo>
                    <a:pt x="1357" y="108"/>
                  </a:lnTo>
                  <a:lnTo>
                    <a:pt x="1357" y="108"/>
                  </a:lnTo>
                  <a:lnTo>
                    <a:pt x="1357" y="85"/>
                  </a:lnTo>
                  <a:lnTo>
                    <a:pt x="1357" y="85"/>
                  </a:lnTo>
                  <a:lnTo>
                    <a:pt x="1345" y="85"/>
                  </a:lnTo>
                  <a:lnTo>
                    <a:pt x="1345" y="85"/>
                  </a:lnTo>
                  <a:lnTo>
                    <a:pt x="1321" y="85"/>
                  </a:lnTo>
                  <a:lnTo>
                    <a:pt x="1321" y="85"/>
                  </a:lnTo>
                  <a:lnTo>
                    <a:pt x="1321" y="78"/>
                  </a:lnTo>
                  <a:lnTo>
                    <a:pt x="1321" y="75"/>
                  </a:lnTo>
                  <a:lnTo>
                    <a:pt x="1321" y="73"/>
                  </a:lnTo>
                  <a:lnTo>
                    <a:pt x="1321" y="73"/>
                  </a:lnTo>
                  <a:lnTo>
                    <a:pt x="1314" y="73"/>
                  </a:lnTo>
                  <a:lnTo>
                    <a:pt x="1310" y="73"/>
                  </a:lnTo>
                  <a:lnTo>
                    <a:pt x="1310" y="73"/>
                  </a:lnTo>
                  <a:lnTo>
                    <a:pt x="1303" y="73"/>
                  </a:lnTo>
                  <a:lnTo>
                    <a:pt x="1298" y="73"/>
                  </a:lnTo>
                  <a:lnTo>
                    <a:pt x="1298" y="73"/>
                  </a:lnTo>
                  <a:lnTo>
                    <a:pt x="1296" y="68"/>
                  </a:lnTo>
                  <a:lnTo>
                    <a:pt x="1298" y="61"/>
                  </a:lnTo>
                  <a:lnTo>
                    <a:pt x="1298" y="61"/>
                  </a:lnTo>
                  <a:lnTo>
                    <a:pt x="1284" y="61"/>
                  </a:lnTo>
                  <a:lnTo>
                    <a:pt x="1284" y="61"/>
                  </a:lnTo>
                  <a:lnTo>
                    <a:pt x="1272" y="61"/>
                  </a:lnTo>
                  <a:lnTo>
                    <a:pt x="1272" y="61"/>
                  </a:lnTo>
                  <a:lnTo>
                    <a:pt x="1260" y="61"/>
                  </a:lnTo>
                  <a:lnTo>
                    <a:pt x="1260" y="61"/>
                  </a:lnTo>
                  <a:lnTo>
                    <a:pt x="1248" y="61"/>
                  </a:lnTo>
                  <a:lnTo>
                    <a:pt x="1248" y="61"/>
                  </a:lnTo>
                  <a:lnTo>
                    <a:pt x="1244" y="61"/>
                  </a:lnTo>
                  <a:lnTo>
                    <a:pt x="1237" y="61"/>
                  </a:lnTo>
                  <a:lnTo>
                    <a:pt x="1237" y="61"/>
                  </a:lnTo>
                  <a:lnTo>
                    <a:pt x="1232" y="61"/>
                  </a:lnTo>
                  <a:lnTo>
                    <a:pt x="1225" y="61"/>
                  </a:lnTo>
                  <a:lnTo>
                    <a:pt x="1225" y="61"/>
                  </a:lnTo>
                  <a:lnTo>
                    <a:pt x="1225" y="63"/>
                  </a:lnTo>
                  <a:lnTo>
                    <a:pt x="1225" y="66"/>
                  </a:lnTo>
                  <a:lnTo>
                    <a:pt x="1225" y="70"/>
                  </a:lnTo>
                  <a:lnTo>
                    <a:pt x="1225" y="73"/>
                  </a:lnTo>
                  <a:lnTo>
                    <a:pt x="1225" y="73"/>
                  </a:lnTo>
                  <a:lnTo>
                    <a:pt x="1222" y="73"/>
                  </a:lnTo>
                  <a:lnTo>
                    <a:pt x="1220" y="73"/>
                  </a:lnTo>
                  <a:lnTo>
                    <a:pt x="1213" y="73"/>
                  </a:lnTo>
                  <a:lnTo>
                    <a:pt x="1213" y="73"/>
                  </a:lnTo>
                  <a:lnTo>
                    <a:pt x="1213" y="75"/>
                  </a:lnTo>
                  <a:lnTo>
                    <a:pt x="1213" y="78"/>
                  </a:lnTo>
                  <a:lnTo>
                    <a:pt x="1213" y="85"/>
                  </a:lnTo>
                  <a:lnTo>
                    <a:pt x="1213" y="85"/>
                  </a:lnTo>
                  <a:lnTo>
                    <a:pt x="1211" y="85"/>
                  </a:lnTo>
                  <a:lnTo>
                    <a:pt x="1208" y="85"/>
                  </a:lnTo>
                  <a:lnTo>
                    <a:pt x="1204" y="85"/>
                  </a:lnTo>
                  <a:lnTo>
                    <a:pt x="1201" y="85"/>
                  </a:lnTo>
                  <a:lnTo>
                    <a:pt x="1201" y="85"/>
                  </a:lnTo>
                  <a:lnTo>
                    <a:pt x="1201" y="87"/>
                  </a:lnTo>
                  <a:lnTo>
                    <a:pt x="1201" y="89"/>
                  </a:lnTo>
                  <a:lnTo>
                    <a:pt x="1201" y="96"/>
                  </a:lnTo>
                  <a:lnTo>
                    <a:pt x="1201" y="96"/>
                  </a:lnTo>
                  <a:lnTo>
                    <a:pt x="1199" y="96"/>
                  </a:lnTo>
                  <a:lnTo>
                    <a:pt x="1197" y="96"/>
                  </a:lnTo>
                  <a:lnTo>
                    <a:pt x="1189" y="96"/>
                  </a:lnTo>
                  <a:lnTo>
                    <a:pt x="1189" y="96"/>
                  </a:lnTo>
                  <a:lnTo>
                    <a:pt x="1189" y="99"/>
                  </a:lnTo>
                  <a:lnTo>
                    <a:pt x="1189" y="103"/>
                  </a:lnTo>
                  <a:lnTo>
                    <a:pt x="1189" y="106"/>
                  </a:lnTo>
                  <a:lnTo>
                    <a:pt x="1189" y="108"/>
                  </a:lnTo>
                  <a:lnTo>
                    <a:pt x="1189" y="108"/>
                  </a:lnTo>
                  <a:lnTo>
                    <a:pt x="1187" y="108"/>
                  </a:lnTo>
                  <a:lnTo>
                    <a:pt x="1185" y="108"/>
                  </a:lnTo>
                  <a:lnTo>
                    <a:pt x="1178" y="108"/>
                  </a:lnTo>
                  <a:lnTo>
                    <a:pt x="1178" y="108"/>
                  </a:lnTo>
                  <a:lnTo>
                    <a:pt x="1178" y="111"/>
                  </a:lnTo>
                  <a:lnTo>
                    <a:pt x="1178" y="115"/>
                  </a:lnTo>
                  <a:lnTo>
                    <a:pt x="1178" y="120"/>
                  </a:lnTo>
                  <a:lnTo>
                    <a:pt x="1178" y="120"/>
                  </a:lnTo>
                  <a:lnTo>
                    <a:pt x="1175" y="120"/>
                  </a:lnTo>
                  <a:lnTo>
                    <a:pt x="1173" y="120"/>
                  </a:lnTo>
                  <a:lnTo>
                    <a:pt x="1166" y="120"/>
                  </a:lnTo>
                  <a:lnTo>
                    <a:pt x="1166" y="120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55"/>
                  </a:lnTo>
                  <a:lnTo>
                    <a:pt x="1166" y="155"/>
                  </a:lnTo>
                  <a:lnTo>
                    <a:pt x="1166" y="167"/>
                  </a:lnTo>
                  <a:lnTo>
                    <a:pt x="1166" y="167"/>
                  </a:lnTo>
                  <a:lnTo>
                    <a:pt x="1166" y="191"/>
                  </a:lnTo>
                  <a:lnTo>
                    <a:pt x="1166" y="191"/>
                  </a:lnTo>
                  <a:lnTo>
                    <a:pt x="1166" y="202"/>
                  </a:lnTo>
                  <a:lnTo>
                    <a:pt x="1166" y="202"/>
                  </a:lnTo>
                  <a:lnTo>
                    <a:pt x="1166" y="228"/>
                  </a:lnTo>
                  <a:lnTo>
                    <a:pt x="1166" y="228"/>
                  </a:lnTo>
                  <a:lnTo>
                    <a:pt x="1166" y="240"/>
                  </a:lnTo>
                  <a:lnTo>
                    <a:pt x="1166" y="240"/>
                  </a:lnTo>
                  <a:lnTo>
                    <a:pt x="1166" y="264"/>
                  </a:lnTo>
                  <a:lnTo>
                    <a:pt x="1166" y="264"/>
                  </a:lnTo>
                  <a:lnTo>
                    <a:pt x="1166" y="275"/>
                  </a:lnTo>
                  <a:lnTo>
                    <a:pt x="1166" y="275"/>
                  </a:lnTo>
                  <a:lnTo>
                    <a:pt x="1166" y="299"/>
                  </a:lnTo>
                  <a:lnTo>
                    <a:pt x="1166" y="299"/>
                  </a:lnTo>
                  <a:lnTo>
                    <a:pt x="1159" y="299"/>
                  </a:lnTo>
                  <a:lnTo>
                    <a:pt x="1154" y="299"/>
                  </a:lnTo>
                  <a:lnTo>
                    <a:pt x="1154" y="299"/>
                  </a:lnTo>
                  <a:lnTo>
                    <a:pt x="1147" y="299"/>
                  </a:lnTo>
                  <a:lnTo>
                    <a:pt x="1142" y="299"/>
                  </a:lnTo>
                  <a:lnTo>
                    <a:pt x="1142" y="299"/>
                  </a:lnTo>
                  <a:lnTo>
                    <a:pt x="1142" y="297"/>
                  </a:lnTo>
                  <a:lnTo>
                    <a:pt x="1142" y="292"/>
                  </a:lnTo>
                  <a:lnTo>
                    <a:pt x="1142" y="287"/>
                  </a:lnTo>
                  <a:lnTo>
                    <a:pt x="1142" y="287"/>
                  </a:lnTo>
                  <a:lnTo>
                    <a:pt x="1135" y="287"/>
                  </a:lnTo>
                  <a:lnTo>
                    <a:pt x="1131" y="287"/>
                  </a:lnTo>
                  <a:lnTo>
                    <a:pt x="1131" y="287"/>
                  </a:lnTo>
                  <a:lnTo>
                    <a:pt x="1119" y="287"/>
                  </a:lnTo>
                  <a:lnTo>
                    <a:pt x="1119" y="287"/>
                  </a:lnTo>
                  <a:lnTo>
                    <a:pt x="1107" y="287"/>
                  </a:lnTo>
                  <a:lnTo>
                    <a:pt x="1107" y="287"/>
                  </a:lnTo>
                  <a:lnTo>
                    <a:pt x="1083" y="287"/>
                  </a:lnTo>
                  <a:lnTo>
                    <a:pt x="1083" y="287"/>
                  </a:lnTo>
                  <a:lnTo>
                    <a:pt x="1060" y="287"/>
                  </a:lnTo>
                  <a:lnTo>
                    <a:pt x="1060" y="287"/>
                  </a:lnTo>
                  <a:lnTo>
                    <a:pt x="1053" y="287"/>
                  </a:lnTo>
                  <a:lnTo>
                    <a:pt x="1048" y="287"/>
                  </a:lnTo>
                  <a:lnTo>
                    <a:pt x="1046" y="287"/>
                  </a:lnTo>
                  <a:lnTo>
                    <a:pt x="1046" y="287"/>
                  </a:lnTo>
                  <a:lnTo>
                    <a:pt x="1046" y="290"/>
                  </a:lnTo>
                  <a:lnTo>
                    <a:pt x="1046" y="292"/>
                  </a:lnTo>
                  <a:lnTo>
                    <a:pt x="1046" y="299"/>
                  </a:lnTo>
                  <a:lnTo>
                    <a:pt x="1046" y="299"/>
                  </a:lnTo>
                  <a:lnTo>
                    <a:pt x="1048" y="304"/>
                  </a:lnTo>
                  <a:lnTo>
                    <a:pt x="1048" y="308"/>
                  </a:lnTo>
                  <a:lnTo>
                    <a:pt x="1046" y="311"/>
                  </a:lnTo>
                  <a:lnTo>
                    <a:pt x="1046" y="311"/>
                  </a:lnTo>
                  <a:lnTo>
                    <a:pt x="1043" y="311"/>
                  </a:lnTo>
                  <a:lnTo>
                    <a:pt x="1041" y="311"/>
                  </a:lnTo>
                  <a:lnTo>
                    <a:pt x="1034" y="311"/>
                  </a:lnTo>
                  <a:lnTo>
                    <a:pt x="1034" y="311"/>
                  </a:lnTo>
                  <a:lnTo>
                    <a:pt x="1029" y="311"/>
                  </a:lnTo>
                  <a:lnTo>
                    <a:pt x="1022" y="311"/>
                  </a:lnTo>
                  <a:lnTo>
                    <a:pt x="1022" y="311"/>
                  </a:lnTo>
                  <a:lnTo>
                    <a:pt x="1017" y="311"/>
                  </a:lnTo>
                  <a:lnTo>
                    <a:pt x="1010" y="311"/>
                  </a:lnTo>
                  <a:lnTo>
                    <a:pt x="1010" y="311"/>
                  </a:lnTo>
                  <a:lnTo>
                    <a:pt x="1010" y="316"/>
                  </a:lnTo>
                  <a:lnTo>
                    <a:pt x="1010" y="323"/>
                  </a:lnTo>
                  <a:lnTo>
                    <a:pt x="1010" y="323"/>
                  </a:lnTo>
                  <a:lnTo>
                    <a:pt x="1008" y="323"/>
                  </a:lnTo>
                  <a:lnTo>
                    <a:pt x="1006" y="323"/>
                  </a:lnTo>
                  <a:lnTo>
                    <a:pt x="999" y="323"/>
                  </a:lnTo>
                  <a:lnTo>
                    <a:pt x="999" y="323"/>
                  </a:lnTo>
                  <a:lnTo>
                    <a:pt x="975" y="323"/>
                  </a:lnTo>
                  <a:lnTo>
                    <a:pt x="975" y="323"/>
                  </a:lnTo>
                  <a:lnTo>
                    <a:pt x="975" y="275"/>
                  </a:lnTo>
                  <a:lnTo>
                    <a:pt x="975" y="275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0" y="252"/>
                  </a:lnTo>
                  <a:lnTo>
                    <a:pt x="966" y="252"/>
                  </a:lnTo>
                  <a:lnTo>
                    <a:pt x="963" y="252"/>
                  </a:lnTo>
                  <a:lnTo>
                    <a:pt x="963" y="252"/>
                  </a:lnTo>
                  <a:lnTo>
                    <a:pt x="963" y="240"/>
                  </a:lnTo>
                  <a:lnTo>
                    <a:pt x="963" y="240"/>
                  </a:lnTo>
                  <a:lnTo>
                    <a:pt x="963" y="228"/>
                  </a:lnTo>
                  <a:lnTo>
                    <a:pt x="963" y="228"/>
                  </a:lnTo>
                  <a:lnTo>
                    <a:pt x="963" y="217"/>
                  </a:lnTo>
                  <a:lnTo>
                    <a:pt x="963" y="217"/>
                  </a:lnTo>
                  <a:lnTo>
                    <a:pt x="963" y="202"/>
                  </a:lnTo>
                  <a:lnTo>
                    <a:pt x="963" y="202"/>
                  </a:lnTo>
                  <a:lnTo>
                    <a:pt x="963" y="179"/>
                  </a:lnTo>
                  <a:lnTo>
                    <a:pt x="963" y="179"/>
                  </a:lnTo>
                  <a:lnTo>
                    <a:pt x="959" y="179"/>
                  </a:lnTo>
                  <a:lnTo>
                    <a:pt x="951" y="179"/>
                  </a:lnTo>
                  <a:lnTo>
                    <a:pt x="951" y="179"/>
                  </a:lnTo>
                  <a:lnTo>
                    <a:pt x="951" y="167"/>
                  </a:lnTo>
                  <a:lnTo>
                    <a:pt x="951" y="167"/>
                  </a:lnTo>
                  <a:lnTo>
                    <a:pt x="951" y="155"/>
                  </a:lnTo>
                  <a:lnTo>
                    <a:pt x="951" y="155"/>
                  </a:lnTo>
                  <a:lnTo>
                    <a:pt x="904" y="155"/>
                  </a:lnTo>
                  <a:lnTo>
                    <a:pt x="904" y="155"/>
                  </a:lnTo>
                  <a:lnTo>
                    <a:pt x="881" y="155"/>
                  </a:lnTo>
                  <a:lnTo>
                    <a:pt x="881" y="155"/>
                  </a:lnTo>
                  <a:lnTo>
                    <a:pt x="881" y="132"/>
                  </a:lnTo>
                  <a:lnTo>
                    <a:pt x="881" y="132"/>
                  </a:lnTo>
                  <a:lnTo>
                    <a:pt x="874" y="132"/>
                  </a:lnTo>
                  <a:lnTo>
                    <a:pt x="871" y="132"/>
                  </a:lnTo>
                  <a:lnTo>
                    <a:pt x="869" y="132"/>
                  </a:lnTo>
                  <a:lnTo>
                    <a:pt x="869" y="132"/>
                  </a:lnTo>
                  <a:lnTo>
                    <a:pt x="869" y="127"/>
                  </a:lnTo>
                  <a:lnTo>
                    <a:pt x="869" y="120"/>
                  </a:lnTo>
                  <a:lnTo>
                    <a:pt x="869" y="120"/>
                  </a:lnTo>
                  <a:lnTo>
                    <a:pt x="869" y="108"/>
                  </a:lnTo>
                  <a:lnTo>
                    <a:pt x="869" y="108"/>
                  </a:lnTo>
                  <a:lnTo>
                    <a:pt x="869" y="96"/>
                  </a:lnTo>
                  <a:lnTo>
                    <a:pt x="869" y="96"/>
                  </a:lnTo>
                  <a:lnTo>
                    <a:pt x="857" y="96"/>
                  </a:lnTo>
                  <a:lnTo>
                    <a:pt x="857" y="96"/>
                  </a:lnTo>
                  <a:lnTo>
                    <a:pt x="845" y="96"/>
                  </a:lnTo>
                  <a:lnTo>
                    <a:pt x="845" y="96"/>
                  </a:lnTo>
                  <a:lnTo>
                    <a:pt x="838" y="96"/>
                  </a:lnTo>
                  <a:lnTo>
                    <a:pt x="834" y="96"/>
                  </a:lnTo>
                  <a:lnTo>
                    <a:pt x="834" y="96"/>
                  </a:lnTo>
                  <a:lnTo>
                    <a:pt x="831" y="99"/>
                  </a:lnTo>
                  <a:lnTo>
                    <a:pt x="834" y="101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27" y="108"/>
                  </a:lnTo>
                  <a:lnTo>
                    <a:pt x="824" y="108"/>
                  </a:lnTo>
                  <a:lnTo>
                    <a:pt x="822" y="108"/>
                  </a:lnTo>
                  <a:lnTo>
                    <a:pt x="822" y="108"/>
                  </a:lnTo>
                  <a:lnTo>
                    <a:pt x="820" y="111"/>
                  </a:lnTo>
                  <a:lnTo>
                    <a:pt x="822" y="115"/>
                  </a:lnTo>
                  <a:lnTo>
                    <a:pt x="822" y="118"/>
                  </a:lnTo>
                  <a:lnTo>
                    <a:pt x="822" y="120"/>
                  </a:lnTo>
                  <a:lnTo>
                    <a:pt x="822" y="120"/>
                  </a:lnTo>
                  <a:lnTo>
                    <a:pt x="820" y="120"/>
                  </a:lnTo>
                  <a:lnTo>
                    <a:pt x="815" y="120"/>
                  </a:lnTo>
                  <a:lnTo>
                    <a:pt x="812" y="120"/>
                  </a:lnTo>
                  <a:lnTo>
                    <a:pt x="810" y="120"/>
                  </a:lnTo>
                  <a:lnTo>
                    <a:pt x="810" y="120"/>
                  </a:lnTo>
                  <a:lnTo>
                    <a:pt x="808" y="122"/>
                  </a:lnTo>
                  <a:lnTo>
                    <a:pt x="808" y="127"/>
                  </a:lnTo>
                  <a:lnTo>
                    <a:pt x="810" y="132"/>
                  </a:lnTo>
                  <a:lnTo>
                    <a:pt x="810" y="132"/>
                  </a:lnTo>
                  <a:lnTo>
                    <a:pt x="803" y="132"/>
                  </a:lnTo>
                  <a:lnTo>
                    <a:pt x="796" y="132"/>
                  </a:lnTo>
                  <a:lnTo>
                    <a:pt x="796" y="132"/>
                  </a:lnTo>
                  <a:lnTo>
                    <a:pt x="796" y="139"/>
                  </a:lnTo>
                  <a:lnTo>
                    <a:pt x="796" y="144"/>
                  </a:lnTo>
                  <a:lnTo>
                    <a:pt x="796" y="144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6" y="167"/>
                  </a:lnTo>
                  <a:lnTo>
                    <a:pt x="796" y="167"/>
                  </a:lnTo>
                  <a:lnTo>
                    <a:pt x="796" y="217"/>
                  </a:lnTo>
                  <a:lnTo>
                    <a:pt x="796" y="217"/>
                  </a:lnTo>
                  <a:lnTo>
                    <a:pt x="784" y="217"/>
                  </a:lnTo>
                  <a:lnTo>
                    <a:pt x="784" y="217"/>
                  </a:lnTo>
                  <a:lnTo>
                    <a:pt x="761" y="217"/>
                  </a:lnTo>
                  <a:lnTo>
                    <a:pt x="761" y="217"/>
                  </a:lnTo>
                  <a:lnTo>
                    <a:pt x="761" y="264"/>
                  </a:lnTo>
                  <a:lnTo>
                    <a:pt x="761" y="264"/>
                  </a:lnTo>
                  <a:lnTo>
                    <a:pt x="761" y="311"/>
                  </a:lnTo>
                  <a:lnTo>
                    <a:pt x="761" y="311"/>
                  </a:lnTo>
                  <a:lnTo>
                    <a:pt x="749" y="311"/>
                  </a:lnTo>
                  <a:lnTo>
                    <a:pt x="749" y="311"/>
                  </a:lnTo>
                  <a:lnTo>
                    <a:pt x="744" y="311"/>
                  </a:lnTo>
                  <a:lnTo>
                    <a:pt x="737" y="311"/>
                  </a:lnTo>
                  <a:lnTo>
                    <a:pt x="737" y="311"/>
                  </a:lnTo>
                  <a:lnTo>
                    <a:pt x="737" y="304"/>
                  </a:lnTo>
                  <a:lnTo>
                    <a:pt x="737" y="299"/>
                  </a:lnTo>
                  <a:lnTo>
                    <a:pt x="737" y="299"/>
                  </a:lnTo>
                  <a:lnTo>
                    <a:pt x="737" y="287"/>
                  </a:lnTo>
                  <a:lnTo>
                    <a:pt x="737" y="287"/>
                  </a:lnTo>
                  <a:lnTo>
                    <a:pt x="737" y="275"/>
                  </a:lnTo>
                  <a:lnTo>
                    <a:pt x="737" y="275"/>
                  </a:lnTo>
                  <a:lnTo>
                    <a:pt x="737" y="252"/>
                  </a:lnTo>
                  <a:lnTo>
                    <a:pt x="737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78" y="252"/>
                  </a:lnTo>
                  <a:lnTo>
                    <a:pt x="678" y="252"/>
                  </a:lnTo>
                  <a:lnTo>
                    <a:pt x="655" y="252"/>
                  </a:lnTo>
                  <a:lnTo>
                    <a:pt x="655" y="252"/>
                  </a:lnTo>
                  <a:lnTo>
                    <a:pt x="655" y="202"/>
                  </a:lnTo>
                  <a:lnTo>
                    <a:pt x="655" y="202"/>
                  </a:lnTo>
                  <a:lnTo>
                    <a:pt x="655" y="155"/>
                  </a:lnTo>
                  <a:lnTo>
                    <a:pt x="655" y="155"/>
                  </a:lnTo>
                  <a:lnTo>
                    <a:pt x="655" y="144"/>
                  </a:lnTo>
                  <a:lnTo>
                    <a:pt x="655" y="144"/>
                  </a:lnTo>
                  <a:lnTo>
                    <a:pt x="648" y="144"/>
                  </a:lnTo>
                  <a:lnTo>
                    <a:pt x="645" y="144"/>
                  </a:lnTo>
                  <a:lnTo>
                    <a:pt x="643" y="144"/>
                  </a:lnTo>
                  <a:lnTo>
                    <a:pt x="643" y="144"/>
                  </a:lnTo>
                  <a:lnTo>
                    <a:pt x="643" y="141"/>
                  </a:lnTo>
                  <a:lnTo>
                    <a:pt x="643" y="139"/>
                  </a:lnTo>
                  <a:lnTo>
                    <a:pt x="643" y="132"/>
                  </a:lnTo>
                  <a:lnTo>
                    <a:pt x="643" y="132"/>
                  </a:lnTo>
                  <a:lnTo>
                    <a:pt x="643" y="127"/>
                  </a:lnTo>
                  <a:lnTo>
                    <a:pt x="643" y="120"/>
                  </a:lnTo>
                  <a:lnTo>
                    <a:pt x="643" y="120"/>
                  </a:lnTo>
                  <a:lnTo>
                    <a:pt x="640" y="120"/>
                  </a:lnTo>
                  <a:lnTo>
                    <a:pt x="636" y="120"/>
                  </a:lnTo>
                  <a:lnTo>
                    <a:pt x="631" y="120"/>
                  </a:lnTo>
                  <a:lnTo>
                    <a:pt x="631" y="120"/>
                  </a:lnTo>
                  <a:lnTo>
                    <a:pt x="631" y="118"/>
                  </a:lnTo>
                  <a:lnTo>
                    <a:pt x="631" y="115"/>
                  </a:lnTo>
                  <a:lnTo>
                    <a:pt x="631" y="108"/>
                  </a:lnTo>
                  <a:lnTo>
                    <a:pt x="631" y="108"/>
                  </a:lnTo>
                  <a:lnTo>
                    <a:pt x="631" y="96"/>
                  </a:lnTo>
                  <a:lnTo>
                    <a:pt x="631" y="96"/>
                  </a:lnTo>
                  <a:lnTo>
                    <a:pt x="631" y="73"/>
                  </a:lnTo>
                  <a:lnTo>
                    <a:pt x="631" y="73"/>
                  </a:lnTo>
                  <a:lnTo>
                    <a:pt x="631" y="49"/>
                  </a:lnTo>
                  <a:lnTo>
                    <a:pt x="631" y="49"/>
                  </a:lnTo>
                  <a:lnTo>
                    <a:pt x="607" y="49"/>
                  </a:lnTo>
                  <a:lnTo>
                    <a:pt x="607" y="49"/>
                  </a:lnTo>
                  <a:lnTo>
                    <a:pt x="607" y="73"/>
                  </a:lnTo>
                  <a:lnTo>
                    <a:pt x="607" y="73"/>
                  </a:lnTo>
                  <a:lnTo>
                    <a:pt x="607" y="120"/>
                  </a:lnTo>
                  <a:lnTo>
                    <a:pt x="607" y="120"/>
                  </a:lnTo>
                  <a:lnTo>
                    <a:pt x="600" y="120"/>
                  </a:lnTo>
                  <a:lnTo>
                    <a:pt x="596" y="120"/>
                  </a:lnTo>
                  <a:lnTo>
                    <a:pt x="596" y="120"/>
                  </a:lnTo>
                  <a:lnTo>
                    <a:pt x="593" y="118"/>
                  </a:lnTo>
                  <a:lnTo>
                    <a:pt x="596" y="115"/>
                  </a:lnTo>
                  <a:lnTo>
                    <a:pt x="596" y="108"/>
                  </a:lnTo>
                  <a:lnTo>
                    <a:pt x="596" y="108"/>
                  </a:lnTo>
                  <a:lnTo>
                    <a:pt x="584" y="108"/>
                  </a:lnTo>
                  <a:lnTo>
                    <a:pt x="584" y="108"/>
                  </a:lnTo>
                  <a:lnTo>
                    <a:pt x="572" y="108"/>
                  </a:lnTo>
                  <a:lnTo>
                    <a:pt x="572" y="108"/>
                  </a:lnTo>
                  <a:lnTo>
                    <a:pt x="523" y="108"/>
                  </a:lnTo>
                  <a:lnTo>
                    <a:pt x="523" y="108"/>
                  </a:lnTo>
                  <a:lnTo>
                    <a:pt x="523" y="120"/>
                  </a:lnTo>
                  <a:lnTo>
                    <a:pt x="523" y="120"/>
                  </a:lnTo>
                  <a:lnTo>
                    <a:pt x="525" y="127"/>
                  </a:lnTo>
                  <a:lnTo>
                    <a:pt x="523" y="132"/>
                  </a:lnTo>
                  <a:lnTo>
                    <a:pt x="523" y="132"/>
                  </a:lnTo>
                  <a:lnTo>
                    <a:pt x="520" y="132"/>
                  </a:lnTo>
                  <a:lnTo>
                    <a:pt x="518" y="132"/>
                  </a:lnTo>
                  <a:lnTo>
                    <a:pt x="513" y="132"/>
                  </a:lnTo>
                  <a:lnTo>
                    <a:pt x="511" y="132"/>
                  </a:lnTo>
                  <a:lnTo>
                    <a:pt x="511" y="132"/>
                  </a:lnTo>
                  <a:lnTo>
                    <a:pt x="511" y="134"/>
                  </a:lnTo>
                  <a:lnTo>
                    <a:pt x="511" y="139"/>
                  </a:lnTo>
                  <a:lnTo>
                    <a:pt x="511" y="144"/>
                  </a:lnTo>
                  <a:lnTo>
                    <a:pt x="511" y="144"/>
                  </a:lnTo>
                  <a:lnTo>
                    <a:pt x="499" y="144"/>
                  </a:lnTo>
                  <a:lnTo>
                    <a:pt x="499" y="144"/>
                  </a:lnTo>
                  <a:lnTo>
                    <a:pt x="487" y="144"/>
                  </a:lnTo>
                  <a:lnTo>
                    <a:pt x="487" y="144"/>
                  </a:lnTo>
                  <a:lnTo>
                    <a:pt x="487" y="155"/>
                  </a:lnTo>
                  <a:lnTo>
                    <a:pt x="487" y="155"/>
                  </a:lnTo>
                  <a:lnTo>
                    <a:pt x="487" y="162"/>
                  </a:lnTo>
                  <a:lnTo>
                    <a:pt x="487" y="167"/>
                  </a:lnTo>
                  <a:lnTo>
                    <a:pt x="487" y="167"/>
                  </a:lnTo>
                  <a:lnTo>
                    <a:pt x="494" y="167"/>
                  </a:lnTo>
                  <a:lnTo>
                    <a:pt x="499" y="167"/>
                  </a:lnTo>
                  <a:lnTo>
                    <a:pt x="499" y="167"/>
                  </a:lnTo>
                  <a:lnTo>
                    <a:pt x="501" y="169"/>
                  </a:lnTo>
                  <a:lnTo>
                    <a:pt x="499" y="174"/>
                  </a:lnTo>
                  <a:lnTo>
                    <a:pt x="499" y="179"/>
                  </a:lnTo>
                  <a:lnTo>
                    <a:pt x="499" y="179"/>
                  </a:lnTo>
                  <a:lnTo>
                    <a:pt x="499" y="191"/>
                  </a:lnTo>
                  <a:lnTo>
                    <a:pt x="499" y="191"/>
                  </a:lnTo>
                  <a:lnTo>
                    <a:pt x="499" y="202"/>
                  </a:lnTo>
                  <a:lnTo>
                    <a:pt x="499" y="202"/>
                  </a:lnTo>
                  <a:lnTo>
                    <a:pt x="499" y="209"/>
                  </a:lnTo>
                  <a:lnTo>
                    <a:pt x="499" y="217"/>
                  </a:lnTo>
                  <a:lnTo>
                    <a:pt x="499" y="217"/>
                  </a:lnTo>
                  <a:lnTo>
                    <a:pt x="497" y="217"/>
                  </a:lnTo>
                  <a:lnTo>
                    <a:pt x="494" y="217"/>
                  </a:lnTo>
                  <a:lnTo>
                    <a:pt x="487" y="217"/>
                  </a:lnTo>
                  <a:lnTo>
                    <a:pt x="487" y="217"/>
                  </a:lnTo>
                  <a:lnTo>
                    <a:pt x="487" y="209"/>
                  </a:lnTo>
                  <a:lnTo>
                    <a:pt x="487" y="205"/>
                  </a:lnTo>
                  <a:lnTo>
                    <a:pt x="487" y="202"/>
                  </a:lnTo>
                  <a:lnTo>
                    <a:pt x="487" y="202"/>
                  </a:lnTo>
                  <a:lnTo>
                    <a:pt x="483" y="202"/>
                  </a:lnTo>
                  <a:lnTo>
                    <a:pt x="476" y="202"/>
                  </a:lnTo>
                  <a:lnTo>
                    <a:pt x="476" y="202"/>
                  </a:lnTo>
                  <a:lnTo>
                    <a:pt x="476" y="198"/>
                  </a:lnTo>
                  <a:lnTo>
                    <a:pt x="476" y="191"/>
                  </a:lnTo>
                  <a:lnTo>
                    <a:pt x="476" y="191"/>
                  </a:lnTo>
                  <a:lnTo>
                    <a:pt x="476" y="179"/>
                  </a:lnTo>
                  <a:lnTo>
                    <a:pt x="476" y="179"/>
                  </a:lnTo>
                  <a:lnTo>
                    <a:pt x="476" y="167"/>
                  </a:lnTo>
                  <a:lnTo>
                    <a:pt x="476" y="167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20"/>
                  </a:lnTo>
                  <a:lnTo>
                    <a:pt x="476" y="120"/>
                  </a:lnTo>
                  <a:lnTo>
                    <a:pt x="471" y="120"/>
                  </a:lnTo>
                  <a:lnTo>
                    <a:pt x="464" y="120"/>
                  </a:lnTo>
                  <a:lnTo>
                    <a:pt x="464" y="120"/>
                  </a:lnTo>
                  <a:lnTo>
                    <a:pt x="464" y="118"/>
                  </a:lnTo>
                  <a:lnTo>
                    <a:pt x="464" y="115"/>
                  </a:lnTo>
                  <a:lnTo>
                    <a:pt x="464" y="108"/>
                  </a:lnTo>
                  <a:lnTo>
                    <a:pt x="464" y="108"/>
                  </a:lnTo>
                  <a:lnTo>
                    <a:pt x="457" y="108"/>
                  </a:lnTo>
                  <a:lnTo>
                    <a:pt x="452" y="108"/>
                  </a:lnTo>
                  <a:lnTo>
                    <a:pt x="452" y="108"/>
                  </a:lnTo>
                  <a:lnTo>
                    <a:pt x="452" y="103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78"/>
                  </a:lnTo>
                  <a:lnTo>
                    <a:pt x="452" y="73"/>
                  </a:lnTo>
                  <a:lnTo>
                    <a:pt x="452" y="73"/>
                  </a:lnTo>
                  <a:lnTo>
                    <a:pt x="450" y="73"/>
                  </a:lnTo>
                  <a:lnTo>
                    <a:pt x="447" y="73"/>
                  </a:lnTo>
                  <a:lnTo>
                    <a:pt x="440" y="73"/>
                  </a:lnTo>
                  <a:lnTo>
                    <a:pt x="440" y="73"/>
                  </a:lnTo>
                  <a:lnTo>
                    <a:pt x="440" y="49"/>
                  </a:lnTo>
                  <a:lnTo>
                    <a:pt x="440" y="49"/>
                  </a:lnTo>
                  <a:lnTo>
                    <a:pt x="440" y="37"/>
                  </a:lnTo>
                  <a:lnTo>
                    <a:pt x="440" y="37"/>
                  </a:lnTo>
                  <a:lnTo>
                    <a:pt x="440" y="26"/>
                  </a:lnTo>
                  <a:lnTo>
                    <a:pt x="440" y="26"/>
                  </a:lnTo>
                  <a:lnTo>
                    <a:pt x="440" y="14"/>
                  </a:lnTo>
                  <a:lnTo>
                    <a:pt x="440" y="14"/>
                  </a:lnTo>
                  <a:lnTo>
                    <a:pt x="440" y="7"/>
                  </a:lnTo>
                  <a:lnTo>
                    <a:pt x="440" y="2"/>
                  </a:lnTo>
                  <a:lnTo>
                    <a:pt x="440" y="2"/>
                  </a:lnTo>
                  <a:lnTo>
                    <a:pt x="438" y="0"/>
                  </a:lnTo>
                  <a:lnTo>
                    <a:pt x="435" y="2"/>
                  </a:lnTo>
                  <a:lnTo>
                    <a:pt x="428" y="2"/>
                  </a:lnTo>
                  <a:lnTo>
                    <a:pt x="428" y="2"/>
                  </a:lnTo>
                  <a:lnTo>
                    <a:pt x="428" y="14"/>
                  </a:lnTo>
                  <a:lnTo>
                    <a:pt x="428" y="14"/>
                  </a:lnTo>
                  <a:lnTo>
                    <a:pt x="428" y="26"/>
                  </a:lnTo>
                  <a:lnTo>
                    <a:pt x="428" y="26"/>
                  </a:lnTo>
                  <a:lnTo>
                    <a:pt x="428" y="37"/>
                  </a:lnTo>
                  <a:lnTo>
                    <a:pt x="428" y="37"/>
                  </a:lnTo>
                  <a:lnTo>
                    <a:pt x="428" y="42"/>
                  </a:lnTo>
                  <a:lnTo>
                    <a:pt x="428" y="49"/>
                  </a:lnTo>
                  <a:lnTo>
                    <a:pt x="428" y="49"/>
                  </a:lnTo>
                  <a:lnTo>
                    <a:pt x="421" y="49"/>
                  </a:lnTo>
                  <a:lnTo>
                    <a:pt x="417" y="49"/>
                  </a:lnTo>
                  <a:lnTo>
                    <a:pt x="417" y="49"/>
                  </a:lnTo>
                  <a:lnTo>
                    <a:pt x="417" y="54"/>
                  </a:lnTo>
                  <a:lnTo>
                    <a:pt x="417" y="61"/>
                  </a:lnTo>
                  <a:lnTo>
                    <a:pt x="417" y="61"/>
                  </a:lnTo>
                  <a:lnTo>
                    <a:pt x="417" y="66"/>
                  </a:lnTo>
                  <a:lnTo>
                    <a:pt x="417" y="73"/>
                  </a:lnTo>
                  <a:lnTo>
                    <a:pt x="417" y="73"/>
                  </a:lnTo>
                  <a:lnTo>
                    <a:pt x="410" y="73"/>
                  </a:lnTo>
                  <a:lnTo>
                    <a:pt x="405" y="73"/>
                  </a:lnTo>
                  <a:lnTo>
                    <a:pt x="405" y="73"/>
                  </a:lnTo>
                  <a:lnTo>
                    <a:pt x="405" y="75"/>
                  </a:lnTo>
                  <a:lnTo>
                    <a:pt x="405" y="78"/>
                  </a:lnTo>
                  <a:lnTo>
                    <a:pt x="405" y="85"/>
                  </a:lnTo>
                  <a:lnTo>
                    <a:pt x="405" y="85"/>
                  </a:lnTo>
                  <a:lnTo>
                    <a:pt x="405" y="108"/>
                  </a:lnTo>
                  <a:lnTo>
                    <a:pt x="405" y="108"/>
                  </a:lnTo>
                  <a:lnTo>
                    <a:pt x="393" y="108"/>
                  </a:lnTo>
                  <a:lnTo>
                    <a:pt x="393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0" y="191"/>
                  </a:lnTo>
                  <a:lnTo>
                    <a:pt x="370" y="191"/>
                  </a:lnTo>
                  <a:lnTo>
                    <a:pt x="370" y="198"/>
                  </a:lnTo>
                  <a:lnTo>
                    <a:pt x="370" y="202"/>
                  </a:lnTo>
                  <a:lnTo>
                    <a:pt x="370" y="202"/>
                  </a:lnTo>
                  <a:lnTo>
                    <a:pt x="362" y="205"/>
                  </a:lnTo>
                  <a:lnTo>
                    <a:pt x="358" y="202"/>
                  </a:lnTo>
                  <a:lnTo>
                    <a:pt x="358" y="20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1" y="252"/>
                  </a:lnTo>
                  <a:lnTo>
                    <a:pt x="346" y="252"/>
                  </a:lnTo>
                  <a:lnTo>
                    <a:pt x="346" y="252"/>
                  </a:lnTo>
                  <a:lnTo>
                    <a:pt x="344" y="245"/>
                  </a:lnTo>
                  <a:lnTo>
                    <a:pt x="346" y="240"/>
                  </a:lnTo>
                  <a:lnTo>
                    <a:pt x="346" y="240"/>
                  </a:lnTo>
                  <a:lnTo>
                    <a:pt x="346" y="228"/>
                  </a:lnTo>
                  <a:lnTo>
                    <a:pt x="346" y="228"/>
                  </a:lnTo>
                  <a:lnTo>
                    <a:pt x="346" y="202"/>
                  </a:lnTo>
                  <a:lnTo>
                    <a:pt x="346" y="202"/>
                  </a:lnTo>
                  <a:lnTo>
                    <a:pt x="346" y="179"/>
                  </a:lnTo>
                  <a:lnTo>
                    <a:pt x="346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4" y="181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4"/>
                  </a:lnTo>
                  <a:lnTo>
                    <a:pt x="296" y="167"/>
                  </a:lnTo>
                  <a:lnTo>
                    <a:pt x="296" y="167"/>
                  </a:lnTo>
                  <a:lnTo>
                    <a:pt x="296" y="144"/>
                  </a:lnTo>
                  <a:lnTo>
                    <a:pt x="296" y="144"/>
                  </a:lnTo>
                  <a:lnTo>
                    <a:pt x="273" y="144"/>
                  </a:lnTo>
                  <a:lnTo>
                    <a:pt x="273" y="144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38" y="144"/>
                  </a:lnTo>
                  <a:lnTo>
                    <a:pt x="238" y="144"/>
                  </a:lnTo>
                  <a:lnTo>
                    <a:pt x="214" y="144"/>
                  </a:lnTo>
                  <a:lnTo>
                    <a:pt x="214" y="144"/>
                  </a:lnTo>
                  <a:lnTo>
                    <a:pt x="214" y="155"/>
                  </a:lnTo>
                  <a:lnTo>
                    <a:pt x="214" y="155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02" y="179"/>
                  </a:lnTo>
                  <a:lnTo>
                    <a:pt x="202" y="179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79" y="191"/>
                  </a:lnTo>
                  <a:lnTo>
                    <a:pt x="179" y="191"/>
                  </a:lnTo>
                  <a:lnTo>
                    <a:pt x="179" y="217"/>
                  </a:lnTo>
                  <a:lnTo>
                    <a:pt x="179" y="217"/>
                  </a:lnTo>
                  <a:lnTo>
                    <a:pt x="179" y="240"/>
                  </a:lnTo>
                  <a:lnTo>
                    <a:pt x="179" y="240"/>
                  </a:lnTo>
                  <a:lnTo>
                    <a:pt x="172" y="240"/>
                  </a:lnTo>
                  <a:lnTo>
                    <a:pt x="169" y="238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2"/>
                  </a:lnTo>
                  <a:lnTo>
                    <a:pt x="167" y="245"/>
                  </a:lnTo>
                  <a:lnTo>
                    <a:pt x="167" y="250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5" y="252"/>
                  </a:lnTo>
                  <a:lnTo>
                    <a:pt x="160" y="252"/>
                  </a:lnTo>
                  <a:lnTo>
                    <a:pt x="155" y="252"/>
                  </a:lnTo>
                  <a:lnTo>
                    <a:pt x="155" y="252"/>
                  </a:lnTo>
                  <a:lnTo>
                    <a:pt x="155" y="264"/>
                  </a:lnTo>
                  <a:lnTo>
                    <a:pt x="155" y="264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48" y="275"/>
                  </a:lnTo>
                  <a:lnTo>
                    <a:pt x="143" y="275"/>
                  </a:lnTo>
                  <a:lnTo>
                    <a:pt x="143" y="275"/>
                  </a:lnTo>
                  <a:lnTo>
                    <a:pt x="143" y="280"/>
                  </a:lnTo>
                  <a:lnTo>
                    <a:pt x="143" y="287"/>
                  </a:lnTo>
                  <a:lnTo>
                    <a:pt x="143" y="287"/>
                  </a:lnTo>
                  <a:lnTo>
                    <a:pt x="143" y="299"/>
                  </a:lnTo>
                  <a:lnTo>
                    <a:pt x="143" y="299"/>
                  </a:lnTo>
                  <a:lnTo>
                    <a:pt x="143" y="323"/>
                  </a:lnTo>
                  <a:lnTo>
                    <a:pt x="143" y="323"/>
                  </a:lnTo>
                  <a:lnTo>
                    <a:pt x="143" y="334"/>
                  </a:lnTo>
                  <a:lnTo>
                    <a:pt x="143" y="334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36" y="358"/>
                  </a:lnTo>
                  <a:lnTo>
                    <a:pt x="132" y="358"/>
                  </a:lnTo>
                  <a:lnTo>
                    <a:pt x="132" y="358"/>
                  </a:lnTo>
                  <a:lnTo>
                    <a:pt x="124" y="358"/>
                  </a:lnTo>
                  <a:lnTo>
                    <a:pt x="120" y="358"/>
                  </a:lnTo>
                  <a:lnTo>
                    <a:pt x="120" y="358"/>
                  </a:lnTo>
                  <a:lnTo>
                    <a:pt x="120" y="353"/>
                  </a:lnTo>
                  <a:lnTo>
                    <a:pt x="120" y="346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27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17" y="323"/>
                  </a:lnTo>
                  <a:lnTo>
                    <a:pt x="113" y="323"/>
                  </a:lnTo>
                  <a:lnTo>
                    <a:pt x="108" y="323"/>
                  </a:lnTo>
                  <a:lnTo>
                    <a:pt x="108" y="323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0" y="299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11" y="561"/>
                  </a:lnTo>
                  <a:lnTo>
                    <a:pt x="11" y="561"/>
                  </a:lnTo>
                  <a:lnTo>
                    <a:pt x="35" y="561"/>
                  </a:lnTo>
                  <a:lnTo>
                    <a:pt x="35" y="561"/>
                  </a:lnTo>
                  <a:lnTo>
                    <a:pt x="47" y="561"/>
                  </a:lnTo>
                  <a:lnTo>
                    <a:pt x="47" y="561"/>
                  </a:lnTo>
                  <a:lnTo>
                    <a:pt x="70" y="561"/>
                  </a:lnTo>
                  <a:lnTo>
                    <a:pt x="70" y="561"/>
                  </a:lnTo>
                  <a:lnTo>
                    <a:pt x="84" y="561"/>
                  </a:lnTo>
                  <a:lnTo>
                    <a:pt x="84" y="561"/>
                  </a:lnTo>
                  <a:lnTo>
                    <a:pt x="108" y="561"/>
                  </a:lnTo>
                  <a:lnTo>
                    <a:pt x="108" y="561"/>
                  </a:lnTo>
                  <a:lnTo>
                    <a:pt x="120" y="561"/>
                  </a:lnTo>
                  <a:lnTo>
                    <a:pt x="120" y="561"/>
                  </a:lnTo>
                  <a:lnTo>
                    <a:pt x="143" y="561"/>
                  </a:lnTo>
                  <a:lnTo>
                    <a:pt x="143" y="561"/>
                  </a:lnTo>
                  <a:lnTo>
                    <a:pt x="155" y="561"/>
                  </a:lnTo>
                  <a:lnTo>
                    <a:pt x="155" y="561"/>
                  </a:lnTo>
                  <a:lnTo>
                    <a:pt x="179" y="561"/>
                  </a:lnTo>
                  <a:lnTo>
                    <a:pt x="179" y="561"/>
                  </a:lnTo>
                  <a:lnTo>
                    <a:pt x="190" y="561"/>
                  </a:lnTo>
                  <a:lnTo>
                    <a:pt x="190" y="561"/>
                  </a:lnTo>
                  <a:lnTo>
                    <a:pt x="214" y="561"/>
                  </a:lnTo>
                  <a:lnTo>
                    <a:pt x="214" y="561"/>
                  </a:lnTo>
                  <a:lnTo>
                    <a:pt x="226" y="561"/>
                  </a:lnTo>
                  <a:lnTo>
                    <a:pt x="226" y="561"/>
                  </a:lnTo>
                  <a:lnTo>
                    <a:pt x="273" y="561"/>
                  </a:lnTo>
                  <a:lnTo>
                    <a:pt x="273" y="561"/>
                  </a:lnTo>
                  <a:lnTo>
                    <a:pt x="285" y="561"/>
                  </a:lnTo>
                  <a:lnTo>
                    <a:pt x="285" y="561"/>
                  </a:lnTo>
                  <a:lnTo>
                    <a:pt x="308" y="561"/>
                  </a:lnTo>
                  <a:lnTo>
                    <a:pt x="308" y="561"/>
                  </a:lnTo>
                  <a:lnTo>
                    <a:pt x="322" y="561"/>
                  </a:lnTo>
                  <a:lnTo>
                    <a:pt x="322" y="561"/>
                  </a:lnTo>
                  <a:lnTo>
                    <a:pt x="346" y="561"/>
                  </a:lnTo>
                  <a:lnTo>
                    <a:pt x="346" y="561"/>
                  </a:lnTo>
                  <a:lnTo>
                    <a:pt x="358" y="561"/>
                  </a:lnTo>
                  <a:lnTo>
                    <a:pt x="358" y="561"/>
                  </a:lnTo>
                  <a:lnTo>
                    <a:pt x="381" y="561"/>
                  </a:lnTo>
                  <a:lnTo>
                    <a:pt x="381" y="561"/>
                  </a:lnTo>
                  <a:lnTo>
                    <a:pt x="393" y="561"/>
                  </a:lnTo>
                  <a:lnTo>
                    <a:pt x="393" y="561"/>
                  </a:lnTo>
                  <a:lnTo>
                    <a:pt x="417" y="561"/>
                  </a:lnTo>
                  <a:lnTo>
                    <a:pt x="417" y="561"/>
                  </a:lnTo>
                  <a:lnTo>
                    <a:pt x="428" y="561"/>
                  </a:lnTo>
                  <a:lnTo>
                    <a:pt x="428" y="561"/>
                  </a:lnTo>
                  <a:lnTo>
                    <a:pt x="452" y="561"/>
                  </a:lnTo>
                  <a:lnTo>
                    <a:pt x="452" y="561"/>
                  </a:lnTo>
                  <a:lnTo>
                    <a:pt x="464" y="561"/>
                  </a:lnTo>
                  <a:lnTo>
                    <a:pt x="464" y="561"/>
                  </a:lnTo>
                  <a:lnTo>
                    <a:pt x="487" y="561"/>
                  </a:lnTo>
                  <a:lnTo>
                    <a:pt x="487" y="561"/>
                  </a:lnTo>
                  <a:lnTo>
                    <a:pt x="499" y="561"/>
                  </a:lnTo>
                  <a:lnTo>
                    <a:pt x="499" y="561"/>
                  </a:lnTo>
                  <a:lnTo>
                    <a:pt x="546" y="561"/>
                  </a:lnTo>
                  <a:lnTo>
                    <a:pt x="546" y="561"/>
                  </a:lnTo>
                  <a:lnTo>
                    <a:pt x="558" y="561"/>
                  </a:lnTo>
                  <a:lnTo>
                    <a:pt x="558" y="561"/>
                  </a:lnTo>
                  <a:lnTo>
                    <a:pt x="584" y="561"/>
                  </a:lnTo>
                  <a:lnTo>
                    <a:pt x="584" y="561"/>
                  </a:lnTo>
                  <a:lnTo>
                    <a:pt x="596" y="561"/>
                  </a:lnTo>
                  <a:lnTo>
                    <a:pt x="596" y="561"/>
                  </a:lnTo>
                  <a:lnTo>
                    <a:pt x="619" y="561"/>
                  </a:lnTo>
                  <a:lnTo>
                    <a:pt x="619" y="561"/>
                  </a:lnTo>
                  <a:lnTo>
                    <a:pt x="631" y="561"/>
                  </a:lnTo>
                  <a:lnTo>
                    <a:pt x="631" y="561"/>
                  </a:lnTo>
                  <a:lnTo>
                    <a:pt x="655" y="561"/>
                  </a:lnTo>
                  <a:lnTo>
                    <a:pt x="655" y="561"/>
                  </a:lnTo>
                  <a:lnTo>
                    <a:pt x="666" y="561"/>
                  </a:lnTo>
                  <a:lnTo>
                    <a:pt x="666" y="561"/>
                  </a:lnTo>
                  <a:lnTo>
                    <a:pt x="690" y="561"/>
                  </a:lnTo>
                  <a:lnTo>
                    <a:pt x="690" y="561"/>
                  </a:lnTo>
                  <a:lnTo>
                    <a:pt x="702" y="561"/>
                  </a:lnTo>
                  <a:lnTo>
                    <a:pt x="702" y="561"/>
                  </a:lnTo>
                  <a:lnTo>
                    <a:pt x="725" y="561"/>
                  </a:lnTo>
                  <a:lnTo>
                    <a:pt x="725" y="561"/>
                  </a:lnTo>
                  <a:lnTo>
                    <a:pt x="737" y="561"/>
                  </a:lnTo>
                  <a:lnTo>
                    <a:pt x="737" y="561"/>
                  </a:lnTo>
                  <a:lnTo>
                    <a:pt x="761" y="561"/>
                  </a:lnTo>
                  <a:lnTo>
                    <a:pt x="761" y="561"/>
                  </a:lnTo>
                  <a:lnTo>
                    <a:pt x="772" y="561"/>
                  </a:lnTo>
                  <a:lnTo>
                    <a:pt x="772" y="561"/>
                  </a:lnTo>
                  <a:lnTo>
                    <a:pt x="796" y="561"/>
                  </a:lnTo>
                  <a:lnTo>
                    <a:pt x="796" y="561"/>
                  </a:lnTo>
                  <a:lnTo>
                    <a:pt x="810" y="561"/>
                  </a:lnTo>
                  <a:lnTo>
                    <a:pt x="810" y="561"/>
                  </a:lnTo>
                  <a:lnTo>
                    <a:pt x="834" y="561"/>
                  </a:lnTo>
                  <a:lnTo>
                    <a:pt x="834" y="561"/>
                  </a:lnTo>
                  <a:lnTo>
                    <a:pt x="845" y="561"/>
                  </a:lnTo>
                  <a:lnTo>
                    <a:pt x="845" y="561"/>
                  </a:lnTo>
                  <a:lnTo>
                    <a:pt x="869" y="561"/>
                  </a:lnTo>
                  <a:lnTo>
                    <a:pt x="869" y="561"/>
                  </a:lnTo>
                  <a:lnTo>
                    <a:pt x="881" y="561"/>
                  </a:lnTo>
                  <a:lnTo>
                    <a:pt x="881" y="561"/>
                  </a:lnTo>
                  <a:lnTo>
                    <a:pt x="904" y="561"/>
                  </a:lnTo>
                  <a:lnTo>
                    <a:pt x="904" y="561"/>
                  </a:lnTo>
                  <a:lnTo>
                    <a:pt x="916" y="561"/>
                  </a:lnTo>
                  <a:lnTo>
                    <a:pt x="916" y="561"/>
                  </a:lnTo>
                  <a:lnTo>
                    <a:pt x="940" y="561"/>
                  </a:lnTo>
                  <a:lnTo>
                    <a:pt x="940" y="561"/>
                  </a:lnTo>
                  <a:lnTo>
                    <a:pt x="951" y="561"/>
                  </a:lnTo>
                  <a:lnTo>
                    <a:pt x="951" y="561"/>
                  </a:lnTo>
                  <a:lnTo>
                    <a:pt x="975" y="561"/>
                  </a:lnTo>
                  <a:lnTo>
                    <a:pt x="975" y="561"/>
                  </a:lnTo>
                  <a:lnTo>
                    <a:pt x="987" y="561"/>
                  </a:lnTo>
                  <a:lnTo>
                    <a:pt x="987" y="561"/>
                  </a:lnTo>
                  <a:lnTo>
                    <a:pt x="1010" y="561"/>
                  </a:lnTo>
                  <a:lnTo>
                    <a:pt x="1010" y="561"/>
                  </a:lnTo>
                  <a:lnTo>
                    <a:pt x="1022" y="561"/>
                  </a:lnTo>
                  <a:lnTo>
                    <a:pt x="1022" y="561"/>
                  </a:lnTo>
                  <a:lnTo>
                    <a:pt x="1046" y="561"/>
                  </a:lnTo>
                  <a:lnTo>
                    <a:pt x="1046" y="561"/>
                  </a:lnTo>
                  <a:lnTo>
                    <a:pt x="1060" y="561"/>
                  </a:lnTo>
                  <a:lnTo>
                    <a:pt x="1060" y="561"/>
                  </a:lnTo>
                  <a:lnTo>
                    <a:pt x="1107" y="561"/>
                  </a:lnTo>
                  <a:lnTo>
                    <a:pt x="1107" y="561"/>
                  </a:lnTo>
                  <a:lnTo>
                    <a:pt x="1119" y="561"/>
                  </a:lnTo>
                  <a:lnTo>
                    <a:pt x="1119" y="561"/>
                  </a:lnTo>
                  <a:lnTo>
                    <a:pt x="1142" y="561"/>
                  </a:lnTo>
                  <a:lnTo>
                    <a:pt x="1142" y="561"/>
                  </a:lnTo>
                  <a:lnTo>
                    <a:pt x="1154" y="561"/>
                  </a:lnTo>
                  <a:lnTo>
                    <a:pt x="1154" y="561"/>
                  </a:lnTo>
                  <a:lnTo>
                    <a:pt x="1178" y="561"/>
                  </a:lnTo>
                  <a:lnTo>
                    <a:pt x="1178" y="561"/>
                  </a:lnTo>
                  <a:lnTo>
                    <a:pt x="1189" y="561"/>
                  </a:lnTo>
                  <a:lnTo>
                    <a:pt x="1189" y="561"/>
                  </a:lnTo>
                  <a:lnTo>
                    <a:pt x="1213" y="561"/>
                  </a:lnTo>
                  <a:lnTo>
                    <a:pt x="1213" y="561"/>
                  </a:lnTo>
                  <a:lnTo>
                    <a:pt x="1225" y="561"/>
                  </a:lnTo>
                  <a:lnTo>
                    <a:pt x="1225" y="561"/>
                  </a:lnTo>
                  <a:lnTo>
                    <a:pt x="1248" y="561"/>
                  </a:lnTo>
                  <a:lnTo>
                    <a:pt x="1248" y="561"/>
                  </a:lnTo>
                  <a:lnTo>
                    <a:pt x="1260" y="561"/>
                  </a:lnTo>
                  <a:lnTo>
                    <a:pt x="1260" y="561"/>
                  </a:lnTo>
                  <a:lnTo>
                    <a:pt x="1284" y="561"/>
                  </a:lnTo>
                  <a:lnTo>
                    <a:pt x="1284" y="561"/>
                  </a:lnTo>
                  <a:lnTo>
                    <a:pt x="1298" y="561"/>
                  </a:lnTo>
                  <a:lnTo>
                    <a:pt x="1298" y="561"/>
                  </a:lnTo>
                  <a:lnTo>
                    <a:pt x="1321" y="561"/>
                  </a:lnTo>
                  <a:lnTo>
                    <a:pt x="1321" y="561"/>
                  </a:lnTo>
                  <a:lnTo>
                    <a:pt x="1333" y="561"/>
                  </a:lnTo>
                  <a:lnTo>
                    <a:pt x="1333" y="561"/>
                  </a:lnTo>
                  <a:lnTo>
                    <a:pt x="1380" y="561"/>
                  </a:lnTo>
                  <a:lnTo>
                    <a:pt x="1380" y="561"/>
                  </a:lnTo>
                  <a:lnTo>
                    <a:pt x="1392" y="561"/>
                  </a:lnTo>
                  <a:lnTo>
                    <a:pt x="1392" y="561"/>
                  </a:lnTo>
                  <a:lnTo>
                    <a:pt x="1416" y="561"/>
                  </a:lnTo>
                  <a:lnTo>
                    <a:pt x="1416" y="561"/>
                  </a:lnTo>
                  <a:lnTo>
                    <a:pt x="1427" y="561"/>
                  </a:lnTo>
                  <a:lnTo>
                    <a:pt x="1427" y="561"/>
                  </a:lnTo>
                  <a:lnTo>
                    <a:pt x="1451" y="561"/>
                  </a:lnTo>
                  <a:lnTo>
                    <a:pt x="1451" y="561"/>
                  </a:lnTo>
                  <a:lnTo>
                    <a:pt x="1463" y="561"/>
                  </a:lnTo>
                  <a:lnTo>
                    <a:pt x="1463" y="561"/>
                  </a:lnTo>
                  <a:lnTo>
                    <a:pt x="1486" y="561"/>
                  </a:lnTo>
                  <a:lnTo>
                    <a:pt x="1486" y="561"/>
                  </a:lnTo>
                  <a:lnTo>
                    <a:pt x="1498" y="561"/>
                  </a:lnTo>
                  <a:lnTo>
                    <a:pt x="1498" y="561"/>
                  </a:lnTo>
                  <a:lnTo>
                    <a:pt x="1522" y="561"/>
                  </a:lnTo>
                  <a:lnTo>
                    <a:pt x="1522" y="561"/>
                  </a:lnTo>
                  <a:lnTo>
                    <a:pt x="1533" y="561"/>
                  </a:lnTo>
                  <a:lnTo>
                    <a:pt x="1533" y="561"/>
                  </a:lnTo>
                  <a:lnTo>
                    <a:pt x="1559" y="561"/>
                  </a:lnTo>
                  <a:lnTo>
                    <a:pt x="1559" y="561"/>
                  </a:lnTo>
                  <a:lnTo>
                    <a:pt x="1571" y="561"/>
                  </a:lnTo>
                  <a:lnTo>
                    <a:pt x="1571" y="561"/>
                  </a:lnTo>
                  <a:lnTo>
                    <a:pt x="1595" y="561"/>
                  </a:lnTo>
                  <a:lnTo>
                    <a:pt x="1595" y="561"/>
                  </a:lnTo>
                  <a:lnTo>
                    <a:pt x="1607" y="561"/>
                  </a:lnTo>
                  <a:lnTo>
                    <a:pt x="1607" y="561"/>
                  </a:lnTo>
                  <a:lnTo>
                    <a:pt x="1654" y="561"/>
                  </a:lnTo>
                  <a:lnTo>
                    <a:pt x="1654" y="561"/>
                  </a:lnTo>
                  <a:lnTo>
                    <a:pt x="1665" y="561"/>
                  </a:lnTo>
                  <a:lnTo>
                    <a:pt x="1665" y="561"/>
                  </a:lnTo>
                  <a:lnTo>
                    <a:pt x="1689" y="561"/>
                  </a:lnTo>
                  <a:lnTo>
                    <a:pt x="1689" y="561"/>
                  </a:lnTo>
                  <a:lnTo>
                    <a:pt x="1701" y="561"/>
                  </a:lnTo>
                  <a:lnTo>
                    <a:pt x="1701" y="561"/>
                  </a:lnTo>
                  <a:lnTo>
                    <a:pt x="1724" y="561"/>
                  </a:lnTo>
                  <a:lnTo>
                    <a:pt x="1724" y="561"/>
                  </a:lnTo>
                  <a:lnTo>
                    <a:pt x="1736" y="561"/>
                  </a:lnTo>
                  <a:lnTo>
                    <a:pt x="1736" y="561"/>
                  </a:lnTo>
                  <a:lnTo>
                    <a:pt x="1760" y="561"/>
                  </a:lnTo>
                  <a:lnTo>
                    <a:pt x="1760" y="561"/>
                  </a:lnTo>
                  <a:lnTo>
                    <a:pt x="1809" y="561"/>
                  </a:lnTo>
                  <a:lnTo>
                    <a:pt x="1809" y="561"/>
                  </a:lnTo>
                  <a:lnTo>
                    <a:pt x="1833" y="561"/>
                  </a:lnTo>
                  <a:lnTo>
                    <a:pt x="1833" y="561"/>
                  </a:lnTo>
                  <a:lnTo>
                    <a:pt x="1844" y="561"/>
                  </a:lnTo>
                  <a:lnTo>
                    <a:pt x="1844" y="561"/>
                  </a:lnTo>
                  <a:lnTo>
                    <a:pt x="1868" y="561"/>
                  </a:lnTo>
                  <a:lnTo>
                    <a:pt x="1868" y="561"/>
                  </a:lnTo>
                  <a:lnTo>
                    <a:pt x="1880" y="561"/>
                  </a:lnTo>
                  <a:lnTo>
                    <a:pt x="1880" y="561"/>
                  </a:lnTo>
                  <a:lnTo>
                    <a:pt x="1903" y="561"/>
                  </a:lnTo>
                  <a:lnTo>
                    <a:pt x="1903" y="561"/>
                  </a:lnTo>
                  <a:lnTo>
                    <a:pt x="1915" y="561"/>
                  </a:lnTo>
                  <a:lnTo>
                    <a:pt x="1915" y="561"/>
                  </a:lnTo>
                  <a:lnTo>
                    <a:pt x="1939" y="561"/>
                  </a:lnTo>
                  <a:lnTo>
                    <a:pt x="1939" y="561"/>
                  </a:lnTo>
                  <a:lnTo>
                    <a:pt x="1951" y="561"/>
                  </a:lnTo>
                  <a:lnTo>
                    <a:pt x="1951" y="561"/>
                  </a:lnTo>
                  <a:lnTo>
                    <a:pt x="1974" y="561"/>
                  </a:lnTo>
                  <a:lnTo>
                    <a:pt x="1974" y="561"/>
                  </a:lnTo>
                  <a:lnTo>
                    <a:pt x="1986" y="561"/>
                  </a:lnTo>
                  <a:lnTo>
                    <a:pt x="1986" y="561"/>
                  </a:lnTo>
                  <a:lnTo>
                    <a:pt x="2009" y="561"/>
                  </a:lnTo>
                  <a:lnTo>
                    <a:pt x="2009" y="561"/>
                  </a:lnTo>
                  <a:lnTo>
                    <a:pt x="2021" y="561"/>
                  </a:lnTo>
                  <a:lnTo>
                    <a:pt x="2021" y="561"/>
                  </a:lnTo>
                  <a:lnTo>
                    <a:pt x="2047" y="561"/>
                  </a:lnTo>
                  <a:lnTo>
                    <a:pt x="2047" y="561"/>
                  </a:lnTo>
                  <a:lnTo>
                    <a:pt x="2059" y="561"/>
                  </a:lnTo>
                  <a:lnTo>
                    <a:pt x="2059" y="561"/>
                  </a:lnTo>
                  <a:lnTo>
                    <a:pt x="2082" y="561"/>
                  </a:lnTo>
                  <a:lnTo>
                    <a:pt x="2082" y="561"/>
                  </a:lnTo>
                  <a:lnTo>
                    <a:pt x="2130" y="561"/>
                  </a:lnTo>
                  <a:lnTo>
                    <a:pt x="2130" y="561"/>
                  </a:lnTo>
                  <a:lnTo>
                    <a:pt x="2153" y="561"/>
                  </a:lnTo>
                  <a:lnTo>
                    <a:pt x="2153" y="561"/>
                  </a:lnTo>
                  <a:lnTo>
                    <a:pt x="2165" y="561"/>
                  </a:lnTo>
                  <a:lnTo>
                    <a:pt x="2165" y="561"/>
                  </a:lnTo>
                  <a:lnTo>
                    <a:pt x="2188" y="561"/>
                  </a:lnTo>
                  <a:lnTo>
                    <a:pt x="2188" y="561"/>
                  </a:lnTo>
                  <a:lnTo>
                    <a:pt x="2212" y="561"/>
                  </a:lnTo>
                  <a:lnTo>
                    <a:pt x="2212" y="561"/>
                  </a:lnTo>
                  <a:lnTo>
                    <a:pt x="2224" y="561"/>
                  </a:lnTo>
                  <a:lnTo>
                    <a:pt x="2224" y="561"/>
                  </a:lnTo>
                  <a:lnTo>
                    <a:pt x="2247" y="561"/>
                  </a:lnTo>
                  <a:lnTo>
                    <a:pt x="2247" y="561"/>
                  </a:lnTo>
                  <a:lnTo>
                    <a:pt x="2297" y="561"/>
                  </a:lnTo>
                  <a:lnTo>
                    <a:pt x="2297" y="561"/>
                  </a:lnTo>
                  <a:lnTo>
                    <a:pt x="2309" y="561"/>
                  </a:lnTo>
                  <a:lnTo>
                    <a:pt x="2309" y="561"/>
                  </a:lnTo>
                  <a:lnTo>
                    <a:pt x="2320" y="561"/>
                  </a:lnTo>
                  <a:lnTo>
                    <a:pt x="2320" y="561"/>
                  </a:lnTo>
                  <a:lnTo>
                    <a:pt x="2325" y="561"/>
                  </a:lnTo>
                  <a:lnTo>
                    <a:pt x="2332" y="561"/>
                  </a:lnTo>
                  <a:lnTo>
                    <a:pt x="2332" y="561"/>
                  </a:lnTo>
                  <a:lnTo>
                    <a:pt x="2332" y="558"/>
                  </a:lnTo>
                  <a:lnTo>
                    <a:pt x="2332" y="554"/>
                  </a:lnTo>
                  <a:lnTo>
                    <a:pt x="2332" y="549"/>
                  </a:lnTo>
                  <a:lnTo>
                    <a:pt x="2332" y="549"/>
                  </a:lnTo>
                  <a:close/>
                </a:path>
              </a:pathLst>
            </a:custGeom>
            <a:solidFill>
              <a:schemeClr val="bg1">
                <a:alpha val="76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685800" y="3138663"/>
              <a:ext cx="3962400" cy="546100"/>
            </a:xfrm>
            <a:custGeom>
              <a:avLst/>
              <a:gdLst>
                <a:gd name="T0" fmla="*/ 2330 w 2366"/>
                <a:gd name="T1" fmla="*/ 106 h 344"/>
                <a:gd name="T2" fmla="*/ 2283 w 2366"/>
                <a:gd name="T3" fmla="*/ 58 h 344"/>
                <a:gd name="T4" fmla="*/ 2271 w 2366"/>
                <a:gd name="T5" fmla="*/ 11 h 344"/>
                <a:gd name="T6" fmla="*/ 2236 w 2366"/>
                <a:gd name="T7" fmla="*/ 23 h 344"/>
                <a:gd name="T8" fmla="*/ 2175 w 2366"/>
                <a:gd name="T9" fmla="*/ 58 h 344"/>
                <a:gd name="T10" fmla="*/ 2128 w 2366"/>
                <a:gd name="T11" fmla="*/ 188 h 344"/>
                <a:gd name="T12" fmla="*/ 2081 w 2366"/>
                <a:gd name="T13" fmla="*/ 165 h 344"/>
                <a:gd name="T14" fmla="*/ 2026 w 2366"/>
                <a:gd name="T15" fmla="*/ 188 h 344"/>
                <a:gd name="T16" fmla="*/ 1974 w 2366"/>
                <a:gd name="T17" fmla="*/ 188 h 344"/>
                <a:gd name="T18" fmla="*/ 1913 w 2366"/>
                <a:gd name="T19" fmla="*/ 200 h 344"/>
                <a:gd name="T20" fmla="*/ 1838 w 2366"/>
                <a:gd name="T21" fmla="*/ 153 h 344"/>
                <a:gd name="T22" fmla="*/ 1748 w 2366"/>
                <a:gd name="T23" fmla="*/ 129 h 344"/>
                <a:gd name="T24" fmla="*/ 1713 w 2366"/>
                <a:gd name="T25" fmla="*/ 141 h 344"/>
                <a:gd name="T26" fmla="*/ 1671 w 2366"/>
                <a:gd name="T27" fmla="*/ 82 h 344"/>
                <a:gd name="T28" fmla="*/ 1616 w 2366"/>
                <a:gd name="T29" fmla="*/ 106 h 344"/>
                <a:gd name="T30" fmla="*/ 1581 w 2366"/>
                <a:gd name="T31" fmla="*/ 108 h 344"/>
                <a:gd name="T32" fmla="*/ 1569 w 2366"/>
                <a:gd name="T33" fmla="*/ 165 h 344"/>
                <a:gd name="T34" fmla="*/ 1546 w 2366"/>
                <a:gd name="T35" fmla="*/ 160 h 344"/>
                <a:gd name="T36" fmla="*/ 1522 w 2366"/>
                <a:gd name="T37" fmla="*/ 117 h 344"/>
                <a:gd name="T38" fmla="*/ 1487 w 2366"/>
                <a:gd name="T39" fmla="*/ 63 h 344"/>
                <a:gd name="T40" fmla="*/ 1402 w 2366"/>
                <a:gd name="T41" fmla="*/ 47 h 344"/>
                <a:gd name="T42" fmla="*/ 1261 w 2366"/>
                <a:gd name="T43" fmla="*/ 188 h 344"/>
                <a:gd name="T44" fmla="*/ 1237 w 2366"/>
                <a:gd name="T45" fmla="*/ 249 h 344"/>
                <a:gd name="T46" fmla="*/ 1188 w 2366"/>
                <a:gd name="T47" fmla="*/ 249 h 344"/>
                <a:gd name="T48" fmla="*/ 1152 w 2366"/>
                <a:gd name="T49" fmla="*/ 235 h 344"/>
                <a:gd name="T50" fmla="*/ 1117 w 2366"/>
                <a:gd name="T51" fmla="*/ 261 h 344"/>
                <a:gd name="T52" fmla="*/ 1074 w 2366"/>
                <a:gd name="T53" fmla="*/ 285 h 344"/>
                <a:gd name="T54" fmla="*/ 961 w 2366"/>
                <a:gd name="T55" fmla="*/ 200 h 344"/>
                <a:gd name="T56" fmla="*/ 968 w 2366"/>
                <a:gd name="T57" fmla="*/ 285 h 344"/>
                <a:gd name="T58" fmla="*/ 902 w 2366"/>
                <a:gd name="T59" fmla="*/ 273 h 344"/>
                <a:gd name="T60" fmla="*/ 867 w 2366"/>
                <a:gd name="T61" fmla="*/ 261 h 344"/>
                <a:gd name="T62" fmla="*/ 832 w 2366"/>
                <a:gd name="T63" fmla="*/ 285 h 344"/>
                <a:gd name="T64" fmla="*/ 737 w 2366"/>
                <a:gd name="T65" fmla="*/ 235 h 344"/>
                <a:gd name="T66" fmla="*/ 653 w 2366"/>
                <a:gd name="T67" fmla="*/ 174 h 344"/>
                <a:gd name="T68" fmla="*/ 641 w 2366"/>
                <a:gd name="T69" fmla="*/ 261 h 344"/>
                <a:gd name="T70" fmla="*/ 558 w 2366"/>
                <a:gd name="T71" fmla="*/ 261 h 344"/>
                <a:gd name="T72" fmla="*/ 535 w 2366"/>
                <a:gd name="T73" fmla="*/ 261 h 344"/>
                <a:gd name="T74" fmla="*/ 481 w 2366"/>
                <a:gd name="T75" fmla="*/ 247 h 344"/>
                <a:gd name="T76" fmla="*/ 464 w 2366"/>
                <a:gd name="T77" fmla="*/ 242 h 344"/>
                <a:gd name="T78" fmla="*/ 426 w 2366"/>
                <a:gd name="T79" fmla="*/ 188 h 344"/>
                <a:gd name="T80" fmla="*/ 403 w 2366"/>
                <a:gd name="T81" fmla="*/ 129 h 344"/>
                <a:gd name="T82" fmla="*/ 379 w 2366"/>
                <a:gd name="T83" fmla="*/ 200 h 344"/>
                <a:gd name="T84" fmla="*/ 344 w 2366"/>
                <a:gd name="T85" fmla="*/ 261 h 344"/>
                <a:gd name="T86" fmla="*/ 297 w 2366"/>
                <a:gd name="T87" fmla="*/ 261 h 344"/>
                <a:gd name="T88" fmla="*/ 262 w 2366"/>
                <a:gd name="T89" fmla="*/ 266 h 344"/>
                <a:gd name="T90" fmla="*/ 196 w 2366"/>
                <a:gd name="T91" fmla="*/ 259 h 344"/>
                <a:gd name="T92" fmla="*/ 106 w 2366"/>
                <a:gd name="T93" fmla="*/ 249 h 344"/>
                <a:gd name="T94" fmla="*/ 64 w 2366"/>
                <a:gd name="T95" fmla="*/ 247 h 344"/>
                <a:gd name="T96" fmla="*/ 0 w 2366"/>
                <a:gd name="T97" fmla="*/ 320 h 344"/>
                <a:gd name="T98" fmla="*/ 177 w 2366"/>
                <a:gd name="T99" fmla="*/ 344 h 344"/>
                <a:gd name="T100" fmla="*/ 344 w 2366"/>
                <a:gd name="T101" fmla="*/ 344 h 344"/>
                <a:gd name="T102" fmla="*/ 558 w 2366"/>
                <a:gd name="T103" fmla="*/ 344 h 344"/>
                <a:gd name="T104" fmla="*/ 749 w 2366"/>
                <a:gd name="T105" fmla="*/ 344 h 344"/>
                <a:gd name="T106" fmla="*/ 902 w 2366"/>
                <a:gd name="T107" fmla="*/ 344 h 344"/>
                <a:gd name="T108" fmla="*/ 1093 w 2366"/>
                <a:gd name="T109" fmla="*/ 344 h 344"/>
                <a:gd name="T110" fmla="*/ 1272 w 2366"/>
                <a:gd name="T111" fmla="*/ 344 h 344"/>
                <a:gd name="T112" fmla="*/ 1437 w 2366"/>
                <a:gd name="T113" fmla="*/ 344 h 344"/>
                <a:gd name="T114" fmla="*/ 1616 w 2366"/>
                <a:gd name="T115" fmla="*/ 344 h 344"/>
                <a:gd name="T116" fmla="*/ 1807 w 2366"/>
                <a:gd name="T117" fmla="*/ 344 h 344"/>
                <a:gd name="T118" fmla="*/ 1998 w 2366"/>
                <a:gd name="T119" fmla="*/ 344 h 344"/>
                <a:gd name="T120" fmla="*/ 2163 w 2366"/>
                <a:gd name="T121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66" h="344">
                  <a:moveTo>
                    <a:pt x="2366" y="82"/>
                  </a:moveTo>
                  <a:lnTo>
                    <a:pt x="2366" y="82"/>
                  </a:lnTo>
                  <a:lnTo>
                    <a:pt x="2366" y="82"/>
                  </a:lnTo>
                  <a:lnTo>
                    <a:pt x="2361" y="82"/>
                  </a:lnTo>
                  <a:lnTo>
                    <a:pt x="2354" y="82"/>
                  </a:lnTo>
                  <a:lnTo>
                    <a:pt x="2354" y="82"/>
                  </a:lnTo>
                  <a:lnTo>
                    <a:pt x="2354" y="87"/>
                  </a:lnTo>
                  <a:lnTo>
                    <a:pt x="2354" y="94"/>
                  </a:lnTo>
                  <a:lnTo>
                    <a:pt x="2354" y="94"/>
                  </a:lnTo>
                  <a:lnTo>
                    <a:pt x="2349" y="94"/>
                  </a:lnTo>
                  <a:lnTo>
                    <a:pt x="2342" y="94"/>
                  </a:lnTo>
                  <a:lnTo>
                    <a:pt x="2342" y="94"/>
                  </a:lnTo>
                  <a:lnTo>
                    <a:pt x="2337" y="94"/>
                  </a:lnTo>
                  <a:lnTo>
                    <a:pt x="2330" y="94"/>
                  </a:lnTo>
                  <a:lnTo>
                    <a:pt x="2330" y="94"/>
                  </a:lnTo>
                  <a:lnTo>
                    <a:pt x="2330" y="99"/>
                  </a:lnTo>
                  <a:lnTo>
                    <a:pt x="2330" y="106"/>
                  </a:lnTo>
                  <a:lnTo>
                    <a:pt x="2330" y="106"/>
                  </a:lnTo>
                  <a:lnTo>
                    <a:pt x="2328" y="106"/>
                  </a:lnTo>
                  <a:lnTo>
                    <a:pt x="2326" y="106"/>
                  </a:lnTo>
                  <a:lnTo>
                    <a:pt x="2318" y="106"/>
                  </a:lnTo>
                  <a:lnTo>
                    <a:pt x="2318" y="106"/>
                  </a:lnTo>
                  <a:lnTo>
                    <a:pt x="2318" y="94"/>
                  </a:lnTo>
                  <a:lnTo>
                    <a:pt x="2318" y="94"/>
                  </a:lnTo>
                  <a:lnTo>
                    <a:pt x="2318" y="82"/>
                  </a:lnTo>
                  <a:lnTo>
                    <a:pt x="2318" y="82"/>
                  </a:lnTo>
                  <a:lnTo>
                    <a:pt x="2318" y="75"/>
                  </a:lnTo>
                  <a:lnTo>
                    <a:pt x="2318" y="70"/>
                  </a:lnTo>
                  <a:lnTo>
                    <a:pt x="2318" y="70"/>
                  </a:lnTo>
                  <a:lnTo>
                    <a:pt x="2316" y="70"/>
                  </a:lnTo>
                  <a:lnTo>
                    <a:pt x="2314" y="70"/>
                  </a:lnTo>
                  <a:lnTo>
                    <a:pt x="2307" y="70"/>
                  </a:lnTo>
                  <a:lnTo>
                    <a:pt x="2307" y="70"/>
                  </a:lnTo>
                  <a:lnTo>
                    <a:pt x="2283" y="70"/>
                  </a:lnTo>
                  <a:lnTo>
                    <a:pt x="2283" y="70"/>
                  </a:lnTo>
                  <a:lnTo>
                    <a:pt x="2283" y="58"/>
                  </a:lnTo>
                  <a:lnTo>
                    <a:pt x="2283" y="58"/>
                  </a:lnTo>
                  <a:lnTo>
                    <a:pt x="2283" y="47"/>
                  </a:lnTo>
                  <a:lnTo>
                    <a:pt x="2283" y="47"/>
                  </a:lnTo>
                  <a:lnTo>
                    <a:pt x="2283" y="35"/>
                  </a:lnTo>
                  <a:lnTo>
                    <a:pt x="2283" y="35"/>
                  </a:lnTo>
                  <a:lnTo>
                    <a:pt x="2283" y="28"/>
                  </a:lnTo>
                  <a:lnTo>
                    <a:pt x="2283" y="23"/>
                  </a:lnTo>
                  <a:lnTo>
                    <a:pt x="2283" y="23"/>
                  </a:lnTo>
                  <a:lnTo>
                    <a:pt x="2281" y="21"/>
                  </a:lnTo>
                  <a:lnTo>
                    <a:pt x="2276" y="23"/>
                  </a:lnTo>
                  <a:lnTo>
                    <a:pt x="2274" y="23"/>
                  </a:lnTo>
                  <a:lnTo>
                    <a:pt x="2271" y="23"/>
                  </a:lnTo>
                  <a:lnTo>
                    <a:pt x="2271" y="23"/>
                  </a:lnTo>
                  <a:lnTo>
                    <a:pt x="2271" y="21"/>
                  </a:lnTo>
                  <a:lnTo>
                    <a:pt x="2271" y="16"/>
                  </a:lnTo>
                  <a:lnTo>
                    <a:pt x="2271" y="14"/>
                  </a:lnTo>
                  <a:lnTo>
                    <a:pt x="2271" y="11"/>
                  </a:lnTo>
                  <a:lnTo>
                    <a:pt x="2271" y="11"/>
                  </a:lnTo>
                  <a:lnTo>
                    <a:pt x="2269" y="9"/>
                  </a:lnTo>
                  <a:lnTo>
                    <a:pt x="2264" y="9"/>
                  </a:lnTo>
                  <a:lnTo>
                    <a:pt x="2260" y="11"/>
                  </a:lnTo>
                  <a:lnTo>
                    <a:pt x="2260" y="11"/>
                  </a:lnTo>
                  <a:lnTo>
                    <a:pt x="2260" y="4"/>
                  </a:lnTo>
                  <a:lnTo>
                    <a:pt x="2260" y="2"/>
                  </a:lnTo>
                  <a:lnTo>
                    <a:pt x="2260" y="0"/>
                  </a:lnTo>
                  <a:lnTo>
                    <a:pt x="2260" y="0"/>
                  </a:lnTo>
                  <a:lnTo>
                    <a:pt x="2248" y="0"/>
                  </a:lnTo>
                  <a:lnTo>
                    <a:pt x="2248" y="0"/>
                  </a:lnTo>
                  <a:lnTo>
                    <a:pt x="2248" y="11"/>
                  </a:lnTo>
                  <a:lnTo>
                    <a:pt x="2248" y="11"/>
                  </a:lnTo>
                  <a:lnTo>
                    <a:pt x="2248" y="16"/>
                  </a:lnTo>
                  <a:lnTo>
                    <a:pt x="2248" y="23"/>
                  </a:lnTo>
                  <a:lnTo>
                    <a:pt x="2248" y="23"/>
                  </a:lnTo>
                  <a:lnTo>
                    <a:pt x="2241" y="23"/>
                  </a:lnTo>
                  <a:lnTo>
                    <a:pt x="2236" y="23"/>
                  </a:lnTo>
                  <a:lnTo>
                    <a:pt x="2236" y="23"/>
                  </a:lnTo>
                  <a:lnTo>
                    <a:pt x="2236" y="28"/>
                  </a:lnTo>
                  <a:lnTo>
                    <a:pt x="2236" y="35"/>
                  </a:lnTo>
                  <a:lnTo>
                    <a:pt x="2236" y="35"/>
                  </a:lnTo>
                  <a:lnTo>
                    <a:pt x="2229" y="35"/>
                  </a:lnTo>
                  <a:lnTo>
                    <a:pt x="2224" y="35"/>
                  </a:lnTo>
                  <a:lnTo>
                    <a:pt x="2224" y="35"/>
                  </a:lnTo>
                  <a:lnTo>
                    <a:pt x="2222" y="40"/>
                  </a:lnTo>
                  <a:lnTo>
                    <a:pt x="2224" y="47"/>
                  </a:lnTo>
                  <a:lnTo>
                    <a:pt x="2224" y="47"/>
                  </a:lnTo>
                  <a:lnTo>
                    <a:pt x="2224" y="58"/>
                  </a:lnTo>
                  <a:lnTo>
                    <a:pt x="2224" y="58"/>
                  </a:lnTo>
                  <a:lnTo>
                    <a:pt x="2212" y="58"/>
                  </a:lnTo>
                  <a:lnTo>
                    <a:pt x="2212" y="58"/>
                  </a:lnTo>
                  <a:lnTo>
                    <a:pt x="2201" y="58"/>
                  </a:lnTo>
                  <a:lnTo>
                    <a:pt x="2201" y="58"/>
                  </a:lnTo>
                  <a:lnTo>
                    <a:pt x="2187" y="58"/>
                  </a:lnTo>
                  <a:lnTo>
                    <a:pt x="2187" y="58"/>
                  </a:lnTo>
                  <a:lnTo>
                    <a:pt x="2175" y="58"/>
                  </a:lnTo>
                  <a:lnTo>
                    <a:pt x="2175" y="58"/>
                  </a:lnTo>
                  <a:lnTo>
                    <a:pt x="2170" y="58"/>
                  </a:lnTo>
                  <a:lnTo>
                    <a:pt x="2163" y="58"/>
                  </a:lnTo>
                  <a:lnTo>
                    <a:pt x="2163" y="58"/>
                  </a:lnTo>
                  <a:lnTo>
                    <a:pt x="2163" y="63"/>
                  </a:lnTo>
                  <a:lnTo>
                    <a:pt x="2163" y="70"/>
                  </a:lnTo>
                  <a:lnTo>
                    <a:pt x="2163" y="70"/>
                  </a:lnTo>
                  <a:lnTo>
                    <a:pt x="2161" y="70"/>
                  </a:lnTo>
                  <a:lnTo>
                    <a:pt x="2158" y="70"/>
                  </a:lnTo>
                  <a:lnTo>
                    <a:pt x="2151" y="70"/>
                  </a:lnTo>
                  <a:lnTo>
                    <a:pt x="2151" y="70"/>
                  </a:lnTo>
                  <a:lnTo>
                    <a:pt x="2128" y="70"/>
                  </a:lnTo>
                  <a:lnTo>
                    <a:pt x="2128" y="70"/>
                  </a:lnTo>
                  <a:lnTo>
                    <a:pt x="2128" y="94"/>
                  </a:lnTo>
                  <a:lnTo>
                    <a:pt x="2128" y="94"/>
                  </a:lnTo>
                  <a:lnTo>
                    <a:pt x="2128" y="141"/>
                  </a:lnTo>
                  <a:lnTo>
                    <a:pt x="2128" y="141"/>
                  </a:lnTo>
                  <a:lnTo>
                    <a:pt x="2128" y="188"/>
                  </a:lnTo>
                  <a:lnTo>
                    <a:pt x="2128" y="188"/>
                  </a:lnTo>
                  <a:lnTo>
                    <a:pt x="2123" y="188"/>
                  </a:lnTo>
                  <a:lnTo>
                    <a:pt x="2116" y="188"/>
                  </a:lnTo>
                  <a:lnTo>
                    <a:pt x="2116" y="188"/>
                  </a:lnTo>
                  <a:lnTo>
                    <a:pt x="2116" y="183"/>
                  </a:lnTo>
                  <a:lnTo>
                    <a:pt x="2116" y="176"/>
                  </a:lnTo>
                  <a:lnTo>
                    <a:pt x="2116" y="176"/>
                  </a:lnTo>
                  <a:lnTo>
                    <a:pt x="2116" y="172"/>
                  </a:lnTo>
                  <a:lnTo>
                    <a:pt x="2116" y="165"/>
                  </a:lnTo>
                  <a:lnTo>
                    <a:pt x="2116" y="165"/>
                  </a:lnTo>
                  <a:lnTo>
                    <a:pt x="2111" y="165"/>
                  </a:lnTo>
                  <a:lnTo>
                    <a:pt x="2104" y="165"/>
                  </a:lnTo>
                  <a:lnTo>
                    <a:pt x="2104" y="165"/>
                  </a:lnTo>
                  <a:lnTo>
                    <a:pt x="2099" y="165"/>
                  </a:lnTo>
                  <a:lnTo>
                    <a:pt x="2092" y="165"/>
                  </a:lnTo>
                  <a:lnTo>
                    <a:pt x="2092" y="165"/>
                  </a:lnTo>
                  <a:lnTo>
                    <a:pt x="2081" y="165"/>
                  </a:lnTo>
                  <a:lnTo>
                    <a:pt x="2081" y="165"/>
                  </a:lnTo>
                  <a:lnTo>
                    <a:pt x="2057" y="165"/>
                  </a:lnTo>
                  <a:lnTo>
                    <a:pt x="2057" y="165"/>
                  </a:lnTo>
                  <a:lnTo>
                    <a:pt x="2050" y="165"/>
                  </a:lnTo>
                  <a:lnTo>
                    <a:pt x="2048" y="165"/>
                  </a:lnTo>
                  <a:lnTo>
                    <a:pt x="2045" y="165"/>
                  </a:lnTo>
                  <a:lnTo>
                    <a:pt x="2045" y="165"/>
                  </a:lnTo>
                  <a:lnTo>
                    <a:pt x="2045" y="167"/>
                  </a:lnTo>
                  <a:lnTo>
                    <a:pt x="2045" y="172"/>
                  </a:lnTo>
                  <a:lnTo>
                    <a:pt x="2045" y="176"/>
                  </a:lnTo>
                  <a:lnTo>
                    <a:pt x="2045" y="176"/>
                  </a:lnTo>
                  <a:lnTo>
                    <a:pt x="2045" y="183"/>
                  </a:lnTo>
                  <a:lnTo>
                    <a:pt x="2045" y="186"/>
                  </a:lnTo>
                  <a:lnTo>
                    <a:pt x="2045" y="188"/>
                  </a:lnTo>
                  <a:lnTo>
                    <a:pt x="2045" y="188"/>
                  </a:lnTo>
                  <a:lnTo>
                    <a:pt x="2038" y="188"/>
                  </a:lnTo>
                  <a:lnTo>
                    <a:pt x="2033" y="188"/>
                  </a:lnTo>
                  <a:lnTo>
                    <a:pt x="2033" y="188"/>
                  </a:lnTo>
                  <a:lnTo>
                    <a:pt x="2026" y="188"/>
                  </a:lnTo>
                  <a:lnTo>
                    <a:pt x="2022" y="188"/>
                  </a:lnTo>
                  <a:lnTo>
                    <a:pt x="2022" y="188"/>
                  </a:lnTo>
                  <a:lnTo>
                    <a:pt x="2022" y="186"/>
                  </a:lnTo>
                  <a:lnTo>
                    <a:pt x="2022" y="183"/>
                  </a:lnTo>
                  <a:lnTo>
                    <a:pt x="2022" y="176"/>
                  </a:lnTo>
                  <a:lnTo>
                    <a:pt x="2022" y="176"/>
                  </a:lnTo>
                  <a:lnTo>
                    <a:pt x="1998" y="176"/>
                  </a:lnTo>
                  <a:lnTo>
                    <a:pt x="1998" y="176"/>
                  </a:lnTo>
                  <a:lnTo>
                    <a:pt x="1998" y="200"/>
                  </a:lnTo>
                  <a:lnTo>
                    <a:pt x="1998" y="200"/>
                  </a:lnTo>
                  <a:lnTo>
                    <a:pt x="1986" y="200"/>
                  </a:lnTo>
                  <a:lnTo>
                    <a:pt x="1986" y="200"/>
                  </a:lnTo>
                  <a:lnTo>
                    <a:pt x="1979" y="200"/>
                  </a:lnTo>
                  <a:lnTo>
                    <a:pt x="1974" y="200"/>
                  </a:lnTo>
                  <a:lnTo>
                    <a:pt x="1974" y="200"/>
                  </a:lnTo>
                  <a:lnTo>
                    <a:pt x="1972" y="198"/>
                  </a:lnTo>
                  <a:lnTo>
                    <a:pt x="1974" y="195"/>
                  </a:lnTo>
                  <a:lnTo>
                    <a:pt x="1974" y="188"/>
                  </a:lnTo>
                  <a:lnTo>
                    <a:pt x="1974" y="188"/>
                  </a:lnTo>
                  <a:lnTo>
                    <a:pt x="1951" y="188"/>
                  </a:lnTo>
                  <a:lnTo>
                    <a:pt x="1951" y="188"/>
                  </a:lnTo>
                  <a:lnTo>
                    <a:pt x="1951" y="200"/>
                  </a:lnTo>
                  <a:lnTo>
                    <a:pt x="1951" y="200"/>
                  </a:lnTo>
                  <a:lnTo>
                    <a:pt x="1951" y="207"/>
                  </a:lnTo>
                  <a:lnTo>
                    <a:pt x="1951" y="212"/>
                  </a:lnTo>
                  <a:lnTo>
                    <a:pt x="1951" y="212"/>
                  </a:lnTo>
                  <a:lnTo>
                    <a:pt x="1944" y="214"/>
                  </a:lnTo>
                  <a:lnTo>
                    <a:pt x="1937" y="212"/>
                  </a:lnTo>
                  <a:lnTo>
                    <a:pt x="1937" y="212"/>
                  </a:lnTo>
                  <a:lnTo>
                    <a:pt x="1937" y="200"/>
                  </a:lnTo>
                  <a:lnTo>
                    <a:pt x="1937" y="200"/>
                  </a:lnTo>
                  <a:lnTo>
                    <a:pt x="1932" y="200"/>
                  </a:lnTo>
                  <a:lnTo>
                    <a:pt x="1925" y="200"/>
                  </a:lnTo>
                  <a:lnTo>
                    <a:pt x="1925" y="200"/>
                  </a:lnTo>
                  <a:lnTo>
                    <a:pt x="1913" y="200"/>
                  </a:lnTo>
                  <a:lnTo>
                    <a:pt x="1913" y="200"/>
                  </a:lnTo>
                  <a:lnTo>
                    <a:pt x="1901" y="200"/>
                  </a:lnTo>
                  <a:lnTo>
                    <a:pt x="1901" y="200"/>
                  </a:lnTo>
                  <a:lnTo>
                    <a:pt x="1890" y="200"/>
                  </a:lnTo>
                  <a:lnTo>
                    <a:pt x="1890" y="200"/>
                  </a:lnTo>
                  <a:lnTo>
                    <a:pt x="1866" y="200"/>
                  </a:lnTo>
                  <a:lnTo>
                    <a:pt x="1866" y="200"/>
                  </a:lnTo>
                  <a:lnTo>
                    <a:pt x="1843" y="200"/>
                  </a:lnTo>
                  <a:lnTo>
                    <a:pt x="1843" y="200"/>
                  </a:lnTo>
                  <a:lnTo>
                    <a:pt x="1843" y="188"/>
                  </a:lnTo>
                  <a:lnTo>
                    <a:pt x="1843" y="188"/>
                  </a:lnTo>
                  <a:lnTo>
                    <a:pt x="1843" y="176"/>
                  </a:lnTo>
                  <a:lnTo>
                    <a:pt x="1843" y="176"/>
                  </a:lnTo>
                  <a:lnTo>
                    <a:pt x="1843" y="165"/>
                  </a:lnTo>
                  <a:lnTo>
                    <a:pt x="1843" y="165"/>
                  </a:lnTo>
                  <a:lnTo>
                    <a:pt x="1843" y="160"/>
                  </a:lnTo>
                  <a:lnTo>
                    <a:pt x="1843" y="153"/>
                  </a:lnTo>
                  <a:lnTo>
                    <a:pt x="1843" y="153"/>
                  </a:lnTo>
                  <a:lnTo>
                    <a:pt x="1838" y="153"/>
                  </a:lnTo>
                  <a:lnTo>
                    <a:pt x="1831" y="153"/>
                  </a:lnTo>
                  <a:lnTo>
                    <a:pt x="1831" y="153"/>
                  </a:lnTo>
                  <a:lnTo>
                    <a:pt x="1831" y="150"/>
                  </a:lnTo>
                  <a:lnTo>
                    <a:pt x="1831" y="148"/>
                  </a:lnTo>
                  <a:lnTo>
                    <a:pt x="1831" y="141"/>
                  </a:lnTo>
                  <a:lnTo>
                    <a:pt x="1831" y="141"/>
                  </a:lnTo>
                  <a:lnTo>
                    <a:pt x="1784" y="141"/>
                  </a:lnTo>
                  <a:lnTo>
                    <a:pt x="1784" y="141"/>
                  </a:lnTo>
                  <a:lnTo>
                    <a:pt x="1784" y="136"/>
                  </a:lnTo>
                  <a:lnTo>
                    <a:pt x="1784" y="132"/>
                  </a:lnTo>
                  <a:lnTo>
                    <a:pt x="1784" y="129"/>
                  </a:lnTo>
                  <a:lnTo>
                    <a:pt x="1784" y="129"/>
                  </a:lnTo>
                  <a:lnTo>
                    <a:pt x="1772" y="129"/>
                  </a:lnTo>
                  <a:lnTo>
                    <a:pt x="1772" y="129"/>
                  </a:lnTo>
                  <a:lnTo>
                    <a:pt x="1760" y="129"/>
                  </a:lnTo>
                  <a:lnTo>
                    <a:pt x="1760" y="129"/>
                  </a:lnTo>
                  <a:lnTo>
                    <a:pt x="1748" y="129"/>
                  </a:lnTo>
                  <a:lnTo>
                    <a:pt x="1748" y="129"/>
                  </a:lnTo>
                  <a:lnTo>
                    <a:pt x="1748" y="136"/>
                  </a:lnTo>
                  <a:lnTo>
                    <a:pt x="1748" y="139"/>
                  </a:lnTo>
                  <a:lnTo>
                    <a:pt x="1748" y="141"/>
                  </a:lnTo>
                  <a:lnTo>
                    <a:pt x="1748" y="141"/>
                  </a:lnTo>
                  <a:lnTo>
                    <a:pt x="1741" y="141"/>
                  </a:lnTo>
                  <a:lnTo>
                    <a:pt x="1737" y="141"/>
                  </a:lnTo>
                  <a:lnTo>
                    <a:pt x="1737" y="141"/>
                  </a:lnTo>
                  <a:lnTo>
                    <a:pt x="1734" y="148"/>
                  </a:lnTo>
                  <a:lnTo>
                    <a:pt x="1737" y="153"/>
                  </a:lnTo>
                  <a:lnTo>
                    <a:pt x="1737" y="153"/>
                  </a:lnTo>
                  <a:lnTo>
                    <a:pt x="1737" y="176"/>
                  </a:lnTo>
                  <a:lnTo>
                    <a:pt x="1737" y="176"/>
                  </a:lnTo>
                  <a:lnTo>
                    <a:pt x="1713" y="176"/>
                  </a:lnTo>
                  <a:lnTo>
                    <a:pt x="1713" y="176"/>
                  </a:lnTo>
                  <a:lnTo>
                    <a:pt x="1713" y="153"/>
                  </a:lnTo>
                  <a:lnTo>
                    <a:pt x="1713" y="153"/>
                  </a:lnTo>
                  <a:lnTo>
                    <a:pt x="1713" y="141"/>
                  </a:lnTo>
                  <a:lnTo>
                    <a:pt x="1713" y="141"/>
                  </a:lnTo>
                  <a:lnTo>
                    <a:pt x="1713" y="129"/>
                  </a:lnTo>
                  <a:lnTo>
                    <a:pt x="1713" y="129"/>
                  </a:lnTo>
                  <a:lnTo>
                    <a:pt x="1713" y="122"/>
                  </a:lnTo>
                  <a:lnTo>
                    <a:pt x="1713" y="117"/>
                  </a:lnTo>
                  <a:lnTo>
                    <a:pt x="1713" y="117"/>
                  </a:lnTo>
                  <a:lnTo>
                    <a:pt x="1713" y="110"/>
                  </a:lnTo>
                  <a:lnTo>
                    <a:pt x="1713" y="106"/>
                  </a:lnTo>
                  <a:lnTo>
                    <a:pt x="1713" y="106"/>
                  </a:lnTo>
                  <a:lnTo>
                    <a:pt x="1706" y="106"/>
                  </a:lnTo>
                  <a:lnTo>
                    <a:pt x="1699" y="106"/>
                  </a:lnTo>
                  <a:lnTo>
                    <a:pt x="1699" y="106"/>
                  </a:lnTo>
                  <a:lnTo>
                    <a:pt x="1687" y="106"/>
                  </a:lnTo>
                  <a:lnTo>
                    <a:pt x="1687" y="106"/>
                  </a:lnTo>
                  <a:lnTo>
                    <a:pt x="1687" y="82"/>
                  </a:lnTo>
                  <a:lnTo>
                    <a:pt x="1687" y="82"/>
                  </a:lnTo>
                  <a:lnTo>
                    <a:pt x="1675" y="82"/>
                  </a:lnTo>
                  <a:lnTo>
                    <a:pt x="1675" y="82"/>
                  </a:lnTo>
                  <a:lnTo>
                    <a:pt x="1671" y="82"/>
                  </a:lnTo>
                  <a:lnTo>
                    <a:pt x="1663" y="82"/>
                  </a:lnTo>
                  <a:lnTo>
                    <a:pt x="1663" y="82"/>
                  </a:lnTo>
                  <a:lnTo>
                    <a:pt x="1663" y="87"/>
                  </a:lnTo>
                  <a:lnTo>
                    <a:pt x="1666" y="91"/>
                  </a:lnTo>
                  <a:lnTo>
                    <a:pt x="1663" y="94"/>
                  </a:lnTo>
                  <a:lnTo>
                    <a:pt x="1663" y="94"/>
                  </a:lnTo>
                  <a:lnTo>
                    <a:pt x="1663" y="99"/>
                  </a:lnTo>
                  <a:lnTo>
                    <a:pt x="1663" y="106"/>
                  </a:lnTo>
                  <a:lnTo>
                    <a:pt x="1663" y="106"/>
                  </a:lnTo>
                  <a:lnTo>
                    <a:pt x="1659" y="106"/>
                  </a:lnTo>
                  <a:lnTo>
                    <a:pt x="1652" y="106"/>
                  </a:lnTo>
                  <a:lnTo>
                    <a:pt x="1652" y="106"/>
                  </a:lnTo>
                  <a:lnTo>
                    <a:pt x="1640" y="106"/>
                  </a:lnTo>
                  <a:lnTo>
                    <a:pt x="1640" y="106"/>
                  </a:lnTo>
                  <a:lnTo>
                    <a:pt x="1628" y="106"/>
                  </a:lnTo>
                  <a:lnTo>
                    <a:pt x="1628" y="106"/>
                  </a:lnTo>
                  <a:lnTo>
                    <a:pt x="1623" y="106"/>
                  </a:lnTo>
                  <a:lnTo>
                    <a:pt x="1616" y="106"/>
                  </a:lnTo>
                  <a:lnTo>
                    <a:pt x="1616" y="106"/>
                  </a:lnTo>
                  <a:lnTo>
                    <a:pt x="1616" y="101"/>
                  </a:lnTo>
                  <a:lnTo>
                    <a:pt x="1616" y="94"/>
                  </a:lnTo>
                  <a:lnTo>
                    <a:pt x="1616" y="94"/>
                  </a:lnTo>
                  <a:lnTo>
                    <a:pt x="1612" y="94"/>
                  </a:lnTo>
                  <a:lnTo>
                    <a:pt x="1605" y="94"/>
                  </a:lnTo>
                  <a:lnTo>
                    <a:pt x="1605" y="94"/>
                  </a:lnTo>
                  <a:lnTo>
                    <a:pt x="1600" y="94"/>
                  </a:lnTo>
                  <a:lnTo>
                    <a:pt x="1593" y="94"/>
                  </a:lnTo>
                  <a:lnTo>
                    <a:pt x="1593" y="94"/>
                  </a:lnTo>
                  <a:lnTo>
                    <a:pt x="1593" y="99"/>
                  </a:lnTo>
                  <a:lnTo>
                    <a:pt x="1593" y="106"/>
                  </a:lnTo>
                  <a:lnTo>
                    <a:pt x="1593" y="106"/>
                  </a:lnTo>
                  <a:lnTo>
                    <a:pt x="1586" y="106"/>
                  </a:lnTo>
                  <a:lnTo>
                    <a:pt x="1583" y="106"/>
                  </a:lnTo>
                  <a:lnTo>
                    <a:pt x="1581" y="106"/>
                  </a:lnTo>
                  <a:lnTo>
                    <a:pt x="1581" y="106"/>
                  </a:lnTo>
                  <a:lnTo>
                    <a:pt x="1581" y="108"/>
                  </a:lnTo>
                  <a:lnTo>
                    <a:pt x="1581" y="110"/>
                  </a:lnTo>
                  <a:lnTo>
                    <a:pt x="1581" y="117"/>
                  </a:lnTo>
                  <a:lnTo>
                    <a:pt x="1581" y="117"/>
                  </a:lnTo>
                  <a:lnTo>
                    <a:pt x="1581" y="124"/>
                  </a:lnTo>
                  <a:lnTo>
                    <a:pt x="1581" y="129"/>
                  </a:lnTo>
                  <a:lnTo>
                    <a:pt x="1581" y="129"/>
                  </a:lnTo>
                  <a:lnTo>
                    <a:pt x="1576" y="129"/>
                  </a:lnTo>
                  <a:lnTo>
                    <a:pt x="1569" y="129"/>
                  </a:lnTo>
                  <a:lnTo>
                    <a:pt x="1569" y="129"/>
                  </a:lnTo>
                  <a:lnTo>
                    <a:pt x="1569" y="134"/>
                  </a:lnTo>
                  <a:lnTo>
                    <a:pt x="1569" y="141"/>
                  </a:lnTo>
                  <a:lnTo>
                    <a:pt x="1569" y="141"/>
                  </a:lnTo>
                  <a:lnTo>
                    <a:pt x="1569" y="148"/>
                  </a:lnTo>
                  <a:lnTo>
                    <a:pt x="1569" y="153"/>
                  </a:lnTo>
                  <a:lnTo>
                    <a:pt x="1569" y="153"/>
                  </a:lnTo>
                  <a:lnTo>
                    <a:pt x="1569" y="160"/>
                  </a:lnTo>
                  <a:lnTo>
                    <a:pt x="1569" y="165"/>
                  </a:lnTo>
                  <a:lnTo>
                    <a:pt x="1569" y="165"/>
                  </a:lnTo>
                  <a:lnTo>
                    <a:pt x="1565" y="165"/>
                  </a:lnTo>
                  <a:lnTo>
                    <a:pt x="1557" y="165"/>
                  </a:lnTo>
                  <a:lnTo>
                    <a:pt x="1557" y="165"/>
                  </a:lnTo>
                  <a:lnTo>
                    <a:pt x="1557" y="172"/>
                  </a:lnTo>
                  <a:lnTo>
                    <a:pt x="1557" y="176"/>
                  </a:lnTo>
                  <a:lnTo>
                    <a:pt x="1557" y="176"/>
                  </a:lnTo>
                  <a:lnTo>
                    <a:pt x="1557" y="188"/>
                  </a:lnTo>
                  <a:lnTo>
                    <a:pt x="1557" y="188"/>
                  </a:lnTo>
                  <a:lnTo>
                    <a:pt x="1550" y="188"/>
                  </a:lnTo>
                  <a:lnTo>
                    <a:pt x="1548" y="190"/>
                  </a:lnTo>
                  <a:lnTo>
                    <a:pt x="1546" y="188"/>
                  </a:lnTo>
                  <a:lnTo>
                    <a:pt x="1546" y="188"/>
                  </a:lnTo>
                  <a:lnTo>
                    <a:pt x="1546" y="183"/>
                  </a:lnTo>
                  <a:lnTo>
                    <a:pt x="1546" y="176"/>
                  </a:lnTo>
                  <a:lnTo>
                    <a:pt x="1546" y="176"/>
                  </a:lnTo>
                  <a:lnTo>
                    <a:pt x="1546" y="165"/>
                  </a:lnTo>
                  <a:lnTo>
                    <a:pt x="1546" y="165"/>
                  </a:lnTo>
                  <a:lnTo>
                    <a:pt x="1546" y="160"/>
                  </a:lnTo>
                  <a:lnTo>
                    <a:pt x="1546" y="153"/>
                  </a:lnTo>
                  <a:lnTo>
                    <a:pt x="1546" y="153"/>
                  </a:lnTo>
                  <a:lnTo>
                    <a:pt x="1539" y="153"/>
                  </a:lnTo>
                  <a:lnTo>
                    <a:pt x="1534" y="153"/>
                  </a:lnTo>
                  <a:lnTo>
                    <a:pt x="1534" y="153"/>
                  </a:lnTo>
                  <a:lnTo>
                    <a:pt x="1534" y="148"/>
                  </a:lnTo>
                  <a:lnTo>
                    <a:pt x="1534" y="141"/>
                  </a:lnTo>
                  <a:lnTo>
                    <a:pt x="1534" y="141"/>
                  </a:lnTo>
                  <a:lnTo>
                    <a:pt x="1534" y="136"/>
                  </a:lnTo>
                  <a:lnTo>
                    <a:pt x="1534" y="129"/>
                  </a:lnTo>
                  <a:lnTo>
                    <a:pt x="1534" y="129"/>
                  </a:lnTo>
                  <a:lnTo>
                    <a:pt x="1532" y="129"/>
                  </a:lnTo>
                  <a:lnTo>
                    <a:pt x="1527" y="129"/>
                  </a:lnTo>
                  <a:lnTo>
                    <a:pt x="1522" y="129"/>
                  </a:lnTo>
                  <a:lnTo>
                    <a:pt x="1522" y="129"/>
                  </a:lnTo>
                  <a:lnTo>
                    <a:pt x="1520" y="127"/>
                  </a:lnTo>
                  <a:lnTo>
                    <a:pt x="1522" y="124"/>
                  </a:lnTo>
                  <a:lnTo>
                    <a:pt x="1522" y="117"/>
                  </a:lnTo>
                  <a:lnTo>
                    <a:pt x="1522" y="117"/>
                  </a:lnTo>
                  <a:lnTo>
                    <a:pt x="1522" y="94"/>
                  </a:lnTo>
                  <a:lnTo>
                    <a:pt x="1522" y="94"/>
                  </a:lnTo>
                  <a:lnTo>
                    <a:pt x="1510" y="94"/>
                  </a:lnTo>
                  <a:lnTo>
                    <a:pt x="1510" y="94"/>
                  </a:lnTo>
                  <a:lnTo>
                    <a:pt x="1503" y="94"/>
                  </a:lnTo>
                  <a:lnTo>
                    <a:pt x="1499" y="94"/>
                  </a:lnTo>
                  <a:lnTo>
                    <a:pt x="1499" y="94"/>
                  </a:lnTo>
                  <a:lnTo>
                    <a:pt x="1496" y="87"/>
                  </a:lnTo>
                  <a:lnTo>
                    <a:pt x="1499" y="82"/>
                  </a:lnTo>
                  <a:lnTo>
                    <a:pt x="1499" y="82"/>
                  </a:lnTo>
                  <a:lnTo>
                    <a:pt x="1499" y="70"/>
                  </a:lnTo>
                  <a:lnTo>
                    <a:pt x="1499" y="70"/>
                  </a:lnTo>
                  <a:lnTo>
                    <a:pt x="1491" y="70"/>
                  </a:lnTo>
                  <a:lnTo>
                    <a:pt x="1489" y="70"/>
                  </a:lnTo>
                  <a:lnTo>
                    <a:pt x="1487" y="70"/>
                  </a:lnTo>
                  <a:lnTo>
                    <a:pt x="1487" y="70"/>
                  </a:lnTo>
                  <a:lnTo>
                    <a:pt x="1487" y="63"/>
                  </a:lnTo>
                  <a:lnTo>
                    <a:pt x="1487" y="58"/>
                  </a:lnTo>
                  <a:lnTo>
                    <a:pt x="1487" y="58"/>
                  </a:lnTo>
                  <a:lnTo>
                    <a:pt x="1480" y="58"/>
                  </a:lnTo>
                  <a:lnTo>
                    <a:pt x="1475" y="58"/>
                  </a:lnTo>
                  <a:lnTo>
                    <a:pt x="1475" y="58"/>
                  </a:lnTo>
                  <a:lnTo>
                    <a:pt x="1449" y="58"/>
                  </a:lnTo>
                  <a:lnTo>
                    <a:pt x="1449" y="58"/>
                  </a:lnTo>
                  <a:lnTo>
                    <a:pt x="1437" y="58"/>
                  </a:lnTo>
                  <a:lnTo>
                    <a:pt x="1437" y="58"/>
                  </a:lnTo>
                  <a:lnTo>
                    <a:pt x="1425" y="58"/>
                  </a:lnTo>
                  <a:lnTo>
                    <a:pt x="1425" y="58"/>
                  </a:lnTo>
                  <a:lnTo>
                    <a:pt x="1414" y="58"/>
                  </a:lnTo>
                  <a:lnTo>
                    <a:pt x="1414" y="58"/>
                  </a:lnTo>
                  <a:lnTo>
                    <a:pt x="1414" y="51"/>
                  </a:lnTo>
                  <a:lnTo>
                    <a:pt x="1414" y="47"/>
                  </a:lnTo>
                  <a:lnTo>
                    <a:pt x="1414" y="47"/>
                  </a:lnTo>
                  <a:lnTo>
                    <a:pt x="1402" y="47"/>
                  </a:lnTo>
                  <a:lnTo>
                    <a:pt x="1402" y="47"/>
                  </a:lnTo>
                  <a:lnTo>
                    <a:pt x="1390" y="47"/>
                  </a:lnTo>
                  <a:lnTo>
                    <a:pt x="1390" y="47"/>
                  </a:lnTo>
                  <a:lnTo>
                    <a:pt x="1367" y="47"/>
                  </a:lnTo>
                  <a:lnTo>
                    <a:pt x="1367" y="47"/>
                  </a:lnTo>
                  <a:lnTo>
                    <a:pt x="1367" y="94"/>
                  </a:lnTo>
                  <a:lnTo>
                    <a:pt x="1367" y="94"/>
                  </a:lnTo>
                  <a:lnTo>
                    <a:pt x="1367" y="141"/>
                  </a:lnTo>
                  <a:lnTo>
                    <a:pt x="1367" y="141"/>
                  </a:lnTo>
                  <a:lnTo>
                    <a:pt x="1355" y="141"/>
                  </a:lnTo>
                  <a:lnTo>
                    <a:pt x="1355" y="141"/>
                  </a:lnTo>
                  <a:lnTo>
                    <a:pt x="1261" y="141"/>
                  </a:lnTo>
                  <a:lnTo>
                    <a:pt x="1261" y="141"/>
                  </a:lnTo>
                  <a:lnTo>
                    <a:pt x="1261" y="153"/>
                  </a:lnTo>
                  <a:lnTo>
                    <a:pt x="1261" y="153"/>
                  </a:lnTo>
                  <a:lnTo>
                    <a:pt x="1261" y="176"/>
                  </a:lnTo>
                  <a:lnTo>
                    <a:pt x="1261" y="176"/>
                  </a:lnTo>
                  <a:lnTo>
                    <a:pt x="1261" y="188"/>
                  </a:lnTo>
                  <a:lnTo>
                    <a:pt x="1261" y="188"/>
                  </a:lnTo>
                  <a:lnTo>
                    <a:pt x="1261" y="200"/>
                  </a:lnTo>
                  <a:lnTo>
                    <a:pt x="1261" y="200"/>
                  </a:lnTo>
                  <a:lnTo>
                    <a:pt x="1261" y="207"/>
                  </a:lnTo>
                  <a:lnTo>
                    <a:pt x="1261" y="212"/>
                  </a:lnTo>
                  <a:lnTo>
                    <a:pt x="1261" y="212"/>
                  </a:lnTo>
                  <a:lnTo>
                    <a:pt x="1253" y="212"/>
                  </a:lnTo>
                  <a:lnTo>
                    <a:pt x="1249" y="212"/>
                  </a:lnTo>
                  <a:lnTo>
                    <a:pt x="1249" y="212"/>
                  </a:lnTo>
                  <a:lnTo>
                    <a:pt x="1249" y="219"/>
                  </a:lnTo>
                  <a:lnTo>
                    <a:pt x="1249" y="223"/>
                  </a:lnTo>
                  <a:lnTo>
                    <a:pt x="1249" y="223"/>
                  </a:lnTo>
                  <a:lnTo>
                    <a:pt x="1242" y="223"/>
                  </a:lnTo>
                  <a:lnTo>
                    <a:pt x="1237" y="223"/>
                  </a:lnTo>
                  <a:lnTo>
                    <a:pt x="1237" y="223"/>
                  </a:lnTo>
                  <a:lnTo>
                    <a:pt x="1235" y="230"/>
                  </a:lnTo>
                  <a:lnTo>
                    <a:pt x="1237" y="235"/>
                  </a:lnTo>
                  <a:lnTo>
                    <a:pt x="1237" y="235"/>
                  </a:lnTo>
                  <a:lnTo>
                    <a:pt x="1237" y="249"/>
                  </a:lnTo>
                  <a:lnTo>
                    <a:pt x="1237" y="249"/>
                  </a:lnTo>
                  <a:lnTo>
                    <a:pt x="1230" y="249"/>
                  </a:lnTo>
                  <a:lnTo>
                    <a:pt x="1225" y="249"/>
                  </a:lnTo>
                  <a:lnTo>
                    <a:pt x="1225" y="249"/>
                  </a:lnTo>
                  <a:lnTo>
                    <a:pt x="1218" y="249"/>
                  </a:lnTo>
                  <a:lnTo>
                    <a:pt x="1211" y="249"/>
                  </a:lnTo>
                  <a:lnTo>
                    <a:pt x="1211" y="249"/>
                  </a:lnTo>
                  <a:lnTo>
                    <a:pt x="1213" y="242"/>
                  </a:lnTo>
                  <a:lnTo>
                    <a:pt x="1211" y="235"/>
                  </a:lnTo>
                  <a:lnTo>
                    <a:pt x="1211" y="235"/>
                  </a:lnTo>
                  <a:lnTo>
                    <a:pt x="1206" y="235"/>
                  </a:lnTo>
                  <a:lnTo>
                    <a:pt x="1199" y="235"/>
                  </a:lnTo>
                  <a:lnTo>
                    <a:pt x="1199" y="235"/>
                  </a:lnTo>
                  <a:lnTo>
                    <a:pt x="1188" y="235"/>
                  </a:lnTo>
                  <a:lnTo>
                    <a:pt x="1188" y="235"/>
                  </a:lnTo>
                  <a:lnTo>
                    <a:pt x="1188" y="242"/>
                  </a:lnTo>
                  <a:lnTo>
                    <a:pt x="1190" y="247"/>
                  </a:lnTo>
                  <a:lnTo>
                    <a:pt x="1188" y="249"/>
                  </a:lnTo>
                  <a:lnTo>
                    <a:pt x="1188" y="249"/>
                  </a:lnTo>
                  <a:lnTo>
                    <a:pt x="1185" y="249"/>
                  </a:lnTo>
                  <a:lnTo>
                    <a:pt x="1183" y="249"/>
                  </a:lnTo>
                  <a:lnTo>
                    <a:pt x="1178" y="247"/>
                  </a:lnTo>
                  <a:lnTo>
                    <a:pt x="1176" y="249"/>
                  </a:lnTo>
                  <a:lnTo>
                    <a:pt x="1176" y="249"/>
                  </a:lnTo>
                  <a:lnTo>
                    <a:pt x="1176" y="252"/>
                  </a:lnTo>
                  <a:lnTo>
                    <a:pt x="1176" y="254"/>
                  </a:lnTo>
                  <a:lnTo>
                    <a:pt x="1178" y="259"/>
                  </a:lnTo>
                  <a:lnTo>
                    <a:pt x="1176" y="261"/>
                  </a:lnTo>
                  <a:lnTo>
                    <a:pt x="1176" y="261"/>
                  </a:lnTo>
                  <a:lnTo>
                    <a:pt x="1173" y="261"/>
                  </a:lnTo>
                  <a:lnTo>
                    <a:pt x="1171" y="261"/>
                  </a:lnTo>
                  <a:lnTo>
                    <a:pt x="1164" y="261"/>
                  </a:lnTo>
                  <a:lnTo>
                    <a:pt x="1164" y="261"/>
                  </a:lnTo>
                  <a:lnTo>
                    <a:pt x="1164" y="235"/>
                  </a:lnTo>
                  <a:lnTo>
                    <a:pt x="1164" y="235"/>
                  </a:lnTo>
                  <a:lnTo>
                    <a:pt x="1152" y="235"/>
                  </a:lnTo>
                  <a:lnTo>
                    <a:pt x="1152" y="235"/>
                  </a:lnTo>
                  <a:lnTo>
                    <a:pt x="1140" y="235"/>
                  </a:lnTo>
                  <a:lnTo>
                    <a:pt x="1140" y="235"/>
                  </a:lnTo>
                  <a:lnTo>
                    <a:pt x="1129" y="235"/>
                  </a:lnTo>
                  <a:lnTo>
                    <a:pt x="1129" y="235"/>
                  </a:lnTo>
                  <a:lnTo>
                    <a:pt x="1129" y="242"/>
                  </a:lnTo>
                  <a:lnTo>
                    <a:pt x="1129" y="247"/>
                  </a:lnTo>
                  <a:lnTo>
                    <a:pt x="1129" y="249"/>
                  </a:lnTo>
                  <a:lnTo>
                    <a:pt x="1129" y="249"/>
                  </a:lnTo>
                  <a:lnTo>
                    <a:pt x="1126" y="249"/>
                  </a:lnTo>
                  <a:lnTo>
                    <a:pt x="1124" y="249"/>
                  </a:lnTo>
                  <a:lnTo>
                    <a:pt x="1119" y="247"/>
                  </a:lnTo>
                  <a:lnTo>
                    <a:pt x="1117" y="249"/>
                  </a:lnTo>
                  <a:lnTo>
                    <a:pt x="1117" y="249"/>
                  </a:lnTo>
                  <a:lnTo>
                    <a:pt x="1117" y="252"/>
                  </a:lnTo>
                  <a:lnTo>
                    <a:pt x="1117" y="254"/>
                  </a:lnTo>
                  <a:lnTo>
                    <a:pt x="1117" y="259"/>
                  </a:lnTo>
                  <a:lnTo>
                    <a:pt x="1117" y="261"/>
                  </a:lnTo>
                  <a:lnTo>
                    <a:pt x="1117" y="261"/>
                  </a:lnTo>
                  <a:lnTo>
                    <a:pt x="1114" y="261"/>
                  </a:lnTo>
                  <a:lnTo>
                    <a:pt x="1112" y="261"/>
                  </a:lnTo>
                  <a:lnTo>
                    <a:pt x="1105" y="261"/>
                  </a:lnTo>
                  <a:lnTo>
                    <a:pt x="1105" y="261"/>
                  </a:lnTo>
                  <a:lnTo>
                    <a:pt x="1100" y="261"/>
                  </a:lnTo>
                  <a:lnTo>
                    <a:pt x="1093" y="261"/>
                  </a:lnTo>
                  <a:lnTo>
                    <a:pt x="1093" y="261"/>
                  </a:lnTo>
                  <a:lnTo>
                    <a:pt x="1086" y="259"/>
                  </a:lnTo>
                  <a:lnTo>
                    <a:pt x="1081" y="261"/>
                  </a:lnTo>
                  <a:lnTo>
                    <a:pt x="1081" y="261"/>
                  </a:lnTo>
                  <a:lnTo>
                    <a:pt x="1081" y="273"/>
                  </a:lnTo>
                  <a:lnTo>
                    <a:pt x="1081" y="273"/>
                  </a:lnTo>
                  <a:lnTo>
                    <a:pt x="1081" y="278"/>
                  </a:lnTo>
                  <a:lnTo>
                    <a:pt x="1081" y="285"/>
                  </a:lnTo>
                  <a:lnTo>
                    <a:pt x="1081" y="285"/>
                  </a:lnTo>
                  <a:lnTo>
                    <a:pt x="1079" y="285"/>
                  </a:lnTo>
                  <a:lnTo>
                    <a:pt x="1074" y="285"/>
                  </a:lnTo>
                  <a:lnTo>
                    <a:pt x="1070" y="285"/>
                  </a:lnTo>
                  <a:lnTo>
                    <a:pt x="1070" y="285"/>
                  </a:lnTo>
                  <a:lnTo>
                    <a:pt x="1070" y="188"/>
                  </a:lnTo>
                  <a:lnTo>
                    <a:pt x="1070" y="188"/>
                  </a:lnTo>
                  <a:lnTo>
                    <a:pt x="1058" y="188"/>
                  </a:lnTo>
                  <a:lnTo>
                    <a:pt x="1058" y="188"/>
                  </a:lnTo>
                  <a:lnTo>
                    <a:pt x="1034" y="188"/>
                  </a:lnTo>
                  <a:lnTo>
                    <a:pt x="1034" y="188"/>
                  </a:lnTo>
                  <a:lnTo>
                    <a:pt x="1034" y="165"/>
                  </a:lnTo>
                  <a:lnTo>
                    <a:pt x="1034" y="165"/>
                  </a:lnTo>
                  <a:lnTo>
                    <a:pt x="1011" y="165"/>
                  </a:lnTo>
                  <a:lnTo>
                    <a:pt x="1011" y="165"/>
                  </a:lnTo>
                  <a:lnTo>
                    <a:pt x="1011" y="188"/>
                  </a:lnTo>
                  <a:lnTo>
                    <a:pt x="1011" y="188"/>
                  </a:lnTo>
                  <a:lnTo>
                    <a:pt x="961" y="188"/>
                  </a:lnTo>
                  <a:lnTo>
                    <a:pt x="961" y="188"/>
                  </a:lnTo>
                  <a:lnTo>
                    <a:pt x="961" y="195"/>
                  </a:lnTo>
                  <a:lnTo>
                    <a:pt x="961" y="200"/>
                  </a:lnTo>
                  <a:lnTo>
                    <a:pt x="961" y="200"/>
                  </a:lnTo>
                  <a:lnTo>
                    <a:pt x="968" y="200"/>
                  </a:lnTo>
                  <a:lnTo>
                    <a:pt x="975" y="200"/>
                  </a:lnTo>
                  <a:lnTo>
                    <a:pt x="975" y="200"/>
                  </a:lnTo>
                  <a:lnTo>
                    <a:pt x="975" y="207"/>
                  </a:lnTo>
                  <a:lnTo>
                    <a:pt x="975" y="212"/>
                  </a:lnTo>
                  <a:lnTo>
                    <a:pt x="975" y="212"/>
                  </a:lnTo>
                  <a:lnTo>
                    <a:pt x="975" y="223"/>
                  </a:lnTo>
                  <a:lnTo>
                    <a:pt x="975" y="223"/>
                  </a:lnTo>
                  <a:lnTo>
                    <a:pt x="975" y="235"/>
                  </a:lnTo>
                  <a:lnTo>
                    <a:pt x="975" y="235"/>
                  </a:lnTo>
                  <a:lnTo>
                    <a:pt x="975" y="249"/>
                  </a:lnTo>
                  <a:lnTo>
                    <a:pt x="975" y="249"/>
                  </a:lnTo>
                  <a:lnTo>
                    <a:pt x="975" y="261"/>
                  </a:lnTo>
                  <a:lnTo>
                    <a:pt x="975" y="261"/>
                  </a:lnTo>
                  <a:lnTo>
                    <a:pt x="975" y="285"/>
                  </a:lnTo>
                  <a:lnTo>
                    <a:pt x="975" y="285"/>
                  </a:lnTo>
                  <a:lnTo>
                    <a:pt x="968" y="285"/>
                  </a:lnTo>
                  <a:lnTo>
                    <a:pt x="961" y="285"/>
                  </a:lnTo>
                  <a:lnTo>
                    <a:pt x="961" y="285"/>
                  </a:lnTo>
                  <a:lnTo>
                    <a:pt x="957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78"/>
                  </a:lnTo>
                  <a:lnTo>
                    <a:pt x="950" y="273"/>
                  </a:lnTo>
                  <a:lnTo>
                    <a:pt x="950" y="273"/>
                  </a:lnTo>
                  <a:lnTo>
                    <a:pt x="945" y="271"/>
                  </a:lnTo>
                  <a:lnTo>
                    <a:pt x="938" y="273"/>
                  </a:lnTo>
                  <a:lnTo>
                    <a:pt x="938" y="273"/>
                  </a:lnTo>
                  <a:lnTo>
                    <a:pt x="926" y="273"/>
                  </a:lnTo>
                  <a:lnTo>
                    <a:pt x="926" y="273"/>
                  </a:lnTo>
                  <a:lnTo>
                    <a:pt x="914" y="273"/>
                  </a:lnTo>
                  <a:lnTo>
                    <a:pt x="914" y="273"/>
                  </a:lnTo>
                  <a:lnTo>
                    <a:pt x="909" y="271"/>
                  </a:lnTo>
                  <a:lnTo>
                    <a:pt x="902" y="273"/>
                  </a:lnTo>
                  <a:lnTo>
                    <a:pt x="902" y="273"/>
                  </a:lnTo>
                  <a:lnTo>
                    <a:pt x="902" y="278"/>
                  </a:lnTo>
                  <a:lnTo>
                    <a:pt x="902" y="285"/>
                  </a:lnTo>
                  <a:lnTo>
                    <a:pt x="902" y="285"/>
                  </a:lnTo>
                  <a:lnTo>
                    <a:pt x="898" y="285"/>
                  </a:lnTo>
                  <a:lnTo>
                    <a:pt x="891" y="285"/>
                  </a:lnTo>
                  <a:lnTo>
                    <a:pt x="891" y="285"/>
                  </a:lnTo>
                  <a:lnTo>
                    <a:pt x="886" y="285"/>
                  </a:lnTo>
                  <a:lnTo>
                    <a:pt x="879" y="285"/>
                  </a:lnTo>
                  <a:lnTo>
                    <a:pt x="879" y="285"/>
                  </a:lnTo>
                  <a:lnTo>
                    <a:pt x="879" y="278"/>
                  </a:lnTo>
                  <a:lnTo>
                    <a:pt x="879" y="273"/>
                  </a:lnTo>
                  <a:lnTo>
                    <a:pt x="879" y="273"/>
                  </a:lnTo>
                  <a:lnTo>
                    <a:pt x="879" y="266"/>
                  </a:lnTo>
                  <a:lnTo>
                    <a:pt x="879" y="261"/>
                  </a:lnTo>
                  <a:lnTo>
                    <a:pt x="879" y="261"/>
                  </a:lnTo>
                  <a:lnTo>
                    <a:pt x="874" y="261"/>
                  </a:lnTo>
                  <a:lnTo>
                    <a:pt x="867" y="261"/>
                  </a:lnTo>
                  <a:lnTo>
                    <a:pt x="867" y="261"/>
                  </a:lnTo>
                  <a:lnTo>
                    <a:pt x="860" y="261"/>
                  </a:lnTo>
                  <a:lnTo>
                    <a:pt x="858" y="259"/>
                  </a:lnTo>
                  <a:lnTo>
                    <a:pt x="855" y="261"/>
                  </a:lnTo>
                  <a:lnTo>
                    <a:pt x="855" y="261"/>
                  </a:lnTo>
                  <a:lnTo>
                    <a:pt x="855" y="263"/>
                  </a:lnTo>
                  <a:lnTo>
                    <a:pt x="855" y="266"/>
                  </a:lnTo>
                  <a:lnTo>
                    <a:pt x="855" y="273"/>
                  </a:lnTo>
                  <a:lnTo>
                    <a:pt x="855" y="273"/>
                  </a:lnTo>
                  <a:lnTo>
                    <a:pt x="855" y="275"/>
                  </a:lnTo>
                  <a:lnTo>
                    <a:pt x="855" y="278"/>
                  </a:lnTo>
                  <a:lnTo>
                    <a:pt x="855" y="282"/>
                  </a:lnTo>
                  <a:lnTo>
                    <a:pt x="855" y="285"/>
                  </a:lnTo>
                  <a:lnTo>
                    <a:pt x="855" y="285"/>
                  </a:lnTo>
                  <a:lnTo>
                    <a:pt x="851" y="285"/>
                  </a:lnTo>
                  <a:lnTo>
                    <a:pt x="844" y="285"/>
                  </a:lnTo>
                  <a:lnTo>
                    <a:pt x="844" y="285"/>
                  </a:lnTo>
                  <a:lnTo>
                    <a:pt x="832" y="285"/>
                  </a:lnTo>
                  <a:lnTo>
                    <a:pt x="832" y="285"/>
                  </a:lnTo>
                  <a:lnTo>
                    <a:pt x="825" y="285"/>
                  </a:lnTo>
                  <a:lnTo>
                    <a:pt x="820" y="285"/>
                  </a:lnTo>
                  <a:lnTo>
                    <a:pt x="820" y="285"/>
                  </a:lnTo>
                  <a:lnTo>
                    <a:pt x="820" y="282"/>
                  </a:lnTo>
                  <a:lnTo>
                    <a:pt x="820" y="278"/>
                  </a:lnTo>
                  <a:lnTo>
                    <a:pt x="820" y="273"/>
                  </a:lnTo>
                  <a:lnTo>
                    <a:pt x="820" y="273"/>
                  </a:lnTo>
                  <a:lnTo>
                    <a:pt x="796" y="273"/>
                  </a:lnTo>
                  <a:lnTo>
                    <a:pt x="796" y="273"/>
                  </a:lnTo>
                  <a:lnTo>
                    <a:pt x="785" y="273"/>
                  </a:lnTo>
                  <a:lnTo>
                    <a:pt x="785" y="273"/>
                  </a:lnTo>
                  <a:lnTo>
                    <a:pt x="761" y="273"/>
                  </a:lnTo>
                  <a:lnTo>
                    <a:pt x="761" y="273"/>
                  </a:lnTo>
                  <a:lnTo>
                    <a:pt x="737" y="273"/>
                  </a:lnTo>
                  <a:lnTo>
                    <a:pt x="737" y="273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35"/>
                  </a:lnTo>
                  <a:lnTo>
                    <a:pt x="737" y="235"/>
                  </a:lnTo>
                  <a:lnTo>
                    <a:pt x="737" y="188"/>
                  </a:lnTo>
                  <a:lnTo>
                    <a:pt x="737" y="188"/>
                  </a:lnTo>
                  <a:lnTo>
                    <a:pt x="688" y="188"/>
                  </a:lnTo>
                  <a:lnTo>
                    <a:pt x="688" y="188"/>
                  </a:lnTo>
                  <a:lnTo>
                    <a:pt x="688" y="176"/>
                  </a:lnTo>
                  <a:lnTo>
                    <a:pt x="688" y="176"/>
                  </a:lnTo>
                  <a:lnTo>
                    <a:pt x="690" y="172"/>
                  </a:lnTo>
                  <a:lnTo>
                    <a:pt x="688" y="165"/>
                  </a:lnTo>
                  <a:lnTo>
                    <a:pt x="688" y="165"/>
                  </a:lnTo>
                  <a:lnTo>
                    <a:pt x="686" y="165"/>
                  </a:lnTo>
                  <a:lnTo>
                    <a:pt x="683" y="165"/>
                  </a:lnTo>
                  <a:lnTo>
                    <a:pt x="676" y="165"/>
                  </a:lnTo>
                  <a:lnTo>
                    <a:pt x="676" y="165"/>
                  </a:lnTo>
                  <a:lnTo>
                    <a:pt x="653" y="165"/>
                  </a:lnTo>
                  <a:lnTo>
                    <a:pt x="653" y="165"/>
                  </a:lnTo>
                  <a:lnTo>
                    <a:pt x="653" y="172"/>
                  </a:lnTo>
                  <a:lnTo>
                    <a:pt x="653" y="174"/>
                  </a:lnTo>
                  <a:lnTo>
                    <a:pt x="653" y="176"/>
                  </a:lnTo>
                  <a:lnTo>
                    <a:pt x="653" y="176"/>
                  </a:lnTo>
                  <a:lnTo>
                    <a:pt x="648" y="176"/>
                  </a:lnTo>
                  <a:lnTo>
                    <a:pt x="641" y="176"/>
                  </a:lnTo>
                  <a:lnTo>
                    <a:pt x="641" y="176"/>
                  </a:lnTo>
                  <a:lnTo>
                    <a:pt x="641" y="183"/>
                  </a:lnTo>
                  <a:lnTo>
                    <a:pt x="641" y="188"/>
                  </a:lnTo>
                  <a:lnTo>
                    <a:pt x="641" y="188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212"/>
                  </a:lnTo>
                  <a:lnTo>
                    <a:pt x="641" y="212"/>
                  </a:lnTo>
                  <a:lnTo>
                    <a:pt x="641" y="223"/>
                  </a:lnTo>
                  <a:lnTo>
                    <a:pt x="641" y="223"/>
                  </a:lnTo>
                  <a:lnTo>
                    <a:pt x="641" y="235"/>
                  </a:lnTo>
                  <a:lnTo>
                    <a:pt x="641" y="235"/>
                  </a:lnTo>
                  <a:lnTo>
                    <a:pt x="641" y="261"/>
                  </a:lnTo>
                  <a:lnTo>
                    <a:pt x="641" y="261"/>
                  </a:lnTo>
                  <a:lnTo>
                    <a:pt x="594" y="261"/>
                  </a:lnTo>
                  <a:lnTo>
                    <a:pt x="594" y="261"/>
                  </a:lnTo>
                  <a:lnTo>
                    <a:pt x="587" y="261"/>
                  </a:lnTo>
                  <a:lnTo>
                    <a:pt x="582" y="261"/>
                  </a:lnTo>
                  <a:lnTo>
                    <a:pt x="582" y="261"/>
                  </a:lnTo>
                  <a:lnTo>
                    <a:pt x="582" y="261"/>
                  </a:lnTo>
                  <a:lnTo>
                    <a:pt x="582" y="266"/>
                  </a:lnTo>
                  <a:lnTo>
                    <a:pt x="582" y="273"/>
                  </a:lnTo>
                  <a:lnTo>
                    <a:pt x="582" y="273"/>
                  </a:lnTo>
                  <a:lnTo>
                    <a:pt x="570" y="273"/>
                  </a:lnTo>
                  <a:lnTo>
                    <a:pt x="570" y="273"/>
                  </a:lnTo>
                  <a:lnTo>
                    <a:pt x="570" y="261"/>
                  </a:lnTo>
                  <a:lnTo>
                    <a:pt x="570" y="261"/>
                  </a:lnTo>
                  <a:lnTo>
                    <a:pt x="568" y="259"/>
                  </a:lnTo>
                  <a:lnTo>
                    <a:pt x="563" y="261"/>
                  </a:lnTo>
                  <a:lnTo>
                    <a:pt x="561" y="261"/>
                  </a:lnTo>
                  <a:lnTo>
                    <a:pt x="558" y="261"/>
                  </a:lnTo>
                  <a:lnTo>
                    <a:pt x="558" y="261"/>
                  </a:lnTo>
                  <a:lnTo>
                    <a:pt x="558" y="259"/>
                  </a:lnTo>
                  <a:lnTo>
                    <a:pt x="558" y="254"/>
                  </a:lnTo>
                  <a:lnTo>
                    <a:pt x="558" y="252"/>
                  </a:lnTo>
                  <a:lnTo>
                    <a:pt x="558" y="249"/>
                  </a:lnTo>
                  <a:lnTo>
                    <a:pt x="558" y="249"/>
                  </a:lnTo>
                  <a:lnTo>
                    <a:pt x="556" y="247"/>
                  </a:lnTo>
                  <a:lnTo>
                    <a:pt x="551" y="247"/>
                  </a:lnTo>
                  <a:lnTo>
                    <a:pt x="547" y="249"/>
                  </a:lnTo>
                  <a:lnTo>
                    <a:pt x="547" y="249"/>
                  </a:lnTo>
                  <a:lnTo>
                    <a:pt x="547" y="261"/>
                  </a:lnTo>
                  <a:lnTo>
                    <a:pt x="547" y="261"/>
                  </a:lnTo>
                  <a:lnTo>
                    <a:pt x="547" y="266"/>
                  </a:lnTo>
                  <a:lnTo>
                    <a:pt x="547" y="273"/>
                  </a:lnTo>
                  <a:lnTo>
                    <a:pt x="547" y="273"/>
                  </a:lnTo>
                  <a:lnTo>
                    <a:pt x="535" y="273"/>
                  </a:lnTo>
                  <a:lnTo>
                    <a:pt x="535" y="273"/>
                  </a:lnTo>
                  <a:lnTo>
                    <a:pt x="535" y="266"/>
                  </a:lnTo>
                  <a:lnTo>
                    <a:pt x="535" y="261"/>
                  </a:lnTo>
                  <a:lnTo>
                    <a:pt x="535" y="261"/>
                  </a:lnTo>
                  <a:lnTo>
                    <a:pt x="535" y="249"/>
                  </a:lnTo>
                  <a:lnTo>
                    <a:pt x="535" y="249"/>
                  </a:lnTo>
                  <a:lnTo>
                    <a:pt x="523" y="249"/>
                  </a:lnTo>
                  <a:lnTo>
                    <a:pt x="523" y="249"/>
                  </a:lnTo>
                  <a:lnTo>
                    <a:pt x="511" y="249"/>
                  </a:lnTo>
                  <a:lnTo>
                    <a:pt x="511" y="249"/>
                  </a:lnTo>
                  <a:lnTo>
                    <a:pt x="500" y="249"/>
                  </a:lnTo>
                  <a:lnTo>
                    <a:pt x="500" y="249"/>
                  </a:lnTo>
                  <a:lnTo>
                    <a:pt x="500" y="261"/>
                  </a:lnTo>
                  <a:lnTo>
                    <a:pt x="500" y="261"/>
                  </a:lnTo>
                  <a:lnTo>
                    <a:pt x="488" y="261"/>
                  </a:lnTo>
                  <a:lnTo>
                    <a:pt x="488" y="261"/>
                  </a:lnTo>
                  <a:lnTo>
                    <a:pt x="488" y="254"/>
                  </a:lnTo>
                  <a:lnTo>
                    <a:pt x="488" y="249"/>
                  </a:lnTo>
                  <a:lnTo>
                    <a:pt x="488" y="249"/>
                  </a:lnTo>
                  <a:lnTo>
                    <a:pt x="485" y="247"/>
                  </a:lnTo>
                  <a:lnTo>
                    <a:pt x="481" y="247"/>
                  </a:lnTo>
                  <a:lnTo>
                    <a:pt x="474" y="249"/>
                  </a:lnTo>
                  <a:lnTo>
                    <a:pt x="474" y="249"/>
                  </a:lnTo>
                  <a:lnTo>
                    <a:pt x="474" y="223"/>
                  </a:lnTo>
                  <a:lnTo>
                    <a:pt x="474" y="223"/>
                  </a:lnTo>
                  <a:lnTo>
                    <a:pt x="474" y="212"/>
                  </a:lnTo>
                  <a:lnTo>
                    <a:pt x="474" y="212"/>
                  </a:lnTo>
                  <a:lnTo>
                    <a:pt x="476" y="207"/>
                  </a:lnTo>
                  <a:lnTo>
                    <a:pt x="474" y="200"/>
                  </a:lnTo>
                  <a:lnTo>
                    <a:pt x="474" y="200"/>
                  </a:lnTo>
                  <a:lnTo>
                    <a:pt x="462" y="200"/>
                  </a:lnTo>
                  <a:lnTo>
                    <a:pt x="462" y="200"/>
                  </a:lnTo>
                  <a:lnTo>
                    <a:pt x="462" y="212"/>
                  </a:lnTo>
                  <a:lnTo>
                    <a:pt x="462" y="212"/>
                  </a:lnTo>
                  <a:lnTo>
                    <a:pt x="462" y="223"/>
                  </a:lnTo>
                  <a:lnTo>
                    <a:pt x="462" y="223"/>
                  </a:lnTo>
                  <a:lnTo>
                    <a:pt x="462" y="235"/>
                  </a:lnTo>
                  <a:lnTo>
                    <a:pt x="462" y="235"/>
                  </a:lnTo>
                  <a:lnTo>
                    <a:pt x="464" y="242"/>
                  </a:lnTo>
                  <a:lnTo>
                    <a:pt x="462" y="249"/>
                  </a:lnTo>
                  <a:lnTo>
                    <a:pt x="462" y="249"/>
                  </a:lnTo>
                  <a:lnTo>
                    <a:pt x="462" y="249"/>
                  </a:lnTo>
                  <a:lnTo>
                    <a:pt x="457" y="249"/>
                  </a:lnTo>
                  <a:lnTo>
                    <a:pt x="450" y="249"/>
                  </a:lnTo>
                  <a:lnTo>
                    <a:pt x="450" y="249"/>
                  </a:lnTo>
                  <a:lnTo>
                    <a:pt x="450" y="252"/>
                  </a:lnTo>
                  <a:lnTo>
                    <a:pt x="450" y="254"/>
                  </a:lnTo>
                  <a:lnTo>
                    <a:pt x="450" y="261"/>
                  </a:lnTo>
                  <a:lnTo>
                    <a:pt x="450" y="261"/>
                  </a:lnTo>
                  <a:lnTo>
                    <a:pt x="426" y="261"/>
                  </a:lnTo>
                  <a:lnTo>
                    <a:pt x="426" y="261"/>
                  </a:lnTo>
                  <a:lnTo>
                    <a:pt x="426" y="212"/>
                  </a:lnTo>
                  <a:lnTo>
                    <a:pt x="426" y="212"/>
                  </a:lnTo>
                  <a:lnTo>
                    <a:pt x="426" y="200"/>
                  </a:lnTo>
                  <a:lnTo>
                    <a:pt x="426" y="200"/>
                  </a:lnTo>
                  <a:lnTo>
                    <a:pt x="426" y="195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4" y="188"/>
                  </a:lnTo>
                  <a:lnTo>
                    <a:pt x="422" y="188"/>
                  </a:lnTo>
                  <a:lnTo>
                    <a:pt x="415" y="188"/>
                  </a:lnTo>
                  <a:lnTo>
                    <a:pt x="415" y="188"/>
                  </a:lnTo>
                  <a:lnTo>
                    <a:pt x="415" y="165"/>
                  </a:lnTo>
                  <a:lnTo>
                    <a:pt x="415" y="165"/>
                  </a:lnTo>
                  <a:lnTo>
                    <a:pt x="415" y="153"/>
                  </a:lnTo>
                  <a:lnTo>
                    <a:pt x="415" y="153"/>
                  </a:lnTo>
                  <a:lnTo>
                    <a:pt x="415" y="141"/>
                  </a:lnTo>
                  <a:lnTo>
                    <a:pt x="415" y="141"/>
                  </a:lnTo>
                  <a:lnTo>
                    <a:pt x="415" y="134"/>
                  </a:lnTo>
                  <a:lnTo>
                    <a:pt x="415" y="129"/>
                  </a:lnTo>
                  <a:lnTo>
                    <a:pt x="415" y="129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03" y="129"/>
                  </a:lnTo>
                  <a:lnTo>
                    <a:pt x="403" y="129"/>
                  </a:lnTo>
                  <a:lnTo>
                    <a:pt x="403" y="141"/>
                  </a:lnTo>
                  <a:lnTo>
                    <a:pt x="403" y="141"/>
                  </a:lnTo>
                  <a:lnTo>
                    <a:pt x="403" y="165"/>
                  </a:lnTo>
                  <a:lnTo>
                    <a:pt x="403" y="165"/>
                  </a:lnTo>
                  <a:lnTo>
                    <a:pt x="398" y="165"/>
                  </a:lnTo>
                  <a:lnTo>
                    <a:pt x="393" y="165"/>
                  </a:lnTo>
                  <a:lnTo>
                    <a:pt x="391" y="165"/>
                  </a:lnTo>
                  <a:lnTo>
                    <a:pt x="391" y="165"/>
                  </a:lnTo>
                  <a:lnTo>
                    <a:pt x="391" y="172"/>
                  </a:lnTo>
                  <a:lnTo>
                    <a:pt x="391" y="176"/>
                  </a:lnTo>
                  <a:lnTo>
                    <a:pt x="391" y="176"/>
                  </a:lnTo>
                  <a:lnTo>
                    <a:pt x="391" y="188"/>
                  </a:lnTo>
                  <a:lnTo>
                    <a:pt x="391" y="188"/>
                  </a:lnTo>
                  <a:lnTo>
                    <a:pt x="391" y="200"/>
                  </a:lnTo>
                  <a:lnTo>
                    <a:pt x="391" y="200"/>
                  </a:lnTo>
                  <a:lnTo>
                    <a:pt x="386" y="200"/>
                  </a:lnTo>
                  <a:lnTo>
                    <a:pt x="382" y="200"/>
                  </a:lnTo>
                  <a:lnTo>
                    <a:pt x="379" y="200"/>
                  </a:lnTo>
                  <a:lnTo>
                    <a:pt x="379" y="200"/>
                  </a:lnTo>
                  <a:lnTo>
                    <a:pt x="379" y="207"/>
                  </a:lnTo>
                  <a:lnTo>
                    <a:pt x="379" y="212"/>
                  </a:lnTo>
                  <a:lnTo>
                    <a:pt x="379" y="212"/>
                  </a:lnTo>
                  <a:lnTo>
                    <a:pt x="379" y="223"/>
                  </a:lnTo>
                  <a:lnTo>
                    <a:pt x="379" y="223"/>
                  </a:lnTo>
                  <a:lnTo>
                    <a:pt x="379" y="235"/>
                  </a:lnTo>
                  <a:lnTo>
                    <a:pt x="379" y="235"/>
                  </a:lnTo>
                  <a:lnTo>
                    <a:pt x="379" y="261"/>
                  </a:lnTo>
                  <a:lnTo>
                    <a:pt x="379" y="261"/>
                  </a:lnTo>
                  <a:lnTo>
                    <a:pt x="375" y="261"/>
                  </a:lnTo>
                  <a:lnTo>
                    <a:pt x="368" y="261"/>
                  </a:lnTo>
                  <a:lnTo>
                    <a:pt x="368" y="261"/>
                  </a:lnTo>
                  <a:lnTo>
                    <a:pt x="363" y="261"/>
                  </a:lnTo>
                  <a:lnTo>
                    <a:pt x="356" y="261"/>
                  </a:lnTo>
                  <a:lnTo>
                    <a:pt x="356" y="261"/>
                  </a:lnTo>
                  <a:lnTo>
                    <a:pt x="349" y="259"/>
                  </a:lnTo>
                  <a:lnTo>
                    <a:pt x="344" y="261"/>
                  </a:lnTo>
                  <a:lnTo>
                    <a:pt x="344" y="261"/>
                  </a:lnTo>
                  <a:lnTo>
                    <a:pt x="344" y="266"/>
                  </a:lnTo>
                  <a:lnTo>
                    <a:pt x="344" y="271"/>
                  </a:lnTo>
                  <a:lnTo>
                    <a:pt x="344" y="273"/>
                  </a:lnTo>
                  <a:lnTo>
                    <a:pt x="344" y="273"/>
                  </a:lnTo>
                  <a:lnTo>
                    <a:pt x="337" y="273"/>
                  </a:lnTo>
                  <a:lnTo>
                    <a:pt x="332" y="273"/>
                  </a:lnTo>
                  <a:lnTo>
                    <a:pt x="332" y="273"/>
                  </a:lnTo>
                  <a:lnTo>
                    <a:pt x="320" y="273"/>
                  </a:lnTo>
                  <a:lnTo>
                    <a:pt x="320" y="273"/>
                  </a:lnTo>
                  <a:lnTo>
                    <a:pt x="313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66"/>
                  </a:lnTo>
                  <a:lnTo>
                    <a:pt x="309" y="261"/>
                  </a:lnTo>
                  <a:lnTo>
                    <a:pt x="309" y="261"/>
                  </a:lnTo>
                  <a:lnTo>
                    <a:pt x="302" y="261"/>
                  </a:lnTo>
                  <a:lnTo>
                    <a:pt x="297" y="261"/>
                  </a:lnTo>
                  <a:lnTo>
                    <a:pt x="297" y="261"/>
                  </a:lnTo>
                  <a:lnTo>
                    <a:pt x="297" y="254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0" y="247"/>
                  </a:lnTo>
                  <a:lnTo>
                    <a:pt x="285" y="249"/>
                  </a:lnTo>
                  <a:lnTo>
                    <a:pt x="285" y="249"/>
                  </a:lnTo>
                  <a:lnTo>
                    <a:pt x="273" y="249"/>
                  </a:lnTo>
                  <a:lnTo>
                    <a:pt x="273" y="249"/>
                  </a:lnTo>
                  <a:lnTo>
                    <a:pt x="266" y="247"/>
                  </a:lnTo>
                  <a:lnTo>
                    <a:pt x="264" y="247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59" y="252"/>
                  </a:lnTo>
                  <a:lnTo>
                    <a:pt x="262" y="254"/>
                  </a:lnTo>
                  <a:lnTo>
                    <a:pt x="262" y="261"/>
                  </a:lnTo>
                  <a:lnTo>
                    <a:pt x="262" y="261"/>
                  </a:lnTo>
                  <a:lnTo>
                    <a:pt x="262" y="266"/>
                  </a:lnTo>
                  <a:lnTo>
                    <a:pt x="262" y="271"/>
                  </a:lnTo>
                  <a:lnTo>
                    <a:pt x="262" y="273"/>
                  </a:lnTo>
                  <a:lnTo>
                    <a:pt x="262" y="273"/>
                  </a:lnTo>
                  <a:lnTo>
                    <a:pt x="259" y="273"/>
                  </a:lnTo>
                  <a:lnTo>
                    <a:pt x="254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24" y="273"/>
                  </a:lnTo>
                  <a:lnTo>
                    <a:pt x="224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07" y="273"/>
                  </a:lnTo>
                  <a:lnTo>
                    <a:pt x="200" y="273"/>
                  </a:lnTo>
                  <a:lnTo>
                    <a:pt x="200" y="273"/>
                  </a:lnTo>
                  <a:lnTo>
                    <a:pt x="200" y="266"/>
                  </a:lnTo>
                  <a:lnTo>
                    <a:pt x="200" y="261"/>
                  </a:lnTo>
                  <a:lnTo>
                    <a:pt x="200" y="261"/>
                  </a:lnTo>
                  <a:lnTo>
                    <a:pt x="196" y="259"/>
                  </a:lnTo>
                  <a:lnTo>
                    <a:pt x="188" y="261"/>
                  </a:lnTo>
                  <a:lnTo>
                    <a:pt x="188" y="261"/>
                  </a:lnTo>
                  <a:lnTo>
                    <a:pt x="177" y="261"/>
                  </a:lnTo>
                  <a:lnTo>
                    <a:pt x="177" y="261"/>
                  </a:lnTo>
                  <a:lnTo>
                    <a:pt x="153" y="261"/>
                  </a:lnTo>
                  <a:lnTo>
                    <a:pt x="153" y="261"/>
                  </a:lnTo>
                  <a:lnTo>
                    <a:pt x="153" y="254"/>
                  </a:lnTo>
                  <a:lnTo>
                    <a:pt x="153" y="252"/>
                  </a:lnTo>
                  <a:lnTo>
                    <a:pt x="153" y="249"/>
                  </a:lnTo>
                  <a:lnTo>
                    <a:pt x="153" y="249"/>
                  </a:lnTo>
                  <a:lnTo>
                    <a:pt x="141" y="249"/>
                  </a:lnTo>
                  <a:lnTo>
                    <a:pt x="141" y="249"/>
                  </a:lnTo>
                  <a:lnTo>
                    <a:pt x="130" y="249"/>
                  </a:lnTo>
                  <a:lnTo>
                    <a:pt x="130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06" y="249"/>
                  </a:lnTo>
                  <a:lnTo>
                    <a:pt x="106" y="249"/>
                  </a:lnTo>
                  <a:lnTo>
                    <a:pt x="99" y="247"/>
                  </a:lnTo>
                  <a:lnTo>
                    <a:pt x="94" y="249"/>
                  </a:lnTo>
                  <a:lnTo>
                    <a:pt x="94" y="249"/>
                  </a:lnTo>
                  <a:lnTo>
                    <a:pt x="94" y="249"/>
                  </a:lnTo>
                  <a:lnTo>
                    <a:pt x="94" y="254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82" y="261"/>
                  </a:lnTo>
                  <a:lnTo>
                    <a:pt x="82" y="261"/>
                  </a:lnTo>
                  <a:lnTo>
                    <a:pt x="75" y="261"/>
                  </a:lnTo>
                  <a:lnTo>
                    <a:pt x="71" y="261"/>
                  </a:lnTo>
                  <a:lnTo>
                    <a:pt x="71" y="261"/>
                  </a:lnTo>
                  <a:lnTo>
                    <a:pt x="71" y="254"/>
                  </a:lnTo>
                  <a:lnTo>
                    <a:pt x="71" y="252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68" y="247"/>
                  </a:lnTo>
                  <a:lnTo>
                    <a:pt x="64" y="247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7"/>
                  </a:lnTo>
                  <a:lnTo>
                    <a:pt x="59" y="242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7" y="235"/>
                  </a:lnTo>
                  <a:lnTo>
                    <a:pt x="52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49"/>
                  </a:lnTo>
                  <a:lnTo>
                    <a:pt x="47" y="249"/>
                  </a:lnTo>
                  <a:lnTo>
                    <a:pt x="47" y="273"/>
                  </a:lnTo>
                  <a:lnTo>
                    <a:pt x="47" y="273"/>
                  </a:lnTo>
                  <a:lnTo>
                    <a:pt x="0" y="273"/>
                  </a:lnTo>
                  <a:lnTo>
                    <a:pt x="0" y="273"/>
                  </a:lnTo>
                  <a:lnTo>
                    <a:pt x="0" y="320"/>
                  </a:lnTo>
                  <a:lnTo>
                    <a:pt x="0" y="320"/>
                  </a:lnTo>
                  <a:lnTo>
                    <a:pt x="0" y="344"/>
                  </a:lnTo>
                  <a:lnTo>
                    <a:pt x="0" y="344"/>
                  </a:lnTo>
                  <a:lnTo>
                    <a:pt x="12" y="344"/>
                  </a:lnTo>
                  <a:lnTo>
                    <a:pt x="12" y="344"/>
                  </a:lnTo>
                  <a:lnTo>
                    <a:pt x="35" y="344"/>
                  </a:lnTo>
                  <a:lnTo>
                    <a:pt x="35" y="344"/>
                  </a:lnTo>
                  <a:lnTo>
                    <a:pt x="82" y="344"/>
                  </a:lnTo>
                  <a:lnTo>
                    <a:pt x="82" y="344"/>
                  </a:lnTo>
                  <a:lnTo>
                    <a:pt x="106" y="344"/>
                  </a:lnTo>
                  <a:lnTo>
                    <a:pt x="106" y="344"/>
                  </a:lnTo>
                  <a:lnTo>
                    <a:pt x="118" y="344"/>
                  </a:lnTo>
                  <a:lnTo>
                    <a:pt x="118" y="344"/>
                  </a:lnTo>
                  <a:lnTo>
                    <a:pt x="141" y="344"/>
                  </a:lnTo>
                  <a:lnTo>
                    <a:pt x="141" y="344"/>
                  </a:lnTo>
                  <a:lnTo>
                    <a:pt x="165" y="344"/>
                  </a:lnTo>
                  <a:lnTo>
                    <a:pt x="165" y="344"/>
                  </a:lnTo>
                  <a:lnTo>
                    <a:pt x="177" y="344"/>
                  </a:lnTo>
                  <a:lnTo>
                    <a:pt x="177" y="344"/>
                  </a:lnTo>
                  <a:lnTo>
                    <a:pt x="200" y="344"/>
                  </a:lnTo>
                  <a:lnTo>
                    <a:pt x="200" y="344"/>
                  </a:lnTo>
                  <a:lnTo>
                    <a:pt x="212" y="344"/>
                  </a:lnTo>
                  <a:lnTo>
                    <a:pt x="212" y="344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50" y="344"/>
                  </a:lnTo>
                  <a:lnTo>
                    <a:pt x="250" y="344"/>
                  </a:lnTo>
                  <a:lnTo>
                    <a:pt x="273" y="344"/>
                  </a:lnTo>
                  <a:lnTo>
                    <a:pt x="273" y="344"/>
                  </a:lnTo>
                  <a:lnTo>
                    <a:pt x="285" y="344"/>
                  </a:lnTo>
                  <a:lnTo>
                    <a:pt x="285" y="344"/>
                  </a:lnTo>
                  <a:lnTo>
                    <a:pt x="309" y="344"/>
                  </a:lnTo>
                  <a:lnTo>
                    <a:pt x="309" y="344"/>
                  </a:lnTo>
                  <a:lnTo>
                    <a:pt x="320" y="344"/>
                  </a:lnTo>
                  <a:lnTo>
                    <a:pt x="320" y="344"/>
                  </a:lnTo>
                  <a:lnTo>
                    <a:pt x="344" y="344"/>
                  </a:lnTo>
                  <a:lnTo>
                    <a:pt x="344" y="344"/>
                  </a:lnTo>
                  <a:lnTo>
                    <a:pt x="356" y="344"/>
                  </a:lnTo>
                  <a:lnTo>
                    <a:pt x="356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438" y="344"/>
                  </a:lnTo>
                  <a:lnTo>
                    <a:pt x="438" y="344"/>
                  </a:lnTo>
                  <a:lnTo>
                    <a:pt x="488" y="344"/>
                  </a:lnTo>
                  <a:lnTo>
                    <a:pt x="488" y="344"/>
                  </a:lnTo>
                  <a:lnTo>
                    <a:pt x="511" y="344"/>
                  </a:lnTo>
                  <a:lnTo>
                    <a:pt x="511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47" y="344"/>
                  </a:lnTo>
                  <a:lnTo>
                    <a:pt x="547" y="344"/>
                  </a:lnTo>
                  <a:lnTo>
                    <a:pt x="558" y="344"/>
                  </a:lnTo>
                  <a:lnTo>
                    <a:pt x="558" y="344"/>
                  </a:lnTo>
                  <a:lnTo>
                    <a:pt x="582" y="344"/>
                  </a:lnTo>
                  <a:lnTo>
                    <a:pt x="582" y="344"/>
                  </a:lnTo>
                  <a:lnTo>
                    <a:pt x="594" y="344"/>
                  </a:lnTo>
                  <a:lnTo>
                    <a:pt x="594" y="344"/>
                  </a:lnTo>
                  <a:lnTo>
                    <a:pt x="617" y="344"/>
                  </a:lnTo>
                  <a:lnTo>
                    <a:pt x="617" y="344"/>
                  </a:lnTo>
                  <a:lnTo>
                    <a:pt x="629" y="344"/>
                  </a:lnTo>
                  <a:lnTo>
                    <a:pt x="629" y="344"/>
                  </a:lnTo>
                  <a:lnTo>
                    <a:pt x="653" y="344"/>
                  </a:lnTo>
                  <a:lnTo>
                    <a:pt x="653" y="344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712" y="344"/>
                  </a:lnTo>
                  <a:lnTo>
                    <a:pt x="712" y="344"/>
                  </a:lnTo>
                  <a:lnTo>
                    <a:pt x="723" y="344"/>
                  </a:lnTo>
                  <a:lnTo>
                    <a:pt x="723" y="344"/>
                  </a:lnTo>
                  <a:lnTo>
                    <a:pt x="749" y="344"/>
                  </a:lnTo>
                  <a:lnTo>
                    <a:pt x="749" y="344"/>
                  </a:lnTo>
                  <a:lnTo>
                    <a:pt x="761" y="344"/>
                  </a:lnTo>
                  <a:lnTo>
                    <a:pt x="761" y="344"/>
                  </a:lnTo>
                  <a:lnTo>
                    <a:pt x="785" y="344"/>
                  </a:lnTo>
                  <a:lnTo>
                    <a:pt x="785" y="344"/>
                  </a:lnTo>
                  <a:lnTo>
                    <a:pt x="796" y="344"/>
                  </a:lnTo>
                  <a:lnTo>
                    <a:pt x="796" y="344"/>
                  </a:lnTo>
                  <a:lnTo>
                    <a:pt x="820" y="344"/>
                  </a:lnTo>
                  <a:lnTo>
                    <a:pt x="820" y="344"/>
                  </a:lnTo>
                  <a:lnTo>
                    <a:pt x="832" y="344"/>
                  </a:lnTo>
                  <a:lnTo>
                    <a:pt x="832" y="344"/>
                  </a:lnTo>
                  <a:lnTo>
                    <a:pt x="855" y="344"/>
                  </a:lnTo>
                  <a:lnTo>
                    <a:pt x="855" y="344"/>
                  </a:lnTo>
                  <a:lnTo>
                    <a:pt x="867" y="344"/>
                  </a:lnTo>
                  <a:lnTo>
                    <a:pt x="867" y="344"/>
                  </a:lnTo>
                  <a:lnTo>
                    <a:pt x="891" y="344"/>
                  </a:lnTo>
                  <a:lnTo>
                    <a:pt x="891" y="344"/>
                  </a:lnTo>
                  <a:lnTo>
                    <a:pt x="902" y="344"/>
                  </a:lnTo>
                  <a:lnTo>
                    <a:pt x="902" y="344"/>
                  </a:lnTo>
                  <a:lnTo>
                    <a:pt x="926" y="344"/>
                  </a:lnTo>
                  <a:lnTo>
                    <a:pt x="926" y="344"/>
                  </a:lnTo>
                  <a:lnTo>
                    <a:pt x="938" y="344"/>
                  </a:lnTo>
                  <a:lnTo>
                    <a:pt x="938" y="344"/>
                  </a:lnTo>
                  <a:lnTo>
                    <a:pt x="987" y="344"/>
                  </a:lnTo>
                  <a:lnTo>
                    <a:pt x="987" y="344"/>
                  </a:lnTo>
                  <a:lnTo>
                    <a:pt x="999" y="344"/>
                  </a:lnTo>
                  <a:lnTo>
                    <a:pt x="999" y="344"/>
                  </a:lnTo>
                  <a:lnTo>
                    <a:pt x="1023" y="344"/>
                  </a:lnTo>
                  <a:lnTo>
                    <a:pt x="1023" y="344"/>
                  </a:lnTo>
                  <a:lnTo>
                    <a:pt x="1034" y="344"/>
                  </a:lnTo>
                  <a:lnTo>
                    <a:pt x="1034" y="344"/>
                  </a:lnTo>
                  <a:lnTo>
                    <a:pt x="1058" y="344"/>
                  </a:lnTo>
                  <a:lnTo>
                    <a:pt x="1058" y="344"/>
                  </a:lnTo>
                  <a:lnTo>
                    <a:pt x="1070" y="344"/>
                  </a:lnTo>
                  <a:lnTo>
                    <a:pt x="1070" y="344"/>
                  </a:lnTo>
                  <a:lnTo>
                    <a:pt x="1093" y="344"/>
                  </a:lnTo>
                  <a:lnTo>
                    <a:pt x="1093" y="344"/>
                  </a:lnTo>
                  <a:lnTo>
                    <a:pt x="1105" y="344"/>
                  </a:lnTo>
                  <a:lnTo>
                    <a:pt x="1105" y="344"/>
                  </a:lnTo>
                  <a:lnTo>
                    <a:pt x="1129" y="344"/>
                  </a:lnTo>
                  <a:lnTo>
                    <a:pt x="1129" y="344"/>
                  </a:lnTo>
                  <a:lnTo>
                    <a:pt x="1140" y="344"/>
                  </a:lnTo>
                  <a:lnTo>
                    <a:pt x="1140" y="344"/>
                  </a:lnTo>
                  <a:lnTo>
                    <a:pt x="1164" y="344"/>
                  </a:lnTo>
                  <a:lnTo>
                    <a:pt x="1164" y="344"/>
                  </a:lnTo>
                  <a:lnTo>
                    <a:pt x="1176" y="344"/>
                  </a:lnTo>
                  <a:lnTo>
                    <a:pt x="1176" y="344"/>
                  </a:lnTo>
                  <a:lnTo>
                    <a:pt x="1199" y="344"/>
                  </a:lnTo>
                  <a:lnTo>
                    <a:pt x="1199" y="344"/>
                  </a:lnTo>
                  <a:lnTo>
                    <a:pt x="1211" y="344"/>
                  </a:lnTo>
                  <a:lnTo>
                    <a:pt x="1211" y="344"/>
                  </a:lnTo>
                  <a:lnTo>
                    <a:pt x="1261" y="344"/>
                  </a:lnTo>
                  <a:lnTo>
                    <a:pt x="1261" y="344"/>
                  </a:lnTo>
                  <a:lnTo>
                    <a:pt x="1272" y="344"/>
                  </a:lnTo>
                  <a:lnTo>
                    <a:pt x="1272" y="344"/>
                  </a:lnTo>
                  <a:lnTo>
                    <a:pt x="1296" y="344"/>
                  </a:lnTo>
                  <a:lnTo>
                    <a:pt x="1296" y="344"/>
                  </a:lnTo>
                  <a:lnTo>
                    <a:pt x="1308" y="344"/>
                  </a:lnTo>
                  <a:lnTo>
                    <a:pt x="1308" y="344"/>
                  </a:lnTo>
                  <a:lnTo>
                    <a:pt x="1331" y="344"/>
                  </a:lnTo>
                  <a:lnTo>
                    <a:pt x="1331" y="344"/>
                  </a:lnTo>
                  <a:lnTo>
                    <a:pt x="1343" y="344"/>
                  </a:lnTo>
                  <a:lnTo>
                    <a:pt x="1343" y="344"/>
                  </a:lnTo>
                  <a:lnTo>
                    <a:pt x="1367" y="344"/>
                  </a:lnTo>
                  <a:lnTo>
                    <a:pt x="1367" y="344"/>
                  </a:lnTo>
                  <a:lnTo>
                    <a:pt x="1378" y="344"/>
                  </a:lnTo>
                  <a:lnTo>
                    <a:pt x="1378" y="344"/>
                  </a:lnTo>
                  <a:lnTo>
                    <a:pt x="1402" y="344"/>
                  </a:lnTo>
                  <a:lnTo>
                    <a:pt x="1402" y="344"/>
                  </a:lnTo>
                  <a:lnTo>
                    <a:pt x="1414" y="344"/>
                  </a:lnTo>
                  <a:lnTo>
                    <a:pt x="1414" y="344"/>
                  </a:lnTo>
                  <a:lnTo>
                    <a:pt x="1437" y="344"/>
                  </a:lnTo>
                  <a:lnTo>
                    <a:pt x="1437" y="344"/>
                  </a:lnTo>
                  <a:lnTo>
                    <a:pt x="1449" y="344"/>
                  </a:lnTo>
                  <a:lnTo>
                    <a:pt x="1449" y="344"/>
                  </a:lnTo>
                  <a:lnTo>
                    <a:pt x="1475" y="344"/>
                  </a:lnTo>
                  <a:lnTo>
                    <a:pt x="1475" y="344"/>
                  </a:lnTo>
                  <a:lnTo>
                    <a:pt x="1487" y="344"/>
                  </a:lnTo>
                  <a:lnTo>
                    <a:pt x="1487" y="344"/>
                  </a:lnTo>
                  <a:lnTo>
                    <a:pt x="1534" y="344"/>
                  </a:lnTo>
                  <a:lnTo>
                    <a:pt x="1534" y="344"/>
                  </a:lnTo>
                  <a:lnTo>
                    <a:pt x="1546" y="344"/>
                  </a:lnTo>
                  <a:lnTo>
                    <a:pt x="1546" y="344"/>
                  </a:lnTo>
                  <a:lnTo>
                    <a:pt x="1569" y="344"/>
                  </a:lnTo>
                  <a:lnTo>
                    <a:pt x="1569" y="344"/>
                  </a:lnTo>
                  <a:lnTo>
                    <a:pt x="1581" y="344"/>
                  </a:lnTo>
                  <a:lnTo>
                    <a:pt x="1581" y="344"/>
                  </a:lnTo>
                  <a:lnTo>
                    <a:pt x="1605" y="344"/>
                  </a:lnTo>
                  <a:lnTo>
                    <a:pt x="1605" y="344"/>
                  </a:lnTo>
                  <a:lnTo>
                    <a:pt x="1616" y="344"/>
                  </a:lnTo>
                  <a:lnTo>
                    <a:pt x="1616" y="344"/>
                  </a:lnTo>
                  <a:lnTo>
                    <a:pt x="1640" y="344"/>
                  </a:lnTo>
                  <a:lnTo>
                    <a:pt x="1640" y="344"/>
                  </a:lnTo>
                  <a:lnTo>
                    <a:pt x="1652" y="344"/>
                  </a:lnTo>
                  <a:lnTo>
                    <a:pt x="1652" y="344"/>
                  </a:lnTo>
                  <a:lnTo>
                    <a:pt x="1675" y="344"/>
                  </a:lnTo>
                  <a:lnTo>
                    <a:pt x="1675" y="344"/>
                  </a:lnTo>
                  <a:lnTo>
                    <a:pt x="1687" y="344"/>
                  </a:lnTo>
                  <a:lnTo>
                    <a:pt x="1687" y="344"/>
                  </a:lnTo>
                  <a:lnTo>
                    <a:pt x="1713" y="344"/>
                  </a:lnTo>
                  <a:lnTo>
                    <a:pt x="1713" y="344"/>
                  </a:lnTo>
                  <a:lnTo>
                    <a:pt x="1725" y="344"/>
                  </a:lnTo>
                  <a:lnTo>
                    <a:pt x="1725" y="344"/>
                  </a:lnTo>
                  <a:lnTo>
                    <a:pt x="1748" y="344"/>
                  </a:lnTo>
                  <a:lnTo>
                    <a:pt x="1748" y="344"/>
                  </a:lnTo>
                  <a:lnTo>
                    <a:pt x="1760" y="344"/>
                  </a:lnTo>
                  <a:lnTo>
                    <a:pt x="1760" y="344"/>
                  </a:lnTo>
                  <a:lnTo>
                    <a:pt x="1807" y="344"/>
                  </a:lnTo>
                  <a:lnTo>
                    <a:pt x="1807" y="344"/>
                  </a:lnTo>
                  <a:lnTo>
                    <a:pt x="1854" y="344"/>
                  </a:lnTo>
                  <a:lnTo>
                    <a:pt x="1854" y="344"/>
                  </a:lnTo>
                  <a:lnTo>
                    <a:pt x="1878" y="344"/>
                  </a:lnTo>
                  <a:lnTo>
                    <a:pt x="1878" y="344"/>
                  </a:lnTo>
                  <a:lnTo>
                    <a:pt x="1890" y="344"/>
                  </a:lnTo>
                  <a:lnTo>
                    <a:pt x="1890" y="344"/>
                  </a:lnTo>
                  <a:lnTo>
                    <a:pt x="1913" y="344"/>
                  </a:lnTo>
                  <a:lnTo>
                    <a:pt x="1913" y="344"/>
                  </a:lnTo>
                  <a:lnTo>
                    <a:pt x="1925" y="344"/>
                  </a:lnTo>
                  <a:lnTo>
                    <a:pt x="1925" y="344"/>
                  </a:lnTo>
                  <a:lnTo>
                    <a:pt x="1951" y="344"/>
                  </a:lnTo>
                  <a:lnTo>
                    <a:pt x="1951" y="344"/>
                  </a:lnTo>
                  <a:lnTo>
                    <a:pt x="1963" y="344"/>
                  </a:lnTo>
                  <a:lnTo>
                    <a:pt x="1963" y="344"/>
                  </a:lnTo>
                  <a:lnTo>
                    <a:pt x="1986" y="344"/>
                  </a:lnTo>
                  <a:lnTo>
                    <a:pt x="1986" y="344"/>
                  </a:lnTo>
                  <a:lnTo>
                    <a:pt x="1998" y="344"/>
                  </a:lnTo>
                  <a:lnTo>
                    <a:pt x="1998" y="344"/>
                  </a:lnTo>
                  <a:lnTo>
                    <a:pt x="2022" y="344"/>
                  </a:lnTo>
                  <a:lnTo>
                    <a:pt x="2022" y="344"/>
                  </a:lnTo>
                  <a:lnTo>
                    <a:pt x="2033" y="344"/>
                  </a:lnTo>
                  <a:lnTo>
                    <a:pt x="2033" y="344"/>
                  </a:lnTo>
                  <a:lnTo>
                    <a:pt x="2057" y="344"/>
                  </a:lnTo>
                  <a:lnTo>
                    <a:pt x="2057" y="344"/>
                  </a:lnTo>
                  <a:lnTo>
                    <a:pt x="2069" y="344"/>
                  </a:lnTo>
                  <a:lnTo>
                    <a:pt x="2069" y="344"/>
                  </a:lnTo>
                  <a:lnTo>
                    <a:pt x="2092" y="344"/>
                  </a:lnTo>
                  <a:lnTo>
                    <a:pt x="2092" y="344"/>
                  </a:lnTo>
                  <a:lnTo>
                    <a:pt x="2104" y="344"/>
                  </a:lnTo>
                  <a:lnTo>
                    <a:pt x="2104" y="344"/>
                  </a:lnTo>
                  <a:lnTo>
                    <a:pt x="2128" y="344"/>
                  </a:lnTo>
                  <a:lnTo>
                    <a:pt x="2128" y="344"/>
                  </a:lnTo>
                  <a:lnTo>
                    <a:pt x="2139" y="344"/>
                  </a:lnTo>
                  <a:lnTo>
                    <a:pt x="2139" y="344"/>
                  </a:lnTo>
                  <a:lnTo>
                    <a:pt x="2163" y="344"/>
                  </a:lnTo>
                  <a:lnTo>
                    <a:pt x="2163" y="344"/>
                  </a:lnTo>
                  <a:lnTo>
                    <a:pt x="2175" y="344"/>
                  </a:lnTo>
                  <a:lnTo>
                    <a:pt x="2175" y="344"/>
                  </a:lnTo>
                  <a:lnTo>
                    <a:pt x="2201" y="344"/>
                  </a:lnTo>
                  <a:lnTo>
                    <a:pt x="2201" y="344"/>
                  </a:lnTo>
                  <a:lnTo>
                    <a:pt x="2248" y="344"/>
                  </a:lnTo>
                  <a:lnTo>
                    <a:pt x="2248" y="344"/>
                  </a:lnTo>
                  <a:lnTo>
                    <a:pt x="2271" y="344"/>
                  </a:lnTo>
                  <a:lnTo>
                    <a:pt x="2271" y="344"/>
                  </a:lnTo>
                  <a:lnTo>
                    <a:pt x="2283" y="344"/>
                  </a:lnTo>
                  <a:lnTo>
                    <a:pt x="2283" y="344"/>
                  </a:lnTo>
                  <a:lnTo>
                    <a:pt x="2307" y="344"/>
                  </a:lnTo>
                  <a:lnTo>
                    <a:pt x="2307" y="344"/>
                  </a:lnTo>
                  <a:lnTo>
                    <a:pt x="2318" y="344"/>
                  </a:lnTo>
                  <a:lnTo>
                    <a:pt x="2318" y="344"/>
                  </a:lnTo>
                  <a:lnTo>
                    <a:pt x="2366" y="344"/>
                  </a:lnTo>
                  <a:lnTo>
                    <a:pt x="2366" y="344"/>
                  </a:lnTo>
                  <a:lnTo>
                    <a:pt x="2366" y="82"/>
                  </a:lnTo>
                  <a:close/>
                </a:path>
              </a:pathLst>
            </a:custGeom>
            <a:solidFill>
              <a:schemeClr val="bg1">
                <a:alpha val="76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266974444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888785" y="3366726"/>
            <a:ext cx="10451646" cy="3277820"/>
          </a:xfrm>
          <a:noFill/>
        </p:spPr>
        <p:txBody>
          <a:bodyPr wrap="square">
            <a:spAutoFit/>
          </a:bodyPr>
          <a:lstStyle>
            <a:lvl1pPr marL="0" indent="0">
              <a:buNone/>
              <a:defRPr lang="en-US" sz="11500" b="1" spc="-600" smtClean="0">
                <a:solidFill>
                  <a:schemeClr val="tx1">
                    <a:lumMod val="85000"/>
                    <a:lumOff val="15000"/>
                  </a:schemeClr>
                </a:solidFill>
                <a:latin typeface="Caviar Dreams" panose="020B0402020204020504" pitchFamily="34" charset="0"/>
                <a:ea typeface="Roboto" panose="02000000000000000000" pitchFamily="2" charset="0"/>
                <a:cs typeface="Times New Roman" panose="02020603050405020304" pitchFamily="18" charset="0"/>
              </a:defRPr>
            </a:lvl1pPr>
            <a:lvl2pPr marL="457018" indent="0">
              <a:buNone/>
              <a:defRPr lang="en-US" sz="36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2pPr>
            <a:lvl3pPr marL="1371234" indent="0">
              <a:buNone/>
              <a:defRPr lang="en-US" sz="36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3pPr>
            <a:lvl4pPr marL="2285452" indent="0">
              <a:buNone/>
              <a:defRPr lang="en-US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4pPr>
            <a:lvl5pPr marL="3199668" indent="0">
              <a:buNone/>
              <a:defRPr lang="en-US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5pPr>
          </a:lstStyle>
          <a:p>
            <a:pPr marL="0" lvl="0" defTabSz="1828434"/>
            <a:r>
              <a:rPr lang="en-US" dirty="0"/>
              <a:t>Click to edit Master text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5895352" y="1045028"/>
            <a:ext cx="7986912" cy="79869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42447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788"/>
            <a:ext cx="24384000" cy="13714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5384801"/>
            <a:ext cx="21031200" cy="3476422"/>
          </a:xfrm>
          <a:noFill/>
        </p:spPr>
        <p:txBody>
          <a:bodyPr wrap="square">
            <a:noAutofit/>
          </a:bodyPr>
          <a:lstStyle>
            <a:lvl1pPr>
              <a:defRPr lang="en-US" sz="17600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defTabSz="1828434"/>
            <a:r>
              <a:rPr lang="en-US" dirty="0"/>
              <a:t>Click to ed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52004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788"/>
            <a:ext cx="24384000" cy="13714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29420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788"/>
            <a:ext cx="24384000" cy="1371421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4"/>
          <p:cNvSpPr/>
          <p:nvPr userDrawn="1"/>
        </p:nvSpPr>
        <p:spPr>
          <a:xfrm rot="16200000">
            <a:off x="66239" y="2650252"/>
            <a:ext cx="3611498" cy="3743972"/>
          </a:xfrm>
          <a:custGeom>
            <a:avLst/>
            <a:gdLst>
              <a:gd name="connsiteX0" fmla="*/ 0 w 5299213"/>
              <a:gd name="connsiteY0" fmla="*/ 0 h 5493596"/>
              <a:gd name="connsiteX1" fmla="*/ 5295943 w 5299213"/>
              <a:gd name="connsiteY1" fmla="*/ 0 h 5493596"/>
              <a:gd name="connsiteX2" fmla="*/ 5295943 w 5299213"/>
              <a:gd name="connsiteY2" fmla="*/ 2711812 h 5493596"/>
              <a:gd name="connsiteX3" fmla="*/ 4525606 w 5299213"/>
              <a:gd name="connsiteY3" fmla="*/ 4717125 h 5493596"/>
              <a:gd name="connsiteX4" fmla="*/ 776765 w 5299213"/>
              <a:gd name="connsiteY4" fmla="*/ 4717125 h 5493596"/>
              <a:gd name="connsiteX5" fmla="*/ 1978 w 5299213"/>
              <a:gd name="connsiteY5" fmla="*/ 2802668 h 5493596"/>
              <a:gd name="connsiteX6" fmla="*/ 0 w 5299213"/>
              <a:gd name="connsiteY6" fmla="*/ 2802668 h 5493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9213" h="5493596">
                <a:moveTo>
                  <a:pt x="0" y="0"/>
                </a:moveTo>
                <a:lnTo>
                  <a:pt x="5295943" y="0"/>
                </a:lnTo>
                <a:lnTo>
                  <a:pt x="5295943" y="2711812"/>
                </a:lnTo>
                <a:cubicBezTo>
                  <a:pt x="5331543" y="3433312"/>
                  <a:pt x="5076659" y="4166265"/>
                  <a:pt x="4525606" y="4717125"/>
                </a:cubicBezTo>
                <a:cubicBezTo>
                  <a:pt x="3490249" y="5752420"/>
                  <a:pt x="1812122" y="5752420"/>
                  <a:pt x="776765" y="4717125"/>
                </a:cubicBezTo>
                <a:cubicBezTo>
                  <a:pt x="248950" y="4189170"/>
                  <a:pt x="-8404" y="3494392"/>
                  <a:pt x="1978" y="2802668"/>
                </a:cubicBezTo>
                <a:lnTo>
                  <a:pt x="0" y="2802668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50800" tIns="50800" rIns="50800" bIns="50800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30389" y="3074890"/>
            <a:ext cx="17949746" cy="1421928"/>
          </a:xfrm>
          <a:noFill/>
        </p:spPr>
        <p:txBody>
          <a:bodyPr wrap="square">
            <a:spAutoFit/>
          </a:bodyPr>
          <a:lstStyle>
            <a:lvl1pPr algn="l">
              <a:defRPr lang="en-US" sz="9600" b="1" spc="-600" dirty="0">
                <a:solidFill>
                  <a:schemeClr val="tx1">
                    <a:lumMod val="65000"/>
                    <a:lumOff val="3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l" defTabSz="1828434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61205027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5769271"/>
      </p:ext>
    </p:extLst>
  </p:cSld>
  <p:clrMapOvr>
    <a:masterClrMapping/>
  </p:clrMapOvr>
  <p:hf hdr="0" ft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 userDrawn="1"/>
        </p:nvSpPr>
        <p:spPr>
          <a:xfrm>
            <a:off x="1746877" y="3830387"/>
            <a:ext cx="6339358" cy="6236626"/>
          </a:xfrm>
          <a:custGeom>
            <a:avLst/>
            <a:gdLst>
              <a:gd name="connsiteX0" fmla="*/ 1836584 w 3169679"/>
              <a:gd name="connsiteY0" fmla="*/ 2970669 h 3118313"/>
              <a:gd name="connsiteX1" fmla="*/ 1852764 w 3169679"/>
              <a:gd name="connsiteY1" fmla="*/ 2972692 h 3118313"/>
              <a:gd name="connsiteX2" fmla="*/ 1868945 w 3169679"/>
              <a:gd name="connsiteY2" fmla="*/ 2976737 h 3118313"/>
              <a:gd name="connsiteX3" fmla="*/ 1883102 w 3169679"/>
              <a:gd name="connsiteY3" fmla="*/ 2982804 h 3118313"/>
              <a:gd name="connsiteX4" fmla="*/ 1895237 w 3169679"/>
              <a:gd name="connsiteY4" fmla="*/ 2992917 h 3118313"/>
              <a:gd name="connsiteX5" fmla="*/ 1905350 w 3169679"/>
              <a:gd name="connsiteY5" fmla="*/ 3003030 h 3118313"/>
              <a:gd name="connsiteX6" fmla="*/ 1913440 w 3169679"/>
              <a:gd name="connsiteY6" fmla="*/ 3015165 h 3118313"/>
              <a:gd name="connsiteX7" fmla="*/ 1917485 w 3169679"/>
              <a:gd name="connsiteY7" fmla="*/ 3029322 h 3118313"/>
              <a:gd name="connsiteX8" fmla="*/ 1919508 w 3169679"/>
              <a:gd name="connsiteY8" fmla="*/ 3045502 h 3118313"/>
              <a:gd name="connsiteX9" fmla="*/ 1917485 w 3169679"/>
              <a:gd name="connsiteY9" fmla="*/ 3059660 h 3118313"/>
              <a:gd name="connsiteX10" fmla="*/ 1913440 w 3169679"/>
              <a:gd name="connsiteY10" fmla="*/ 3073818 h 3118313"/>
              <a:gd name="connsiteX11" fmla="*/ 1905350 w 3169679"/>
              <a:gd name="connsiteY11" fmla="*/ 3085953 h 3118313"/>
              <a:gd name="connsiteX12" fmla="*/ 1895237 w 3169679"/>
              <a:gd name="connsiteY12" fmla="*/ 3096065 h 3118313"/>
              <a:gd name="connsiteX13" fmla="*/ 1883102 w 3169679"/>
              <a:gd name="connsiteY13" fmla="*/ 3106178 h 3118313"/>
              <a:gd name="connsiteX14" fmla="*/ 1868945 w 3169679"/>
              <a:gd name="connsiteY14" fmla="*/ 3112246 h 3118313"/>
              <a:gd name="connsiteX15" fmla="*/ 1852764 w 3169679"/>
              <a:gd name="connsiteY15" fmla="*/ 3116291 h 3118313"/>
              <a:gd name="connsiteX16" fmla="*/ 1836584 w 3169679"/>
              <a:gd name="connsiteY16" fmla="*/ 3118313 h 3118313"/>
              <a:gd name="connsiteX17" fmla="*/ 1818381 w 3169679"/>
              <a:gd name="connsiteY17" fmla="*/ 3116291 h 3118313"/>
              <a:gd name="connsiteX18" fmla="*/ 1804224 w 3169679"/>
              <a:gd name="connsiteY18" fmla="*/ 3112246 h 3118313"/>
              <a:gd name="connsiteX19" fmla="*/ 1790066 w 3169679"/>
              <a:gd name="connsiteY19" fmla="*/ 3106178 h 3118313"/>
              <a:gd name="connsiteX20" fmla="*/ 1775909 w 3169679"/>
              <a:gd name="connsiteY20" fmla="*/ 3096065 h 3118313"/>
              <a:gd name="connsiteX21" fmla="*/ 1765796 w 3169679"/>
              <a:gd name="connsiteY21" fmla="*/ 3085953 h 3118313"/>
              <a:gd name="connsiteX22" fmla="*/ 1759728 w 3169679"/>
              <a:gd name="connsiteY22" fmla="*/ 3073818 h 3118313"/>
              <a:gd name="connsiteX23" fmla="*/ 1753661 w 3169679"/>
              <a:gd name="connsiteY23" fmla="*/ 3059660 h 3118313"/>
              <a:gd name="connsiteX24" fmla="*/ 1751638 w 3169679"/>
              <a:gd name="connsiteY24" fmla="*/ 3045502 h 3118313"/>
              <a:gd name="connsiteX25" fmla="*/ 1753661 w 3169679"/>
              <a:gd name="connsiteY25" fmla="*/ 3029322 h 3118313"/>
              <a:gd name="connsiteX26" fmla="*/ 1759728 w 3169679"/>
              <a:gd name="connsiteY26" fmla="*/ 3015165 h 3118313"/>
              <a:gd name="connsiteX27" fmla="*/ 1765796 w 3169679"/>
              <a:gd name="connsiteY27" fmla="*/ 3003030 h 3118313"/>
              <a:gd name="connsiteX28" fmla="*/ 1775909 w 3169679"/>
              <a:gd name="connsiteY28" fmla="*/ 2992917 h 3118313"/>
              <a:gd name="connsiteX29" fmla="*/ 1790066 w 3169679"/>
              <a:gd name="connsiteY29" fmla="*/ 2982804 h 3118313"/>
              <a:gd name="connsiteX30" fmla="*/ 1804224 w 3169679"/>
              <a:gd name="connsiteY30" fmla="*/ 2976737 h 3118313"/>
              <a:gd name="connsiteX31" fmla="*/ 1818381 w 3169679"/>
              <a:gd name="connsiteY31" fmla="*/ 2972692 h 3118313"/>
              <a:gd name="connsiteX32" fmla="*/ 1980183 w 3169679"/>
              <a:gd name="connsiteY32" fmla="*/ 2873588 h 3118313"/>
              <a:gd name="connsiteX33" fmla="*/ 2000408 w 3169679"/>
              <a:gd name="connsiteY33" fmla="*/ 2875611 h 3118313"/>
              <a:gd name="connsiteX34" fmla="*/ 2020634 w 3169679"/>
              <a:gd name="connsiteY34" fmla="*/ 2877633 h 3118313"/>
              <a:gd name="connsiteX35" fmla="*/ 2036814 w 3169679"/>
              <a:gd name="connsiteY35" fmla="*/ 2881678 h 3118313"/>
              <a:gd name="connsiteX36" fmla="*/ 2052994 w 3169679"/>
              <a:gd name="connsiteY36" fmla="*/ 2887746 h 3118313"/>
              <a:gd name="connsiteX37" fmla="*/ 2065129 w 3169679"/>
              <a:gd name="connsiteY37" fmla="*/ 2895836 h 3118313"/>
              <a:gd name="connsiteX38" fmla="*/ 2075242 w 3169679"/>
              <a:gd name="connsiteY38" fmla="*/ 2903926 h 3118313"/>
              <a:gd name="connsiteX39" fmla="*/ 2081309 w 3169679"/>
              <a:gd name="connsiteY39" fmla="*/ 2912016 h 3118313"/>
              <a:gd name="connsiteX40" fmla="*/ 2083332 w 3169679"/>
              <a:gd name="connsiteY40" fmla="*/ 2922129 h 3118313"/>
              <a:gd name="connsiteX41" fmla="*/ 2081309 w 3169679"/>
              <a:gd name="connsiteY41" fmla="*/ 2932241 h 3118313"/>
              <a:gd name="connsiteX42" fmla="*/ 2075242 w 3169679"/>
              <a:gd name="connsiteY42" fmla="*/ 2940331 h 3118313"/>
              <a:gd name="connsiteX43" fmla="*/ 2065129 w 3169679"/>
              <a:gd name="connsiteY43" fmla="*/ 2950444 h 3118313"/>
              <a:gd name="connsiteX44" fmla="*/ 2052994 w 3169679"/>
              <a:gd name="connsiteY44" fmla="*/ 2956512 h 3118313"/>
              <a:gd name="connsiteX45" fmla="*/ 2036814 w 3169679"/>
              <a:gd name="connsiteY45" fmla="*/ 2962579 h 3118313"/>
              <a:gd name="connsiteX46" fmla="*/ 2020634 w 3169679"/>
              <a:gd name="connsiteY46" fmla="*/ 2966624 h 3118313"/>
              <a:gd name="connsiteX47" fmla="*/ 2000408 w 3169679"/>
              <a:gd name="connsiteY47" fmla="*/ 2970669 h 3118313"/>
              <a:gd name="connsiteX48" fmla="*/ 1980183 w 3169679"/>
              <a:gd name="connsiteY48" fmla="*/ 2970669 h 3118313"/>
              <a:gd name="connsiteX49" fmla="*/ 1959958 w 3169679"/>
              <a:gd name="connsiteY49" fmla="*/ 2970669 h 3118313"/>
              <a:gd name="connsiteX50" fmla="*/ 1939733 w 3169679"/>
              <a:gd name="connsiteY50" fmla="*/ 2966624 h 3118313"/>
              <a:gd name="connsiteX51" fmla="*/ 1923553 w 3169679"/>
              <a:gd name="connsiteY51" fmla="*/ 2962579 h 3118313"/>
              <a:gd name="connsiteX52" fmla="*/ 1907372 w 3169679"/>
              <a:gd name="connsiteY52" fmla="*/ 2956512 h 3118313"/>
              <a:gd name="connsiteX53" fmla="*/ 1895237 w 3169679"/>
              <a:gd name="connsiteY53" fmla="*/ 2950444 h 3118313"/>
              <a:gd name="connsiteX54" fmla="*/ 1885125 w 3169679"/>
              <a:gd name="connsiteY54" fmla="*/ 2940331 h 3118313"/>
              <a:gd name="connsiteX55" fmla="*/ 1879057 w 3169679"/>
              <a:gd name="connsiteY55" fmla="*/ 2932241 h 3118313"/>
              <a:gd name="connsiteX56" fmla="*/ 1877035 w 3169679"/>
              <a:gd name="connsiteY56" fmla="*/ 2922129 h 3118313"/>
              <a:gd name="connsiteX57" fmla="*/ 1879057 w 3169679"/>
              <a:gd name="connsiteY57" fmla="*/ 2912016 h 3118313"/>
              <a:gd name="connsiteX58" fmla="*/ 1885125 w 3169679"/>
              <a:gd name="connsiteY58" fmla="*/ 2903926 h 3118313"/>
              <a:gd name="connsiteX59" fmla="*/ 1895237 w 3169679"/>
              <a:gd name="connsiteY59" fmla="*/ 2895836 h 3118313"/>
              <a:gd name="connsiteX60" fmla="*/ 1907372 w 3169679"/>
              <a:gd name="connsiteY60" fmla="*/ 2887746 h 3118313"/>
              <a:gd name="connsiteX61" fmla="*/ 1923553 w 3169679"/>
              <a:gd name="connsiteY61" fmla="*/ 2881678 h 3118313"/>
              <a:gd name="connsiteX62" fmla="*/ 1939733 w 3169679"/>
              <a:gd name="connsiteY62" fmla="*/ 2877633 h 3118313"/>
              <a:gd name="connsiteX63" fmla="*/ 1959958 w 3169679"/>
              <a:gd name="connsiteY63" fmla="*/ 2875611 h 3118313"/>
              <a:gd name="connsiteX64" fmla="*/ 1504891 w 3169679"/>
              <a:gd name="connsiteY64" fmla="*/ 2849318 h 3118313"/>
              <a:gd name="connsiteX65" fmla="*/ 1510958 w 3169679"/>
              <a:gd name="connsiteY65" fmla="*/ 2851341 h 3118313"/>
              <a:gd name="connsiteX66" fmla="*/ 1515003 w 3169679"/>
              <a:gd name="connsiteY66" fmla="*/ 2853363 h 3118313"/>
              <a:gd name="connsiteX67" fmla="*/ 1521071 w 3169679"/>
              <a:gd name="connsiteY67" fmla="*/ 2855386 h 3118313"/>
              <a:gd name="connsiteX68" fmla="*/ 1525116 w 3169679"/>
              <a:gd name="connsiteY68" fmla="*/ 2861453 h 3118313"/>
              <a:gd name="connsiteX69" fmla="*/ 1531183 w 3169679"/>
              <a:gd name="connsiteY69" fmla="*/ 2871566 h 3118313"/>
              <a:gd name="connsiteX70" fmla="*/ 1533206 w 3169679"/>
              <a:gd name="connsiteY70" fmla="*/ 2885723 h 3118313"/>
              <a:gd name="connsiteX71" fmla="*/ 1531183 w 3169679"/>
              <a:gd name="connsiteY71" fmla="*/ 2899881 h 3118313"/>
              <a:gd name="connsiteX72" fmla="*/ 1525116 w 3169679"/>
              <a:gd name="connsiteY72" fmla="*/ 2912016 h 3118313"/>
              <a:gd name="connsiteX73" fmla="*/ 1521071 w 3169679"/>
              <a:gd name="connsiteY73" fmla="*/ 2916061 h 3118313"/>
              <a:gd name="connsiteX74" fmla="*/ 1515003 w 3169679"/>
              <a:gd name="connsiteY74" fmla="*/ 2918084 h 3118313"/>
              <a:gd name="connsiteX75" fmla="*/ 1510958 w 3169679"/>
              <a:gd name="connsiteY75" fmla="*/ 2920106 h 3118313"/>
              <a:gd name="connsiteX76" fmla="*/ 1504891 w 3169679"/>
              <a:gd name="connsiteY76" fmla="*/ 2922129 h 3118313"/>
              <a:gd name="connsiteX77" fmla="*/ 1498823 w 3169679"/>
              <a:gd name="connsiteY77" fmla="*/ 2920106 h 3118313"/>
              <a:gd name="connsiteX78" fmla="*/ 1494778 w 3169679"/>
              <a:gd name="connsiteY78" fmla="*/ 2918084 h 3118313"/>
              <a:gd name="connsiteX79" fmla="*/ 1488711 w 3169679"/>
              <a:gd name="connsiteY79" fmla="*/ 2916061 h 3118313"/>
              <a:gd name="connsiteX80" fmla="*/ 1484665 w 3169679"/>
              <a:gd name="connsiteY80" fmla="*/ 2912016 h 3118313"/>
              <a:gd name="connsiteX81" fmla="*/ 1478598 w 3169679"/>
              <a:gd name="connsiteY81" fmla="*/ 2899881 h 3118313"/>
              <a:gd name="connsiteX82" fmla="*/ 1476575 w 3169679"/>
              <a:gd name="connsiteY82" fmla="*/ 2885723 h 3118313"/>
              <a:gd name="connsiteX83" fmla="*/ 1478598 w 3169679"/>
              <a:gd name="connsiteY83" fmla="*/ 2871566 h 3118313"/>
              <a:gd name="connsiteX84" fmla="*/ 1484665 w 3169679"/>
              <a:gd name="connsiteY84" fmla="*/ 2861453 h 3118313"/>
              <a:gd name="connsiteX85" fmla="*/ 1488711 w 3169679"/>
              <a:gd name="connsiteY85" fmla="*/ 2855386 h 3118313"/>
              <a:gd name="connsiteX86" fmla="*/ 1494778 w 3169679"/>
              <a:gd name="connsiteY86" fmla="*/ 2853363 h 3118313"/>
              <a:gd name="connsiteX87" fmla="*/ 1498823 w 3169679"/>
              <a:gd name="connsiteY87" fmla="*/ 2851341 h 3118313"/>
              <a:gd name="connsiteX88" fmla="*/ 1339044 w 3169679"/>
              <a:gd name="connsiteY88" fmla="*/ 2778530 h 3118313"/>
              <a:gd name="connsiteX89" fmla="*/ 1357247 w 3169679"/>
              <a:gd name="connsiteY89" fmla="*/ 2780552 h 3118313"/>
              <a:gd name="connsiteX90" fmla="*/ 1373427 w 3169679"/>
              <a:gd name="connsiteY90" fmla="*/ 2784597 h 3118313"/>
              <a:gd name="connsiteX91" fmla="*/ 1387584 w 3169679"/>
              <a:gd name="connsiteY91" fmla="*/ 2790665 h 3118313"/>
              <a:gd name="connsiteX92" fmla="*/ 1401742 w 3169679"/>
              <a:gd name="connsiteY92" fmla="*/ 2800778 h 3118313"/>
              <a:gd name="connsiteX93" fmla="*/ 1411855 w 3169679"/>
              <a:gd name="connsiteY93" fmla="*/ 2810890 h 3118313"/>
              <a:gd name="connsiteX94" fmla="*/ 1419945 w 3169679"/>
              <a:gd name="connsiteY94" fmla="*/ 2823025 h 3118313"/>
              <a:gd name="connsiteX95" fmla="*/ 1426012 w 3169679"/>
              <a:gd name="connsiteY95" fmla="*/ 2835160 h 3118313"/>
              <a:gd name="connsiteX96" fmla="*/ 1428035 w 3169679"/>
              <a:gd name="connsiteY96" fmla="*/ 2849318 h 3118313"/>
              <a:gd name="connsiteX97" fmla="*/ 1426012 w 3169679"/>
              <a:gd name="connsiteY97" fmla="*/ 2865498 h 3118313"/>
              <a:gd name="connsiteX98" fmla="*/ 1419945 w 3169679"/>
              <a:gd name="connsiteY98" fmla="*/ 2877633 h 3118313"/>
              <a:gd name="connsiteX99" fmla="*/ 1411855 w 3169679"/>
              <a:gd name="connsiteY99" fmla="*/ 2889768 h 3118313"/>
              <a:gd name="connsiteX100" fmla="*/ 1401742 w 3169679"/>
              <a:gd name="connsiteY100" fmla="*/ 2899881 h 3118313"/>
              <a:gd name="connsiteX101" fmla="*/ 1387584 w 3169679"/>
              <a:gd name="connsiteY101" fmla="*/ 2909994 h 3118313"/>
              <a:gd name="connsiteX102" fmla="*/ 1373427 w 3169679"/>
              <a:gd name="connsiteY102" fmla="*/ 2916061 h 3118313"/>
              <a:gd name="connsiteX103" fmla="*/ 1357247 w 3169679"/>
              <a:gd name="connsiteY103" fmla="*/ 2920106 h 3118313"/>
              <a:gd name="connsiteX104" fmla="*/ 1339044 w 3169679"/>
              <a:gd name="connsiteY104" fmla="*/ 2922129 h 3118313"/>
              <a:gd name="connsiteX105" fmla="*/ 1320841 w 3169679"/>
              <a:gd name="connsiteY105" fmla="*/ 2920106 h 3118313"/>
              <a:gd name="connsiteX106" fmla="*/ 1304661 w 3169679"/>
              <a:gd name="connsiteY106" fmla="*/ 2916061 h 3118313"/>
              <a:gd name="connsiteX107" fmla="*/ 1288481 w 3169679"/>
              <a:gd name="connsiteY107" fmla="*/ 2909994 h 3118313"/>
              <a:gd name="connsiteX108" fmla="*/ 1276346 w 3169679"/>
              <a:gd name="connsiteY108" fmla="*/ 2899881 h 3118313"/>
              <a:gd name="connsiteX109" fmla="*/ 1264211 w 3169679"/>
              <a:gd name="connsiteY109" fmla="*/ 2889768 h 3118313"/>
              <a:gd name="connsiteX110" fmla="*/ 1256121 w 3169679"/>
              <a:gd name="connsiteY110" fmla="*/ 2877633 h 3118313"/>
              <a:gd name="connsiteX111" fmla="*/ 1252076 w 3169679"/>
              <a:gd name="connsiteY111" fmla="*/ 2865498 h 3118313"/>
              <a:gd name="connsiteX112" fmla="*/ 1250053 w 3169679"/>
              <a:gd name="connsiteY112" fmla="*/ 2849318 h 3118313"/>
              <a:gd name="connsiteX113" fmla="*/ 1252076 w 3169679"/>
              <a:gd name="connsiteY113" fmla="*/ 2835160 h 3118313"/>
              <a:gd name="connsiteX114" fmla="*/ 1256121 w 3169679"/>
              <a:gd name="connsiteY114" fmla="*/ 2823025 h 3118313"/>
              <a:gd name="connsiteX115" fmla="*/ 1264211 w 3169679"/>
              <a:gd name="connsiteY115" fmla="*/ 2810890 h 3118313"/>
              <a:gd name="connsiteX116" fmla="*/ 1276346 w 3169679"/>
              <a:gd name="connsiteY116" fmla="*/ 2800778 h 3118313"/>
              <a:gd name="connsiteX117" fmla="*/ 1288481 w 3169679"/>
              <a:gd name="connsiteY117" fmla="*/ 2790665 h 3118313"/>
              <a:gd name="connsiteX118" fmla="*/ 1304661 w 3169679"/>
              <a:gd name="connsiteY118" fmla="*/ 2784597 h 3118313"/>
              <a:gd name="connsiteX119" fmla="*/ 1320841 w 3169679"/>
              <a:gd name="connsiteY119" fmla="*/ 2780552 h 3118313"/>
              <a:gd name="connsiteX120" fmla="*/ 1161062 w 3169679"/>
              <a:gd name="connsiteY120" fmla="*/ 2778530 h 3118313"/>
              <a:gd name="connsiteX121" fmla="*/ 1171175 w 3169679"/>
              <a:gd name="connsiteY121" fmla="*/ 2780552 h 3118313"/>
              <a:gd name="connsiteX122" fmla="*/ 1181287 w 3169679"/>
              <a:gd name="connsiteY122" fmla="*/ 2782575 h 3118313"/>
              <a:gd name="connsiteX123" fmla="*/ 1189377 w 3169679"/>
              <a:gd name="connsiteY123" fmla="*/ 2784597 h 3118313"/>
              <a:gd name="connsiteX124" fmla="*/ 1195445 w 3169679"/>
              <a:gd name="connsiteY124" fmla="*/ 2788642 h 3118313"/>
              <a:gd name="connsiteX125" fmla="*/ 1201512 w 3169679"/>
              <a:gd name="connsiteY125" fmla="*/ 2792687 h 3118313"/>
              <a:gd name="connsiteX126" fmla="*/ 1207580 w 3169679"/>
              <a:gd name="connsiteY126" fmla="*/ 2798755 h 3118313"/>
              <a:gd name="connsiteX127" fmla="*/ 1209603 w 3169679"/>
              <a:gd name="connsiteY127" fmla="*/ 2804823 h 3118313"/>
              <a:gd name="connsiteX128" fmla="*/ 1209603 w 3169679"/>
              <a:gd name="connsiteY128" fmla="*/ 2812913 h 3118313"/>
              <a:gd name="connsiteX129" fmla="*/ 1209603 w 3169679"/>
              <a:gd name="connsiteY129" fmla="*/ 2818980 h 3118313"/>
              <a:gd name="connsiteX130" fmla="*/ 1207580 w 3169679"/>
              <a:gd name="connsiteY130" fmla="*/ 2825048 h 3118313"/>
              <a:gd name="connsiteX131" fmla="*/ 1201512 w 3169679"/>
              <a:gd name="connsiteY131" fmla="*/ 2831115 h 3118313"/>
              <a:gd name="connsiteX132" fmla="*/ 1195445 w 3169679"/>
              <a:gd name="connsiteY132" fmla="*/ 2835160 h 3118313"/>
              <a:gd name="connsiteX133" fmla="*/ 1189377 w 3169679"/>
              <a:gd name="connsiteY133" fmla="*/ 2839205 h 3118313"/>
              <a:gd name="connsiteX134" fmla="*/ 1181287 w 3169679"/>
              <a:gd name="connsiteY134" fmla="*/ 2843250 h 3118313"/>
              <a:gd name="connsiteX135" fmla="*/ 1171175 w 3169679"/>
              <a:gd name="connsiteY135" fmla="*/ 2845273 h 3118313"/>
              <a:gd name="connsiteX136" fmla="*/ 1161062 w 3169679"/>
              <a:gd name="connsiteY136" fmla="*/ 2845273 h 3118313"/>
              <a:gd name="connsiteX137" fmla="*/ 1150949 w 3169679"/>
              <a:gd name="connsiteY137" fmla="*/ 2845273 h 3118313"/>
              <a:gd name="connsiteX138" fmla="*/ 1142859 w 3169679"/>
              <a:gd name="connsiteY138" fmla="*/ 2843250 h 3118313"/>
              <a:gd name="connsiteX139" fmla="*/ 1132747 w 3169679"/>
              <a:gd name="connsiteY139" fmla="*/ 2839205 h 3118313"/>
              <a:gd name="connsiteX140" fmla="*/ 1126679 w 3169679"/>
              <a:gd name="connsiteY140" fmla="*/ 2835160 h 3118313"/>
              <a:gd name="connsiteX141" fmla="*/ 1120612 w 3169679"/>
              <a:gd name="connsiteY141" fmla="*/ 2831115 h 3118313"/>
              <a:gd name="connsiteX142" fmla="*/ 1116567 w 3169679"/>
              <a:gd name="connsiteY142" fmla="*/ 2825048 h 3118313"/>
              <a:gd name="connsiteX143" fmla="*/ 1112521 w 3169679"/>
              <a:gd name="connsiteY143" fmla="*/ 2818980 h 3118313"/>
              <a:gd name="connsiteX144" fmla="*/ 1112521 w 3169679"/>
              <a:gd name="connsiteY144" fmla="*/ 2812913 h 3118313"/>
              <a:gd name="connsiteX145" fmla="*/ 1112521 w 3169679"/>
              <a:gd name="connsiteY145" fmla="*/ 2804823 h 3118313"/>
              <a:gd name="connsiteX146" fmla="*/ 1116567 w 3169679"/>
              <a:gd name="connsiteY146" fmla="*/ 2798755 h 3118313"/>
              <a:gd name="connsiteX147" fmla="*/ 1120612 w 3169679"/>
              <a:gd name="connsiteY147" fmla="*/ 2792687 h 3118313"/>
              <a:gd name="connsiteX148" fmla="*/ 1126679 w 3169679"/>
              <a:gd name="connsiteY148" fmla="*/ 2788642 h 3118313"/>
              <a:gd name="connsiteX149" fmla="*/ 1132747 w 3169679"/>
              <a:gd name="connsiteY149" fmla="*/ 2784597 h 3118313"/>
              <a:gd name="connsiteX150" fmla="*/ 1142859 w 3169679"/>
              <a:gd name="connsiteY150" fmla="*/ 2782575 h 3118313"/>
              <a:gd name="connsiteX151" fmla="*/ 1150949 w 3169679"/>
              <a:gd name="connsiteY151" fmla="*/ 2780552 h 3118313"/>
              <a:gd name="connsiteX152" fmla="*/ 1053868 w 3169679"/>
              <a:gd name="connsiteY152" fmla="*/ 2517625 h 3118313"/>
              <a:gd name="connsiteX153" fmla="*/ 1059936 w 3169679"/>
              <a:gd name="connsiteY153" fmla="*/ 2517625 h 3118313"/>
              <a:gd name="connsiteX154" fmla="*/ 1066003 w 3169679"/>
              <a:gd name="connsiteY154" fmla="*/ 2517625 h 3118313"/>
              <a:gd name="connsiteX155" fmla="*/ 1074094 w 3169679"/>
              <a:gd name="connsiteY155" fmla="*/ 2521670 h 3118313"/>
              <a:gd name="connsiteX156" fmla="*/ 1078139 w 3169679"/>
              <a:gd name="connsiteY156" fmla="*/ 2525715 h 3118313"/>
              <a:gd name="connsiteX157" fmla="*/ 1084206 w 3169679"/>
              <a:gd name="connsiteY157" fmla="*/ 2529760 h 3118313"/>
              <a:gd name="connsiteX158" fmla="*/ 1088251 w 3169679"/>
              <a:gd name="connsiteY158" fmla="*/ 2535827 h 3118313"/>
              <a:gd name="connsiteX159" fmla="*/ 1090274 w 3169679"/>
              <a:gd name="connsiteY159" fmla="*/ 2541895 h 3118313"/>
              <a:gd name="connsiteX160" fmla="*/ 1092296 w 3169679"/>
              <a:gd name="connsiteY160" fmla="*/ 2549985 h 3118313"/>
              <a:gd name="connsiteX161" fmla="*/ 1094319 w 3169679"/>
              <a:gd name="connsiteY161" fmla="*/ 2558075 h 3118313"/>
              <a:gd name="connsiteX162" fmla="*/ 1092296 w 3169679"/>
              <a:gd name="connsiteY162" fmla="*/ 2566165 h 3118313"/>
              <a:gd name="connsiteX163" fmla="*/ 1090274 w 3169679"/>
              <a:gd name="connsiteY163" fmla="*/ 2574255 h 3118313"/>
              <a:gd name="connsiteX164" fmla="*/ 1088251 w 3169679"/>
              <a:gd name="connsiteY164" fmla="*/ 2582345 h 3118313"/>
              <a:gd name="connsiteX165" fmla="*/ 1084206 w 3169679"/>
              <a:gd name="connsiteY165" fmla="*/ 2588413 h 3118313"/>
              <a:gd name="connsiteX166" fmla="*/ 1078139 w 3169679"/>
              <a:gd name="connsiteY166" fmla="*/ 2592458 h 3118313"/>
              <a:gd name="connsiteX167" fmla="*/ 1074094 w 3169679"/>
              <a:gd name="connsiteY167" fmla="*/ 2596503 h 3118313"/>
              <a:gd name="connsiteX168" fmla="*/ 1066003 w 3169679"/>
              <a:gd name="connsiteY168" fmla="*/ 2598526 h 3118313"/>
              <a:gd name="connsiteX169" fmla="*/ 1059936 w 3169679"/>
              <a:gd name="connsiteY169" fmla="*/ 2600548 h 3118313"/>
              <a:gd name="connsiteX170" fmla="*/ 1053868 w 3169679"/>
              <a:gd name="connsiteY170" fmla="*/ 2598526 h 3118313"/>
              <a:gd name="connsiteX171" fmla="*/ 1047801 w 3169679"/>
              <a:gd name="connsiteY171" fmla="*/ 2596503 h 3118313"/>
              <a:gd name="connsiteX172" fmla="*/ 1041733 w 3169679"/>
              <a:gd name="connsiteY172" fmla="*/ 2592458 h 3118313"/>
              <a:gd name="connsiteX173" fmla="*/ 1035666 w 3169679"/>
              <a:gd name="connsiteY173" fmla="*/ 2588413 h 3118313"/>
              <a:gd name="connsiteX174" fmla="*/ 1031621 w 3169679"/>
              <a:gd name="connsiteY174" fmla="*/ 2582345 h 3118313"/>
              <a:gd name="connsiteX175" fmla="*/ 1029598 w 3169679"/>
              <a:gd name="connsiteY175" fmla="*/ 2574255 h 3118313"/>
              <a:gd name="connsiteX176" fmla="*/ 1027576 w 3169679"/>
              <a:gd name="connsiteY176" fmla="*/ 2566165 h 3118313"/>
              <a:gd name="connsiteX177" fmla="*/ 1025553 w 3169679"/>
              <a:gd name="connsiteY177" fmla="*/ 2558075 h 3118313"/>
              <a:gd name="connsiteX178" fmla="*/ 1027576 w 3169679"/>
              <a:gd name="connsiteY178" fmla="*/ 2549985 h 3118313"/>
              <a:gd name="connsiteX179" fmla="*/ 1029598 w 3169679"/>
              <a:gd name="connsiteY179" fmla="*/ 2541895 h 3118313"/>
              <a:gd name="connsiteX180" fmla="*/ 1031621 w 3169679"/>
              <a:gd name="connsiteY180" fmla="*/ 2535827 h 3118313"/>
              <a:gd name="connsiteX181" fmla="*/ 1035666 w 3169679"/>
              <a:gd name="connsiteY181" fmla="*/ 2529760 h 3118313"/>
              <a:gd name="connsiteX182" fmla="*/ 1041733 w 3169679"/>
              <a:gd name="connsiteY182" fmla="*/ 2525715 h 3118313"/>
              <a:gd name="connsiteX183" fmla="*/ 1047801 w 3169679"/>
              <a:gd name="connsiteY183" fmla="*/ 2521670 h 3118313"/>
              <a:gd name="connsiteX184" fmla="*/ 2457951 w 3169679"/>
              <a:gd name="connsiteY184" fmla="*/ 2351894 h 3118313"/>
              <a:gd name="connsiteX185" fmla="*/ 2484936 w 3169679"/>
              <a:gd name="connsiteY185" fmla="*/ 2355267 h 3118313"/>
              <a:gd name="connsiteX186" fmla="*/ 2511921 w 3169679"/>
              <a:gd name="connsiteY186" fmla="*/ 2362014 h 3118313"/>
              <a:gd name="connsiteX187" fmla="*/ 2535532 w 3169679"/>
              <a:gd name="connsiteY187" fmla="*/ 2372133 h 3118313"/>
              <a:gd name="connsiteX188" fmla="*/ 2555771 w 3169679"/>
              <a:gd name="connsiteY188" fmla="*/ 2388999 h 3118313"/>
              <a:gd name="connsiteX189" fmla="*/ 2572637 w 3169679"/>
              <a:gd name="connsiteY189" fmla="*/ 2405864 h 3118313"/>
              <a:gd name="connsiteX190" fmla="*/ 2586129 w 3169679"/>
              <a:gd name="connsiteY190" fmla="*/ 2426103 h 3118313"/>
              <a:gd name="connsiteX191" fmla="*/ 2592876 w 3169679"/>
              <a:gd name="connsiteY191" fmla="*/ 2449715 h 3118313"/>
              <a:gd name="connsiteX192" fmla="*/ 2596249 w 3169679"/>
              <a:gd name="connsiteY192" fmla="*/ 2476700 h 3118313"/>
              <a:gd name="connsiteX193" fmla="*/ 2592876 w 3169679"/>
              <a:gd name="connsiteY193" fmla="*/ 2500312 h 3118313"/>
              <a:gd name="connsiteX194" fmla="*/ 2586129 w 3169679"/>
              <a:gd name="connsiteY194" fmla="*/ 2523923 h 3118313"/>
              <a:gd name="connsiteX195" fmla="*/ 2572637 w 3169679"/>
              <a:gd name="connsiteY195" fmla="*/ 2544162 h 3118313"/>
              <a:gd name="connsiteX196" fmla="*/ 2555771 w 3169679"/>
              <a:gd name="connsiteY196" fmla="*/ 2561028 h 3118313"/>
              <a:gd name="connsiteX197" fmla="*/ 2535532 w 3169679"/>
              <a:gd name="connsiteY197" fmla="*/ 2577893 h 3118313"/>
              <a:gd name="connsiteX198" fmla="*/ 2511921 w 3169679"/>
              <a:gd name="connsiteY198" fmla="*/ 2588013 h 3118313"/>
              <a:gd name="connsiteX199" fmla="*/ 2484936 w 3169679"/>
              <a:gd name="connsiteY199" fmla="*/ 2594759 h 3118313"/>
              <a:gd name="connsiteX200" fmla="*/ 2457951 w 3169679"/>
              <a:gd name="connsiteY200" fmla="*/ 2598132 h 3118313"/>
              <a:gd name="connsiteX201" fmla="*/ 2427593 w 3169679"/>
              <a:gd name="connsiteY201" fmla="*/ 2594759 h 3118313"/>
              <a:gd name="connsiteX202" fmla="*/ 2403981 w 3169679"/>
              <a:gd name="connsiteY202" fmla="*/ 2588013 h 3118313"/>
              <a:gd name="connsiteX203" fmla="*/ 2380369 w 3169679"/>
              <a:gd name="connsiteY203" fmla="*/ 2577893 h 3118313"/>
              <a:gd name="connsiteX204" fmla="*/ 2356757 w 3169679"/>
              <a:gd name="connsiteY204" fmla="*/ 2561028 h 3118313"/>
              <a:gd name="connsiteX205" fmla="*/ 2339891 w 3169679"/>
              <a:gd name="connsiteY205" fmla="*/ 2544162 h 3118313"/>
              <a:gd name="connsiteX206" fmla="*/ 2329772 w 3169679"/>
              <a:gd name="connsiteY206" fmla="*/ 2523923 h 3118313"/>
              <a:gd name="connsiteX207" fmla="*/ 2319653 w 3169679"/>
              <a:gd name="connsiteY207" fmla="*/ 2500312 h 3118313"/>
              <a:gd name="connsiteX208" fmla="*/ 2316280 w 3169679"/>
              <a:gd name="connsiteY208" fmla="*/ 2476700 h 3118313"/>
              <a:gd name="connsiteX209" fmla="*/ 2319653 w 3169679"/>
              <a:gd name="connsiteY209" fmla="*/ 2449715 h 3118313"/>
              <a:gd name="connsiteX210" fmla="*/ 2329772 w 3169679"/>
              <a:gd name="connsiteY210" fmla="*/ 2426103 h 3118313"/>
              <a:gd name="connsiteX211" fmla="*/ 2339891 w 3169679"/>
              <a:gd name="connsiteY211" fmla="*/ 2405864 h 3118313"/>
              <a:gd name="connsiteX212" fmla="*/ 2356757 w 3169679"/>
              <a:gd name="connsiteY212" fmla="*/ 2388999 h 3118313"/>
              <a:gd name="connsiteX213" fmla="*/ 2380369 w 3169679"/>
              <a:gd name="connsiteY213" fmla="*/ 2372133 h 3118313"/>
              <a:gd name="connsiteX214" fmla="*/ 2403981 w 3169679"/>
              <a:gd name="connsiteY214" fmla="*/ 2362014 h 3118313"/>
              <a:gd name="connsiteX215" fmla="*/ 2427593 w 3169679"/>
              <a:gd name="connsiteY215" fmla="*/ 2355267 h 3118313"/>
              <a:gd name="connsiteX216" fmla="*/ 2697442 w 3169679"/>
              <a:gd name="connsiteY216" fmla="*/ 2189985 h 3118313"/>
              <a:gd name="connsiteX217" fmla="*/ 2731173 w 3169679"/>
              <a:gd name="connsiteY217" fmla="*/ 2193358 h 3118313"/>
              <a:gd name="connsiteX218" fmla="*/ 2764905 w 3169679"/>
              <a:gd name="connsiteY218" fmla="*/ 2196731 h 3118313"/>
              <a:gd name="connsiteX219" fmla="*/ 2791890 w 3169679"/>
              <a:gd name="connsiteY219" fmla="*/ 2203477 h 3118313"/>
              <a:gd name="connsiteX220" fmla="*/ 2818875 w 3169679"/>
              <a:gd name="connsiteY220" fmla="*/ 2213596 h 3118313"/>
              <a:gd name="connsiteX221" fmla="*/ 2839113 w 3169679"/>
              <a:gd name="connsiteY221" fmla="*/ 2227089 h 3118313"/>
              <a:gd name="connsiteX222" fmla="*/ 2855979 w 3169679"/>
              <a:gd name="connsiteY222" fmla="*/ 2240581 h 3118313"/>
              <a:gd name="connsiteX223" fmla="*/ 2866098 w 3169679"/>
              <a:gd name="connsiteY223" fmla="*/ 2254074 h 3118313"/>
              <a:gd name="connsiteX224" fmla="*/ 2869471 w 3169679"/>
              <a:gd name="connsiteY224" fmla="*/ 2270939 h 3118313"/>
              <a:gd name="connsiteX225" fmla="*/ 2866098 w 3169679"/>
              <a:gd name="connsiteY225" fmla="*/ 2287805 h 3118313"/>
              <a:gd name="connsiteX226" fmla="*/ 2855979 w 3169679"/>
              <a:gd name="connsiteY226" fmla="*/ 2301298 h 3118313"/>
              <a:gd name="connsiteX227" fmla="*/ 2839113 w 3169679"/>
              <a:gd name="connsiteY227" fmla="*/ 2318163 h 3118313"/>
              <a:gd name="connsiteX228" fmla="*/ 2818875 w 3169679"/>
              <a:gd name="connsiteY228" fmla="*/ 2328283 h 3118313"/>
              <a:gd name="connsiteX229" fmla="*/ 2791890 w 3169679"/>
              <a:gd name="connsiteY229" fmla="*/ 2338402 h 3118313"/>
              <a:gd name="connsiteX230" fmla="*/ 2764905 w 3169679"/>
              <a:gd name="connsiteY230" fmla="*/ 2345148 h 3118313"/>
              <a:gd name="connsiteX231" fmla="*/ 2731173 w 3169679"/>
              <a:gd name="connsiteY231" fmla="*/ 2351894 h 3118313"/>
              <a:gd name="connsiteX232" fmla="*/ 2697442 w 3169679"/>
              <a:gd name="connsiteY232" fmla="*/ 2351894 h 3118313"/>
              <a:gd name="connsiteX233" fmla="*/ 2663711 w 3169679"/>
              <a:gd name="connsiteY233" fmla="*/ 2351894 h 3118313"/>
              <a:gd name="connsiteX234" fmla="*/ 2629980 w 3169679"/>
              <a:gd name="connsiteY234" fmla="*/ 2345148 h 3118313"/>
              <a:gd name="connsiteX235" fmla="*/ 2602995 w 3169679"/>
              <a:gd name="connsiteY235" fmla="*/ 2338402 h 3118313"/>
              <a:gd name="connsiteX236" fmla="*/ 2576010 w 3169679"/>
              <a:gd name="connsiteY236" fmla="*/ 2328283 h 3118313"/>
              <a:gd name="connsiteX237" fmla="*/ 2555771 w 3169679"/>
              <a:gd name="connsiteY237" fmla="*/ 2318163 h 3118313"/>
              <a:gd name="connsiteX238" fmla="*/ 2538906 w 3169679"/>
              <a:gd name="connsiteY238" fmla="*/ 2301298 h 3118313"/>
              <a:gd name="connsiteX239" fmla="*/ 2528786 w 3169679"/>
              <a:gd name="connsiteY239" fmla="*/ 2287805 h 3118313"/>
              <a:gd name="connsiteX240" fmla="*/ 2525413 w 3169679"/>
              <a:gd name="connsiteY240" fmla="*/ 2270939 h 3118313"/>
              <a:gd name="connsiteX241" fmla="*/ 2528786 w 3169679"/>
              <a:gd name="connsiteY241" fmla="*/ 2254074 h 3118313"/>
              <a:gd name="connsiteX242" fmla="*/ 2538906 w 3169679"/>
              <a:gd name="connsiteY242" fmla="*/ 2240581 h 3118313"/>
              <a:gd name="connsiteX243" fmla="*/ 2555771 w 3169679"/>
              <a:gd name="connsiteY243" fmla="*/ 2227089 h 3118313"/>
              <a:gd name="connsiteX244" fmla="*/ 2576010 w 3169679"/>
              <a:gd name="connsiteY244" fmla="*/ 2213596 h 3118313"/>
              <a:gd name="connsiteX245" fmla="*/ 2602995 w 3169679"/>
              <a:gd name="connsiteY245" fmla="*/ 2203477 h 3118313"/>
              <a:gd name="connsiteX246" fmla="*/ 2629980 w 3169679"/>
              <a:gd name="connsiteY246" fmla="*/ 2196731 h 3118313"/>
              <a:gd name="connsiteX247" fmla="*/ 2663711 w 3169679"/>
              <a:gd name="connsiteY247" fmla="*/ 2193358 h 3118313"/>
              <a:gd name="connsiteX248" fmla="*/ 3028008 w 3169679"/>
              <a:gd name="connsiteY248" fmla="*/ 928437 h 3118313"/>
              <a:gd name="connsiteX249" fmla="*/ 3044874 w 3169679"/>
              <a:gd name="connsiteY249" fmla="*/ 928437 h 3118313"/>
              <a:gd name="connsiteX250" fmla="*/ 3061739 w 3169679"/>
              <a:gd name="connsiteY250" fmla="*/ 928437 h 3118313"/>
              <a:gd name="connsiteX251" fmla="*/ 3085351 w 3169679"/>
              <a:gd name="connsiteY251" fmla="*/ 931810 h 3118313"/>
              <a:gd name="connsiteX252" fmla="*/ 3108963 w 3169679"/>
              <a:gd name="connsiteY252" fmla="*/ 941930 h 3118313"/>
              <a:gd name="connsiteX253" fmla="*/ 3119082 w 3169679"/>
              <a:gd name="connsiteY253" fmla="*/ 952049 h 3118313"/>
              <a:gd name="connsiteX254" fmla="*/ 3132575 w 3169679"/>
              <a:gd name="connsiteY254" fmla="*/ 962168 h 3118313"/>
              <a:gd name="connsiteX255" fmla="*/ 3142694 w 3169679"/>
              <a:gd name="connsiteY255" fmla="*/ 979034 h 3118313"/>
              <a:gd name="connsiteX256" fmla="*/ 3152814 w 3169679"/>
              <a:gd name="connsiteY256" fmla="*/ 995900 h 3118313"/>
              <a:gd name="connsiteX257" fmla="*/ 3159560 w 3169679"/>
              <a:gd name="connsiteY257" fmla="*/ 1006019 h 3118313"/>
              <a:gd name="connsiteX258" fmla="*/ 3166306 w 3169679"/>
              <a:gd name="connsiteY258" fmla="*/ 1022885 h 3118313"/>
              <a:gd name="connsiteX259" fmla="*/ 3169679 w 3169679"/>
              <a:gd name="connsiteY259" fmla="*/ 1043123 h 3118313"/>
              <a:gd name="connsiteX260" fmla="*/ 3169679 w 3169679"/>
              <a:gd name="connsiteY260" fmla="*/ 1073481 h 3118313"/>
              <a:gd name="connsiteX261" fmla="*/ 3166306 w 3169679"/>
              <a:gd name="connsiteY261" fmla="*/ 1107213 h 3118313"/>
              <a:gd name="connsiteX262" fmla="*/ 3156187 w 3169679"/>
              <a:gd name="connsiteY262" fmla="*/ 1151063 h 3118313"/>
              <a:gd name="connsiteX263" fmla="*/ 3135948 w 3169679"/>
              <a:gd name="connsiteY263" fmla="*/ 1198287 h 3118313"/>
              <a:gd name="connsiteX264" fmla="*/ 3122455 w 3169679"/>
              <a:gd name="connsiteY264" fmla="*/ 1228645 h 3118313"/>
              <a:gd name="connsiteX265" fmla="*/ 3105590 w 3169679"/>
              <a:gd name="connsiteY265" fmla="*/ 1255630 h 3118313"/>
              <a:gd name="connsiteX266" fmla="*/ 3085351 w 3169679"/>
              <a:gd name="connsiteY266" fmla="*/ 1275869 h 3118313"/>
              <a:gd name="connsiteX267" fmla="*/ 3068486 w 3169679"/>
              <a:gd name="connsiteY267" fmla="*/ 1292734 h 3118313"/>
              <a:gd name="connsiteX268" fmla="*/ 3048247 w 3169679"/>
              <a:gd name="connsiteY268" fmla="*/ 1306227 h 3118313"/>
              <a:gd name="connsiteX269" fmla="*/ 3028008 w 3169679"/>
              <a:gd name="connsiteY269" fmla="*/ 1312973 h 3118313"/>
              <a:gd name="connsiteX270" fmla="*/ 3011143 w 3169679"/>
              <a:gd name="connsiteY270" fmla="*/ 1316346 h 3118313"/>
              <a:gd name="connsiteX271" fmla="*/ 2994277 w 3169679"/>
              <a:gd name="connsiteY271" fmla="*/ 1309600 h 3118313"/>
              <a:gd name="connsiteX272" fmla="*/ 2980784 w 3169679"/>
              <a:gd name="connsiteY272" fmla="*/ 1296107 h 3118313"/>
              <a:gd name="connsiteX273" fmla="*/ 2970665 w 3169679"/>
              <a:gd name="connsiteY273" fmla="*/ 1279242 h 3118313"/>
              <a:gd name="connsiteX274" fmla="*/ 2963919 w 3169679"/>
              <a:gd name="connsiteY274" fmla="*/ 1259003 h 3118313"/>
              <a:gd name="connsiteX275" fmla="*/ 2960546 w 3169679"/>
              <a:gd name="connsiteY275" fmla="*/ 1232018 h 3118313"/>
              <a:gd name="connsiteX276" fmla="*/ 2960546 w 3169679"/>
              <a:gd name="connsiteY276" fmla="*/ 1205033 h 3118313"/>
              <a:gd name="connsiteX277" fmla="*/ 2963919 w 3169679"/>
              <a:gd name="connsiteY277" fmla="*/ 1174675 h 3118313"/>
              <a:gd name="connsiteX278" fmla="*/ 2970665 w 3169679"/>
              <a:gd name="connsiteY278" fmla="*/ 1144317 h 3118313"/>
              <a:gd name="connsiteX279" fmla="*/ 2984158 w 3169679"/>
              <a:gd name="connsiteY279" fmla="*/ 1110586 h 3118313"/>
              <a:gd name="connsiteX280" fmla="*/ 2987531 w 3169679"/>
              <a:gd name="connsiteY280" fmla="*/ 1103840 h 3118313"/>
              <a:gd name="connsiteX281" fmla="*/ 2990904 w 3169679"/>
              <a:gd name="connsiteY281" fmla="*/ 1083601 h 3118313"/>
              <a:gd name="connsiteX282" fmla="*/ 2990904 w 3169679"/>
              <a:gd name="connsiteY282" fmla="*/ 1056616 h 3118313"/>
              <a:gd name="connsiteX283" fmla="*/ 2990904 w 3169679"/>
              <a:gd name="connsiteY283" fmla="*/ 1043123 h 3118313"/>
              <a:gd name="connsiteX284" fmla="*/ 2984158 w 3169679"/>
              <a:gd name="connsiteY284" fmla="*/ 1029631 h 3118313"/>
              <a:gd name="connsiteX285" fmla="*/ 2977411 w 3169679"/>
              <a:gd name="connsiteY285" fmla="*/ 1019512 h 3118313"/>
              <a:gd name="connsiteX286" fmla="*/ 2974038 w 3169679"/>
              <a:gd name="connsiteY286" fmla="*/ 1009392 h 3118313"/>
              <a:gd name="connsiteX287" fmla="*/ 2970665 w 3169679"/>
              <a:gd name="connsiteY287" fmla="*/ 995900 h 3118313"/>
              <a:gd name="connsiteX288" fmla="*/ 2970665 w 3169679"/>
              <a:gd name="connsiteY288" fmla="*/ 982407 h 3118313"/>
              <a:gd name="connsiteX289" fmla="*/ 2977411 w 3169679"/>
              <a:gd name="connsiteY289" fmla="*/ 965542 h 3118313"/>
              <a:gd name="connsiteX290" fmla="*/ 2990904 w 3169679"/>
              <a:gd name="connsiteY290" fmla="*/ 948676 h 3118313"/>
              <a:gd name="connsiteX291" fmla="*/ 3014516 w 3169679"/>
              <a:gd name="connsiteY291" fmla="*/ 935183 h 3118313"/>
              <a:gd name="connsiteX292" fmla="*/ 2785143 w 3169679"/>
              <a:gd name="connsiteY292" fmla="*/ 425842 h 3118313"/>
              <a:gd name="connsiteX293" fmla="*/ 2805382 w 3169679"/>
              <a:gd name="connsiteY293" fmla="*/ 425842 h 3118313"/>
              <a:gd name="connsiteX294" fmla="*/ 2822248 w 3169679"/>
              <a:gd name="connsiteY294" fmla="*/ 432588 h 3118313"/>
              <a:gd name="connsiteX295" fmla="*/ 2842486 w 3169679"/>
              <a:gd name="connsiteY295" fmla="*/ 446081 h 3118313"/>
              <a:gd name="connsiteX296" fmla="*/ 2862725 w 3169679"/>
              <a:gd name="connsiteY296" fmla="*/ 462947 h 3118313"/>
              <a:gd name="connsiteX297" fmla="*/ 2879591 w 3169679"/>
              <a:gd name="connsiteY297" fmla="*/ 486558 h 3118313"/>
              <a:gd name="connsiteX298" fmla="*/ 2896456 w 3169679"/>
              <a:gd name="connsiteY298" fmla="*/ 513543 h 3118313"/>
              <a:gd name="connsiteX299" fmla="*/ 2909949 w 3169679"/>
              <a:gd name="connsiteY299" fmla="*/ 543901 h 3118313"/>
              <a:gd name="connsiteX300" fmla="*/ 2920068 w 3169679"/>
              <a:gd name="connsiteY300" fmla="*/ 574260 h 3118313"/>
              <a:gd name="connsiteX301" fmla="*/ 2926814 w 3169679"/>
              <a:gd name="connsiteY301" fmla="*/ 607991 h 3118313"/>
              <a:gd name="connsiteX302" fmla="*/ 2930188 w 3169679"/>
              <a:gd name="connsiteY302" fmla="*/ 638349 h 3118313"/>
              <a:gd name="connsiteX303" fmla="*/ 2930188 w 3169679"/>
              <a:gd name="connsiteY303" fmla="*/ 668707 h 3118313"/>
              <a:gd name="connsiteX304" fmla="*/ 2926814 w 3169679"/>
              <a:gd name="connsiteY304" fmla="*/ 692319 h 3118313"/>
              <a:gd name="connsiteX305" fmla="*/ 2920068 w 3169679"/>
              <a:gd name="connsiteY305" fmla="*/ 712557 h 3118313"/>
              <a:gd name="connsiteX306" fmla="*/ 2909949 w 3169679"/>
              <a:gd name="connsiteY306" fmla="*/ 729423 h 3118313"/>
              <a:gd name="connsiteX307" fmla="*/ 2896456 w 3169679"/>
              <a:gd name="connsiteY307" fmla="*/ 742916 h 3118313"/>
              <a:gd name="connsiteX308" fmla="*/ 2879591 w 3169679"/>
              <a:gd name="connsiteY308" fmla="*/ 746289 h 3118313"/>
              <a:gd name="connsiteX309" fmla="*/ 2859352 w 3169679"/>
              <a:gd name="connsiteY309" fmla="*/ 746289 h 3118313"/>
              <a:gd name="connsiteX310" fmla="*/ 2839113 w 3169679"/>
              <a:gd name="connsiteY310" fmla="*/ 739542 h 3118313"/>
              <a:gd name="connsiteX311" fmla="*/ 2822248 w 3169679"/>
              <a:gd name="connsiteY311" fmla="*/ 726050 h 3118313"/>
              <a:gd name="connsiteX312" fmla="*/ 2802009 w 3169679"/>
              <a:gd name="connsiteY312" fmla="*/ 705811 h 3118313"/>
              <a:gd name="connsiteX313" fmla="*/ 2785143 w 3169679"/>
              <a:gd name="connsiteY313" fmla="*/ 685573 h 3118313"/>
              <a:gd name="connsiteX314" fmla="*/ 2768278 w 3169679"/>
              <a:gd name="connsiteY314" fmla="*/ 658588 h 3118313"/>
              <a:gd name="connsiteX315" fmla="*/ 2754785 w 3169679"/>
              <a:gd name="connsiteY315" fmla="*/ 628229 h 3118313"/>
              <a:gd name="connsiteX316" fmla="*/ 2744666 w 3169679"/>
              <a:gd name="connsiteY316" fmla="*/ 597871 h 3118313"/>
              <a:gd name="connsiteX317" fmla="*/ 2734547 w 3169679"/>
              <a:gd name="connsiteY317" fmla="*/ 564140 h 3118313"/>
              <a:gd name="connsiteX318" fmla="*/ 2731173 w 3169679"/>
              <a:gd name="connsiteY318" fmla="*/ 533782 h 3118313"/>
              <a:gd name="connsiteX319" fmla="*/ 2731173 w 3169679"/>
              <a:gd name="connsiteY319" fmla="*/ 503424 h 3118313"/>
              <a:gd name="connsiteX320" fmla="*/ 2737920 w 3169679"/>
              <a:gd name="connsiteY320" fmla="*/ 479812 h 3118313"/>
              <a:gd name="connsiteX321" fmla="*/ 2744666 w 3169679"/>
              <a:gd name="connsiteY321" fmla="*/ 459573 h 3118313"/>
              <a:gd name="connsiteX322" fmla="*/ 2754785 w 3169679"/>
              <a:gd name="connsiteY322" fmla="*/ 442708 h 3118313"/>
              <a:gd name="connsiteX323" fmla="*/ 2768278 w 3169679"/>
              <a:gd name="connsiteY323" fmla="*/ 429215 h 3118313"/>
              <a:gd name="connsiteX324" fmla="*/ 1242802 w 3169679"/>
              <a:gd name="connsiteY324" fmla="*/ 0 h 3118313"/>
              <a:gd name="connsiteX325" fmla="*/ 2033340 w 3169679"/>
              <a:gd name="connsiteY325" fmla="*/ 283796 h 3118313"/>
              <a:gd name="connsiteX326" fmla="*/ 2038976 w 3169679"/>
              <a:gd name="connsiteY326" fmla="*/ 288918 h 3118313"/>
              <a:gd name="connsiteX327" fmla="*/ 2049803 w 3169679"/>
              <a:gd name="connsiteY327" fmla="*/ 280798 h 3118313"/>
              <a:gd name="connsiteX328" fmla="*/ 2073415 w 3169679"/>
              <a:gd name="connsiteY328" fmla="*/ 267305 h 3118313"/>
              <a:gd name="connsiteX329" fmla="*/ 2100400 w 3169679"/>
              <a:gd name="connsiteY329" fmla="*/ 260559 h 3118313"/>
              <a:gd name="connsiteX330" fmla="*/ 2124012 w 3169679"/>
              <a:gd name="connsiteY330" fmla="*/ 257186 h 3118313"/>
              <a:gd name="connsiteX331" fmla="*/ 2147624 w 3169679"/>
              <a:gd name="connsiteY331" fmla="*/ 260559 h 3118313"/>
              <a:gd name="connsiteX332" fmla="*/ 2167862 w 3169679"/>
              <a:gd name="connsiteY332" fmla="*/ 270679 h 3118313"/>
              <a:gd name="connsiteX333" fmla="*/ 2181355 w 3169679"/>
              <a:gd name="connsiteY333" fmla="*/ 284171 h 3118313"/>
              <a:gd name="connsiteX334" fmla="*/ 2191474 w 3169679"/>
              <a:gd name="connsiteY334" fmla="*/ 304410 h 3118313"/>
              <a:gd name="connsiteX335" fmla="*/ 2198220 w 3169679"/>
              <a:gd name="connsiteY335" fmla="*/ 324649 h 3118313"/>
              <a:gd name="connsiteX336" fmla="*/ 2198220 w 3169679"/>
              <a:gd name="connsiteY336" fmla="*/ 351634 h 3118313"/>
              <a:gd name="connsiteX337" fmla="*/ 2194847 w 3169679"/>
              <a:gd name="connsiteY337" fmla="*/ 378618 h 3118313"/>
              <a:gd name="connsiteX338" fmla="*/ 2184728 w 3169679"/>
              <a:gd name="connsiteY338" fmla="*/ 408977 h 3118313"/>
              <a:gd name="connsiteX339" fmla="*/ 2177417 w 3169679"/>
              <a:gd name="connsiteY339" fmla="*/ 425427 h 3118313"/>
              <a:gd name="connsiteX340" fmla="*/ 2201809 w 3169679"/>
              <a:gd name="connsiteY340" fmla="*/ 452265 h 3118313"/>
              <a:gd name="connsiteX341" fmla="*/ 2221449 w 3169679"/>
              <a:gd name="connsiteY341" fmla="*/ 478529 h 3118313"/>
              <a:gd name="connsiteX342" fmla="*/ 2225205 w 3169679"/>
              <a:gd name="connsiteY342" fmla="*/ 473066 h 3118313"/>
              <a:gd name="connsiteX343" fmla="*/ 2258937 w 3169679"/>
              <a:gd name="connsiteY343" fmla="*/ 432588 h 3118313"/>
              <a:gd name="connsiteX344" fmla="*/ 2296041 w 3169679"/>
              <a:gd name="connsiteY344" fmla="*/ 402230 h 3118313"/>
              <a:gd name="connsiteX345" fmla="*/ 2329772 w 3169679"/>
              <a:gd name="connsiteY345" fmla="*/ 381992 h 3118313"/>
              <a:gd name="connsiteX346" fmla="*/ 2363503 w 3169679"/>
              <a:gd name="connsiteY346" fmla="*/ 368499 h 3118313"/>
              <a:gd name="connsiteX347" fmla="*/ 2393861 w 3169679"/>
              <a:gd name="connsiteY347" fmla="*/ 361753 h 3118313"/>
              <a:gd name="connsiteX348" fmla="*/ 2424219 w 3169679"/>
              <a:gd name="connsiteY348" fmla="*/ 361753 h 3118313"/>
              <a:gd name="connsiteX349" fmla="*/ 2454578 w 3169679"/>
              <a:gd name="connsiteY349" fmla="*/ 365126 h 3118313"/>
              <a:gd name="connsiteX350" fmla="*/ 2478189 w 3169679"/>
              <a:gd name="connsiteY350" fmla="*/ 375245 h 3118313"/>
              <a:gd name="connsiteX351" fmla="*/ 2501801 w 3169679"/>
              <a:gd name="connsiteY351" fmla="*/ 385365 h 3118313"/>
              <a:gd name="connsiteX352" fmla="*/ 2522040 w 3169679"/>
              <a:gd name="connsiteY352" fmla="*/ 395484 h 3118313"/>
              <a:gd name="connsiteX353" fmla="*/ 2549025 w 3169679"/>
              <a:gd name="connsiteY353" fmla="*/ 415723 h 3118313"/>
              <a:gd name="connsiteX354" fmla="*/ 2559144 w 3169679"/>
              <a:gd name="connsiteY354" fmla="*/ 425842 h 3118313"/>
              <a:gd name="connsiteX355" fmla="*/ 2586129 w 3169679"/>
              <a:gd name="connsiteY355" fmla="*/ 449454 h 3118313"/>
              <a:gd name="connsiteX356" fmla="*/ 2613114 w 3169679"/>
              <a:gd name="connsiteY356" fmla="*/ 476439 h 3118313"/>
              <a:gd name="connsiteX357" fmla="*/ 2629980 w 3169679"/>
              <a:gd name="connsiteY357" fmla="*/ 506797 h 3118313"/>
              <a:gd name="connsiteX358" fmla="*/ 2646845 w 3169679"/>
              <a:gd name="connsiteY358" fmla="*/ 533782 h 3118313"/>
              <a:gd name="connsiteX359" fmla="*/ 2656965 w 3169679"/>
              <a:gd name="connsiteY359" fmla="*/ 560767 h 3118313"/>
              <a:gd name="connsiteX360" fmla="*/ 2667084 w 3169679"/>
              <a:gd name="connsiteY360" fmla="*/ 587752 h 3118313"/>
              <a:gd name="connsiteX361" fmla="*/ 2673830 w 3169679"/>
              <a:gd name="connsiteY361" fmla="*/ 611364 h 3118313"/>
              <a:gd name="connsiteX362" fmla="*/ 2673830 w 3169679"/>
              <a:gd name="connsiteY362" fmla="*/ 638349 h 3118313"/>
              <a:gd name="connsiteX363" fmla="*/ 2677204 w 3169679"/>
              <a:gd name="connsiteY363" fmla="*/ 682199 h 3118313"/>
              <a:gd name="connsiteX364" fmla="*/ 2670457 w 3169679"/>
              <a:gd name="connsiteY364" fmla="*/ 715931 h 3118313"/>
              <a:gd name="connsiteX365" fmla="*/ 2663711 w 3169679"/>
              <a:gd name="connsiteY365" fmla="*/ 746289 h 3118313"/>
              <a:gd name="connsiteX366" fmla="*/ 2653592 w 3169679"/>
              <a:gd name="connsiteY366" fmla="*/ 790139 h 3118313"/>
              <a:gd name="connsiteX367" fmla="*/ 2650219 w 3169679"/>
              <a:gd name="connsiteY367" fmla="*/ 823870 h 3118313"/>
              <a:gd name="connsiteX368" fmla="*/ 2650219 w 3169679"/>
              <a:gd name="connsiteY368" fmla="*/ 854229 h 3118313"/>
              <a:gd name="connsiteX369" fmla="*/ 2653592 w 3169679"/>
              <a:gd name="connsiteY369" fmla="*/ 874467 h 3118313"/>
              <a:gd name="connsiteX370" fmla="*/ 2663711 w 3169679"/>
              <a:gd name="connsiteY370" fmla="*/ 891333 h 3118313"/>
              <a:gd name="connsiteX371" fmla="*/ 2670457 w 3169679"/>
              <a:gd name="connsiteY371" fmla="*/ 904825 h 3118313"/>
              <a:gd name="connsiteX372" fmla="*/ 2680577 w 3169679"/>
              <a:gd name="connsiteY372" fmla="*/ 918318 h 3118313"/>
              <a:gd name="connsiteX373" fmla="*/ 2694069 w 3169679"/>
              <a:gd name="connsiteY373" fmla="*/ 928437 h 3118313"/>
              <a:gd name="connsiteX374" fmla="*/ 2707562 w 3169679"/>
              <a:gd name="connsiteY374" fmla="*/ 935183 h 3118313"/>
              <a:gd name="connsiteX375" fmla="*/ 2731173 w 3169679"/>
              <a:gd name="connsiteY375" fmla="*/ 945303 h 3118313"/>
              <a:gd name="connsiteX376" fmla="*/ 2754785 w 3169679"/>
              <a:gd name="connsiteY376" fmla="*/ 948676 h 3118313"/>
              <a:gd name="connsiteX377" fmla="*/ 2775024 w 3169679"/>
              <a:gd name="connsiteY377" fmla="*/ 948676 h 3118313"/>
              <a:gd name="connsiteX378" fmla="*/ 2795263 w 3169679"/>
              <a:gd name="connsiteY378" fmla="*/ 948676 h 3118313"/>
              <a:gd name="connsiteX379" fmla="*/ 2828994 w 3169679"/>
              <a:gd name="connsiteY379" fmla="*/ 948676 h 3118313"/>
              <a:gd name="connsiteX380" fmla="*/ 2855979 w 3169679"/>
              <a:gd name="connsiteY380" fmla="*/ 952049 h 3118313"/>
              <a:gd name="connsiteX381" fmla="*/ 2879591 w 3169679"/>
              <a:gd name="connsiteY381" fmla="*/ 958795 h 3118313"/>
              <a:gd name="connsiteX382" fmla="*/ 2896456 w 3169679"/>
              <a:gd name="connsiteY382" fmla="*/ 965542 h 3118313"/>
              <a:gd name="connsiteX383" fmla="*/ 2906576 w 3169679"/>
              <a:gd name="connsiteY383" fmla="*/ 975661 h 3118313"/>
              <a:gd name="connsiteX384" fmla="*/ 2913322 w 3169679"/>
              <a:gd name="connsiteY384" fmla="*/ 982407 h 3118313"/>
              <a:gd name="connsiteX385" fmla="*/ 2920068 w 3169679"/>
              <a:gd name="connsiteY385" fmla="*/ 989153 h 3118313"/>
              <a:gd name="connsiteX386" fmla="*/ 2926814 w 3169679"/>
              <a:gd name="connsiteY386" fmla="*/ 999273 h 3118313"/>
              <a:gd name="connsiteX387" fmla="*/ 2930188 w 3169679"/>
              <a:gd name="connsiteY387" fmla="*/ 1009392 h 3118313"/>
              <a:gd name="connsiteX388" fmla="*/ 2936934 w 3169679"/>
              <a:gd name="connsiteY388" fmla="*/ 1029631 h 3118313"/>
              <a:gd name="connsiteX389" fmla="*/ 2936934 w 3169679"/>
              <a:gd name="connsiteY389" fmla="*/ 1053243 h 3118313"/>
              <a:gd name="connsiteX390" fmla="*/ 2930188 w 3169679"/>
              <a:gd name="connsiteY390" fmla="*/ 1073481 h 3118313"/>
              <a:gd name="connsiteX391" fmla="*/ 2916695 w 3169679"/>
              <a:gd name="connsiteY391" fmla="*/ 1107213 h 3118313"/>
              <a:gd name="connsiteX392" fmla="*/ 2909949 w 3169679"/>
              <a:gd name="connsiteY392" fmla="*/ 1117332 h 3118313"/>
              <a:gd name="connsiteX393" fmla="*/ 2886337 w 3169679"/>
              <a:gd name="connsiteY393" fmla="*/ 1154436 h 3118313"/>
              <a:gd name="connsiteX394" fmla="*/ 2869471 w 3169679"/>
              <a:gd name="connsiteY394" fmla="*/ 1184794 h 3118313"/>
              <a:gd name="connsiteX395" fmla="*/ 2859352 w 3169679"/>
              <a:gd name="connsiteY395" fmla="*/ 1211779 h 3118313"/>
              <a:gd name="connsiteX396" fmla="*/ 2852606 w 3169679"/>
              <a:gd name="connsiteY396" fmla="*/ 1232018 h 3118313"/>
              <a:gd name="connsiteX397" fmla="*/ 2849233 w 3169679"/>
              <a:gd name="connsiteY397" fmla="*/ 1252257 h 3118313"/>
              <a:gd name="connsiteX398" fmla="*/ 2849233 w 3169679"/>
              <a:gd name="connsiteY398" fmla="*/ 1265749 h 3118313"/>
              <a:gd name="connsiteX399" fmla="*/ 2849233 w 3169679"/>
              <a:gd name="connsiteY399" fmla="*/ 1275869 h 3118313"/>
              <a:gd name="connsiteX400" fmla="*/ 2852606 w 3169679"/>
              <a:gd name="connsiteY400" fmla="*/ 1292734 h 3118313"/>
              <a:gd name="connsiteX401" fmla="*/ 2855979 w 3169679"/>
              <a:gd name="connsiteY401" fmla="*/ 1309600 h 3118313"/>
              <a:gd name="connsiteX402" fmla="*/ 2862725 w 3169679"/>
              <a:gd name="connsiteY402" fmla="*/ 1323092 h 3118313"/>
              <a:gd name="connsiteX403" fmla="*/ 2872845 w 3169679"/>
              <a:gd name="connsiteY403" fmla="*/ 1333212 h 3118313"/>
              <a:gd name="connsiteX404" fmla="*/ 2882964 w 3169679"/>
              <a:gd name="connsiteY404" fmla="*/ 1343331 h 3118313"/>
              <a:gd name="connsiteX405" fmla="*/ 2893083 w 3169679"/>
              <a:gd name="connsiteY405" fmla="*/ 1353451 h 3118313"/>
              <a:gd name="connsiteX406" fmla="*/ 2916695 w 3169679"/>
              <a:gd name="connsiteY406" fmla="*/ 1363570 h 3118313"/>
              <a:gd name="connsiteX407" fmla="*/ 2936934 w 3169679"/>
              <a:gd name="connsiteY407" fmla="*/ 1370316 h 3118313"/>
              <a:gd name="connsiteX408" fmla="*/ 2957173 w 3169679"/>
              <a:gd name="connsiteY408" fmla="*/ 1370316 h 3118313"/>
              <a:gd name="connsiteX409" fmla="*/ 2977411 w 3169679"/>
              <a:gd name="connsiteY409" fmla="*/ 1370316 h 3118313"/>
              <a:gd name="connsiteX410" fmla="*/ 3017889 w 3169679"/>
              <a:gd name="connsiteY410" fmla="*/ 1373689 h 3118313"/>
              <a:gd name="connsiteX411" fmla="*/ 3054993 w 3169679"/>
              <a:gd name="connsiteY411" fmla="*/ 1380435 h 3118313"/>
              <a:gd name="connsiteX412" fmla="*/ 3081978 w 3169679"/>
              <a:gd name="connsiteY412" fmla="*/ 1390555 h 3118313"/>
              <a:gd name="connsiteX413" fmla="*/ 3105590 w 3169679"/>
              <a:gd name="connsiteY413" fmla="*/ 1400674 h 3118313"/>
              <a:gd name="connsiteX414" fmla="*/ 3122455 w 3169679"/>
              <a:gd name="connsiteY414" fmla="*/ 1414167 h 3118313"/>
              <a:gd name="connsiteX415" fmla="*/ 3135948 w 3169679"/>
              <a:gd name="connsiteY415" fmla="*/ 1424286 h 3118313"/>
              <a:gd name="connsiteX416" fmla="*/ 3146067 w 3169679"/>
              <a:gd name="connsiteY416" fmla="*/ 1437779 h 3118313"/>
              <a:gd name="connsiteX417" fmla="*/ 3152814 w 3169679"/>
              <a:gd name="connsiteY417" fmla="*/ 1447898 h 3118313"/>
              <a:gd name="connsiteX418" fmla="*/ 3159560 w 3169679"/>
              <a:gd name="connsiteY418" fmla="*/ 1461390 h 3118313"/>
              <a:gd name="connsiteX419" fmla="*/ 3162933 w 3169679"/>
              <a:gd name="connsiteY419" fmla="*/ 1471510 h 3118313"/>
              <a:gd name="connsiteX420" fmla="*/ 3162933 w 3169679"/>
              <a:gd name="connsiteY420" fmla="*/ 1481629 h 3118313"/>
              <a:gd name="connsiteX421" fmla="*/ 3159560 w 3169679"/>
              <a:gd name="connsiteY421" fmla="*/ 1491748 h 3118313"/>
              <a:gd name="connsiteX422" fmla="*/ 3152814 w 3169679"/>
              <a:gd name="connsiteY422" fmla="*/ 1501868 h 3118313"/>
              <a:gd name="connsiteX423" fmla="*/ 3139321 w 3169679"/>
              <a:gd name="connsiteY423" fmla="*/ 1518733 h 3118313"/>
              <a:gd name="connsiteX424" fmla="*/ 3122455 w 3169679"/>
              <a:gd name="connsiteY424" fmla="*/ 1532226 h 3118313"/>
              <a:gd name="connsiteX425" fmla="*/ 3105590 w 3169679"/>
              <a:gd name="connsiteY425" fmla="*/ 1542345 h 3118313"/>
              <a:gd name="connsiteX426" fmla="*/ 3088724 w 3169679"/>
              <a:gd name="connsiteY426" fmla="*/ 1549092 h 3118313"/>
              <a:gd name="connsiteX427" fmla="*/ 3068486 w 3169679"/>
              <a:gd name="connsiteY427" fmla="*/ 1555838 h 3118313"/>
              <a:gd name="connsiteX428" fmla="*/ 3054993 w 3169679"/>
              <a:gd name="connsiteY428" fmla="*/ 1562584 h 3118313"/>
              <a:gd name="connsiteX429" fmla="*/ 3028008 w 3169679"/>
              <a:gd name="connsiteY429" fmla="*/ 1582823 h 3118313"/>
              <a:gd name="connsiteX430" fmla="*/ 3011143 w 3169679"/>
              <a:gd name="connsiteY430" fmla="*/ 1603061 h 3118313"/>
              <a:gd name="connsiteX431" fmla="*/ 2997650 w 3169679"/>
              <a:gd name="connsiteY431" fmla="*/ 1626673 h 3118313"/>
              <a:gd name="connsiteX432" fmla="*/ 2987531 w 3169679"/>
              <a:gd name="connsiteY432" fmla="*/ 1646912 h 3118313"/>
              <a:gd name="connsiteX433" fmla="*/ 2984158 w 3169679"/>
              <a:gd name="connsiteY433" fmla="*/ 1663778 h 3118313"/>
              <a:gd name="connsiteX434" fmla="*/ 2984158 w 3169679"/>
              <a:gd name="connsiteY434" fmla="*/ 1677270 h 3118313"/>
              <a:gd name="connsiteX435" fmla="*/ 2980784 w 3169679"/>
              <a:gd name="connsiteY435" fmla="*/ 1704255 h 3118313"/>
              <a:gd name="connsiteX436" fmla="*/ 2974038 w 3169679"/>
              <a:gd name="connsiteY436" fmla="*/ 1724494 h 3118313"/>
              <a:gd name="connsiteX437" fmla="*/ 2967292 w 3169679"/>
              <a:gd name="connsiteY437" fmla="*/ 1744733 h 3118313"/>
              <a:gd name="connsiteX438" fmla="*/ 2957173 w 3169679"/>
              <a:gd name="connsiteY438" fmla="*/ 1761598 h 3118313"/>
              <a:gd name="connsiteX439" fmla="*/ 2936934 w 3169679"/>
              <a:gd name="connsiteY439" fmla="*/ 1788583 h 3118313"/>
              <a:gd name="connsiteX440" fmla="*/ 2916695 w 3169679"/>
              <a:gd name="connsiteY440" fmla="*/ 1812195 h 3118313"/>
              <a:gd name="connsiteX441" fmla="*/ 2893083 w 3169679"/>
              <a:gd name="connsiteY441" fmla="*/ 1825687 h 3118313"/>
              <a:gd name="connsiteX442" fmla="*/ 2872845 w 3169679"/>
              <a:gd name="connsiteY442" fmla="*/ 1835807 h 3118313"/>
              <a:gd name="connsiteX443" fmla="*/ 2855979 w 3169679"/>
              <a:gd name="connsiteY443" fmla="*/ 1839180 h 3118313"/>
              <a:gd name="connsiteX444" fmla="*/ 2832367 w 3169679"/>
              <a:gd name="connsiteY444" fmla="*/ 1849299 h 3118313"/>
              <a:gd name="connsiteX445" fmla="*/ 2812128 w 3169679"/>
              <a:gd name="connsiteY445" fmla="*/ 1856046 h 3118313"/>
              <a:gd name="connsiteX446" fmla="*/ 2798636 w 3169679"/>
              <a:gd name="connsiteY446" fmla="*/ 1866165 h 3118313"/>
              <a:gd name="connsiteX447" fmla="*/ 2785143 w 3169679"/>
              <a:gd name="connsiteY447" fmla="*/ 1876284 h 3118313"/>
              <a:gd name="connsiteX448" fmla="*/ 2775024 w 3169679"/>
              <a:gd name="connsiteY448" fmla="*/ 1886404 h 3118313"/>
              <a:gd name="connsiteX449" fmla="*/ 2768278 w 3169679"/>
              <a:gd name="connsiteY449" fmla="*/ 1896523 h 3118313"/>
              <a:gd name="connsiteX450" fmla="*/ 2758158 w 3169679"/>
              <a:gd name="connsiteY450" fmla="*/ 1920135 h 3118313"/>
              <a:gd name="connsiteX451" fmla="*/ 2758158 w 3169679"/>
              <a:gd name="connsiteY451" fmla="*/ 1937000 h 3118313"/>
              <a:gd name="connsiteX452" fmla="*/ 2758158 w 3169679"/>
              <a:gd name="connsiteY452" fmla="*/ 1953866 h 3118313"/>
              <a:gd name="connsiteX453" fmla="*/ 2764905 w 3169679"/>
              <a:gd name="connsiteY453" fmla="*/ 1970732 h 3118313"/>
              <a:gd name="connsiteX454" fmla="*/ 2771651 w 3169679"/>
              <a:gd name="connsiteY454" fmla="*/ 1987597 h 3118313"/>
              <a:gd name="connsiteX455" fmla="*/ 2775024 w 3169679"/>
              <a:gd name="connsiteY455" fmla="*/ 2004463 h 3118313"/>
              <a:gd name="connsiteX456" fmla="*/ 2775024 w 3169679"/>
              <a:gd name="connsiteY456" fmla="*/ 2021328 h 3118313"/>
              <a:gd name="connsiteX457" fmla="*/ 2768278 w 3169679"/>
              <a:gd name="connsiteY457" fmla="*/ 2034821 h 3118313"/>
              <a:gd name="connsiteX458" fmla="*/ 2758158 w 3169679"/>
              <a:gd name="connsiteY458" fmla="*/ 2055060 h 3118313"/>
              <a:gd name="connsiteX459" fmla="*/ 2751412 w 3169679"/>
              <a:gd name="connsiteY459" fmla="*/ 2065179 h 3118313"/>
              <a:gd name="connsiteX460" fmla="*/ 2724427 w 3169679"/>
              <a:gd name="connsiteY460" fmla="*/ 2082045 h 3118313"/>
              <a:gd name="connsiteX461" fmla="*/ 2694069 w 3169679"/>
              <a:gd name="connsiteY461" fmla="*/ 2088791 h 3118313"/>
              <a:gd name="connsiteX462" fmla="*/ 2670457 w 3169679"/>
              <a:gd name="connsiteY462" fmla="*/ 2092164 h 3118313"/>
              <a:gd name="connsiteX463" fmla="*/ 2646845 w 3169679"/>
              <a:gd name="connsiteY463" fmla="*/ 2092164 h 3118313"/>
              <a:gd name="connsiteX464" fmla="*/ 2629980 w 3169679"/>
              <a:gd name="connsiteY464" fmla="*/ 2088791 h 3118313"/>
              <a:gd name="connsiteX465" fmla="*/ 2616487 w 3169679"/>
              <a:gd name="connsiteY465" fmla="*/ 2085418 h 3118313"/>
              <a:gd name="connsiteX466" fmla="*/ 2602995 w 3169679"/>
              <a:gd name="connsiteY466" fmla="*/ 2078672 h 3118313"/>
              <a:gd name="connsiteX467" fmla="*/ 2565891 w 3169679"/>
              <a:gd name="connsiteY467" fmla="*/ 2061806 h 3118313"/>
              <a:gd name="connsiteX468" fmla="*/ 2528786 w 3169679"/>
              <a:gd name="connsiteY468" fmla="*/ 2051687 h 3118313"/>
              <a:gd name="connsiteX469" fmla="*/ 2498428 w 3169679"/>
              <a:gd name="connsiteY469" fmla="*/ 2041567 h 3118313"/>
              <a:gd name="connsiteX470" fmla="*/ 2468070 w 3169679"/>
              <a:gd name="connsiteY470" fmla="*/ 2038194 h 3118313"/>
              <a:gd name="connsiteX471" fmla="*/ 2437712 w 3169679"/>
              <a:gd name="connsiteY471" fmla="*/ 2038194 h 3118313"/>
              <a:gd name="connsiteX472" fmla="*/ 2410727 w 3169679"/>
              <a:gd name="connsiteY472" fmla="*/ 2041567 h 3118313"/>
              <a:gd name="connsiteX473" fmla="*/ 2387115 w 3169679"/>
              <a:gd name="connsiteY473" fmla="*/ 2044940 h 3118313"/>
              <a:gd name="connsiteX474" fmla="*/ 2366876 w 3169679"/>
              <a:gd name="connsiteY474" fmla="*/ 2051687 h 3118313"/>
              <a:gd name="connsiteX475" fmla="*/ 2333145 w 3169679"/>
              <a:gd name="connsiteY475" fmla="*/ 2068552 h 3118313"/>
              <a:gd name="connsiteX476" fmla="*/ 2306160 w 3169679"/>
              <a:gd name="connsiteY476" fmla="*/ 2085418 h 3118313"/>
              <a:gd name="connsiteX477" fmla="*/ 2285922 w 3169679"/>
              <a:gd name="connsiteY477" fmla="*/ 2102283 h 3118313"/>
              <a:gd name="connsiteX478" fmla="*/ 2252190 w 3169679"/>
              <a:gd name="connsiteY478" fmla="*/ 2136015 h 3118313"/>
              <a:gd name="connsiteX479" fmla="*/ 2243791 w 3169679"/>
              <a:gd name="connsiteY479" fmla="*/ 2141895 h 3118313"/>
              <a:gd name="connsiteX480" fmla="*/ 2247156 w 3169679"/>
              <a:gd name="connsiteY480" fmla="*/ 2147503 h 3118313"/>
              <a:gd name="connsiteX481" fmla="*/ 2253224 w 3169679"/>
              <a:gd name="connsiteY481" fmla="*/ 2157616 h 3118313"/>
              <a:gd name="connsiteX482" fmla="*/ 2257269 w 3169679"/>
              <a:gd name="connsiteY482" fmla="*/ 2163684 h 3118313"/>
              <a:gd name="connsiteX483" fmla="*/ 2261314 w 3169679"/>
              <a:gd name="connsiteY483" fmla="*/ 2173796 h 3118313"/>
              <a:gd name="connsiteX484" fmla="*/ 2263336 w 3169679"/>
              <a:gd name="connsiteY484" fmla="*/ 2185931 h 3118313"/>
              <a:gd name="connsiteX485" fmla="*/ 2263336 w 3169679"/>
              <a:gd name="connsiteY485" fmla="*/ 2204134 h 3118313"/>
              <a:gd name="connsiteX486" fmla="*/ 2261314 w 3169679"/>
              <a:gd name="connsiteY486" fmla="*/ 2224359 h 3118313"/>
              <a:gd name="connsiteX487" fmla="*/ 2255246 w 3169679"/>
              <a:gd name="connsiteY487" fmla="*/ 2250652 h 3118313"/>
              <a:gd name="connsiteX488" fmla="*/ 2243111 w 3169679"/>
              <a:gd name="connsiteY488" fmla="*/ 2278967 h 3118313"/>
              <a:gd name="connsiteX489" fmla="*/ 2235021 w 3169679"/>
              <a:gd name="connsiteY489" fmla="*/ 2297170 h 3118313"/>
              <a:gd name="connsiteX490" fmla="*/ 2224908 w 3169679"/>
              <a:gd name="connsiteY490" fmla="*/ 2313350 h 3118313"/>
              <a:gd name="connsiteX491" fmla="*/ 2212773 w 3169679"/>
              <a:gd name="connsiteY491" fmla="*/ 2325485 h 3118313"/>
              <a:gd name="connsiteX492" fmla="*/ 2202661 w 3169679"/>
              <a:gd name="connsiteY492" fmla="*/ 2335598 h 3118313"/>
              <a:gd name="connsiteX493" fmla="*/ 2190525 w 3169679"/>
              <a:gd name="connsiteY493" fmla="*/ 2343688 h 3118313"/>
              <a:gd name="connsiteX494" fmla="*/ 2178390 w 3169679"/>
              <a:gd name="connsiteY494" fmla="*/ 2347733 h 3118313"/>
              <a:gd name="connsiteX495" fmla="*/ 2168278 w 3169679"/>
              <a:gd name="connsiteY495" fmla="*/ 2349756 h 3118313"/>
              <a:gd name="connsiteX496" fmla="*/ 2158165 w 3169679"/>
              <a:gd name="connsiteY496" fmla="*/ 2345711 h 3118313"/>
              <a:gd name="connsiteX497" fmla="*/ 2150075 w 3169679"/>
              <a:gd name="connsiteY497" fmla="*/ 2337620 h 3118313"/>
              <a:gd name="connsiteX498" fmla="*/ 2144007 w 3169679"/>
              <a:gd name="connsiteY498" fmla="*/ 2327508 h 3118313"/>
              <a:gd name="connsiteX499" fmla="*/ 2139962 w 3169679"/>
              <a:gd name="connsiteY499" fmla="*/ 2315373 h 3118313"/>
              <a:gd name="connsiteX500" fmla="*/ 2137940 w 3169679"/>
              <a:gd name="connsiteY500" fmla="*/ 2299193 h 3118313"/>
              <a:gd name="connsiteX501" fmla="*/ 2137940 w 3169679"/>
              <a:gd name="connsiteY501" fmla="*/ 2283012 h 3118313"/>
              <a:gd name="connsiteX502" fmla="*/ 2139962 w 3169679"/>
              <a:gd name="connsiteY502" fmla="*/ 2264810 h 3118313"/>
              <a:gd name="connsiteX503" fmla="*/ 2144007 w 3169679"/>
              <a:gd name="connsiteY503" fmla="*/ 2246607 h 3118313"/>
              <a:gd name="connsiteX504" fmla="*/ 2152098 w 3169679"/>
              <a:gd name="connsiteY504" fmla="*/ 2226382 h 3118313"/>
              <a:gd name="connsiteX505" fmla="*/ 2154120 w 3169679"/>
              <a:gd name="connsiteY505" fmla="*/ 2222337 h 3118313"/>
              <a:gd name="connsiteX506" fmla="*/ 2156143 w 3169679"/>
              <a:gd name="connsiteY506" fmla="*/ 2210202 h 3118313"/>
              <a:gd name="connsiteX507" fmla="*/ 2156143 w 3169679"/>
              <a:gd name="connsiteY507" fmla="*/ 2194021 h 3118313"/>
              <a:gd name="connsiteX508" fmla="*/ 2156143 w 3169679"/>
              <a:gd name="connsiteY508" fmla="*/ 2187322 h 3118313"/>
              <a:gd name="connsiteX509" fmla="*/ 2137504 w 3169679"/>
              <a:gd name="connsiteY509" fmla="*/ 2189985 h 3118313"/>
              <a:gd name="connsiteX510" fmla="*/ 2123782 w 3169679"/>
              <a:gd name="connsiteY510" fmla="*/ 2189985 h 3118313"/>
              <a:gd name="connsiteX511" fmla="*/ 2123782 w 3169679"/>
              <a:gd name="connsiteY511" fmla="*/ 2191999 h 3118313"/>
              <a:gd name="connsiteX512" fmla="*/ 2119737 w 3169679"/>
              <a:gd name="connsiteY512" fmla="*/ 2204134 h 3118313"/>
              <a:gd name="connsiteX513" fmla="*/ 2111647 w 3169679"/>
              <a:gd name="connsiteY513" fmla="*/ 2224359 h 3118313"/>
              <a:gd name="connsiteX514" fmla="*/ 2107602 w 3169679"/>
              <a:gd name="connsiteY514" fmla="*/ 2230427 h 3118313"/>
              <a:gd name="connsiteX515" fmla="*/ 2093444 w 3169679"/>
              <a:gd name="connsiteY515" fmla="*/ 2252675 h 3118313"/>
              <a:gd name="connsiteX516" fmla="*/ 2083332 w 3169679"/>
              <a:gd name="connsiteY516" fmla="*/ 2270877 h 3118313"/>
              <a:gd name="connsiteX517" fmla="*/ 2077264 w 3169679"/>
              <a:gd name="connsiteY517" fmla="*/ 2287057 h 3118313"/>
              <a:gd name="connsiteX518" fmla="*/ 2073219 w 3169679"/>
              <a:gd name="connsiteY518" fmla="*/ 2299193 h 3118313"/>
              <a:gd name="connsiteX519" fmla="*/ 2071197 w 3169679"/>
              <a:gd name="connsiteY519" fmla="*/ 2311328 h 3118313"/>
              <a:gd name="connsiteX520" fmla="*/ 2071197 w 3169679"/>
              <a:gd name="connsiteY520" fmla="*/ 2319418 h 3118313"/>
              <a:gd name="connsiteX521" fmla="*/ 2071197 w 3169679"/>
              <a:gd name="connsiteY521" fmla="*/ 2325485 h 3118313"/>
              <a:gd name="connsiteX522" fmla="*/ 2073219 w 3169679"/>
              <a:gd name="connsiteY522" fmla="*/ 2335598 h 3118313"/>
              <a:gd name="connsiteX523" fmla="*/ 2075242 w 3169679"/>
              <a:gd name="connsiteY523" fmla="*/ 2345711 h 3118313"/>
              <a:gd name="connsiteX524" fmla="*/ 2079287 w 3169679"/>
              <a:gd name="connsiteY524" fmla="*/ 2353801 h 3118313"/>
              <a:gd name="connsiteX525" fmla="*/ 2085354 w 3169679"/>
              <a:gd name="connsiteY525" fmla="*/ 2359868 h 3118313"/>
              <a:gd name="connsiteX526" fmla="*/ 2091422 w 3169679"/>
              <a:gd name="connsiteY526" fmla="*/ 2365936 h 3118313"/>
              <a:gd name="connsiteX527" fmla="*/ 2097489 w 3169679"/>
              <a:gd name="connsiteY527" fmla="*/ 2372003 h 3118313"/>
              <a:gd name="connsiteX528" fmla="*/ 2111647 w 3169679"/>
              <a:gd name="connsiteY528" fmla="*/ 2378071 h 3118313"/>
              <a:gd name="connsiteX529" fmla="*/ 2123782 w 3169679"/>
              <a:gd name="connsiteY529" fmla="*/ 2382116 h 3118313"/>
              <a:gd name="connsiteX530" fmla="*/ 2135917 w 3169679"/>
              <a:gd name="connsiteY530" fmla="*/ 2382116 h 3118313"/>
              <a:gd name="connsiteX531" fmla="*/ 2148052 w 3169679"/>
              <a:gd name="connsiteY531" fmla="*/ 2382116 h 3118313"/>
              <a:gd name="connsiteX532" fmla="*/ 2172323 w 3169679"/>
              <a:gd name="connsiteY532" fmla="*/ 2384138 h 3118313"/>
              <a:gd name="connsiteX533" fmla="*/ 2194570 w 3169679"/>
              <a:gd name="connsiteY533" fmla="*/ 2388183 h 3118313"/>
              <a:gd name="connsiteX534" fmla="*/ 2210751 w 3169679"/>
              <a:gd name="connsiteY534" fmla="*/ 2394251 h 3118313"/>
              <a:gd name="connsiteX535" fmla="*/ 2224908 w 3169679"/>
              <a:gd name="connsiteY535" fmla="*/ 2400319 h 3118313"/>
              <a:gd name="connsiteX536" fmla="*/ 2235021 w 3169679"/>
              <a:gd name="connsiteY536" fmla="*/ 2408409 h 3118313"/>
              <a:gd name="connsiteX537" fmla="*/ 2243111 w 3169679"/>
              <a:gd name="connsiteY537" fmla="*/ 2414476 h 3118313"/>
              <a:gd name="connsiteX538" fmla="*/ 2249179 w 3169679"/>
              <a:gd name="connsiteY538" fmla="*/ 2422566 h 3118313"/>
              <a:gd name="connsiteX539" fmla="*/ 2253224 w 3169679"/>
              <a:gd name="connsiteY539" fmla="*/ 2428634 h 3118313"/>
              <a:gd name="connsiteX540" fmla="*/ 2257269 w 3169679"/>
              <a:gd name="connsiteY540" fmla="*/ 2436724 h 3118313"/>
              <a:gd name="connsiteX541" fmla="*/ 2259291 w 3169679"/>
              <a:gd name="connsiteY541" fmla="*/ 2442791 h 3118313"/>
              <a:gd name="connsiteX542" fmla="*/ 2259291 w 3169679"/>
              <a:gd name="connsiteY542" fmla="*/ 2448859 h 3118313"/>
              <a:gd name="connsiteX543" fmla="*/ 2257269 w 3169679"/>
              <a:gd name="connsiteY543" fmla="*/ 2454927 h 3118313"/>
              <a:gd name="connsiteX544" fmla="*/ 2253224 w 3169679"/>
              <a:gd name="connsiteY544" fmla="*/ 2460994 h 3118313"/>
              <a:gd name="connsiteX545" fmla="*/ 2245133 w 3169679"/>
              <a:gd name="connsiteY545" fmla="*/ 2471107 h 3118313"/>
              <a:gd name="connsiteX546" fmla="*/ 2235021 w 3169679"/>
              <a:gd name="connsiteY546" fmla="*/ 2479197 h 3118313"/>
              <a:gd name="connsiteX547" fmla="*/ 2224908 w 3169679"/>
              <a:gd name="connsiteY547" fmla="*/ 2485264 h 3118313"/>
              <a:gd name="connsiteX548" fmla="*/ 2214796 w 3169679"/>
              <a:gd name="connsiteY548" fmla="*/ 2489309 h 3118313"/>
              <a:gd name="connsiteX549" fmla="*/ 2202661 w 3169679"/>
              <a:gd name="connsiteY549" fmla="*/ 2493354 h 3118313"/>
              <a:gd name="connsiteX550" fmla="*/ 2194570 w 3169679"/>
              <a:gd name="connsiteY550" fmla="*/ 2497400 h 3118313"/>
              <a:gd name="connsiteX551" fmla="*/ 2178390 w 3169679"/>
              <a:gd name="connsiteY551" fmla="*/ 2509535 h 3118313"/>
              <a:gd name="connsiteX552" fmla="*/ 2168278 w 3169679"/>
              <a:gd name="connsiteY552" fmla="*/ 2521670 h 3118313"/>
              <a:gd name="connsiteX553" fmla="*/ 2160188 w 3169679"/>
              <a:gd name="connsiteY553" fmla="*/ 2535827 h 3118313"/>
              <a:gd name="connsiteX554" fmla="*/ 2154120 w 3169679"/>
              <a:gd name="connsiteY554" fmla="*/ 2547963 h 3118313"/>
              <a:gd name="connsiteX555" fmla="*/ 2152098 w 3169679"/>
              <a:gd name="connsiteY555" fmla="*/ 2558075 h 3118313"/>
              <a:gd name="connsiteX556" fmla="*/ 2152098 w 3169679"/>
              <a:gd name="connsiteY556" fmla="*/ 2566165 h 3118313"/>
              <a:gd name="connsiteX557" fmla="*/ 2150075 w 3169679"/>
              <a:gd name="connsiteY557" fmla="*/ 2582345 h 3118313"/>
              <a:gd name="connsiteX558" fmla="*/ 2146030 w 3169679"/>
              <a:gd name="connsiteY558" fmla="*/ 2594480 h 3118313"/>
              <a:gd name="connsiteX559" fmla="*/ 2141985 w 3169679"/>
              <a:gd name="connsiteY559" fmla="*/ 2606616 h 3118313"/>
              <a:gd name="connsiteX560" fmla="*/ 2135917 w 3169679"/>
              <a:gd name="connsiteY560" fmla="*/ 2616728 h 3118313"/>
              <a:gd name="connsiteX561" fmla="*/ 2123782 w 3169679"/>
              <a:gd name="connsiteY561" fmla="*/ 2632908 h 3118313"/>
              <a:gd name="connsiteX562" fmla="*/ 2111647 w 3169679"/>
              <a:gd name="connsiteY562" fmla="*/ 2647066 h 3118313"/>
              <a:gd name="connsiteX563" fmla="*/ 2097489 w 3169679"/>
              <a:gd name="connsiteY563" fmla="*/ 2655156 h 3118313"/>
              <a:gd name="connsiteX564" fmla="*/ 2085354 w 3169679"/>
              <a:gd name="connsiteY564" fmla="*/ 2661224 h 3118313"/>
              <a:gd name="connsiteX565" fmla="*/ 2075242 w 3169679"/>
              <a:gd name="connsiteY565" fmla="*/ 2663246 h 3118313"/>
              <a:gd name="connsiteX566" fmla="*/ 2061084 w 3169679"/>
              <a:gd name="connsiteY566" fmla="*/ 2669314 h 3118313"/>
              <a:gd name="connsiteX567" fmla="*/ 2048949 w 3169679"/>
              <a:gd name="connsiteY567" fmla="*/ 2673359 h 3118313"/>
              <a:gd name="connsiteX568" fmla="*/ 2040859 w 3169679"/>
              <a:gd name="connsiteY568" fmla="*/ 2679426 h 3118313"/>
              <a:gd name="connsiteX569" fmla="*/ 2032769 w 3169679"/>
              <a:gd name="connsiteY569" fmla="*/ 2685494 h 3118313"/>
              <a:gd name="connsiteX570" fmla="*/ 2026701 w 3169679"/>
              <a:gd name="connsiteY570" fmla="*/ 2691561 h 3118313"/>
              <a:gd name="connsiteX571" fmla="*/ 2022656 w 3169679"/>
              <a:gd name="connsiteY571" fmla="*/ 2697629 h 3118313"/>
              <a:gd name="connsiteX572" fmla="*/ 2016589 w 3169679"/>
              <a:gd name="connsiteY572" fmla="*/ 2711787 h 3118313"/>
              <a:gd name="connsiteX573" fmla="*/ 2016589 w 3169679"/>
              <a:gd name="connsiteY573" fmla="*/ 2721899 h 3118313"/>
              <a:gd name="connsiteX574" fmla="*/ 2016589 w 3169679"/>
              <a:gd name="connsiteY574" fmla="*/ 2732012 h 3118313"/>
              <a:gd name="connsiteX575" fmla="*/ 2020634 w 3169679"/>
              <a:gd name="connsiteY575" fmla="*/ 2742124 h 3118313"/>
              <a:gd name="connsiteX576" fmla="*/ 2024679 w 3169679"/>
              <a:gd name="connsiteY576" fmla="*/ 2752237 h 3118313"/>
              <a:gd name="connsiteX577" fmla="*/ 2026701 w 3169679"/>
              <a:gd name="connsiteY577" fmla="*/ 2762350 h 3118313"/>
              <a:gd name="connsiteX578" fmla="*/ 2026701 w 3169679"/>
              <a:gd name="connsiteY578" fmla="*/ 2772462 h 3118313"/>
              <a:gd name="connsiteX579" fmla="*/ 2022656 w 3169679"/>
              <a:gd name="connsiteY579" fmla="*/ 2780552 h 3118313"/>
              <a:gd name="connsiteX580" fmla="*/ 2016589 w 3169679"/>
              <a:gd name="connsiteY580" fmla="*/ 2792687 h 3118313"/>
              <a:gd name="connsiteX581" fmla="*/ 2012544 w 3169679"/>
              <a:gd name="connsiteY581" fmla="*/ 2798755 h 3118313"/>
              <a:gd name="connsiteX582" fmla="*/ 1996363 w 3169679"/>
              <a:gd name="connsiteY582" fmla="*/ 2808868 h 3118313"/>
              <a:gd name="connsiteX583" fmla="*/ 1978161 w 3169679"/>
              <a:gd name="connsiteY583" fmla="*/ 2812913 h 3118313"/>
              <a:gd name="connsiteX584" fmla="*/ 1964003 w 3169679"/>
              <a:gd name="connsiteY584" fmla="*/ 2814935 h 3118313"/>
              <a:gd name="connsiteX585" fmla="*/ 1949845 w 3169679"/>
              <a:gd name="connsiteY585" fmla="*/ 2814935 h 3118313"/>
              <a:gd name="connsiteX586" fmla="*/ 1939733 w 3169679"/>
              <a:gd name="connsiteY586" fmla="*/ 2812913 h 3118313"/>
              <a:gd name="connsiteX587" fmla="*/ 1931643 w 3169679"/>
              <a:gd name="connsiteY587" fmla="*/ 2810890 h 3118313"/>
              <a:gd name="connsiteX588" fmla="*/ 1923553 w 3169679"/>
              <a:gd name="connsiteY588" fmla="*/ 2806845 h 3118313"/>
              <a:gd name="connsiteX589" fmla="*/ 1901305 w 3169679"/>
              <a:gd name="connsiteY589" fmla="*/ 2796732 h 3118313"/>
              <a:gd name="connsiteX590" fmla="*/ 1879057 w 3169679"/>
              <a:gd name="connsiteY590" fmla="*/ 2790665 h 3118313"/>
              <a:gd name="connsiteX591" fmla="*/ 1860854 w 3169679"/>
              <a:gd name="connsiteY591" fmla="*/ 2784597 h 3118313"/>
              <a:gd name="connsiteX592" fmla="*/ 1842652 w 3169679"/>
              <a:gd name="connsiteY592" fmla="*/ 2782575 h 3118313"/>
              <a:gd name="connsiteX593" fmla="*/ 1824449 w 3169679"/>
              <a:gd name="connsiteY593" fmla="*/ 2782575 h 3118313"/>
              <a:gd name="connsiteX594" fmla="*/ 1808269 w 3169679"/>
              <a:gd name="connsiteY594" fmla="*/ 2784597 h 3118313"/>
              <a:gd name="connsiteX595" fmla="*/ 1794111 w 3169679"/>
              <a:gd name="connsiteY595" fmla="*/ 2786620 h 3118313"/>
              <a:gd name="connsiteX596" fmla="*/ 1781976 w 3169679"/>
              <a:gd name="connsiteY596" fmla="*/ 2790665 h 3118313"/>
              <a:gd name="connsiteX597" fmla="*/ 1761751 w 3169679"/>
              <a:gd name="connsiteY597" fmla="*/ 2800778 h 3118313"/>
              <a:gd name="connsiteX598" fmla="*/ 1745571 w 3169679"/>
              <a:gd name="connsiteY598" fmla="*/ 2810890 h 3118313"/>
              <a:gd name="connsiteX599" fmla="*/ 1733436 w 3169679"/>
              <a:gd name="connsiteY599" fmla="*/ 2821003 h 3118313"/>
              <a:gd name="connsiteX600" fmla="*/ 1713210 w 3169679"/>
              <a:gd name="connsiteY600" fmla="*/ 2841228 h 3118313"/>
              <a:gd name="connsiteX601" fmla="*/ 1692985 w 3169679"/>
              <a:gd name="connsiteY601" fmla="*/ 2855386 h 3118313"/>
              <a:gd name="connsiteX602" fmla="*/ 1674782 w 3169679"/>
              <a:gd name="connsiteY602" fmla="*/ 2865498 h 3118313"/>
              <a:gd name="connsiteX603" fmla="*/ 1658602 w 3169679"/>
              <a:gd name="connsiteY603" fmla="*/ 2871566 h 3118313"/>
              <a:gd name="connsiteX604" fmla="*/ 1644445 w 3169679"/>
              <a:gd name="connsiteY604" fmla="*/ 2873588 h 3118313"/>
              <a:gd name="connsiteX605" fmla="*/ 1632310 w 3169679"/>
              <a:gd name="connsiteY605" fmla="*/ 2873588 h 3118313"/>
              <a:gd name="connsiteX606" fmla="*/ 1624219 w 3169679"/>
              <a:gd name="connsiteY606" fmla="*/ 2873588 h 3118313"/>
              <a:gd name="connsiteX607" fmla="*/ 1603994 w 3169679"/>
              <a:gd name="connsiteY607" fmla="*/ 2869543 h 3118313"/>
              <a:gd name="connsiteX608" fmla="*/ 1587814 w 3169679"/>
              <a:gd name="connsiteY608" fmla="*/ 2863476 h 3118313"/>
              <a:gd name="connsiteX609" fmla="*/ 1575679 w 3169679"/>
              <a:gd name="connsiteY609" fmla="*/ 2853363 h 3118313"/>
              <a:gd name="connsiteX610" fmla="*/ 1567589 w 3169679"/>
              <a:gd name="connsiteY610" fmla="*/ 2845273 h 3118313"/>
              <a:gd name="connsiteX611" fmla="*/ 1561521 w 3169679"/>
              <a:gd name="connsiteY611" fmla="*/ 2835160 h 3118313"/>
              <a:gd name="connsiteX612" fmla="*/ 1557476 w 3169679"/>
              <a:gd name="connsiteY612" fmla="*/ 2827070 h 3118313"/>
              <a:gd name="connsiteX613" fmla="*/ 1555454 w 3169679"/>
              <a:gd name="connsiteY613" fmla="*/ 2821003 h 3118313"/>
              <a:gd name="connsiteX614" fmla="*/ 1551409 w 3169679"/>
              <a:gd name="connsiteY614" fmla="*/ 2802800 h 3118313"/>
              <a:gd name="connsiteX615" fmla="*/ 1543319 w 3169679"/>
              <a:gd name="connsiteY615" fmla="*/ 2788642 h 3118313"/>
              <a:gd name="connsiteX616" fmla="*/ 1535228 w 3169679"/>
              <a:gd name="connsiteY616" fmla="*/ 2778530 h 3118313"/>
              <a:gd name="connsiteX617" fmla="*/ 1525116 w 3169679"/>
              <a:gd name="connsiteY617" fmla="*/ 2772462 h 3118313"/>
              <a:gd name="connsiteX618" fmla="*/ 1515003 w 3169679"/>
              <a:gd name="connsiteY618" fmla="*/ 2768417 h 3118313"/>
              <a:gd name="connsiteX619" fmla="*/ 1506913 w 3169679"/>
              <a:gd name="connsiteY619" fmla="*/ 2766395 h 3118313"/>
              <a:gd name="connsiteX620" fmla="*/ 1498823 w 3169679"/>
              <a:gd name="connsiteY620" fmla="*/ 2766395 h 3118313"/>
              <a:gd name="connsiteX621" fmla="*/ 1482643 w 3169679"/>
              <a:gd name="connsiteY621" fmla="*/ 2766395 h 3118313"/>
              <a:gd name="connsiteX622" fmla="*/ 1470508 w 3169679"/>
              <a:gd name="connsiteY622" fmla="*/ 2762350 h 3118313"/>
              <a:gd name="connsiteX623" fmla="*/ 1458373 w 3169679"/>
              <a:gd name="connsiteY623" fmla="*/ 2756282 h 3118313"/>
              <a:gd name="connsiteX624" fmla="*/ 1448260 w 3169679"/>
              <a:gd name="connsiteY624" fmla="*/ 2750215 h 3118313"/>
              <a:gd name="connsiteX625" fmla="*/ 1442193 w 3169679"/>
              <a:gd name="connsiteY625" fmla="*/ 2742124 h 3118313"/>
              <a:gd name="connsiteX626" fmla="*/ 1436125 w 3169679"/>
              <a:gd name="connsiteY626" fmla="*/ 2736057 h 3118313"/>
              <a:gd name="connsiteX627" fmla="*/ 1432080 w 3169679"/>
              <a:gd name="connsiteY627" fmla="*/ 2729989 h 3118313"/>
              <a:gd name="connsiteX628" fmla="*/ 1426012 w 3169679"/>
              <a:gd name="connsiteY628" fmla="*/ 2719877 h 3118313"/>
              <a:gd name="connsiteX629" fmla="*/ 1417922 w 3169679"/>
              <a:gd name="connsiteY629" fmla="*/ 2713809 h 3118313"/>
              <a:gd name="connsiteX630" fmla="*/ 1407810 w 3169679"/>
              <a:gd name="connsiteY630" fmla="*/ 2707742 h 3118313"/>
              <a:gd name="connsiteX631" fmla="*/ 1399720 w 3169679"/>
              <a:gd name="connsiteY631" fmla="*/ 2703697 h 3118313"/>
              <a:gd name="connsiteX632" fmla="*/ 1389607 w 3169679"/>
              <a:gd name="connsiteY632" fmla="*/ 2701674 h 3118313"/>
              <a:gd name="connsiteX633" fmla="*/ 1379494 w 3169679"/>
              <a:gd name="connsiteY633" fmla="*/ 2699652 h 3118313"/>
              <a:gd name="connsiteX634" fmla="*/ 1359269 w 3169679"/>
              <a:gd name="connsiteY634" fmla="*/ 2699652 h 3118313"/>
              <a:gd name="connsiteX635" fmla="*/ 1341066 w 3169679"/>
              <a:gd name="connsiteY635" fmla="*/ 2703697 h 3118313"/>
              <a:gd name="connsiteX636" fmla="*/ 1324886 w 3169679"/>
              <a:gd name="connsiteY636" fmla="*/ 2707742 h 3118313"/>
              <a:gd name="connsiteX637" fmla="*/ 1310729 w 3169679"/>
              <a:gd name="connsiteY637" fmla="*/ 2713809 h 3118313"/>
              <a:gd name="connsiteX638" fmla="*/ 1284436 w 3169679"/>
              <a:gd name="connsiteY638" fmla="*/ 2721899 h 3118313"/>
              <a:gd name="connsiteX639" fmla="*/ 1260166 w 3169679"/>
              <a:gd name="connsiteY639" fmla="*/ 2725944 h 3118313"/>
              <a:gd name="connsiteX640" fmla="*/ 1237918 w 3169679"/>
              <a:gd name="connsiteY640" fmla="*/ 2727967 h 3118313"/>
              <a:gd name="connsiteX641" fmla="*/ 1219715 w 3169679"/>
              <a:gd name="connsiteY641" fmla="*/ 2729989 h 3118313"/>
              <a:gd name="connsiteX642" fmla="*/ 1203535 w 3169679"/>
              <a:gd name="connsiteY642" fmla="*/ 2729989 h 3118313"/>
              <a:gd name="connsiteX643" fmla="*/ 1187355 w 3169679"/>
              <a:gd name="connsiteY643" fmla="*/ 2727967 h 3118313"/>
              <a:gd name="connsiteX644" fmla="*/ 1175220 w 3169679"/>
              <a:gd name="connsiteY644" fmla="*/ 2723922 h 3118313"/>
              <a:gd name="connsiteX645" fmla="*/ 1165107 w 3169679"/>
              <a:gd name="connsiteY645" fmla="*/ 2721899 h 3118313"/>
              <a:gd name="connsiteX646" fmla="*/ 1148927 w 3169679"/>
              <a:gd name="connsiteY646" fmla="*/ 2711787 h 3118313"/>
              <a:gd name="connsiteX647" fmla="*/ 1140837 w 3169679"/>
              <a:gd name="connsiteY647" fmla="*/ 2703697 h 3118313"/>
              <a:gd name="connsiteX648" fmla="*/ 1134769 w 3169679"/>
              <a:gd name="connsiteY648" fmla="*/ 2697629 h 3118313"/>
              <a:gd name="connsiteX649" fmla="*/ 1132747 w 3169679"/>
              <a:gd name="connsiteY649" fmla="*/ 2693584 h 3118313"/>
              <a:gd name="connsiteX650" fmla="*/ 1128702 w 3169679"/>
              <a:gd name="connsiteY650" fmla="*/ 2681449 h 3118313"/>
              <a:gd name="connsiteX651" fmla="*/ 1124657 w 3169679"/>
              <a:gd name="connsiteY651" fmla="*/ 2667291 h 3118313"/>
              <a:gd name="connsiteX652" fmla="*/ 1122634 w 3169679"/>
              <a:gd name="connsiteY652" fmla="*/ 2655156 h 3118313"/>
              <a:gd name="connsiteX653" fmla="*/ 1122634 w 3169679"/>
              <a:gd name="connsiteY653" fmla="*/ 2643021 h 3118313"/>
              <a:gd name="connsiteX654" fmla="*/ 1124657 w 3169679"/>
              <a:gd name="connsiteY654" fmla="*/ 2620773 h 3118313"/>
              <a:gd name="connsiteX655" fmla="*/ 1130724 w 3169679"/>
              <a:gd name="connsiteY655" fmla="*/ 2600548 h 3118313"/>
              <a:gd name="connsiteX656" fmla="*/ 1140837 w 3169679"/>
              <a:gd name="connsiteY656" fmla="*/ 2580323 h 3118313"/>
              <a:gd name="connsiteX657" fmla="*/ 1152972 w 3169679"/>
              <a:gd name="connsiteY657" fmla="*/ 2564143 h 3118313"/>
              <a:gd name="connsiteX658" fmla="*/ 1169152 w 3169679"/>
              <a:gd name="connsiteY658" fmla="*/ 2547963 h 3118313"/>
              <a:gd name="connsiteX659" fmla="*/ 1185332 w 3169679"/>
              <a:gd name="connsiteY659" fmla="*/ 2535827 h 3118313"/>
              <a:gd name="connsiteX660" fmla="*/ 1201512 w 3169679"/>
              <a:gd name="connsiteY660" fmla="*/ 2523692 h 3118313"/>
              <a:gd name="connsiteX661" fmla="*/ 1219715 w 3169679"/>
              <a:gd name="connsiteY661" fmla="*/ 2513580 h 3118313"/>
              <a:gd name="connsiteX662" fmla="*/ 1250053 w 3169679"/>
              <a:gd name="connsiteY662" fmla="*/ 2497400 h 3118313"/>
              <a:gd name="connsiteX663" fmla="*/ 1272301 w 3169679"/>
              <a:gd name="connsiteY663" fmla="*/ 2487287 h 3118313"/>
              <a:gd name="connsiteX664" fmla="*/ 1282413 w 3169679"/>
              <a:gd name="connsiteY664" fmla="*/ 2485264 h 3118313"/>
              <a:gd name="connsiteX665" fmla="*/ 1286201 w 3169679"/>
              <a:gd name="connsiteY665" fmla="*/ 2483686 h 3118313"/>
              <a:gd name="connsiteX666" fmla="*/ 1242802 w 3169679"/>
              <a:gd name="connsiteY666" fmla="*/ 2485604 h 3118313"/>
              <a:gd name="connsiteX667" fmla="*/ 1159763 w 3169679"/>
              <a:gd name="connsiteY667" fmla="*/ 2481411 h 3118313"/>
              <a:gd name="connsiteX668" fmla="*/ 1157017 w 3169679"/>
              <a:gd name="connsiteY668" fmla="*/ 2483242 h 3118313"/>
              <a:gd name="connsiteX669" fmla="*/ 1148927 w 3169679"/>
              <a:gd name="connsiteY669" fmla="*/ 2487287 h 3118313"/>
              <a:gd name="connsiteX670" fmla="*/ 1142859 w 3169679"/>
              <a:gd name="connsiteY670" fmla="*/ 2489309 h 3118313"/>
              <a:gd name="connsiteX671" fmla="*/ 1134769 w 3169679"/>
              <a:gd name="connsiteY671" fmla="*/ 2489309 h 3118313"/>
              <a:gd name="connsiteX672" fmla="*/ 1126679 w 3169679"/>
              <a:gd name="connsiteY672" fmla="*/ 2489309 h 3118313"/>
              <a:gd name="connsiteX673" fmla="*/ 1118589 w 3169679"/>
              <a:gd name="connsiteY673" fmla="*/ 2487287 h 3118313"/>
              <a:gd name="connsiteX674" fmla="*/ 1112521 w 3169679"/>
              <a:gd name="connsiteY674" fmla="*/ 2483242 h 3118313"/>
              <a:gd name="connsiteX675" fmla="*/ 1106454 w 3169679"/>
              <a:gd name="connsiteY675" fmla="*/ 2479197 h 3118313"/>
              <a:gd name="connsiteX676" fmla="*/ 1104772 w 3169679"/>
              <a:gd name="connsiteY676" fmla="*/ 2477515 h 3118313"/>
              <a:gd name="connsiteX677" fmla="*/ 992334 w 3169679"/>
              <a:gd name="connsiteY677" fmla="*/ 2460355 h 3118313"/>
              <a:gd name="connsiteX678" fmla="*/ 0 w 3169679"/>
              <a:gd name="connsiteY678" fmla="*/ 1242802 h 3118313"/>
              <a:gd name="connsiteX679" fmla="*/ 1242802 w 3169679"/>
              <a:gd name="connsiteY679" fmla="*/ 0 h 3118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</a:cxnLst>
            <a:rect l="l" t="t" r="r" b="b"/>
            <a:pathLst>
              <a:path w="3169679" h="3118313">
                <a:moveTo>
                  <a:pt x="1836584" y="2970669"/>
                </a:moveTo>
                <a:lnTo>
                  <a:pt x="1852764" y="2972692"/>
                </a:lnTo>
                <a:lnTo>
                  <a:pt x="1868945" y="2976737"/>
                </a:lnTo>
                <a:lnTo>
                  <a:pt x="1883102" y="2982804"/>
                </a:lnTo>
                <a:lnTo>
                  <a:pt x="1895237" y="2992917"/>
                </a:lnTo>
                <a:lnTo>
                  <a:pt x="1905350" y="3003030"/>
                </a:lnTo>
                <a:lnTo>
                  <a:pt x="1913440" y="3015165"/>
                </a:lnTo>
                <a:lnTo>
                  <a:pt x="1917485" y="3029322"/>
                </a:lnTo>
                <a:lnTo>
                  <a:pt x="1919508" y="3045502"/>
                </a:lnTo>
                <a:lnTo>
                  <a:pt x="1917485" y="3059660"/>
                </a:lnTo>
                <a:lnTo>
                  <a:pt x="1913440" y="3073818"/>
                </a:lnTo>
                <a:lnTo>
                  <a:pt x="1905350" y="3085953"/>
                </a:lnTo>
                <a:lnTo>
                  <a:pt x="1895237" y="3096065"/>
                </a:lnTo>
                <a:lnTo>
                  <a:pt x="1883102" y="3106178"/>
                </a:lnTo>
                <a:lnTo>
                  <a:pt x="1868945" y="3112246"/>
                </a:lnTo>
                <a:lnTo>
                  <a:pt x="1852764" y="3116291"/>
                </a:lnTo>
                <a:lnTo>
                  <a:pt x="1836584" y="3118313"/>
                </a:lnTo>
                <a:lnTo>
                  <a:pt x="1818381" y="3116291"/>
                </a:lnTo>
                <a:lnTo>
                  <a:pt x="1804224" y="3112246"/>
                </a:lnTo>
                <a:lnTo>
                  <a:pt x="1790066" y="3106178"/>
                </a:lnTo>
                <a:lnTo>
                  <a:pt x="1775909" y="3096065"/>
                </a:lnTo>
                <a:lnTo>
                  <a:pt x="1765796" y="3085953"/>
                </a:lnTo>
                <a:lnTo>
                  <a:pt x="1759728" y="3073818"/>
                </a:lnTo>
                <a:lnTo>
                  <a:pt x="1753661" y="3059660"/>
                </a:lnTo>
                <a:lnTo>
                  <a:pt x="1751638" y="3045502"/>
                </a:lnTo>
                <a:lnTo>
                  <a:pt x="1753661" y="3029322"/>
                </a:lnTo>
                <a:lnTo>
                  <a:pt x="1759728" y="3015165"/>
                </a:lnTo>
                <a:lnTo>
                  <a:pt x="1765796" y="3003030"/>
                </a:lnTo>
                <a:lnTo>
                  <a:pt x="1775909" y="2992917"/>
                </a:lnTo>
                <a:lnTo>
                  <a:pt x="1790066" y="2982804"/>
                </a:lnTo>
                <a:lnTo>
                  <a:pt x="1804224" y="2976737"/>
                </a:lnTo>
                <a:lnTo>
                  <a:pt x="1818381" y="2972692"/>
                </a:lnTo>
                <a:close/>
                <a:moveTo>
                  <a:pt x="1980183" y="2873588"/>
                </a:moveTo>
                <a:lnTo>
                  <a:pt x="2000408" y="2875611"/>
                </a:lnTo>
                <a:lnTo>
                  <a:pt x="2020634" y="2877633"/>
                </a:lnTo>
                <a:lnTo>
                  <a:pt x="2036814" y="2881678"/>
                </a:lnTo>
                <a:lnTo>
                  <a:pt x="2052994" y="2887746"/>
                </a:lnTo>
                <a:lnTo>
                  <a:pt x="2065129" y="2895836"/>
                </a:lnTo>
                <a:lnTo>
                  <a:pt x="2075242" y="2903926"/>
                </a:lnTo>
                <a:lnTo>
                  <a:pt x="2081309" y="2912016"/>
                </a:lnTo>
                <a:lnTo>
                  <a:pt x="2083332" y="2922129"/>
                </a:lnTo>
                <a:lnTo>
                  <a:pt x="2081309" y="2932241"/>
                </a:lnTo>
                <a:lnTo>
                  <a:pt x="2075242" y="2940331"/>
                </a:lnTo>
                <a:lnTo>
                  <a:pt x="2065129" y="2950444"/>
                </a:lnTo>
                <a:lnTo>
                  <a:pt x="2052994" y="2956512"/>
                </a:lnTo>
                <a:lnTo>
                  <a:pt x="2036814" y="2962579"/>
                </a:lnTo>
                <a:lnTo>
                  <a:pt x="2020634" y="2966624"/>
                </a:lnTo>
                <a:lnTo>
                  <a:pt x="2000408" y="2970669"/>
                </a:lnTo>
                <a:lnTo>
                  <a:pt x="1980183" y="2970669"/>
                </a:lnTo>
                <a:lnTo>
                  <a:pt x="1959958" y="2970669"/>
                </a:lnTo>
                <a:lnTo>
                  <a:pt x="1939733" y="2966624"/>
                </a:lnTo>
                <a:lnTo>
                  <a:pt x="1923553" y="2962579"/>
                </a:lnTo>
                <a:lnTo>
                  <a:pt x="1907372" y="2956512"/>
                </a:lnTo>
                <a:lnTo>
                  <a:pt x="1895237" y="2950444"/>
                </a:lnTo>
                <a:lnTo>
                  <a:pt x="1885125" y="2940331"/>
                </a:lnTo>
                <a:lnTo>
                  <a:pt x="1879057" y="2932241"/>
                </a:lnTo>
                <a:lnTo>
                  <a:pt x="1877035" y="2922129"/>
                </a:lnTo>
                <a:lnTo>
                  <a:pt x="1879057" y="2912016"/>
                </a:lnTo>
                <a:lnTo>
                  <a:pt x="1885125" y="2903926"/>
                </a:lnTo>
                <a:lnTo>
                  <a:pt x="1895237" y="2895836"/>
                </a:lnTo>
                <a:lnTo>
                  <a:pt x="1907372" y="2887746"/>
                </a:lnTo>
                <a:lnTo>
                  <a:pt x="1923553" y="2881678"/>
                </a:lnTo>
                <a:lnTo>
                  <a:pt x="1939733" y="2877633"/>
                </a:lnTo>
                <a:lnTo>
                  <a:pt x="1959958" y="2875611"/>
                </a:lnTo>
                <a:close/>
                <a:moveTo>
                  <a:pt x="1504891" y="2849318"/>
                </a:moveTo>
                <a:lnTo>
                  <a:pt x="1510958" y="2851341"/>
                </a:lnTo>
                <a:lnTo>
                  <a:pt x="1515003" y="2853363"/>
                </a:lnTo>
                <a:lnTo>
                  <a:pt x="1521071" y="2855386"/>
                </a:lnTo>
                <a:lnTo>
                  <a:pt x="1525116" y="2861453"/>
                </a:lnTo>
                <a:lnTo>
                  <a:pt x="1531183" y="2871566"/>
                </a:lnTo>
                <a:lnTo>
                  <a:pt x="1533206" y="2885723"/>
                </a:lnTo>
                <a:lnTo>
                  <a:pt x="1531183" y="2899881"/>
                </a:lnTo>
                <a:lnTo>
                  <a:pt x="1525116" y="2912016"/>
                </a:lnTo>
                <a:lnTo>
                  <a:pt x="1521071" y="2916061"/>
                </a:lnTo>
                <a:lnTo>
                  <a:pt x="1515003" y="2918084"/>
                </a:lnTo>
                <a:lnTo>
                  <a:pt x="1510958" y="2920106"/>
                </a:lnTo>
                <a:lnTo>
                  <a:pt x="1504891" y="2922129"/>
                </a:lnTo>
                <a:lnTo>
                  <a:pt x="1498823" y="2920106"/>
                </a:lnTo>
                <a:lnTo>
                  <a:pt x="1494778" y="2918084"/>
                </a:lnTo>
                <a:lnTo>
                  <a:pt x="1488711" y="2916061"/>
                </a:lnTo>
                <a:lnTo>
                  <a:pt x="1484665" y="2912016"/>
                </a:lnTo>
                <a:lnTo>
                  <a:pt x="1478598" y="2899881"/>
                </a:lnTo>
                <a:lnTo>
                  <a:pt x="1476575" y="2885723"/>
                </a:lnTo>
                <a:lnTo>
                  <a:pt x="1478598" y="2871566"/>
                </a:lnTo>
                <a:lnTo>
                  <a:pt x="1484665" y="2861453"/>
                </a:lnTo>
                <a:lnTo>
                  <a:pt x="1488711" y="2855386"/>
                </a:lnTo>
                <a:lnTo>
                  <a:pt x="1494778" y="2853363"/>
                </a:lnTo>
                <a:lnTo>
                  <a:pt x="1498823" y="2851341"/>
                </a:lnTo>
                <a:close/>
                <a:moveTo>
                  <a:pt x="1339044" y="2778530"/>
                </a:moveTo>
                <a:lnTo>
                  <a:pt x="1357247" y="2780552"/>
                </a:lnTo>
                <a:lnTo>
                  <a:pt x="1373427" y="2784597"/>
                </a:lnTo>
                <a:lnTo>
                  <a:pt x="1387584" y="2790665"/>
                </a:lnTo>
                <a:lnTo>
                  <a:pt x="1401742" y="2800778"/>
                </a:lnTo>
                <a:lnTo>
                  <a:pt x="1411855" y="2810890"/>
                </a:lnTo>
                <a:lnTo>
                  <a:pt x="1419945" y="2823025"/>
                </a:lnTo>
                <a:lnTo>
                  <a:pt x="1426012" y="2835160"/>
                </a:lnTo>
                <a:lnTo>
                  <a:pt x="1428035" y="2849318"/>
                </a:lnTo>
                <a:lnTo>
                  <a:pt x="1426012" y="2865498"/>
                </a:lnTo>
                <a:lnTo>
                  <a:pt x="1419945" y="2877633"/>
                </a:lnTo>
                <a:lnTo>
                  <a:pt x="1411855" y="2889768"/>
                </a:lnTo>
                <a:lnTo>
                  <a:pt x="1401742" y="2899881"/>
                </a:lnTo>
                <a:lnTo>
                  <a:pt x="1387584" y="2909994"/>
                </a:lnTo>
                <a:lnTo>
                  <a:pt x="1373427" y="2916061"/>
                </a:lnTo>
                <a:lnTo>
                  <a:pt x="1357247" y="2920106"/>
                </a:lnTo>
                <a:lnTo>
                  <a:pt x="1339044" y="2922129"/>
                </a:lnTo>
                <a:lnTo>
                  <a:pt x="1320841" y="2920106"/>
                </a:lnTo>
                <a:lnTo>
                  <a:pt x="1304661" y="2916061"/>
                </a:lnTo>
                <a:lnTo>
                  <a:pt x="1288481" y="2909994"/>
                </a:lnTo>
                <a:lnTo>
                  <a:pt x="1276346" y="2899881"/>
                </a:lnTo>
                <a:lnTo>
                  <a:pt x="1264211" y="2889768"/>
                </a:lnTo>
                <a:lnTo>
                  <a:pt x="1256121" y="2877633"/>
                </a:lnTo>
                <a:lnTo>
                  <a:pt x="1252076" y="2865498"/>
                </a:lnTo>
                <a:lnTo>
                  <a:pt x="1250053" y="2849318"/>
                </a:lnTo>
                <a:lnTo>
                  <a:pt x="1252076" y="2835160"/>
                </a:lnTo>
                <a:lnTo>
                  <a:pt x="1256121" y="2823025"/>
                </a:lnTo>
                <a:lnTo>
                  <a:pt x="1264211" y="2810890"/>
                </a:lnTo>
                <a:lnTo>
                  <a:pt x="1276346" y="2800778"/>
                </a:lnTo>
                <a:lnTo>
                  <a:pt x="1288481" y="2790665"/>
                </a:lnTo>
                <a:lnTo>
                  <a:pt x="1304661" y="2784597"/>
                </a:lnTo>
                <a:lnTo>
                  <a:pt x="1320841" y="2780552"/>
                </a:lnTo>
                <a:close/>
                <a:moveTo>
                  <a:pt x="1161062" y="2778530"/>
                </a:moveTo>
                <a:lnTo>
                  <a:pt x="1171175" y="2780552"/>
                </a:lnTo>
                <a:lnTo>
                  <a:pt x="1181287" y="2782575"/>
                </a:lnTo>
                <a:lnTo>
                  <a:pt x="1189377" y="2784597"/>
                </a:lnTo>
                <a:lnTo>
                  <a:pt x="1195445" y="2788642"/>
                </a:lnTo>
                <a:lnTo>
                  <a:pt x="1201512" y="2792687"/>
                </a:lnTo>
                <a:lnTo>
                  <a:pt x="1207580" y="2798755"/>
                </a:lnTo>
                <a:lnTo>
                  <a:pt x="1209603" y="2804823"/>
                </a:lnTo>
                <a:lnTo>
                  <a:pt x="1209603" y="2812913"/>
                </a:lnTo>
                <a:lnTo>
                  <a:pt x="1209603" y="2818980"/>
                </a:lnTo>
                <a:lnTo>
                  <a:pt x="1207580" y="2825048"/>
                </a:lnTo>
                <a:lnTo>
                  <a:pt x="1201512" y="2831115"/>
                </a:lnTo>
                <a:lnTo>
                  <a:pt x="1195445" y="2835160"/>
                </a:lnTo>
                <a:lnTo>
                  <a:pt x="1189377" y="2839205"/>
                </a:lnTo>
                <a:lnTo>
                  <a:pt x="1181287" y="2843250"/>
                </a:lnTo>
                <a:lnTo>
                  <a:pt x="1171175" y="2845273"/>
                </a:lnTo>
                <a:lnTo>
                  <a:pt x="1161062" y="2845273"/>
                </a:lnTo>
                <a:lnTo>
                  <a:pt x="1150949" y="2845273"/>
                </a:lnTo>
                <a:lnTo>
                  <a:pt x="1142859" y="2843250"/>
                </a:lnTo>
                <a:lnTo>
                  <a:pt x="1132747" y="2839205"/>
                </a:lnTo>
                <a:lnTo>
                  <a:pt x="1126679" y="2835160"/>
                </a:lnTo>
                <a:lnTo>
                  <a:pt x="1120612" y="2831115"/>
                </a:lnTo>
                <a:lnTo>
                  <a:pt x="1116567" y="2825048"/>
                </a:lnTo>
                <a:lnTo>
                  <a:pt x="1112521" y="2818980"/>
                </a:lnTo>
                <a:lnTo>
                  <a:pt x="1112521" y="2812913"/>
                </a:lnTo>
                <a:lnTo>
                  <a:pt x="1112521" y="2804823"/>
                </a:lnTo>
                <a:lnTo>
                  <a:pt x="1116567" y="2798755"/>
                </a:lnTo>
                <a:lnTo>
                  <a:pt x="1120612" y="2792687"/>
                </a:lnTo>
                <a:lnTo>
                  <a:pt x="1126679" y="2788642"/>
                </a:lnTo>
                <a:lnTo>
                  <a:pt x="1132747" y="2784597"/>
                </a:lnTo>
                <a:lnTo>
                  <a:pt x="1142859" y="2782575"/>
                </a:lnTo>
                <a:lnTo>
                  <a:pt x="1150949" y="2780552"/>
                </a:lnTo>
                <a:close/>
                <a:moveTo>
                  <a:pt x="1053868" y="2517625"/>
                </a:moveTo>
                <a:lnTo>
                  <a:pt x="1059936" y="2517625"/>
                </a:lnTo>
                <a:lnTo>
                  <a:pt x="1066003" y="2517625"/>
                </a:lnTo>
                <a:lnTo>
                  <a:pt x="1074094" y="2521670"/>
                </a:lnTo>
                <a:lnTo>
                  <a:pt x="1078139" y="2525715"/>
                </a:lnTo>
                <a:lnTo>
                  <a:pt x="1084206" y="2529760"/>
                </a:lnTo>
                <a:lnTo>
                  <a:pt x="1088251" y="2535827"/>
                </a:lnTo>
                <a:lnTo>
                  <a:pt x="1090274" y="2541895"/>
                </a:lnTo>
                <a:lnTo>
                  <a:pt x="1092296" y="2549985"/>
                </a:lnTo>
                <a:lnTo>
                  <a:pt x="1094319" y="2558075"/>
                </a:lnTo>
                <a:lnTo>
                  <a:pt x="1092296" y="2566165"/>
                </a:lnTo>
                <a:lnTo>
                  <a:pt x="1090274" y="2574255"/>
                </a:lnTo>
                <a:lnTo>
                  <a:pt x="1088251" y="2582345"/>
                </a:lnTo>
                <a:lnTo>
                  <a:pt x="1084206" y="2588413"/>
                </a:lnTo>
                <a:lnTo>
                  <a:pt x="1078139" y="2592458"/>
                </a:lnTo>
                <a:lnTo>
                  <a:pt x="1074094" y="2596503"/>
                </a:lnTo>
                <a:lnTo>
                  <a:pt x="1066003" y="2598526"/>
                </a:lnTo>
                <a:lnTo>
                  <a:pt x="1059936" y="2600548"/>
                </a:lnTo>
                <a:lnTo>
                  <a:pt x="1053868" y="2598526"/>
                </a:lnTo>
                <a:lnTo>
                  <a:pt x="1047801" y="2596503"/>
                </a:lnTo>
                <a:lnTo>
                  <a:pt x="1041733" y="2592458"/>
                </a:lnTo>
                <a:lnTo>
                  <a:pt x="1035666" y="2588413"/>
                </a:lnTo>
                <a:lnTo>
                  <a:pt x="1031621" y="2582345"/>
                </a:lnTo>
                <a:lnTo>
                  <a:pt x="1029598" y="2574255"/>
                </a:lnTo>
                <a:lnTo>
                  <a:pt x="1027576" y="2566165"/>
                </a:lnTo>
                <a:lnTo>
                  <a:pt x="1025553" y="2558075"/>
                </a:lnTo>
                <a:lnTo>
                  <a:pt x="1027576" y="2549985"/>
                </a:lnTo>
                <a:lnTo>
                  <a:pt x="1029598" y="2541895"/>
                </a:lnTo>
                <a:lnTo>
                  <a:pt x="1031621" y="2535827"/>
                </a:lnTo>
                <a:lnTo>
                  <a:pt x="1035666" y="2529760"/>
                </a:lnTo>
                <a:lnTo>
                  <a:pt x="1041733" y="2525715"/>
                </a:lnTo>
                <a:lnTo>
                  <a:pt x="1047801" y="2521670"/>
                </a:lnTo>
                <a:close/>
                <a:moveTo>
                  <a:pt x="2457951" y="2351894"/>
                </a:moveTo>
                <a:lnTo>
                  <a:pt x="2484936" y="2355267"/>
                </a:lnTo>
                <a:lnTo>
                  <a:pt x="2511921" y="2362014"/>
                </a:lnTo>
                <a:lnTo>
                  <a:pt x="2535532" y="2372133"/>
                </a:lnTo>
                <a:lnTo>
                  <a:pt x="2555771" y="2388999"/>
                </a:lnTo>
                <a:lnTo>
                  <a:pt x="2572637" y="2405864"/>
                </a:lnTo>
                <a:lnTo>
                  <a:pt x="2586129" y="2426103"/>
                </a:lnTo>
                <a:lnTo>
                  <a:pt x="2592876" y="2449715"/>
                </a:lnTo>
                <a:lnTo>
                  <a:pt x="2596249" y="2476700"/>
                </a:lnTo>
                <a:lnTo>
                  <a:pt x="2592876" y="2500312"/>
                </a:lnTo>
                <a:lnTo>
                  <a:pt x="2586129" y="2523923"/>
                </a:lnTo>
                <a:lnTo>
                  <a:pt x="2572637" y="2544162"/>
                </a:lnTo>
                <a:lnTo>
                  <a:pt x="2555771" y="2561028"/>
                </a:lnTo>
                <a:lnTo>
                  <a:pt x="2535532" y="2577893"/>
                </a:lnTo>
                <a:lnTo>
                  <a:pt x="2511921" y="2588013"/>
                </a:lnTo>
                <a:lnTo>
                  <a:pt x="2484936" y="2594759"/>
                </a:lnTo>
                <a:lnTo>
                  <a:pt x="2457951" y="2598132"/>
                </a:lnTo>
                <a:lnTo>
                  <a:pt x="2427593" y="2594759"/>
                </a:lnTo>
                <a:lnTo>
                  <a:pt x="2403981" y="2588013"/>
                </a:lnTo>
                <a:lnTo>
                  <a:pt x="2380369" y="2577893"/>
                </a:lnTo>
                <a:lnTo>
                  <a:pt x="2356757" y="2561028"/>
                </a:lnTo>
                <a:lnTo>
                  <a:pt x="2339891" y="2544162"/>
                </a:lnTo>
                <a:lnTo>
                  <a:pt x="2329772" y="2523923"/>
                </a:lnTo>
                <a:lnTo>
                  <a:pt x="2319653" y="2500312"/>
                </a:lnTo>
                <a:lnTo>
                  <a:pt x="2316280" y="2476700"/>
                </a:lnTo>
                <a:lnTo>
                  <a:pt x="2319653" y="2449715"/>
                </a:lnTo>
                <a:lnTo>
                  <a:pt x="2329772" y="2426103"/>
                </a:lnTo>
                <a:lnTo>
                  <a:pt x="2339891" y="2405864"/>
                </a:lnTo>
                <a:lnTo>
                  <a:pt x="2356757" y="2388999"/>
                </a:lnTo>
                <a:lnTo>
                  <a:pt x="2380369" y="2372133"/>
                </a:lnTo>
                <a:lnTo>
                  <a:pt x="2403981" y="2362014"/>
                </a:lnTo>
                <a:lnTo>
                  <a:pt x="2427593" y="2355267"/>
                </a:lnTo>
                <a:close/>
                <a:moveTo>
                  <a:pt x="2697442" y="2189985"/>
                </a:moveTo>
                <a:lnTo>
                  <a:pt x="2731173" y="2193358"/>
                </a:lnTo>
                <a:lnTo>
                  <a:pt x="2764905" y="2196731"/>
                </a:lnTo>
                <a:lnTo>
                  <a:pt x="2791890" y="2203477"/>
                </a:lnTo>
                <a:lnTo>
                  <a:pt x="2818875" y="2213596"/>
                </a:lnTo>
                <a:lnTo>
                  <a:pt x="2839113" y="2227089"/>
                </a:lnTo>
                <a:lnTo>
                  <a:pt x="2855979" y="2240581"/>
                </a:lnTo>
                <a:lnTo>
                  <a:pt x="2866098" y="2254074"/>
                </a:lnTo>
                <a:lnTo>
                  <a:pt x="2869471" y="2270939"/>
                </a:lnTo>
                <a:lnTo>
                  <a:pt x="2866098" y="2287805"/>
                </a:lnTo>
                <a:lnTo>
                  <a:pt x="2855979" y="2301298"/>
                </a:lnTo>
                <a:lnTo>
                  <a:pt x="2839113" y="2318163"/>
                </a:lnTo>
                <a:lnTo>
                  <a:pt x="2818875" y="2328283"/>
                </a:lnTo>
                <a:lnTo>
                  <a:pt x="2791890" y="2338402"/>
                </a:lnTo>
                <a:lnTo>
                  <a:pt x="2764905" y="2345148"/>
                </a:lnTo>
                <a:lnTo>
                  <a:pt x="2731173" y="2351894"/>
                </a:lnTo>
                <a:lnTo>
                  <a:pt x="2697442" y="2351894"/>
                </a:lnTo>
                <a:lnTo>
                  <a:pt x="2663711" y="2351894"/>
                </a:lnTo>
                <a:lnTo>
                  <a:pt x="2629980" y="2345148"/>
                </a:lnTo>
                <a:lnTo>
                  <a:pt x="2602995" y="2338402"/>
                </a:lnTo>
                <a:lnTo>
                  <a:pt x="2576010" y="2328283"/>
                </a:lnTo>
                <a:lnTo>
                  <a:pt x="2555771" y="2318163"/>
                </a:lnTo>
                <a:lnTo>
                  <a:pt x="2538906" y="2301298"/>
                </a:lnTo>
                <a:lnTo>
                  <a:pt x="2528786" y="2287805"/>
                </a:lnTo>
                <a:lnTo>
                  <a:pt x="2525413" y="2270939"/>
                </a:lnTo>
                <a:lnTo>
                  <a:pt x="2528786" y="2254074"/>
                </a:lnTo>
                <a:lnTo>
                  <a:pt x="2538906" y="2240581"/>
                </a:lnTo>
                <a:lnTo>
                  <a:pt x="2555771" y="2227089"/>
                </a:lnTo>
                <a:lnTo>
                  <a:pt x="2576010" y="2213596"/>
                </a:lnTo>
                <a:lnTo>
                  <a:pt x="2602995" y="2203477"/>
                </a:lnTo>
                <a:lnTo>
                  <a:pt x="2629980" y="2196731"/>
                </a:lnTo>
                <a:lnTo>
                  <a:pt x="2663711" y="2193358"/>
                </a:lnTo>
                <a:close/>
                <a:moveTo>
                  <a:pt x="3028008" y="928437"/>
                </a:moveTo>
                <a:lnTo>
                  <a:pt x="3044874" y="928437"/>
                </a:lnTo>
                <a:lnTo>
                  <a:pt x="3061739" y="928437"/>
                </a:lnTo>
                <a:lnTo>
                  <a:pt x="3085351" y="931810"/>
                </a:lnTo>
                <a:lnTo>
                  <a:pt x="3108963" y="941930"/>
                </a:lnTo>
                <a:lnTo>
                  <a:pt x="3119082" y="952049"/>
                </a:lnTo>
                <a:lnTo>
                  <a:pt x="3132575" y="962168"/>
                </a:lnTo>
                <a:lnTo>
                  <a:pt x="3142694" y="979034"/>
                </a:lnTo>
                <a:lnTo>
                  <a:pt x="3152814" y="995900"/>
                </a:lnTo>
                <a:lnTo>
                  <a:pt x="3159560" y="1006019"/>
                </a:lnTo>
                <a:lnTo>
                  <a:pt x="3166306" y="1022885"/>
                </a:lnTo>
                <a:lnTo>
                  <a:pt x="3169679" y="1043123"/>
                </a:lnTo>
                <a:lnTo>
                  <a:pt x="3169679" y="1073481"/>
                </a:lnTo>
                <a:lnTo>
                  <a:pt x="3166306" y="1107213"/>
                </a:lnTo>
                <a:lnTo>
                  <a:pt x="3156187" y="1151063"/>
                </a:lnTo>
                <a:lnTo>
                  <a:pt x="3135948" y="1198287"/>
                </a:lnTo>
                <a:lnTo>
                  <a:pt x="3122455" y="1228645"/>
                </a:lnTo>
                <a:lnTo>
                  <a:pt x="3105590" y="1255630"/>
                </a:lnTo>
                <a:lnTo>
                  <a:pt x="3085351" y="1275869"/>
                </a:lnTo>
                <a:lnTo>
                  <a:pt x="3068486" y="1292734"/>
                </a:lnTo>
                <a:lnTo>
                  <a:pt x="3048247" y="1306227"/>
                </a:lnTo>
                <a:lnTo>
                  <a:pt x="3028008" y="1312973"/>
                </a:lnTo>
                <a:lnTo>
                  <a:pt x="3011143" y="1316346"/>
                </a:lnTo>
                <a:lnTo>
                  <a:pt x="2994277" y="1309600"/>
                </a:lnTo>
                <a:lnTo>
                  <a:pt x="2980784" y="1296107"/>
                </a:lnTo>
                <a:lnTo>
                  <a:pt x="2970665" y="1279242"/>
                </a:lnTo>
                <a:lnTo>
                  <a:pt x="2963919" y="1259003"/>
                </a:lnTo>
                <a:lnTo>
                  <a:pt x="2960546" y="1232018"/>
                </a:lnTo>
                <a:lnTo>
                  <a:pt x="2960546" y="1205033"/>
                </a:lnTo>
                <a:lnTo>
                  <a:pt x="2963919" y="1174675"/>
                </a:lnTo>
                <a:lnTo>
                  <a:pt x="2970665" y="1144317"/>
                </a:lnTo>
                <a:lnTo>
                  <a:pt x="2984158" y="1110586"/>
                </a:lnTo>
                <a:lnTo>
                  <a:pt x="2987531" y="1103840"/>
                </a:lnTo>
                <a:lnTo>
                  <a:pt x="2990904" y="1083601"/>
                </a:lnTo>
                <a:lnTo>
                  <a:pt x="2990904" y="1056616"/>
                </a:lnTo>
                <a:lnTo>
                  <a:pt x="2990904" y="1043123"/>
                </a:lnTo>
                <a:lnTo>
                  <a:pt x="2984158" y="1029631"/>
                </a:lnTo>
                <a:lnTo>
                  <a:pt x="2977411" y="1019512"/>
                </a:lnTo>
                <a:lnTo>
                  <a:pt x="2974038" y="1009392"/>
                </a:lnTo>
                <a:lnTo>
                  <a:pt x="2970665" y="995900"/>
                </a:lnTo>
                <a:lnTo>
                  <a:pt x="2970665" y="982407"/>
                </a:lnTo>
                <a:lnTo>
                  <a:pt x="2977411" y="965542"/>
                </a:lnTo>
                <a:lnTo>
                  <a:pt x="2990904" y="948676"/>
                </a:lnTo>
                <a:lnTo>
                  <a:pt x="3014516" y="935183"/>
                </a:lnTo>
                <a:close/>
                <a:moveTo>
                  <a:pt x="2785143" y="425842"/>
                </a:moveTo>
                <a:lnTo>
                  <a:pt x="2805382" y="425842"/>
                </a:lnTo>
                <a:lnTo>
                  <a:pt x="2822248" y="432588"/>
                </a:lnTo>
                <a:lnTo>
                  <a:pt x="2842486" y="446081"/>
                </a:lnTo>
                <a:lnTo>
                  <a:pt x="2862725" y="462947"/>
                </a:lnTo>
                <a:lnTo>
                  <a:pt x="2879591" y="486558"/>
                </a:lnTo>
                <a:lnTo>
                  <a:pt x="2896456" y="513543"/>
                </a:lnTo>
                <a:lnTo>
                  <a:pt x="2909949" y="543901"/>
                </a:lnTo>
                <a:lnTo>
                  <a:pt x="2920068" y="574260"/>
                </a:lnTo>
                <a:lnTo>
                  <a:pt x="2926814" y="607991"/>
                </a:lnTo>
                <a:lnTo>
                  <a:pt x="2930188" y="638349"/>
                </a:lnTo>
                <a:lnTo>
                  <a:pt x="2930188" y="668707"/>
                </a:lnTo>
                <a:lnTo>
                  <a:pt x="2926814" y="692319"/>
                </a:lnTo>
                <a:lnTo>
                  <a:pt x="2920068" y="712557"/>
                </a:lnTo>
                <a:lnTo>
                  <a:pt x="2909949" y="729423"/>
                </a:lnTo>
                <a:lnTo>
                  <a:pt x="2896456" y="742916"/>
                </a:lnTo>
                <a:lnTo>
                  <a:pt x="2879591" y="746289"/>
                </a:lnTo>
                <a:lnTo>
                  <a:pt x="2859352" y="746289"/>
                </a:lnTo>
                <a:lnTo>
                  <a:pt x="2839113" y="739542"/>
                </a:lnTo>
                <a:lnTo>
                  <a:pt x="2822248" y="726050"/>
                </a:lnTo>
                <a:lnTo>
                  <a:pt x="2802009" y="705811"/>
                </a:lnTo>
                <a:lnTo>
                  <a:pt x="2785143" y="685573"/>
                </a:lnTo>
                <a:lnTo>
                  <a:pt x="2768278" y="658588"/>
                </a:lnTo>
                <a:lnTo>
                  <a:pt x="2754785" y="628229"/>
                </a:lnTo>
                <a:lnTo>
                  <a:pt x="2744666" y="597871"/>
                </a:lnTo>
                <a:lnTo>
                  <a:pt x="2734547" y="564140"/>
                </a:lnTo>
                <a:lnTo>
                  <a:pt x="2731173" y="533782"/>
                </a:lnTo>
                <a:lnTo>
                  <a:pt x="2731173" y="503424"/>
                </a:lnTo>
                <a:lnTo>
                  <a:pt x="2737920" y="479812"/>
                </a:lnTo>
                <a:lnTo>
                  <a:pt x="2744666" y="459573"/>
                </a:lnTo>
                <a:lnTo>
                  <a:pt x="2754785" y="442708"/>
                </a:lnTo>
                <a:lnTo>
                  <a:pt x="2768278" y="429215"/>
                </a:lnTo>
                <a:close/>
                <a:moveTo>
                  <a:pt x="1242802" y="0"/>
                </a:moveTo>
                <a:cubicBezTo>
                  <a:pt x="1543094" y="0"/>
                  <a:pt x="1818510" y="106503"/>
                  <a:pt x="2033340" y="283796"/>
                </a:cubicBezTo>
                <a:lnTo>
                  <a:pt x="2038976" y="288918"/>
                </a:lnTo>
                <a:lnTo>
                  <a:pt x="2049803" y="280798"/>
                </a:lnTo>
                <a:lnTo>
                  <a:pt x="2073415" y="267305"/>
                </a:lnTo>
                <a:lnTo>
                  <a:pt x="2100400" y="260559"/>
                </a:lnTo>
                <a:lnTo>
                  <a:pt x="2124012" y="257186"/>
                </a:lnTo>
                <a:lnTo>
                  <a:pt x="2147624" y="260559"/>
                </a:lnTo>
                <a:lnTo>
                  <a:pt x="2167862" y="270679"/>
                </a:lnTo>
                <a:lnTo>
                  <a:pt x="2181355" y="284171"/>
                </a:lnTo>
                <a:lnTo>
                  <a:pt x="2191474" y="304410"/>
                </a:lnTo>
                <a:lnTo>
                  <a:pt x="2198220" y="324649"/>
                </a:lnTo>
                <a:lnTo>
                  <a:pt x="2198220" y="351634"/>
                </a:lnTo>
                <a:lnTo>
                  <a:pt x="2194847" y="378618"/>
                </a:lnTo>
                <a:lnTo>
                  <a:pt x="2184728" y="408977"/>
                </a:lnTo>
                <a:lnTo>
                  <a:pt x="2177417" y="425427"/>
                </a:lnTo>
                <a:lnTo>
                  <a:pt x="2201809" y="452265"/>
                </a:lnTo>
                <a:lnTo>
                  <a:pt x="2221449" y="478529"/>
                </a:lnTo>
                <a:lnTo>
                  <a:pt x="2225205" y="473066"/>
                </a:lnTo>
                <a:lnTo>
                  <a:pt x="2258937" y="432588"/>
                </a:lnTo>
                <a:lnTo>
                  <a:pt x="2296041" y="402230"/>
                </a:lnTo>
                <a:lnTo>
                  <a:pt x="2329772" y="381992"/>
                </a:lnTo>
                <a:lnTo>
                  <a:pt x="2363503" y="368499"/>
                </a:lnTo>
                <a:lnTo>
                  <a:pt x="2393861" y="361753"/>
                </a:lnTo>
                <a:lnTo>
                  <a:pt x="2424219" y="361753"/>
                </a:lnTo>
                <a:lnTo>
                  <a:pt x="2454578" y="365126"/>
                </a:lnTo>
                <a:lnTo>
                  <a:pt x="2478189" y="375245"/>
                </a:lnTo>
                <a:lnTo>
                  <a:pt x="2501801" y="385365"/>
                </a:lnTo>
                <a:lnTo>
                  <a:pt x="2522040" y="395484"/>
                </a:lnTo>
                <a:lnTo>
                  <a:pt x="2549025" y="415723"/>
                </a:lnTo>
                <a:lnTo>
                  <a:pt x="2559144" y="425842"/>
                </a:lnTo>
                <a:lnTo>
                  <a:pt x="2586129" y="449454"/>
                </a:lnTo>
                <a:lnTo>
                  <a:pt x="2613114" y="476439"/>
                </a:lnTo>
                <a:lnTo>
                  <a:pt x="2629980" y="506797"/>
                </a:lnTo>
                <a:lnTo>
                  <a:pt x="2646845" y="533782"/>
                </a:lnTo>
                <a:lnTo>
                  <a:pt x="2656965" y="560767"/>
                </a:lnTo>
                <a:lnTo>
                  <a:pt x="2667084" y="587752"/>
                </a:lnTo>
                <a:lnTo>
                  <a:pt x="2673830" y="611364"/>
                </a:lnTo>
                <a:lnTo>
                  <a:pt x="2673830" y="638349"/>
                </a:lnTo>
                <a:lnTo>
                  <a:pt x="2677204" y="682199"/>
                </a:lnTo>
                <a:lnTo>
                  <a:pt x="2670457" y="715931"/>
                </a:lnTo>
                <a:lnTo>
                  <a:pt x="2663711" y="746289"/>
                </a:lnTo>
                <a:lnTo>
                  <a:pt x="2653592" y="790139"/>
                </a:lnTo>
                <a:lnTo>
                  <a:pt x="2650219" y="823870"/>
                </a:lnTo>
                <a:lnTo>
                  <a:pt x="2650219" y="854229"/>
                </a:lnTo>
                <a:lnTo>
                  <a:pt x="2653592" y="874467"/>
                </a:lnTo>
                <a:lnTo>
                  <a:pt x="2663711" y="891333"/>
                </a:lnTo>
                <a:lnTo>
                  <a:pt x="2670457" y="904825"/>
                </a:lnTo>
                <a:lnTo>
                  <a:pt x="2680577" y="918318"/>
                </a:lnTo>
                <a:lnTo>
                  <a:pt x="2694069" y="928437"/>
                </a:lnTo>
                <a:lnTo>
                  <a:pt x="2707562" y="935183"/>
                </a:lnTo>
                <a:lnTo>
                  <a:pt x="2731173" y="945303"/>
                </a:lnTo>
                <a:lnTo>
                  <a:pt x="2754785" y="948676"/>
                </a:lnTo>
                <a:lnTo>
                  <a:pt x="2775024" y="948676"/>
                </a:lnTo>
                <a:lnTo>
                  <a:pt x="2795263" y="948676"/>
                </a:lnTo>
                <a:lnTo>
                  <a:pt x="2828994" y="948676"/>
                </a:lnTo>
                <a:lnTo>
                  <a:pt x="2855979" y="952049"/>
                </a:lnTo>
                <a:lnTo>
                  <a:pt x="2879591" y="958795"/>
                </a:lnTo>
                <a:lnTo>
                  <a:pt x="2896456" y="965542"/>
                </a:lnTo>
                <a:lnTo>
                  <a:pt x="2906576" y="975661"/>
                </a:lnTo>
                <a:lnTo>
                  <a:pt x="2913322" y="982407"/>
                </a:lnTo>
                <a:lnTo>
                  <a:pt x="2920068" y="989153"/>
                </a:lnTo>
                <a:lnTo>
                  <a:pt x="2926814" y="999273"/>
                </a:lnTo>
                <a:lnTo>
                  <a:pt x="2930188" y="1009392"/>
                </a:lnTo>
                <a:lnTo>
                  <a:pt x="2936934" y="1029631"/>
                </a:lnTo>
                <a:lnTo>
                  <a:pt x="2936934" y="1053243"/>
                </a:lnTo>
                <a:lnTo>
                  <a:pt x="2930188" y="1073481"/>
                </a:lnTo>
                <a:lnTo>
                  <a:pt x="2916695" y="1107213"/>
                </a:lnTo>
                <a:lnTo>
                  <a:pt x="2909949" y="1117332"/>
                </a:lnTo>
                <a:lnTo>
                  <a:pt x="2886337" y="1154436"/>
                </a:lnTo>
                <a:lnTo>
                  <a:pt x="2869471" y="1184794"/>
                </a:lnTo>
                <a:lnTo>
                  <a:pt x="2859352" y="1211779"/>
                </a:lnTo>
                <a:lnTo>
                  <a:pt x="2852606" y="1232018"/>
                </a:lnTo>
                <a:lnTo>
                  <a:pt x="2849233" y="1252257"/>
                </a:lnTo>
                <a:lnTo>
                  <a:pt x="2849233" y="1265749"/>
                </a:lnTo>
                <a:lnTo>
                  <a:pt x="2849233" y="1275869"/>
                </a:lnTo>
                <a:lnTo>
                  <a:pt x="2852606" y="1292734"/>
                </a:lnTo>
                <a:lnTo>
                  <a:pt x="2855979" y="1309600"/>
                </a:lnTo>
                <a:lnTo>
                  <a:pt x="2862725" y="1323092"/>
                </a:lnTo>
                <a:lnTo>
                  <a:pt x="2872845" y="1333212"/>
                </a:lnTo>
                <a:lnTo>
                  <a:pt x="2882964" y="1343331"/>
                </a:lnTo>
                <a:lnTo>
                  <a:pt x="2893083" y="1353451"/>
                </a:lnTo>
                <a:lnTo>
                  <a:pt x="2916695" y="1363570"/>
                </a:lnTo>
                <a:lnTo>
                  <a:pt x="2936934" y="1370316"/>
                </a:lnTo>
                <a:lnTo>
                  <a:pt x="2957173" y="1370316"/>
                </a:lnTo>
                <a:lnTo>
                  <a:pt x="2977411" y="1370316"/>
                </a:lnTo>
                <a:lnTo>
                  <a:pt x="3017889" y="1373689"/>
                </a:lnTo>
                <a:lnTo>
                  <a:pt x="3054993" y="1380435"/>
                </a:lnTo>
                <a:lnTo>
                  <a:pt x="3081978" y="1390555"/>
                </a:lnTo>
                <a:lnTo>
                  <a:pt x="3105590" y="1400674"/>
                </a:lnTo>
                <a:lnTo>
                  <a:pt x="3122455" y="1414167"/>
                </a:lnTo>
                <a:lnTo>
                  <a:pt x="3135948" y="1424286"/>
                </a:lnTo>
                <a:lnTo>
                  <a:pt x="3146067" y="1437779"/>
                </a:lnTo>
                <a:lnTo>
                  <a:pt x="3152814" y="1447898"/>
                </a:lnTo>
                <a:lnTo>
                  <a:pt x="3159560" y="1461390"/>
                </a:lnTo>
                <a:lnTo>
                  <a:pt x="3162933" y="1471510"/>
                </a:lnTo>
                <a:lnTo>
                  <a:pt x="3162933" y="1481629"/>
                </a:lnTo>
                <a:lnTo>
                  <a:pt x="3159560" y="1491748"/>
                </a:lnTo>
                <a:lnTo>
                  <a:pt x="3152814" y="1501868"/>
                </a:lnTo>
                <a:lnTo>
                  <a:pt x="3139321" y="1518733"/>
                </a:lnTo>
                <a:lnTo>
                  <a:pt x="3122455" y="1532226"/>
                </a:lnTo>
                <a:lnTo>
                  <a:pt x="3105590" y="1542345"/>
                </a:lnTo>
                <a:lnTo>
                  <a:pt x="3088724" y="1549092"/>
                </a:lnTo>
                <a:lnTo>
                  <a:pt x="3068486" y="1555838"/>
                </a:lnTo>
                <a:lnTo>
                  <a:pt x="3054993" y="1562584"/>
                </a:lnTo>
                <a:lnTo>
                  <a:pt x="3028008" y="1582823"/>
                </a:lnTo>
                <a:lnTo>
                  <a:pt x="3011143" y="1603061"/>
                </a:lnTo>
                <a:lnTo>
                  <a:pt x="2997650" y="1626673"/>
                </a:lnTo>
                <a:lnTo>
                  <a:pt x="2987531" y="1646912"/>
                </a:lnTo>
                <a:lnTo>
                  <a:pt x="2984158" y="1663778"/>
                </a:lnTo>
                <a:lnTo>
                  <a:pt x="2984158" y="1677270"/>
                </a:lnTo>
                <a:lnTo>
                  <a:pt x="2980784" y="1704255"/>
                </a:lnTo>
                <a:lnTo>
                  <a:pt x="2974038" y="1724494"/>
                </a:lnTo>
                <a:lnTo>
                  <a:pt x="2967292" y="1744733"/>
                </a:lnTo>
                <a:lnTo>
                  <a:pt x="2957173" y="1761598"/>
                </a:lnTo>
                <a:lnTo>
                  <a:pt x="2936934" y="1788583"/>
                </a:lnTo>
                <a:lnTo>
                  <a:pt x="2916695" y="1812195"/>
                </a:lnTo>
                <a:lnTo>
                  <a:pt x="2893083" y="1825687"/>
                </a:lnTo>
                <a:lnTo>
                  <a:pt x="2872845" y="1835807"/>
                </a:lnTo>
                <a:lnTo>
                  <a:pt x="2855979" y="1839180"/>
                </a:lnTo>
                <a:lnTo>
                  <a:pt x="2832367" y="1849299"/>
                </a:lnTo>
                <a:lnTo>
                  <a:pt x="2812128" y="1856046"/>
                </a:lnTo>
                <a:lnTo>
                  <a:pt x="2798636" y="1866165"/>
                </a:lnTo>
                <a:lnTo>
                  <a:pt x="2785143" y="1876284"/>
                </a:lnTo>
                <a:lnTo>
                  <a:pt x="2775024" y="1886404"/>
                </a:lnTo>
                <a:lnTo>
                  <a:pt x="2768278" y="1896523"/>
                </a:lnTo>
                <a:lnTo>
                  <a:pt x="2758158" y="1920135"/>
                </a:lnTo>
                <a:lnTo>
                  <a:pt x="2758158" y="1937000"/>
                </a:lnTo>
                <a:lnTo>
                  <a:pt x="2758158" y="1953866"/>
                </a:lnTo>
                <a:lnTo>
                  <a:pt x="2764905" y="1970732"/>
                </a:lnTo>
                <a:lnTo>
                  <a:pt x="2771651" y="1987597"/>
                </a:lnTo>
                <a:lnTo>
                  <a:pt x="2775024" y="2004463"/>
                </a:lnTo>
                <a:lnTo>
                  <a:pt x="2775024" y="2021328"/>
                </a:lnTo>
                <a:lnTo>
                  <a:pt x="2768278" y="2034821"/>
                </a:lnTo>
                <a:lnTo>
                  <a:pt x="2758158" y="2055060"/>
                </a:lnTo>
                <a:lnTo>
                  <a:pt x="2751412" y="2065179"/>
                </a:lnTo>
                <a:lnTo>
                  <a:pt x="2724427" y="2082045"/>
                </a:lnTo>
                <a:lnTo>
                  <a:pt x="2694069" y="2088791"/>
                </a:lnTo>
                <a:lnTo>
                  <a:pt x="2670457" y="2092164"/>
                </a:lnTo>
                <a:lnTo>
                  <a:pt x="2646845" y="2092164"/>
                </a:lnTo>
                <a:lnTo>
                  <a:pt x="2629980" y="2088791"/>
                </a:lnTo>
                <a:lnTo>
                  <a:pt x="2616487" y="2085418"/>
                </a:lnTo>
                <a:lnTo>
                  <a:pt x="2602995" y="2078672"/>
                </a:lnTo>
                <a:lnTo>
                  <a:pt x="2565891" y="2061806"/>
                </a:lnTo>
                <a:lnTo>
                  <a:pt x="2528786" y="2051687"/>
                </a:lnTo>
                <a:lnTo>
                  <a:pt x="2498428" y="2041567"/>
                </a:lnTo>
                <a:lnTo>
                  <a:pt x="2468070" y="2038194"/>
                </a:lnTo>
                <a:lnTo>
                  <a:pt x="2437712" y="2038194"/>
                </a:lnTo>
                <a:lnTo>
                  <a:pt x="2410727" y="2041567"/>
                </a:lnTo>
                <a:lnTo>
                  <a:pt x="2387115" y="2044940"/>
                </a:lnTo>
                <a:lnTo>
                  <a:pt x="2366876" y="2051687"/>
                </a:lnTo>
                <a:lnTo>
                  <a:pt x="2333145" y="2068552"/>
                </a:lnTo>
                <a:lnTo>
                  <a:pt x="2306160" y="2085418"/>
                </a:lnTo>
                <a:lnTo>
                  <a:pt x="2285922" y="2102283"/>
                </a:lnTo>
                <a:lnTo>
                  <a:pt x="2252190" y="2136015"/>
                </a:lnTo>
                <a:lnTo>
                  <a:pt x="2243791" y="2141895"/>
                </a:lnTo>
                <a:lnTo>
                  <a:pt x="2247156" y="2147503"/>
                </a:lnTo>
                <a:lnTo>
                  <a:pt x="2253224" y="2157616"/>
                </a:lnTo>
                <a:lnTo>
                  <a:pt x="2257269" y="2163684"/>
                </a:lnTo>
                <a:lnTo>
                  <a:pt x="2261314" y="2173796"/>
                </a:lnTo>
                <a:lnTo>
                  <a:pt x="2263336" y="2185931"/>
                </a:lnTo>
                <a:lnTo>
                  <a:pt x="2263336" y="2204134"/>
                </a:lnTo>
                <a:lnTo>
                  <a:pt x="2261314" y="2224359"/>
                </a:lnTo>
                <a:lnTo>
                  <a:pt x="2255246" y="2250652"/>
                </a:lnTo>
                <a:lnTo>
                  <a:pt x="2243111" y="2278967"/>
                </a:lnTo>
                <a:lnTo>
                  <a:pt x="2235021" y="2297170"/>
                </a:lnTo>
                <a:lnTo>
                  <a:pt x="2224908" y="2313350"/>
                </a:lnTo>
                <a:lnTo>
                  <a:pt x="2212773" y="2325485"/>
                </a:lnTo>
                <a:lnTo>
                  <a:pt x="2202661" y="2335598"/>
                </a:lnTo>
                <a:lnTo>
                  <a:pt x="2190525" y="2343688"/>
                </a:lnTo>
                <a:lnTo>
                  <a:pt x="2178390" y="2347733"/>
                </a:lnTo>
                <a:lnTo>
                  <a:pt x="2168278" y="2349756"/>
                </a:lnTo>
                <a:lnTo>
                  <a:pt x="2158165" y="2345711"/>
                </a:lnTo>
                <a:lnTo>
                  <a:pt x="2150075" y="2337620"/>
                </a:lnTo>
                <a:lnTo>
                  <a:pt x="2144007" y="2327508"/>
                </a:lnTo>
                <a:lnTo>
                  <a:pt x="2139962" y="2315373"/>
                </a:lnTo>
                <a:lnTo>
                  <a:pt x="2137940" y="2299193"/>
                </a:lnTo>
                <a:lnTo>
                  <a:pt x="2137940" y="2283012"/>
                </a:lnTo>
                <a:lnTo>
                  <a:pt x="2139962" y="2264810"/>
                </a:lnTo>
                <a:lnTo>
                  <a:pt x="2144007" y="2246607"/>
                </a:lnTo>
                <a:lnTo>
                  <a:pt x="2152098" y="2226382"/>
                </a:lnTo>
                <a:lnTo>
                  <a:pt x="2154120" y="2222337"/>
                </a:lnTo>
                <a:lnTo>
                  <a:pt x="2156143" y="2210202"/>
                </a:lnTo>
                <a:lnTo>
                  <a:pt x="2156143" y="2194021"/>
                </a:lnTo>
                <a:lnTo>
                  <a:pt x="2156143" y="2187322"/>
                </a:lnTo>
                <a:lnTo>
                  <a:pt x="2137504" y="2189985"/>
                </a:lnTo>
                <a:lnTo>
                  <a:pt x="2123782" y="2189985"/>
                </a:lnTo>
                <a:lnTo>
                  <a:pt x="2123782" y="2191999"/>
                </a:lnTo>
                <a:lnTo>
                  <a:pt x="2119737" y="2204134"/>
                </a:lnTo>
                <a:lnTo>
                  <a:pt x="2111647" y="2224359"/>
                </a:lnTo>
                <a:lnTo>
                  <a:pt x="2107602" y="2230427"/>
                </a:lnTo>
                <a:lnTo>
                  <a:pt x="2093444" y="2252675"/>
                </a:lnTo>
                <a:lnTo>
                  <a:pt x="2083332" y="2270877"/>
                </a:lnTo>
                <a:lnTo>
                  <a:pt x="2077264" y="2287057"/>
                </a:lnTo>
                <a:lnTo>
                  <a:pt x="2073219" y="2299193"/>
                </a:lnTo>
                <a:lnTo>
                  <a:pt x="2071197" y="2311328"/>
                </a:lnTo>
                <a:lnTo>
                  <a:pt x="2071197" y="2319418"/>
                </a:lnTo>
                <a:lnTo>
                  <a:pt x="2071197" y="2325485"/>
                </a:lnTo>
                <a:lnTo>
                  <a:pt x="2073219" y="2335598"/>
                </a:lnTo>
                <a:lnTo>
                  <a:pt x="2075242" y="2345711"/>
                </a:lnTo>
                <a:lnTo>
                  <a:pt x="2079287" y="2353801"/>
                </a:lnTo>
                <a:lnTo>
                  <a:pt x="2085354" y="2359868"/>
                </a:lnTo>
                <a:lnTo>
                  <a:pt x="2091422" y="2365936"/>
                </a:lnTo>
                <a:lnTo>
                  <a:pt x="2097489" y="2372003"/>
                </a:lnTo>
                <a:lnTo>
                  <a:pt x="2111647" y="2378071"/>
                </a:lnTo>
                <a:lnTo>
                  <a:pt x="2123782" y="2382116"/>
                </a:lnTo>
                <a:lnTo>
                  <a:pt x="2135917" y="2382116"/>
                </a:lnTo>
                <a:lnTo>
                  <a:pt x="2148052" y="2382116"/>
                </a:lnTo>
                <a:lnTo>
                  <a:pt x="2172323" y="2384138"/>
                </a:lnTo>
                <a:lnTo>
                  <a:pt x="2194570" y="2388183"/>
                </a:lnTo>
                <a:lnTo>
                  <a:pt x="2210751" y="2394251"/>
                </a:lnTo>
                <a:lnTo>
                  <a:pt x="2224908" y="2400319"/>
                </a:lnTo>
                <a:lnTo>
                  <a:pt x="2235021" y="2408409"/>
                </a:lnTo>
                <a:lnTo>
                  <a:pt x="2243111" y="2414476"/>
                </a:lnTo>
                <a:lnTo>
                  <a:pt x="2249179" y="2422566"/>
                </a:lnTo>
                <a:lnTo>
                  <a:pt x="2253224" y="2428634"/>
                </a:lnTo>
                <a:lnTo>
                  <a:pt x="2257269" y="2436724"/>
                </a:lnTo>
                <a:lnTo>
                  <a:pt x="2259291" y="2442791"/>
                </a:lnTo>
                <a:lnTo>
                  <a:pt x="2259291" y="2448859"/>
                </a:lnTo>
                <a:lnTo>
                  <a:pt x="2257269" y="2454927"/>
                </a:lnTo>
                <a:lnTo>
                  <a:pt x="2253224" y="2460994"/>
                </a:lnTo>
                <a:lnTo>
                  <a:pt x="2245133" y="2471107"/>
                </a:lnTo>
                <a:lnTo>
                  <a:pt x="2235021" y="2479197"/>
                </a:lnTo>
                <a:lnTo>
                  <a:pt x="2224908" y="2485264"/>
                </a:lnTo>
                <a:lnTo>
                  <a:pt x="2214796" y="2489309"/>
                </a:lnTo>
                <a:lnTo>
                  <a:pt x="2202661" y="2493354"/>
                </a:lnTo>
                <a:lnTo>
                  <a:pt x="2194570" y="2497400"/>
                </a:lnTo>
                <a:lnTo>
                  <a:pt x="2178390" y="2509535"/>
                </a:lnTo>
                <a:lnTo>
                  <a:pt x="2168278" y="2521670"/>
                </a:lnTo>
                <a:lnTo>
                  <a:pt x="2160188" y="2535827"/>
                </a:lnTo>
                <a:lnTo>
                  <a:pt x="2154120" y="2547963"/>
                </a:lnTo>
                <a:lnTo>
                  <a:pt x="2152098" y="2558075"/>
                </a:lnTo>
                <a:lnTo>
                  <a:pt x="2152098" y="2566165"/>
                </a:lnTo>
                <a:lnTo>
                  <a:pt x="2150075" y="2582345"/>
                </a:lnTo>
                <a:lnTo>
                  <a:pt x="2146030" y="2594480"/>
                </a:lnTo>
                <a:lnTo>
                  <a:pt x="2141985" y="2606616"/>
                </a:lnTo>
                <a:lnTo>
                  <a:pt x="2135917" y="2616728"/>
                </a:lnTo>
                <a:lnTo>
                  <a:pt x="2123782" y="2632908"/>
                </a:lnTo>
                <a:lnTo>
                  <a:pt x="2111647" y="2647066"/>
                </a:lnTo>
                <a:lnTo>
                  <a:pt x="2097489" y="2655156"/>
                </a:lnTo>
                <a:lnTo>
                  <a:pt x="2085354" y="2661224"/>
                </a:lnTo>
                <a:lnTo>
                  <a:pt x="2075242" y="2663246"/>
                </a:lnTo>
                <a:lnTo>
                  <a:pt x="2061084" y="2669314"/>
                </a:lnTo>
                <a:lnTo>
                  <a:pt x="2048949" y="2673359"/>
                </a:lnTo>
                <a:lnTo>
                  <a:pt x="2040859" y="2679426"/>
                </a:lnTo>
                <a:lnTo>
                  <a:pt x="2032769" y="2685494"/>
                </a:lnTo>
                <a:lnTo>
                  <a:pt x="2026701" y="2691561"/>
                </a:lnTo>
                <a:lnTo>
                  <a:pt x="2022656" y="2697629"/>
                </a:lnTo>
                <a:lnTo>
                  <a:pt x="2016589" y="2711787"/>
                </a:lnTo>
                <a:lnTo>
                  <a:pt x="2016589" y="2721899"/>
                </a:lnTo>
                <a:lnTo>
                  <a:pt x="2016589" y="2732012"/>
                </a:lnTo>
                <a:lnTo>
                  <a:pt x="2020634" y="2742124"/>
                </a:lnTo>
                <a:lnTo>
                  <a:pt x="2024679" y="2752237"/>
                </a:lnTo>
                <a:lnTo>
                  <a:pt x="2026701" y="2762350"/>
                </a:lnTo>
                <a:lnTo>
                  <a:pt x="2026701" y="2772462"/>
                </a:lnTo>
                <a:lnTo>
                  <a:pt x="2022656" y="2780552"/>
                </a:lnTo>
                <a:lnTo>
                  <a:pt x="2016589" y="2792687"/>
                </a:lnTo>
                <a:lnTo>
                  <a:pt x="2012544" y="2798755"/>
                </a:lnTo>
                <a:lnTo>
                  <a:pt x="1996363" y="2808868"/>
                </a:lnTo>
                <a:lnTo>
                  <a:pt x="1978161" y="2812913"/>
                </a:lnTo>
                <a:lnTo>
                  <a:pt x="1964003" y="2814935"/>
                </a:lnTo>
                <a:lnTo>
                  <a:pt x="1949845" y="2814935"/>
                </a:lnTo>
                <a:lnTo>
                  <a:pt x="1939733" y="2812913"/>
                </a:lnTo>
                <a:lnTo>
                  <a:pt x="1931643" y="2810890"/>
                </a:lnTo>
                <a:lnTo>
                  <a:pt x="1923553" y="2806845"/>
                </a:lnTo>
                <a:lnTo>
                  <a:pt x="1901305" y="2796732"/>
                </a:lnTo>
                <a:lnTo>
                  <a:pt x="1879057" y="2790665"/>
                </a:lnTo>
                <a:lnTo>
                  <a:pt x="1860854" y="2784597"/>
                </a:lnTo>
                <a:lnTo>
                  <a:pt x="1842652" y="2782575"/>
                </a:lnTo>
                <a:lnTo>
                  <a:pt x="1824449" y="2782575"/>
                </a:lnTo>
                <a:lnTo>
                  <a:pt x="1808269" y="2784597"/>
                </a:lnTo>
                <a:lnTo>
                  <a:pt x="1794111" y="2786620"/>
                </a:lnTo>
                <a:lnTo>
                  <a:pt x="1781976" y="2790665"/>
                </a:lnTo>
                <a:lnTo>
                  <a:pt x="1761751" y="2800778"/>
                </a:lnTo>
                <a:lnTo>
                  <a:pt x="1745571" y="2810890"/>
                </a:lnTo>
                <a:lnTo>
                  <a:pt x="1733436" y="2821003"/>
                </a:lnTo>
                <a:lnTo>
                  <a:pt x="1713210" y="2841228"/>
                </a:lnTo>
                <a:lnTo>
                  <a:pt x="1692985" y="2855386"/>
                </a:lnTo>
                <a:lnTo>
                  <a:pt x="1674782" y="2865498"/>
                </a:lnTo>
                <a:lnTo>
                  <a:pt x="1658602" y="2871566"/>
                </a:lnTo>
                <a:lnTo>
                  <a:pt x="1644445" y="2873588"/>
                </a:lnTo>
                <a:lnTo>
                  <a:pt x="1632310" y="2873588"/>
                </a:lnTo>
                <a:lnTo>
                  <a:pt x="1624219" y="2873588"/>
                </a:lnTo>
                <a:lnTo>
                  <a:pt x="1603994" y="2869543"/>
                </a:lnTo>
                <a:lnTo>
                  <a:pt x="1587814" y="2863476"/>
                </a:lnTo>
                <a:lnTo>
                  <a:pt x="1575679" y="2853363"/>
                </a:lnTo>
                <a:lnTo>
                  <a:pt x="1567589" y="2845273"/>
                </a:lnTo>
                <a:lnTo>
                  <a:pt x="1561521" y="2835160"/>
                </a:lnTo>
                <a:lnTo>
                  <a:pt x="1557476" y="2827070"/>
                </a:lnTo>
                <a:lnTo>
                  <a:pt x="1555454" y="2821003"/>
                </a:lnTo>
                <a:lnTo>
                  <a:pt x="1551409" y="2802800"/>
                </a:lnTo>
                <a:lnTo>
                  <a:pt x="1543319" y="2788642"/>
                </a:lnTo>
                <a:lnTo>
                  <a:pt x="1535228" y="2778530"/>
                </a:lnTo>
                <a:lnTo>
                  <a:pt x="1525116" y="2772462"/>
                </a:lnTo>
                <a:lnTo>
                  <a:pt x="1515003" y="2768417"/>
                </a:lnTo>
                <a:lnTo>
                  <a:pt x="1506913" y="2766395"/>
                </a:lnTo>
                <a:lnTo>
                  <a:pt x="1498823" y="2766395"/>
                </a:lnTo>
                <a:lnTo>
                  <a:pt x="1482643" y="2766395"/>
                </a:lnTo>
                <a:lnTo>
                  <a:pt x="1470508" y="2762350"/>
                </a:lnTo>
                <a:lnTo>
                  <a:pt x="1458373" y="2756282"/>
                </a:lnTo>
                <a:lnTo>
                  <a:pt x="1448260" y="2750215"/>
                </a:lnTo>
                <a:lnTo>
                  <a:pt x="1442193" y="2742124"/>
                </a:lnTo>
                <a:lnTo>
                  <a:pt x="1436125" y="2736057"/>
                </a:lnTo>
                <a:lnTo>
                  <a:pt x="1432080" y="2729989"/>
                </a:lnTo>
                <a:lnTo>
                  <a:pt x="1426012" y="2719877"/>
                </a:lnTo>
                <a:lnTo>
                  <a:pt x="1417922" y="2713809"/>
                </a:lnTo>
                <a:lnTo>
                  <a:pt x="1407810" y="2707742"/>
                </a:lnTo>
                <a:lnTo>
                  <a:pt x="1399720" y="2703697"/>
                </a:lnTo>
                <a:lnTo>
                  <a:pt x="1389607" y="2701674"/>
                </a:lnTo>
                <a:lnTo>
                  <a:pt x="1379494" y="2699652"/>
                </a:lnTo>
                <a:lnTo>
                  <a:pt x="1359269" y="2699652"/>
                </a:lnTo>
                <a:lnTo>
                  <a:pt x="1341066" y="2703697"/>
                </a:lnTo>
                <a:lnTo>
                  <a:pt x="1324886" y="2707742"/>
                </a:lnTo>
                <a:lnTo>
                  <a:pt x="1310729" y="2713809"/>
                </a:lnTo>
                <a:lnTo>
                  <a:pt x="1284436" y="2721899"/>
                </a:lnTo>
                <a:lnTo>
                  <a:pt x="1260166" y="2725944"/>
                </a:lnTo>
                <a:lnTo>
                  <a:pt x="1237918" y="2727967"/>
                </a:lnTo>
                <a:lnTo>
                  <a:pt x="1219715" y="2729989"/>
                </a:lnTo>
                <a:lnTo>
                  <a:pt x="1203535" y="2729989"/>
                </a:lnTo>
                <a:lnTo>
                  <a:pt x="1187355" y="2727967"/>
                </a:lnTo>
                <a:lnTo>
                  <a:pt x="1175220" y="2723922"/>
                </a:lnTo>
                <a:lnTo>
                  <a:pt x="1165107" y="2721899"/>
                </a:lnTo>
                <a:lnTo>
                  <a:pt x="1148927" y="2711787"/>
                </a:lnTo>
                <a:lnTo>
                  <a:pt x="1140837" y="2703697"/>
                </a:lnTo>
                <a:lnTo>
                  <a:pt x="1134769" y="2697629"/>
                </a:lnTo>
                <a:lnTo>
                  <a:pt x="1132747" y="2693584"/>
                </a:lnTo>
                <a:lnTo>
                  <a:pt x="1128702" y="2681449"/>
                </a:lnTo>
                <a:lnTo>
                  <a:pt x="1124657" y="2667291"/>
                </a:lnTo>
                <a:lnTo>
                  <a:pt x="1122634" y="2655156"/>
                </a:lnTo>
                <a:lnTo>
                  <a:pt x="1122634" y="2643021"/>
                </a:lnTo>
                <a:lnTo>
                  <a:pt x="1124657" y="2620773"/>
                </a:lnTo>
                <a:lnTo>
                  <a:pt x="1130724" y="2600548"/>
                </a:lnTo>
                <a:lnTo>
                  <a:pt x="1140837" y="2580323"/>
                </a:lnTo>
                <a:lnTo>
                  <a:pt x="1152972" y="2564143"/>
                </a:lnTo>
                <a:lnTo>
                  <a:pt x="1169152" y="2547963"/>
                </a:lnTo>
                <a:lnTo>
                  <a:pt x="1185332" y="2535827"/>
                </a:lnTo>
                <a:lnTo>
                  <a:pt x="1201512" y="2523692"/>
                </a:lnTo>
                <a:lnTo>
                  <a:pt x="1219715" y="2513580"/>
                </a:lnTo>
                <a:lnTo>
                  <a:pt x="1250053" y="2497400"/>
                </a:lnTo>
                <a:lnTo>
                  <a:pt x="1272301" y="2487287"/>
                </a:lnTo>
                <a:lnTo>
                  <a:pt x="1282413" y="2485264"/>
                </a:lnTo>
                <a:lnTo>
                  <a:pt x="1286201" y="2483686"/>
                </a:lnTo>
                <a:lnTo>
                  <a:pt x="1242802" y="2485604"/>
                </a:lnTo>
                <a:lnTo>
                  <a:pt x="1159763" y="2481411"/>
                </a:lnTo>
                <a:lnTo>
                  <a:pt x="1157017" y="2483242"/>
                </a:lnTo>
                <a:lnTo>
                  <a:pt x="1148927" y="2487287"/>
                </a:lnTo>
                <a:lnTo>
                  <a:pt x="1142859" y="2489309"/>
                </a:lnTo>
                <a:lnTo>
                  <a:pt x="1134769" y="2489309"/>
                </a:lnTo>
                <a:lnTo>
                  <a:pt x="1126679" y="2489309"/>
                </a:lnTo>
                <a:lnTo>
                  <a:pt x="1118589" y="2487287"/>
                </a:lnTo>
                <a:lnTo>
                  <a:pt x="1112521" y="2483242"/>
                </a:lnTo>
                <a:lnTo>
                  <a:pt x="1106454" y="2479197"/>
                </a:lnTo>
                <a:lnTo>
                  <a:pt x="1104772" y="2477515"/>
                </a:lnTo>
                <a:lnTo>
                  <a:pt x="992334" y="2460355"/>
                </a:lnTo>
                <a:cubicBezTo>
                  <a:pt x="426010" y="2344468"/>
                  <a:pt x="0" y="1843385"/>
                  <a:pt x="0" y="1242802"/>
                </a:cubicBezTo>
                <a:cubicBezTo>
                  <a:pt x="0" y="556421"/>
                  <a:pt x="556421" y="0"/>
                  <a:pt x="1242802" y="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 w="6350">
            <a:noFill/>
            <a:headEnd/>
            <a:tailEnd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600" b="1">
              <a:solidFill>
                <a:schemeClr val="tx1">
                  <a:lumMod val="85000"/>
                  <a:lumOff val="15000"/>
                </a:schemeClr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198242" y="4324350"/>
            <a:ext cx="4068476" cy="3996172"/>
          </a:xfrm>
          <a:prstGeom prst="ellipse">
            <a:avLst/>
          </a:prstGeom>
          <a:solidFill>
            <a:schemeClr val="bg1">
              <a:lumMod val="85000"/>
            </a:schemeClr>
          </a:solidFill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7783020"/>
      </p:ext>
    </p:extLst>
  </p:cSld>
  <p:clrMapOvr>
    <a:masterClrMapping/>
  </p:clrMapOvr>
  <p:hf hdr="0" ft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2007934" y="3317514"/>
            <a:ext cx="12046992" cy="7627960"/>
          </a:xfrm>
          <a:custGeom>
            <a:avLst/>
            <a:gdLst>
              <a:gd name="connsiteX0" fmla="*/ 3824120 w 6023496"/>
              <a:gd name="connsiteY0" fmla="*/ 0 h 3813980"/>
              <a:gd name="connsiteX1" fmla="*/ 3873696 w 6023496"/>
              <a:gd name="connsiteY1" fmla="*/ 2254 h 3813980"/>
              <a:gd name="connsiteX2" fmla="*/ 3924399 w 6023496"/>
              <a:gd name="connsiteY2" fmla="*/ 4507 h 3813980"/>
              <a:gd name="connsiteX3" fmla="*/ 3976229 w 6023496"/>
              <a:gd name="connsiteY3" fmla="*/ 5634 h 3813980"/>
              <a:gd name="connsiteX4" fmla="*/ 4026931 w 6023496"/>
              <a:gd name="connsiteY4" fmla="*/ 11267 h 3813980"/>
              <a:gd name="connsiteX5" fmla="*/ 4127210 w 6023496"/>
              <a:gd name="connsiteY5" fmla="*/ 22535 h 3813980"/>
              <a:gd name="connsiteX6" fmla="*/ 4299600 w 6023496"/>
              <a:gd name="connsiteY6" fmla="*/ 47323 h 3813980"/>
              <a:gd name="connsiteX7" fmla="*/ 4470863 w 6023496"/>
              <a:gd name="connsiteY7" fmla="*/ 74364 h 3813980"/>
              <a:gd name="connsiteX8" fmla="*/ 4639872 w 6023496"/>
              <a:gd name="connsiteY8" fmla="*/ 104786 h 3813980"/>
              <a:gd name="connsiteX9" fmla="*/ 4812262 w 6023496"/>
              <a:gd name="connsiteY9" fmla="*/ 139715 h 3813980"/>
              <a:gd name="connsiteX10" fmla="*/ 4880992 w 6023496"/>
              <a:gd name="connsiteY10" fmla="*/ 153235 h 3813980"/>
              <a:gd name="connsiteX11" fmla="*/ 4958737 w 6023496"/>
              <a:gd name="connsiteY11" fmla="*/ 166756 h 3813980"/>
              <a:gd name="connsiteX12" fmla="*/ 5040988 w 6023496"/>
              <a:gd name="connsiteY12" fmla="*/ 179150 h 3813980"/>
              <a:gd name="connsiteX13" fmla="*/ 5125493 w 6023496"/>
              <a:gd name="connsiteY13" fmla="*/ 193798 h 3813980"/>
              <a:gd name="connsiteX14" fmla="*/ 5168308 w 6023496"/>
              <a:gd name="connsiteY14" fmla="*/ 203938 h 3813980"/>
              <a:gd name="connsiteX15" fmla="*/ 5208871 w 6023496"/>
              <a:gd name="connsiteY15" fmla="*/ 212952 h 3813980"/>
              <a:gd name="connsiteX16" fmla="*/ 5248306 w 6023496"/>
              <a:gd name="connsiteY16" fmla="*/ 224219 h 3813980"/>
              <a:gd name="connsiteX17" fmla="*/ 5286615 w 6023496"/>
              <a:gd name="connsiteY17" fmla="*/ 235487 h 3813980"/>
              <a:gd name="connsiteX18" fmla="*/ 5322670 w 6023496"/>
              <a:gd name="connsiteY18" fmla="*/ 250134 h 3813980"/>
              <a:gd name="connsiteX19" fmla="*/ 5357599 w 6023496"/>
              <a:gd name="connsiteY19" fmla="*/ 264782 h 3813980"/>
              <a:gd name="connsiteX20" fmla="*/ 5389147 w 6023496"/>
              <a:gd name="connsiteY20" fmla="*/ 281683 h 3813980"/>
              <a:gd name="connsiteX21" fmla="*/ 5417315 w 6023496"/>
              <a:gd name="connsiteY21" fmla="*/ 301964 h 3813980"/>
              <a:gd name="connsiteX22" fmla="*/ 5434216 w 6023496"/>
              <a:gd name="connsiteY22" fmla="*/ 317738 h 3813980"/>
              <a:gd name="connsiteX23" fmla="*/ 5451117 w 6023496"/>
              <a:gd name="connsiteY23" fmla="*/ 335766 h 3813980"/>
              <a:gd name="connsiteX24" fmla="*/ 5462385 w 6023496"/>
              <a:gd name="connsiteY24" fmla="*/ 356047 h 3813980"/>
              <a:gd name="connsiteX25" fmla="*/ 5473652 w 6023496"/>
              <a:gd name="connsiteY25" fmla="*/ 377455 h 3813980"/>
              <a:gd name="connsiteX26" fmla="*/ 5481539 w 6023496"/>
              <a:gd name="connsiteY26" fmla="*/ 398862 h 3813980"/>
              <a:gd name="connsiteX27" fmla="*/ 5487173 w 6023496"/>
              <a:gd name="connsiteY27" fmla="*/ 423651 h 3813980"/>
              <a:gd name="connsiteX28" fmla="*/ 5490553 w 6023496"/>
              <a:gd name="connsiteY28" fmla="*/ 447312 h 3813980"/>
              <a:gd name="connsiteX29" fmla="*/ 5493933 w 6023496"/>
              <a:gd name="connsiteY29" fmla="*/ 472100 h 3813980"/>
              <a:gd name="connsiteX30" fmla="*/ 5496187 w 6023496"/>
              <a:gd name="connsiteY30" fmla="*/ 523929 h 3813980"/>
              <a:gd name="connsiteX31" fmla="*/ 5497313 w 6023496"/>
              <a:gd name="connsiteY31" fmla="*/ 576886 h 3813980"/>
              <a:gd name="connsiteX32" fmla="*/ 5497313 w 6023496"/>
              <a:gd name="connsiteY32" fmla="*/ 625335 h 3813980"/>
              <a:gd name="connsiteX33" fmla="*/ 5501820 w 6023496"/>
              <a:gd name="connsiteY33" fmla="*/ 671531 h 3813980"/>
              <a:gd name="connsiteX34" fmla="*/ 5513088 w 6023496"/>
              <a:gd name="connsiteY34" fmla="*/ 748149 h 3813980"/>
              <a:gd name="connsiteX35" fmla="*/ 5527735 w 6023496"/>
              <a:gd name="connsiteY35" fmla="*/ 822513 h 3813980"/>
              <a:gd name="connsiteX36" fmla="*/ 5544636 w 6023496"/>
              <a:gd name="connsiteY36" fmla="*/ 896877 h 3813980"/>
              <a:gd name="connsiteX37" fmla="*/ 5567171 w 6023496"/>
              <a:gd name="connsiteY37" fmla="*/ 971241 h 3813980"/>
              <a:gd name="connsiteX38" fmla="*/ 5590832 w 6023496"/>
              <a:gd name="connsiteY38" fmla="*/ 1044479 h 3813980"/>
              <a:gd name="connsiteX39" fmla="*/ 5619000 w 6023496"/>
              <a:gd name="connsiteY39" fmla="*/ 1115463 h 3813980"/>
              <a:gd name="connsiteX40" fmla="*/ 5650549 w 6023496"/>
              <a:gd name="connsiteY40" fmla="*/ 1186447 h 3813980"/>
              <a:gd name="connsiteX41" fmla="*/ 5686604 w 6023496"/>
              <a:gd name="connsiteY41" fmla="*/ 1252924 h 3813980"/>
              <a:gd name="connsiteX42" fmla="*/ 5710265 w 6023496"/>
              <a:gd name="connsiteY42" fmla="*/ 1300246 h 3813980"/>
              <a:gd name="connsiteX43" fmla="*/ 5738433 w 6023496"/>
              <a:gd name="connsiteY43" fmla="*/ 1344189 h 3813980"/>
              <a:gd name="connsiteX44" fmla="*/ 5793643 w 6023496"/>
              <a:gd name="connsiteY44" fmla="*/ 1435454 h 3813980"/>
              <a:gd name="connsiteX45" fmla="*/ 5849980 w 6023496"/>
              <a:gd name="connsiteY45" fmla="*/ 1526719 h 3813980"/>
              <a:gd name="connsiteX46" fmla="*/ 5875894 w 6023496"/>
              <a:gd name="connsiteY46" fmla="*/ 1574042 h 3813980"/>
              <a:gd name="connsiteX47" fmla="*/ 5901809 w 6023496"/>
              <a:gd name="connsiteY47" fmla="*/ 1617984 h 3813980"/>
              <a:gd name="connsiteX48" fmla="*/ 5926597 w 6023496"/>
              <a:gd name="connsiteY48" fmla="*/ 1665307 h 3813980"/>
              <a:gd name="connsiteX49" fmla="*/ 5950259 w 6023496"/>
              <a:gd name="connsiteY49" fmla="*/ 1711503 h 3813980"/>
              <a:gd name="connsiteX50" fmla="*/ 5969413 w 6023496"/>
              <a:gd name="connsiteY50" fmla="*/ 1759952 h 3813980"/>
              <a:gd name="connsiteX51" fmla="*/ 5988567 w 6023496"/>
              <a:gd name="connsiteY51" fmla="*/ 1808401 h 3813980"/>
              <a:gd name="connsiteX52" fmla="*/ 6003215 w 6023496"/>
              <a:gd name="connsiteY52" fmla="*/ 1856851 h 3813980"/>
              <a:gd name="connsiteX53" fmla="*/ 6014482 w 6023496"/>
              <a:gd name="connsiteY53" fmla="*/ 1907554 h 3813980"/>
              <a:gd name="connsiteX54" fmla="*/ 6020116 w 6023496"/>
              <a:gd name="connsiteY54" fmla="*/ 1958256 h 3813980"/>
              <a:gd name="connsiteX55" fmla="*/ 6023496 w 6023496"/>
              <a:gd name="connsiteY55" fmla="*/ 1984171 h 3813980"/>
              <a:gd name="connsiteX56" fmla="*/ 6023496 w 6023496"/>
              <a:gd name="connsiteY56" fmla="*/ 2010086 h 3813980"/>
              <a:gd name="connsiteX57" fmla="*/ 6023496 w 6023496"/>
              <a:gd name="connsiteY57" fmla="*/ 2038254 h 3813980"/>
              <a:gd name="connsiteX58" fmla="*/ 6021243 w 6023496"/>
              <a:gd name="connsiteY58" fmla="*/ 2067549 h 3813980"/>
              <a:gd name="connsiteX59" fmla="*/ 6017862 w 6023496"/>
              <a:gd name="connsiteY59" fmla="*/ 2095717 h 3813980"/>
              <a:gd name="connsiteX60" fmla="*/ 6014482 w 6023496"/>
              <a:gd name="connsiteY60" fmla="*/ 2123886 h 3813980"/>
              <a:gd name="connsiteX61" fmla="*/ 6003215 w 6023496"/>
              <a:gd name="connsiteY61" fmla="*/ 2181349 h 3813980"/>
              <a:gd name="connsiteX62" fmla="*/ 5986314 w 6023496"/>
              <a:gd name="connsiteY62" fmla="*/ 2237685 h 3813980"/>
              <a:gd name="connsiteX63" fmla="*/ 5967160 w 6023496"/>
              <a:gd name="connsiteY63" fmla="*/ 2291768 h 3813980"/>
              <a:gd name="connsiteX64" fmla="*/ 5946878 w 6023496"/>
              <a:gd name="connsiteY64" fmla="*/ 2345851 h 3813980"/>
              <a:gd name="connsiteX65" fmla="*/ 5924344 w 6023496"/>
              <a:gd name="connsiteY65" fmla="*/ 2399934 h 3813980"/>
              <a:gd name="connsiteX66" fmla="*/ 5900682 w 6023496"/>
              <a:gd name="connsiteY66" fmla="*/ 2454017 h 3813980"/>
              <a:gd name="connsiteX67" fmla="*/ 5838712 w 6023496"/>
              <a:gd name="connsiteY67" fmla="*/ 2585845 h 3813980"/>
              <a:gd name="connsiteX68" fmla="*/ 5807164 w 6023496"/>
              <a:gd name="connsiteY68" fmla="*/ 2651195 h 3813980"/>
              <a:gd name="connsiteX69" fmla="*/ 5773362 w 6023496"/>
              <a:gd name="connsiteY69" fmla="*/ 2716545 h 3813980"/>
              <a:gd name="connsiteX70" fmla="*/ 5740687 w 6023496"/>
              <a:gd name="connsiteY70" fmla="*/ 2781896 h 3813980"/>
              <a:gd name="connsiteX71" fmla="*/ 5702378 w 6023496"/>
              <a:gd name="connsiteY71" fmla="*/ 2844993 h 3813980"/>
              <a:gd name="connsiteX72" fmla="*/ 5665196 w 6023496"/>
              <a:gd name="connsiteY72" fmla="*/ 2908089 h 3813980"/>
              <a:gd name="connsiteX73" fmla="*/ 5626887 w 6023496"/>
              <a:gd name="connsiteY73" fmla="*/ 2970060 h 3813980"/>
              <a:gd name="connsiteX74" fmla="*/ 5585198 w 6023496"/>
              <a:gd name="connsiteY74" fmla="*/ 3029776 h 3813980"/>
              <a:gd name="connsiteX75" fmla="*/ 5542383 w 6023496"/>
              <a:gd name="connsiteY75" fmla="*/ 3087239 h 3813980"/>
              <a:gd name="connsiteX76" fmla="*/ 5497313 w 6023496"/>
              <a:gd name="connsiteY76" fmla="*/ 3144703 h 3813980"/>
              <a:gd name="connsiteX77" fmla="*/ 5451117 w 6023496"/>
              <a:gd name="connsiteY77" fmla="*/ 3198786 h 3813980"/>
              <a:gd name="connsiteX78" fmla="*/ 5402668 w 6023496"/>
              <a:gd name="connsiteY78" fmla="*/ 3251742 h 3813980"/>
              <a:gd name="connsiteX79" fmla="*/ 5350839 w 6023496"/>
              <a:gd name="connsiteY79" fmla="*/ 3301318 h 3813980"/>
              <a:gd name="connsiteX80" fmla="*/ 5296755 w 6023496"/>
              <a:gd name="connsiteY80" fmla="*/ 3348641 h 3813980"/>
              <a:gd name="connsiteX81" fmla="*/ 5238165 w 6023496"/>
              <a:gd name="connsiteY81" fmla="*/ 3393710 h 3813980"/>
              <a:gd name="connsiteX82" fmla="*/ 5194223 w 6023496"/>
              <a:gd name="connsiteY82" fmla="*/ 3425258 h 3813980"/>
              <a:gd name="connsiteX83" fmla="*/ 5149154 w 6023496"/>
              <a:gd name="connsiteY83" fmla="*/ 3454553 h 3813980"/>
              <a:gd name="connsiteX84" fmla="*/ 5102958 w 6023496"/>
              <a:gd name="connsiteY84" fmla="*/ 3480468 h 3813980"/>
              <a:gd name="connsiteX85" fmla="*/ 5055635 w 6023496"/>
              <a:gd name="connsiteY85" fmla="*/ 3506383 h 3813980"/>
              <a:gd name="connsiteX86" fmla="*/ 5007186 w 6023496"/>
              <a:gd name="connsiteY86" fmla="*/ 3531171 h 3813980"/>
              <a:gd name="connsiteX87" fmla="*/ 4957610 w 6023496"/>
              <a:gd name="connsiteY87" fmla="*/ 3553706 h 3813980"/>
              <a:gd name="connsiteX88" fmla="*/ 4906907 w 6023496"/>
              <a:gd name="connsiteY88" fmla="*/ 3576240 h 3813980"/>
              <a:gd name="connsiteX89" fmla="*/ 4856204 w 6023496"/>
              <a:gd name="connsiteY89" fmla="*/ 3594268 h 3813980"/>
              <a:gd name="connsiteX90" fmla="*/ 4806628 w 6023496"/>
              <a:gd name="connsiteY90" fmla="*/ 3613422 h 3813980"/>
              <a:gd name="connsiteX91" fmla="*/ 4753672 w 6023496"/>
              <a:gd name="connsiteY91" fmla="*/ 3630323 h 3813980"/>
              <a:gd name="connsiteX92" fmla="*/ 4701842 w 6023496"/>
              <a:gd name="connsiteY92" fmla="*/ 3644971 h 3813980"/>
              <a:gd name="connsiteX93" fmla="*/ 4647759 w 6023496"/>
              <a:gd name="connsiteY93" fmla="*/ 3659618 h 3813980"/>
              <a:gd name="connsiteX94" fmla="*/ 4542973 w 6023496"/>
              <a:gd name="connsiteY94" fmla="*/ 3685533 h 3813980"/>
              <a:gd name="connsiteX95" fmla="*/ 4434807 w 6023496"/>
              <a:gd name="connsiteY95" fmla="*/ 3708068 h 3813980"/>
              <a:gd name="connsiteX96" fmla="*/ 4331148 w 6023496"/>
              <a:gd name="connsiteY96" fmla="*/ 3727222 h 3813980"/>
              <a:gd name="connsiteX97" fmla="*/ 4226362 w 6023496"/>
              <a:gd name="connsiteY97" fmla="*/ 3741869 h 3813980"/>
              <a:gd name="connsiteX98" fmla="*/ 4120450 w 6023496"/>
              <a:gd name="connsiteY98" fmla="*/ 3755390 h 3813980"/>
              <a:gd name="connsiteX99" fmla="*/ 4015664 w 6023496"/>
              <a:gd name="connsiteY99" fmla="*/ 3765531 h 3813980"/>
              <a:gd name="connsiteX100" fmla="*/ 3909751 w 6023496"/>
              <a:gd name="connsiteY100" fmla="*/ 3775671 h 3813980"/>
              <a:gd name="connsiteX101" fmla="*/ 3803839 w 6023496"/>
              <a:gd name="connsiteY101" fmla="*/ 3782432 h 3813980"/>
              <a:gd name="connsiteX102" fmla="*/ 3699053 w 6023496"/>
              <a:gd name="connsiteY102" fmla="*/ 3788065 h 3813980"/>
              <a:gd name="connsiteX103" fmla="*/ 3593141 w 6023496"/>
              <a:gd name="connsiteY103" fmla="*/ 3793699 h 3813980"/>
              <a:gd name="connsiteX104" fmla="*/ 3377935 w 6023496"/>
              <a:gd name="connsiteY104" fmla="*/ 3799333 h 3813980"/>
              <a:gd name="connsiteX105" fmla="*/ 3166110 w 6023496"/>
              <a:gd name="connsiteY105" fmla="*/ 3801586 h 3813980"/>
              <a:gd name="connsiteX106" fmla="*/ 2953158 w 6023496"/>
              <a:gd name="connsiteY106" fmla="*/ 3803840 h 3813980"/>
              <a:gd name="connsiteX107" fmla="*/ 2740206 w 6023496"/>
              <a:gd name="connsiteY107" fmla="*/ 3807220 h 3813980"/>
              <a:gd name="connsiteX108" fmla="*/ 2389793 w 6023496"/>
              <a:gd name="connsiteY108" fmla="*/ 3812853 h 3813980"/>
              <a:gd name="connsiteX109" fmla="*/ 2212897 w 6023496"/>
              <a:gd name="connsiteY109" fmla="*/ 3813980 h 3813980"/>
              <a:gd name="connsiteX110" fmla="*/ 2125012 w 6023496"/>
              <a:gd name="connsiteY110" fmla="*/ 3812853 h 3813980"/>
              <a:gd name="connsiteX111" fmla="*/ 2038254 w 6023496"/>
              <a:gd name="connsiteY111" fmla="*/ 3810600 h 3813980"/>
              <a:gd name="connsiteX112" fmla="*/ 1950369 w 6023496"/>
              <a:gd name="connsiteY112" fmla="*/ 3807220 h 3813980"/>
              <a:gd name="connsiteX113" fmla="*/ 1862484 w 6023496"/>
              <a:gd name="connsiteY113" fmla="*/ 3803840 h 3813980"/>
              <a:gd name="connsiteX114" fmla="*/ 1776853 w 6023496"/>
              <a:gd name="connsiteY114" fmla="*/ 3795952 h 3813980"/>
              <a:gd name="connsiteX115" fmla="*/ 1688968 w 6023496"/>
              <a:gd name="connsiteY115" fmla="*/ 3786939 h 3813980"/>
              <a:gd name="connsiteX116" fmla="*/ 1603336 w 6023496"/>
              <a:gd name="connsiteY116" fmla="*/ 3775671 h 3813980"/>
              <a:gd name="connsiteX117" fmla="*/ 1517705 w 6023496"/>
              <a:gd name="connsiteY117" fmla="*/ 3762151 h 3813980"/>
              <a:gd name="connsiteX118" fmla="*/ 1432073 w 6023496"/>
              <a:gd name="connsiteY118" fmla="*/ 3745250 h 3813980"/>
              <a:gd name="connsiteX119" fmla="*/ 1346442 w 6023496"/>
              <a:gd name="connsiteY119" fmla="*/ 3727222 h 3813980"/>
              <a:gd name="connsiteX120" fmla="*/ 1278838 w 6023496"/>
              <a:gd name="connsiteY120" fmla="*/ 3710321 h 3813980"/>
              <a:gd name="connsiteX121" fmla="*/ 1212361 w 6023496"/>
              <a:gd name="connsiteY121" fmla="*/ 3690040 h 3813980"/>
              <a:gd name="connsiteX122" fmla="*/ 1144757 w 6023496"/>
              <a:gd name="connsiteY122" fmla="*/ 3668632 h 3813980"/>
              <a:gd name="connsiteX123" fmla="*/ 1079407 w 6023496"/>
              <a:gd name="connsiteY123" fmla="*/ 3644971 h 3813980"/>
              <a:gd name="connsiteX124" fmla="*/ 1016310 w 6023496"/>
              <a:gd name="connsiteY124" fmla="*/ 3620183 h 3813980"/>
              <a:gd name="connsiteX125" fmla="*/ 950960 w 6023496"/>
              <a:gd name="connsiteY125" fmla="*/ 3593141 h 3813980"/>
              <a:gd name="connsiteX126" fmla="*/ 887863 w 6023496"/>
              <a:gd name="connsiteY126" fmla="*/ 3564973 h 3813980"/>
              <a:gd name="connsiteX127" fmla="*/ 825893 w 6023496"/>
              <a:gd name="connsiteY127" fmla="*/ 3534551 h 3813980"/>
              <a:gd name="connsiteX128" fmla="*/ 765050 w 6023496"/>
              <a:gd name="connsiteY128" fmla="*/ 3501876 h 3813980"/>
              <a:gd name="connsiteX129" fmla="*/ 703079 w 6023496"/>
              <a:gd name="connsiteY129" fmla="*/ 3468074 h 3813980"/>
              <a:gd name="connsiteX130" fmla="*/ 643363 w 6023496"/>
              <a:gd name="connsiteY130" fmla="*/ 3432019 h 3813980"/>
              <a:gd name="connsiteX131" fmla="*/ 585900 w 6023496"/>
              <a:gd name="connsiteY131" fmla="*/ 3394837 h 3813980"/>
              <a:gd name="connsiteX132" fmla="*/ 528436 w 6023496"/>
              <a:gd name="connsiteY132" fmla="*/ 3355401 h 3813980"/>
              <a:gd name="connsiteX133" fmla="*/ 472100 w 6023496"/>
              <a:gd name="connsiteY133" fmla="*/ 3314839 h 3813980"/>
              <a:gd name="connsiteX134" fmla="*/ 415763 w 6023496"/>
              <a:gd name="connsiteY134" fmla="*/ 3272023 h 3813980"/>
              <a:gd name="connsiteX135" fmla="*/ 363934 w 6023496"/>
              <a:gd name="connsiteY135" fmla="*/ 3229207 h 3813980"/>
              <a:gd name="connsiteX136" fmla="*/ 309851 w 6023496"/>
              <a:gd name="connsiteY136" fmla="*/ 3183011 h 3813980"/>
              <a:gd name="connsiteX137" fmla="*/ 259148 w 6023496"/>
              <a:gd name="connsiteY137" fmla="*/ 3134562 h 3813980"/>
              <a:gd name="connsiteX138" fmla="*/ 210699 w 6023496"/>
              <a:gd name="connsiteY138" fmla="*/ 3083859 h 3813980"/>
              <a:gd name="connsiteX139" fmla="*/ 187037 w 6023496"/>
              <a:gd name="connsiteY139" fmla="*/ 3057945 h 3813980"/>
              <a:gd name="connsiteX140" fmla="*/ 164503 w 6023496"/>
              <a:gd name="connsiteY140" fmla="*/ 3029776 h 3813980"/>
              <a:gd name="connsiteX141" fmla="*/ 144222 w 6023496"/>
              <a:gd name="connsiteY141" fmla="*/ 3001608 h 3813980"/>
              <a:gd name="connsiteX142" fmla="*/ 123940 w 6023496"/>
              <a:gd name="connsiteY142" fmla="*/ 2973440 h 3813980"/>
              <a:gd name="connsiteX143" fmla="*/ 104786 w 6023496"/>
              <a:gd name="connsiteY143" fmla="*/ 2944145 h 3813980"/>
              <a:gd name="connsiteX144" fmla="*/ 85632 w 6023496"/>
              <a:gd name="connsiteY144" fmla="*/ 2913723 h 3813980"/>
              <a:gd name="connsiteX145" fmla="*/ 69857 w 6023496"/>
              <a:gd name="connsiteY145" fmla="*/ 2884428 h 3813980"/>
              <a:gd name="connsiteX146" fmla="*/ 54083 w 6023496"/>
              <a:gd name="connsiteY146" fmla="*/ 2852880 h 3813980"/>
              <a:gd name="connsiteX147" fmla="*/ 41689 w 6023496"/>
              <a:gd name="connsiteY147" fmla="*/ 2821331 h 3813980"/>
              <a:gd name="connsiteX148" fmla="*/ 28168 w 6023496"/>
              <a:gd name="connsiteY148" fmla="*/ 2787529 h 3813980"/>
              <a:gd name="connsiteX149" fmla="*/ 21408 w 6023496"/>
              <a:gd name="connsiteY149" fmla="*/ 2759361 h 3813980"/>
              <a:gd name="connsiteX150" fmla="*/ 13521 w 6023496"/>
              <a:gd name="connsiteY150" fmla="*/ 2730066 h 3813980"/>
              <a:gd name="connsiteX151" fmla="*/ 7887 w 6023496"/>
              <a:gd name="connsiteY151" fmla="*/ 2701898 h 3813980"/>
              <a:gd name="connsiteX152" fmla="*/ 4507 w 6023496"/>
              <a:gd name="connsiteY152" fmla="*/ 2671476 h 3813980"/>
              <a:gd name="connsiteX153" fmla="*/ 2254 w 6023496"/>
              <a:gd name="connsiteY153" fmla="*/ 2642181 h 3813980"/>
              <a:gd name="connsiteX154" fmla="*/ 0 w 6023496"/>
              <a:gd name="connsiteY154" fmla="*/ 2611760 h 3813980"/>
              <a:gd name="connsiteX155" fmla="*/ 0 w 6023496"/>
              <a:gd name="connsiteY155" fmla="*/ 2582465 h 3813980"/>
              <a:gd name="connsiteX156" fmla="*/ 2254 w 6023496"/>
              <a:gd name="connsiteY156" fmla="*/ 2552043 h 3813980"/>
              <a:gd name="connsiteX157" fmla="*/ 5634 w 6023496"/>
              <a:gd name="connsiteY157" fmla="*/ 2522748 h 3813980"/>
              <a:gd name="connsiteX158" fmla="*/ 10141 w 6023496"/>
              <a:gd name="connsiteY158" fmla="*/ 2492326 h 3813980"/>
              <a:gd name="connsiteX159" fmla="*/ 15774 w 6023496"/>
              <a:gd name="connsiteY159" fmla="*/ 2465285 h 3813980"/>
              <a:gd name="connsiteX160" fmla="*/ 22535 w 6023496"/>
              <a:gd name="connsiteY160" fmla="*/ 2434863 h 3813980"/>
              <a:gd name="connsiteX161" fmla="*/ 30422 w 6023496"/>
              <a:gd name="connsiteY161" fmla="*/ 2406695 h 3813980"/>
              <a:gd name="connsiteX162" fmla="*/ 39436 w 6023496"/>
              <a:gd name="connsiteY162" fmla="*/ 2377400 h 3813980"/>
              <a:gd name="connsiteX163" fmla="*/ 50703 w 6023496"/>
              <a:gd name="connsiteY163" fmla="*/ 2349232 h 3813980"/>
              <a:gd name="connsiteX164" fmla="*/ 64224 w 6023496"/>
              <a:gd name="connsiteY164" fmla="*/ 2323317 h 3813980"/>
              <a:gd name="connsiteX165" fmla="*/ 76618 w 6023496"/>
              <a:gd name="connsiteY165" fmla="*/ 2295149 h 3813980"/>
              <a:gd name="connsiteX166" fmla="*/ 90139 w 6023496"/>
              <a:gd name="connsiteY166" fmla="*/ 2269234 h 3813980"/>
              <a:gd name="connsiteX167" fmla="*/ 104786 w 6023496"/>
              <a:gd name="connsiteY167" fmla="*/ 2243319 h 3813980"/>
              <a:gd name="connsiteX168" fmla="*/ 121687 w 6023496"/>
              <a:gd name="connsiteY168" fmla="*/ 2218531 h 3813980"/>
              <a:gd name="connsiteX169" fmla="*/ 139715 w 6023496"/>
              <a:gd name="connsiteY169" fmla="*/ 2194870 h 3813980"/>
              <a:gd name="connsiteX170" fmla="*/ 158869 w 6023496"/>
              <a:gd name="connsiteY170" fmla="*/ 2170082 h 3813980"/>
              <a:gd name="connsiteX171" fmla="*/ 178024 w 6023496"/>
              <a:gd name="connsiteY171" fmla="*/ 2147547 h 3813980"/>
              <a:gd name="connsiteX172" fmla="*/ 198305 w 6023496"/>
              <a:gd name="connsiteY172" fmla="*/ 2125012 h 3813980"/>
              <a:gd name="connsiteX173" fmla="*/ 220839 w 6023496"/>
              <a:gd name="connsiteY173" fmla="*/ 2104731 h 3813980"/>
              <a:gd name="connsiteX174" fmla="*/ 242247 w 6023496"/>
              <a:gd name="connsiteY174" fmla="*/ 2086704 h 3813980"/>
              <a:gd name="connsiteX175" fmla="*/ 264782 w 6023496"/>
              <a:gd name="connsiteY175" fmla="*/ 2067549 h 3813980"/>
              <a:gd name="connsiteX176" fmla="*/ 289570 w 6023496"/>
              <a:gd name="connsiteY176" fmla="*/ 2049521 h 3813980"/>
              <a:gd name="connsiteX177" fmla="*/ 315485 w 6023496"/>
              <a:gd name="connsiteY177" fmla="*/ 2033747 h 3813980"/>
              <a:gd name="connsiteX178" fmla="*/ 340273 w 6023496"/>
              <a:gd name="connsiteY178" fmla="*/ 2019100 h 3813980"/>
              <a:gd name="connsiteX179" fmla="*/ 367314 w 6023496"/>
              <a:gd name="connsiteY179" fmla="*/ 2006706 h 3813980"/>
              <a:gd name="connsiteX180" fmla="*/ 395482 w 6023496"/>
              <a:gd name="connsiteY180" fmla="*/ 1993185 h 3813980"/>
              <a:gd name="connsiteX181" fmla="*/ 421397 w 6023496"/>
              <a:gd name="connsiteY181" fmla="*/ 1984171 h 3813980"/>
              <a:gd name="connsiteX182" fmla="*/ 447312 w 6023496"/>
              <a:gd name="connsiteY182" fmla="*/ 1974031 h 3813980"/>
              <a:gd name="connsiteX183" fmla="*/ 501395 w 6023496"/>
              <a:gd name="connsiteY183" fmla="*/ 1958256 h 3813980"/>
              <a:gd name="connsiteX184" fmla="*/ 557731 w 6023496"/>
              <a:gd name="connsiteY184" fmla="*/ 1946989 h 3813980"/>
              <a:gd name="connsiteX185" fmla="*/ 614068 w 6023496"/>
              <a:gd name="connsiteY185" fmla="*/ 1935722 h 3813980"/>
              <a:gd name="connsiteX186" fmla="*/ 671531 w 6023496"/>
              <a:gd name="connsiteY186" fmla="*/ 1925581 h 3813980"/>
              <a:gd name="connsiteX187" fmla="*/ 728994 w 6023496"/>
              <a:gd name="connsiteY187" fmla="*/ 1918821 h 3813980"/>
              <a:gd name="connsiteX188" fmla="*/ 842794 w 6023496"/>
              <a:gd name="connsiteY188" fmla="*/ 1904173 h 3813980"/>
              <a:gd name="connsiteX189" fmla="*/ 899130 w 6023496"/>
              <a:gd name="connsiteY189" fmla="*/ 1894033 h 3813980"/>
              <a:gd name="connsiteX190" fmla="*/ 953213 w 6023496"/>
              <a:gd name="connsiteY190" fmla="*/ 1882765 h 3813980"/>
              <a:gd name="connsiteX191" fmla="*/ 1007296 w 6023496"/>
              <a:gd name="connsiteY191" fmla="*/ 1868118 h 3813980"/>
              <a:gd name="connsiteX192" fmla="*/ 1059126 w 6023496"/>
              <a:gd name="connsiteY192" fmla="*/ 1851217 h 3813980"/>
              <a:gd name="connsiteX193" fmla="*/ 1083914 w 6023496"/>
              <a:gd name="connsiteY193" fmla="*/ 1842203 h 3813980"/>
              <a:gd name="connsiteX194" fmla="*/ 1107575 w 6023496"/>
              <a:gd name="connsiteY194" fmla="*/ 1830936 h 3813980"/>
              <a:gd name="connsiteX195" fmla="*/ 1132363 w 6023496"/>
              <a:gd name="connsiteY195" fmla="*/ 1819669 h 3813980"/>
              <a:gd name="connsiteX196" fmla="*/ 1154898 w 6023496"/>
              <a:gd name="connsiteY196" fmla="*/ 1805021 h 3813980"/>
              <a:gd name="connsiteX197" fmla="*/ 1176306 w 6023496"/>
              <a:gd name="connsiteY197" fmla="*/ 1790374 h 3813980"/>
              <a:gd name="connsiteX198" fmla="*/ 1198840 w 6023496"/>
              <a:gd name="connsiteY198" fmla="*/ 1774599 h 3813980"/>
              <a:gd name="connsiteX199" fmla="*/ 1219122 w 6023496"/>
              <a:gd name="connsiteY199" fmla="*/ 1756572 h 3813980"/>
              <a:gd name="connsiteX200" fmla="*/ 1238276 w 6023496"/>
              <a:gd name="connsiteY200" fmla="*/ 1737417 h 3813980"/>
              <a:gd name="connsiteX201" fmla="*/ 1261937 w 6023496"/>
              <a:gd name="connsiteY201" fmla="*/ 1711503 h 3813980"/>
              <a:gd name="connsiteX202" fmla="*/ 1283345 w 6023496"/>
              <a:gd name="connsiteY202" fmla="*/ 1683334 h 3813980"/>
              <a:gd name="connsiteX203" fmla="*/ 1301373 w 6023496"/>
              <a:gd name="connsiteY203" fmla="*/ 1656293 h 3813980"/>
              <a:gd name="connsiteX204" fmla="*/ 1318274 w 6023496"/>
              <a:gd name="connsiteY204" fmla="*/ 1625871 h 3813980"/>
              <a:gd name="connsiteX205" fmla="*/ 1332921 w 6023496"/>
              <a:gd name="connsiteY205" fmla="*/ 1596576 h 3813980"/>
              <a:gd name="connsiteX206" fmla="*/ 1348695 w 6023496"/>
              <a:gd name="connsiteY206" fmla="*/ 1563901 h 3813980"/>
              <a:gd name="connsiteX207" fmla="*/ 1374610 w 6023496"/>
              <a:gd name="connsiteY207" fmla="*/ 1499677 h 3813980"/>
              <a:gd name="connsiteX208" fmla="*/ 1400525 w 6023496"/>
              <a:gd name="connsiteY208" fmla="*/ 1434327 h 3813980"/>
              <a:gd name="connsiteX209" fmla="*/ 1426440 w 6023496"/>
              <a:gd name="connsiteY209" fmla="*/ 1368977 h 3813980"/>
              <a:gd name="connsiteX210" fmla="*/ 1439961 w 6023496"/>
              <a:gd name="connsiteY210" fmla="*/ 1337428 h 3813980"/>
              <a:gd name="connsiteX211" fmla="*/ 1454608 w 6023496"/>
              <a:gd name="connsiteY211" fmla="*/ 1304753 h 3813980"/>
              <a:gd name="connsiteX212" fmla="*/ 1471509 w 6023496"/>
              <a:gd name="connsiteY212" fmla="*/ 1275458 h 3813980"/>
              <a:gd name="connsiteX213" fmla="*/ 1488410 w 6023496"/>
              <a:gd name="connsiteY213" fmla="*/ 1246163 h 3813980"/>
              <a:gd name="connsiteX214" fmla="*/ 1503057 w 6023496"/>
              <a:gd name="connsiteY214" fmla="*/ 1223629 h 3813980"/>
              <a:gd name="connsiteX215" fmla="*/ 1517705 w 6023496"/>
              <a:gd name="connsiteY215" fmla="*/ 1202221 h 3813980"/>
              <a:gd name="connsiteX216" fmla="*/ 1534606 w 6023496"/>
              <a:gd name="connsiteY216" fmla="*/ 1181940 h 3813980"/>
              <a:gd name="connsiteX217" fmla="*/ 1551507 w 6023496"/>
              <a:gd name="connsiteY217" fmla="*/ 1163912 h 3813980"/>
              <a:gd name="connsiteX218" fmla="*/ 1586435 w 6023496"/>
              <a:gd name="connsiteY218" fmla="*/ 1126730 h 3813980"/>
              <a:gd name="connsiteX219" fmla="*/ 1625871 w 6023496"/>
              <a:gd name="connsiteY219" fmla="*/ 1092928 h 3813980"/>
              <a:gd name="connsiteX220" fmla="*/ 1666433 w 6023496"/>
              <a:gd name="connsiteY220" fmla="*/ 1062506 h 3813980"/>
              <a:gd name="connsiteX221" fmla="*/ 1711502 w 6023496"/>
              <a:gd name="connsiteY221" fmla="*/ 1035465 h 3813980"/>
              <a:gd name="connsiteX222" fmla="*/ 1756572 w 6023496"/>
              <a:gd name="connsiteY222" fmla="*/ 1008423 h 3813980"/>
              <a:gd name="connsiteX223" fmla="*/ 1805021 w 6023496"/>
              <a:gd name="connsiteY223" fmla="*/ 987015 h 3813980"/>
              <a:gd name="connsiteX224" fmla="*/ 1853470 w 6023496"/>
              <a:gd name="connsiteY224" fmla="*/ 965608 h 3813980"/>
              <a:gd name="connsiteX225" fmla="*/ 1904173 w 6023496"/>
              <a:gd name="connsiteY225" fmla="*/ 948707 h 3813980"/>
              <a:gd name="connsiteX226" fmla="*/ 1953749 w 6023496"/>
              <a:gd name="connsiteY226" fmla="*/ 932932 h 3813980"/>
              <a:gd name="connsiteX227" fmla="*/ 2006705 w 6023496"/>
              <a:gd name="connsiteY227" fmla="*/ 919412 h 3813980"/>
              <a:gd name="connsiteX228" fmla="*/ 2058535 w 6023496"/>
              <a:gd name="connsiteY228" fmla="*/ 908144 h 3813980"/>
              <a:gd name="connsiteX229" fmla="*/ 2112618 w 6023496"/>
              <a:gd name="connsiteY229" fmla="*/ 899130 h 3813980"/>
              <a:gd name="connsiteX230" fmla="*/ 2164448 w 6023496"/>
              <a:gd name="connsiteY230" fmla="*/ 890117 h 3813980"/>
              <a:gd name="connsiteX231" fmla="*/ 2217404 w 6023496"/>
              <a:gd name="connsiteY231" fmla="*/ 884483 h 3813980"/>
              <a:gd name="connsiteX232" fmla="*/ 2314303 w 6023496"/>
              <a:gd name="connsiteY232" fmla="*/ 874342 h 3813980"/>
              <a:gd name="connsiteX233" fmla="*/ 2411201 w 6023496"/>
              <a:gd name="connsiteY233" fmla="*/ 865329 h 3813980"/>
              <a:gd name="connsiteX234" fmla="*/ 2508100 w 6023496"/>
              <a:gd name="connsiteY234" fmla="*/ 854061 h 3813980"/>
              <a:gd name="connsiteX235" fmla="*/ 2554296 w 6023496"/>
              <a:gd name="connsiteY235" fmla="*/ 848428 h 3813980"/>
              <a:gd name="connsiteX236" fmla="*/ 2602745 w 6023496"/>
              <a:gd name="connsiteY236" fmla="*/ 840541 h 3813980"/>
              <a:gd name="connsiteX237" fmla="*/ 2648941 w 6023496"/>
              <a:gd name="connsiteY237" fmla="*/ 830400 h 3813980"/>
              <a:gd name="connsiteX238" fmla="*/ 2696264 w 6023496"/>
              <a:gd name="connsiteY238" fmla="*/ 819133 h 3813980"/>
              <a:gd name="connsiteX239" fmla="*/ 2740206 w 6023496"/>
              <a:gd name="connsiteY239" fmla="*/ 805612 h 3813980"/>
              <a:gd name="connsiteX240" fmla="*/ 2784149 w 6023496"/>
              <a:gd name="connsiteY240" fmla="*/ 788711 h 3813980"/>
              <a:gd name="connsiteX241" fmla="*/ 2826964 w 6023496"/>
              <a:gd name="connsiteY241" fmla="*/ 770683 h 3813980"/>
              <a:gd name="connsiteX242" fmla="*/ 2867527 w 6023496"/>
              <a:gd name="connsiteY242" fmla="*/ 748149 h 3813980"/>
              <a:gd name="connsiteX243" fmla="*/ 2906962 w 6023496"/>
              <a:gd name="connsiteY243" fmla="*/ 723361 h 3813980"/>
              <a:gd name="connsiteX244" fmla="*/ 2944144 w 6023496"/>
              <a:gd name="connsiteY244" fmla="*/ 694066 h 3813980"/>
              <a:gd name="connsiteX245" fmla="*/ 2975693 w 6023496"/>
              <a:gd name="connsiteY245" fmla="*/ 665897 h 3813980"/>
              <a:gd name="connsiteX246" fmla="*/ 3004987 w 6023496"/>
              <a:gd name="connsiteY246" fmla="*/ 634349 h 3813980"/>
              <a:gd name="connsiteX247" fmla="*/ 3033156 w 6023496"/>
              <a:gd name="connsiteY247" fmla="*/ 600547 h 3813980"/>
              <a:gd name="connsiteX248" fmla="*/ 3059071 w 6023496"/>
              <a:gd name="connsiteY248" fmla="*/ 566745 h 3813980"/>
              <a:gd name="connsiteX249" fmla="*/ 3083859 w 6023496"/>
              <a:gd name="connsiteY249" fmla="*/ 531817 h 3813980"/>
              <a:gd name="connsiteX250" fmla="*/ 3107520 w 6023496"/>
              <a:gd name="connsiteY250" fmla="*/ 494634 h 3813980"/>
              <a:gd name="connsiteX251" fmla="*/ 3152589 w 6023496"/>
              <a:gd name="connsiteY251" fmla="*/ 420270 h 3813980"/>
              <a:gd name="connsiteX252" fmla="*/ 3197658 w 6023496"/>
              <a:gd name="connsiteY252" fmla="*/ 343653 h 3813980"/>
              <a:gd name="connsiteX253" fmla="*/ 3221320 w 6023496"/>
              <a:gd name="connsiteY253" fmla="*/ 307597 h 3813980"/>
              <a:gd name="connsiteX254" fmla="*/ 3246108 w 6023496"/>
              <a:gd name="connsiteY254" fmla="*/ 272669 h 3813980"/>
              <a:gd name="connsiteX255" fmla="*/ 3272023 w 6023496"/>
              <a:gd name="connsiteY255" fmla="*/ 236613 h 3813980"/>
              <a:gd name="connsiteX256" fmla="*/ 3300191 w 6023496"/>
              <a:gd name="connsiteY256" fmla="*/ 203938 h 3813980"/>
              <a:gd name="connsiteX257" fmla="*/ 3329486 w 6023496"/>
              <a:gd name="connsiteY257" fmla="*/ 173516 h 3813980"/>
              <a:gd name="connsiteX258" fmla="*/ 3361034 w 6023496"/>
              <a:gd name="connsiteY258" fmla="*/ 144221 h 3813980"/>
              <a:gd name="connsiteX259" fmla="*/ 3382442 w 6023496"/>
              <a:gd name="connsiteY259" fmla="*/ 128447 h 3813980"/>
              <a:gd name="connsiteX260" fmla="*/ 3400470 w 6023496"/>
              <a:gd name="connsiteY260" fmla="*/ 113800 h 3813980"/>
              <a:gd name="connsiteX261" fmla="*/ 3443285 w 6023496"/>
              <a:gd name="connsiteY261" fmla="*/ 87885 h 3813980"/>
              <a:gd name="connsiteX262" fmla="*/ 3486101 w 6023496"/>
              <a:gd name="connsiteY262" fmla="*/ 67604 h 3813980"/>
              <a:gd name="connsiteX263" fmla="*/ 3531170 w 6023496"/>
              <a:gd name="connsiteY263" fmla="*/ 48449 h 3813980"/>
              <a:gd name="connsiteX264" fmla="*/ 3577366 w 6023496"/>
              <a:gd name="connsiteY264" fmla="*/ 33802 h 3813980"/>
              <a:gd name="connsiteX265" fmla="*/ 3624689 w 6023496"/>
              <a:gd name="connsiteY265" fmla="*/ 22535 h 3813980"/>
              <a:gd name="connsiteX266" fmla="*/ 3673138 w 6023496"/>
              <a:gd name="connsiteY266" fmla="*/ 13521 h 3813980"/>
              <a:gd name="connsiteX267" fmla="*/ 3722714 w 6023496"/>
              <a:gd name="connsiteY267" fmla="*/ 5634 h 3813980"/>
              <a:gd name="connsiteX268" fmla="*/ 3771164 w 6023496"/>
              <a:gd name="connsiteY268" fmla="*/ 2254 h 3813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</a:cxnLst>
            <a:rect l="l" t="t" r="r" b="b"/>
            <a:pathLst>
              <a:path w="6023496" h="3813980">
                <a:moveTo>
                  <a:pt x="3824120" y="0"/>
                </a:moveTo>
                <a:lnTo>
                  <a:pt x="3873696" y="2254"/>
                </a:lnTo>
                <a:lnTo>
                  <a:pt x="3924399" y="4507"/>
                </a:lnTo>
                <a:lnTo>
                  <a:pt x="3976229" y="5634"/>
                </a:lnTo>
                <a:lnTo>
                  <a:pt x="4026931" y="11267"/>
                </a:lnTo>
                <a:lnTo>
                  <a:pt x="4127210" y="22535"/>
                </a:lnTo>
                <a:lnTo>
                  <a:pt x="4299600" y="47323"/>
                </a:lnTo>
                <a:lnTo>
                  <a:pt x="4470863" y="74364"/>
                </a:lnTo>
                <a:lnTo>
                  <a:pt x="4639872" y="104786"/>
                </a:lnTo>
                <a:lnTo>
                  <a:pt x="4812262" y="139715"/>
                </a:lnTo>
                <a:lnTo>
                  <a:pt x="4880992" y="153235"/>
                </a:lnTo>
                <a:lnTo>
                  <a:pt x="4958737" y="166756"/>
                </a:lnTo>
                <a:lnTo>
                  <a:pt x="5040988" y="179150"/>
                </a:lnTo>
                <a:lnTo>
                  <a:pt x="5125493" y="193798"/>
                </a:lnTo>
                <a:lnTo>
                  <a:pt x="5168308" y="203938"/>
                </a:lnTo>
                <a:lnTo>
                  <a:pt x="5208871" y="212952"/>
                </a:lnTo>
                <a:lnTo>
                  <a:pt x="5248306" y="224219"/>
                </a:lnTo>
                <a:lnTo>
                  <a:pt x="5286615" y="235487"/>
                </a:lnTo>
                <a:lnTo>
                  <a:pt x="5322670" y="250134"/>
                </a:lnTo>
                <a:lnTo>
                  <a:pt x="5357599" y="264782"/>
                </a:lnTo>
                <a:lnTo>
                  <a:pt x="5389147" y="281683"/>
                </a:lnTo>
                <a:lnTo>
                  <a:pt x="5417315" y="301964"/>
                </a:lnTo>
                <a:lnTo>
                  <a:pt x="5434216" y="317738"/>
                </a:lnTo>
                <a:lnTo>
                  <a:pt x="5451117" y="335766"/>
                </a:lnTo>
                <a:lnTo>
                  <a:pt x="5462385" y="356047"/>
                </a:lnTo>
                <a:lnTo>
                  <a:pt x="5473652" y="377455"/>
                </a:lnTo>
                <a:lnTo>
                  <a:pt x="5481539" y="398862"/>
                </a:lnTo>
                <a:lnTo>
                  <a:pt x="5487173" y="423651"/>
                </a:lnTo>
                <a:lnTo>
                  <a:pt x="5490553" y="447312"/>
                </a:lnTo>
                <a:lnTo>
                  <a:pt x="5493933" y="472100"/>
                </a:lnTo>
                <a:lnTo>
                  <a:pt x="5496187" y="523929"/>
                </a:lnTo>
                <a:lnTo>
                  <a:pt x="5497313" y="576886"/>
                </a:lnTo>
                <a:lnTo>
                  <a:pt x="5497313" y="625335"/>
                </a:lnTo>
                <a:lnTo>
                  <a:pt x="5501820" y="671531"/>
                </a:lnTo>
                <a:lnTo>
                  <a:pt x="5513088" y="748149"/>
                </a:lnTo>
                <a:lnTo>
                  <a:pt x="5527735" y="822513"/>
                </a:lnTo>
                <a:lnTo>
                  <a:pt x="5544636" y="896877"/>
                </a:lnTo>
                <a:lnTo>
                  <a:pt x="5567171" y="971241"/>
                </a:lnTo>
                <a:lnTo>
                  <a:pt x="5590832" y="1044479"/>
                </a:lnTo>
                <a:lnTo>
                  <a:pt x="5619000" y="1115463"/>
                </a:lnTo>
                <a:lnTo>
                  <a:pt x="5650549" y="1186447"/>
                </a:lnTo>
                <a:lnTo>
                  <a:pt x="5686604" y="1252924"/>
                </a:lnTo>
                <a:lnTo>
                  <a:pt x="5710265" y="1300246"/>
                </a:lnTo>
                <a:lnTo>
                  <a:pt x="5738433" y="1344189"/>
                </a:lnTo>
                <a:lnTo>
                  <a:pt x="5793643" y="1435454"/>
                </a:lnTo>
                <a:lnTo>
                  <a:pt x="5849980" y="1526719"/>
                </a:lnTo>
                <a:lnTo>
                  <a:pt x="5875894" y="1574042"/>
                </a:lnTo>
                <a:lnTo>
                  <a:pt x="5901809" y="1617984"/>
                </a:lnTo>
                <a:lnTo>
                  <a:pt x="5926597" y="1665307"/>
                </a:lnTo>
                <a:lnTo>
                  <a:pt x="5950259" y="1711503"/>
                </a:lnTo>
                <a:lnTo>
                  <a:pt x="5969413" y="1759952"/>
                </a:lnTo>
                <a:lnTo>
                  <a:pt x="5988567" y="1808401"/>
                </a:lnTo>
                <a:lnTo>
                  <a:pt x="6003215" y="1856851"/>
                </a:lnTo>
                <a:lnTo>
                  <a:pt x="6014482" y="1907554"/>
                </a:lnTo>
                <a:lnTo>
                  <a:pt x="6020116" y="1958256"/>
                </a:lnTo>
                <a:lnTo>
                  <a:pt x="6023496" y="1984171"/>
                </a:lnTo>
                <a:lnTo>
                  <a:pt x="6023496" y="2010086"/>
                </a:lnTo>
                <a:lnTo>
                  <a:pt x="6023496" y="2038254"/>
                </a:lnTo>
                <a:lnTo>
                  <a:pt x="6021243" y="2067549"/>
                </a:lnTo>
                <a:lnTo>
                  <a:pt x="6017862" y="2095717"/>
                </a:lnTo>
                <a:lnTo>
                  <a:pt x="6014482" y="2123886"/>
                </a:lnTo>
                <a:lnTo>
                  <a:pt x="6003215" y="2181349"/>
                </a:lnTo>
                <a:lnTo>
                  <a:pt x="5986314" y="2237685"/>
                </a:lnTo>
                <a:lnTo>
                  <a:pt x="5967160" y="2291768"/>
                </a:lnTo>
                <a:lnTo>
                  <a:pt x="5946878" y="2345851"/>
                </a:lnTo>
                <a:lnTo>
                  <a:pt x="5924344" y="2399934"/>
                </a:lnTo>
                <a:lnTo>
                  <a:pt x="5900682" y="2454017"/>
                </a:lnTo>
                <a:lnTo>
                  <a:pt x="5838712" y="2585845"/>
                </a:lnTo>
                <a:lnTo>
                  <a:pt x="5807164" y="2651195"/>
                </a:lnTo>
                <a:lnTo>
                  <a:pt x="5773362" y="2716545"/>
                </a:lnTo>
                <a:lnTo>
                  <a:pt x="5740687" y="2781896"/>
                </a:lnTo>
                <a:lnTo>
                  <a:pt x="5702378" y="2844993"/>
                </a:lnTo>
                <a:lnTo>
                  <a:pt x="5665196" y="2908089"/>
                </a:lnTo>
                <a:lnTo>
                  <a:pt x="5626887" y="2970060"/>
                </a:lnTo>
                <a:lnTo>
                  <a:pt x="5585198" y="3029776"/>
                </a:lnTo>
                <a:lnTo>
                  <a:pt x="5542383" y="3087239"/>
                </a:lnTo>
                <a:lnTo>
                  <a:pt x="5497313" y="3144703"/>
                </a:lnTo>
                <a:lnTo>
                  <a:pt x="5451117" y="3198786"/>
                </a:lnTo>
                <a:lnTo>
                  <a:pt x="5402668" y="3251742"/>
                </a:lnTo>
                <a:lnTo>
                  <a:pt x="5350839" y="3301318"/>
                </a:lnTo>
                <a:lnTo>
                  <a:pt x="5296755" y="3348641"/>
                </a:lnTo>
                <a:lnTo>
                  <a:pt x="5238165" y="3393710"/>
                </a:lnTo>
                <a:lnTo>
                  <a:pt x="5194223" y="3425258"/>
                </a:lnTo>
                <a:lnTo>
                  <a:pt x="5149154" y="3454553"/>
                </a:lnTo>
                <a:lnTo>
                  <a:pt x="5102958" y="3480468"/>
                </a:lnTo>
                <a:lnTo>
                  <a:pt x="5055635" y="3506383"/>
                </a:lnTo>
                <a:lnTo>
                  <a:pt x="5007186" y="3531171"/>
                </a:lnTo>
                <a:lnTo>
                  <a:pt x="4957610" y="3553706"/>
                </a:lnTo>
                <a:lnTo>
                  <a:pt x="4906907" y="3576240"/>
                </a:lnTo>
                <a:lnTo>
                  <a:pt x="4856204" y="3594268"/>
                </a:lnTo>
                <a:lnTo>
                  <a:pt x="4806628" y="3613422"/>
                </a:lnTo>
                <a:lnTo>
                  <a:pt x="4753672" y="3630323"/>
                </a:lnTo>
                <a:lnTo>
                  <a:pt x="4701842" y="3644971"/>
                </a:lnTo>
                <a:lnTo>
                  <a:pt x="4647759" y="3659618"/>
                </a:lnTo>
                <a:lnTo>
                  <a:pt x="4542973" y="3685533"/>
                </a:lnTo>
                <a:lnTo>
                  <a:pt x="4434807" y="3708068"/>
                </a:lnTo>
                <a:lnTo>
                  <a:pt x="4331148" y="3727222"/>
                </a:lnTo>
                <a:lnTo>
                  <a:pt x="4226362" y="3741869"/>
                </a:lnTo>
                <a:lnTo>
                  <a:pt x="4120450" y="3755390"/>
                </a:lnTo>
                <a:lnTo>
                  <a:pt x="4015664" y="3765531"/>
                </a:lnTo>
                <a:lnTo>
                  <a:pt x="3909751" y="3775671"/>
                </a:lnTo>
                <a:lnTo>
                  <a:pt x="3803839" y="3782432"/>
                </a:lnTo>
                <a:lnTo>
                  <a:pt x="3699053" y="3788065"/>
                </a:lnTo>
                <a:lnTo>
                  <a:pt x="3593141" y="3793699"/>
                </a:lnTo>
                <a:lnTo>
                  <a:pt x="3377935" y="3799333"/>
                </a:lnTo>
                <a:lnTo>
                  <a:pt x="3166110" y="3801586"/>
                </a:lnTo>
                <a:lnTo>
                  <a:pt x="2953158" y="3803840"/>
                </a:lnTo>
                <a:lnTo>
                  <a:pt x="2740206" y="3807220"/>
                </a:lnTo>
                <a:lnTo>
                  <a:pt x="2389793" y="3812853"/>
                </a:lnTo>
                <a:lnTo>
                  <a:pt x="2212897" y="3813980"/>
                </a:lnTo>
                <a:lnTo>
                  <a:pt x="2125012" y="3812853"/>
                </a:lnTo>
                <a:lnTo>
                  <a:pt x="2038254" y="3810600"/>
                </a:lnTo>
                <a:lnTo>
                  <a:pt x="1950369" y="3807220"/>
                </a:lnTo>
                <a:lnTo>
                  <a:pt x="1862484" y="3803840"/>
                </a:lnTo>
                <a:lnTo>
                  <a:pt x="1776853" y="3795952"/>
                </a:lnTo>
                <a:lnTo>
                  <a:pt x="1688968" y="3786939"/>
                </a:lnTo>
                <a:lnTo>
                  <a:pt x="1603336" y="3775671"/>
                </a:lnTo>
                <a:lnTo>
                  <a:pt x="1517705" y="3762151"/>
                </a:lnTo>
                <a:lnTo>
                  <a:pt x="1432073" y="3745250"/>
                </a:lnTo>
                <a:lnTo>
                  <a:pt x="1346442" y="3727222"/>
                </a:lnTo>
                <a:lnTo>
                  <a:pt x="1278838" y="3710321"/>
                </a:lnTo>
                <a:lnTo>
                  <a:pt x="1212361" y="3690040"/>
                </a:lnTo>
                <a:lnTo>
                  <a:pt x="1144757" y="3668632"/>
                </a:lnTo>
                <a:lnTo>
                  <a:pt x="1079407" y="3644971"/>
                </a:lnTo>
                <a:lnTo>
                  <a:pt x="1016310" y="3620183"/>
                </a:lnTo>
                <a:lnTo>
                  <a:pt x="950960" y="3593141"/>
                </a:lnTo>
                <a:lnTo>
                  <a:pt x="887863" y="3564973"/>
                </a:lnTo>
                <a:lnTo>
                  <a:pt x="825893" y="3534551"/>
                </a:lnTo>
                <a:lnTo>
                  <a:pt x="765050" y="3501876"/>
                </a:lnTo>
                <a:lnTo>
                  <a:pt x="703079" y="3468074"/>
                </a:lnTo>
                <a:lnTo>
                  <a:pt x="643363" y="3432019"/>
                </a:lnTo>
                <a:lnTo>
                  <a:pt x="585900" y="3394837"/>
                </a:lnTo>
                <a:lnTo>
                  <a:pt x="528436" y="3355401"/>
                </a:lnTo>
                <a:lnTo>
                  <a:pt x="472100" y="3314839"/>
                </a:lnTo>
                <a:lnTo>
                  <a:pt x="415763" y="3272023"/>
                </a:lnTo>
                <a:lnTo>
                  <a:pt x="363934" y="3229207"/>
                </a:lnTo>
                <a:lnTo>
                  <a:pt x="309851" y="3183011"/>
                </a:lnTo>
                <a:lnTo>
                  <a:pt x="259148" y="3134562"/>
                </a:lnTo>
                <a:lnTo>
                  <a:pt x="210699" y="3083859"/>
                </a:lnTo>
                <a:lnTo>
                  <a:pt x="187037" y="3057945"/>
                </a:lnTo>
                <a:lnTo>
                  <a:pt x="164503" y="3029776"/>
                </a:lnTo>
                <a:lnTo>
                  <a:pt x="144222" y="3001608"/>
                </a:lnTo>
                <a:lnTo>
                  <a:pt x="123940" y="2973440"/>
                </a:lnTo>
                <a:lnTo>
                  <a:pt x="104786" y="2944145"/>
                </a:lnTo>
                <a:lnTo>
                  <a:pt x="85632" y="2913723"/>
                </a:lnTo>
                <a:lnTo>
                  <a:pt x="69857" y="2884428"/>
                </a:lnTo>
                <a:lnTo>
                  <a:pt x="54083" y="2852880"/>
                </a:lnTo>
                <a:lnTo>
                  <a:pt x="41689" y="2821331"/>
                </a:lnTo>
                <a:lnTo>
                  <a:pt x="28168" y="2787529"/>
                </a:lnTo>
                <a:lnTo>
                  <a:pt x="21408" y="2759361"/>
                </a:lnTo>
                <a:lnTo>
                  <a:pt x="13521" y="2730066"/>
                </a:lnTo>
                <a:lnTo>
                  <a:pt x="7887" y="2701898"/>
                </a:lnTo>
                <a:lnTo>
                  <a:pt x="4507" y="2671476"/>
                </a:lnTo>
                <a:lnTo>
                  <a:pt x="2254" y="2642181"/>
                </a:lnTo>
                <a:lnTo>
                  <a:pt x="0" y="2611760"/>
                </a:lnTo>
                <a:lnTo>
                  <a:pt x="0" y="2582465"/>
                </a:lnTo>
                <a:lnTo>
                  <a:pt x="2254" y="2552043"/>
                </a:lnTo>
                <a:lnTo>
                  <a:pt x="5634" y="2522748"/>
                </a:lnTo>
                <a:lnTo>
                  <a:pt x="10141" y="2492326"/>
                </a:lnTo>
                <a:lnTo>
                  <a:pt x="15774" y="2465285"/>
                </a:lnTo>
                <a:lnTo>
                  <a:pt x="22535" y="2434863"/>
                </a:lnTo>
                <a:lnTo>
                  <a:pt x="30422" y="2406695"/>
                </a:lnTo>
                <a:lnTo>
                  <a:pt x="39436" y="2377400"/>
                </a:lnTo>
                <a:lnTo>
                  <a:pt x="50703" y="2349232"/>
                </a:lnTo>
                <a:lnTo>
                  <a:pt x="64224" y="2323317"/>
                </a:lnTo>
                <a:lnTo>
                  <a:pt x="76618" y="2295149"/>
                </a:lnTo>
                <a:lnTo>
                  <a:pt x="90139" y="2269234"/>
                </a:lnTo>
                <a:lnTo>
                  <a:pt x="104786" y="2243319"/>
                </a:lnTo>
                <a:lnTo>
                  <a:pt x="121687" y="2218531"/>
                </a:lnTo>
                <a:lnTo>
                  <a:pt x="139715" y="2194870"/>
                </a:lnTo>
                <a:lnTo>
                  <a:pt x="158869" y="2170082"/>
                </a:lnTo>
                <a:lnTo>
                  <a:pt x="178024" y="2147547"/>
                </a:lnTo>
                <a:lnTo>
                  <a:pt x="198305" y="2125012"/>
                </a:lnTo>
                <a:lnTo>
                  <a:pt x="220839" y="2104731"/>
                </a:lnTo>
                <a:lnTo>
                  <a:pt x="242247" y="2086704"/>
                </a:lnTo>
                <a:lnTo>
                  <a:pt x="264782" y="2067549"/>
                </a:lnTo>
                <a:lnTo>
                  <a:pt x="289570" y="2049521"/>
                </a:lnTo>
                <a:lnTo>
                  <a:pt x="315485" y="2033747"/>
                </a:lnTo>
                <a:lnTo>
                  <a:pt x="340273" y="2019100"/>
                </a:lnTo>
                <a:lnTo>
                  <a:pt x="367314" y="2006706"/>
                </a:lnTo>
                <a:lnTo>
                  <a:pt x="395482" y="1993185"/>
                </a:lnTo>
                <a:lnTo>
                  <a:pt x="421397" y="1984171"/>
                </a:lnTo>
                <a:lnTo>
                  <a:pt x="447312" y="1974031"/>
                </a:lnTo>
                <a:lnTo>
                  <a:pt x="501395" y="1958256"/>
                </a:lnTo>
                <a:lnTo>
                  <a:pt x="557731" y="1946989"/>
                </a:lnTo>
                <a:lnTo>
                  <a:pt x="614068" y="1935722"/>
                </a:lnTo>
                <a:lnTo>
                  <a:pt x="671531" y="1925581"/>
                </a:lnTo>
                <a:lnTo>
                  <a:pt x="728994" y="1918821"/>
                </a:lnTo>
                <a:lnTo>
                  <a:pt x="842794" y="1904173"/>
                </a:lnTo>
                <a:lnTo>
                  <a:pt x="899130" y="1894033"/>
                </a:lnTo>
                <a:lnTo>
                  <a:pt x="953213" y="1882765"/>
                </a:lnTo>
                <a:lnTo>
                  <a:pt x="1007296" y="1868118"/>
                </a:lnTo>
                <a:lnTo>
                  <a:pt x="1059126" y="1851217"/>
                </a:lnTo>
                <a:lnTo>
                  <a:pt x="1083914" y="1842203"/>
                </a:lnTo>
                <a:lnTo>
                  <a:pt x="1107575" y="1830936"/>
                </a:lnTo>
                <a:lnTo>
                  <a:pt x="1132363" y="1819669"/>
                </a:lnTo>
                <a:lnTo>
                  <a:pt x="1154898" y="1805021"/>
                </a:lnTo>
                <a:lnTo>
                  <a:pt x="1176306" y="1790374"/>
                </a:lnTo>
                <a:lnTo>
                  <a:pt x="1198840" y="1774599"/>
                </a:lnTo>
                <a:lnTo>
                  <a:pt x="1219122" y="1756572"/>
                </a:lnTo>
                <a:lnTo>
                  <a:pt x="1238276" y="1737417"/>
                </a:lnTo>
                <a:lnTo>
                  <a:pt x="1261937" y="1711503"/>
                </a:lnTo>
                <a:lnTo>
                  <a:pt x="1283345" y="1683334"/>
                </a:lnTo>
                <a:lnTo>
                  <a:pt x="1301373" y="1656293"/>
                </a:lnTo>
                <a:lnTo>
                  <a:pt x="1318274" y="1625871"/>
                </a:lnTo>
                <a:lnTo>
                  <a:pt x="1332921" y="1596576"/>
                </a:lnTo>
                <a:lnTo>
                  <a:pt x="1348695" y="1563901"/>
                </a:lnTo>
                <a:lnTo>
                  <a:pt x="1374610" y="1499677"/>
                </a:lnTo>
                <a:lnTo>
                  <a:pt x="1400525" y="1434327"/>
                </a:lnTo>
                <a:lnTo>
                  <a:pt x="1426440" y="1368977"/>
                </a:lnTo>
                <a:lnTo>
                  <a:pt x="1439961" y="1337428"/>
                </a:lnTo>
                <a:lnTo>
                  <a:pt x="1454608" y="1304753"/>
                </a:lnTo>
                <a:lnTo>
                  <a:pt x="1471509" y="1275458"/>
                </a:lnTo>
                <a:lnTo>
                  <a:pt x="1488410" y="1246163"/>
                </a:lnTo>
                <a:lnTo>
                  <a:pt x="1503057" y="1223629"/>
                </a:lnTo>
                <a:lnTo>
                  <a:pt x="1517705" y="1202221"/>
                </a:lnTo>
                <a:lnTo>
                  <a:pt x="1534606" y="1181940"/>
                </a:lnTo>
                <a:lnTo>
                  <a:pt x="1551507" y="1163912"/>
                </a:lnTo>
                <a:lnTo>
                  <a:pt x="1586435" y="1126730"/>
                </a:lnTo>
                <a:lnTo>
                  <a:pt x="1625871" y="1092928"/>
                </a:lnTo>
                <a:lnTo>
                  <a:pt x="1666433" y="1062506"/>
                </a:lnTo>
                <a:lnTo>
                  <a:pt x="1711502" y="1035465"/>
                </a:lnTo>
                <a:lnTo>
                  <a:pt x="1756572" y="1008423"/>
                </a:lnTo>
                <a:lnTo>
                  <a:pt x="1805021" y="987015"/>
                </a:lnTo>
                <a:lnTo>
                  <a:pt x="1853470" y="965608"/>
                </a:lnTo>
                <a:lnTo>
                  <a:pt x="1904173" y="948707"/>
                </a:lnTo>
                <a:lnTo>
                  <a:pt x="1953749" y="932932"/>
                </a:lnTo>
                <a:lnTo>
                  <a:pt x="2006705" y="919412"/>
                </a:lnTo>
                <a:lnTo>
                  <a:pt x="2058535" y="908144"/>
                </a:lnTo>
                <a:lnTo>
                  <a:pt x="2112618" y="899130"/>
                </a:lnTo>
                <a:lnTo>
                  <a:pt x="2164448" y="890117"/>
                </a:lnTo>
                <a:lnTo>
                  <a:pt x="2217404" y="884483"/>
                </a:lnTo>
                <a:lnTo>
                  <a:pt x="2314303" y="874342"/>
                </a:lnTo>
                <a:lnTo>
                  <a:pt x="2411201" y="865329"/>
                </a:lnTo>
                <a:lnTo>
                  <a:pt x="2508100" y="854061"/>
                </a:lnTo>
                <a:lnTo>
                  <a:pt x="2554296" y="848428"/>
                </a:lnTo>
                <a:lnTo>
                  <a:pt x="2602745" y="840541"/>
                </a:lnTo>
                <a:lnTo>
                  <a:pt x="2648941" y="830400"/>
                </a:lnTo>
                <a:lnTo>
                  <a:pt x="2696264" y="819133"/>
                </a:lnTo>
                <a:lnTo>
                  <a:pt x="2740206" y="805612"/>
                </a:lnTo>
                <a:lnTo>
                  <a:pt x="2784149" y="788711"/>
                </a:lnTo>
                <a:lnTo>
                  <a:pt x="2826964" y="770683"/>
                </a:lnTo>
                <a:lnTo>
                  <a:pt x="2867527" y="748149"/>
                </a:lnTo>
                <a:lnTo>
                  <a:pt x="2906962" y="723361"/>
                </a:lnTo>
                <a:lnTo>
                  <a:pt x="2944144" y="694066"/>
                </a:lnTo>
                <a:lnTo>
                  <a:pt x="2975693" y="665897"/>
                </a:lnTo>
                <a:lnTo>
                  <a:pt x="3004987" y="634349"/>
                </a:lnTo>
                <a:lnTo>
                  <a:pt x="3033156" y="600547"/>
                </a:lnTo>
                <a:lnTo>
                  <a:pt x="3059071" y="566745"/>
                </a:lnTo>
                <a:lnTo>
                  <a:pt x="3083859" y="531817"/>
                </a:lnTo>
                <a:lnTo>
                  <a:pt x="3107520" y="494634"/>
                </a:lnTo>
                <a:lnTo>
                  <a:pt x="3152589" y="420270"/>
                </a:lnTo>
                <a:lnTo>
                  <a:pt x="3197658" y="343653"/>
                </a:lnTo>
                <a:lnTo>
                  <a:pt x="3221320" y="307597"/>
                </a:lnTo>
                <a:lnTo>
                  <a:pt x="3246108" y="272669"/>
                </a:lnTo>
                <a:lnTo>
                  <a:pt x="3272023" y="236613"/>
                </a:lnTo>
                <a:lnTo>
                  <a:pt x="3300191" y="203938"/>
                </a:lnTo>
                <a:lnTo>
                  <a:pt x="3329486" y="173516"/>
                </a:lnTo>
                <a:lnTo>
                  <a:pt x="3361034" y="144221"/>
                </a:lnTo>
                <a:lnTo>
                  <a:pt x="3382442" y="128447"/>
                </a:lnTo>
                <a:lnTo>
                  <a:pt x="3400470" y="113800"/>
                </a:lnTo>
                <a:lnTo>
                  <a:pt x="3443285" y="87885"/>
                </a:lnTo>
                <a:lnTo>
                  <a:pt x="3486101" y="67604"/>
                </a:lnTo>
                <a:lnTo>
                  <a:pt x="3531170" y="48449"/>
                </a:lnTo>
                <a:lnTo>
                  <a:pt x="3577366" y="33802"/>
                </a:lnTo>
                <a:lnTo>
                  <a:pt x="3624689" y="22535"/>
                </a:lnTo>
                <a:lnTo>
                  <a:pt x="3673138" y="13521"/>
                </a:lnTo>
                <a:lnTo>
                  <a:pt x="3722714" y="5634"/>
                </a:lnTo>
                <a:lnTo>
                  <a:pt x="3771164" y="2254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959079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3120" y="3594558"/>
            <a:ext cx="4236700" cy="8601460"/>
          </a:xfrm>
          <a:prstGeom prst="rect">
            <a:avLst/>
          </a:prstGeom>
        </p:spPr>
      </p:pic>
      <p:sp>
        <p:nvSpPr>
          <p:cNvPr id="25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1316036" y="3739386"/>
            <a:ext cx="3923292" cy="8342332"/>
          </a:xfrm>
          <a:custGeom>
            <a:avLst/>
            <a:gdLst>
              <a:gd name="connsiteX0" fmla="*/ 189985 w 1961646"/>
              <a:gd name="connsiteY0" fmla="*/ 0 h 4171166"/>
              <a:gd name="connsiteX1" fmla="*/ 1771661 w 1961646"/>
              <a:gd name="connsiteY1" fmla="*/ 0 h 4171166"/>
              <a:gd name="connsiteX2" fmla="*/ 1961646 w 1961646"/>
              <a:gd name="connsiteY2" fmla="*/ 189985 h 4171166"/>
              <a:gd name="connsiteX3" fmla="*/ 1961646 w 1961646"/>
              <a:gd name="connsiteY3" fmla="*/ 3981181 h 4171166"/>
              <a:gd name="connsiteX4" fmla="*/ 1771661 w 1961646"/>
              <a:gd name="connsiteY4" fmla="*/ 4171166 h 4171166"/>
              <a:gd name="connsiteX5" fmla="*/ 189985 w 1961646"/>
              <a:gd name="connsiteY5" fmla="*/ 4171166 h 4171166"/>
              <a:gd name="connsiteX6" fmla="*/ 0 w 1961646"/>
              <a:gd name="connsiteY6" fmla="*/ 3981181 h 4171166"/>
              <a:gd name="connsiteX7" fmla="*/ 0 w 1961646"/>
              <a:gd name="connsiteY7" fmla="*/ 189985 h 4171166"/>
              <a:gd name="connsiteX8" fmla="*/ 189985 w 1961646"/>
              <a:gd name="connsiteY8" fmla="*/ 0 h 4171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61646" h="4171166">
                <a:moveTo>
                  <a:pt x="189985" y="0"/>
                </a:moveTo>
                <a:lnTo>
                  <a:pt x="1771661" y="0"/>
                </a:lnTo>
                <a:cubicBezTo>
                  <a:pt x="1876587" y="0"/>
                  <a:pt x="1961646" y="85059"/>
                  <a:pt x="1961646" y="189985"/>
                </a:cubicBezTo>
                <a:lnTo>
                  <a:pt x="1961646" y="3981181"/>
                </a:lnTo>
                <a:cubicBezTo>
                  <a:pt x="1961646" y="4086107"/>
                  <a:pt x="1876587" y="4171166"/>
                  <a:pt x="1771661" y="4171166"/>
                </a:cubicBezTo>
                <a:lnTo>
                  <a:pt x="189985" y="4171166"/>
                </a:lnTo>
                <a:cubicBezTo>
                  <a:pt x="85059" y="4171166"/>
                  <a:pt x="0" y="4086107"/>
                  <a:pt x="0" y="3981181"/>
                </a:cubicBezTo>
                <a:lnTo>
                  <a:pt x="0" y="189985"/>
                </a:lnTo>
                <a:cubicBezTo>
                  <a:pt x="0" y="85059"/>
                  <a:pt x="85059" y="0"/>
                  <a:pt x="189985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11093186" y="3594558"/>
            <a:ext cx="4290056" cy="8601460"/>
            <a:chOff x="8138152" y="972101"/>
            <a:chExt cx="2450806" cy="4913810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8152" y="972101"/>
              <a:ext cx="2450806" cy="4913810"/>
            </a:xfrm>
            <a:prstGeom prst="rect">
              <a:avLst/>
            </a:prstGeom>
          </p:spPr>
        </p:pic>
        <p:grpSp>
          <p:nvGrpSpPr>
            <p:cNvPr id="29" name="Group 28"/>
            <p:cNvGrpSpPr/>
            <p:nvPr/>
          </p:nvGrpSpPr>
          <p:grpSpPr>
            <a:xfrm>
              <a:off x="8425363" y="1170991"/>
              <a:ext cx="281299" cy="50450"/>
              <a:chOff x="5050020" y="1151936"/>
              <a:chExt cx="306540" cy="54976"/>
            </a:xfrm>
          </p:grpSpPr>
          <p:sp>
            <p:nvSpPr>
              <p:cNvPr id="37" name="Oval 86"/>
              <p:cNvSpPr>
                <a:spLocks noChangeArrowheads="1"/>
              </p:cNvSpPr>
              <p:nvPr/>
            </p:nvSpPr>
            <p:spPr bwMode="auto">
              <a:xfrm>
                <a:off x="5050020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8" name="Oval 87"/>
              <p:cNvSpPr>
                <a:spLocks noChangeArrowheads="1"/>
              </p:cNvSpPr>
              <p:nvPr/>
            </p:nvSpPr>
            <p:spPr bwMode="auto">
              <a:xfrm>
                <a:off x="5091411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9" name="Oval 88"/>
              <p:cNvSpPr>
                <a:spLocks noChangeArrowheads="1"/>
              </p:cNvSpPr>
              <p:nvPr/>
            </p:nvSpPr>
            <p:spPr bwMode="auto">
              <a:xfrm>
                <a:off x="5132489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0" name="Oval 89"/>
              <p:cNvSpPr>
                <a:spLocks noChangeArrowheads="1"/>
              </p:cNvSpPr>
              <p:nvPr/>
            </p:nvSpPr>
            <p:spPr bwMode="auto">
              <a:xfrm>
                <a:off x="5173880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1" name="Freeform 90"/>
              <p:cNvSpPr>
                <a:spLocks noEditPoints="1"/>
              </p:cNvSpPr>
              <p:nvPr/>
            </p:nvSpPr>
            <p:spPr bwMode="auto">
              <a:xfrm>
                <a:off x="5214960" y="1162606"/>
                <a:ext cx="32366" cy="33633"/>
              </a:xfrm>
              <a:custGeom>
                <a:avLst/>
                <a:gdLst>
                  <a:gd name="T0" fmla="*/ 22 w 44"/>
                  <a:gd name="T1" fmla="*/ 4 h 44"/>
                  <a:gd name="T2" fmla="*/ 40 w 44"/>
                  <a:gd name="T3" fmla="*/ 22 h 44"/>
                  <a:gd name="T4" fmla="*/ 22 w 44"/>
                  <a:gd name="T5" fmla="*/ 40 h 44"/>
                  <a:gd name="T6" fmla="*/ 4 w 44"/>
                  <a:gd name="T7" fmla="*/ 22 h 44"/>
                  <a:gd name="T8" fmla="*/ 9 w 44"/>
                  <a:gd name="T9" fmla="*/ 9 h 44"/>
                  <a:gd name="T10" fmla="*/ 22 w 44"/>
                  <a:gd name="T11" fmla="*/ 4 h 44"/>
                  <a:gd name="T12" fmla="*/ 22 w 44"/>
                  <a:gd name="T13" fmla="*/ 0 h 44"/>
                  <a:gd name="T14" fmla="*/ 0 w 44"/>
                  <a:gd name="T15" fmla="*/ 22 h 44"/>
                  <a:gd name="T16" fmla="*/ 22 w 44"/>
                  <a:gd name="T17" fmla="*/ 44 h 44"/>
                  <a:gd name="T18" fmla="*/ 44 w 44"/>
                  <a:gd name="T19" fmla="*/ 22 h 44"/>
                  <a:gd name="T20" fmla="*/ 22 w 44"/>
                  <a:gd name="T21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44">
                    <a:moveTo>
                      <a:pt x="22" y="4"/>
                    </a:moveTo>
                    <a:cubicBezTo>
                      <a:pt x="32" y="4"/>
                      <a:pt x="40" y="12"/>
                      <a:pt x="40" y="22"/>
                    </a:cubicBezTo>
                    <a:cubicBezTo>
                      <a:pt x="40" y="32"/>
                      <a:pt x="32" y="40"/>
                      <a:pt x="22" y="40"/>
                    </a:cubicBezTo>
                    <a:cubicBezTo>
                      <a:pt x="12" y="40"/>
                      <a:pt x="4" y="32"/>
                      <a:pt x="4" y="22"/>
                    </a:cubicBezTo>
                    <a:cubicBezTo>
                      <a:pt x="4" y="17"/>
                      <a:pt x="6" y="13"/>
                      <a:pt x="9" y="9"/>
                    </a:cubicBezTo>
                    <a:cubicBezTo>
                      <a:pt x="13" y="6"/>
                      <a:pt x="17" y="4"/>
                      <a:pt x="22" y="4"/>
                    </a:cubicBezTo>
                    <a:moveTo>
                      <a:pt x="22" y="0"/>
                    </a:moveTo>
                    <a:cubicBezTo>
                      <a:pt x="10" y="0"/>
                      <a:pt x="0" y="10"/>
                      <a:pt x="0" y="22"/>
                    </a:cubicBezTo>
                    <a:cubicBezTo>
                      <a:pt x="0" y="34"/>
                      <a:pt x="10" y="44"/>
                      <a:pt x="22" y="44"/>
                    </a:cubicBez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2" name="Freeform 91"/>
              <p:cNvSpPr>
                <a:spLocks noEditPoints="1"/>
              </p:cNvSpPr>
              <p:nvPr/>
            </p:nvSpPr>
            <p:spPr bwMode="auto">
              <a:xfrm>
                <a:off x="5288094" y="1151936"/>
                <a:ext cx="68466" cy="54976"/>
              </a:xfrm>
              <a:custGeom>
                <a:avLst/>
                <a:gdLst>
                  <a:gd name="T0" fmla="*/ 46 w 93"/>
                  <a:gd name="T1" fmla="*/ 48 h 72"/>
                  <a:gd name="T2" fmla="*/ 30 w 93"/>
                  <a:gd name="T3" fmla="*/ 54 h 72"/>
                  <a:gd name="T4" fmla="*/ 46 w 93"/>
                  <a:gd name="T5" fmla="*/ 72 h 72"/>
                  <a:gd name="T6" fmla="*/ 62 w 93"/>
                  <a:gd name="T7" fmla="*/ 54 h 72"/>
                  <a:gd name="T8" fmla="*/ 46 w 93"/>
                  <a:gd name="T9" fmla="*/ 48 h 72"/>
                  <a:gd name="T10" fmla="*/ 47 w 93"/>
                  <a:gd name="T11" fmla="*/ 12 h 72"/>
                  <a:gd name="T12" fmla="*/ 86 w 93"/>
                  <a:gd name="T13" fmla="*/ 27 h 72"/>
                  <a:gd name="T14" fmla="*/ 93 w 93"/>
                  <a:gd name="T15" fmla="*/ 19 h 72"/>
                  <a:gd name="T16" fmla="*/ 47 w 93"/>
                  <a:gd name="T17" fmla="*/ 0 h 72"/>
                  <a:gd name="T18" fmla="*/ 0 w 93"/>
                  <a:gd name="T19" fmla="*/ 19 h 72"/>
                  <a:gd name="T20" fmla="*/ 7 w 93"/>
                  <a:gd name="T21" fmla="*/ 27 h 72"/>
                  <a:gd name="T22" fmla="*/ 47 w 93"/>
                  <a:gd name="T23" fmla="*/ 12 h 72"/>
                  <a:gd name="T24" fmla="*/ 46 w 93"/>
                  <a:gd name="T25" fmla="*/ 36 h 72"/>
                  <a:gd name="T26" fmla="*/ 70 w 93"/>
                  <a:gd name="T27" fmla="*/ 45 h 72"/>
                  <a:gd name="T28" fmla="*/ 78 w 93"/>
                  <a:gd name="T29" fmla="*/ 36 h 72"/>
                  <a:gd name="T30" fmla="*/ 46 w 93"/>
                  <a:gd name="T31" fmla="*/ 24 h 72"/>
                  <a:gd name="T32" fmla="*/ 15 w 93"/>
                  <a:gd name="T33" fmla="*/ 36 h 72"/>
                  <a:gd name="T34" fmla="*/ 23 w 93"/>
                  <a:gd name="T35" fmla="*/ 45 h 72"/>
                  <a:gd name="T36" fmla="*/ 46 w 93"/>
                  <a:gd name="T37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3" h="72">
                    <a:moveTo>
                      <a:pt x="46" y="48"/>
                    </a:moveTo>
                    <a:cubicBezTo>
                      <a:pt x="40" y="48"/>
                      <a:pt x="34" y="51"/>
                      <a:pt x="30" y="54"/>
                    </a:cubicBezTo>
                    <a:cubicBezTo>
                      <a:pt x="46" y="72"/>
                      <a:pt x="46" y="72"/>
                      <a:pt x="46" y="72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58" y="51"/>
                      <a:pt x="52" y="48"/>
                      <a:pt x="46" y="48"/>
                    </a:cubicBezTo>
                    <a:close/>
                    <a:moveTo>
                      <a:pt x="47" y="12"/>
                    </a:moveTo>
                    <a:cubicBezTo>
                      <a:pt x="62" y="12"/>
                      <a:pt x="75" y="18"/>
                      <a:pt x="86" y="27"/>
                    </a:cubicBezTo>
                    <a:cubicBezTo>
                      <a:pt x="93" y="19"/>
                      <a:pt x="93" y="19"/>
                      <a:pt x="93" y="19"/>
                    </a:cubicBezTo>
                    <a:cubicBezTo>
                      <a:pt x="81" y="8"/>
                      <a:pt x="64" y="0"/>
                      <a:pt x="47" y="0"/>
                    </a:cubicBezTo>
                    <a:cubicBezTo>
                      <a:pt x="29" y="0"/>
                      <a:pt x="12" y="8"/>
                      <a:pt x="0" y="19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8" y="18"/>
                      <a:pt x="32" y="12"/>
                      <a:pt x="47" y="12"/>
                    </a:cubicBezTo>
                    <a:close/>
                    <a:moveTo>
                      <a:pt x="46" y="36"/>
                    </a:moveTo>
                    <a:cubicBezTo>
                      <a:pt x="55" y="36"/>
                      <a:pt x="64" y="40"/>
                      <a:pt x="70" y="45"/>
                    </a:cubicBezTo>
                    <a:cubicBezTo>
                      <a:pt x="78" y="36"/>
                      <a:pt x="78" y="36"/>
                      <a:pt x="78" y="36"/>
                    </a:cubicBezTo>
                    <a:cubicBezTo>
                      <a:pt x="69" y="29"/>
                      <a:pt x="58" y="24"/>
                      <a:pt x="46" y="24"/>
                    </a:cubicBezTo>
                    <a:cubicBezTo>
                      <a:pt x="34" y="24"/>
                      <a:pt x="23" y="29"/>
                      <a:pt x="15" y="36"/>
                    </a:cubicBezTo>
                    <a:cubicBezTo>
                      <a:pt x="23" y="45"/>
                      <a:pt x="23" y="45"/>
                      <a:pt x="23" y="45"/>
                    </a:cubicBezTo>
                    <a:cubicBezTo>
                      <a:pt x="29" y="40"/>
                      <a:pt x="37" y="36"/>
                      <a:pt x="46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0027493" y="1145354"/>
              <a:ext cx="279675" cy="175826"/>
              <a:chOff x="6777604" y="1126614"/>
              <a:chExt cx="409473" cy="257428"/>
            </a:xfrm>
          </p:grpSpPr>
          <p:sp>
            <p:nvSpPr>
              <p:cNvPr id="31" name="Freeform 92"/>
              <p:cNvSpPr>
                <a:spLocks noEditPoints="1"/>
              </p:cNvSpPr>
              <p:nvPr/>
            </p:nvSpPr>
            <p:spPr bwMode="auto">
              <a:xfrm>
                <a:off x="6777604" y="1138191"/>
                <a:ext cx="46992" cy="82464"/>
              </a:xfrm>
              <a:custGeom>
                <a:avLst/>
                <a:gdLst>
                  <a:gd name="T0" fmla="*/ 90 w 151"/>
                  <a:gd name="T1" fmla="*/ 213 h 255"/>
                  <a:gd name="T2" fmla="*/ 90 w 151"/>
                  <a:gd name="T3" fmla="*/ 144 h 255"/>
                  <a:gd name="T4" fmla="*/ 123 w 151"/>
                  <a:gd name="T5" fmla="*/ 180 h 255"/>
                  <a:gd name="T6" fmla="*/ 90 w 151"/>
                  <a:gd name="T7" fmla="*/ 213 h 255"/>
                  <a:gd name="T8" fmla="*/ 90 w 151"/>
                  <a:gd name="T9" fmla="*/ 111 h 255"/>
                  <a:gd name="T10" fmla="*/ 90 w 151"/>
                  <a:gd name="T11" fmla="*/ 45 h 255"/>
                  <a:gd name="T12" fmla="*/ 125 w 151"/>
                  <a:gd name="T13" fmla="*/ 76 h 255"/>
                  <a:gd name="T14" fmla="*/ 90 w 151"/>
                  <a:gd name="T15" fmla="*/ 111 h 255"/>
                  <a:gd name="T16" fmla="*/ 71 w 151"/>
                  <a:gd name="T17" fmla="*/ 0 h 255"/>
                  <a:gd name="T18" fmla="*/ 68 w 151"/>
                  <a:gd name="T19" fmla="*/ 0 h 255"/>
                  <a:gd name="T20" fmla="*/ 68 w 151"/>
                  <a:gd name="T21" fmla="*/ 104 h 255"/>
                  <a:gd name="T22" fmla="*/ 16 w 151"/>
                  <a:gd name="T23" fmla="*/ 50 h 255"/>
                  <a:gd name="T24" fmla="*/ 0 w 151"/>
                  <a:gd name="T25" fmla="*/ 66 h 255"/>
                  <a:gd name="T26" fmla="*/ 66 w 151"/>
                  <a:gd name="T27" fmla="*/ 128 h 255"/>
                  <a:gd name="T28" fmla="*/ 0 w 151"/>
                  <a:gd name="T29" fmla="*/ 189 h 255"/>
                  <a:gd name="T30" fmla="*/ 16 w 151"/>
                  <a:gd name="T31" fmla="*/ 206 h 255"/>
                  <a:gd name="T32" fmla="*/ 68 w 151"/>
                  <a:gd name="T33" fmla="*/ 151 h 255"/>
                  <a:gd name="T34" fmla="*/ 68 w 151"/>
                  <a:gd name="T35" fmla="*/ 255 h 255"/>
                  <a:gd name="T36" fmla="*/ 73 w 151"/>
                  <a:gd name="T37" fmla="*/ 255 h 255"/>
                  <a:gd name="T38" fmla="*/ 151 w 151"/>
                  <a:gd name="T39" fmla="*/ 180 h 255"/>
                  <a:gd name="T40" fmla="*/ 97 w 151"/>
                  <a:gd name="T41" fmla="*/ 128 h 255"/>
                  <a:gd name="T42" fmla="*/ 151 w 151"/>
                  <a:gd name="T43" fmla="*/ 76 h 255"/>
                  <a:gd name="T44" fmla="*/ 71 w 151"/>
                  <a:gd name="T45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1" h="255">
                    <a:moveTo>
                      <a:pt x="90" y="213"/>
                    </a:moveTo>
                    <a:lnTo>
                      <a:pt x="90" y="144"/>
                    </a:lnTo>
                    <a:lnTo>
                      <a:pt x="123" y="180"/>
                    </a:lnTo>
                    <a:lnTo>
                      <a:pt x="90" y="213"/>
                    </a:lnTo>
                    <a:close/>
                    <a:moveTo>
                      <a:pt x="90" y="111"/>
                    </a:moveTo>
                    <a:lnTo>
                      <a:pt x="90" y="45"/>
                    </a:lnTo>
                    <a:lnTo>
                      <a:pt x="125" y="76"/>
                    </a:lnTo>
                    <a:lnTo>
                      <a:pt x="90" y="111"/>
                    </a:lnTo>
                    <a:close/>
                    <a:moveTo>
                      <a:pt x="71" y="0"/>
                    </a:moveTo>
                    <a:lnTo>
                      <a:pt x="68" y="0"/>
                    </a:lnTo>
                    <a:lnTo>
                      <a:pt x="68" y="104"/>
                    </a:lnTo>
                    <a:lnTo>
                      <a:pt x="16" y="50"/>
                    </a:lnTo>
                    <a:lnTo>
                      <a:pt x="0" y="66"/>
                    </a:lnTo>
                    <a:lnTo>
                      <a:pt x="66" y="128"/>
                    </a:lnTo>
                    <a:lnTo>
                      <a:pt x="0" y="189"/>
                    </a:lnTo>
                    <a:lnTo>
                      <a:pt x="16" y="206"/>
                    </a:lnTo>
                    <a:lnTo>
                      <a:pt x="68" y="151"/>
                    </a:lnTo>
                    <a:lnTo>
                      <a:pt x="68" y="255"/>
                    </a:lnTo>
                    <a:lnTo>
                      <a:pt x="73" y="255"/>
                    </a:lnTo>
                    <a:lnTo>
                      <a:pt x="151" y="180"/>
                    </a:lnTo>
                    <a:lnTo>
                      <a:pt x="97" y="128"/>
                    </a:lnTo>
                    <a:lnTo>
                      <a:pt x="151" y="7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2" name="Freeform 93"/>
              <p:cNvSpPr>
                <a:spLocks noEditPoints="1"/>
              </p:cNvSpPr>
              <p:nvPr/>
            </p:nvSpPr>
            <p:spPr bwMode="auto">
              <a:xfrm>
                <a:off x="6777604" y="1138191"/>
                <a:ext cx="46992" cy="82464"/>
              </a:xfrm>
              <a:custGeom>
                <a:avLst/>
                <a:gdLst>
                  <a:gd name="T0" fmla="*/ 90 w 151"/>
                  <a:gd name="T1" fmla="*/ 213 h 255"/>
                  <a:gd name="T2" fmla="*/ 90 w 151"/>
                  <a:gd name="T3" fmla="*/ 144 h 255"/>
                  <a:gd name="T4" fmla="*/ 123 w 151"/>
                  <a:gd name="T5" fmla="*/ 180 h 255"/>
                  <a:gd name="T6" fmla="*/ 90 w 151"/>
                  <a:gd name="T7" fmla="*/ 213 h 255"/>
                  <a:gd name="T8" fmla="*/ 90 w 151"/>
                  <a:gd name="T9" fmla="*/ 111 h 255"/>
                  <a:gd name="T10" fmla="*/ 90 w 151"/>
                  <a:gd name="T11" fmla="*/ 45 h 255"/>
                  <a:gd name="T12" fmla="*/ 125 w 151"/>
                  <a:gd name="T13" fmla="*/ 76 h 255"/>
                  <a:gd name="T14" fmla="*/ 90 w 151"/>
                  <a:gd name="T15" fmla="*/ 111 h 255"/>
                  <a:gd name="T16" fmla="*/ 71 w 151"/>
                  <a:gd name="T17" fmla="*/ 0 h 255"/>
                  <a:gd name="T18" fmla="*/ 68 w 151"/>
                  <a:gd name="T19" fmla="*/ 0 h 255"/>
                  <a:gd name="T20" fmla="*/ 68 w 151"/>
                  <a:gd name="T21" fmla="*/ 104 h 255"/>
                  <a:gd name="T22" fmla="*/ 16 w 151"/>
                  <a:gd name="T23" fmla="*/ 50 h 255"/>
                  <a:gd name="T24" fmla="*/ 0 w 151"/>
                  <a:gd name="T25" fmla="*/ 66 h 255"/>
                  <a:gd name="T26" fmla="*/ 66 w 151"/>
                  <a:gd name="T27" fmla="*/ 128 h 255"/>
                  <a:gd name="T28" fmla="*/ 0 w 151"/>
                  <a:gd name="T29" fmla="*/ 189 h 255"/>
                  <a:gd name="T30" fmla="*/ 16 w 151"/>
                  <a:gd name="T31" fmla="*/ 206 h 255"/>
                  <a:gd name="T32" fmla="*/ 68 w 151"/>
                  <a:gd name="T33" fmla="*/ 151 h 255"/>
                  <a:gd name="T34" fmla="*/ 68 w 151"/>
                  <a:gd name="T35" fmla="*/ 255 h 255"/>
                  <a:gd name="T36" fmla="*/ 73 w 151"/>
                  <a:gd name="T37" fmla="*/ 255 h 255"/>
                  <a:gd name="T38" fmla="*/ 151 w 151"/>
                  <a:gd name="T39" fmla="*/ 180 h 255"/>
                  <a:gd name="T40" fmla="*/ 97 w 151"/>
                  <a:gd name="T41" fmla="*/ 128 h 255"/>
                  <a:gd name="T42" fmla="*/ 151 w 151"/>
                  <a:gd name="T43" fmla="*/ 76 h 255"/>
                  <a:gd name="T44" fmla="*/ 71 w 151"/>
                  <a:gd name="T45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1" h="255">
                    <a:moveTo>
                      <a:pt x="90" y="213"/>
                    </a:moveTo>
                    <a:lnTo>
                      <a:pt x="90" y="144"/>
                    </a:lnTo>
                    <a:lnTo>
                      <a:pt x="123" y="180"/>
                    </a:lnTo>
                    <a:lnTo>
                      <a:pt x="90" y="213"/>
                    </a:lnTo>
                    <a:moveTo>
                      <a:pt x="90" y="111"/>
                    </a:moveTo>
                    <a:lnTo>
                      <a:pt x="90" y="45"/>
                    </a:lnTo>
                    <a:lnTo>
                      <a:pt x="125" y="76"/>
                    </a:lnTo>
                    <a:lnTo>
                      <a:pt x="90" y="111"/>
                    </a:lnTo>
                    <a:moveTo>
                      <a:pt x="71" y="0"/>
                    </a:moveTo>
                    <a:lnTo>
                      <a:pt x="68" y="0"/>
                    </a:lnTo>
                    <a:lnTo>
                      <a:pt x="68" y="104"/>
                    </a:lnTo>
                    <a:lnTo>
                      <a:pt x="16" y="50"/>
                    </a:lnTo>
                    <a:lnTo>
                      <a:pt x="0" y="66"/>
                    </a:lnTo>
                    <a:lnTo>
                      <a:pt x="66" y="128"/>
                    </a:lnTo>
                    <a:lnTo>
                      <a:pt x="0" y="189"/>
                    </a:lnTo>
                    <a:lnTo>
                      <a:pt x="16" y="206"/>
                    </a:lnTo>
                    <a:lnTo>
                      <a:pt x="68" y="151"/>
                    </a:lnTo>
                    <a:lnTo>
                      <a:pt x="68" y="255"/>
                    </a:lnTo>
                    <a:lnTo>
                      <a:pt x="73" y="255"/>
                    </a:lnTo>
                    <a:lnTo>
                      <a:pt x="151" y="180"/>
                    </a:lnTo>
                    <a:lnTo>
                      <a:pt x="97" y="128"/>
                    </a:lnTo>
                    <a:lnTo>
                      <a:pt x="151" y="76"/>
                    </a:lnTo>
                    <a:lnTo>
                      <a:pt x="71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3" name="Freeform 94"/>
              <p:cNvSpPr>
                <a:spLocks/>
              </p:cNvSpPr>
              <p:nvPr/>
            </p:nvSpPr>
            <p:spPr bwMode="auto">
              <a:xfrm>
                <a:off x="7178363" y="1168752"/>
                <a:ext cx="8714" cy="21343"/>
              </a:xfrm>
              <a:custGeom>
                <a:avLst/>
                <a:gdLst>
                  <a:gd name="T0" fmla="*/ 4 w 12"/>
                  <a:gd name="T1" fmla="*/ 28 h 28"/>
                  <a:gd name="T2" fmla="*/ 12 w 12"/>
                  <a:gd name="T3" fmla="*/ 19 h 28"/>
                  <a:gd name="T4" fmla="*/ 12 w 12"/>
                  <a:gd name="T5" fmla="*/ 9 h 28"/>
                  <a:gd name="T6" fmla="*/ 4 w 12"/>
                  <a:gd name="T7" fmla="*/ 0 h 28"/>
                  <a:gd name="T8" fmla="*/ 0 w 12"/>
                  <a:gd name="T9" fmla="*/ 0 h 28"/>
                  <a:gd name="T10" fmla="*/ 0 w 12"/>
                  <a:gd name="T11" fmla="*/ 28 h 28"/>
                  <a:gd name="T12" fmla="*/ 4 w 12"/>
                  <a:gd name="T13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8">
                    <a:moveTo>
                      <a:pt x="4" y="28"/>
                    </a:moveTo>
                    <a:cubicBezTo>
                      <a:pt x="8" y="28"/>
                      <a:pt x="12" y="24"/>
                      <a:pt x="12" y="1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4"/>
                      <a:pt x="8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4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4" name="Rectangle 95"/>
              <p:cNvSpPr>
                <a:spLocks noChangeArrowheads="1"/>
              </p:cNvSpPr>
              <p:nvPr/>
            </p:nvSpPr>
            <p:spPr bwMode="auto">
              <a:xfrm>
                <a:off x="7048901" y="1156463"/>
                <a:ext cx="41080" cy="4592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5" name="Freeform 96"/>
              <p:cNvSpPr>
                <a:spLocks noEditPoints="1"/>
              </p:cNvSpPr>
              <p:nvPr/>
            </p:nvSpPr>
            <p:spPr bwMode="auto">
              <a:xfrm>
                <a:off x="7042988" y="1150319"/>
                <a:ext cx="132264" cy="58210"/>
              </a:xfrm>
              <a:custGeom>
                <a:avLst/>
                <a:gdLst>
                  <a:gd name="T0" fmla="*/ 170 w 180"/>
                  <a:gd name="T1" fmla="*/ 4 h 76"/>
                  <a:gd name="T2" fmla="*/ 176 w 180"/>
                  <a:gd name="T3" fmla="*/ 10 h 76"/>
                  <a:gd name="T4" fmla="*/ 176 w 180"/>
                  <a:gd name="T5" fmla="*/ 66 h 76"/>
                  <a:gd name="T6" fmla="*/ 170 w 180"/>
                  <a:gd name="T7" fmla="*/ 72 h 76"/>
                  <a:gd name="T8" fmla="*/ 10 w 180"/>
                  <a:gd name="T9" fmla="*/ 72 h 76"/>
                  <a:gd name="T10" fmla="*/ 4 w 180"/>
                  <a:gd name="T11" fmla="*/ 66 h 76"/>
                  <a:gd name="T12" fmla="*/ 4 w 180"/>
                  <a:gd name="T13" fmla="*/ 10 h 76"/>
                  <a:gd name="T14" fmla="*/ 10 w 180"/>
                  <a:gd name="T15" fmla="*/ 4 h 76"/>
                  <a:gd name="T16" fmla="*/ 170 w 180"/>
                  <a:gd name="T17" fmla="*/ 4 h 76"/>
                  <a:gd name="T18" fmla="*/ 170 w 180"/>
                  <a:gd name="T19" fmla="*/ 0 h 76"/>
                  <a:gd name="T20" fmla="*/ 10 w 180"/>
                  <a:gd name="T21" fmla="*/ 0 h 76"/>
                  <a:gd name="T22" fmla="*/ 0 w 180"/>
                  <a:gd name="T23" fmla="*/ 10 h 76"/>
                  <a:gd name="T24" fmla="*/ 0 w 180"/>
                  <a:gd name="T25" fmla="*/ 66 h 76"/>
                  <a:gd name="T26" fmla="*/ 10 w 180"/>
                  <a:gd name="T27" fmla="*/ 76 h 76"/>
                  <a:gd name="T28" fmla="*/ 170 w 180"/>
                  <a:gd name="T29" fmla="*/ 76 h 76"/>
                  <a:gd name="T30" fmla="*/ 180 w 180"/>
                  <a:gd name="T31" fmla="*/ 66 h 76"/>
                  <a:gd name="T32" fmla="*/ 180 w 180"/>
                  <a:gd name="T33" fmla="*/ 10 h 76"/>
                  <a:gd name="T34" fmla="*/ 170 w 180"/>
                  <a:gd name="T3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0" h="76">
                    <a:moveTo>
                      <a:pt x="170" y="4"/>
                    </a:moveTo>
                    <a:cubicBezTo>
                      <a:pt x="173" y="4"/>
                      <a:pt x="176" y="7"/>
                      <a:pt x="176" y="10"/>
                    </a:cubicBezTo>
                    <a:cubicBezTo>
                      <a:pt x="176" y="66"/>
                      <a:pt x="176" y="66"/>
                      <a:pt x="176" y="66"/>
                    </a:cubicBezTo>
                    <a:cubicBezTo>
                      <a:pt x="176" y="69"/>
                      <a:pt x="173" y="72"/>
                      <a:pt x="170" y="72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7" y="72"/>
                      <a:pt x="4" y="69"/>
                      <a:pt x="4" y="6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7"/>
                      <a:pt x="7" y="4"/>
                      <a:pt x="10" y="4"/>
                    </a:cubicBezTo>
                    <a:cubicBezTo>
                      <a:pt x="170" y="4"/>
                      <a:pt x="170" y="4"/>
                      <a:pt x="170" y="4"/>
                    </a:cubicBezTo>
                    <a:moveTo>
                      <a:pt x="170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71"/>
                      <a:pt x="4" y="76"/>
                      <a:pt x="10" y="76"/>
                    </a:cubicBezTo>
                    <a:cubicBezTo>
                      <a:pt x="170" y="76"/>
                      <a:pt x="170" y="76"/>
                      <a:pt x="170" y="76"/>
                    </a:cubicBezTo>
                    <a:cubicBezTo>
                      <a:pt x="176" y="76"/>
                      <a:pt x="180" y="71"/>
                      <a:pt x="180" y="66"/>
                    </a:cubicBezTo>
                    <a:cubicBezTo>
                      <a:pt x="180" y="10"/>
                      <a:pt x="180" y="10"/>
                      <a:pt x="180" y="10"/>
                    </a:cubicBezTo>
                    <a:cubicBezTo>
                      <a:pt x="180" y="5"/>
                      <a:pt x="176" y="0"/>
                      <a:pt x="1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6" name="Rectangle 97"/>
              <p:cNvSpPr>
                <a:spLocks noChangeArrowheads="1"/>
              </p:cNvSpPr>
              <p:nvPr/>
            </p:nvSpPr>
            <p:spPr bwMode="auto">
              <a:xfrm>
                <a:off x="6853739" y="1126614"/>
                <a:ext cx="174464" cy="257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828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b="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+mj-lt"/>
                  </a:rPr>
                  <a:t>22%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971545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2" y="4032395"/>
            <a:ext cx="4876800" cy="432420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12317555" y="4032395"/>
            <a:ext cx="4787970" cy="432420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032395"/>
            <a:ext cx="12068916" cy="4324206"/>
          </a:xfrm>
          <a:prstGeom prst="rect">
            <a:avLst/>
          </a:prstGeom>
          <a:noFill/>
          <a:ln w="571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0" name="Rectangle 9"/>
          <p:cNvSpPr/>
          <p:nvPr userDrawn="1"/>
        </p:nvSpPr>
        <p:spPr>
          <a:xfrm>
            <a:off x="12317554" y="4032395"/>
            <a:ext cx="11990376" cy="4324206"/>
          </a:xfrm>
          <a:prstGeom prst="rect">
            <a:avLst/>
          </a:prstGeom>
          <a:noFill/>
          <a:ln w="57150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174987776"/>
      </p:ext>
    </p:extLst>
  </p:cSld>
  <p:clrMapOvr>
    <a:masterClrMapping/>
  </p:clrMapOvr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2498473" y="4202736"/>
            <a:ext cx="5904234" cy="532339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9239883" y="4202736"/>
            <a:ext cx="5904234" cy="532339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15981293" y="4202736"/>
            <a:ext cx="5904234" cy="532339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5206469"/>
      </p:ext>
    </p:extLst>
  </p:cSld>
  <p:clrMapOvr>
    <a:masterClrMapping/>
  </p:clrMapOvr>
  <p:hf hdr="0" ft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986081" y="4447721"/>
            <a:ext cx="5383110" cy="760548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588425" y="4447721"/>
            <a:ext cx="5383110" cy="760548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12190769" y="4447721"/>
            <a:ext cx="5383110" cy="760548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17793113" y="4447721"/>
            <a:ext cx="5383110" cy="760548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651088"/>
      </p:ext>
    </p:extLst>
  </p:cSld>
  <p:clrMapOvr>
    <a:masterClrMapping/>
  </p:clrMapOvr>
  <p:hf hdr="0" ft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656490" y="4344761"/>
            <a:ext cx="3148320" cy="321116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3656490" y="8850039"/>
            <a:ext cx="3148320" cy="321116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13927578" y="4344761"/>
            <a:ext cx="3148320" cy="321116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13927578" y="8850039"/>
            <a:ext cx="3148320" cy="321116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7704753"/>
      </p:ext>
    </p:extLst>
  </p:cSld>
  <p:clrMapOvr>
    <a:masterClrMapping/>
  </p:clrMapOvr>
  <p:hf hdr="0" ft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7797601" y="6985001"/>
            <a:ext cx="3890438" cy="390715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11688047" y="6985001"/>
            <a:ext cx="3890438" cy="390715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6052800" y="4283428"/>
            <a:ext cx="6016172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6985001"/>
            <a:ext cx="3890438" cy="390715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3890447" y="6985001"/>
            <a:ext cx="3890438" cy="390715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273179"/>
      </p:ext>
    </p:extLst>
  </p:cSld>
  <p:clrMapOvr>
    <a:masterClrMapping/>
  </p:clrMapOvr>
  <p:hf hdr="0" ft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0" y="5712177"/>
            <a:ext cx="9256884" cy="800382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9256885" y="5712177"/>
            <a:ext cx="5042370" cy="800382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14305127" y="5712177"/>
            <a:ext cx="5042370" cy="800382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19353365" y="5712177"/>
            <a:ext cx="5042370" cy="800382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9900912"/>
      </p:ext>
    </p:extLst>
  </p:cSld>
  <p:clrMapOvr>
    <a:masterClrMapping/>
  </p:clrMapOvr>
  <p:hf hdr="0" ft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7753546" y="-43387"/>
            <a:ext cx="6630456" cy="687969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7753546" y="6836307"/>
            <a:ext cx="6630456" cy="687969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1347936" y="0"/>
            <a:ext cx="6405608" cy="1371600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9813298"/>
      </p:ext>
    </p:extLst>
  </p:cSld>
  <p:clrMapOvr>
    <a:masterClrMapping/>
  </p:clrMapOvr>
  <p:hf hdr="0" ft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971693" y="4546601"/>
            <a:ext cx="4315426" cy="390715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3059793" y="4546601"/>
            <a:ext cx="4315426" cy="390715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8190981" y="4546601"/>
            <a:ext cx="4315426" cy="3907154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2025745"/>
      </p:ext>
    </p:extLst>
  </p:cSld>
  <p:clrMapOvr>
    <a:masterClrMapping/>
  </p:clrMapOvr>
  <p:hf hdr="0" ft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904461" y="4154153"/>
            <a:ext cx="10601478" cy="695965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2818193" y="4154153"/>
            <a:ext cx="10601478" cy="695965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reeform 8"/>
          <p:cNvSpPr/>
          <p:nvPr userDrawn="1"/>
        </p:nvSpPr>
        <p:spPr>
          <a:xfrm>
            <a:off x="1904461" y="9217083"/>
            <a:ext cx="10601478" cy="3461146"/>
          </a:xfrm>
          <a:custGeom>
            <a:avLst/>
            <a:gdLst>
              <a:gd name="connsiteX0" fmla="*/ 312312 w 5300739"/>
              <a:gd name="connsiteY0" fmla="*/ 2 h 1730573"/>
              <a:gd name="connsiteX1" fmla="*/ 882969 w 5300739"/>
              <a:gd name="connsiteY1" fmla="*/ 189849 h 1730573"/>
              <a:gd name="connsiteX2" fmla="*/ 908168 w 5300739"/>
              <a:gd name="connsiteY2" fmla="*/ 188282 h 1730573"/>
              <a:gd name="connsiteX3" fmla="*/ 933366 w 5300739"/>
              <a:gd name="connsiteY3" fmla="*/ 189849 h 1730573"/>
              <a:gd name="connsiteX4" fmla="*/ 1583103 w 5300739"/>
              <a:gd name="connsiteY4" fmla="*/ 12627 h 1730573"/>
              <a:gd name="connsiteX5" fmla="*/ 2024982 w 5300739"/>
              <a:gd name="connsiteY5" fmla="*/ 338151 h 1730573"/>
              <a:gd name="connsiteX6" fmla="*/ 2069984 w 5300739"/>
              <a:gd name="connsiteY6" fmla="*/ 371228 h 1730573"/>
              <a:gd name="connsiteX7" fmla="*/ 2463577 w 5300739"/>
              <a:gd name="connsiteY7" fmla="*/ 371228 h 1730573"/>
              <a:gd name="connsiteX8" fmla="*/ 2491319 w 5300739"/>
              <a:gd name="connsiteY8" fmla="*/ 344610 h 1730573"/>
              <a:gd name="connsiteX9" fmla="*/ 2934107 w 5300739"/>
              <a:gd name="connsiteY9" fmla="*/ 90800 h 1730573"/>
              <a:gd name="connsiteX10" fmla="*/ 3235852 w 5300739"/>
              <a:gd name="connsiteY10" fmla="*/ 264684 h 1730573"/>
              <a:gd name="connsiteX11" fmla="*/ 3322740 w 5300739"/>
              <a:gd name="connsiteY11" fmla="*/ 371228 h 1730573"/>
              <a:gd name="connsiteX12" fmla="*/ 5300739 w 5300739"/>
              <a:gd name="connsiteY12" fmla="*/ 371228 h 1730573"/>
              <a:gd name="connsiteX13" fmla="*/ 5300739 w 5300739"/>
              <a:gd name="connsiteY13" fmla="*/ 1730573 h 1730573"/>
              <a:gd name="connsiteX14" fmla="*/ 0 w 5300739"/>
              <a:gd name="connsiteY14" fmla="*/ 1730573 h 1730573"/>
              <a:gd name="connsiteX15" fmla="*/ 0 w 5300739"/>
              <a:gd name="connsiteY15" fmla="*/ 562294 h 1730573"/>
              <a:gd name="connsiteX16" fmla="*/ 0 w 5300739"/>
              <a:gd name="connsiteY16" fmla="*/ 371228 h 1730573"/>
              <a:gd name="connsiteX17" fmla="*/ 0 w 5300739"/>
              <a:gd name="connsiteY17" fmla="*/ 159119 h 1730573"/>
              <a:gd name="connsiteX18" fmla="*/ 50854 w 5300739"/>
              <a:gd name="connsiteY18" fmla="*/ 117352 h 1730573"/>
              <a:gd name="connsiteX19" fmla="*/ 233233 w 5300739"/>
              <a:gd name="connsiteY19" fmla="*/ 12627 h 1730573"/>
              <a:gd name="connsiteX20" fmla="*/ 312312 w 5300739"/>
              <a:gd name="connsiteY20" fmla="*/ 2 h 1730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300739" h="1730573">
                <a:moveTo>
                  <a:pt x="312312" y="2"/>
                </a:moveTo>
                <a:cubicBezTo>
                  <a:pt x="502817" y="-722"/>
                  <a:pt x="729952" y="182548"/>
                  <a:pt x="882969" y="189849"/>
                </a:cubicBezTo>
                <a:lnTo>
                  <a:pt x="908168" y="188282"/>
                </a:lnTo>
                <a:lnTo>
                  <a:pt x="933366" y="189849"/>
                </a:lnTo>
                <a:cubicBezTo>
                  <a:pt x="1108243" y="181505"/>
                  <a:pt x="1379928" y="-56676"/>
                  <a:pt x="1583103" y="12627"/>
                </a:cubicBezTo>
                <a:cubicBezTo>
                  <a:pt x="1739392" y="65937"/>
                  <a:pt x="1883732" y="223954"/>
                  <a:pt x="2024982" y="338151"/>
                </a:cubicBezTo>
                <a:lnTo>
                  <a:pt x="2069984" y="371228"/>
                </a:lnTo>
                <a:lnTo>
                  <a:pt x="2463577" y="371228"/>
                </a:lnTo>
                <a:lnTo>
                  <a:pt x="2491319" y="344610"/>
                </a:lnTo>
                <a:cubicBezTo>
                  <a:pt x="2600193" y="228922"/>
                  <a:pt x="2713438" y="73647"/>
                  <a:pt x="2934107" y="90800"/>
                </a:cubicBezTo>
                <a:cubicBezTo>
                  <a:pt x="3088576" y="102807"/>
                  <a:pt x="3164186" y="175781"/>
                  <a:pt x="3235852" y="264684"/>
                </a:cubicBezTo>
                <a:lnTo>
                  <a:pt x="3322740" y="371228"/>
                </a:lnTo>
                <a:lnTo>
                  <a:pt x="5300739" y="371228"/>
                </a:lnTo>
                <a:lnTo>
                  <a:pt x="5300739" y="1730573"/>
                </a:lnTo>
                <a:lnTo>
                  <a:pt x="0" y="1730573"/>
                </a:lnTo>
                <a:lnTo>
                  <a:pt x="0" y="562294"/>
                </a:lnTo>
                <a:lnTo>
                  <a:pt x="0" y="371228"/>
                </a:lnTo>
                <a:lnTo>
                  <a:pt x="0" y="159119"/>
                </a:lnTo>
                <a:lnTo>
                  <a:pt x="50854" y="117352"/>
                </a:lnTo>
                <a:cubicBezTo>
                  <a:pt x="110113" y="72027"/>
                  <a:pt x="170717" y="33950"/>
                  <a:pt x="233233" y="12627"/>
                </a:cubicBezTo>
                <a:cubicBezTo>
                  <a:pt x="258630" y="3964"/>
                  <a:pt x="285097" y="105"/>
                  <a:pt x="312312" y="2"/>
                </a:cubicBez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000"/>
          </a:p>
        </p:txBody>
      </p:sp>
      <p:sp>
        <p:nvSpPr>
          <p:cNvPr id="10" name="Freeform 9"/>
          <p:cNvSpPr/>
          <p:nvPr userDrawn="1"/>
        </p:nvSpPr>
        <p:spPr>
          <a:xfrm>
            <a:off x="12798659" y="9217083"/>
            <a:ext cx="10601478" cy="3461146"/>
          </a:xfrm>
          <a:custGeom>
            <a:avLst/>
            <a:gdLst>
              <a:gd name="connsiteX0" fmla="*/ 312312 w 5300739"/>
              <a:gd name="connsiteY0" fmla="*/ 2 h 1730573"/>
              <a:gd name="connsiteX1" fmla="*/ 882969 w 5300739"/>
              <a:gd name="connsiteY1" fmla="*/ 189849 h 1730573"/>
              <a:gd name="connsiteX2" fmla="*/ 908168 w 5300739"/>
              <a:gd name="connsiteY2" fmla="*/ 188282 h 1730573"/>
              <a:gd name="connsiteX3" fmla="*/ 933366 w 5300739"/>
              <a:gd name="connsiteY3" fmla="*/ 189849 h 1730573"/>
              <a:gd name="connsiteX4" fmla="*/ 1583103 w 5300739"/>
              <a:gd name="connsiteY4" fmla="*/ 12627 h 1730573"/>
              <a:gd name="connsiteX5" fmla="*/ 2024982 w 5300739"/>
              <a:gd name="connsiteY5" fmla="*/ 338151 h 1730573"/>
              <a:gd name="connsiteX6" fmla="*/ 2069984 w 5300739"/>
              <a:gd name="connsiteY6" fmla="*/ 371228 h 1730573"/>
              <a:gd name="connsiteX7" fmla="*/ 2463577 w 5300739"/>
              <a:gd name="connsiteY7" fmla="*/ 371228 h 1730573"/>
              <a:gd name="connsiteX8" fmla="*/ 2491319 w 5300739"/>
              <a:gd name="connsiteY8" fmla="*/ 344610 h 1730573"/>
              <a:gd name="connsiteX9" fmla="*/ 2934107 w 5300739"/>
              <a:gd name="connsiteY9" fmla="*/ 90800 h 1730573"/>
              <a:gd name="connsiteX10" fmla="*/ 3235852 w 5300739"/>
              <a:gd name="connsiteY10" fmla="*/ 264684 h 1730573"/>
              <a:gd name="connsiteX11" fmla="*/ 3322740 w 5300739"/>
              <a:gd name="connsiteY11" fmla="*/ 371228 h 1730573"/>
              <a:gd name="connsiteX12" fmla="*/ 5300739 w 5300739"/>
              <a:gd name="connsiteY12" fmla="*/ 371228 h 1730573"/>
              <a:gd name="connsiteX13" fmla="*/ 5300739 w 5300739"/>
              <a:gd name="connsiteY13" fmla="*/ 1730573 h 1730573"/>
              <a:gd name="connsiteX14" fmla="*/ 0 w 5300739"/>
              <a:gd name="connsiteY14" fmla="*/ 1730573 h 1730573"/>
              <a:gd name="connsiteX15" fmla="*/ 0 w 5300739"/>
              <a:gd name="connsiteY15" fmla="*/ 562294 h 1730573"/>
              <a:gd name="connsiteX16" fmla="*/ 0 w 5300739"/>
              <a:gd name="connsiteY16" fmla="*/ 371228 h 1730573"/>
              <a:gd name="connsiteX17" fmla="*/ 0 w 5300739"/>
              <a:gd name="connsiteY17" fmla="*/ 159119 h 1730573"/>
              <a:gd name="connsiteX18" fmla="*/ 50854 w 5300739"/>
              <a:gd name="connsiteY18" fmla="*/ 117352 h 1730573"/>
              <a:gd name="connsiteX19" fmla="*/ 233233 w 5300739"/>
              <a:gd name="connsiteY19" fmla="*/ 12627 h 1730573"/>
              <a:gd name="connsiteX20" fmla="*/ 312312 w 5300739"/>
              <a:gd name="connsiteY20" fmla="*/ 2 h 1730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300739" h="1730573">
                <a:moveTo>
                  <a:pt x="312312" y="2"/>
                </a:moveTo>
                <a:cubicBezTo>
                  <a:pt x="502817" y="-722"/>
                  <a:pt x="729952" y="182548"/>
                  <a:pt x="882969" y="189849"/>
                </a:cubicBezTo>
                <a:lnTo>
                  <a:pt x="908168" y="188282"/>
                </a:lnTo>
                <a:lnTo>
                  <a:pt x="933366" y="189849"/>
                </a:lnTo>
                <a:cubicBezTo>
                  <a:pt x="1108243" y="181505"/>
                  <a:pt x="1379928" y="-56676"/>
                  <a:pt x="1583103" y="12627"/>
                </a:cubicBezTo>
                <a:cubicBezTo>
                  <a:pt x="1739392" y="65937"/>
                  <a:pt x="1883732" y="223954"/>
                  <a:pt x="2024982" y="338151"/>
                </a:cubicBezTo>
                <a:lnTo>
                  <a:pt x="2069984" y="371228"/>
                </a:lnTo>
                <a:lnTo>
                  <a:pt x="2463577" y="371228"/>
                </a:lnTo>
                <a:lnTo>
                  <a:pt x="2491319" y="344610"/>
                </a:lnTo>
                <a:cubicBezTo>
                  <a:pt x="2600193" y="228922"/>
                  <a:pt x="2713438" y="73647"/>
                  <a:pt x="2934107" y="90800"/>
                </a:cubicBezTo>
                <a:cubicBezTo>
                  <a:pt x="3088576" y="102807"/>
                  <a:pt x="3164186" y="175781"/>
                  <a:pt x="3235852" y="264684"/>
                </a:cubicBezTo>
                <a:lnTo>
                  <a:pt x="3322740" y="371228"/>
                </a:lnTo>
                <a:lnTo>
                  <a:pt x="5300739" y="371228"/>
                </a:lnTo>
                <a:lnTo>
                  <a:pt x="5300739" y="1730573"/>
                </a:lnTo>
                <a:lnTo>
                  <a:pt x="0" y="1730573"/>
                </a:lnTo>
                <a:lnTo>
                  <a:pt x="0" y="562294"/>
                </a:lnTo>
                <a:lnTo>
                  <a:pt x="0" y="371228"/>
                </a:lnTo>
                <a:lnTo>
                  <a:pt x="0" y="159119"/>
                </a:lnTo>
                <a:lnTo>
                  <a:pt x="50854" y="117352"/>
                </a:lnTo>
                <a:cubicBezTo>
                  <a:pt x="110113" y="72027"/>
                  <a:pt x="170717" y="33950"/>
                  <a:pt x="233233" y="12627"/>
                </a:cubicBezTo>
                <a:cubicBezTo>
                  <a:pt x="258630" y="3964"/>
                  <a:pt x="285097" y="105"/>
                  <a:pt x="312312" y="2"/>
                </a:cubicBez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763249459"/>
      </p:ext>
    </p:extLst>
  </p:cSld>
  <p:clrMapOvr>
    <a:masterClrMapping/>
  </p:clrMapOvr>
  <p:hf hdr="0" ft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990944" y="767001"/>
            <a:ext cx="14144828" cy="1189913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880658" y="8345715"/>
            <a:ext cx="4220572" cy="400045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6315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0906085" y="3607598"/>
            <a:ext cx="6408454" cy="6716148"/>
          </a:xfrm>
          <a:custGeom>
            <a:avLst/>
            <a:gdLst>
              <a:gd name="connsiteX0" fmla="*/ 1781314 w 3204227"/>
              <a:gd name="connsiteY0" fmla="*/ 1365 h 3358074"/>
              <a:gd name="connsiteX1" fmla="*/ 2028254 w 3204227"/>
              <a:gd name="connsiteY1" fmla="*/ 58168 h 3358074"/>
              <a:gd name="connsiteX2" fmla="*/ 3035944 w 3204227"/>
              <a:gd name="connsiteY2" fmla="*/ 460855 h 3358074"/>
              <a:gd name="connsiteX3" fmla="*/ 3074685 w 3204227"/>
              <a:gd name="connsiteY3" fmla="*/ 895020 h 3358074"/>
              <a:gd name="connsiteX4" fmla="*/ 1706152 w 3204227"/>
              <a:gd name="connsiteY4" fmla="*/ 3194563 h 3358074"/>
              <a:gd name="connsiteX5" fmla="*/ 1346602 w 3204227"/>
              <a:gd name="connsiteY5" fmla="*/ 3327758 h 3358074"/>
              <a:gd name="connsiteX6" fmla="*/ 145234 w 3204227"/>
              <a:gd name="connsiteY6" fmla="*/ 2792514 h 3358074"/>
              <a:gd name="connsiteX7" fmla="*/ 94588 w 3204227"/>
              <a:gd name="connsiteY7" fmla="*/ 2439313 h 3358074"/>
              <a:gd name="connsiteX8" fmla="*/ 1579802 w 3204227"/>
              <a:gd name="connsiteY8" fmla="*/ 165963 h 3358074"/>
              <a:gd name="connsiteX9" fmla="*/ 1781314 w 3204227"/>
              <a:gd name="connsiteY9" fmla="*/ 1365 h 3358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04227" h="3358074">
                <a:moveTo>
                  <a:pt x="1781314" y="1365"/>
                </a:moveTo>
                <a:cubicBezTo>
                  <a:pt x="1842377" y="-5003"/>
                  <a:pt x="1921393" y="10418"/>
                  <a:pt x="2028254" y="58168"/>
                </a:cubicBezTo>
                <a:cubicBezTo>
                  <a:pt x="2291125" y="185783"/>
                  <a:pt x="2715922" y="276090"/>
                  <a:pt x="3035944" y="460855"/>
                </a:cubicBezTo>
                <a:cubicBezTo>
                  <a:pt x="3198669" y="545326"/>
                  <a:pt x="3297269" y="598945"/>
                  <a:pt x="3074685" y="895020"/>
                </a:cubicBezTo>
                <a:lnTo>
                  <a:pt x="1706152" y="3194563"/>
                </a:lnTo>
                <a:cubicBezTo>
                  <a:pt x="1629617" y="3327124"/>
                  <a:pt x="1479163" y="3404293"/>
                  <a:pt x="1346602" y="3327758"/>
                </a:cubicBezTo>
                <a:lnTo>
                  <a:pt x="145234" y="2792514"/>
                </a:lnTo>
                <a:cubicBezTo>
                  <a:pt x="12673" y="2715980"/>
                  <a:pt x="-77196" y="2635374"/>
                  <a:pt x="94588" y="2439313"/>
                </a:cubicBezTo>
                <a:lnTo>
                  <a:pt x="1579802" y="165963"/>
                </a:lnTo>
                <a:cubicBezTo>
                  <a:pt x="1627636" y="83112"/>
                  <a:pt x="1679541" y="11977"/>
                  <a:pt x="1781314" y="1365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CCE11CA-F91A-4781-A956-17637D6097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94" t="14667" r="18203" b="14667"/>
          <a:stretch/>
        </p:blipFill>
        <p:spPr>
          <a:xfrm>
            <a:off x="10588261" y="1987822"/>
            <a:ext cx="12666598" cy="908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90779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2" y="1"/>
            <a:ext cx="9472352" cy="1266613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9491445" y="7736150"/>
            <a:ext cx="14892554" cy="49299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6932949" y="0"/>
            <a:ext cx="7451050" cy="773614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7" name="Parallelogram 6"/>
          <p:cNvSpPr/>
          <p:nvPr userDrawn="1"/>
        </p:nvSpPr>
        <p:spPr>
          <a:xfrm>
            <a:off x="9481900" y="1"/>
            <a:ext cx="7451048" cy="7736150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9956801" y="1362429"/>
            <a:ext cx="5805714" cy="19559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607953"/>
      </p:ext>
    </p:extLst>
  </p:cSld>
  <p:clrMapOvr>
    <a:masterClrMapping/>
  </p:clrMapOvr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108364" y="3941859"/>
            <a:ext cx="22167272" cy="8583910"/>
          </a:xfrm>
          <a:custGeom>
            <a:avLst/>
            <a:gdLst>
              <a:gd name="connsiteX0" fmla="*/ 0 w 11083636"/>
              <a:gd name="connsiteY0" fmla="*/ 0 h 4291955"/>
              <a:gd name="connsiteX1" fmla="*/ 6855366 w 11083636"/>
              <a:gd name="connsiteY1" fmla="*/ 0 h 4291955"/>
              <a:gd name="connsiteX2" fmla="*/ 6976248 w 11083636"/>
              <a:gd name="connsiteY2" fmla="*/ 32492 h 4291955"/>
              <a:gd name="connsiteX3" fmla="*/ 7647707 w 11083636"/>
              <a:gd name="connsiteY3" fmla="*/ 368215 h 4291955"/>
              <a:gd name="connsiteX4" fmla="*/ 8407733 w 11083636"/>
              <a:gd name="connsiteY4" fmla="*/ 85382 h 4291955"/>
              <a:gd name="connsiteX5" fmla="*/ 9212230 w 11083636"/>
              <a:gd name="connsiteY5" fmla="*/ 427412 h 4291955"/>
              <a:gd name="connsiteX6" fmla="*/ 9964654 w 11083636"/>
              <a:gd name="connsiteY6" fmla="*/ 293210 h 4291955"/>
              <a:gd name="connsiteX7" fmla="*/ 9993835 w 11083636"/>
              <a:gd name="connsiteY7" fmla="*/ 294397 h 4291955"/>
              <a:gd name="connsiteX8" fmla="*/ 10023016 w 11083636"/>
              <a:gd name="connsiteY8" fmla="*/ 293210 h 4291955"/>
              <a:gd name="connsiteX9" fmla="*/ 10775440 w 11083636"/>
              <a:gd name="connsiteY9" fmla="*/ 427412 h 4291955"/>
              <a:gd name="connsiteX10" fmla="*/ 10986642 w 11083636"/>
              <a:gd name="connsiteY10" fmla="*/ 348109 h 4291955"/>
              <a:gd name="connsiteX11" fmla="*/ 11083636 w 11083636"/>
              <a:gd name="connsiteY11" fmla="*/ 296017 h 4291955"/>
              <a:gd name="connsiteX12" fmla="*/ 11083636 w 11083636"/>
              <a:gd name="connsiteY12" fmla="*/ 4291955 h 4291955"/>
              <a:gd name="connsiteX13" fmla="*/ 0 w 11083636"/>
              <a:gd name="connsiteY13" fmla="*/ 4291955 h 429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83636" h="4291955">
                <a:moveTo>
                  <a:pt x="0" y="0"/>
                </a:moveTo>
                <a:lnTo>
                  <a:pt x="6855366" y="0"/>
                </a:lnTo>
                <a:lnTo>
                  <a:pt x="6976248" y="32492"/>
                </a:lnTo>
                <a:cubicBezTo>
                  <a:pt x="7297465" y="147174"/>
                  <a:pt x="7289944" y="350031"/>
                  <a:pt x="7647707" y="368215"/>
                </a:cubicBezTo>
                <a:cubicBezTo>
                  <a:pt x="8056579" y="388998"/>
                  <a:pt x="8146980" y="75515"/>
                  <a:pt x="8407733" y="85382"/>
                </a:cubicBezTo>
                <a:cubicBezTo>
                  <a:pt x="8668487" y="95248"/>
                  <a:pt x="8922646" y="362822"/>
                  <a:pt x="9212230" y="427412"/>
                </a:cubicBezTo>
                <a:cubicBezTo>
                  <a:pt x="9447516" y="479893"/>
                  <a:pt x="9762139" y="299528"/>
                  <a:pt x="9964654" y="293210"/>
                </a:cubicBezTo>
                <a:lnTo>
                  <a:pt x="9993835" y="294397"/>
                </a:lnTo>
                <a:lnTo>
                  <a:pt x="10023016" y="293210"/>
                </a:lnTo>
                <a:cubicBezTo>
                  <a:pt x="10225531" y="299528"/>
                  <a:pt x="10540154" y="479893"/>
                  <a:pt x="10775440" y="427412"/>
                </a:cubicBezTo>
                <a:cubicBezTo>
                  <a:pt x="10847836" y="411265"/>
                  <a:pt x="10918018" y="382431"/>
                  <a:pt x="10986642" y="348109"/>
                </a:cubicBezTo>
                <a:lnTo>
                  <a:pt x="11083636" y="296017"/>
                </a:lnTo>
                <a:lnTo>
                  <a:pt x="11083636" y="4291955"/>
                </a:lnTo>
                <a:lnTo>
                  <a:pt x="0" y="429195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4634458"/>
      </p:ext>
    </p:extLst>
  </p:cSld>
  <p:clrMapOvr>
    <a:masterClrMapping/>
  </p:clrMapOvr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24384000" cy="9169400"/>
          </a:xfrm>
          <a:prstGeom prst="rect">
            <a:avLst/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2">
                  <a:alpha val="9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-19052"/>
            <a:ext cx="8325580" cy="1708708"/>
            <a:chOff x="0" y="-9526"/>
            <a:chExt cx="4162790" cy="854354"/>
          </a:xfrm>
        </p:grpSpPr>
        <p:sp>
          <p:nvSpPr>
            <p:cNvPr id="9" name="Freeform 8"/>
            <p:cNvSpPr/>
            <p:nvPr/>
          </p:nvSpPr>
          <p:spPr>
            <a:xfrm>
              <a:off x="1" y="-9526"/>
              <a:ext cx="4086315" cy="854354"/>
            </a:xfrm>
            <a:custGeom>
              <a:avLst/>
              <a:gdLst>
                <a:gd name="connsiteX0" fmla="*/ 0 w 4086315"/>
                <a:gd name="connsiteY0" fmla="*/ 0 h 854354"/>
                <a:gd name="connsiteX1" fmla="*/ 4086315 w 4086315"/>
                <a:gd name="connsiteY1" fmla="*/ 0 h 854354"/>
                <a:gd name="connsiteX2" fmla="*/ 3700053 w 4086315"/>
                <a:gd name="connsiteY2" fmla="*/ 236387 h 854354"/>
                <a:gd name="connsiteX3" fmla="*/ 3071976 w 4086315"/>
                <a:gd name="connsiteY3" fmla="*/ 837056 h 854354"/>
                <a:gd name="connsiteX4" fmla="*/ 2354350 w 4086315"/>
                <a:gd name="connsiteY4" fmla="*/ 594269 h 854354"/>
                <a:gd name="connsiteX5" fmla="*/ 2326519 w 4086315"/>
                <a:gd name="connsiteY5" fmla="*/ 596417 h 854354"/>
                <a:gd name="connsiteX6" fmla="*/ 2298688 w 4086315"/>
                <a:gd name="connsiteY6" fmla="*/ 594269 h 854354"/>
                <a:gd name="connsiteX7" fmla="*/ 1581063 w 4086315"/>
                <a:gd name="connsiteY7" fmla="*/ 837056 h 854354"/>
                <a:gd name="connsiteX8" fmla="*/ 813774 w 4086315"/>
                <a:gd name="connsiteY8" fmla="*/ 218287 h 854354"/>
                <a:gd name="connsiteX9" fmla="*/ 88899 w 4086315"/>
                <a:gd name="connsiteY9" fmla="*/ 729962 h 854354"/>
                <a:gd name="connsiteX10" fmla="*/ 36789 w 4086315"/>
                <a:gd name="connsiteY10" fmla="*/ 746586 h 854354"/>
                <a:gd name="connsiteX11" fmla="*/ 0 w 4086315"/>
                <a:gd name="connsiteY11" fmla="*/ 751118 h 8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6315" h="854354">
                  <a:moveTo>
                    <a:pt x="0" y="0"/>
                  </a:moveTo>
                  <a:lnTo>
                    <a:pt x="4086315" y="0"/>
                  </a:lnTo>
                  <a:lnTo>
                    <a:pt x="3700053" y="236387"/>
                  </a:lnTo>
                  <a:cubicBezTo>
                    <a:pt x="3634603" y="298480"/>
                    <a:pt x="3296259" y="777409"/>
                    <a:pt x="3071976" y="837056"/>
                  </a:cubicBezTo>
                  <a:cubicBezTo>
                    <a:pt x="2847692" y="896703"/>
                    <a:pt x="2547499" y="605700"/>
                    <a:pt x="2354350" y="594269"/>
                  </a:cubicBezTo>
                  <a:lnTo>
                    <a:pt x="2326519" y="596417"/>
                  </a:lnTo>
                  <a:lnTo>
                    <a:pt x="2298688" y="594269"/>
                  </a:lnTo>
                  <a:cubicBezTo>
                    <a:pt x="2105539" y="605700"/>
                    <a:pt x="1805467" y="931998"/>
                    <a:pt x="1581063" y="837056"/>
                  </a:cubicBezTo>
                  <a:cubicBezTo>
                    <a:pt x="1304873" y="720205"/>
                    <a:pt x="1062468" y="236136"/>
                    <a:pt x="813774" y="218287"/>
                  </a:cubicBezTo>
                  <a:cubicBezTo>
                    <a:pt x="565080" y="200438"/>
                    <a:pt x="352509" y="613111"/>
                    <a:pt x="88899" y="729962"/>
                  </a:cubicBezTo>
                  <a:cubicBezTo>
                    <a:pt x="72423" y="737266"/>
                    <a:pt x="55004" y="742727"/>
                    <a:pt x="36789" y="746586"/>
                  </a:cubicBezTo>
                  <a:lnTo>
                    <a:pt x="0" y="751118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0" name="Freeform 9"/>
            <p:cNvSpPr/>
            <p:nvPr/>
          </p:nvSpPr>
          <p:spPr>
            <a:xfrm flipH="1">
              <a:off x="0" y="-9525"/>
              <a:ext cx="4162790" cy="688727"/>
            </a:xfrm>
            <a:custGeom>
              <a:avLst/>
              <a:gdLst>
                <a:gd name="connsiteX0" fmla="*/ 4162790 w 4162790"/>
                <a:gd name="connsiteY0" fmla="*/ 0 h 688727"/>
                <a:gd name="connsiteX1" fmla="*/ 0 w 4162790"/>
                <a:gd name="connsiteY1" fmla="*/ 0 h 688727"/>
                <a:gd name="connsiteX2" fmla="*/ 93505 w 4162790"/>
                <a:gd name="connsiteY2" fmla="*/ 40291 h 688727"/>
                <a:gd name="connsiteX3" fmla="*/ 764963 w 4162790"/>
                <a:gd name="connsiteY3" fmla="*/ 578498 h 688727"/>
                <a:gd name="connsiteX4" fmla="*/ 1524989 w 4162790"/>
                <a:gd name="connsiteY4" fmla="*/ 125080 h 688727"/>
                <a:gd name="connsiteX5" fmla="*/ 2329486 w 4162790"/>
                <a:gd name="connsiteY5" fmla="*/ 673399 h 688727"/>
                <a:gd name="connsiteX6" fmla="*/ 3081911 w 4162790"/>
                <a:gd name="connsiteY6" fmla="*/ 458255 h 688727"/>
                <a:gd name="connsiteX7" fmla="*/ 3111091 w 4162790"/>
                <a:gd name="connsiteY7" fmla="*/ 460157 h 688727"/>
                <a:gd name="connsiteX8" fmla="*/ 3140272 w 4162790"/>
                <a:gd name="connsiteY8" fmla="*/ 458255 h 688727"/>
                <a:gd name="connsiteX9" fmla="*/ 3892696 w 4162790"/>
                <a:gd name="connsiteY9" fmla="*/ 673399 h 688727"/>
                <a:gd name="connsiteX10" fmla="*/ 4103899 w 4162790"/>
                <a:gd name="connsiteY10" fmla="*/ 546264 h 688727"/>
                <a:gd name="connsiteX11" fmla="*/ 4162790 w 4162790"/>
                <a:gd name="connsiteY11" fmla="*/ 495560 h 68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2790" h="688727">
                  <a:moveTo>
                    <a:pt x="4162790" y="0"/>
                  </a:moveTo>
                  <a:lnTo>
                    <a:pt x="0" y="0"/>
                  </a:lnTo>
                  <a:lnTo>
                    <a:pt x="93505" y="40291"/>
                  </a:lnTo>
                  <a:cubicBezTo>
                    <a:pt x="414722" y="224142"/>
                    <a:pt x="407200" y="549345"/>
                    <a:pt x="764963" y="578498"/>
                  </a:cubicBezTo>
                  <a:cubicBezTo>
                    <a:pt x="1173835" y="611816"/>
                    <a:pt x="1264236" y="109263"/>
                    <a:pt x="1524989" y="125080"/>
                  </a:cubicBezTo>
                  <a:cubicBezTo>
                    <a:pt x="1785743" y="140897"/>
                    <a:pt x="2039902" y="569851"/>
                    <a:pt x="2329486" y="673399"/>
                  </a:cubicBezTo>
                  <a:cubicBezTo>
                    <a:pt x="2564772" y="757531"/>
                    <a:pt x="2879395" y="468384"/>
                    <a:pt x="3081911" y="458255"/>
                  </a:cubicBezTo>
                  <a:lnTo>
                    <a:pt x="3111091" y="460157"/>
                  </a:lnTo>
                  <a:lnTo>
                    <a:pt x="3140272" y="458255"/>
                  </a:lnTo>
                  <a:cubicBezTo>
                    <a:pt x="3342787" y="468384"/>
                    <a:pt x="3657409" y="757531"/>
                    <a:pt x="3892696" y="673399"/>
                  </a:cubicBezTo>
                  <a:cubicBezTo>
                    <a:pt x="3965092" y="647512"/>
                    <a:pt x="4035274" y="601287"/>
                    <a:pt x="4103899" y="546264"/>
                  </a:cubicBezTo>
                  <a:lnTo>
                    <a:pt x="4162790" y="49556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1" name="Freeform 10"/>
            <p:cNvSpPr/>
            <p:nvPr userDrawn="1"/>
          </p:nvSpPr>
          <p:spPr>
            <a:xfrm flipH="1">
              <a:off x="0" y="-9525"/>
              <a:ext cx="4148598" cy="562293"/>
            </a:xfrm>
            <a:custGeom>
              <a:avLst/>
              <a:gdLst>
                <a:gd name="connsiteX0" fmla="*/ 4148598 w 4148598"/>
                <a:gd name="connsiteY0" fmla="*/ 0 h 562293"/>
                <a:gd name="connsiteX1" fmla="*/ 0 w 4148598"/>
                <a:gd name="connsiteY1" fmla="*/ 0 h 562293"/>
                <a:gd name="connsiteX2" fmla="*/ 79313 w 4148598"/>
                <a:gd name="connsiteY2" fmla="*/ 28152 h 562293"/>
                <a:gd name="connsiteX3" fmla="*/ 750771 w 4148598"/>
                <a:gd name="connsiteY3" fmla="*/ 471494 h 562293"/>
                <a:gd name="connsiteX4" fmla="*/ 1510797 w 4148598"/>
                <a:gd name="connsiteY4" fmla="*/ 97996 h 562293"/>
                <a:gd name="connsiteX5" fmla="*/ 2315294 w 4148598"/>
                <a:gd name="connsiteY5" fmla="*/ 549667 h 562293"/>
                <a:gd name="connsiteX6" fmla="*/ 3067719 w 4148598"/>
                <a:gd name="connsiteY6" fmla="*/ 372445 h 562293"/>
                <a:gd name="connsiteX7" fmla="*/ 3096899 w 4148598"/>
                <a:gd name="connsiteY7" fmla="*/ 374012 h 562293"/>
                <a:gd name="connsiteX8" fmla="*/ 3126080 w 4148598"/>
                <a:gd name="connsiteY8" fmla="*/ 372445 h 562293"/>
                <a:gd name="connsiteX9" fmla="*/ 3878504 w 4148598"/>
                <a:gd name="connsiteY9" fmla="*/ 549667 h 562293"/>
                <a:gd name="connsiteX10" fmla="*/ 4089707 w 4148598"/>
                <a:gd name="connsiteY10" fmla="*/ 444942 h 562293"/>
                <a:gd name="connsiteX11" fmla="*/ 4148598 w 4148598"/>
                <a:gd name="connsiteY11" fmla="*/ 403175 h 562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48598" h="562293">
                  <a:moveTo>
                    <a:pt x="4148598" y="0"/>
                  </a:moveTo>
                  <a:lnTo>
                    <a:pt x="0" y="0"/>
                  </a:lnTo>
                  <a:lnTo>
                    <a:pt x="79313" y="28152"/>
                  </a:lnTo>
                  <a:cubicBezTo>
                    <a:pt x="400530" y="179597"/>
                    <a:pt x="393008" y="447480"/>
                    <a:pt x="750771" y="471494"/>
                  </a:cubicBezTo>
                  <a:cubicBezTo>
                    <a:pt x="1159643" y="498939"/>
                    <a:pt x="1250044" y="84967"/>
                    <a:pt x="1510797" y="97996"/>
                  </a:cubicBezTo>
                  <a:cubicBezTo>
                    <a:pt x="1771551" y="111025"/>
                    <a:pt x="2025710" y="464371"/>
                    <a:pt x="2315294" y="549667"/>
                  </a:cubicBezTo>
                  <a:cubicBezTo>
                    <a:pt x="2550580" y="618970"/>
                    <a:pt x="2865203" y="380789"/>
                    <a:pt x="3067719" y="372445"/>
                  </a:cubicBezTo>
                  <a:lnTo>
                    <a:pt x="3096899" y="374012"/>
                  </a:lnTo>
                  <a:lnTo>
                    <a:pt x="3126080" y="372445"/>
                  </a:lnTo>
                  <a:cubicBezTo>
                    <a:pt x="3328595" y="380789"/>
                    <a:pt x="3643217" y="618970"/>
                    <a:pt x="3878504" y="549667"/>
                  </a:cubicBezTo>
                  <a:cubicBezTo>
                    <a:pt x="3950900" y="528344"/>
                    <a:pt x="4021082" y="490267"/>
                    <a:pt x="4089707" y="444942"/>
                  </a:cubicBezTo>
                  <a:lnTo>
                    <a:pt x="4148598" y="403175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2" name="Freeform 11"/>
            <p:cNvSpPr/>
            <p:nvPr/>
          </p:nvSpPr>
          <p:spPr>
            <a:xfrm flipV="1">
              <a:off x="0" y="-9526"/>
              <a:ext cx="4045638" cy="463307"/>
            </a:xfrm>
            <a:custGeom>
              <a:avLst/>
              <a:gdLst>
                <a:gd name="connsiteX0" fmla="*/ 0 w 4045638"/>
                <a:gd name="connsiteY0" fmla="*/ 463307 h 463307"/>
                <a:gd name="connsiteX1" fmla="*/ 4045638 w 4045638"/>
                <a:gd name="connsiteY1" fmla="*/ 463307 h 463307"/>
                <a:gd name="connsiteX2" fmla="*/ 3929456 w 4045638"/>
                <a:gd name="connsiteY2" fmla="*/ 432895 h 463307"/>
                <a:gd name="connsiteX3" fmla="*/ 3530987 w 4045638"/>
                <a:gd name="connsiteY3" fmla="*/ 234506 h 463307"/>
                <a:gd name="connsiteX4" fmla="*/ 2523093 w 4045638"/>
                <a:gd name="connsiteY4" fmla="*/ 280673 h 463307"/>
                <a:gd name="connsiteX5" fmla="*/ 1724297 w 4045638"/>
                <a:gd name="connsiteY5" fmla="*/ 308 h 463307"/>
                <a:gd name="connsiteX6" fmla="*/ 878763 w 4045638"/>
                <a:gd name="connsiteY6" fmla="*/ 339353 h 463307"/>
                <a:gd name="connsiteX7" fmla="*/ 41022 w 4045638"/>
                <a:gd name="connsiteY7" fmla="*/ 208123 h 463307"/>
                <a:gd name="connsiteX8" fmla="*/ 0 w 4045638"/>
                <a:gd name="connsiteY8" fmla="*/ 216898 h 463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5638" h="463307">
                  <a:moveTo>
                    <a:pt x="0" y="463307"/>
                  </a:moveTo>
                  <a:lnTo>
                    <a:pt x="4045638" y="463307"/>
                  </a:lnTo>
                  <a:lnTo>
                    <a:pt x="3929456" y="432895"/>
                  </a:lnTo>
                  <a:cubicBezTo>
                    <a:pt x="3728123" y="370337"/>
                    <a:pt x="3698064" y="298850"/>
                    <a:pt x="3530987" y="234506"/>
                  </a:cubicBezTo>
                  <a:cubicBezTo>
                    <a:pt x="3370086" y="150375"/>
                    <a:pt x="2813585" y="344700"/>
                    <a:pt x="2523093" y="280673"/>
                  </a:cubicBezTo>
                  <a:cubicBezTo>
                    <a:pt x="2232600" y="216646"/>
                    <a:pt x="1998352" y="-9472"/>
                    <a:pt x="1724297" y="308"/>
                  </a:cubicBezTo>
                  <a:cubicBezTo>
                    <a:pt x="1450242" y="10088"/>
                    <a:pt x="1183118" y="275326"/>
                    <a:pt x="878763" y="339353"/>
                  </a:cubicBezTo>
                  <a:cubicBezTo>
                    <a:pt x="612453" y="395377"/>
                    <a:pt x="249437" y="183713"/>
                    <a:pt x="41022" y="208123"/>
                  </a:cubicBezTo>
                  <a:lnTo>
                    <a:pt x="0" y="216898"/>
                  </a:ln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916940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03627"/>
      </p:ext>
    </p:extLst>
  </p:cSld>
  <p:clrMapOvr>
    <a:masterClrMapping/>
  </p:clrMapOvr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9472837" y="2148711"/>
            <a:ext cx="14152990" cy="9296038"/>
            <a:chOff x="1017405" y="2693983"/>
            <a:chExt cx="6794663" cy="4462905"/>
          </a:xfrm>
        </p:grpSpPr>
        <p:grpSp>
          <p:nvGrpSpPr>
            <p:cNvPr id="8" name="Group 7"/>
            <p:cNvGrpSpPr/>
            <p:nvPr/>
          </p:nvGrpSpPr>
          <p:grpSpPr>
            <a:xfrm>
              <a:off x="1017405" y="2693983"/>
              <a:ext cx="6794663" cy="4462905"/>
              <a:chOff x="1017405" y="2693983"/>
              <a:chExt cx="6794663" cy="4462905"/>
            </a:xfrm>
          </p:grpSpPr>
          <p:sp>
            <p:nvSpPr>
              <p:cNvPr id="10" name="AutoShape 1"/>
              <p:cNvSpPr>
                <a:spLocks/>
              </p:cNvSpPr>
              <p:nvPr/>
            </p:nvSpPr>
            <p:spPr bwMode="auto">
              <a:xfrm>
                <a:off x="1017405" y="2693983"/>
                <a:ext cx="6794663" cy="4462905"/>
              </a:xfrm>
              <a:prstGeom prst="roundRect">
                <a:avLst>
                  <a:gd name="adj" fmla="val 1292"/>
                </a:avLst>
              </a:prstGeom>
              <a:solidFill>
                <a:schemeClr val="bg1">
                  <a:lumMod val="95000"/>
                </a:schemeClr>
              </a:solidFill>
              <a:ln w="25400" cap="flat">
                <a:noFill/>
                <a:prstDash val="solid"/>
                <a:miter lim="800000"/>
                <a:headEnd type="none" w="med" len="med"/>
                <a:tailEnd type="none" w="med" len="med"/>
              </a:ln>
              <a:effectLst>
                <a:outerShdw blurRad="254000" dist="114299" dir="5340024" algn="ctr" rotWithShape="0">
                  <a:schemeClr val="tx1">
                    <a:lumMod val="95000"/>
                    <a:lumOff val="5000"/>
                    <a:alpha val="39000"/>
                  </a:schemeClr>
                </a:outerShdw>
              </a:effectLst>
            </p:spPr>
            <p:txBody>
              <a:bodyPr lIns="0" tIns="0" rIns="0" bIns="0"/>
              <a:lstStyle/>
              <a:p>
                <a:endParaRPr lang="id-ID" sz="3596"/>
              </a:p>
            </p:txBody>
          </p:sp>
          <p:sp>
            <p:nvSpPr>
              <p:cNvPr id="11" name="Rectangle 2"/>
              <p:cNvSpPr>
                <a:spLocks/>
              </p:cNvSpPr>
              <p:nvPr/>
            </p:nvSpPr>
            <p:spPr bwMode="auto">
              <a:xfrm>
                <a:off x="1017405" y="3024940"/>
                <a:ext cx="6794663" cy="315914"/>
              </a:xfrm>
              <a:prstGeom prst="rect">
                <a:avLst/>
              </a:prstGeom>
              <a:solidFill>
                <a:srgbClr val="CDCDCD"/>
              </a:solidFill>
              <a:ln w="25400" cap="flat">
                <a:solidFill>
                  <a:srgbClr val="CDCDCD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id-ID" sz="3596"/>
              </a:p>
            </p:txBody>
          </p:sp>
          <p:sp>
            <p:nvSpPr>
              <p:cNvPr id="12" name="AutoShape 3"/>
              <p:cNvSpPr>
                <a:spLocks/>
              </p:cNvSpPr>
              <p:nvPr/>
            </p:nvSpPr>
            <p:spPr bwMode="auto">
              <a:xfrm>
                <a:off x="2035351" y="2779230"/>
                <a:ext cx="2717865" cy="561624"/>
              </a:xfrm>
              <a:prstGeom prst="roundRect">
                <a:avLst>
                  <a:gd name="adj" fmla="val 11986"/>
                </a:avLst>
              </a:prstGeom>
              <a:solidFill>
                <a:srgbClr val="CDCDCD"/>
              </a:solidFill>
              <a:ln w="25400" cap="flat">
                <a:solidFill>
                  <a:srgbClr val="CDCDCD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id-ID" sz="3596"/>
              </a:p>
            </p:txBody>
          </p:sp>
          <p:sp>
            <p:nvSpPr>
              <p:cNvPr id="13" name="Oval 4"/>
              <p:cNvSpPr>
                <a:spLocks/>
              </p:cNvSpPr>
              <p:nvPr/>
            </p:nvSpPr>
            <p:spPr bwMode="auto">
              <a:xfrm>
                <a:off x="1137753" y="2814331"/>
                <a:ext cx="95903" cy="95276"/>
              </a:xfrm>
              <a:prstGeom prst="ellipse">
                <a:avLst/>
              </a:prstGeom>
              <a:solidFill>
                <a:schemeClr val="accent2"/>
              </a:solidFill>
              <a:ln w="25400" cap="flat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id-ID" sz="3596"/>
              </a:p>
            </p:txBody>
          </p:sp>
          <p:sp>
            <p:nvSpPr>
              <p:cNvPr id="14" name="Oval 5"/>
              <p:cNvSpPr>
                <a:spLocks/>
              </p:cNvSpPr>
              <p:nvPr/>
            </p:nvSpPr>
            <p:spPr bwMode="auto">
              <a:xfrm>
                <a:off x="1307620" y="2814331"/>
                <a:ext cx="95903" cy="95276"/>
              </a:xfrm>
              <a:prstGeom prst="ellipse">
                <a:avLst/>
              </a:prstGeom>
              <a:solidFill>
                <a:schemeClr val="accent3"/>
              </a:solidFill>
              <a:ln w="25400" cap="flat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id-ID" sz="3596"/>
              </a:p>
            </p:txBody>
          </p:sp>
          <p:sp>
            <p:nvSpPr>
              <p:cNvPr id="15" name="Oval 6"/>
              <p:cNvSpPr>
                <a:spLocks/>
              </p:cNvSpPr>
              <p:nvPr/>
            </p:nvSpPr>
            <p:spPr bwMode="auto">
              <a:xfrm>
                <a:off x="1477486" y="2814331"/>
                <a:ext cx="95903" cy="95276"/>
              </a:xfrm>
              <a:prstGeom prst="ellipse">
                <a:avLst/>
              </a:prstGeom>
              <a:solidFill>
                <a:schemeClr val="accent4"/>
              </a:solidFill>
              <a:ln w="25400" cap="flat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id-ID" sz="3596"/>
              </a:p>
            </p:txBody>
          </p:sp>
          <p:sp>
            <p:nvSpPr>
              <p:cNvPr id="16" name="Rectangle 11"/>
              <p:cNvSpPr>
                <a:spLocks/>
              </p:cNvSpPr>
              <p:nvPr/>
            </p:nvSpPr>
            <p:spPr bwMode="auto">
              <a:xfrm>
                <a:off x="2205844" y="3085114"/>
                <a:ext cx="5104773" cy="200580"/>
              </a:xfrm>
              <a:prstGeom prst="rect">
                <a:avLst/>
              </a:prstGeom>
              <a:solidFill>
                <a:srgbClr val="FFFFFF"/>
              </a:solidFill>
              <a:ln w="25400" cap="flat">
                <a:solidFill>
                  <a:srgbClr val="B3B3B3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id-ID" sz="3596" dirty="0"/>
              </a:p>
            </p:txBody>
          </p:sp>
          <p:sp>
            <p:nvSpPr>
              <p:cNvPr id="17" name="Freeform 9"/>
              <p:cNvSpPr>
                <a:spLocks/>
              </p:cNvSpPr>
              <p:nvPr/>
            </p:nvSpPr>
            <p:spPr bwMode="auto">
              <a:xfrm rot="18900000">
                <a:off x="4580706" y="2849676"/>
                <a:ext cx="99497" cy="99497"/>
              </a:xfrm>
              <a:custGeom>
                <a:avLst/>
                <a:gdLst>
                  <a:gd name="T0" fmla="*/ 42 w 64"/>
                  <a:gd name="T1" fmla="*/ 0 h 64"/>
                  <a:gd name="T2" fmla="*/ 21 w 64"/>
                  <a:gd name="T3" fmla="*/ 0 h 64"/>
                  <a:gd name="T4" fmla="*/ 21 w 64"/>
                  <a:gd name="T5" fmla="*/ 21 h 64"/>
                  <a:gd name="T6" fmla="*/ 0 w 64"/>
                  <a:gd name="T7" fmla="*/ 21 h 64"/>
                  <a:gd name="T8" fmla="*/ 0 w 64"/>
                  <a:gd name="T9" fmla="*/ 42 h 64"/>
                  <a:gd name="T10" fmla="*/ 21 w 64"/>
                  <a:gd name="T11" fmla="*/ 42 h 64"/>
                  <a:gd name="T12" fmla="*/ 21 w 64"/>
                  <a:gd name="T13" fmla="*/ 64 h 64"/>
                  <a:gd name="T14" fmla="*/ 42 w 64"/>
                  <a:gd name="T15" fmla="*/ 64 h 64"/>
                  <a:gd name="T16" fmla="*/ 42 w 64"/>
                  <a:gd name="T17" fmla="*/ 42 h 64"/>
                  <a:gd name="T18" fmla="*/ 64 w 64"/>
                  <a:gd name="T19" fmla="*/ 42 h 64"/>
                  <a:gd name="T20" fmla="*/ 64 w 64"/>
                  <a:gd name="T21" fmla="*/ 21 h 64"/>
                  <a:gd name="T22" fmla="*/ 42 w 64"/>
                  <a:gd name="T23" fmla="*/ 21 h 64"/>
                  <a:gd name="T24" fmla="*/ 42 w 64"/>
                  <a:gd name="T2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4">
                    <a:moveTo>
                      <a:pt x="42" y="0"/>
                    </a:moveTo>
                    <a:lnTo>
                      <a:pt x="21" y="0"/>
                    </a:lnTo>
                    <a:lnTo>
                      <a:pt x="21" y="21"/>
                    </a:lnTo>
                    <a:lnTo>
                      <a:pt x="0" y="21"/>
                    </a:lnTo>
                    <a:lnTo>
                      <a:pt x="0" y="42"/>
                    </a:lnTo>
                    <a:lnTo>
                      <a:pt x="21" y="42"/>
                    </a:lnTo>
                    <a:lnTo>
                      <a:pt x="21" y="64"/>
                    </a:lnTo>
                    <a:lnTo>
                      <a:pt x="42" y="64"/>
                    </a:lnTo>
                    <a:lnTo>
                      <a:pt x="42" y="42"/>
                    </a:lnTo>
                    <a:lnTo>
                      <a:pt x="64" y="42"/>
                    </a:lnTo>
                    <a:lnTo>
                      <a:pt x="64" y="21"/>
                    </a:lnTo>
                    <a:lnTo>
                      <a:pt x="42" y="21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299" tIns="45649" rIns="91299" bIns="45649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3596"/>
              </a:p>
            </p:txBody>
          </p:sp>
          <p:grpSp>
            <p:nvGrpSpPr>
              <p:cNvPr id="18" name="Group 17"/>
              <p:cNvGrpSpPr/>
              <p:nvPr/>
            </p:nvGrpSpPr>
            <p:grpSpPr>
              <a:xfrm>
                <a:off x="7494380" y="2779230"/>
                <a:ext cx="155357" cy="155272"/>
                <a:chOff x="4763" y="0"/>
                <a:chExt cx="2900362" cy="2898775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21" name="Freeform 13"/>
                <p:cNvSpPr>
                  <a:spLocks/>
                </p:cNvSpPr>
                <p:nvPr/>
              </p:nvSpPr>
              <p:spPr bwMode="auto">
                <a:xfrm>
                  <a:off x="4763" y="0"/>
                  <a:ext cx="727075" cy="722313"/>
                </a:xfrm>
                <a:custGeom>
                  <a:avLst/>
                  <a:gdLst>
                    <a:gd name="T0" fmla="*/ 168 w 193"/>
                    <a:gd name="T1" fmla="*/ 0 h 192"/>
                    <a:gd name="T2" fmla="*/ 24 w 193"/>
                    <a:gd name="T3" fmla="*/ 0 h 192"/>
                    <a:gd name="T4" fmla="*/ 0 w 193"/>
                    <a:gd name="T5" fmla="*/ 24 h 192"/>
                    <a:gd name="T6" fmla="*/ 0 w 193"/>
                    <a:gd name="T7" fmla="*/ 168 h 192"/>
                    <a:gd name="T8" fmla="*/ 24 w 193"/>
                    <a:gd name="T9" fmla="*/ 192 h 192"/>
                    <a:gd name="T10" fmla="*/ 168 w 193"/>
                    <a:gd name="T11" fmla="*/ 192 h 192"/>
                    <a:gd name="T12" fmla="*/ 193 w 193"/>
                    <a:gd name="T13" fmla="*/ 168 h 192"/>
                    <a:gd name="T14" fmla="*/ 193 w 193"/>
                    <a:gd name="T15" fmla="*/ 24 h 192"/>
                    <a:gd name="T16" fmla="*/ 168 w 193"/>
                    <a:gd name="T1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3" h="192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82"/>
                        <a:pt x="11" y="192"/>
                        <a:pt x="24" y="192"/>
                      </a:cubicBezTo>
                      <a:cubicBezTo>
                        <a:pt x="168" y="192"/>
                        <a:pt x="168" y="192"/>
                        <a:pt x="168" y="192"/>
                      </a:cubicBezTo>
                      <a:cubicBezTo>
                        <a:pt x="182" y="192"/>
                        <a:pt x="193" y="182"/>
                        <a:pt x="193" y="168"/>
                      </a:cubicBezTo>
                      <a:cubicBezTo>
                        <a:pt x="193" y="24"/>
                        <a:pt x="193" y="24"/>
                        <a:pt x="193" y="24"/>
                      </a:cubicBezTo>
                      <a:cubicBezTo>
                        <a:pt x="193" y="11"/>
                        <a:pt x="182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2" name="Freeform 14"/>
                <p:cNvSpPr>
                  <a:spLocks/>
                </p:cNvSpPr>
                <p:nvPr/>
              </p:nvSpPr>
              <p:spPr bwMode="auto">
                <a:xfrm>
                  <a:off x="4763" y="1087438"/>
                  <a:ext cx="727075" cy="722313"/>
                </a:xfrm>
                <a:custGeom>
                  <a:avLst/>
                  <a:gdLst>
                    <a:gd name="T0" fmla="*/ 168 w 193"/>
                    <a:gd name="T1" fmla="*/ 0 h 192"/>
                    <a:gd name="T2" fmla="*/ 24 w 193"/>
                    <a:gd name="T3" fmla="*/ 0 h 192"/>
                    <a:gd name="T4" fmla="*/ 0 w 193"/>
                    <a:gd name="T5" fmla="*/ 24 h 192"/>
                    <a:gd name="T6" fmla="*/ 0 w 193"/>
                    <a:gd name="T7" fmla="*/ 168 h 192"/>
                    <a:gd name="T8" fmla="*/ 24 w 193"/>
                    <a:gd name="T9" fmla="*/ 192 h 192"/>
                    <a:gd name="T10" fmla="*/ 168 w 193"/>
                    <a:gd name="T11" fmla="*/ 192 h 192"/>
                    <a:gd name="T12" fmla="*/ 193 w 193"/>
                    <a:gd name="T13" fmla="*/ 168 h 192"/>
                    <a:gd name="T14" fmla="*/ 193 w 193"/>
                    <a:gd name="T15" fmla="*/ 24 h 192"/>
                    <a:gd name="T16" fmla="*/ 168 w 193"/>
                    <a:gd name="T1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3" h="192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81"/>
                        <a:pt x="11" y="192"/>
                        <a:pt x="24" y="192"/>
                      </a:cubicBezTo>
                      <a:cubicBezTo>
                        <a:pt x="168" y="192"/>
                        <a:pt x="168" y="192"/>
                        <a:pt x="168" y="192"/>
                      </a:cubicBezTo>
                      <a:cubicBezTo>
                        <a:pt x="182" y="192"/>
                        <a:pt x="193" y="181"/>
                        <a:pt x="193" y="168"/>
                      </a:cubicBezTo>
                      <a:cubicBezTo>
                        <a:pt x="193" y="24"/>
                        <a:pt x="193" y="24"/>
                        <a:pt x="193" y="24"/>
                      </a:cubicBezTo>
                      <a:cubicBezTo>
                        <a:pt x="193" y="11"/>
                        <a:pt x="182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3" name="Freeform 15"/>
                <p:cNvSpPr>
                  <a:spLocks/>
                </p:cNvSpPr>
                <p:nvPr/>
              </p:nvSpPr>
              <p:spPr bwMode="auto">
                <a:xfrm>
                  <a:off x="4763" y="2171700"/>
                  <a:ext cx="727075" cy="727075"/>
                </a:xfrm>
                <a:custGeom>
                  <a:avLst/>
                  <a:gdLst>
                    <a:gd name="T0" fmla="*/ 168 w 193"/>
                    <a:gd name="T1" fmla="*/ 0 h 193"/>
                    <a:gd name="T2" fmla="*/ 24 w 193"/>
                    <a:gd name="T3" fmla="*/ 0 h 193"/>
                    <a:gd name="T4" fmla="*/ 0 w 193"/>
                    <a:gd name="T5" fmla="*/ 25 h 193"/>
                    <a:gd name="T6" fmla="*/ 0 w 193"/>
                    <a:gd name="T7" fmla="*/ 169 h 193"/>
                    <a:gd name="T8" fmla="*/ 24 w 193"/>
                    <a:gd name="T9" fmla="*/ 193 h 193"/>
                    <a:gd name="T10" fmla="*/ 168 w 193"/>
                    <a:gd name="T11" fmla="*/ 193 h 193"/>
                    <a:gd name="T12" fmla="*/ 193 w 193"/>
                    <a:gd name="T13" fmla="*/ 169 h 193"/>
                    <a:gd name="T14" fmla="*/ 193 w 193"/>
                    <a:gd name="T15" fmla="*/ 25 h 193"/>
                    <a:gd name="T16" fmla="*/ 168 w 193"/>
                    <a:gd name="T17" fmla="*/ 0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3" h="193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5"/>
                      </a:cubicBezTo>
                      <a:cubicBezTo>
                        <a:pt x="0" y="169"/>
                        <a:pt x="0" y="169"/>
                        <a:pt x="0" y="169"/>
                      </a:cubicBezTo>
                      <a:cubicBezTo>
                        <a:pt x="0" y="182"/>
                        <a:pt x="11" y="193"/>
                        <a:pt x="24" y="193"/>
                      </a:cubicBezTo>
                      <a:cubicBezTo>
                        <a:pt x="168" y="193"/>
                        <a:pt x="168" y="193"/>
                        <a:pt x="168" y="193"/>
                      </a:cubicBezTo>
                      <a:cubicBezTo>
                        <a:pt x="182" y="193"/>
                        <a:pt x="193" y="182"/>
                        <a:pt x="193" y="169"/>
                      </a:cubicBezTo>
                      <a:cubicBezTo>
                        <a:pt x="193" y="25"/>
                        <a:pt x="193" y="25"/>
                        <a:pt x="193" y="25"/>
                      </a:cubicBezTo>
                      <a:cubicBezTo>
                        <a:pt x="193" y="11"/>
                        <a:pt x="182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4" name="Freeform 16"/>
                <p:cNvSpPr>
                  <a:spLocks/>
                </p:cNvSpPr>
                <p:nvPr/>
              </p:nvSpPr>
              <p:spPr bwMode="auto">
                <a:xfrm>
                  <a:off x="1093788" y="0"/>
                  <a:ext cx="722312" cy="722313"/>
                </a:xfrm>
                <a:custGeom>
                  <a:avLst/>
                  <a:gdLst>
                    <a:gd name="T0" fmla="*/ 168 w 192"/>
                    <a:gd name="T1" fmla="*/ 0 h 192"/>
                    <a:gd name="T2" fmla="*/ 24 w 192"/>
                    <a:gd name="T3" fmla="*/ 0 h 192"/>
                    <a:gd name="T4" fmla="*/ 0 w 192"/>
                    <a:gd name="T5" fmla="*/ 24 h 192"/>
                    <a:gd name="T6" fmla="*/ 0 w 192"/>
                    <a:gd name="T7" fmla="*/ 168 h 192"/>
                    <a:gd name="T8" fmla="*/ 24 w 192"/>
                    <a:gd name="T9" fmla="*/ 192 h 192"/>
                    <a:gd name="T10" fmla="*/ 168 w 192"/>
                    <a:gd name="T11" fmla="*/ 192 h 192"/>
                    <a:gd name="T12" fmla="*/ 192 w 192"/>
                    <a:gd name="T13" fmla="*/ 168 h 192"/>
                    <a:gd name="T14" fmla="*/ 192 w 192"/>
                    <a:gd name="T15" fmla="*/ 24 h 192"/>
                    <a:gd name="T16" fmla="*/ 168 w 192"/>
                    <a:gd name="T1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2" h="192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82"/>
                        <a:pt x="11" y="192"/>
                        <a:pt x="24" y="192"/>
                      </a:cubicBezTo>
                      <a:cubicBezTo>
                        <a:pt x="168" y="192"/>
                        <a:pt x="168" y="192"/>
                        <a:pt x="168" y="192"/>
                      </a:cubicBezTo>
                      <a:cubicBezTo>
                        <a:pt x="181" y="192"/>
                        <a:pt x="192" y="182"/>
                        <a:pt x="192" y="168"/>
                      </a:cubicBezTo>
                      <a:cubicBezTo>
                        <a:pt x="192" y="24"/>
                        <a:pt x="192" y="24"/>
                        <a:pt x="192" y="24"/>
                      </a:cubicBezTo>
                      <a:cubicBezTo>
                        <a:pt x="192" y="11"/>
                        <a:pt x="181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5" name="Freeform 17"/>
                <p:cNvSpPr>
                  <a:spLocks/>
                </p:cNvSpPr>
                <p:nvPr/>
              </p:nvSpPr>
              <p:spPr bwMode="auto">
                <a:xfrm>
                  <a:off x="1093788" y="1087438"/>
                  <a:ext cx="722312" cy="722313"/>
                </a:xfrm>
                <a:custGeom>
                  <a:avLst/>
                  <a:gdLst>
                    <a:gd name="T0" fmla="*/ 168 w 192"/>
                    <a:gd name="T1" fmla="*/ 0 h 192"/>
                    <a:gd name="T2" fmla="*/ 24 w 192"/>
                    <a:gd name="T3" fmla="*/ 0 h 192"/>
                    <a:gd name="T4" fmla="*/ 0 w 192"/>
                    <a:gd name="T5" fmla="*/ 24 h 192"/>
                    <a:gd name="T6" fmla="*/ 0 w 192"/>
                    <a:gd name="T7" fmla="*/ 168 h 192"/>
                    <a:gd name="T8" fmla="*/ 24 w 192"/>
                    <a:gd name="T9" fmla="*/ 192 h 192"/>
                    <a:gd name="T10" fmla="*/ 168 w 192"/>
                    <a:gd name="T11" fmla="*/ 192 h 192"/>
                    <a:gd name="T12" fmla="*/ 192 w 192"/>
                    <a:gd name="T13" fmla="*/ 168 h 192"/>
                    <a:gd name="T14" fmla="*/ 192 w 192"/>
                    <a:gd name="T15" fmla="*/ 24 h 192"/>
                    <a:gd name="T16" fmla="*/ 168 w 192"/>
                    <a:gd name="T1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2" h="192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81"/>
                        <a:pt x="11" y="192"/>
                        <a:pt x="24" y="192"/>
                      </a:cubicBezTo>
                      <a:cubicBezTo>
                        <a:pt x="168" y="192"/>
                        <a:pt x="168" y="192"/>
                        <a:pt x="168" y="192"/>
                      </a:cubicBezTo>
                      <a:cubicBezTo>
                        <a:pt x="181" y="192"/>
                        <a:pt x="192" y="181"/>
                        <a:pt x="192" y="168"/>
                      </a:cubicBezTo>
                      <a:cubicBezTo>
                        <a:pt x="192" y="24"/>
                        <a:pt x="192" y="24"/>
                        <a:pt x="192" y="24"/>
                      </a:cubicBezTo>
                      <a:cubicBezTo>
                        <a:pt x="192" y="11"/>
                        <a:pt x="181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6" name="Freeform 18"/>
                <p:cNvSpPr>
                  <a:spLocks/>
                </p:cNvSpPr>
                <p:nvPr/>
              </p:nvSpPr>
              <p:spPr bwMode="auto">
                <a:xfrm>
                  <a:off x="1093788" y="2171700"/>
                  <a:ext cx="722312" cy="727075"/>
                </a:xfrm>
                <a:custGeom>
                  <a:avLst/>
                  <a:gdLst>
                    <a:gd name="T0" fmla="*/ 168 w 192"/>
                    <a:gd name="T1" fmla="*/ 0 h 193"/>
                    <a:gd name="T2" fmla="*/ 24 w 192"/>
                    <a:gd name="T3" fmla="*/ 0 h 193"/>
                    <a:gd name="T4" fmla="*/ 0 w 192"/>
                    <a:gd name="T5" fmla="*/ 25 h 193"/>
                    <a:gd name="T6" fmla="*/ 0 w 192"/>
                    <a:gd name="T7" fmla="*/ 169 h 193"/>
                    <a:gd name="T8" fmla="*/ 24 w 192"/>
                    <a:gd name="T9" fmla="*/ 193 h 193"/>
                    <a:gd name="T10" fmla="*/ 168 w 192"/>
                    <a:gd name="T11" fmla="*/ 193 h 193"/>
                    <a:gd name="T12" fmla="*/ 192 w 192"/>
                    <a:gd name="T13" fmla="*/ 169 h 193"/>
                    <a:gd name="T14" fmla="*/ 192 w 192"/>
                    <a:gd name="T15" fmla="*/ 25 h 193"/>
                    <a:gd name="T16" fmla="*/ 168 w 192"/>
                    <a:gd name="T17" fmla="*/ 0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2" h="193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5"/>
                      </a:cubicBezTo>
                      <a:cubicBezTo>
                        <a:pt x="0" y="169"/>
                        <a:pt x="0" y="169"/>
                        <a:pt x="0" y="169"/>
                      </a:cubicBezTo>
                      <a:cubicBezTo>
                        <a:pt x="0" y="182"/>
                        <a:pt x="11" y="193"/>
                        <a:pt x="24" y="193"/>
                      </a:cubicBezTo>
                      <a:cubicBezTo>
                        <a:pt x="168" y="193"/>
                        <a:pt x="168" y="193"/>
                        <a:pt x="168" y="193"/>
                      </a:cubicBezTo>
                      <a:cubicBezTo>
                        <a:pt x="181" y="193"/>
                        <a:pt x="192" y="182"/>
                        <a:pt x="192" y="169"/>
                      </a:cubicBezTo>
                      <a:cubicBezTo>
                        <a:pt x="192" y="25"/>
                        <a:pt x="192" y="25"/>
                        <a:pt x="192" y="25"/>
                      </a:cubicBezTo>
                      <a:cubicBezTo>
                        <a:pt x="192" y="11"/>
                        <a:pt x="181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7" name="Freeform 19"/>
                <p:cNvSpPr>
                  <a:spLocks/>
                </p:cNvSpPr>
                <p:nvPr/>
              </p:nvSpPr>
              <p:spPr bwMode="auto">
                <a:xfrm>
                  <a:off x="2181225" y="0"/>
                  <a:ext cx="723900" cy="722313"/>
                </a:xfrm>
                <a:custGeom>
                  <a:avLst/>
                  <a:gdLst>
                    <a:gd name="T0" fmla="*/ 168 w 192"/>
                    <a:gd name="T1" fmla="*/ 0 h 192"/>
                    <a:gd name="T2" fmla="*/ 24 w 192"/>
                    <a:gd name="T3" fmla="*/ 0 h 192"/>
                    <a:gd name="T4" fmla="*/ 0 w 192"/>
                    <a:gd name="T5" fmla="*/ 24 h 192"/>
                    <a:gd name="T6" fmla="*/ 0 w 192"/>
                    <a:gd name="T7" fmla="*/ 168 h 192"/>
                    <a:gd name="T8" fmla="*/ 24 w 192"/>
                    <a:gd name="T9" fmla="*/ 192 h 192"/>
                    <a:gd name="T10" fmla="*/ 168 w 192"/>
                    <a:gd name="T11" fmla="*/ 192 h 192"/>
                    <a:gd name="T12" fmla="*/ 192 w 192"/>
                    <a:gd name="T13" fmla="*/ 168 h 192"/>
                    <a:gd name="T14" fmla="*/ 192 w 192"/>
                    <a:gd name="T15" fmla="*/ 24 h 192"/>
                    <a:gd name="T16" fmla="*/ 168 w 192"/>
                    <a:gd name="T1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2" h="192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0" y="0"/>
                        <a:pt x="0" y="11"/>
                        <a:pt x="0" y="24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82"/>
                        <a:pt x="10" y="192"/>
                        <a:pt x="24" y="192"/>
                      </a:cubicBezTo>
                      <a:cubicBezTo>
                        <a:pt x="168" y="192"/>
                        <a:pt x="168" y="192"/>
                        <a:pt x="168" y="192"/>
                      </a:cubicBezTo>
                      <a:cubicBezTo>
                        <a:pt x="181" y="192"/>
                        <a:pt x="192" y="182"/>
                        <a:pt x="192" y="168"/>
                      </a:cubicBezTo>
                      <a:cubicBezTo>
                        <a:pt x="192" y="24"/>
                        <a:pt x="192" y="24"/>
                        <a:pt x="192" y="24"/>
                      </a:cubicBezTo>
                      <a:cubicBezTo>
                        <a:pt x="192" y="11"/>
                        <a:pt x="181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8" name="Freeform 20"/>
                <p:cNvSpPr>
                  <a:spLocks/>
                </p:cNvSpPr>
                <p:nvPr/>
              </p:nvSpPr>
              <p:spPr bwMode="auto">
                <a:xfrm>
                  <a:off x="2181225" y="1087438"/>
                  <a:ext cx="723900" cy="722313"/>
                </a:xfrm>
                <a:custGeom>
                  <a:avLst/>
                  <a:gdLst>
                    <a:gd name="T0" fmla="*/ 168 w 192"/>
                    <a:gd name="T1" fmla="*/ 0 h 192"/>
                    <a:gd name="T2" fmla="*/ 24 w 192"/>
                    <a:gd name="T3" fmla="*/ 0 h 192"/>
                    <a:gd name="T4" fmla="*/ 0 w 192"/>
                    <a:gd name="T5" fmla="*/ 24 h 192"/>
                    <a:gd name="T6" fmla="*/ 0 w 192"/>
                    <a:gd name="T7" fmla="*/ 168 h 192"/>
                    <a:gd name="T8" fmla="*/ 24 w 192"/>
                    <a:gd name="T9" fmla="*/ 192 h 192"/>
                    <a:gd name="T10" fmla="*/ 168 w 192"/>
                    <a:gd name="T11" fmla="*/ 192 h 192"/>
                    <a:gd name="T12" fmla="*/ 192 w 192"/>
                    <a:gd name="T13" fmla="*/ 168 h 192"/>
                    <a:gd name="T14" fmla="*/ 192 w 192"/>
                    <a:gd name="T15" fmla="*/ 24 h 192"/>
                    <a:gd name="T16" fmla="*/ 168 w 192"/>
                    <a:gd name="T17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2" h="192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0" y="0"/>
                        <a:pt x="0" y="11"/>
                        <a:pt x="0" y="24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81"/>
                        <a:pt x="10" y="192"/>
                        <a:pt x="24" y="192"/>
                      </a:cubicBezTo>
                      <a:cubicBezTo>
                        <a:pt x="168" y="192"/>
                        <a:pt x="168" y="192"/>
                        <a:pt x="168" y="192"/>
                      </a:cubicBezTo>
                      <a:cubicBezTo>
                        <a:pt x="181" y="192"/>
                        <a:pt x="192" y="181"/>
                        <a:pt x="192" y="168"/>
                      </a:cubicBezTo>
                      <a:cubicBezTo>
                        <a:pt x="192" y="24"/>
                        <a:pt x="192" y="24"/>
                        <a:pt x="192" y="24"/>
                      </a:cubicBezTo>
                      <a:cubicBezTo>
                        <a:pt x="192" y="11"/>
                        <a:pt x="181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  <p:sp>
              <p:nvSpPr>
                <p:cNvPr id="29" name="Freeform 21"/>
                <p:cNvSpPr>
                  <a:spLocks/>
                </p:cNvSpPr>
                <p:nvPr/>
              </p:nvSpPr>
              <p:spPr bwMode="auto">
                <a:xfrm>
                  <a:off x="2181225" y="2171700"/>
                  <a:ext cx="723900" cy="727075"/>
                </a:xfrm>
                <a:custGeom>
                  <a:avLst/>
                  <a:gdLst>
                    <a:gd name="T0" fmla="*/ 168 w 192"/>
                    <a:gd name="T1" fmla="*/ 0 h 193"/>
                    <a:gd name="T2" fmla="*/ 24 w 192"/>
                    <a:gd name="T3" fmla="*/ 0 h 193"/>
                    <a:gd name="T4" fmla="*/ 0 w 192"/>
                    <a:gd name="T5" fmla="*/ 25 h 193"/>
                    <a:gd name="T6" fmla="*/ 0 w 192"/>
                    <a:gd name="T7" fmla="*/ 169 h 193"/>
                    <a:gd name="T8" fmla="*/ 24 w 192"/>
                    <a:gd name="T9" fmla="*/ 193 h 193"/>
                    <a:gd name="T10" fmla="*/ 168 w 192"/>
                    <a:gd name="T11" fmla="*/ 193 h 193"/>
                    <a:gd name="T12" fmla="*/ 192 w 192"/>
                    <a:gd name="T13" fmla="*/ 169 h 193"/>
                    <a:gd name="T14" fmla="*/ 192 w 192"/>
                    <a:gd name="T15" fmla="*/ 25 h 193"/>
                    <a:gd name="T16" fmla="*/ 168 w 192"/>
                    <a:gd name="T17" fmla="*/ 0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2" h="193">
                      <a:moveTo>
                        <a:pt x="168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0" y="0"/>
                        <a:pt x="0" y="11"/>
                        <a:pt x="0" y="25"/>
                      </a:cubicBezTo>
                      <a:cubicBezTo>
                        <a:pt x="0" y="169"/>
                        <a:pt x="0" y="169"/>
                        <a:pt x="0" y="169"/>
                      </a:cubicBezTo>
                      <a:cubicBezTo>
                        <a:pt x="0" y="182"/>
                        <a:pt x="10" y="193"/>
                        <a:pt x="24" y="193"/>
                      </a:cubicBezTo>
                      <a:cubicBezTo>
                        <a:pt x="168" y="193"/>
                        <a:pt x="168" y="193"/>
                        <a:pt x="168" y="193"/>
                      </a:cubicBezTo>
                      <a:cubicBezTo>
                        <a:pt x="181" y="193"/>
                        <a:pt x="192" y="182"/>
                        <a:pt x="192" y="169"/>
                      </a:cubicBezTo>
                      <a:cubicBezTo>
                        <a:pt x="192" y="25"/>
                        <a:pt x="192" y="25"/>
                        <a:pt x="192" y="25"/>
                      </a:cubicBezTo>
                      <a:cubicBezTo>
                        <a:pt x="192" y="11"/>
                        <a:pt x="181" y="0"/>
                        <a:pt x="16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299" tIns="45649" rIns="91299" bIns="45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3596"/>
                </a:p>
              </p:txBody>
            </p:sp>
          </p:grpSp>
          <p:sp>
            <p:nvSpPr>
              <p:cNvPr id="19" name="Freeform 25"/>
              <p:cNvSpPr>
                <a:spLocks/>
              </p:cNvSpPr>
              <p:nvPr/>
            </p:nvSpPr>
            <p:spPr bwMode="auto">
              <a:xfrm rot="5400000">
                <a:off x="7497092" y="3115886"/>
                <a:ext cx="146921" cy="128651"/>
              </a:xfrm>
              <a:custGeom>
                <a:avLst/>
                <a:gdLst>
                  <a:gd name="T0" fmla="*/ 504 w 896"/>
                  <a:gd name="T1" fmla="*/ 0 h 784"/>
                  <a:gd name="T2" fmla="*/ 116 w 896"/>
                  <a:gd name="T3" fmla="*/ 336 h 784"/>
                  <a:gd name="T4" fmla="*/ 0 w 896"/>
                  <a:gd name="T5" fmla="*/ 336 h 784"/>
                  <a:gd name="T6" fmla="*/ 168 w 896"/>
                  <a:gd name="T7" fmla="*/ 560 h 784"/>
                  <a:gd name="T8" fmla="*/ 336 w 896"/>
                  <a:gd name="T9" fmla="*/ 336 h 784"/>
                  <a:gd name="T10" fmla="*/ 230 w 896"/>
                  <a:gd name="T11" fmla="*/ 336 h 784"/>
                  <a:gd name="T12" fmla="*/ 504 w 896"/>
                  <a:gd name="T13" fmla="*/ 112 h 784"/>
                  <a:gd name="T14" fmla="*/ 784 w 896"/>
                  <a:gd name="T15" fmla="*/ 392 h 784"/>
                  <a:gd name="T16" fmla="*/ 504 w 896"/>
                  <a:gd name="T17" fmla="*/ 672 h 784"/>
                  <a:gd name="T18" fmla="*/ 504 w 896"/>
                  <a:gd name="T19" fmla="*/ 784 h 784"/>
                  <a:gd name="T20" fmla="*/ 896 w 896"/>
                  <a:gd name="T21" fmla="*/ 392 h 784"/>
                  <a:gd name="T22" fmla="*/ 504 w 896"/>
                  <a:gd name="T23" fmla="*/ 0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6" h="784">
                    <a:moveTo>
                      <a:pt x="504" y="0"/>
                    </a:moveTo>
                    <a:cubicBezTo>
                      <a:pt x="307" y="0"/>
                      <a:pt x="144" y="146"/>
                      <a:pt x="116" y="336"/>
                    </a:cubicBezTo>
                    <a:cubicBezTo>
                      <a:pt x="0" y="336"/>
                      <a:pt x="0" y="336"/>
                      <a:pt x="0" y="336"/>
                    </a:cubicBezTo>
                    <a:cubicBezTo>
                      <a:pt x="168" y="560"/>
                      <a:pt x="168" y="560"/>
                      <a:pt x="168" y="560"/>
                    </a:cubicBezTo>
                    <a:cubicBezTo>
                      <a:pt x="336" y="336"/>
                      <a:pt x="336" y="336"/>
                      <a:pt x="336" y="336"/>
                    </a:cubicBezTo>
                    <a:cubicBezTo>
                      <a:pt x="230" y="336"/>
                      <a:pt x="230" y="336"/>
                      <a:pt x="230" y="336"/>
                    </a:cubicBezTo>
                    <a:cubicBezTo>
                      <a:pt x="256" y="208"/>
                      <a:pt x="369" y="112"/>
                      <a:pt x="504" y="112"/>
                    </a:cubicBezTo>
                    <a:cubicBezTo>
                      <a:pt x="658" y="112"/>
                      <a:pt x="784" y="238"/>
                      <a:pt x="784" y="392"/>
                    </a:cubicBezTo>
                    <a:cubicBezTo>
                      <a:pt x="784" y="546"/>
                      <a:pt x="658" y="672"/>
                      <a:pt x="504" y="672"/>
                    </a:cubicBezTo>
                    <a:cubicBezTo>
                      <a:pt x="504" y="784"/>
                      <a:pt x="504" y="784"/>
                      <a:pt x="504" y="784"/>
                    </a:cubicBezTo>
                    <a:cubicBezTo>
                      <a:pt x="721" y="784"/>
                      <a:pt x="896" y="609"/>
                      <a:pt x="896" y="392"/>
                    </a:cubicBezTo>
                    <a:cubicBezTo>
                      <a:pt x="896" y="175"/>
                      <a:pt x="721" y="0"/>
                      <a:pt x="504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299" tIns="45649" rIns="91299" bIns="45649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3596"/>
              </a:p>
            </p:txBody>
          </p:sp>
          <p:sp>
            <p:nvSpPr>
              <p:cNvPr id="20" name="Oval 6"/>
              <p:cNvSpPr>
                <a:spLocks/>
              </p:cNvSpPr>
              <p:nvPr/>
            </p:nvSpPr>
            <p:spPr bwMode="auto">
              <a:xfrm>
                <a:off x="1655635" y="2814331"/>
                <a:ext cx="95903" cy="95276"/>
              </a:xfrm>
              <a:prstGeom prst="ellipse">
                <a:avLst/>
              </a:prstGeom>
              <a:solidFill>
                <a:schemeClr val="accent5"/>
              </a:solidFill>
              <a:ln w="25400" cap="flat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id-ID" sz="3596"/>
              </a:p>
            </p:txBody>
          </p:sp>
        </p:grp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2269943" y="3130076"/>
              <a:ext cx="115372" cy="115448"/>
            </a:xfrm>
            <a:custGeom>
              <a:avLst/>
              <a:gdLst>
                <a:gd name="T0" fmla="*/ 0 w 636"/>
                <a:gd name="T1" fmla="*/ 318 h 636"/>
                <a:gd name="T2" fmla="*/ 636 w 636"/>
                <a:gd name="T3" fmla="*/ 318 h 636"/>
                <a:gd name="T4" fmla="*/ 594 w 636"/>
                <a:gd name="T5" fmla="*/ 308 h 636"/>
                <a:gd name="T6" fmla="*/ 448 w 636"/>
                <a:gd name="T7" fmla="*/ 179 h 636"/>
                <a:gd name="T8" fmla="*/ 594 w 636"/>
                <a:gd name="T9" fmla="*/ 308 h 636"/>
                <a:gd name="T10" fmla="*/ 223 w 636"/>
                <a:gd name="T11" fmla="*/ 486 h 636"/>
                <a:gd name="T12" fmla="*/ 308 w 636"/>
                <a:gd name="T13" fmla="*/ 594 h 636"/>
                <a:gd name="T14" fmla="*/ 329 w 636"/>
                <a:gd name="T15" fmla="*/ 42 h 636"/>
                <a:gd name="T16" fmla="*/ 328 w 636"/>
                <a:gd name="T17" fmla="*/ 184 h 636"/>
                <a:gd name="T18" fmla="*/ 329 w 636"/>
                <a:gd name="T19" fmla="*/ 42 h 636"/>
                <a:gd name="T20" fmla="*/ 510 w 636"/>
                <a:gd name="T21" fmla="*/ 119 h 636"/>
                <a:gd name="T22" fmla="*/ 363 w 636"/>
                <a:gd name="T23" fmla="*/ 45 h 636"/>
                <a:gd name="T24" fmla="*/ 308 w 636"/>
                <a:gd name="T25" fmla="*/ 184 h 636"/>
                <a:gd name="T26" fmla="*/ 307 w 636"/>
                <a:gd name="T27" fmla="*/ 42 h 636"/>
                <a:gd name="T28" fmla="*/ 196 w 636"/>
                <a:gd name="T29" fmla="*/ 160 h 636"/>
                <a:gd name="T30" fmla="*/ 273 w 636"/>
                <a:gd name="T31" fmla="*/ 45 h 636"/>
                <a:gd name="T32" fmla="*/ 207 w 636"/>
                <a:gd name="T33" fmla="*/ 186 h 636"/>
                <a:gd name="T34" fmla="*/ 308 w 636"/>
                <a:gd name="T35" fmla="*/ 308 h 636"/>
                <a:gd name="T36" fmla="*/ 207 w 636"/>
                <a:gd name="T37" fmla="*/ 186 h 636"/>
                <a:gd name="T38" fmla="*/ 308 w 636"/>
                <a:gd name="T39" fmla="*/ 452 h 636"/>
                <a:gd name="T40" fmla="*/ 185 w 636"/>
                <a:gd name="T41" fmla="*/ 328 h 636"/>
                <a:gd name="T42" fmla="*/ 273 w 636"/>
                <a:gd name="T43" fmla="*/ 591 h 636"/>
                <a:gd name="T44" fmla="*/ 204 w 636"/>
                <a:gd name="T45" fmla="*/ 493 h 636"/>
                <a:gd name="T46" fmla="*/ 328 w 636"/>
                <a:gd name="T47" fmla="*/ 594 h 636"/>
                <a:gd name="T48" fmla="*/ 413 w 636"/>
                <a:gd name="T49" fmla="*/ 486 h 636"/>
                <a:gd name="T50" fmla="*/ 328 w 636"/>
                <a:gd name="T51" fmla="*/ 594 h 636"/>
                <a:gd name="T52" fmla="*/ 498 w 636"/>
                <a:gd name="T53" fmla="*/ 528 h 636"/>
                <a:gd name="T54" fmla="*/ 432 w 636"/>
                <a:gd name="T55" fmla="*/ 493 h 636"/>
                <a:gd name="T56" fmla="*/ 328 w 636"/>
                <a:gd name="T57" fmla="*/ 452 h 636"/>
                <a:gd name="T58" fmla="*/ 451 w 636"/>
                <a:gd name="T59" fmla="*/ 328 h 636"/>
                <a:gd name="T60" fmla="*/ 328 w 636"/>
                <a:gd name="T61" fmla="*/ 308 h 636"/>
                <a:gd name="T62" fmla="*/ 429 w 636"/>
                <a:gd name="T63" fmla="*/ 186 h 636"/>
                <a:gd name="T64" fmla="*/ 328 w 636"/>
                <a:gd name="T65" fmla="*/ 308 h 636"/>
                <a:gd name="T66" fmla="*/ 188 w 636"/>
                <a:gd name="T67" fmla="*/ 179 h 636"/>
                <a:gd name="T68" fmla="*/ 42 w 636"/>
                <a:gd name="T69" fmla="*/ 308 h 636"/>
                <a:gd name="T70" fmla="*/ 42 w 636"/>
                <a:gd name="T71" fmla="*/ 328 h 636"/>
                <a:gd name="T72" fmla="*/ 195 w 636"/>
                <a:gd name="T73" fmla="*/ 475 h 636"/>
                <a:gd name="T74" fmla="*/ 42 w 636"/>
                <a:gd name="T75" fmla="*/ 328 h 636"/>
                <a:gd name="T76" fmla="*/ 441 w 636"/>
                <a:gd name="T77" fmla="*/ 475 h 636"/>
                <a:gd name="T78" fmla="*/ 594 w 636"/>
                <a:gd name="T79" fmla="*/ 328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36" h="636">
                  <a:moveTo>
                    <a:pt x="318" y="0"/>
                  </a:moveTo>
                  <a:cubicBezTo>
                    <a:pt x="142" y="0"/>
                    <a:pt x="0" y="142"/>
                    <a:pt x="0" y="318"/>
                  </a:cubicBezTo>
                  <a:cubicBezTo>
                    <a:pt x="0" y="494"/>
                    <a:pt x="142" y="636"/>
                    <a:pt x="318" y="636"/>
                  </a:cubicBezTo>
                  <a:cubicBezTo>
                    <a:pt x="494" y="636"/>
                    <a:pt x="636" y="494"/>
                    <a:pt x="636" y="318"/>
                  </a:cubicBezTo>
                  <a:cubicBezTo>
                    <a:pt x="636" y="142"/>
                    <a:pt x="494" y="0"/>
                    <a:pt x="318" y="0"/>
                  </a:cubicBezTo>
                  <a:close/>
                  <a:moveTo>
                    <a:pt x="594" y="308"/>
                  </a:moveTo>
                  <a:cubicBezTo>
                    <a:pt x="471" y="308"/>
                    <a:pt x="471" y="308"/>
                    <a:pt x="471" y="308"/>
                  </a:cubicBezTo>
                  <a:cubicBezTo>
                    <a:pt x="470" y="262"/>
                    <a:pt x="462" y="219"/>
                    <a:pt x="448" y="179"/>
                  </a:cubicBezTo>
                  <a:cubicBezTo>
                    <a:pt x="476" y="168"/>
                    <a:pt x="501" y="152"/>
                    <a:pt x="525" y="134"/>
                  </a:cubicBezTo>
                  <a:cubicBezTo>
                    <a:pt x="566" y="181"/>
                    <a:pt x="592" y="241"/>
                    <a:pt x="594" y="308"/>
                  </a:cubicBezTo>
                  <a:close/>
                  <a:moveTo>
                    <a:pt x="307" y="594"/>
                  </a:moveTo>
                  <a:cubicBezTo>
                    <a:pt x="273" y="566"/>
                    <a:pt x="244" y="529"/>
                    <a:pt x="223" y="486"/>
                  </a:cubicBezTo>
                  <a:cubicBezTo>
                    <a:pt x="250" y="478"/>
                    <a:pt x="278" y="473"/>
                    <a:pt x="308" y="472"/>
                  </a:cubicBezTo>
                  <a:cubicBezTo>
                    <a:pt x="308" y="594"/>
                    <a:pt x="308" y="594"/>
                    <a:pt x="308" y="594"/>
                  </a:cubicBezTo>
                  <a:cubicBezTo>
                    <a:pt x="307" y="594"/>
                    <a:pt x="307" y="594"/>
                    <a:pt x="307" y="594"/>
                  </a:cubicBezTo>
                  <a:close/>
                  <a:moveTo>
                    <a:pt x="329" y="42"/>
                  </a:moveTo>
                  <a:cubicBezTo>
                    <a:pt x="368" y="74"/>
                    <a:pt x="400" y="117"/>
                    <a:pt x="421" y="167"/>
                  </a:cubicBezTo>
                  <a:cubicBezTo>
                    <a:pt x="392" y="177"/>
                    <a:pt x="361" y="183"/>
                    <a:pt x="328" y="184"/>
                  </a:cubicBezTo>
                  <a:cubicBezTo>
                    <a:pt x="328" y="42"/>
                    <a:pt x="328" y="42"/>
                    <a:pt x="328" y="42"/>
                  </a:cubicBezTo>
                  <a:cubicBezTo>
                    <a:pt x="329" y="42"/>
                    <a:pt x="329" y="42"/>
                    <a:pt x="329" y="42"/>
                  </a:cubicBezTo>
                  <a:close/>
                  <a:moveTo>
                    <a:pt x="363" y="45"/>
                  </a:moveTo>
                  <a:cubicBezTo>
                    <a:pt x="420" y="55"/>
                    <a:pt x="471" y="81"/>
                    <a:pt x="510" y="119"/>
                  </a:cubicBezTo>
                  <a:cubicBezTo>
                    <a:pt x="489" y="136"/>
                    <a:pt x="466" y="150"/>
                    <a:pt x="440" y="160"/>
                  </a:cubicBezTo>
                  <a:cubicBezTo>
                    <a:pt x="421" y="116"/>
                    <a:pt x="395" y="77"/>
                    <a:pt x="363" y="45"/>
                  </a:cubicBezTo>
                  <a:close/>
                  <a:moveTo>
                    <a:pt x="308" y="42"/>
                  </a:moveTo>
                  <a:cubicBezTo>
                    <a:pt x="308" y="184"/>
                    <a:pt x="308" y="184"/>
                    <a:pt x="308" y="184"/>
                  </a:cubicBezTo>
                  <a:cubicBezTo>
                    <a:pt x="275" y="183"/>
                    <a:pt x="244" y="177"/>
                    <a:pt x="215" y="167"/>
                  </a:cubicBezTo>
                  <a:cubicBezTo>
                    <a:pt x="236" y="117"/>
                    <a:pt x="268" y="74"/>
                    <a:pt x="307" y="42"/>
                  </a:cubicBezTo>
                  <a:cubicBezTo>
                    <a:pt x="307" y="42"/>
                    <a:pt x="307" y="42"/>
                    <a:pt x="308" y="42"/>
                  </a:cubicBezTo>
                  <a:close/>
                  <a:moveTo>
                    <a:pt x="196" y="160"/>
                  </a:moveTo>
                  <a:cubicBezTo>
                    <a:pt x="171" y="150"/>
                    <a:pt x="147" y="136"/>
                    <a:pt x="126" y="119"/>
                  </a:cubicBezTo>
                  <a:cubicBezTo>
                    <a:pt x="165" y="81"/>
                    <a:pt x="216" y="55"/>
                    <a:pt x="273" y="45"/>
                  </a:cubicBezTo>
                  <a:cubicBezTo>
                    <a:pt x="241" y="77"/>
                    <a:pt x="215" y="116"/>
                    <a:pt x="196" y="160"/>
                  </a:cubicBezTo>
                  <a:close/>
                  <a:moveTo>
                    <a:pt x="207" y="186"/>
                  </a:moveTo>
                  <a:cubicBezTo>
                    <a:pt x="239" y="197"/>
                    <a:pt x="273" y="204"/>
                    <a:pt x="308" y="205"/>
                  </a:cubicBezTo>
                  <a:cubicBezTo>
                    <a:pt x="308" y="308"/>
                    <a:pt x="308" y="308"/>
                    <a:pt x="308" y="308"/>
                  </a:cubicBezTo>
                  <a:cubicBezTo>
                    <a:pt x="185" y="308"/>
                    <a:pt x="185" y="308"/>
                    <a:pt x="185" y="308"/>
                  </a:cubicBezTo>
                  <a:cubicBezTo>
                    <a:pt x="186" y="265"/>
                    <a:pt x="194" y="224"/>
                    <a:pt x="207" y="186"/>
                  </a:cubicBezTo>
                  <a:close/>
                  <a:moveTo>
                    <a:pt x="308" y="328"/>
                  </a:moveTo>
                  <a:cubicBezTo>
                    <a:pt x="308" y="452"/>
                    <a:pt x="308" y="452"/>
                    <a:pt x="308" y="452"/>
                  </a:cubicBezTo>
                  <a:cubicBezTo>
                    <a:pt x="275" y="453"/>
                    <a:pt x="244" y="458"/>
                    <a:pt x="215" y="468"/>
                  </a:cubicBezTo>
                  <a:cubicBezTo>
                    <a:pt x="197" y="425"/>
                    <a:pt x="186" y="378"/>
                    <a:pt x="185" y="328"/>
                  </a:cubicBezTo>
                  <a:lnTo>
                    <a:pt x="308" y="328"/>
                  </a:lnTo>
                  <a:close/>
                  <a:moveTo>
                    <a:pt x="273" y="591"/>
                  </a:moveTo>
                  <a:cubicBezTo>
                    <a:pt x="222" y="582"/>
                    <a:pt x="176" y="560"/>
                    <a:pt x="138" y="528"/>
                  </a:cubicBezTo>
                  <a:cubicBezTo>
                    <a:pt x="158" y="514"/>
                    <a:pt x="180" y="502"/>
                    <a:pt x="204" y="493"/>
                  </a:cubicBezTo>
                  <a:cubicBezTo>
                    <a:pt x="222" y="531"/>
                    <a:pt x="245" y="563"/>
                    <a:pt x="273" y="591"/>
                  </a:cubicBezTo>
                  <a:close/>
                  <a:moveTo>
                    <a:pt x="328" y="594"/>
                  </a:moveTo>
                  <a:cubicBezTo>
                    <a:pt x="328" y="472"/>
                    <a:pt x="328" y="472"/>
                    <a:pt x="328" y="472"/>
                  </a:cubicBezTo>
                  <a:cubicBezTo>
                    <a:pt x="358" y="473"/>
                    <a:pt x="386" y="478"/>
                    <a:pt x="413" y="486"/>
                  </a:cubicBezTo>
                  <a:cubicBezTo>
                    <a:pt x="392" y="529"/>
                    <a:pt x="363" y="566"/>
                    <a:pt x="329" y="594"/>
                  </a:cubicBezTo>
                  <a:cubicBezTo>
                    <a:pt x="329" y="594"/>
                    <a:pt x="329" y="594"/>
                    <a:pt x="328" y="594"/>
                  </a:cubicBezTo>
                  <a:close/>
                  <a:moveTo>
                    <a:pt x="432" y="493"/>
                  </a:moveTo>
                  <a:cubicBezTo>
                    <a:pt x="456" y="502"/>
                    <a:pt x="478" y="514"/>
                    <a:pt x="498" y="528"/>
                  </a:cubicBezTo>
                  <a:cubicBezTo>
                    <a:pt x="460" y="560"/>
                    <a:pt x="414" y="582"/>
                    <a:pt x="363" y="591"/>
                  </a:cubicBezTo>
                  <a:cubicBezTo>
                    <a:pt x="391" y="563"/>
                    <a:pt x="414" y="531"/>
                    <a:pt x="432" y="493"/>
                  </a:cubicBezTo>
                  <a:close/>
                  <a:moveTo>
                    <a:pt x="421" y="468"/>
                  </a:moveTo>
                  <a:cubicBezTo>
                    <a:pt x="392" y="458"/>
                    <a:pt x="361" y="453"/>
                    <a:pt x="328" y="452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451" y="328"/>
                    <a:pt x="451" y="328"/>
                    <a:pt x="451" y="328"/>
                  </a:cubicBezTo>
                  <a:cubicBezTo>
                    <a:pt x="450" y="378"/>
                    <a:pt x="439" y="425"/>
                    <a:pt x="421" y="468"/>
                  </a:cubicBezTo>
                  <a:close/>
                  <a:moveTo>
                    <a:pt x="328" y="308"/>
                  </a:moveTo>
                  <a:cubicBezTo>
                    <a:pt x="328" y="205"/>
                    <a:pt x="328" y="205"/>
                    <a:pt x="328" y="205"/>
                  </a:cubicBezTo>
                  <a:cubicBezTo>
                    <a:pt x="363" y="204"/>
                    <a:pt x="397" y="197"/>
                    <a:pt x="429" y="186"/>
                  </a:cubicBezTo>
                  <a:cubicBezTo>
                    <a:pt x="442" y="224"/>
                    <a:pt x="450" y="265"/>
                    <a:pt x="451" y="308"/>
                  </a:cubicBezTo>
                  <a:lnTo>
                    <a:pt x="328" y="308"/>
                  </a:lnTo>
                  <a:close/>
                  <a:moveTo>
                    <a:pt x="111" y="134"/>
                  </a:moveTo>
                  <a:cubicBezTo>
                    <a:pt x="135" y="152"/>
                    <a:pt x="160" y="168"/>
                    <a:pt x="188" y="179"/>
                  </a:cubicBezTo>
                  <a:cubicBezTo>
                    <a:pt x="174" y="219"/>
                    <a:pt x="166" y="262"/>
                    <a:pt x="165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44" y="241"/>
                    <a:pt x="70" y="181"/>
                    <a:pt x="111" y="134"/>
                  </a:cubicBezTo>
                  <a:close/>
                  <a:moveTo>
                    <a:pt x="42" y="328"/>
                  </a:moveTo>
                  <a:cubicBezTo>
                    <a:pt x="165" y="328"/>
                    <a:pt x="165" y="328"/>
                    <a:pt x="165" y="328"/>
                  </a:cubicBezTo>
                  <a:cubicBezTo>
                    <a:pt x="166" y="381"/>
                    <a:pt x="177" y="430"/>
                    <a:pt x="195" y="475"/>
                  </a:cubicBezTo>
                  <a:cubicBezTo>
                    <a:pt x="169" y="485"/>
                    <a:pt x="145" y="498"/>
                    <a:pt x="123" y="514"/>
                  </a:cubicBezTo>
                  <a:cubicBezTo>
                    <a:pt x="75" y="466"/>
                    <a:pt x="44" y="401"/>
                    <a:pt x="42" y="328"/>
                  </a:cubicBezTo>
                  <a:close/>
                  <a:moveTo>
                    <a:pt x="513" y="514"/>
                  </a:moveTo>
                  <a:cubicBezTo>
                    <a:pt x="491" y="498"/>
                    <a:pt x="467" y="485"/>
                    <a:pt x="441" y="475"/>
                  </a:cubicBezTo>
                  <a:cubicBezTo>
                    <a:pt x="459" y="430"/>
                    <a:pt x="470" y="381"/>
                    <a:pt x="471" y="328"/>
                  </a:cubicBezTo>
                  <a:cubicBezTo>
                    <a:pt x="594" y="328"/>
                    <a:pt x="594" y="328"/>
                    <a:pt x="594" y="328"/>
                  </a:cubicBezTo>
                  <a:cubicBezTo>
                    <a:pt x="592" y="401"/>
                    <a:pt x="561" y="466"/>
                    <a:pt x="513" y="51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299" tIns="45649" rIns="91299" bIns="45649" numCol="1" anchor="t" anchorCtr="0" compatLnSpc="1">
              <a:prstTxWarp prst="textNoShape">
                <a:avLst/>
              </a:prstTxWarp>
            </a:bodyPr>
            <a:lstStyle/>
            <a:p>
              <a:endParaRPr lang="id-ID" sz="3596"/>
            </a:p>
          </p:txBody>
        </p:sp>
      </p:grpSp>
      <p:sp>
        <p:nvSpPr>
          <p:cNvPr id="3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472837" y="3506557"/>
            <a:ext cx="14152990" cy="789312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056533"/>
      </p:ext>
    </p:extLst>
  </p:cSld>
  <p:clrMapOvr>
    <a:masterClrMapping/>
  </p:clrMapOvr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6733238" y="2573867"/>
            <a:ext cx="4099364" cy="8536094"/>
          </a:xfrm>
          <a:custGeom>
            <a:avLst/>
            <a:gdLst>
              <a:gd name="connsiteX0" fmla="*/ 6366 w 2049682"/>
              <a:gd name="connsiteY0" fmla="*/ 0 h 4268047"/>
              <a:gd name="connsiteX1" fmla="*/ 2011489 w 2049682"/>
              <a:gd name="connsiteY1" fmla="*/ 160198 h 4268047"/>
              <a:gd name="connsiteX2" fmla="*/ 2049682 w 2049682"/>
              <a:gd name="connsiteY2" fmla="*/ 4204393 h 4268047"/>
              <a:gd name="connsiteX3" fmla="*/ 0 w 2049682"/>
              <a:gd name="connsiteY3" fmla="*/ 4268047 h 4268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9682" h="4268047">
                <a:moveTo>
                  <a:pt x="6366" y="0"/>
                </a:moveTo>
                <a:lnTo>
                  <a:pt x="2011489" y="160198"/>
                </a:lnTo>
                <a:lnTo>
                  <a:pt x="2049682" y="4204393"/>
                </a:lnTo>
                <a:lnTo>
                  <a:pt x="0" y="426804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9650934"/>
      </p:ext>
    </p:extLst>
  </p:cSld>
  <p:clrMapOvr>
    <a:masterClrMapping/>
  </p:clrMapOvr>
  <p:hf hdr="0" ft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2417520" y="4283428"/>
            <a:ext cx="9651452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 6"/>
          <p:cNvSpPr/>
          <p:nvPr userDrawn="1"/>
        </p:nvSpPr>
        <p:spPr>
          <a:xfrm>
            <a:off x="0" y="-50799"/>
            <a:ext cx="12417520" cy="13792454"/>
          </a:xfrm>
          <a:custGeom>
            <a:avLst/>
            <a:gdLst>
              <a:gd name="connsiteX0" fmla="*/ 4496241 w 8223593"/>
              <a:gd name="connsiteY0" fmla="*/ 0 h 6876803"/>
              <a:gd name="connsiteX1" fmla="*/ 6423323 w 8223593"/>
              <a:gd name="connsiteY1" fmla="*/ 0 h 6876803"/>
              <a:gd name="connsiteX2" fmla="*/ 6068906 w 8223593"/>
              <a:gd name="connsiteY2" fmla="*/ 1941978 h 6876803"/>
              <a:gd name="connsiteX3" fmla="*/ 8221231 w 8223593"/>
              <a:gd name="connsiteY3" fmla="*/ 3481071 h 6876803"/>
              <a:gd name="connsiteX4" fmla="*/ 5868307 w 8223593"/>
              <a:gd name="connsiteY4" fmla="*/ 4893507 h 6876803"/>
              <a:gd name="connsiteX5" fmla="*/ 5812495 w 8223593"/>
              <a:gd name="connsiteY5" fmla="*/ 4936249 h 6876803"/>
              <a:gd name="connsiteX6" fmla="*/ 5812495 w 8223593"/>
              <a:gd name="connsiteY6" fmla="*/ 5753814 h 6876803"/>
              <a:gd name="connsiteX7" fmla="*/ 5893382 w 8223593"/>
              <a:gd name="connsiteY7" fmla="*/ 5834499 h 6876803"/>
              <a:gd name="connsiteX8" fmla="*/ 6423324 w 8223593"/>
              <a:gd name="connsiteY8" fmla="*/ 6876803 h 6876803"/>
              <a:gd name="connsiteX9" fmla="*/ 5812495 w 8223593"/>
              <a:gd name="connsiteY9" fmla="*/ 6876803 h 6876803"/>
              <a:gd name="connsiteX10" fmla="*/ 5812495 w 8223593"/>
              <a:gd name="connsiteY10" fmla="*/ 6876803 h 6876803"/>
              <a:gd name="connsiteX11" fmla="*/ 0 w 8223593"/>
              <a:gd name="connsiteY11" fmla="*/ 6876803 h 6876803"/>
              <a:gd name="connsiteX12" fmla="*/ 0 w 8223593"/>
              <a:gd name="connsiteY12" fmla="*/ 6104 h 6876803"/>
              <a:gd name="connsiteX13" fmla="*/ 4496241 w 8223593"/>
              <a:gd name="connsiteY13" fmla="*/ 6104 h 6876803"/>
              <a:gd name="connsiteX0" fmla="*/ 4496241 w 8222020"/>
              <a:gd name="connsiteY0" fmla="*/ 0 h 6876803"/>
              <a:gd name="connsiteX1" fmla="*/ 6423323 w 8222020"/>
              <a:gd name="connsiteY1" fmla="*/ 0 h 6876803"/>
              <a:gd name="connsiteX2" fmla="*/ 6068906 w 8222020"/>
              <a:gd name="connsiteY2" fmla="*/ 1941978 h 6876803"/>
              <a:gd name="connsiteX3" fmla="*/ 8221231 w 8222020"/>
              <a:gd name="connsiteY3" fmla="*/ 3481071 h 6876803"/>
              <a:gd name="connsiteX4" fmla="*/ 5812495 w 8222020"/>
              <a:gd name="connsiteY4" fmla="*/ 4936249 h 6876803"/>
              <a:gd name="connsiteX5" fmla="*/ 5812495 w 8222020"/>
              <a:gd name="connsiteY5" fmla="*/ 5753814 h 6876803"/>
              <a:gd name="connsiteX6" fmla="*/ 5893382 w 8222020"/>
              <a:gd name="connsiteY6" fmla="*/ 5834499 h 6876803"/>
              <a:gd name="connsiteX7" fmla="*/ 6423324 w 8222020"/>
              <a:gd name="connsiteY7" fmla="*/ 6876803 h 6876803"/>
              <a:gd name="connsiteX8" fmla="*/ 5812495 w 8222020"/>
              <a:gd name="connsiteY8" fmla="*/ 6876803 h 6876803"/>
              <a:gd name="connsiteX9" fmla="*/ 5812495 w 8222020"/>
              <a:gd name="connsiteY9" fmla="*/ 6876803 h 6876803"/>
              <a:gd name="connsiteX10" fmla="*/ 0 w 8222020"/>
              <a:gd name="connsiteY10" fmla="*/ 6876803 h 6876803"/>
              <a:gd name="connsiteX11" fmla="*/ 0 w 8222020"/>
              <a:gd name="connsiteY11" fmla="*/ 6104 h 6876803"/>
              <a:gd name="connsiteX12" fmla="*/ 4496241 w 8222020"/>
              <a:gd name="connsiteY12" fmla="*/ 6104 h 6876803"/>
              <a:gd name="connsiteX13" fmla="*/ 4496241 w 8222020"/>
              <a:gd name="connsiteY13" fmla="*/ 0 h 6876803"/>
              <a:gd name="connsiteX0" fmla="*/ 4496241 w 8222020"/>
              <a:gd name="connsiteY0" fmla="*/ 0 h 6876803"/>
              <a:gd name="connsiteX1" fmla="*/ 6423323 w 8222020"/>
              <a:gd name="connsiteY1" fmla="*/ 0 h 6876803"/>
              <a:gd name="connsiteX2" fmla="*/ 6068906 w 8222020"/>
              <a:gd name="connsiteY2" fmla="*/ 1941978 h 6876803"/>
              <a:gd name="connsiteX3" fmla="*/ 8221231 w 8222020"/>
              <a:gd name="connsiteY3" fmla="*/ 3481071 h 6876803"/>
              <a:gd name="connsiteX4" fmla="*/ 5812495 w 8222020"/>
              <a:gd name="connsiteY4" fmla="*/ 5753814 h 6876803"/>
              <a:gd name="connsiteX5" fmla="*/ 5893382 w 8222020"/>
              <a:gd name="connsiteY5" fmla="*/ 5834499 h 6876803"/>
              <a:gd name="connsiteX6" fmla="*/ 6423324 w 8222020"/>
              <a:gd name="connsiteY6" fmla="*/ 6876803 h 6876803"/>
              <a:gd name="connsiteX7" fmla="*/ 5812495 w 8222020"/>
              <a:gd name="connsiteY7" fmla="*/ 6876803 h 6876803"/>
              <a:gd name="connsiteX8" fmla="*/ 5812495 w 8222020"/>
              <a:gd name="connsiteY8" fmla="*/ 6876803 h 6876803"/>
              <a:gd name="connsiteX9" fmla="*/ 0 w 8222020"/>
              <a:gd name="connsiteY9" fmla="*/ 6876803 h 6876803"/>
              <a:gd name="connsiteX10" fmla="*/ 0 w 8222020"/>
              <a:gd name="connsiteY10" fmla="*/ 6104 h 6876803"/>
              <a:gd name="connsiteX11" fmla="*/ 4496241 w 8222020"/>
              <a:gd name="connsiteY11" fmla="*/ 6104 h 6876803"/>
              <a:gd name="connsiteX12" fmla="*/ 4496241 w 8222020"/>
              <a:gd name="connsiteY12" fmla="*/ 0 h 6876803"/>
              <a:gd name="connsiteX0" fmla="*/ 4496241 w 8221606"/>
              <a:gd name="connsiteY0" fmla="*/ 0 h 6876803"/>
              <a:gd name="connsiteX1" fmla="*/ 6423323 w 8221606"/>
              <a:gd name="connsiteY1" fmla="*/ 0 h 6876803"/>
              <a:gd name="connsiteX2" fmla="*/ 6068906 w 8221606"/>
              <a:gd name="connsiteY2" fmla="*/ 1941978 h 6876803"/>
              <a:gd name="connsiteX3" fmla="*/ 8221231 w 8221606"/>
              <a:gd name="connsiteY3" fmla="*/ 3481071 h 6876803"/>
              <a:gd name="connsiteX4" fmla="*/ 5893382 w 8221606"/>
              <a:gd name="connsiteY4" fmla="*/ 5834499 h 6876803"/>
              <a:gd name="connsiteX5" fmla="*/ 6423324 w 8221606"/>
              <a:gd name="connsiteY5" fmla="*/ 6876803 h 6876803"/>
              <a:gd name="connsiteX6" fmla="*/ 5812495 w 8221606"/>
              <a:gd name="connsiteY6" fmla="*/ 6876803 h 6876803"/>
              <a:gd name="connsiteX7" fmla="*/ 5812495 w 8221606"/>
              <a:gd name="connsiteY7" fmla="*/ 6876803 h 6876803"/>
              <a:gd name="connsiteX8" fmla="*/ 0 w 8221606"/>
              <a:gd name="connsiteY8" fmla="*/ 6876803 h 6876803"/>
              <a:gd name="connsiteX9" fmla="*/ 0 w 8221606"/>
              <a:gd name="connsiteY9" fmla="*/ 6104 h 6876803"/>
              <a:gd name="connsiteX10" fmla="*/ 4496241 w 8221606"/>
              <a:gd name="connsiteY10" fmla="*/ 6104 h 6876803"/>
              <a:gd name="connsiteX11" fmla="*/ 4496241 w 8221606"/>
              <a:gd name="connsiteY11" fmla="*/ 0 h 6876803"/>
              <a:gd name="connsiteX0" fmla="*/ 4496241 w 8221606"/>
              <a:gd name="connsiteY0" fmla="*/ 0 h 6876803"/>
              <a:gd name="connsiteX1" fmla="*/ 6423323 w 8221606"/>
              <a:gd name="connsiteY1" fmla="*/ 0 h 6876803"/>
              <a:gd name="connsiteX2" fmla="*/ 6068906 w 8221606"/>
              <a:gd name="connsiteY2" fmla="*/ 1941978 h 6876803"/>
              <a:gd name="connsiteX3" fmla="*/ 8221231 w 8221606"/>
              <a:gd name="connsiteY3" fmla="*/ 3481071 h 6876803"/>
              <a:gd name="connsiteX4" fmla="*/ 5893382 w 8221606"/>
              <a:gd name="connsiteY4" fmla="*/ 5834499 h 6876803"/>
              <a:gd name="connsiteX5" fmla="*/ 6423324 w 8221606"/>
              <a:gd name="connsiteY5" fmla="*/ 6876803 h 6876803"/>
              <a:gd name="connsiteX6" fmla="*/ 5812495 w 8221606"/>
              <a:gd name="connsiteY6" fmla="*/ 6876803 h 6876803"/>
              <a:gd name="connsiteX7" fmla="*/ 5812495 w 8221606"/>
              <a:gd name="connsiteY7" fmla="*/ 6876803 h 6876803"/>
              <a:gd name="connsiteX8" fmla="*/ 0 w 8221606"/>
              <a:gd name="connsiteY8" fmla="*/ 6876803 h 6876803"/>
              <a:gd name="connsiteX9" fmla="*/ 0 w 8221606"/>
              <a:gd name="connsiteY9" fmla="*/ 6104 h 6876803"/>
              <a:gd name="connsiteX10" fmla="*/ 4496241 w 8221606"/>
              <a:gd name="connsiteY10" fmla="*/ 6104 h 6876803"/>
              <a:gd name="connsiteX11" fmla="*/ 4496241 w 8221606"/>
              <a:gd name="connsiteY11" fmla="*/ 0 h 6876803"/>
              <a:gd name="connsiteX0" fmla="*/ 4496241 w 8224223"/>
              <a:gd name="connsiteY0" fmla="*/ 0 h 6876803"/>
              <a:gd name="connsiteX1" fmla="*/ 6423323 w 8224223"/>
              <a:gd name="connsiteY1" fmla="*/ 0 h 6876803"/>
              <a:gd name="connsiteX2" fmla="*/ 6068906 w 8224223"/>
              <a:gd name="connsiteY2" fmla="*/ 1941978 h 6876803"/>
              <a:gd name="connsiteX3" fmla="*/ 8221231 w 8224223"/>
              <a:gd name="connsiteY3" fmla="*/ 3481071 h 6876803"/>
              <a:gd name="connsiteX4" fmla="*/ 5559554 w 8224223"/>
              <a:gd name="connsiteY4" fmla="*/ 5500671 h 6876803"/>
              <a:gd name="connsiteX5" fmla="*/ 6423324 w 8224223"/>
              <a:gd name="connsiteY5" fmla="*/ 6876803 h 6876803"/>
              <a:gd name="connsiteX6" fmla="*/ 5812495 w 8224223"/>
              <a:gd name="connsiteY6" fmla="*/ 6876803 h 6876803"/>
              <a:gd name="connsiteX7" fmla="*/ 5812495 w 8224223"/>
              <a:gd name="connsiteY7" fmla="*/ 6876803 h 6876803"/>
              <a:gd name="connsiteX8" fmla="*/ 0 w 8224223"/>
              <a:gd name="connsiteY8" fmla="*/ 6876803 h 6876803"/>
              <a:gd name="connsiteX9" fmla="*/ 0 w 8224223"/>
              <a:gd name="connsiteY9" fmla="*/ 6104 h 6876803"/>
              <a:gd name="connsiteX10" fmla="*/ 4496241 w 8224223"/>
              <a:gd name="connsiteY10" fmla="*/ 6104 h 6876803"/>
              <a:gd name="connsiteX11" fmla="*/ 4496241 w 8224223"/>
              <a:gd name="connsiteY11" fmla="*/ 0 h 6876803"/>
              <a:gd name="connsiteX0" fmla="*/ 4496241 w 8224223"/>
              <a:gd name="connsiteY0" fmla="*/ 0 h 6876803"/>
              <a:gd name="connsiteX1" fmla="*/ 6423323 w 8224223"/>
              <a:gd name="connsiteY1" fmla="*/ 0 h 6876803"/>
              <a:gd name="connsiteX2" fmla="*/ 6068906 w 8224223"/>
              <a:gd name="connsiteY2" fmla="*/ 1941978 h 6876803"/>
              <a:gd name="connsiteX3" fmla="*/ 8221231 w 8224223"/>
              <a:gd name="connsiteY3" fmla="*/ 3481071 h 6876803"/>
              <a:gd name="connsiteX4" fmla="*/ 5559554 w 8224223"/>
              <a:gd name="connsiteY4" fmla="*/ 5500671 h 6876803"/>
              <a:gd name="connsiteX5" fmla="*/ 6423324 w 8224223"/>
              <a:gd name="connsiteY5" fmla="*/ 6876803 h 6876803"/>
              <a:gd name="connsiteX6" fmla="*/ 5812495 w 8224223"/>
              <a:gd name="connsiteY6" fmla="*/ 6876803 h 6876803"/>
              <a:gd name="connsiteX7" fmla="*/ 5812495 w 8224223"/>
              <a:gd name="connsiteY7" fmla="*/ 6876803 h 6876803"/>
              <a:gd name="connsiteX8" fmla="*/ 0 w 8224223"/>
              <a:gd name="connsiteY8" fmla="*/ 6876803 h 6876803"/>
              <a:gd name="connsiteX9" fmla="*/ 0 w 8224223"/>
              <a:gd name="connsiteY9" fmla="*/ 6104 h 6876803"/>
              <a:gd name="connsiteX10" fmla="*/ 4496241 w 8224223"/>
              <a:gd name="connsiteY10" fmla="*/ 6104 h 6876803"/>
              <a:gd name="connsiteX11" fmla="*/ 4496241 w 8224223"/>
              <a:gd name="connsiteY11" fmla="*/ 0 h 6876803"/>
              <a:gd name="connsiteX0" fmla="*/ 4496241 w 8248707"/>
              <a:gd name="connsiteY0" fmla="*/ 0 h 6876803"/>
              <a:gd name="connsiteX1" fmla="*/ 6423323 w 8248707"/>
              <a:gd name="connsiteY1" fmla="*/ 0 h 6876803"/>
              <a:gd name="connsiteX2" fmla="*/ 6068906 w 8248707"/>
              <a:gd name="connsiteY2" fmla="*/ 1941978 h 6876803"/>
              <a:gd name="connsiteX3" fmla="*/ 6894286 w 8248707"/>
              <a:gd name="connsiteY3" fmla="*/ 2473533 h 6876803"/>
              <a:gd name="connsiteX4" fmla="*/ 8221231 w 8248707"/>
              <a:gd name="connsiteY4" fmla="*/ 3481071 h 6876803"/>
              <a:gd name="connsiteX5" fmla="*/ 5559554 w 8248707"/>
              <a:gd name="connsiteY5" fmla="*/ 5500671 h 6876803"/>
              <a:gd name="connsiteX6" fmla="*/ 6423324 w 8248707"/>
              <a:gd name="connsiteY6" fmla="*/ 6876803 h 6876803"/>
              <a:gd name="connsiteX7" fmla="*/ 5812495 w 8248707"/>
              <a:gd name="connsiteY7" fmla="*/ 6876803 h 6876803"/>
              <a:gd name="connsiteX8" fmla="*/ 5812495 w 8248707"/>
              <a:gd name="connsiteY8" fmla="*/ 6876803 h 6876803"/>
              <a:gd name="connsiteX9" fmla="*/ 0 w 8248707"/>
              <a:gd name="connsiteY9" fmla="*/ 6876803 h 6876803"/>
              <a:gd name="connsiteX10" fmla="*/ 0 w 8248707"/>
              <a:gd name="connsiteY10" fmla="*/ 6104 h 6876803"/>
              <a:gd name="connsiteX11" fmla="*/ 4496241 w 8248707"/>
              <a:gd name="connsiteY11" fmla="*/ 6104 h 6876803"/>
              <a:gd name="connsiteX12" fmla="*/ 4496241 w 8248707"/>
              <a:gd name="connsiteY12" fmla="*/ 0 h 6876803"/>
              <a:gd name="connsiteX0" fmla="*/ 4496241 w 8290402"/>
              <a:gd name="connsiteY0" fmla="*/ 0 h 6876803"/>
              <a:gd name="connsiteX1" fmla="*/ 6423323 w 8290402"/>
              <a:gd name="connsiteY1" fmla="*/ 0 h 6876803"/>
              <a:gd name="connsiteX2" fmla="*/ 6068906 w 8290402"/>
              <a:gd name="connsiteY2" fmla="*/ 1941978 h 6876803"/>
              <a:gd name="connsiteX3" fmla="*/ 7387771 w 8290402"/>
              <a:gd name="connsiteY3" fmla="*/ 2168733 h 6876803"/>
              <a:gd name="connsiteX4" fmla="*/ 8221231 w 8290402"/>
              <a:gd name="connsiteY4" fmla="*/ 3481071 h 6876803"/>
              <a:gd name="connsiteX5" fmla="*/ 5559554 w 8290402"/>
              <a:gd name="connsiteY5" fmla="*/ 5500671 h 6876803"/>
              <a:gd name="connsiteX6" fmla="*/ 6423324 w 8290402"/>
              <a:gd name="connsiteY6" fmla="*/ 6876803 h 6876803"/>
              <a:gd name="connsiteX7" fmla="*/ 5812495 w 8290402"/>
              <a:gd name="connsiteY7" fmla="*/ 6876803 h 6876803"/>
              <a:gd name="connsiteX8" fmla="*/ 5812495 w 8290402"/>
              <a:gd name="connsiteY8" fmla="*/ 6876803 h 6876803"/>
              <a:gd name="connsiteX9" fmla="*/ 0 w 8290402"/>
              <a:gd name="connsiteY9" fmla="*/ 6876803 h 6876803"/>
              <a:gd name="connsiteX10" fmla="*/ 0 w 8290402"/>
              <a:gd name="connsiteY10" fmla="*/ 6104 h 6876803"/>
              <a:gd name="connsiteX11" fmla="*/ 4496241 w 8290402"/>
              <a:gd name="connsiteY11" fmla="*/ 6104 h 6876803"/>
              <a:gd name="connsiteX12" fmla="*/ 4496241 w 8290402"/>
              <a:gd name="connsiteY12" fmla="*/ 0 h 6876803"/>
              <a:gd name="connsiteX0" fmla="*/ 4496241 w 8272913"/>
              <a:gd name="connsiteY0" fmla="*/ 0 h 6876803"/>
              <a:gd name="connsiteX1" fmla="*/ 6423323 w 8272913"/>
              <a:gd name="connsiteY1" fmla="*/ 0 h 6876803"/>
              <a:gd name="connsiteX2" fmla="*/ 6068906 w 8272913"/>
              <a:gd name="connsiteY2" fmla="*/ 1941978 h 6876803"/>
              <a:gd name="connsiteX3" fmla="*/ 7387771 w 8272913"/>
              <a:gd name="connsiteY3" fmla="*/ 2168733 h 6876803"/>
              <a:gd name="connsiteX4" fmla="*/ 8221231 w 8272913"/>
              <a:gd name="connsiteY4" fmla="*/ 3481071 h 6876803"/>
              <a:gd name="connsiteX5" fmla="*/ 5559554 w 8272913"/>
              <a:gd name="connsiteY5" fmla="*/ 5500671 h 6876803"/>
              <a:gd name="connsiteX6" fmla="*/ 6423324 w 8272913"/>
              <a:gd name="connsiteY6" fmla="*/ 6876803 h 6876803"/>
              <a:gd name="connsiteX7" fmla="*/ 5812495 w 8272913"/>
              <a:gd name="connsiteY7" fmla="*/ 6876803 h 6876803"/>
              <a:gd name="connsiteX8" fmla="*/ 5812495 w 8272913"/>
              <a:gd name="connsiteY8" fmla="*/ 6876803 h 6876803"/>
              <a:gd name="connsiteX9" fmla="*/ 0 w 8272913"/>
              <a:gd name="connsiteY9" fmla="*/ 6876803 h 6876803"/>
              <a:gd name="connsiteX10" fmla="*/ 0 w 8272913"/>
              <a:gd name="connsiteY10" fmla="*/ 6104 h 6876803"/>
              <a:gd name="connsiteX11" fmla="*/ 4496241 w 8272913"/>
              <a:gd name="connsiteY11" fmla="*/ 6104 h 6876803"/>
              <a:gd name="connsiteX12" fmla="*/ 4496241 w 8272913"/>
              <a:gd name="connsiteY12" fmla="*/ 0 h 6876803"/>
              <a:gd name="connsiteX0" fmla="*/ 4496241 w 8238914"/>
              <a:gd name="connsiteY0" fmla="*/ 0 h 6876803"/>
              <a:gd name="connsiteX1" fmla="*/ 6423323 w 8238914"/>
              <a:gd name="connsiteY1" fmla="*/ 0 h 6876803"/>
              <a:gd name="connsiteX2" fmla="*/ 6068906 w 8238914"/>
              <a:gd name="connsiteY2" fmla="*/ 1941978 h 6876803"/>
              <a:gd name="connsiteX3" fmla="*/ 7387771 w 8238914"/>
              <a:gd name="connsiteY3" fmla="*/ 2168733 h 6876803"/>
              <a:gd name="connsiteX4" fmla="*/ 6749143 w 8238914"/>
              <a:gd name="connsiteY4" fmla="*/ 3068618 h 6876803"/>
              <a:gd name="connsiteX5" fmla="*/ 8221231 w 8238914"/>
              <a:gd name="connsiteY5" fmla="*/ 3481071 h 6876803"/>
              <a:gd name="connsiteX6" fmla="*/ 5559554 w 8238914"/>
              <a:gd name="connsiteY6" fmla="*/ 5500671 h 6876803"/>
              <a:gd name="connsiteX7" fmla="*/ 6423324 w 8238914"/>
              <a:gd name="connsiteY7" fmla="*/ 6876803 h 6876803"/>
              <a:gd name="connsiteX8" fmla="*/ 5812495 w 8238914"/>
              <a:gd name="connsiteY8" fmla="*/ 6876803 h 6876803"/>
              <a:gd name="connsiteX9" fmla="*/ 5812495 w 8238914"/>
              <a:gd name="connsiteY9" fmla="*/ 6876803 h 6876803"/>
              <a:gd name="connsiteX10" fmla="*/ 0 w 8238914"/>
              <a:gd name="connsiteY10" fmla="*/ 6876803 h 6876803"/>
              <a:gd name="connsiteX11" fmla="*/ 0 w 8238914"/>
              <a:gd name="connsiteY11" fmla="*/ 6104 h 6876803"/>
              <a:gd name="connsiteX12" fmla="*/ 4496241 w 8238914"/>
              <a:gd name="connsiteY12" fmla="*/ 6104 h 6876803"/>
              <a:gd name="connsiteX13" fmla="*/ 4496241 w 8238914"/>
              <a:gd name="connsiteY13" fmla="*/ 0 h 6876803"/>
              <a:gd name="connsiteX0" fmla="*/ 4496241 w 7995232"/>
              <a:gd name="connsiteY0" fmla="*/ 0 h 6876803"/>
              <a:gd name="connsiteX1" fmla="*/ 6423323 w 7995232"/>
              <a:gd name="connsiteY1" fmla="*/ 0 h 6876803"/>
              <a:gd name="connsiteX2" fmla="*/ 6068906 w 7995232"/>
              <a:gd name="connsiteY2" fmla="*/ 1941978 h 6876803"/>
              <a:gd name="connsiteX3" fmla="*/ 7387771 w 7995232"/>
              <a:gd name="connsiteY3" fmla="*/ 2168733 h 6876803"/>
              <a:gd name="connsiteX4" fmla="*/ 6749143 w 7995232"/>
              <a:gd name="connsiteY4" fmla="*/ 3068618 h 6876803"/>
              <a:gd name="connsiteX5" fmla="*/ 7974488 w 7995232"/>
              <a:gd name="connsiteY5" fmla="*/ 4148729 h 6876803"/>
              <a:gd name="connsiteX6" fmla="*/ 5559554 w 7995232"/>
              <a:gd name="connsiteY6" fmla="*/ 5500671 h 6876803"/>
              <a:gd name="connsiteX7" fmla="*/ 6423324 w 7995232"/>
              <a:gd name="connsiteY7" fmla="*/ 6876803 h 6876803"/>
              <a:gd name="connsiteX8" fmla="*/ 5812495 w 7995232"/>
              <a:gd name="connsiteY8" fmla="*/ 6876803 h 6876803"/>
              <a:gd name="connsiteX9" fmla="*/ 5812495 w 7995232"/>
              <a:gd name="connsiteY9" fmla="*/ 6876803 h 6876803"/>
              <a:gd name="connsiteX10" fmla="*/ 0 w 7995232"/>
              <a:gd name="connsiteY10" fmla="*/ 6876803 h 6876803"/>
              <a:gd name="connsiteX11" fmla="*/ 0 w 7995232"/>
              <a:gd name="connsiteY11" fmla="*/ 6104 h 6876803"/>
              <a:gd name="connsiteX12" fmla="*/ 4496241 w 7995232"/>
              <a:gd name="connsiteY12" fmla="*/ 6104 h 6876803"/>
              <a:gd name="connsiteX13" fmla="*/ 4496241 w 7995232"/>
              <a:gd name="connsiteY13" fmla="*/ 0 h 6876803"/>
              <a:gd name="connsiteX0" fmla="*/ 4496241 w 7995232"/>
              <a:gd name="connsiteY0" fmla="*/ 6104 h 6876803"/>
              <a:gd name="connsiteX1" fmla="*/ 6423323 w 7995232"/>
              <a:gd name="connsiteY1" fmla="*/ 0 h 6876803"/>
              <a:gd name="connsiteX2" fmla="*/ 6068906 w 7995232"/>
              <a:gd name="connsiteY2" fmla="*/ 1941978 h 6876803"/>
              <a:gd name="connsiteX3" fmla="*/ 7387771 w 7995232"/>
              <a:gd name="connsiteY3" fmla="*/ 2168733 h 6876803"/>
              <a:gd name="connsiteX4" fmla="*/ 6749143 w 7995232"/>
              <a:gd name="connsiteY4" fmla="*/ 3068618 h 6876803"/>
              <a:gd name="connsiteX5" fmla="*/ 7974488 w 7995232"/>
              <a:gd name="connsiteY5" fmla="*/ 4148729 h 6876803"/>
              <a:gd name="connsiteX6" fmla="*/ 5559554 w 7995232"/>
              <a:gd name="connsiteY6" fmla="*/ 5500671 h 6876803"/>
              <a:gd name="connsiteX7" fmla="*/ 6423324 w 7995232"/>
              <a:gd name="connsiteY7" fmla="*/ 6876803 h 6876803"/>
              <a:gd name="connsiteX8" fmla="*/ 5812495 w 7995232"/>
              <a:gd name="connsiteY8" fmla="*/ 6876803 h 6876803"/>
              <a:gd name="connsiteX9" fmla="*/ 5812495 w 7995232"/>
              <a:gd name="connsiteY9" fmla="*/ 6876803 h 6876803"/>
              <a:gd name="connsiteX10" fmla="*/ 0 w 7995232"/>
              <a:gd name="connsiteY10" fmla="*/ 6876803 h 6876803"/>
              <a:gd name="connsiteX11" fmla="*/ 0 w 7995232"/>
              <a:gd name="connsiteY11" fmla="*/ 6104 h 6876803"/>
              <a:gd name="connsiteX12" fmla="*/ 4496241 w 7995232"/>
              <a:gd name="connsiteY12" fmla="*/ 6104 h 6876803"/>
              <a:gd name="connsiteX0" fmla="*/ 0 w 7995232"/>
              <a:gd name="connsiteY0" fmla="*/ 6104 h 6876803"/>
              <a:gd name="connsiteX1" fmla="*/ 6423323 w 7995232"/>
              <a:gd name="connsiteY1" fmla="*/ 0 h 6876803"/>
              <a:gd name="connsiteX2" fmla="*/ 6068906 w 7995232"/>
              <a:gd name="connsiteY2" fmla="*/ 1941978 h 6876803"/>
              <a:gd name="connsiteX3" fmla="*/ 7387771 w 7995232"/>
              <a:gd name="connsiteY3" fmla="*/ 2168733 h 6876803"/>
              <a:gd name="connsiteX4" fmla="*/ 6749143 w 7995232"/>
              <a:gd name="connsiteY4" fmla="*/ 3068618 h 6876803"/>
              <a:gd name="connsiteX5" fmla="*/ 7974488 w 7995232"/>
              <a:gd name="connsiteY5" fmla="*/ 4148729 h 6876803"/>
              <a:gd name="connsiteX6" fmla="*/ 5559554 w 7995232"/>
              <a:gd name="connsiteY6" fmla="*/ 5500671 h 6876803"/>
              <a:gd name="connsiteX7" fmla="*/ 6423324 w 7995232"/>
              <a:gd name="connsiteY7" fmla="*/ 6876803 h 6876803"/>
              <a:gd name="connsiteX8" fmla="*/ 5812495 w 7995232"/>
              <a:gd name="connsiteY8" fmla="*/ 6876803 h 6876803"/>
              <a:gd name="connsiteX9" fmla="*/ 5812495 w 7995232"/>
              <a:gd name="connsiteY9" fmla="*/ 6876803 h 6876803"/>
              <a:gd name="connsiteX10" fmla="*/ 0 w 7995232"/>
              <a:gd name="connsiteY10" fmla="*/ 6876803 h 6876803"/>
              <a:gd name="connsiteX11" fmla="*/ 0 w 7995232"/>
              <a:gd name="connsiteY11" fmla="*/ 6104 h 6876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95232" h="6876803">
                <a:moveTo>
                  <a:pt x="0" y="6104"/>
                </a:moveTo>
                <a:lnTo>
                  <a:pt x="6423323" y="0"/>
                </a:lnTo>
                <a:cubicBezTo>
                  <a:pt x="7069182" y="310018"/>
                  <a:pt x="5908165" y="1580523"/>
                  <a:pt x="6068906" y="1941978"/>
                </a:cubicBezTo>
                <a:cubicBezTo>
                  <a:pt x="6229647" y="2303434"/>
                  <a:pt x="7124417" y="2058369"/>
                  <a:pt x="7387771" y="2168733"/>
                </a:cubicBezTo>
                <a:cubicBezTo>
                  <a:pt x="7651125" y="2279097"/>
                  <a:pt x="6610233" y="2849895"/>
                  <a:pt x="6749143" y="3068618"/>
                </a:cubicBezTo>
                <a:cubicBezTo>
                  <a:pt x="6888053" y="3287341"/>
                  <a:pt x="8172753" y="3743387"/>
                  <a:pt x="7974488" y="4148729"/>
                </a:cubicBezTo>
                <a:cubicBezTo>
                  <a:pt x="7776223" y="4554071"/>
                  <a:pt x="5818081" y="5045992"/>
                  <a:pt x="5559554" y="5500671"/>
                </a:cubicBezTo>
                <a:cubicBezTo>
                  <a:pt x="5301027" y="5955350"/>
                  <a:pt x="6983405" y="6657820"/>
                  <a:pt x="6423324" y="6876803"/>
                </a:cubicBezTo>
                <a:lnTo>
                  <a:pt x="5812495" y="6876803"/>
                </a:lnTo>
                <a:lnTo>
                  <a:pt x="5812495" y="6876803"/>
                </a:lnTo>
                <a:lnTo>
                  <a:pt x="0" y="6876803"/>
                </a:lnTo>
                <a:lnTo>
                  <a:pt x="0" y="6104"/>
                </a:lnTo>
                <a:close/>
              </a:path>
            </a:pathLst>
          </a:custGeom>
          <a:gradFill>
            <a:gsLst>
              <a:gs pos="100000">
                <a:schemeClr val="accent1">
                  <a:alpha val="90000"/>
                </a:schemeClr>
              </a:gs>
              <a:gs pos="0">
                <a:schemeClr val="accent2">
                  <a:alpha val="90000"/>
                </a:schemeClr>
              </a:gs>
            </a:gsLst>
            <a:lin ang="8100000" scaled="1"/>
          </a:gradFill>
          <a:ln>
            <a:noFill/>
          </a:ln>
          <a:effectLst>
            <a:outerShdw blurRad="342900" dist="304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pic>
        <p:nvPicPr>
          <p:cNvPr id="8" name="14_Mobile.png"/>
          <p:cNvPicPr>
            <a:picLocks noChangeAspect="1"/>
          </p:cNvPicPr>
          <p:nvPr userDrawn="1"/>
        </p:nvPicPr>
        <p:blipFill>
          <a:blip r:embed="rId2"/>
          <a:srcRect t="3" b="3"/>
          <a:stretch>
            <a:fillRect/>
          </a:stretch>
        </p:blipFill>
        <p:spPr>
          <a:xfrm>
            <a:off x="3471533" y="4475452"/>
            <a:ext cx="12965046" cy="723828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249077" y="5385147"/>
            <a:ext cx="7830370" cy="3793206"/>
          </a:xfrm>
          <a:custGeom>
            <a:avLst/>
            <a:gdLst>
              <a:gd name="connsiteX0" fmla="*/ 1572901 w 3915185"/>
              <a:gd name="connsiteY0" fmla="*/ 0 h 1896603"/>
              <a:gd name="connsiteX1" fmla="*/ 3915185 w 3915185"/>
              <a:gd name="connsiteY1" fmla="*/ 1252944 h 1896603"/>
              <a:gd name="connsiteX2" fmla="*/ 2294660 w 3915185"/>
              <a:gd name="connsiteY2" fmla="*/ 1896603 h 1896603"/>
              <a:gd name="connsiteX3" fmla="*/ 0 w 3915185"/>
              <a:gd name="connsiteY3" fmla="*/ 539750 h 1896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15185" h="1896603">
                <a:moveTo>
                  <a:pt x="1572901" y="0"/>
                </a:moveTo>
                <a:lnTo>
                  <a:pt x="3915185" y="1252944"/>
                </a:lnTo>
                <a:lnTo>
                  <a:pt x="2294660" y="1896603"/>
                </a:lnTo>
                <a:lnTo>
                  <a:pt x="0" y="53975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409988"/>
      </p:ext>
    </p:extLst>
  </p:cSld>
  <p:clrMapOvr>
    <a:masterClrMapping/>
  </p:clrMapOvr>
  <p:hf hdr="0" ft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1235511" y="6405170"/>
            <a:ext cx="12477478" cy="5173588"/>
            <a:chOff x="3962400" y="3409950"/>
            <a:chExt cx="3124200" cy="1295400"/>
          </a:xfrm>
          <a:solidFill>
            <a:schemeClr val="tx1">
              <a:lumMod val="85000"/>
              <a:lumOff val="15000"/>
            </a:schemeClr>
          </a:solidFill>
          <a:effectLst>
            <a:outerShdw blurRad="546100" dir="18900000" sy="23000" kx="-1200000" algn="bl" rotWithShape="0">
              <a:prstClr val="black">
                <a:alpha val="25000"/>
              </a:prstClr>
            </a:outerShdw>
          </a:effectLst>
        </p:grpSpPr>
        <p:sp>
          <p:nvSpPr>
            <p:cNvPr id="8" name="Freeform 208"/>
            <p:cNvSpPr>
              <a:spLocks/>
            </p:cNvSpPr>
            <p:nvPr/>
          </p:nvSpPr>
          <p:spPr bwMode="auto">
            <a:xfrm>
              <a:off x="3981382" y="3824784"/>
              <a:ext cx="3082442" cy="880566"/>
            </a:xfrm>
            <a:custGeom>
              <a:avLst/>
              <a:gdLst/>
              <a:ahLst/>
              <a:cxnLst>
                <a:cxn ang="0">
                  <a:pos x="817" y="22"/>
                </a:cxn>
                <a:cxn ang="0">
                  <a:pos x="817" y="25"/>
                </a:cxn>
                <a:cxn ang="0">
                  <a:pos x="816" y="28"/>
                </a:cxn>
                <a:cxn ang="0">
                  <a:pos x="815" y="31"/>
                </a:cxn>
                <a:cxn ang="0">
                  <a:pos x="813" y="34"/>
                </a:cxn>
                <a:cxn ang="0">
                  <a:pos x="811" y="36"/>
                </a:cxn>
                <a:cxn ang="0">
                  <a:pos x="807" y="40"/>
                </a:cxn>
                <a:cxn ang="0">
                  <a:pos x="803" y="43"/>
                </a:cxn>
                <a:cxn ang="0">
                  <a:pos x="317" y="326"/>
                </a:cxn>
                <a:cxn ang="0">
                  <a:pos x="298" y="336"/>
                </a:cxn>
                <a:cxn ang="0">
                  <a:pos x="292" y="338"/>
                </a:cxn>
                <a:cxn ang="0">
                  <a:pos x="284" y="340"/>
                </a:cxn>
                <a:cxn ang="0">
                  <a:pos x="276" y="341"/>
                </a:cxn>
                <a:cxn ang="0">
                  <a:pos x="271" y="342"/>
                </a:cxn>
                <a:cxn ang="0">
                  <a:pos x="269" y="342"/>
                </a:cxn>
                <a:cxn ang="0">
                  <a:pos x="266" y="342"/>
                </a:cxn>
                <a:cxn ang="0">
                  <a:pos x="265" y="342"/>
                </a:cxn>
                <a:cxn ang="0">
                  <a:pos x="263" y="342"/>
                </a:cxn>
                <a:cxn ang="0">
                  <a:pos x="258" y="341"/>
                </a:cxn>
                <a:cxn ang="0">
                  <a:pos x="253" y="341"/>
                </a:cxn>
                <a:cxn ang="0">
                  <a:pos x="248" y="340"/>
                </a:cxn>
                <a:cxn ang="0">
                  <a:pos x="243" y="339"/>
                </a:cxn>
                <a:cxn ang="0">
                  <a:pos x="234" y="336"/>
                </a:cxn>
                <a:cxn ang="0">
                  <a:pos x="16" y="210"/>
                </a:cxn>
                <a:cxn ang="0">
                  <a:pos x="16" y="217"/>
                </a:cxn>
                <a:cxn ang="0">
                  <a:pos x="234" y="343"/>
                </a:cxn>
                <a:cxn ang="0">
                  <a:pos x="243" y="346"/>
                </a:cxn>
                <a:cxn ang="0">
                  <a:pos x="248" y="347"/>
                </a:cxn>
                <a:cxn ang="0">
                  <a:pos x="253" y="348"/>
                </a:cxn>
                <a:cxn ang="0">
                  <a:pos x="258" y="349"/>
                </a:cxn>
                <a:cxn ang="0">
                  <a:pos x="263" y="349"/>
                </a:cxn>
                <a:cxn ang="0">
                  <a:pos x="265" y="349"/>
                </a:cxn>
                <a:cxn ang="0">
                  <a:pos x="266" y="349"/>
                </a:cxn>
                <a:cxn ang="0">
                  <a:pos x="269" y="349"/>
                </a:cxn>
                <a:cxn ang="0">
                  <a:pos x="271" y="349"/>
                </a:cxn>
                <a:cxn ang="0">
                  <a:pos x="276" y="349"/>
                </a:cxn>
                <a:cxn ang="0">
                  <a:pos x="284" y="347"/>
                </a:cxn>
                <a:cxn ang="0">
                  <a:pos x="292" y="345"/>
                </a:cxn>
                <a:cxn ang="0">
                  <a:pos x="298" y="343"/>
                </a:cxn>
                <a:cxn ang="0">
                  <a:pos x="317" y="333"/>
                </a:cxn>
                <a:cxn ang="0">
                  <a:pos x="803" y="50"/>
                </a:cxn>
                <a:cxn ang="0">
                  <a:pos x="807" y="47"/>
                </a:cxn>
                <a:cxn ang="0">
                  <a:pos x="811" y="43"/>
                </a:cxn>
                <a:cxn ang="0">
                  <a:pos x="813" y="41"/>
                </a:cxn>
                <a:cxn ang="0">
                  <a:pos x="815" y="38"/>
                </a:cxn>
                <a:cxn ang="0">
                  <a:pos x="816" y="35"/>
                </a:cxn>
                <a:cxn ang="0">
                  <a:pos x="817" y="32"/>
                </a:cxn>
                <a:cxn ang="0">
                  <a:pos x="817" y="29"/>
                </a:cxn>
              </a:cxnLst>
              <a:rect l="0" t="0" r="r" b="b"/>
              <a:pathLst>
                <a:path w="817" h="349">
                  <a:moveTo>
                    <a:pt x="817" y="0"/>
                  </a:moveTo>
                  <a:cubicBezTo>
                    <a:pt x="817" y="0"/>
                    <a:pt x="817" y="1"/>
                    <a:pt x="817" y="1"/>
                  </a:cubicBezTo>
                  <a:cubicBezTo>
                    <a:pt x="817" y="8"/>
                    <a:pt x="817" y="15"/>
                    <a:pt x="817" y="22"/>
                  </a:cubicBezTo>
                  <a:cubicBezTo>
                    <a:pt x="817" y="22"/>
                    <a:pt x="817" y="22"/>
                    <a:pt x="817" y="22"/>
                  </a:cubicBezTo>
                  <a:cubicBezTo>
                    <a:pt x="817" y="23"/>
                    <a:pt x="817" y="23"/>
                    <a:pt x="817" y="24"/>
                  </a:cubicBezTo>
                  <a:cubicBezTo>
                    <a:pt x="817" y="24"/>
                    <a:pt x="817" y="25"/>
                    <a:pt x="817" y="25"/>
                  </a:cubicBezTo>
                  <a:cubicBezTo>
                    <a:pt x="817" y="26"/>
                    <a:pt x="817" y="26"/>
                    <a:pt x="817" y="26"/>
                  </a:cubicBezTo>
                  <a:cubicBezTo>
                    <a:pt x="817" y="27"/>
                    <a:pt x="817" y="27"/>
                    <a:pt x="817" y="27"/>
                  </a:cubicBezTo>
                  <a:cubicBezTo>
                    <a:pt x="817" y="27"/>
                    <a:pt x="816" y="28"/>
                    <a:pt x="816" y="28"/>
                  </a:cubicBezTo>
                  <a:cubicBezTo>
                    <a:pt x="816" y="29"/>
                    <a:pt x="816" y="29"/>
                    <a:pt x="816" y="29"/>
                  </a:cubicBezTo>
                  <a:cubicBezTo>
                    <a:pt x="816" y="30"/>
                    <a:pt x="816" y="30"/>
                    <a:pt x="816" y="30"/>
                  </a:cubicBezTo>
                  <a:cubicBezTo>
                    <a:pt x="816" y="30"/>
                    <a:pt x="815" y="31"/>
                    <a:pt x="815" y="31"/>
                  </a:cubicBezTo>
                  <a:cubicBezTo>
                    <a:pt x="815" y="32"/>
                    <a:pt x="815" y="32"/>
                    <a:pt x="815" y="32"/>
                  </a:cubicBezTo>
                  <a:cubicBezTo>
                    <a:pt x="814" y="32"/>
                    <a:pt x="814" y="32"/>
                    <a:pt x="814" y="32"/>
                  </a:cubicBezTo>
                  <a:cubicBezTo>
                    <a:pt x="814" y="33"/>
                    <a:pt x="813" y="34"/>
                    <a:pt x="813" y="34"/>
                  </a:cubicBezTo>
                  <a:cubicBezTo>
                    <a:pt x="813" y="35"/>
                    <a:pt x="813" y="35"/>
                    <a:pt x="813" y="35"/>
                  </a:cubicBezTo>
                  <a:cubicBezTo>
                    <a:pt x="812" y="35"/>
                    <a:pt x="812" y="36"/>
                    <a:pt x="812" y="36"/>
                  </a:cubicBezTo>
                  <a:cubicBezTo>
                    <a:pt x="811" y="36"/>
                    <a:pt x="811" y="36"/>
                    <a:pt x="811" y="36"/>
                  </a:cubicBezTo>
                  <a:cubicBezTo>
                    <a:pt x="811" y="37"/>
                    <a:pt x="810" y="38"/>
                    <a:pt x="809" y="38"/>
                  </a:cubicBezTo>
                  <a:cubicBezTo>
                    <a:pt x="809" y="39"/>
                    <a:pt x="809" y="39"/>
                    <a:pt x="809" y="39"/>
                  </a:cubicBezTo>
                  <a:cubicBezTo>
                    <a:pt x="809" y="39"/>
                    <a:pt x="808" y="39"/>
                    <a:pt x="807" y="40"/>
                  </a:cubicBezTo>
                  <a:cubicBezTo>
                    <a:pt x="807" y="40"/>
                    <a:pt x="806" y="41"/>
                    <a:pt x="806" y="41"/>
                  </a:cubicBezTo>
                  <a:cubicBezTo>
                    <a:pt x="805" y="41"/>
                    <a:pt x="805" y="42"/>
                    <a:pt x="804" y="42"/>
                  </a:cubicBezTo>
                  <a:cubicBezTo>
                    <a:pt x="804" y="43"/>
                    <a:pt x="803" y="43"/>
                    <a:pt x="803" y="43"/>
                  </a:cubicBezTo>
                  <a:cubicBezTo>
                    <a:pt x="802" y="44"/>
                    <a:pt x="802" y="44"/>
                    <a:pt x="802" y="44"/>
                  </a:cubicBezTo>
                  <a:cubicBezTo>
                    <a:pt x="777" y="58"/>
                    <a:pt x="777" y="58"/>
                    <a:pt x="777" y="58"/>
                  </a:cubicBezTo>
                  <a:cubicBezTo>
                    <a:pt x="317" y="326"/>
                    <a:pt x="317" y="326"/>
                    <a:pt x="317" y="326"/>
                  </a:cubicBezTo>
                  <a:cubicBezTo>
                    <a:pt x="304" y="333"/>
                    <a:pt x="304" y="333"/>
                    <a:pt x="304" y="333"/>
                  </a:cubicBezTo>
                  <a:cubicBezTo>
                    <a:pt x="303" y="334"/>
                    <a:pt x="301" y="335"/>
                    <a:pt x="299" y="335"/>
                  </a:cubicBezTo>
                  <a:cubicBezTo>
                    <a:pt x="299" y="336"/>
                    <a:pt x="298" y="336"/>
                    <a:pt x="298" y="336"/>
                  </a:cubicBezTo>
                  <a:cubicBezTo>
                    <a:pt x="296" y="337"/>
                    <a:pt x="295" y="337"/>
                    <a:pt x="293" y="338"/>
                  </a:cubicBezTo>
                  <a:cubicBezTo>
                    <a:pt x="293" y="338"/>
                    <a:pt x="293" y="338"/>
                    <a:pt x="293" y="338"/>
                  </a:cubicBezTo>
                  <a:cubicBezTo>
                    <a:pt x="292" y="338"/>
                    <a:pt x="292" y="338"/>
                    <a:pt x="292" y="338"/>
                  </a:cubicBezTo>
                  <a:cubicBezTo>
                    <a:pt x="291" y="339"/>
                    <a:pt x="290" y="339"/>
                    <a:pt x="289" y="339"/>
                  </a:cubicBezTo>
                  <a:cubicBezTo>
                    <a:pt x="289" y="339"/>
                    <a:pt x="288" y="339"/>
                    <a:pt x="287" y="340"/>
                  </a:cubicBezTo>
                  <a:cubicBezTo>
                    <a:pt x="286" y="340"/>
                    <a:pt x="285" y="340"/>
                    <a:pt x="284" y="340"/>
                  </a:cubicBezTo>
                  <a:cubicBezTo>
                    <a:pt x="284" y="340"/>
                    <a:pt x="283" y="340"/>
                    <a:pt x="283" y="341"/>
                  </a:cubicBezTo>
                  <a:cubicBezTo>
                    <a:pt x="282" y="341"/>
                    <a:pt x="282" y="341"/>
                    <a:pt x="282" y="341"/>
                  </a:cubicBezTo>
                  <a:cubicBezTo>
                    <a:pt x="280" y="341"/>
                    <a:pt x="278" y="341"/>
                    <a:pt x="276" y="341"/>
                  </a:cubicBezTo>
                  <a:cubicBezTo>
                    <a:pt x="276" y="341"/>
                    <a:pt x="276" y="341"/>
                    <a:pt x="276" y="341"/>
                  </a:cubicBezTo>
                  <a:cubicBezTo>
                    <a:pt x="275" y="342"/>
                    <a:pt x="275" y="342"/>
                    <a:pt x="274" y="342"/>
                  </a:cubicBezTo>
                  <a:cubicBezTo>
                    <a:pt x="273" y="342"/>
                    <a:pt x="272" y="342"/>
                    <a:pt x="271" y="342"/>
                  </a:cubicBezTo>
                  <a:cubicBezTo>
                    <a:pt x="270" y="342"/>
                    <a:pt x="270" y="342"/>
                    <a:pt x="270" y="342"/>
                  </a:cubicBezTo>
                  <a:cubicBezTo>
                    <a:pt x="270" y="342"/>
                    <a:pt x="269" y="342"/>
                    <a:pt x="269" y="342"/>
                  </a:cubicBezTo>
                  <a:cubicBezTo>
                    <a:pt x="269" y="342"/>
                    <a:pt x="269" y="342"/>
                    <a:pt x="269" y="342"/>
                  </a:cubicBezTo>
                  <a:cubicBezTo>
                    <a:pt x="269" y="342"/>
                    <a:pt x="269" y="342"/>
                    <a:pt x="269" y="342"/>
                  </a:cubicBezTo>
                  <a:cubicBezTo>
                    <a:pt x="269" y="342"/>
                    <a:pt x="268" y="342"/>
                    <a:pt x="268" y="342"/>
                  </a:cubicBezTo>
                  <a:cubicBezTo>
                    <a:pt x="268" y="342"/>
                    <a:pt x="267" y="342"/>
                    <a:pt x="266" y="342"/>
                  </a:cubicBezTo>
                  <a:cubicBezTo>
                    <a:pt x="266" y="342"/>
                    <a:pt x="266" y="342"/>
                    <a:pt x="265" y="342"/>
                  </a:cubicBezTo>
                  <a:cubicBezTo>
                    <a:pt x="265" y="342"/>
                    <a:pt x="265" y="342"/>
                    <a:pt x="265" y="342"/>
                  </a:cubicBezTo>
                  <a:cubicBezTo>
                    <a:pt x="265" y="342"/>
                    <a:pt x="265" y="342"/>
                    <a:pt x="265" y="342"/>
                  </a:cubicBezTo>
                  <a:cubicBezTo>
                    <a:pt x="265" y="342"/>
                    <a:pt x="265" y="342"/>
                    <a:pt x="264" y="342"/>
                  </a:cubicBezTo>
                  <a:cubicBezTo>
                    <a:pt x="264" y="342"/>
                    <a:pt x="264" y="342"/>
                    <a:pt x="264" y="342"/>
                  </a:cubicBezTo>
                  <a:cubicBezTo>
                    <a:pt x="264" y="342"/>
                    <a:pt x="263" y="342"/>
                    <a:pt x="263" y="342"/>
                  </a:cubicBezTo>
                  <a:cubicBezTo>
                    <a:pt x="262" y="342"/>
                    <a:pt x="261" y="342"/>
                    <a:pt x="260" y="342"/>
                  </a:cubicBezTo>
                  <a:cubicBezTo>
                    <a:pt x="260" y="342"/>
                    <a:pt x="259" y="342"/>
                    <a:pt x="259" y="342"/>
                  </a:cubicBezTo>
                  <a:cubicBezTo>
                    <a:pt x="259" y="342"/>
                    <a:pt x="258" y="342"/>
                    <a:pt x="258" y="341"/>
                  </a:cubicBezTo>
                  <a:cubicBezTo>
                    <a:pt x="257" y="341"/>
                    <a:pt x="256" y="341"/>
                    <a:pt x="255" y="341"/>
                  </a:cubicBezTo>
                  <a:cubicBezTo>
                    <a:pt x="255" y="341"/>
                    <a:pt x="254" y="341"/>
                    <a:pt x="254" y="341"/>
                  </a:cubicBezTo>
                  <a:cubicBezTo>
                    <a:pt x="254" y="341"/>
                    <a:pt x="253" y="341"/>
                    <a:pt x="253" y="341"/>
                  </a:cubicBezTo>
                  <a:cubicBezTo>
                    <a:pt x="252" y="341"/>
                    <a:pt x="251" y="341"/>
                    <a:pt x="250" y="340"/>
                  </a:cubicBezTo>
                  <a:cubicBezTo>
                    <a:pt x="250" y="340"/>
                    <a:pt x="249" y="340"/>
                    <a:pt x="249" y="340"/>
                  </a:cubicBezTo>
                  <a:cubicBezTo>
                    <a:pt x="248" y="340"/>
                    <a:pt x="248" y="340"/>
                    <a:pt x="248" y="340"/>
                  </a:cubicBezTo>
                  <a:cubicBezTo>
                    <a:pt x="247" y="340"/>
                    <a:pt x="246" y="339"/>
                    <a:pt x="244" y="339"/>
                  </a:cubicBezTo>
                  <a:cubicBezTo>
                    <a:pt x="244" y="339"/>
                    <a:pt x="244" y="339"/>
                    <a:pt x="243" y="339"/>
                  </a:cubicBezTo>
                  <a:cubicBezTo>
                    <a:pt x="243" y="339"/>
                    <a:pt x="243" y="339"/>
                    <a:pt x="243" y="339"/>
                  </a:cubicBezTo>
                  <a:cubicBezTo>
                    <a:pt x="241" y="338"/>
                    <a:pt x="239" y="337"/>
                    <a:pt x="237" y="337"/>
                  </a:cubicBezTo>
                  <a:cubicBezTo>
                    <a:pt x="237" y="337"/>
                    <a:pt x="237" y="337"/>
                    <a:pt x="237" y="337"/>
                  </a:cubicBezTo>
                  <a:cubicBezTo>
                    <a:pt x="236" y="336"/>
                    <a:pt x="235" y="336"/>
                    <a:pt x="234" y="336"/>
                  </a:cubicBezTo>
                  <a:cubicBezTo>
                    <a:pt x="234" y="335"/>
                    <a:pt x="233" y="335"/>
                    <a:pt x="233" y="335"/>
                  </a:cubicBezTo>
                  <a:cubicBezTo>
                    <a:pt x="232" y="334"/>
                    <a:pt x="230" y="334"/>
                    <a:pt x="229" y="333"/>
                  </a:cubicBezTo>
                  <a:cubicBezTo>
                    <a:pt x="16" y="210"/>
                    <a:pt x="16" y="210"/>
                    <a:pt x="16" y="210"/>
                  </a:cubicBezTo>
                  <a:cubicBezTo>
                    <a:pt x="6" y="204"/>
                    <a:pt x="1" y="197"/>
                    <a:pt x="1" y="189"/>
                  </a:cubicBezTo>
                  <a:cubicBezTo>
                    <a:pt x="1" y="195"/>
                    <a:pt x="1" y="195"/>
                    <a:pt x="1" y="195"/>
                  </a:cubicBezTo>
                  <a:cubicBezTo>
                    <a:pt x="0" y="203"/>
                    <a:pt x="6" y="211"/>
                    <a:pt x="16" y="217"/>
                  </a:cubicBezTo>
                  <a:cubicBezTo>
                    <a:pt x="229" y="340"/>
                    <a:pt x="229" y="340"/>
                    <a:pt x="229" y="340"/>
                  </a:cubicBezTo>
                  <a:cubicBezTo>
                    <a:pt x="230" y="341"/>
                    <a:pt x="232" y="341"/>
                    <a:pt x="233" y="342"/>
                  </a:cubicBezTo>
                  <a:cubicBezTo>
                    <a:pt x="233" y="342"/>
                    <a:pt x="234" y="342"/>
                    <a:pt x="234" y="343"/>
                  </a:cubicBezTo>
                  <a:cubicBezTo>
                    <a:pt x="235" y="343"/>
                    <a:pt x="236" y="343"/>
                    <a:pt x="237" y="344"/>
                  </a:cubicBezTo>
                  <a:cubicBezTo>
                    <a:pt x="237" y="344"/>
                    <a:pt x="237" y="344"/>
                    <a:pt x="237" y="344"/>
                  </a:cubicBezTo>
                  <a:cubicBezTo>
                    <a:pt x="239" y="345"/>
                    <a:pt x="241" y="345"/>
                    <a:pt x="243" y="346"/>
                  </a:cubicBezTo>
                  <a:cubicBezTo>
                    <a:pt x="243" y="346"/>
                    <a:pt x="243" y="346"/>
                    <a:pt x="243" y="346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6" y="346"/>
                    <a:pt x="247" y="347"/>
                    <a:pt x="248" y="347"/>
                  </a:cubicBezTo>
                  <a:cubicBezTo>
                    <a:pt x="249" y="347"/>
                    <a:pt x="249" y="347"/>
                    <a:pt x="249" y="347"/>
                  </a:cubicBezTo>
                  <a:cubicBezTo>
                    <a:pt x="249" y="347"/>
                    <a:pt x="250" y="347"/>
                    <a:pt x="250" y="347"/>
                  </a:cubicBezTo>
                  <a:cubicBezTo>
                    <a:pt x="251" y="348"/>
                    <a:pt x="252" y="348"/>
                    <a:pt x="253" y="348"/>
                  </a:cubicBezTo>
                  <a:cubicBezTo>
                    <a:pt x="253" y="348"/>
                    <a:pt x="254" y="348"/>
                    <a:pt x="254" y="348"/>
                  </a:cubicBezTo>
                  <a:cubicBezTo>
                    <a:pt x="254" y="348"/>
                    <a:pt x="255" y="348"/>
                    <a:pt x="255" y="348"/>
                  </a:cubicBezTo>
                  <a:cubicBezTo>
                    <a:pt x="256" y="348"/>
                    <a:pt x="257" y="348"/>
                    <a:pt x="258" y="349"/>
                  </a:cubicBezTo>
                  <a:cubicBezTo>
                    <a:pt x="258" y="349"/>
                    <a:pt x="259" y="349"/>
                    <a:pt x="259" y="349"/>
                  </a:cubicBezTo>
                  <a:cubicBezTo>
                    <a:pt x="259" y="349"/>
                    <a:pt x="260" y="349"/>
                    <a:pt x="260" y="349"/>
                  </a:cubicBezTo>
                  <a:cubicBezTo>
                    <a:pt x="261" y="349"/>
                    <a:pt x="262" y="349"/>
                    <a:pt x="263" y="349"/>
                  </a:cubicBezTo>
                  <a:cubicBezTo>
                    <a:pt x="263" y="349"/>
                    <a:pt x="264" y="349"/>
                    <a:pt x="264" y="349"/>
                  </a:cubicBezTo>
                  <a:cubicBezTo>
                    <a:pt x="264" y="349"/>
                    <a:pt x="264" y="349"/>
                    <a:pt x="265" y="349"/>
                  </a:cubicBezTo>
                  <a:cubicBezTo>
                    <a:pt x="265" y="349"/>
                    <a:pt x="265" y="349"/>
                    <a:pt x="265" y="349"/>
                  </a:cubicBezTo>
                  <a:cubicBezTo>
                    <a:pt x="265" y="349"/>
                    <a:pt x="265" y="349"/>
                    <a:pt x="265" y="349"/>
                  </a:cubicBezTo>
                  <a:cubicBezTo>
                    <a:pt x="265" y="349"/>
                    <a:pt x="265" y="349"/>
                    <a:pt x="265" y="349"/>
                  </a:cubicBezTo>
                  <a:cubicBezTo>
                    <a:pt x="266" y="349"/>
                    <a:pt x="266" y="349"/>
                    <a:pt x="266" y="349"/>
                  </a:cubicBezTo>
                  <a:cubicBezTo>
                    <a:pt x="267" y="349"/>
                    <a:pt x="268" y="349"/>
                    <a:pt x="268" y="349"/>
                  </a:cubicBezTo>
                  <a:cubicBezTo>
                    <a:pt x="268" y="349"/>
                    <a:pt x="269" y="349"/>
                    <a:pt x="269" y="349"/>
                  </a:cubicBezTo>
                  <a:cubicBezTo>
                    <a:pt x="269" y="349"/>
                    <a:pt x="269" y="349"/>
                    <a:pt x="269" y="349"/>
                  </a:cubicBezTo>
                  <a:cubicBezTo>
                    <a:pt x="269" y="349"/>
                    <a:pt x="269" y="349"/>
                    <a:pt x="269" y="349"/>
                  </a:cubicBezTo>
                  <a:cubicBezTo>
                    <a:pt x="269" y="349"/>
                    <a:pt x="270" y="349"/>
                    <a:pt x="270" y="349"/>
                  </a:cubicBezTo>
                  <a:cubicBezTo>
                    <a:pt x="271" y="349"/>
                    <a:pt x="271" y="349"/>
                    <a:pt x="271" y="349"/>
                  </a:cubicBezTo>
                  <a:cubicBezTo>
                    <a:pt x="272" y="349"/>
                    <a:pt x="273" y="349"/>
                    <a:pt x="274" y="349"/>
                  </a:cubicBezTo>
                  <a:cubicBezTo>
                    <a:pt x="275" y="349"/>
                    <a:pt x="275" y="349"/>
                    <a:pt x="276" y="349"/>
                  </a:cubicBezTo>
                  <a:cubicBezTo>
                    <a:pt x="276" y="349"/>
                    <a:pt x="276" y="349"/>
                    <a:pt x="276" y="349"/>
                  </a:cubicBezTo>
                  <a:cubicBezTo>
                    <a:pt x="278" y="348"/>
                    <a:pt x="280" y="348"/>
                    <a:pt x="282" y="348"/>
                  </a:cubicBezTo>
                  <a:cubicBezTo>
                    <a:pt x="283" y="348"/>
                    <a:pt x="283" y="348"/>
                    <a:pt x="283" y="348"/>
                  </a:cubicBezTo>
                  <a:cubicBezTo>
                    <a:pt x="283" y="348"/>
                    <a:pt x="284" y="347"/>
                    <a:pt x="284" y="347"/>
                  </a:cubicBezTo>
                  <a:cubicBezTo>
                    <a:pt x="285" y="347"/>
                    <a:pt x="286" y="347"/>
                    <a:pt x="287" y="347"/>
                  </a:cubicBezTo>
                  <a:cubicBezTo>
                    <a:pt x="288" y="346"/>
                    <a:pt x="289" y="346"/>
                    <a:pt x="289" y="346"/>
                  </a:cubicBezTo>
                  <a:cubicBezTo>
                    <a:pt x="290" y="346"/>
                    <a:pt x="291" y="346"/>
                    <a:pt x="292" y="345"/>
                  </a:cubicBezTo>
                  <a:cubicBezTo>
                    <a:pt x="293" y="345"/>
                    <a:pt x="293" y="345"/>
                    <a:pt x="293" y="345"/>
                  </a:cubicBezTo>
                  <a:cubicBezTo>
                    <a:pt x="293" y="345"/>
                    <a:pt x="293" y="345"/>
                    <a:pt x="293" y="345"/>
                  </a:cubicBezTo>
                  <a:cubicBezTo>
                    <a:pt x="295" y="344"/>
                    <a:pt x="296" y="344"/>
                    <a:pt x="298" y="343"/>
                  </a:cubicBezTo>
                  <a:cubicBezTo>
                    <a:pt x="298" y="343"/>
                    <a:pt x="299" y="343"/>
                    <a:pt x="299" y="343"/>
                  </a:cubicBezTo>
                  <a:cubicBezTo>
                    <a:pt x="301" y="342"/>
                    <a:pt x="303" y="341"/>
                    <a:pt x="304" y="340"/>
                  </a:cubicBezTo>
                  <a:cubicBezTo>
                    <a:pt x="317" y="333"/>
                    <a:pt x="317" y="333"/>
                    <a:pt x="317" y="333"/>
                  </a:cubicBezTo>
                  <a:cubicBezTo>
                    <a:pt x="777" y="65"/>
                    <a:pt x="777" y="65"/>
                    <a:pt x="777" y="65"/>
                  </a:cubicBezTo>
                  <a:cubicBezTo>
                    <a:pt x="802" y="51"/>
                    <a:pt x="802" y="51"/>
                    <a:pt x="802" y="51"/>
                  </a:cubicBezTo>
                  <a:cubicBezTo>
                    <a:pt x="803" y="50"/>
                    <a:pt x="803" y="50"/>
                    <a:pt x="803" y="50"/>
                  </a:cubicBezTo>
                  <a:cubicBezTo>
                    <a:pt x="803" y="50"/>
                    <a:pt x="804" y="50"/>
                    <a:pt x="804" y="49"/>
                  </a:cubicBezTo>
                  <a:cubicBezTo>
                    <a:pt x="805" y="49"/>
                    <a:pt x="805" y="49"/>
                    <a:pt x="806" y="48"/>
                  </a:cubicBezTo>
                  <a:cubicBezTo>
                    <a:pt x="806" y="48"/>
                    <a:pt x="807" y="47"/>
                    <a:pt x="807" y="47"/>
                  </a:cubicBezTo>
                  <a:cubicBezTo>
                    <a:pt x="808" y="46"/>
                    <a:pt x="809" y="46"/>
                    <a:pt x="809" y="46"/>
                  </a:cubicBezTo>
                  <a:cubicBezTo>
                    <a:pt x="809" y="45"/>
                    <a:pt x="809" y="45"/>
                    <a:pt x="809" y="45"/>
                  </a:cubicBezTo>
                  <a:cubicBezTo>
                    <a:pt x="810" y="45"/>
                    <a:pt x="811" y="44"/>
                    <a:pt x="811" y="43"/>
                  </a:cubicBezTo>
                  <a:cubicBezTo>
                    <a:pt x="812" y="43"/>
                    <a:pt x="812" y="43"/>
                    <a:pt x="812" y="43"/>
                  </a:cubicBezTo>
                  <a:cubicBezTo>
                    <a:pt x="812" y="43"/>
                    <a:pt x="812" y="42"/>
                    <a:pt x="813" y="42"/>
                  </a:cubicBezTo>
                  <a:cubicBezTo>
                    <a:pt x="813" y="41"/>
                    <a:pt x="813" y="41"/>
                    <a:pt x="813" y="41"/>
                  </a:cubicBezTo>
                  <a:cubicBezTo>
                    <a:pt x="813" y="41"/>
                    <a:pt x="814" y="40"/>
                    <a:pt x="814" y="39"/>
                  </a:cubicBezTo>
                  <a:cubicBezTo>
                    <a:pt x="815" y="39"/>
                    <a:pt x="815" y="39"/>
                    <a:pt x="815" y="39"/>
                  </a:cubicBezTo>
                  <a:cubicBezTo>
                    <a:pt x="815" y="38"/>
                    <a:pt x="815" y="38"/>
                    <a:pt x="815" y="38"/>
                  </a:cubicBezTo>
                  <a:cubicBezTo>
                    <a:pt x="815" y="38"/>
                    <a:pt x="816" y="37"/>
                    <a:pt x="816" y="37"/>
                  </a:cubicBezTo>
                  <a:cubicBezTo>
                    <a:pt x="816" y="36"/>
                    <a:pt x="816" y="36"/>
                    <a:pt x="816" y="36"/>
                  </a:cubicBezTo>
                  <a:cubicBezTo>
                    <a:pt x="816" y="35"/>
                    <a:pt x="816" y="35"/>
                    <a:pt x="816" y="35"/>
                  </a:cubicBezTo>
                  <a:cubicBezTo>
                    <a:pt x="816" y="35"/>
                    <a:pt x="817" y="34"/>
                    <a:pt x="817" y="34"/>
                  </a:cubicBezTo>
                  <a:cubicBezTo>
                    <a:pt x="817" y="33"/>
                    <a:pt x="817" y="33"/>
                    <a:pt x="817" y="33"/>
                  </a:cubicBezTo>
                  <a:cubicBezTo>
                    <a:pt x="817" y="32"/>
                    <a:pt x="817" y="32"/>
                    <a:pt x="817" y="32"/>
                  </a:cubicBezTo>
                  <a:cubicBezTo>
                    <a:pt x="817" y="32"/>
                    <a:pt x="817" y="31"/>
                    <a:pt x="817" y="31"/>
                  </a:cubicBezTo>
                  <a:cubicBezTo>
                    <a:pt x="817" y="30"/>
                    <a:pt x="817" y="30"/>
                    <a:pt x="817" y="30"/>
                  </a:cubicBezTo>
                  <a:cubicBezTo>
                    <a:pt x="817" y="29"/>
                    <a:pt x="817" y="29"/>
                    <a:pt x="817" y="29"/>
                  </a:cubicBezTo>
                  <a:cubicBezTo>
                    <a:pt x="817" y="19"/>
                    <a:pt x="817" y="10"/>
                    <a:pt x="81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  <p:sp>
          <p:nvSpPr>
            <p:cNvPr id="9" name="Freeform 209"/>
            <p:cNvSpPr>
              <a:spLocks/>
            </p:cNvSpPr>
            <p:nvPr/>
          </p:nvSpPr>
          <p:spPr bwMode="auto">
            <a:xfrm>
              <a:off x="4127156" y="3492328"/>
              <a:ext cx="2729405" cy="1063805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0" y="267"/>
                </a:cxn>
                <a:cxn ang="0">
                  <a:pos x="261" y="418"/>
                </a:cxn>
                <a:cxn ang="0">
                  <a:pos x="719" y="151"/>
                </a:cxn>
                <a:cxn ang="0">
                  <a:pos x="458" y="0"/>
                </a:cxn>
              </a:cxnLst>
              <a:rect l="0" t="0" r="r" b="b"/>
              <a:pathLst>
                <a:path w="719" h="418">
                  <a:moveTo>
                    <a:pt x="458" y="0"/>
                  </a:moveTo>
                  <a:lnTo>
                    <a:pt x="0" y="267"/>
                  </a:lnTo>
                  <a:lnTo>
                    <a:pt x="261" y="418"/>
                  </a:lnTo>
                  <a:lnTo>
                    <a:pt x="719" y="151"/>
                  </a:lnTo>
                  <a:lnTo>
                    <a:pt x="45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  <p:sp>
          <p:nvSpPr>
            <p:cNvPr id="10" name="Freeform 210"/>
            <p:cNvSpPr>
              <a:spLocks/>
            </p:cNvSpPr>
            <p:nvPr/>
          </p:nvSpPr>
          <p:spPr bwMode="auto">
            <a:xfrm>
              <a:off x="4178273" y="3473758"/>
              <a:ext cx="2729405" cy="1063805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0" y="267"/>
                </a:cxn>
                <a:cxn ang="0">
                  <a:pos x="261" y="418"/>
                </a:cxn>
                <a:cxn ang="0">
                  <a:pos x="719" y="151"/>
                </a:cxn>
                <a:cxn ang="0">
                  <a:pos x="458" y="0"/>
                </a:cxn>
              </a:cxnLst>
              <a:rect l="0" t="0" r="r" b="b"/>
              <a:pathLst>
                <a:path w="719" h="418">
                  <a:moveTo>
                    <a:pt x="458" y="0"/>
                  </a:moveTo>
                  <a:lnTo>
                    <a:pt x="0" y="267"/>
                  </a:lnTo>
                  <a:lnTo>
                    <a:pt x="261" y="418"/>
                  </a:lnTo>
                  <a:lnTo>
                    <a:pt x="719" y="151"/>
                  </a:lnTo>
                  <a:lnTo>
                    <a:pt x="458" y="0"/>
                  </a:lnTo>
                </a:path>
              </a:pathLst>
            </a:custGeom>
            <a:blipFill>
              <a:blip r:embed="rId2"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  <p:sp>
          <p:nvSpPr>
            <p:cNvPr id="11" name="Freeform 211"/>
            <p:cNvSpPr>
              <a:spLocks/>
            </p:cNvSpPr>
            <p:nvPr/>
          </p:nvSpPr>
          <p:spPr bwMode="auto">
            <a:xfrm>
              <a:off x="4121837" y="3488845"/>
              <a:ext cx="2759773" cy="1073985"/>
            </a:xfrm>
            <a:custGeom>
              <a:avLst/>
              <a:gdLst/>
              <a:ahLst/>
              <a:cxnLst>
                <a:cxn ang="0">
                  <a:pos x="462" y="2"/>
                </a:cxn>
                <a:cxn ang="0">
                  <a:pos x="461" y="0"/>
                </a:cxn>
                <a:cxn ang="0">
                  <a:pos x="0" y="269"/>
                </a:cxn>
                <a:cxn ang="0">
                  <a:pos x="265" y="422"/>
                </a:cxn>
                <a:cxn ang="0">
                  <a:pos x="727" y="153"/>
                </a:cxn>
                <a:cxn ang="0">
                  <a:pos x="462" y="0"/>
                </a:cxn>
                <a:cxn ang="0">
                  <a:pos x="461" y="0"/>
                </a:cxn>
                <a:cxn ang="0">
                  <a:pos x="462" y="2"/>
                </a:cxn>
                <a:cxn ang="0">
                  <a:pos x="461" y="4"/>
                </a:cxn>
                <a:cxn ang="0">
                  <a:pos x="719" y="153"/>
                </a:cxn>
                <a:cxn ang="0">
                  <a:pos x="265" y="417"/>
                </a:cxn>
                <a:cxn ang="0">
                  <a:pos x="8" y="269"/>
                </a:cxn>
                <a:cxn ang="0">
                  <a:pos x="463" y="4"/>
                </a:cxn>
                <a:cxn ang="0">
                  <a:pos x="462" y="2"/>
                </a:cxn>
                <a:cxn ang="0">
                  <a:pos x="461" y="4"/>
                </a:cxn>
                <a:cxn ang="0">
                  <a:pos x="462" y="2"/>
                </a:cxn>
              </a:cxnLst>
              <a:rect l="0" t="0" r="r" b="b"/>
              <a:pathLst>
                <a:path w="727" h="422">
                  <a:moveTo>
                    <a:pt x="462" y="2"/>
                  </a:moveTo>
                  <a:lnTo>
                    <a:pt x="461" y="0"/>
                  </a:lnTo>
                  <a:lnTo>
                    <a:pt x="0" y="269"/>
                  </a:lnTo>
                  <a:lnTo>
                    <a:pt x="265" y="422"/>
                  </a:lnTo>
                  <a:lnTo>
                    <a:pt x="727" y="153"/>
                  </a:lnTo>
                  <a:lnTo>
                    <a:pt x="462" y="0"/>
                  </a:lnTo>
                  <a:lnTo>
                    <a:pt x="461" y="0"/>
                  </a:lnTo>
                  <a:lnTo>
                    <a:pt x="462" y="2"/>
                  </a:lnTo>
                  <a:lnTo>
                    <a:pt x="461" y="4"/>
                  </a:lnTo>
                  <a:lnTo>
                    <a:pt x="719" y="153"/>
                  </a:lnTo>
                  <a:lnTo>
                    <a:pt x="265" y="417"/>
                  </a:lnTo>
                  <a:lnTo>
                    <a:pt x="8" y="269"/>
                  </a:lnTo>
                  <a:lnTo>
                    <a:pt x="463" y="4"/>
                  </a:lnTo>
                  <a:lnTo>
                    <a:pt x="462" y="2"/>
                  </a:lnTo>
                  <a:lnTo>
                    <a:pt x="461" y="4"/>
                  </a:lnTo>
                  <a:lnTo>
                    <a:pt x="46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  <p:sp>
          <p:nvSpPr>
            <p:cNvPr id="12" name="Freeform 212"/>
            <p:cNvSpPr>
              <a:spLocks/>
            </p:cNvSpPr>
            <p:nvPr/>
          </p:nvSpPr>
          <p:spPr bwMode="auto">
            <a:xfrm>
              <a:off x="4121837" y="3488845"/>
              <a:ext cx="2759773" cy="1073985"/>
            </a:xfrm>
            <a:custGeom>
              <a:avLst/>
              <a:gdLst/>
              <a:ahLst/>
              <a:cxnLst>
                <a:cxn ang="0">
                  <a:pos x="462" y="2"/>
                </a:cxn>
                <a:cxn ang="0">
                  <a:pos x="461" y="0"/>
                </a:cxn>
                <a:cxn ang="0">
                  <a:pos x="0" y="269"/>
                </a:cxn>
                <a:cxn ang="0">
                  <a:pos x="265" y="422"/>
                </a:cxn>
                <a:cxn ang="0">
                  <a:pos x="727" y="153"/>
                </a:cxn>
                <a:cxn ang="0">
                  <a:pos x="462" y="0"/>
                </a:cxn>
                <a:cxn ang="0">
                  <a:pos x="461" y="0"/>
                </a:cxn>
                <a:cxn ang="0">
                  <a:pos x="462" y="2"/>
                </a:cxn>
                <a:cxn ang="0">
                  <a:pos x="461" y="4"/>
                </a:cxn>
                <a:cxn ang="0">
                  <a:pos x="719" y="153"/>
                </a:cxn>
                <a:cxn ang="0">
                  <a:pos x="265" y="417"/>
                </a:cxn>
                <a:cxn ang="0">
                  <a:pos x="8" y="269"/>
                </a:cxn>
                <a:cxn ang="0">
                  <a:pos x="463" y="4"/>
                </a:cxn>
                <a:cxn ang="0">
                  <a:pos x="462" y="2"/>
                </a:cxn>
                <a:cxn ang="0">
                  <a:pos x="461" y="4"/>
                </a:cxn>
                <a:cxn ang="0">
                  <a:pos x="462" y="2"/>
                </a:cxn>
              </a:cxnLst>
              <a:rect l="0" t="0" r="r" b="b"/>
              <a:pathLst>
                <a:path w="727" h="422">
                  <a:moveTo>
                    <a:pt x="462" y="2"/>
                  </a:moveTo>
                  <a:lnTo>
                    <a:pt x="461" y="0"/>
                  </a:lnTo>
                  <a:lnTo>
                    <a:pt x="0" y="269"/>
                  </a:lnTo>
                  <a:lnTo>
                    <a:pt x="265" y="422"/>
                  </a:lnTo>
                  <a:lnTo>
                    <a:pt x="727" y="153"/>
                  </a:lnTo>
                  <a:lnTo>
                    <a:pt x="462" y="0"/>
                  </a:lnTo>
                  <a:lnTo>
                    <a:pt x="461" y="0"/>
                  </a:lnTo>
                  <a:lnTo>
                    <a:pt x="462" y="2"/>
                  </a:lnTo>
                  <a:lnTo>
                    <a:pt x="461" y="4"/>
                  </a:lnTo>
                  <a:lnTo>
                    <a:pt x="719" y="153"/>
                  </a:lnTo>
                  <a:lnTo>
                    <a:pt x="265" y="417"/>
                  </a:lnTo>
                  <a:lnTo>
                    <a:pt x="8" y="269"/>
                  </a:lnTo>
                  <a:lnTo>
                    <a:pt x="463" y="4"/>
                  </a:lnTo>
                  <a:lnTo>
                    <a:pt x="462" y="2"/>
                  </a:lnTo>
                  <a:lnTo>
                    <a:pt x="461" y="4"/>
                  </a:lnTo>
                  <a:lnTo>
                    <a:pt x="462" y="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  <p:sp>
          <p:nvSpPr>
            <p:cNvPr id="13" name="Freeform 213"/>
            <p:cNvSpPr>
              <a:spLocks/>
            </p:cNvSpPr>
            <p:nvPr/>
          </p:nvSpPr>
          <p:spPr bwMode="auto">
            <a:xfrm>
              <a:off x="6259048" y="3552469"/>
              <a:ext cx="455533" cy="178149"/>
            </a:xfrm>
            <a:custGeom>
              <a:avLst/>
              <a:gdLst/>
              <a:ahLst/>
              <a:cxnLst>
                <a:cxn ang="0">
                  <a:pos x="118" y="61"/>
                </a:cxn>
                <a:cxn ang="0">
                  <a:pos x="118" y="67"/>
                </a:cxn>
                <a:cxn ang="0">
                  <a:pos x="115" y="68"/>
                </a:cxn>
                <a:cxn ang="0">
                  <a:pos x="105" y="68"/>
                </a:cxn>
                <a:cxn ang="0">
                  <a:pos x="3" y="9"/>
                </a:cxn>
                <a:cxn ang="0">
                  <a:pos x="3" y="3"/>
                </a:cxn>
                <a:cxn ang="0">
                  <a:pos x="5" y="2"/>
                </a:cxn>
                <a:cxn ang="0">
                  <a:pos x="15" y="2"/>
                </a:cxn>
                <a:cxn ang="0">
                  <a:pos x="118" y="61"/>
                </a:cxn>
              </a:cxnLst>
              <a:rect l="0" t="0" r="r" b="b"/>
              <a:pathLst>
                <a:path w="121" h="70">
                  <a:moveTo>
                    <a:pt x="118" y="61"/>
                  </a:moveTo>
                  <a:cubicBezTo>
                    <a:pt x="121" y="63"/>
                    <a:pt x="121" y="65"/>
                    <a:pt x="118" y="67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3" y="70"/>
                    <a:pt x="108" y="70"/>
                    <a:pt x="105" y="6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0" y="7"/>
                    <a:pt x="0" y="5"/>
                    <a:pt x="3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8" y="0"/>
                    <a:pt x="12" y="0"/>
                    <a:pt x="15" y="2"/>
                  </a:cubicBezTo>
                  <a:cubicBezTo>
                    <a:pt x="118" y="61"/>
                    <a:pt x="118" y="61"/>
                    <a:pt x="118" y="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  <p:sp>
          <p:nvSpPr>
            <p:cNvPr id="14" name="Freeform 214"/>
            <p:cNvSpPr>
              <a:spLocks/>
            </p:cNvSpPr>
            <p:nvPr/>
          </p:nvSpPr>
          <p:spPr bwMode="auto">
            <a:xfrm>
              <a:off x="6733561" y="3738254"/>
              <a:ext cx="72127" cy="27996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16" y="9"/>
                </a:cxn>
                <a:cxn ang="0">
                  <a:pos x="3" y="9"/>
                </a:cxn>
                <a:cxn ang="0">
                  <a:pos x="3" y="2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9" y="4"/>
                    <a:pt x="19" y="7"/>
                    <a:pt x="16" y="9"/>
                  </a:cubicBezTo>
                  <a:cubicBezTo>
                    <a:pt x="12" y="11"/>
                    <a:pt x="7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ubicBezTo>
                    <a:pt x="7" y="0"/>
                    <a:pt x="12" y="0"/>
                    <a:pt x="16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  <p:sp>
          <p:nvSpPr>
            <p:cNvPr id="15" name="Freeform 215"/>
            <p:cNvSpPr>
              <a:spLocks noEditPoints="1"/>
            </p:cNvSpPr>
            <p:nvPr/>
          </p:nvSpPr>
          <p:spPr bwMode="auto">
            <a:xfrm>
              <a:off x="3962400" y="3409950"/>
              <a:ext cx="3124200" cy="1213960"/>
            </a:xfrm>
            <a:custGeom>
              <a:avLst/>
              <a:gdLst/>
              <a:ahLst/>
              <a:cxnLst>
                <a:cxn ang="0">
                  <a:pos x="807" y="135"/>
                </a:cxn>
                <a:cxn ang="0">
                  <a:pos x="594" y="12"/>
                </a:cxn>
                <a:cxn ang="0">
                  <a:pos x="519" y="12"/>
                </a:cxn>
                <a:cxn ang="0">
                  <a:pos x="494" y="27"/>
                </a:cxn>
                <a:cxn ang="0">
                  <a:pos x="33" y="295"/>
                </a:cxn>
                <a:cxn ang="0">
                  <a:pos x="21" y="302"/>
                </a:cxn>
                <a:cxn ang="0">
                  <a:pos x="21" y="345"/>
                </a:cxn>
                <a:cxn ang="0">
                  <a:pos x="234" y="468"/>
                </a:cxn>
                <a:cxn ang="0">
                  <a:pos x="309" y="468"/>
                </a:cxn>
                <a:cxn ang="0">
                  <a:pos x="322" y="461"/>
                </a:cxn>
                <a:cxn ang="0">
                  <a:pos x="782" y="193"/>
                </a:cxn>
                <a:cxn ang="0">
                  <a:pos x="807" y="179"/>
                </a:cxn>
                <a:cxn ang="0">
                  <a:pos x="807" y="135"/>
                </a:cxn>
                <a:cxn ang="0">
                  <a:pos x="738" y="132"/>
                </a:cxn>
                <a:cxn ang="0">
                  <a:pos x="751" y="132"/>
                </a:cxn>
                <a:cxn ang="0">
                  <a:pos x="751" y="139"/>
                </a:cxn>
                <a:cxn ang="0">
                  <a:pos x="738" y="139"/>
                </a:cxn>
                <a:cxn ang="0">
                  <a:pos x="738" y="132"/>
                </a:cxn>
                <a:cxn ang="0">
                  <a:pos x="612" y="60"/>
                </a:cxn>
                <a:cxn ang="0">
                  <a:pos x="614" y="59"/>
                </a:cxn>
                <a:cxn ang="0">
                  <a:pos x="624" y="59"/>
                </a:cxn>
                <a:cxn ang="0">
                  <a:pos x="727" y="118"/>
                </a:cxn>
                <a:cxn ang="0">
                  <a:pos x="727" y="124"/>
                </a:cxn>
                <a:cxn ang="0">
                  <a:pos x="724" y="125"/>
                </a:cxn>
                <a:cxn ang="0">
                  <a:pos x="714" y="125"/>
                </a:cxn>
                <a:cxn ang="0">
                  <a:pos x="612" y="66"/>
                </a:cxn>
                <a:cxn ang="0">
                  <a:pos x="612" y="60"/>
                </a:cxn>
                <a:cxn ang="0">
                  <a:pos x="309" y="454"/>
                </a:cxn>
                <a:cxn ang="0">
                  <a:pos x="114" y="341"/>
                </a:cxn>
                <a:cxn ang="0">
                  <a:pos x="46" y="302"/>
                </a:cxn>
                <a:cxn ang="0">
                  <a:pos x="507" y="34"/>
                </a:cxn>
                <a:cxn ang="0">
                  <a:pos x="770" y="186"/>
                </a:cxn>
                <a:cxn ang="0">
                  <a:pos x="309" y="454"/>
                </a:cxn>
              </a:cxnLst>
              <a:rect l="0" t="0" r="r" b="b"/>
              <a:pathLst>
                <a:path w="828" h="480">
                  <a:moveTo>
                    <a:pt x="807" y="135"/>
                  </a:moveTo>
                  <a:cubicBezTo>
                    <a:pt x="594" y="12"/>
                    <a:pt x="594" y="12"/>
                    <a:pt x="594" y="12"/>
                  </a:cubicBezTo>
                  <a:cubicBezTo>
                    <a:pt x="573" y="0"/>
                    <a:pt x="539" y="0"/>
                    <a:pt x="519" y="12"/>
                  </a:cubicBezTo>
                  <a:cubicBezTo>
                    <a:pt x="494" y="27"/>
                    <a:pt x="494" y="27"/>
                    <a:pt x="494" y="27"/>
                  </a:cubicBezTo>
                  <a:cubicBezTo>
                    <a:pt x="33" y="295"/>
                    <a:pt x="33" y="295"/>
                    <a:pt x="33" y="295"/>
                  </a:cubicBezTo>
                  <a:cubicBezTo>
                    <a:pt x="21" y="302"/>
                    <a:pt x="21" y="302"/>
                    <a:pt x="21" y="302"/>
                  </a:cubicBezTo>
                  <a:cubicBezTo>
                    <a:pt x="0" y="314"/>
                    <a:pt x="0" y="333"/>
                    <a:pt x="21" y="345"/>
                  </a:cubicBezTo>
                  <a:cubicBezTo>
                    <a:pt x="234" y="468"/>
                    <a:pt x="234" y="468"/>
                    <a:pt x="234" y="468"/>
                  </a:cubicBezTo>
                  <a:cubicBezTo>
                    <a:pt x="255" y="480"/>
                    <a:pt x="289" y="480"/>
                    <a:pt x="309" y="468"/>
                  </a:cubicBezTo>
                  <a:cubicBezTo>
                    <a:pt x="322" y="461"/>
                    <a:pt x="322" y="461"/>
                    <a:pt x="322" y="461"/>
                  </a:cubicBezTo>
                  <a:cubicBezTo>
                    <a:pt x="782" y="193"/>
                    <a:pt x="782" y="193"/>
                    <a:pt x="782" y="193"/>
                  </a:cubicBezTo>
                  <a:cubicBezTo>
                    <a:pt x="807" y="179"/>
                    <a:pt x="807" y="179"/>
                    <a:pt x="807" y="179"/>
                  </a:cubicBezTo>
                  <a:cubicBezTo>
                    <a:pt x="828" y="167"/>
                    <a:pt x="828" y="147"/>
                    <a:pt x="807" y="135"/>
                  </a:cubicBezTo>
                  <a:moveTo>
                    <a:pt x="738" y="132"/>
                  </a:moveTo>
                  <a:cubicBezTo>
                    <a:pt x="742" y="130"/>
                    <a:pt x="747" y="130"/>
                    <a:pt x="751" y="132"/>
                  </a:cubicBezTo>
                  <a:cubicBezTo>
                    <a:pt x="754" y="134"/>
                    <a:pt x="754" y="137"/>
                    <a:pt x="751" y="139"/>
                  </a:cubicBezTo>
                  <a:cubicBezTo>
                    <a:pt x="747" y="141"/>
                    <a:pt x="742" y="141"/>
                    <a:pt x="738" y="139"/>
                  </a:cubicBezTo>
                  <a:cubicBezTo>
                    <a:pt x="735" y="137"/>
                    <a:pt x="735" y="134"/>
                    <a:pt x="738" y="132"/>
                  </a:cubicBezTo>
                  <a:moveTo>
                    <a:pt x="612" y="60"/>
                  </a:moveTo>
                  <a:cubicBezTo>
                    <a:pt x="614" y="59"/>
                    <a:pt x="614" y="59"/>
                    <a:pt x="614" y="59"/>
                  </a:cubicBezTo>
                  <a:cubicBezTo>
                    <a:pt x="617" y="57"/>
                    <a:pt x="621" y="57"/>
                    <a:pt x="624" y="59"/>
                  </a:cubicBezTo>
                  <a:cubicBezTo>
                    <a:pt x="727" y="118"/>
                    <a:pt x="727" y="118"/>
                    <a:pt x="727" y="118"/>
                  </a:cubicBezTo>
                  <a:cubicBezTo>
                    <a:pt x="730" y="120"/>
                    <a:pt x="730" y="122"/>
                    <a:pt x="727" y="124"/>
                  </a:cubicBezTo>
                  <a:cubicBezTo>
                    <a:pt x="724" y="125"/>
                    <a:pt x="724" y="125"/>
                    <a:pt x="724" y="125"/>
                  </a:cubicBezTo>
                  <a:cubicBezTo>
                    <a:pt x="722" y="127"/>
                    <a:pt x="717" y="127"/>
                    <a:pt x="714" y="125"/>
                  </a:cubicBezTo>
                  <a:cubicBezTo>
                    <a:pt x="612" y="66"/>
                    <a:pt x="612" y="66"/>
                    <a:pt x="612" y="66"/>
                  </a:cubicBezTo>
                  <a:cubicBezTo>
                    <a:pt x="609" y="64"/>
                    <a:pt x="609" y="62"/>
                    <a:pt x="612" y="60"/>
                  </a:cubicBezTo>
                  <a:moveTo>
                    <a:pt x="309" y="454"/>
                  </a:moveTo>
                  <a:cubicBezTo>
                    <a:pt x="114" y="341"/>
                    <a:pt x="114" y="341"/>
                    <a:pt x="114" y="341"/>
                  </a:cubicBezTo>
                  <a:cubicBezTo>
                    <a:pt x="46" y="302"/>
                    <a:pt x="46" y="302"/>
                    <a:pt x="46" y="302"/>
                  </a:cubicBezTo>
                  <a:cubicBezTo>
                    <a:pt x="507" y="34"/>
                    <a:pt x="507" y="34"/>
                    <a:pt x="507" y="34"/>
                  </a:cubicBezTo>
                  <a:cubicBezTo>
                    <a:pt x="770" y="186"/>
                    <a:pt x="770" y="186"/>
                    <a:pt x="770" y="186"/>
                  </a:cubicBezTo>
                  <a:cubicBezTo>
                    <a:pt x="309" y="454"/>
                    <a:pt x="309" y="454"/>
                    <a:pt x="309" y="45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731" tIns="60866" rIns="121731" bIns="60866" numCol="1" anchor="t" anchorCtr="0" compatLnSpc="1">
              <a:prstTxWarp prst="textNoShape">
                <a:avLst/>
              </a:prstTxWarp>
            </a:bodyPr>
            <a:lstStyle/>
            <a:p>
              <a:endParaRPr lang="en-US" sz="6390"/>
            </a:p>
          </p:txBody>
        </p:sp>
      </p:grpSp>
      <p:sp>
        <p:nvSpPr>
          <p:cNvPr id="21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1922182" y="6752582"/>
            <a:ext cx="10917556" cy="4209416"/>
          </a:xfrm>
          <a:custGeom>
            <a:avLst/>
            <a:gdLst>
              <a:gd name="connsiteX0" fmla="*/ 3499728 w 5458778"/>
              <a:gd name="connsiteY0" fmla="*/ 0 h 2104708"/>
              <a:gd name="connsiteX1" fmla="*/ 5458778 w 5458778"/>
              <a:gd name="connsiteY1" fmla="*/ 739612 h 2104708"/>
              <a:gd name="connsiteX2" fmla="*/ 1912183 w 5458778"/>
              <a:gd name="connsiteY2" fmla="*/ 2104708 h 2104708"/>
              <a:gd name="connsiteX3" fmla="*/ 0 w 5458778"/>
              <a:gd name="connsiteY3" fmla="*/ 1337435 h 2104708"/>
              <a:gd name="connsiteX4" fmla="*/ 3499728 w 5458778"/>
              <a:gd name="connsiteY4" fmla="*/ 0 h 2104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8778" h="2104708">
                <a:moveTo>
                  <a:pt x="3499728" y="0"/>
                </a:moveTo>
                <a:lnTo>
                  <a:pt x="5458778" y="739612"/>
                </a:lnTo>
                <a:lnTo>
                  <a:pt x="1912183" y="2104708"/>
                </a:lnTo>
                <a:lnTo>
                  <a:pt x="0" y="1337435"/>
                </a:lnTo>
                <a:cubicBezTo>
                  <a:pt x="1138636" y="873843"/>
                  <a:pt x="2361092" y="463592"/>
                  <a:pt x="3499728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4399660" y="4283428"/>
            <a:ext cx="7669312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1922182" y="5723458"/>
            <a:ext cx="10917556" cy="4209416"/>
          </a:xfrm>
          <a:custGeom>
            <a:avLst/>
            <a:gdLst>
              <a:gd name="connsiteX0" fmla="*/ 3499728 w 5458778"/>
              <a:gd name="connsiteY0" fmla="*/ 0 h 2104708"/>
              <a:gd name="connsiteX1" fmla="*/ 5458778 w 5458778"/>
              <a:gd name="connsiteY1" fmla="*/ 739612 h 2104708"/>
              <a:gd name="connsiteX2" fmla="*/ 1912183 w 5458778"/>
              <a:gd name="connsiteY2" fmla="*/ 2104708 h 2104708"/>
              <a:gd name="connsiteX3" fmla="*/ 0 w 5458778"/>
              <a:gd name="connsiteY3" fmla="*/ 1337435 h 2104708"/>
              <a:gd name="connsiteX4" fmla="*/ 3499728 w 5458778"/>
              <a:gd name="connsiteY4" fmla="*/ 0 h 2104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8778" h="2104708">
                <a:moveTo>
                  <a:pt x="3499728" y="0"/>
                </a:moveTo>
                <a:lnTo>
                  <a:pt x="5458778" y="739612"/>
                </a:lnTo>
                <a:lnTo>
                  <a:pt x="1912183" y="2104708"/>
                </a:lnTo>
                <a:lnTo>
                  <a:pt x="0" y="1337435"/>
                </a:lnTo>
                <a:cubicBezTo>
                  <a:pt x="1138636" y="873843"/>
                  <a:pt x="2361092" y="463592"/>
                  <a:pt x="349972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1922182" y="4316834"/>
            <a:ext cx="10917556" cy="4209416"/>
          </a:xfrm>
          <a:custGeom>
            <a:avLst/>
            <a:gdLst>
              <a:gd name="connsiteX0" fmla="*/ 3499728 w 5458778"/>
              <a:gd name="connsiteY0" fmla="*/ 0 h 2104708"/>
              <a:gd name="connsiteX1" fmla="*/ 5458778 w 5458778"/>
              <a:gd name="connsiteY1" fmla="*/ 739612 h 2104708"/>
              <a:gd name="connsiteX2" fmla="*/ 1912183 w 5458778"/>
              <a:gd name="connsiteY2" fmla="*/ 2104708 h 2104708"/>
              <a:gd name="connsiteX3" fmla="*/ 0 w 5458778"/>
              <a:gd name="connsiteY3" fmla="*/ 1337435 h 2104708"/>
              <a:gd name="connsiteX4" fmla="*/ 3499728 w 5458778"/>
              <a:gd name="connsiteY4" fmla="*/ 0 h 2104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8778" h="2104708">
                <a:moveTo>
                  <a:pt x="3499728" y="0"/>
                </a:moveTo>
                <a:lnTo>
                  <a:pt x="5458778" y="739612"/>
                </a:lnTo>
                <a:lnTo>
                  <a:pt x="1912183" y="2104708"/>
                </a:lnTo>
                <a:lnTo>
                  <a:pt x="0" y="1337435"/>
                </a:lnTo>
                <a:cubicBezTo>
                  <a:pt x="1138636" y="873843"/>
                  <a:pt x="2361092" y="463592"/>
                  <a:pt x="349972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76456"/>
      </p:ext>
    </p:extLst>
  </p:cSld>
  <p:clrMapOvr>
    <a:masterClrMapping/>
  </p:clrMapOvr>
  <p:hf hdr="0" ftr="0" dt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 noChangeArrowheads="1"/>
          </p:cNvSpPr>
          <p:nvPr userDrawn="1"/>
        </p:nvSpPr>
        <p:spPr bwMode="auto">
          <a:xfrm flipV="1">
            <a:off x="115" y="7505600"/>
            <a:ext cx="24396538" cy="6210396"/>
          </a:xfrm>
          <a:custGeom>
            <a:avLst/>
            <a:gdLst>
              <a:gd name="connsiteX0" fmla="*/ 0 w 12198269"/>
              <a:gd name="connsiteY0" fmla="*/ 0 h 4204571"/>
              <a:gd name="connsiteX1" fmla="*/ 12198269 w 12198269"/>
              <a:gd name="connsiteY1" fmla="*/ 0 h 4204571"/>
              <a:gd name="connsiteX2" fmla="*/ 12198269 w 12198269"/>
              <a:gd name="connsiteY2" fmla="*/ 4204571 h 4204571"/>
              <a:gd name="connsiteX3" fmla="*/ 12191943 w 12198269"/>
              <a:gd name="connsiteY3" fmla="*/ 4204571 h 4204571"/>
              <a:gd name="connsiteX4" fmla="*/ 12191943 w 12198269"/>
              <a:gd name="connsiteY4" fmla="*/ 3702722 h 4204571"/>
              <a:gd name="connsiteX5" fmla="*/ 12113855 w 12198269"/>
              <a:gd name="connsiteY5" fmla="*/ 3650733 h 4204571"/>
              <a:gd name="connsiteX6" fmla="*/ 11833807 w 12198269"/>
              <a:gd name="connsiteY6" fmla="*/ 3520377 h 4204571"/>
              <a:gd name="connsiteX7" fmla="*/ 10836115 w 12198269"/>
              <a:gd name="connsiteY7" fmla="*/ 3740973 h 4204571"/>
              <a:gd name="connsiteX8" fmla="*/ 10797422 w 12198269"/>
              <a:gd name="connsiteY8" fmla="*/ 3739023 h 4204571"/>
              <a:gd name="connsiteX9" fmla="*/ 10758731 w 12198269"/>
              <a:gd name="connsiteY9" fmla="*/ 3740973 h 4204571"/>
              <a:gd name="connsiteX10" fmla="*/ 9761038 w 12198269"/>
              <a:gd name="connsiteY10" fmla="*/ 3520377 h 4204571"/>
              <a:gd name="connsiteX11" fmla="*/ 8694300 w 12198269"/>
              <a:gd name="connsiteY11" fmla="*/ 4082591 h 4204571"/>
              <a:gd name="connsiteX12" fmla="*/ 7686529 w 12198269"/>
              <a:gd name="connsiteY12" fmla="*/ 3617683 h 4204571"/>
              <a:gd name="connsiteX13" fmla="*/ 6796196 w 12198269"/>
              <a:gd name="connsiteY13" fmla="*/ 4169529 h 4204571"/>
              <a:gd name="connsiteX14" fmla="*/ 6691029 w 12198269"/>
              <a:gd name="connsiteY14" fmla="*/ 4204571 h 4204571"/>
              <a:gd name="connsiteX15" fmla="*/ 5573429 w 12198269"/>
              <a:gd name="connsiteY15" fmla="*/ 4204571 h 4204571"/>
              <a:gd name="connsiteX16" fmla="*/ 5466876 w 12198269"/>
              <a:gd name="connsiteY16" fmla="*/ 4169529 h 4204571"/>
              <a:gd name="connsiteX17" fmla="*/ 4564807 w 12198269"/>
              <a:gd name="connsiteY17" fmla="*/ 3617683 h 4204571"/>
              <a:gd name="connsiteX18" fmla="*/ 3543751 w 12198269"/>
              <a:gd name="connsiteY18" fmla="*/ 4082591 h 4204571"/>
              <a:gd name="connsiteX19" fmla="*/ 2462950 w 12198269"/>
              <a:gd name="connsiteY19" fmla="*/ 3520377 h 4204571"/>
              <a:gd name="connsiteX20" fmla="*/ 1452106 w 12198269"/>
              <a:gd name="connsiteY20" fmla="*/ 3740973 h 4204571"/>
              <a:gd name="connsiteX21" fmla="*/ 1412904 w 12198269"/>
              <a:gd name="connsiteY21" fmla="*/ 3739023 h 4204571"/>
              <a:gd name="connsiteX22" fmla="*/ 1373701 w 12198269"/>
              <a:gd name="connsiteY22" fmla="*/ 3740973 h 4204571"/>
              <a:gd name="connsiteX23" fmla="*/ 362858 w 12198269"/>
              <a:gd name="connsiteY23" fmla="*/ 3520377 h 4204571"/>
              <a:gd name="connsiteX24" fmla="*/ 79117 w 12198269"/>
              <a:gd name="connsiteY24" fmla="*/ 3650733 h 4204571"/>
              <a:gd name="connsiteX25" fmla="*/ 0 w 12198269"/>
              <a:gd name="connsiteY25" fmla="*/ 3702722 h 4204571"/>
              <a:gd name="connsiteX0" fmla="*/ 0 w 12198269"/>
              <a:gd name="connsiteY0" fmla="*/ 0 h 4225752"/>
              <a:gd name="connsiteX1" fmla="*/ 12198269 w 12198269"/>
              <a:gd name="connsiteY1" fmla="*/ 0 h 4225752"/>
              <a:gd name="connsiteX2" fmla="*/ 12198269 w 12198269"/>
              <a:gd name="connsiteY2" fmla="*/ 4204571 h 4225752"/>
              <a:gd name="connsiteX3" fmla="*/ 12191943 w 12198269"/>
              <a:gd name="connsiteY3" fmla="*/ 4204571 h 4225752"/>
              <a:gd name="connsiteX4" fmla="*/ 12191943 w 12198269"/>
              <a:gd name="connsiteY4" fmla="*/ 3702722 h 4225752"/>
              <a:gd name="connsiteX5" fmla="*/ 12113855 w 12198269"/>
              <a:gd name="connsiteY5" fmla="*/ 3650733 h 4225752"/>
              <a:gd name="connsiteX6" fmla="*/ 11833807 w 12198269"/>
              <a:gd name="connsiteY6" fmla="*/ 3520377 h 4225752"/>
              <a:gd name="connsiteX7" fmla="*/ 10836115 w 12198269"/>
              <a:gd name="connsiteY7" fmla="*/ 3740973 h 4225752"/>
              <a:gd name="connsiteX8" fmla="*/ 10797422 w 12198269"/>
              <a:gd name="connsiteY8" fmla="*/ 3739023 h 4225752"/>
              <a:gd name="connsiteX9" fmla="*/ 10758731 w 12198269"/>
              <a:gd name="connsiteY9" fmla="*/ 3740973 h 4225752"/>
              <a:gd name="connsiteX10" fmla="*/ 9761038 w 12198269"/>
              <a:gd name="connsiteY10" fmla="*/ 3520377 h 4225752"/>
              <a:gd name="connsiteX11" fmla="*/ 8694300 w 12198269"/>
              <a:gd name="connsiteY11" fmla="*/ 4082591 h 4225752"/>
              <a:gd name="connsiteX12" fmla="*/ 7686529 w 12198269"/>
              <a:gd name="connsiteY12" fmla="*/ 3617683 h 4225752"/>
              <a:gd name="connsiteX13" fmla="*/ 6796196 w 12198269"/>
              <a:gd name="connsiteY13" fmla="*/ 4169529 h 4225752"/>
              <a:gd name="connsiteX14" fmla="*/ 6691029 w 12198269"/>
              <a:gd name="connsiteY14" fmla="*/ 4204571 h 4225752"/>
              <a:gd name="connsiteX15" fmla="*/ 6066914 w 12198269"/>
              <a:gd name="connsiteY15" fmla="*/ 4225752 h 4225752"/>
              <a:gd name="connsiteX16" fmla="*/ 5573429 w 12198269"/>
              <a:gd name="connsiteY16" fmla="*/ 4204571 h 4225752"/>
              <a:gd name="connsiteX17" fmla="*/ 5466876 w 12198269"/>
              <a:gd name="connsiteY17" fmla="*/ 4169529 h 4225752"/>
              <a:gd name="connsiteX18" fmla="*/ 4564807 w 12198269"/>
              <a:gd name="connsiteY18" fmla="*/ 3617683 h 4225752"/>
              <a:gd name="connsiteX19" fmla="*/ 3543751 w 12198269"/>
              <a:gd name="connsiteY19" fmla="*/ 4082591 h 4225752"/>
              <a:gd name="connsiteX20" fmla="*/ 2462950 w 12198269"/>
              <a:gd name="connsiteY20" fmla="*/ 3520377 h 4225752"/>
              <a:gd name="connsiteX21" fmla="*/ 1452106 w 12198269"/>
              <a:gd name="connsiteY21" fmla="*/ 3740973 h 4225752"/>
              <a:gd name="connsiteX22" fmla="*/ 1412904 w 12198269"/>
              <a:gd name="connsiteY22" fmla="*/ 3739023 h 4225752"/>
              <a:gd name="connsiteX23" fmla="*/ 1373701 w 12198269"/>
              <a:gd name="connsiteY23" fmla="*/ 3740973 h 4225752"/>
              <a:gd name="connsiteX24" fmla="*/ 362858 w 12198269"/>
              <a:gd name="connsiteY24" fmla="*/ 3520377 h 4225752"/>
              <a:gd name="connsiteX25" fmla="*/ 79117 w 12198269"/>
              <a:gd name="connsiteY25" fmla="*/ 3650733 h 4225752"/>
              <a:gd name="connsiteX26" fmla="*/ 0 w 12198269"/>
              <a:gd name="connsiteY26" fmla="*/ 3702722 h 4225752"/>
              <a:gd name="connsiteX27" fmla="*/ 0 w 12198269"/>
              <a:gd name="connsiteY27" fmla="*/ 0 h 4225752"/>
              <a:gd name="connsiteX0" fmla="*/ 0 w 12198269"/>
              <a:gd name="connsiteY0" fmla="*/ 0 h 4755295"/>
              <a:gd name="connsiteX1" fmla="*/ 12198269 w 12198269"/>
              <a:gd name="connsiteY1" fmla="*/ 0 h 4755295"/>
              <a:gd name="connsiteX2" fmla="*/ 12198269 w 12198269"/>
              <a:gd name="connsiteY2" fmla="*/ 4204571 h 4755295"/>
              <a:gd name="connsiteX3" fmla="*/ 12191943 w 12198269"/>
              <a:gd name="connsiteY3" fmla="*/ 4204571 h 4755295"/>
              <a:gd name="connsiteX4" fmla="*/ 12191943 w 12198269"/>
              <a:gd name="connsiteY4" fmla="*/ 3702722 h 4755295"/>
              <a:gd name="connsiteX5" fmla="*/ 12113855 w 12198269"/>
              <a:gd name="connsiteY5" fmla="*/ 3650733 h 4755295"/>
              <a:gd name="connsiteX6" fmla="*/ 11833807 w 12198269"/>
              <a:gd name="connsiteY6" fmla="*/ 3520377 h 4755295"/>
              <a:gd name="connsiteX7" fmla="*/ 10836115 w 12198269"/>
              <a:gd name="connsiteY7" fmla="*/ 3740973 h 4755295"/>
              <a:gd name="connsiteX8" fmla="*/ 10797422 w 12198269"/>
              <a:gd name="connsiteY8" fmla="*/ 3739023 h 4755295"/>
              <a:gd name="connsiteX9" fmla="*/ 10758731 w 12198269"/>
              <a:gd name="connsiteY9" fmla="*/ 3740973 h 4755295"/>
              <a:gd name="connsiteX10" fmla="*/ 9761038 w 12198269"/>
              <a:gd name="connsiteY10" fmla="*/ 3520377 h 4755295"/>
              <a:gd name="connsiteX11" fmla="*/ 8694300 w 12198269"/>
              <a:gd name="connsiteY11" fmla="*/ 4082591 h 4755295"/>
              <a:gd name="connsiteX12" fmla="*/ 7686529 w 12198269"/>
              <a:gd name="connsiteY12" fmla="*/ 3617683 h 4755295"/>
              <a:gd name="connsiteX13" fmla="*/ 6796196 w 12198269"/>
              <a:gd name="connsiteY13" fmla="*/ 4169529 h 4755295"/>
              <a:gd name="connsiteX14" fmla="*/ 6691029 w 12198269"/>
              <a:gd name="connsiteY14" fmla="*/ 4204571 h 4755295"/>
              <a:gd name="connsiteX15" fmla="*/ 6095943 w 12198269"/>
              <a:gd name="connsiteY15" fmla="*/ 4755295 h 4755295"/>
              <a:gd name="connsiteX16" fmla="*/ 5573429 w 12198269"/>
              <a:gd name="connsiteY16" fmla="*/ 4204571 h 4755295"/>
              <a:gd name="connsiteX17" fmla="*/ 5466876 w 12198269"/>
              <a:gd name="connsiteY17" fmla="*/ 4169529 h 4755295"/>
              <a:gd name="connsiteX18" fmla="*/ 4564807 w 12198269"/>
              <a:gd name="connsiteY18" fmla="*/ 3617683 h 4755295"/>
              <a:gd name="connsiteX19" fmla="*/ 3543751 w 12198269"/>
              <a:gd name="connsiteY19" fmla="*/ 4082591 h 4755295"/>
              <a:gd name="connsiteX20" fmla="*/ 2462950 w 12198269"/>
              <a:gd name="connsiteY20" fmla="*/ 3520377 h 4755295"/>
              <a:gd name="connsiteX21" fmla="*/ 1452106 w 12198269"/>
              <a:gd name="connsiteY21" fmla="*/ 3740973 h 4755295"/>
              <a:gd name="connsiteX22" fmla="*/ 1412904 w 12198269"/>
              <a:gd name="connsiteY22" fmla="*/ 3739023 h 4755295"/>
              <a:gd name="connsiteX23" fmla="*/ 1373701 w 12198269"/>
              <a:gd name="connsiteY23" fmla="*/ 3740973 h 4755295"/>
              <a:gd name="connsiteX24" fmla="*/ 362858 w 12198269"/>
              <a:gd name="connsiteY24" fmla="*/ 3520377 h 4755295"/>
              <a:gd name="connsiteX25" fmla="*/ 79117 w 12198269"/>
              <a:gd name="connsiteY25" fmla="*/ 3650733 h 4755295"/>
              <a:gd name="connsiteX26" fmla="*/ 0 w 12198269"/>
              <a:gd name="connsiteY26" fmla="*/ 3702722 h 4755295"/>
              <a:gd name="connsiteX27" fmla="*/ 0 w 12198269"/>
              <a:gd name="connsiteY27" fmla="*/ 0 h 4755295"/>
              <a:gd name="connsiteX0" fmla="*/ 0 w 12198269"/>
              <a:gd name="connsiteY0" fmla="*/ 0 h 4755295"/>
              <a:gd name="connsiteX1" fmla="*/ 12198269 w 12198269"/>
              <a:gd name="connsiteY1" fmla="*/ 0 h 4755295"/>
              <a:gd name="connsiteX2" fmla="*/ 12198269 w 12198269"/>
              <a:gd name="connsiteY2" fmla="*/ 4204571 h 4755295"/>
              <a:gd name="connsiteX3" fmla="*/ 12191943 w 12198269"/>
              <a:gd name="connsiteY3" fmla="*/ 4204571 h 4755295"/>
              <a:gd name="connsiteX4" fmla="*/ 12191943 w 12198269"/>
              <a:gd name="connsiteY4" fmla="*/ 3702722 h 4755295"/>
              <a:gd name="connsiteX5" fmla="*/ 12113855 w 12198269"/>
              <a:gd name="connsiteY5" fmla="*/ 3650733 h 4755295"/>
              <a:gd name="connsiteX6" fmla="*/ 11833807 w 12198269"/>
              <a:gd name="connsiteY6" fmla="*/ 3520377 h 4755295"/>
              <a:gd name="connsiteX7" fmla="*/ 10836115 w 12198269"/>
              <a:gd name="connsiteY7" fmla="*/ 3740973 h 4755295"/>
              <a:gd name="connsiteX8" fmla="*/ 10797422 w 12198269"/>
              <a:gd name="connsiteY8" fmla="*/ 3739023 h 4755295"/>
              <a:gd name="connsiteX9" fmla="*/ 10758731 w 12198269"/>
              <a:gd name="connsiteY9" fmla="*/ 3740973 h 4755295"/>
              <a:gd name="connsiteX10" fmla="*/ 9761038 w 12198269"/>
              <a:gd name="connsiteY10" fmla="*/ 3520377 h 4755295"/>
              <a:gd name="connsiteX11" fmla="*/ 8694300 w 12198269"/>
              <a:gd name="connsiteY11" fmla="*/ 4082591 h 4755295"/>
              <a:gd name="connsiteX12" fmla="*/ 7686529 w 12198269"/>
              <a:gd name="connsiteY12" fmla="*/ 3617683 h 4755295"/>
              <a:gd name="connsiteX13" fmla="*/ 6796196 w 12198269"/>
              <a:gd name="connsiteY13" fmla="*/ 4169529 h 4755295"/>
              <a:gd name="connsiteX14" fmla="*/ 6691029 w 12198269"/>
              <a:gd name="connsiteY14" fmla="*/ 4204571 h 4755295"/>
              <a:gd name="connsiteX15" fmla="*/ 6095943 w 12198269"/>
              <a:gd name="connsiteY15" fmla="*/ 4755295 h 4755295"/>
              <a:gd name="connsiteX16" fmla="*/ 5573429 w 12198269"/>
              <a:gd name="connsiteY16" fmla="*/ 4204571 h 4755295"/>
              <a:gd name="connsiteX17" fmla="*/ 5466876 w 12198269"/>
              <a:gd name="connsiteY17" fmla="*/ 4169529 h 4755295"/>
              <a:gd name="connsiteX18" fmla="*/ 4564807 w 12198269"/>
              <a:gd name="connsiteY18" fmla="*/ 3617683 h 4755295"/>
              <a:gd name="connsiteX19" fmla="*/ 3543751 w 12198269"/>
              <a:gd name="connsiteY19" fmla="*/ 4082591 h 4755295"/>
              <a:gd name="connsiteX20" fmla="*/ 2462950 w 12198269"/>
              <a:gd name="connsiteY20" fmla="*/ 3520377 h 4755295"/>
              <a:gd name="connsiteX21" fmla="*/ 1452106 w 12198269"/>
              <a:gd name="connsiteY21" fmla="*/ 3740973 h 4755295"/>
              <a:gd name="connsiteX22" fmla="*/ 1412904 w 12198269"/>
              <a:gd name="connsiteY22" fmla="*/ 3739023 h 4755295"/>
              <a:gd name="connsiteX23" fmla="*/ 1373701 w 12198269"/>
              <a:gd name="connsiteY23" fmla="*/ 3740973 h 4755295"/>
              <a:gd name="connsiteX24" fmla="*/ 362858 w 12198269"/>
              <a:gd name="connsiteY24" fmla="*/ 3520377 h 4755295"/>
              <a:gd name="connsiteX25" fmla="*/ 79117 w 12198269"/>
              <a:gd name="connsiteY25" fmla="*/ 3650733 h 4755295"/>
              <a:gd name="connsiteX26" fmla="*/ 0 w 12198269"/>
              <a:gd name="connsiteY26" fmla="*/ 3702722 h 4755295"/>
              <a:gd name="connsiteX27" fmla="*/ 0 w 12198269"/>
              <a:gd name="connsiteY27" fmla="*/ 0 h 4755295"/>
              <a:gd name="connsiteX0" fmla="*/ 0 w 12198269"/>
              <a:gd name="connsiteY0" fmla="*/ 0 h 4755350"/>
              <a:gd name="connsiteX1" fmla="*/ 12198269 w 12198269"/>
              <a:gd name="connsiteY1" fmla="*/ 0 h 4755350"/>
              <a:gd name="connsiteX2" fmla="*/ 12198269 w 12198269"/>
              <a:gd name="connsiteY2" fmla="*/ 4204571 h 4755350"/>
              <a:gd name="connsiteX3" fmla="*/ 12191943 w 12198269"/>
              <a:gd name="connsiteY3" fmla="*/ 4204571 h 4755350"/>
              <a:gd name="connsiteX4" fmla="*/ 12191943 w 12198269"/>
              <a:gd name="connsiteY4" fmla="*/ 3702722 h 4755350"/>
              <a:gd name="connsiteX5" fmla="*/ 12113855 w 12198269"/>
              <a:gd name="connsiteY5" fmla="*/ 3650733 h 4755350"/>
              <a:gd name="connsiteX6" fmla="*/ 11833807 w 12198269"/>
              <a:gd name="connsiteY6" fmla="*/ 3520377 h 4755350"/>
              <a:gd name="connsiteX7" fmla="*/ 10836115 w 12198269"/>
              <a:gd name="connsiteY7" fmla="*/ 3740973 h 4755350"/>
              <a:gd name="connsiteX8" fmla="*/ 10797422 w 12198269"/>
              <a:gd name="connsiteY8" fmla="*/ 3739023 h 4755350"/>
              <a:gd name="connsiteX9" fmla="*/ 10758731 w 12198269"/>
              <a:gd name="connsiteY9" fmla="*/ 3740973 h 4755350"/>
              <a:gd name="connsiteX10" fmla="*/ 9761038 w 12198269"/>
              <a:gd name="connsiteY10" fmla="*/ 3520377 h 4755350"/>
              <a:gd name="connsiteX11" fmla="*/ 8694300 w 12198269"/>
              <a:gd name="connsiteY11" fmla="*/ 4082591 h 4755350"/>
              <a:gd name="connsiteX12" fmla="*/ 7686529 w 12198269"/>
              <a:gd name="connsiteY12" fmla="*/ 3617683 h 4755350"/>
              <a:gd name="connsiteX13" fmla="*/ 6796196 w 12198269"/>
              <a:gd name="connsiteY13" fmla="*/ 4169529 h 4755350"/>
              <a:gd name="connsiteX14" fmla="*/ 6691029 w 12198269"/>
              <a:gd name="connsiteY14" fmla="*/ 4204571 h 4755350"/>
              <a:gd name="connsiteX15" fmla="*/ 6095943 w 12198269"/>
              <a:gd name="connsiteY15" fmla="*/ 4755295 h 4755350"/>
              <a:gd name="connsiteX16" fmla="*/ 5466876 w 12198269"/>
              <a:gd name="connsiteY16" fmla="*/ 4169529 h 4755350"/>
              <a:gd name="connsiteX17" fmla="*/ 4564807 w 12198269"/>
              <a:gd name="connsiteY17" fmla="*/ 3617683 h 4755350"/>
              <a:gd name="connsiteX18" fmla="*/ 3543751 w 12198269"/>
              <a:gd name="connsiteY18" fmla="*/ 4082591 h 4755350"/>
              <a:gd name="connsiteX19" fmla="*/ 2462950 w 12198269"/>
              <a:gd name="connsiteY19" fmla="*/ 3520377 h 4755350"/>
              <a:gd name="connsiteX20" fmla="*/ 1452106 w 12198269"/>
              <a:gd name="connsiteY20" fmla="*/ 3740973 h 4755350"/>
              <a:gd name="connsiteX21" fmla="*/ 1412904 w 12198269"/>
              <a:gd name="connsiteY21" fmla="*/ 3739023 h 4755350"/>
              <a:gd name="connsiteX22" fmla="*/ 1373701 w 12198269"/>
              <a:gd name="connsiteY22" fmla="*/ 3740973 h 4755350"/>
              <a:gd name="connsiteX23" fmla="*/ 362858 w 12198269"/>
              <a:gd name="connsiteY23" fmla="*/ 3520377 h 4755350"/>
              <a:gd name="connsiteX24" fmla="*/ 79117 w 12198269"/>
              <a:gd name="connsiteY24" fmla="*/ 3650733 h 4755350"/>
              <a:gd name="connsiteX25" fmla="*/ 0 w 12198269"/>
              <a:gd name="connsiteY25" fmla="*/ 3702722 h 4755350"/>
              <a:gd name="connsiteX26" fmla="*/ 0 w 12198269"/>
              <a:gd name="connsiteY26" fmla="*/ 0 h 4755350"/>
              <a:gd name="connsiteX0" fmla="*/ 0 w 12198269"/>
              <a:gd name="connsiteY0" fmla="*/ 0 h 4766880"/>
              <a:gd name="connsiteX1" fmla="*/ 12198269 w 12198269"/>
              <a:gd name="connsiteY1" fmla="*/ 0 h 4766880"/>
              <a:gd name="connsiteX2" fmla="*/ 12198269 w 12198269"/>
              <a:gd name="connsiteY2" fmla="*/ 4204571 h 4766880"/>
              <a:gd name="connsiteX3" fmla="*/ 12191943 w 12198269"/>
              <a:gd name="connsiteY3" fmla="*/ 4204571 h 4766880"/>
              <a:gd name="connsiteX4" fmla="*/ 12191943 w 12198269"/>
              <a:gd name="connsiteY4" fmla="*/ 3702722 h 4766880"/>
              <a:gd name="connsiteX5" fmla="*/ 12113855 w 12198269"/>
              <a:gd name="connsiteY5" fmla="*/ 3650733 h 4766880"/>
              <a:gd name="connsiteX6" fmla="*/ 11833807 w 12198269"/>
              <a:gd name="connsiteY6" fmla="*/ 3520377 h 4766880"/>
              <a:gd name="connsiteX7" fmla="*/ 10836115 w 12198269"/>
              <a:gd name="connsiteY7" fmla="*/ 3740973 h 4766880"/>
              <a:gd name="connsiteX8" fmla="*/ 10797422 w 12198269"/>
              <a:gd name="connsiteY8" fmla="*/ 3739023 h 4766880"/>
              <a:gd name="connsiteX9" fmla="*/ 10758731 w 12198269"/>
              <a:gd name="connsiteY9" fmla="*/ 3740973 h 4766880"/>
              <a:gd name="connsiteX10" fmla="*/ 9761038 w 12198269"/>
              <a:gd name="connsiteY10" fmla="*/ 3520377 h 4766880"/>
              <a:gd name="connsiteX11" fmla="*/ 8694300 w 12198269"/>
              <a:gd name="connsiteY11" fmla="*/ 4082591 h 4766880"/>
              <a:gd name="connsiteX12" fmla="*/ 7686529 w 12198269"/>
              <a:gd name="connsiteY12" fmla="*/ 3617683 h 4766880"/>
              <a:gd name="connsiteX13" fmla="*/ 6796196 w 12198269"/>
              <a:gd name="connsiteY13" fmla="*/ 4169529 h 4766880"/>
              <a:gd name="connsiteX14" fmla="*/ 6691029 w 12198269"/>
              <a:gd name="connsiteY14" fmla="*/ 4204571 h 4766880"/>
              <a:gd name="connsiteX15" fmla="*/ 6095943 w 12198269"/>
              <a:gd name="connsiteY15" fmla="*/ 4755295 h 4766880"/>
              <a:gd name="connsiteX16" fmla="*/ 4564807 w 12198269"/>
              <a:gd name="connsiteY16" fmla="*/ 3617683 h 4766880"/>
              <a:gd name="connsiteX17" fmla="*/ 3543751 w 12198269"/>
              <a:gd name="connsiteY17" fmla="*/ 4082591 h 4766880"/>
              <a:gd name="connsiteX18" fmla="*/ 2462950 w 12198269"/>
              <a:gd name="connsiteY18" fmla="*/ 3520377 h 4766880"/>
              <a:gd name="connsiteX19" fmla="*/ 1452106 w 12198269"/>
              <a:gd name="connsiteY19" fmla="*/ 3740973 h 4766880"/>
              <a:gd name="connsiteX20" fmla="*/ 1412904 w 12198269"/>
              <a:gd name="connsiteY20" fmla="*/ 3739023 h 4766880"/>
              <a:gd name="connsiteX21" fmla="*/ 1373701 w 12198269"/>
              <a:gd name="connsiteY21" fmla="*/ 3740973 h 4766880"/>
              <a:gd name="connsiteX22" fmla="*/ 362858 w 12198269"/>
              <a:gd name="connsiteY22" fmla="*/ 3520377 h 4766880"/>
              <a:gd name="connsiteX23" fmla="*/ 79117 w 12198269"/>
              <a:gd name="connsiteY23" fmla="*/ 3650733 h 4766880"/>
              <a:gd name="connsiteX24" fmla="*/ 0 w 12198269"/>
              <a:gd name="connsiteY24" fmla="*/ 3702722 h 4766880"/>
              <a:gd name="connsiteX25" fmla="*/ 0 w 12198269"/>
              <a:gd name="connsiteY25" fmla="*/ 0 h 4766880"/>
              <a:gd name="connsiteX0" fmla="*/ 0 w 12198269"/>
              <a:gd name="connsiteY0" fmla="*/ 0 h 4755296"/>
              <a:gd name="connsiteX1" fmla="*/ 12198269 w 12198269"/>
              <a:gd name="connsiteY1" fmla="*/ 0 h 4755296"/>
              <a:gd name="connsiteX2" fmla="*/ 12198269 w 12198269"/>
              <a:gd name="connsiteY2" fmla="*/ 4204571 h 4755296"/>
              <a:gd name="connsiteX3" fmla="*/ 12191943 w 12198269"/>
              <a:gd name="connsiteY3" fmla="*/ 4204571 h 4755296"/>
              <a:gd name="connsiteX4" fmla="*/ 12191943 w 12198269"/>
              <a:gd name="connsiteY4" fmla="*/ 3702722 h 4755296"/>
              <a:gd name="connsiteX5" fmla="*/ 12113855 w 12198269"/>
              <a:gd name="connsiteY5" fmla="*/ 3650733 h 4755296"/>
              <a:gd name="connsiteX6" fmla="*/ 11833807 w 12198269"/>
              <a:gd name="connsiteY6" fmla="*/ 3520377 h 4755296"/>
              <a:gd name="connsiteX7" fmla="*/ 10836115 w 12198269"/>
              <a:gd name="connsiteY7" fmla="*/ 3740973 h 4755296"/>
              <a:gd name="connsiteX8" fmla="*/ 10797422 w 12198269"/>
              <a:gd name="connsiteY8" fmla="*/ 3739023 h 4755296"/>
              <a:gd name="connsiteX9" fmla="*/ 10758731 w 12198269"/>
              <a:gd name="connsiteY9" fmla="*/ 3740973 h 4755296"/>
              <a:gd name="connsiteX10" fmla="*/ 9761038 w 12198269"/>
              <a:gd name="connsiteY10" fmla="*/ 3520377 h 4755296"/>
              <a:gd name="connsiteX11" fmla="*/ 8694300 w 12198269"/>
              <a:gd name="connsiteY11" fmla="*/ 4082591 h 4755296"/>
              <a:gd name="connsiteX12" fmla="*/ 7686529 w 12198269"/>
              <a:gd name="connsiteY12" fmla="*/ 3617683 h 4755296"/>
              <a:gd name="connsiteX13" fmla="*/ 6796196 w 12198269"/>
              <a:gd name="connsiteY13" fmla="*/ 4169529 h 4755296"/>
              <a:gd name="connsiteX14" fmla="*/ 6095943 w 12198269"/>
              <a:gd name="connsiteY14" fmla="*/ 4755295 h 4755296"/>
              <a:gd name="connsiteX15" fmla="*/ 4564807 w 12198269"/>
              <a:gd name="connsiteY15" fmla="*/ 3617683 h 4755296"/>
              <a:gd name="connsiteX16" fmla="*/ 3543751 w 12198269"/>
              <a:gd name="connsiteY16" fmla="*/ 4082591 h 4755296"/>
              <a:gd name="connsiteX17" fmla="*/ 2462950 w 12198269"/>
              <a:gd name="connsiteY17" fmla="*/ 3520377 h 4755296"/>
              <a:gd name="connsiteX18" fmla="*/ 1452106 w 12198269"/>
              <a:gd name="connsiteY18" fmla="*/ 3740973 h 4755296"/>
              <a:gd name="connsiteX19" fmla="*/ 1412904 w 12198269"/>
              <a:gd name="connsiteY19" fmla="*/ 3739023 h 4755296"/>
              <a:gd name="connsiteX20" fmla="*/ 1373701 w 12198269"/>
              <a:gd name="connsiteY20" fmla="*/ 3740973 h 4755296"/>
              <a:gd name="connsiteX21" fmla="*/ 362858 w 12198269"/>
              <a:gd name="connsiteY21" fmla="*/ 3520377 h 4755296"/>
              <a:gd name="connsiteX22" fmla="*/ 79117 w 12198269"/>
              <a:gd name="connsiteY22" fmla="*/ 3650733 h 4755296"/>
              <a:gd name="connsiteX23" fmla="*/ 0 w 12198269"/>
              <a:gd name="connsiteY23" fmla="*/ 3702722 h 4755296"/>
              <a:gd name="connsiteX24" fmla="*/ 0 w 12198269"/>
              <a:gd name="connsiteY24" fmla="*/ 0 h 4755296"/>
              <a:gd name="connsiteX0" fmla="*/ 0 w 12198269"/>
              <a:gd name="connsiteY0" fmla="*/ 0 h 4755295"/>
              <a:gd name="connsiteX1" fmla="*/ 12198269 w 12198269"/>
              <a:gd name="connsiteY1" fmla="*/ 0 h 4755295"/>
              <a:gd name="connsiteX2" fmla="*/ 12198269 w 12198269"/>
              <a:gd name="connsiteY2" fmla="*/ 4204571 h 4755295"/>
              <a:gd name="connsiteX3" fmla="*/ 12191943 w 12198269"/>
              <a:gd name="connsiteY3" fmla="*/ 4204571 h 4755295"/>
              <a:gd name="connsiteX4" fmla="*/ 12191943 w 12198269"/>
              <a:gd name="connsiteY4" fmla="*/ 3702722 h 4755295"/>
              <a:gd name="connsiteX5" fmla="*/ 12113855 w 12198269"/>
              <a:gd name="connsiteY5" fmla="*/ 3650733 h 4755295"/>
              <a:gd name="connsiteX6" fmla="*/ 11833807 w 12198269"/>
              <a:gd name="connsiteY6" fmla="*/ 3520377 h 4755295"/>
              <a:gd name="connsiteX7" fmla="*/ 10836115 w 12198269"/>
              <a:gd name="connsiteY7" fmla="*/ 3740973 h 4755295"/>
              <a:gd name="connsiteX8" fmla="*/ 10797422 w 12198269"/>
              <a:gd name="connsiteY8" fmla="*/ 3739023 h 4755295"/>
              <a:gd name="connsiteX9" fmla="*/ 10758731 w 12198269"/>
              <a:gd name="connsiteY9" fmla="*/ 3740973 h 4755295"/>
              <a:gd name="connsiteX10" fmla="*/ 9761038 w 12198269"/>
              <a:gd name="connsiteY10" fmla="*/ 3520377 h 4755295"/>
              <a:gd name="connsiteX11" fmla="*/ 8694300 w 12198269"/>
              <a:gd name="connsiteY11" fmla="*/ 4082591 h 4755295"/>
              <a:gd name="connsiteX12" fmla="*/ 7686529 w 12198269"/>
              <a:gd name="connsiteY12" fmla="*/ 3617683 h 4755295"/>
              <a:gd name="connsiteX13" fmla="*/ 6095943 w 12198269"/>
              <a:gd name="connsiteY13" fmla="*/ 4755295 h 4755295"/>
              <a:gd name="connsiteX14" fmla="*/ 4564807 w 12198269"/>
              <a:gd name="connsiteY14" fmla="*/ 3617683 h 4755295"/>
              <a:gd name="connsiteX15" fmla="*/ 3543751 w 12198269"/>
              <a:gd name="connsiteY15" fmla="*/ 4082591 h 4755295"/>
              <a:gd name="connsiteX16" fmla="*/ 2462950 w 12198269"/>
              <a:gd name="connsiteY16" fmla="*/ 3520377 h 4755295"/>
              <a:gd name="connsiteX17" fmla="*/ 1452106 w 12198269"/>
              <a:gd name="connsiteY17" fmla="*/ 3740973 h 4755295"/>
              <a:gd name="connsiteX18" fmla="*/ 1412904 w 12198269"/>
              <a:gd name="connsiteY18" fmla="*/ 3739023 h 4755295"/>
              <a:gd name="connsiteX19" fmla="*/ 1373701 w 12198269"/>
              <a:gd name="connsiteY19" fmla="*/ 3740973 h 4755295"/>
              <a:gd name="connsiteX20" fmla="*/ 362858 w 12198269"/>
              <a:gd name="connsiteY20" fmla="*/ 3520377 h 4755295"/>
              <a:gd name="connsiteX21" fmla="*/ 79117 w 12198269"/>
              <a:gd name="connsiteY21" fmla="*/ 3650733 h 4755295"/>
              <a:gd name="connsiteX22" fmla="*/ 0 w 12198269"/>
              <a:gd name="connsiteY22" fmla="*/ 3702722 h 4755295"/>
              <a:gd name="connsiteX23" fmla="*/ 0 w 12198269"/>
              <a:gd name="connsiteY23" fmla="*/ 0 h 4755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8269" h="4755295">
                <a:moveTo>
                  <a:pt x="0" y="0"/>
                </a:moveTo>
                <a:lnTo>
                  <a:pt x="12198269" y="0"/>
                </a:lnTo>
                <a:lnTo>
                  <a:pt x="12198269" y="4204571"/>
                </a:lnTo>
                <a:lnTo>
                  <a:pt x="12191943" y="4204571"/>
                </a:lnTo>
                <a:lnTo>
                  <a:pt x="12191943" y="3702722"/>
                </a:lnTo>
                <a:lnTo>
                  <a:pt x="12113855" y="3650733"/>
                </a:lnTo>
                <a:cubicBezTo>
                  <a:pt x="12022861" y="3594315"/>
                  <a:pt x="11929801" y="3546919"/>
                  <a:pt x="11833807" y="3520377"/>
                </a:cubicBezTo>
                <a:cubicBezTo>
                  <a:pt x="11521823" y="3434113"/>
                  <a:pt x="11104644" y="3730587"/>
                  <a:pt x="10836115" y="3740973"/>
                </a:cubicBezTo>
                <a:lnTo>
                  <a:pt x="10797422" y="3739023"/>
                </a:lnTo>
                <a:lnTo>
                  <a:pt x="10758731" y="3740973"/>
                </a:lnTo>
                <a:cubicBezTo>
                  <a:pt x="10490201" y="3730587"/>
                  <a:pt x="10073020" y="3434113"/>
                  <a:pt x="9761038" y="3520377"/>
                </a:cubicBezTo>
                <a:cubicBezTo>
                  <a:pt x="9377059" y="3626549"/>
                  <a:pt x="9040051" y="4066374"/>
                  <a:pt x="8694300" y="4082591"/>
                </a:cubicBezTo>
                <a:cubicBezTo>
                  <a:pt x="8348549" y="4098809"/>
                  <a:pt x="8119589" y="3505566"/>
                  <a:pt x="7686529" y="3617683"/>
                </a:cubicBezTo>
                <a:cubicBezTo>
                  <a:pt x="7253470" y="3729800"/>
                  <a:pt x="6616230" y="4755295"/>
                  <a:pt x="6095943" y="4755295"/>
                </a:cubicBezTo>
                <a:cubicBezTo>
                  <a:pt x="5575656" y="4755295"/>
                  <a:pt x="4990172" y="3729800"/>
                  <a:pt x="4564807" y="3617683"/>
                </a:cubicBezTo>
                <a:cubicBezTo>
                  <a:pt x="4139442" y="3505566"/>
                  <a:pt x="3894059" y="4098809"/>
                  <a:pt x="3543751" y="4082591"/>
                </a:cubicBezTo>
                <a:cubicBezTo>
                  <a:pt x="3193441" y="4066374"/>
                  <a:pt x="2851992" y="3626549"/>
                  <a:pt x="2462950" y="3520377"/>
                </a:cubicBezTo>
                <a:cubicBezTo>
                  <a:pt x="2146856" y="3434113"/>
                  <a:pt x="1724176" y="3730587"/>
                  <a:pt x="1452106" y="3740973"/>
                </a:cubicBezTo>
                <a:lnTo>
                  <a:pt x="1412904" y="3739023"/>
                </a:lnTo>
                <a:lnTo>
                  <a:pt x="1373701" y="3740973"/>
                </a:lnTo>
                <a:cubicBezTo>
                  <a:pt x="1101632" y="3730587"/>
                  <a:pt x="678954" y="3434113"/>
                  <a:pt x="362858" y="3520377"/>
                </a:cubicBezTo>
                <a:cubicBezTo>
                  <a:pt x="265597" y="3546919"/>
                  <a:pt x="171311" y="3594315"/>
                  <a:pt x="79117" y="3650733"/>
                </a:cubicBezTo>
                <a:lnTo>
                  <a:pt x="0" y="370272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8"/>
          </a:p>
        </p:txBody>
      </p:sp>
      <p:pic>
        <p:nvPicPr>
          <p:cNvPr id="8" name="Image" descr="Imag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808120" y="4211256"/>
            <a:ext cx="11777440" cy="6788172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3237029" y="4588626"/>
            <a:ext cx="8969830" cy="568960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5110402"/>
      </p:ext>
    </p:extLst>
  </p:cSld>
  <p:clrMapOvr>
    <a:masterClrMapping/>
  </p:clrMapOvr>
  <p:hf hdr="0" ft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5889035" y="3317515"/>
            <a:ext cx="10132302" cy="563475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3235096" y="6640936"/>
            <a:ext cx="7300992" cy="408369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3204312"/>
      </p:ext>
    </p:extLst>
  </p:cSld>
  <p:clrMapOvr>
    <a:masterClrMapping/>
  </p:clrMapOvr>
  <p:hf hdr="0" ft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 noChangeArrowheads="1"/>
          </p:cNvSpPr>
          <p:nvPr userDrawn="1"/>
        </p:nvSpPr>
        <p:spPr bwMode="auto">
          <a:xfrm>
            <a:off x="115" y="2"/>
            <a:ext cx="24396538" cy="9146184"/>
          </a:xfrm>
          <a:custGeom>
            <a:avLst/>
            <a:gdLst>
              <a:gd name="connsiteX0" fmla="*/ 0 w 12198269"/>
              <a:gd name="connsiteY0" fmla="*/ 0 h 4204571"/>
              <a:gd name="connsiteX1" fmla="*/ 12198269 w 12198269"/>
              <a:gd name="connsiteY1" fmla="*/ 0 h 4204571"/>
              <a:gd name="connsiteX2" fmla="*/ 12198269 w 12198269"/>
              <a:gd name="connsiteY2" fmla="*/ 4204571 h 4204571"/>
              <a:gd name="connsiteX3" fmla="*/ 12191943 w 12198269"/>
              <a:gd name="connsiteY3" fmla="*/ 4204571 h 4204571"/>
              <a:gd name="connsiteX4" fmla="*/ 12191943 w 12198269"/>
              <a:gd name="connsiteY4" fmla="*/ 3702722 h 4204571"/>
              <a:gd name="connsiteX5" fmla="*/ 12113855 w 12198269"/>
              <a:gd name="connsiteY5" fmla="*/ 3650733 h 4204571"/>
              <a:gd name="connsiteX6" fmla="*/ 11833807 w 12198269"/>
              <a:gd name="connsiteY6" fmla="*/ 3520377 h 4204571"/>
              <a:gd name="connsiteX7" fmla="*/ 10836115 w 12198269"/>
              <a:gd name="connsiteY7" fmla="*/ 3740973 h 4204571"/>
              <a:gd name="connsiteX8" fmla="*/ 10797422 w 12198269"/>
              <a:gd name="connsiteY8" fmla="*/ 3739023 h 4204571"/>
              <a:gd name="connsiteX9" fmla="*/ 10758731 w 12198269"/>
              <a:gd name="connsiteY9" fmla="*/ 3740973 h 4204571"/>
              <a:gd name="connsiteX10" fmla="*/ 9761038 w 12198269"/>
              <a:gd name="connsiteY10" fmla="*/ 3520377 h 4204571"/>
              <a:gd name="connsiteX11" fmla="*/ 8694300 w 12198269"/>
              <a:gd name="connsiteY11" fmla="*/ 4082591 h 4204571"/>
              <a:gd name="connsiteX12" fmla="*/ 7686529 w 12198269"/>
              <a:gd name="connsiteY12" fmla="*/ 3617683 h 4204571"/>
              <a:gd name="connsiteX13" fmla="*/ 6796196 w 12198269"/>
              <a:gd name="connsiteY13" fmla="*/ 4169529 h 4204571"/>
              <a:gd name="connsiteX14" fmla="*/ 6691029 w 12198269"/>
              <a:gd name="connsiteY14" fmla="*/ 4204571 h 4204571"/>
              <a:gd name="connsiteX15" fmla="*/ 5573429 w 12198269"/>
              <a:gd name="connsiteY15" fmla="*/ 4204571 h 4204571"/>
              <a:gd name="connsiteX16" fmla="*/ 5466876 w 12198269"/>
              <a:gd name="connsiteY16" fmla="*/ 4169529 h 4204571"/>
              <a:gd name="connsiteX17" fmla="*/ 4564807 w 12198269"/>
              <a:gd name="connsiteY17" fmla="*/ 3617683 h 4204571"/>
              <a:gd name="connsiteX18" fmla="*/ 3543751 w 12198269"/>
              <a:gd name="connsiteY18" fmla="*/ 4082591 h 4204571"/>
              <a:gd name="connsiteX19" fmla="*/ 2462950 w 12198269"/>
              <a:gd name="connsiteY19" fmla="*/ 3520377 h 4204571"/>
              <a:gd name="connsiteX20" fmla="*/ 1452106 w 12198269"/>
              <a:gd name="connsiteY20" fmla="*/ 3740973 h 4204571"/>
              <a:gd name="connsiteX21" fmla="*/ 1412904 w 12198269"/>
              <a:gd name="connsiteY21" fmla="*/ 3739023 h 4204571"/>
              <a:gd name="connsiteX22" fmla="*/ 1373701 w 12198269"/>
              <a:gd name="connsiteY22" fmla="*/ 3740973 h 4204571"/>
              <a:gd name="connsiteX23" fmla="*/ 362858 w 12198269"/>
              <a:gd name="connsiteY23" fmla="*/ 3520377 h 4204571"/>
              <a:gd name="connsiteX24" fmla="*/ 79117 w 12198269"/>
              <a:gd name="connsiteY24" fmla="*/ 3650733 h 4204571"/>
              <a:gd name="connsiteX25" fmla="*/ 0 w 12198269"/>
              <a:gd name="connsiteY25" fmla="*/ 3702722 h 420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2198269" h="4204571">
                <a:moveTo>
                  <a:pt x="0" y="0"/>
                </a:moveTo>
                <a:lnTo>
                  <a:pt x="12198269" y="0"/>
                </a:lnTo>
                <a:lnTo>
                  <a:pt x="12198269" y="4204571"/>
                </a:lnTo>
                <a:lnTo>
                  <a:pt x="12191943" y="4204571"/>
                </a:lnTo>
                <a:lnTo>
                  <a:pt x="12191943" y="3702722"/>
                </a:lnTo>
                <a:lnTo>
                  <a:pt x="12113855" y="3650733"/>
                </a:lnTo>
                <a:cubicBezTo>
                  <a:pt x="12022861" y="3594315"/>
                  <a:pt x="11929801" y="3546919"/>
                  <a:pt x="11833807" y="3520377"/>
                </a:cubicBezTo>
                <a:cubicBezTo>
                  <a:pt x="11521823" y="3434113"/>
                  <a:pt x="11104644" y="3730587"/>
                  <a:pt x="10836115" y="3740973"/>
                </a:cubicBezTo>
                <a:lnTo>
                  <a:pt x="10797422" y="3739023"/>
                </a:lnTo>
                <a:lnTo>
                  <a:pt x="10758731" y="3740973"/>
                </a:lnTo>
                <a:cubicBezTo>
                  <a:pt x="10490201" y="3730587"/>
                  <a:pt x="10073020" y="3434113"/>
                  <a:pt x="9761038" y="3520377"/>
                </a:cubicBezTo>
                <a:cubicBezTo>
                  <a:pt x="9377059" y="3626549"/>
                  <a:pt x="9040051" y="4066374"/>
                  <a:pt x="8694300" y="4082591"/>
                </a:cubicBezTo>
                <a:cubicBezTo>
                  <a:pt x="8348549" y="4098809"/>
                  <a:pt x="8228680" y="3583521"/>
                  <a:pt x="7686529" y="3617683"/>
                </a:cubicBezTo>
                <a:cubicBezTo>
                  <a:pt x="7212146" y="3647574"/>
                  <a:pt x="7222120" y="3981019"/>
                  <a:pt x="6796196" y="4169529"/>
                </a:cubicBezTo>
                <a:lnTo>
                  <a:pt x="6691029" y="4204571"/>
                </a:lnTo>
                <a:lnTo>
                  <a:pt x="5573429" y="4204571"/>
                </a:lnTo>
                <a:lnTo>
                  <a:pt x="5466876" y="4169529"/>
                </a:lnTo>
                <a:cubicBezTo>
                  <a:pt x="5035339" y="3981019"/>
                  <a:pt x="5045443" y="3647574"/>
                  <a:pt x="4564807" y="3617683"/>
                </a:cubicBezTo>
                <a:cubicBezTo>
                  <a:pt x="4015508" y="3583521"/>
                  <a:pt x="3894059" y="4098809"/>
                  <a:pt x="3543751" y="4082591"/>
                </a:cubicBezTo>
                <a:cubicBezTo>
                  <a:pt x="3193441" y="4066374"/>
                  <a:pt x="2851992" y="3626549"/>
                  <a:pt x="2462950" y="3520377"/>
                </a:cubicBezTo>
                <a:cubicBezTo>
                  <a:pt x="2146856" y="3434113"/>
                  <a:pt x="1724176" y="3730587"/>
                  <a:pt x="1452106" y="3740973"/>
                </a:cubicBezTo>
                <a:lnTo>
                  <a:pt x="1412904" y="3739023"/>
                </a:lnTo>
                <a:lnTo>
                  <a:pt x="1373701" y="3740973"/>
                </a:lnTo>
                <a:cubicBezTo>
                  <a:pt x="1101632" y="3730587"/>
                  <a:pt x="678954" y="3434113"/>
                  <a:pt x="362858" y="3520377"/>
                </a:cubicBezTo>
                <a:cubicBezTo>
                  <a:pt x="265597" y="3546919"/>
                  <a:pt x="171311" y="3594315"/>
                  <a:pt x="79117" y="3650733"/>
                </a:cubicBezTo>
                <a:lnTo>
                  <a:pt x="0" y="370272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8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-19052"/>
            <a:ext cx="8325580" cy="1708708"/>
            <a:chOff x="0" y="-9526"/>
            <a:chExt cx="4162790" cy="854354"/>
          </a:xfrm>
        </p:grpSpPr>
        <p:sp>
          <p:nvSpPr>
            <p:cNvPr id="10" name="Freeform 9"/>
            <p:cNvSpPr/>
            <p:nvPr/>
          </p:nvSpPr>
          <p:spPr>
            <a:xfrm>
              <a:off x="1" y="-9526"/>
              <a:ext cx="4086315" cy="854354"/>
            </a:xfrm>
            <a:custGeom>
              <a:avLst/>
              <a:gdLst>
                <a:gd name="connsiteX0" fmla="*/ 0 w 4086315"/>
                <a:gd name="connsiteY0" fmla="*/ 0 h 854354"/>
                <a:gd name="connsiteX1" fmla="*/ 4086315 w 4086315"/>
                <a:gd name="connsiteY1" fmla="*/ 0 h 854354"/>
                <a:gd name="connsiteX2" fmla="*/ 3700053 w 4086315"/>
                <a:gd name="connsiteY2" fmla="*/ 236387 h 854354"/>
                <a:gd name="connsiteX3" fmla="*/ 3071976 w 4086315"/>
                <a:gd name="connsiteY3" fmla="*/ 837056 h 854354"/>
                <a:gd name="connsiteX4" fmla="*/ 2354350 w 4086315"/>
                <a:gd name="connsiteY4" fmla="*/ 594269 h 854354"/>
                <a:gd name="connsiteX5" fmla="*/ 2326519 w 4086315"/>
                <a:gd name="connsiteY5" fmla="*/ 596417 h 854354"/>
                <a:gd name="connsiteX6" fmla="*/ 2298688 w 4086315"/>
                <a:gd name="connsiteY6" fmla="*/ 594269 h 854354"/>
                <a:gd name="connsiteX7" fmla="*/ 1581063 w 4086315"/>
                <a:gd name="connsiteY7" fmla="*/ 837056 h 854354"/>
                <a:gd name="connsiteX8" fmla="*/ 813774 w 4086315"/>
                <a:gd name="connsiteY8" fmla="*/ 218287 h 854354"/>
                <a:gd name="connsiteX9" fmla="*/ 88899 w 4086315"/>
                <a:gd name="connsiteY9" fmla="*/ 729962 h 854354"/>
                <a:gd name="connsiteX10" fmla="*/ 36789 w 4086315"/>
                <a:gd name="connsiteY10" fmla="*/ 746586 h 854354"/>
                <a:gd name="connsiteX11" fmla="*/ 0 w 4086315"/>
                <a:gd name="connsiteY11" fmla="*/ 751118 h 8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6315" h="854354">
                  <a:moveTo>
                    <a:pt x="0" y="0"/>
                  </a:moveTo>
                  <a:lnTo>
                    <a:pt x="4086315" y="0"/>
                  </a:lnTo>
                  <a:lnTo>
                    <a:pt x="3700053" y="236387"/>
                  </a:lnTo>
                  <a:cubicBezTo>
                    <a:pt x="3634603" y="298480"/>
                    <a:pt x="3296259" y="777409"/>
                    <a:pt x="3071976" y="837056"/>
                  </a:cubicBezTo>
                  <a:cubicBezTo>
                    <a:pt x="2847692" y="896703"/>
                    <a:pt x="2547499" y="605700"/>
                    <a:pt x="2354350" y="594269"/>
                  </a:cubicBezTo>
                  <a:lnTo>
                    <a:pt x="2326519" y="596417"/>
                  </a:lnTo>
                  <a:lnTo>
                    <a:pt x="2298688" y="594269"/>
                  </a:lnTo>
                  <a:cubicBezTo>
                    <a:pt x="2105539" y="605700"/>
                    <a:pt x="1805467" y="931998"/>
                    <a:pt x="1581063" y="837056"/>
                  </a:cubicBezTo>
                  <a:cubicBezTo>
                    <a:pt x="1304873" y="720205"/>
                    <a:pt x="1062468" y="236136"/>
                    <a:pt x="813774" y="218287"/>
                  </a:cubicBezTo>
                  <a:cubicBezTo>
                    <a:pt x="565080" y="200438"/>
                    <a:pt x="352509" y="613111"/>
                    <a:pt x="88899" y="729962"/>
                  </a:cubicBezTo>
                  <a:cubicBezTo>
                    <a:pt x="72423" y="737266"/>
                    <a:pt x="55004" y="742727"/>
                    <a:pt x="36789" y="746586"/>
                  </a:cubicBezTo>
                  <a:lnTo>
                    <a:pt x="0" y="751118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1" name="Freeform 10"/>
            <p:cNvSpPr/>
            <p:nvPr/>
          </p:nvSpPr>
          <p:spPr>
            <a:xfrm flipH="1">
              <a:off x="0" y="-9525"/>
              <a:ext cx="4162790" cy="688727"/>
            </a:xfrm>
            <a:custGeom>
              <a:avLst/>
              <a:gdLst>
                <a:gd name="connsiteX0" fmla="*/ 4162790 w 4162790"/>
                <a:gd name="connsiteY0" fmla="*/ 0 h 688727"/>
                <a:gd name="connsiteX1" fmla="*/ 0 w 4162790"/>
                <a:gd name="connsiteY1" fmla="*/ 0 h 688727"/>
                <a:gd name="connsiteX2" fmla="*/ 93505 w 4162790"/>
                <a:gd name="connsiteY2" fmla="*/ 40291 h 688727"/>
                <a:gd name="connsiteX3" fmla="*/ 764963 w 4162790"/>
                <a:gd name="connsiteY3" fmla="*/ 578498 h 688727"/>
                <a:gd name="connsiteX4" fmla="*/ 1524989 w 4162790"/>
                <a:gd name="connsiteY4" fmla="*/ 125080 h 688727"/>
                <a:gd name="connsiteX5" fmla="*/ 2329486 w 4162790"/>
                <a:gd name="connsiteY5" fmla="*/ 673399 h 688727"/>
                <a:gd name="connsiteX6" fmla="*/ 3081911 w 4162790"/>
                <a:gd name="connsiteY6" fmla="*/ 458255 h 688727"/>
                <a:gd name="connsiteX7" fmla="*/ 3111091 w 4162790"/>
                <a:gd name="connsiteY7" fmla="*/ 460157 h 688727"/>
                <a:gd name="connsiteX8" fmla="*/ 3140272 w 4162790"/>
                <a:gd name="connsiteY8" fmla="*/ 458255 h 688727"/>
                <a:gd name="connsiteX9" fmla="*/ 3892696 w 4162790"/>
                <a:gd name="connsiteY9" fmla="*/ 673399 h 688727"/>
                <a:gd name="connsiteX10" fmla="*/ 4103899 w 4162790"/>
                <a:gd name="connsiteY10" fmla="*/ 546264 h 688727"/>
                <a:gd name="connsiteX11" fmla="*/ 4162790 w 4162790"/>
                <a:gd name="connsiteY11" fmla="*/ 495560 h 68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2790" h="688727">
                  <a:moveTo>
                    <a:pt x="4162790" y="0"/>
                  </a:moveTo>
                  <a:lnTo>
                    <a:pt x="0" y="0"/>
                  </a:lnTo>
                  <a:lnTo>
                    <a:pt x="93505" y="40291"/>
                  </a:lnTo>
                  <a:cubicBezTo>
                    <a:pt x="414722" y="224142"/>
                    <a:pt x="407200" y="549345"/>
                    <a:pt x="764963" y="578498"/>
                  </a:cubicBezTo>
                  <a:cubicBezTo>
                    <a:pt x="1173835" y="611816"/>
                    <a:pt x="1264236" y="109263"/>
                    <a:pt x="1524989" y="125080"/>
                  </a:cubicBezTo>
                  <a:cubicBezTo>
                    <a:pt x="1785743" y="140897"/>
                    <a:pt x="2039902" y="569851"/>
                    <a:pt x="2329486" y="673399"/>
                  </a:cubicBezTo>
                  <a:cubicBezTo>
                    <a:pt x="2564772" y="757531"/>
                    <a:pt x="2879395" y="468384"/>
                    <a:pt x="3081911" y="458255"/>
                  </a:cubicBezTo>
                  <a:lnTo>
                    <a:pt x="3111091" y="460157"/>
                  </a:lnTo>
                  <a:lnTo>
                    <a:pt x="3140272" y="458255"/>
                  </a:lnTo>
                  <a:cubicBezTo>
                    <a:pt x="3342787" y="468384"/>
                    <a:pt x="3657409" y="757531"/>
                    <a:pt x="3892696" y="673399"/>
                  </a:cubicBezTo>
                  <a:cubicBezTo>
                    <a:pt x="3965092" y="647512"/>
                    <a:pt x="4035274" y="601287"/>
                    <a:pt x="4103899" y="546264"/>
                  </a:cubicBezTo>
                  <a:lnTo>
                    <a:pt x="4162790" y="49556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2" name="Freeform 11"/>
            <p:cNvSpPr/>
            <p:nvPr userDrawn="1"/>
          </p:nvSpPr>
          <p:spPr>
            <a:xfrm flipH="1">
              <a:off x="0" y="-9525"/>
              <a:ext cx="4148598" cy="562293"/>
            </a:xfrm>
            <a:custGeom>
              <a:avLst/>
              <a:gdLst>
                <a:gd name="connsiteX0" fmla="*/ 4148598 w 4148598"/>
                <a:gd name="connsiteY0" fmla="*/ 0 h 562293"/>
                <a:gd name="connsiteX1" fmla="*/ 0 w 4148598"/>
                <a:gd name="connsiteY1" fmla="*/ 0 h 562293"/>
                <a:gd name="connsiteX2" fmla="*/ 79313 w 4148598"/>
                <a:gd name="connsiteY2" fmla="*/ 28152 h 562293"/>
                <a:gd name="connsiteX3" fmla="*/ 750771 w 4148598"/>
                <a:gd name="connsiteY3" fmla="*/ 471494 h 562293"/>
                <a:gd name="connsiteX4" fmla="*/ 1510797 w 4148598"/>
                <a:gd name="connsiteY4" fmla="*/ 97996 h 562293"/>
                <a:gd name="connsiteX5" fmla="*/ 2315294 w 4148598"/>
                <a:gd name="connsiteY5" fmla="*/ 549667 h 562293"/>
                <a:gd name="connsiteX6" fmla="*/ 3067719 w 4148598"/>
                <a:gd name="connsiteY6" fmla="*/ 372445 h 562293"/>
                <a:gd name="connsiteX7" fmla="*/ 3096899 w 4148598"/>
                <a:gd name="connsiteY7" fmla="*/ 374012 h 562293"/>
                <a:gd name="connsiteX8" fmla="*/ 3126080 w 4148598"/>
                <a:gd name="connsiteY8" fmla="*/ 372445 h 562293"/>
                <a:gd name="connsiteX9" fmla="*/ 3878504 w 4148598"/>
                <a:gd name="connsiteY9" fmla="*/ 549667 h 562293"/>
                <a:gd name="connsiteX10" fmla="*/ 4089707 w 4148598"/>
                <a:gd name="connsiteY10" fmla="*/ 444942 h 562293"/>
                <a:gd name="connsiteX11" fmla="*/ 4148598 w 4148598"/>
                <a:gd name="connsiteY11" fmla="*/ 403175 h 562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48598" h="562293">
                  <a:moveTo>
                    <a:pt x="4148598" y="0"/>
                  </a:moveTo>
                  <a:lnTo>
                    <a:pt x="0" y="0"/>
                  </a:lnTo>
                  <a:lnTo>
                    <a:pt x="79313" y="28152"/>
                  </a:lnTo>
                  <a:cubicBezTo>
                    <a:pt x="400530" y="179597"/>
                    <a:pt x="393008" y="447480"/>
                    <a:pt x="750771" y="471494"/>
                  </a:cubicBezTo>
                  <a:cubicBezTo>
                    <a:pt x="1159643" y="498939"/>
                    <a:pt x="1250044" y="84967"/>
                    <a:pt x="1510797" y="97996"/>
                  </a:cubicBezTo>
                  <a:cubicBezTo>
                    <a:pt x="1771551" y="111025"/>
                    <a:pt x="2025710" y="464371"/>
                    <a:pt x="2315294" y="549667"/>
                  </a:cubicBezTo>
                  <a:cubicBezTo>
                    <a:pt x="2550580" y="618970"/>
                    <a:pt x="2865203" y="380789"/>
                    <a:pt x="3067719" y="372445"/>
                  </a:cubicBezTo>
                  <a:lnTo>
                    <a:pt x="3096899" y="374012"/>
                  </a:lnTo>
                  <a:lnTo>
                    <a:pt x="3126080" y="372445"/>
                  </a:lnTo>
                  <a:cubicBezTo>
                    <a:pt x="3328595" y="380789"/>
                    <a:pt x="3643217" y="618970"/>
                    <a:pt x="3878504" y="549667"/>
                  </a:cubicBezTo>
                  <a:cubicBezTo>
                    <a:pt x="3950900" y="528344"/>
                    <a:pt x="4021082" y="490267"/>
                    <a:pt x="4089707" y="444942"/>
                  </a:cubicBezTo>
                  <a:lnTo>
                    <a:pt x="4148598" y="403175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3" name="Freeform 12"/>
            <p:cNvSpPr/>
            <p:nvPr/>
          </p:nvSpPr>
          <p:spPr>
            <a:xfrm flipV="1">
              <a:off x="0" y="-9526"/>
              <a:ext cx="4045638" cy="463307"/>
            </a:xfrm>
            <a:custGeom>
              <a:avLst/>
              <a:gdLst>
                <a:gd name="connsiteX0" fmla="*/ 0 w 4045638"/>
                <a:gd name="connsiteY0" fmla="*/ 463307 h 463307"/>
                <a:gd name="connsiteX1" fmla="*/ 4045638 w 4045638"/>
                <a:gd name="connsiteY1" fmla="*/ 463307 h 463307"/>
                <a:gd name="connsiteX2" fmla="*/ 3929456 w 4045638"/>
                <a:gd name="connsiteY2" fmla="*/ 432895 h 463307"/>
                <a:gd name="connsiteX3" fmla="*/ 3530987 w 4045638"/>
                <a:gd name="connsiteY3" fmla="*/ 234506 h 463307"/>
                <a:gd name="connsiteX4" fmla="*/ 2523093 w 4045638"/>
                <a:gd name="connsiteY4" fmla="*/ 280673 h 463307"/>
                <a:gd name="connsiteX5" fmla="*/ 1724297 w 4045638"/>
                <a:gd name="connsiteY5" fmla="*/ 308 h 463307"/>
                <a:gd name="connsiteX6" fmla="*/ 878763 w 4045638"/>
                <a:gd name="connsiteY6" fmla="*/ 339353 h 463307"/>
                <a:gd name="connsiteX7" fmla="*/ 41022 w 4045638"/>
                <a:gd name="connsiteY7" fmla="*/ 208123 h 463307"/>
                <a:gd name="connsiteX8" fmla="*/ 0 w 4045638"/>
                <a:gd name="connsiteY8" fmla="*/ 216898 h 463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5638" h="463307">
                  <a:moveTo>
                    <a:pt x="0" y="463307"/>
                  </a:moveTo>
                  <a:lnTo>
                    <a:pt x="4045638" y="463307"/>
                  </a:lnTo>
                  <a:lnTo>
                    <a:pt x="3929456" y="432895"/>
                  </a:lnTo>
                  <a:cubicBezTo>
                    <a:pt x="3728123" y="370337"/>
                    <a:pt x="3698064" y="298850"/>
                    <a:pt x="3530987" y="234506"/>
                  </a:cubicBezTo>
                  <a:cubicBezTo>
                    <a:pt x="3370086" y="150375"/>
                    <a:pt x="2813585" y="344700"/>
                    <a:pt x="2523093" y="280673"/>
                  </a:cubicBezTo>
                  <a:cubicBezTo>
                    <a:pt x="2232600" y="216646"/>
                    <a:pt x="1998352" y="-9472"/>
                    <a:pt x="1724297" y="308"/>
                  </a:cubicBezTo>
                  <a:cubicBezTo>
                    <a:pt x="1450242" y="10088"/>
                    <a:pt x="1183118" y="275326"/>
                    <a:pt x="878763" y="339353"/>
                  </a:cubicBezTo>
                  <a:cubicBezTo>
                    <a:pt x="612453" y="395377"/>
                    <a:pt x="249437" y="183713"/>
                    <a:pt x="41022" y="208123"/>
                  </a:cubicBezTo>
                  <a:lnTo>
                    <a:pt x="0" y="216898"/>
                  </a:ln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Image" descr="Imag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28435" y="3638894"/>
            <a:ext cx="4348426" cy="913950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0473846" y="4878867"/>
            <a:ext cx="3715660" cy="66475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2784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24383998" cy="9652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35358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2608336" y="-446497"/>
            <a:ext cx="13731280" cy="15571090"/>
          </a:xfrm>
          <a:custGeom>
            <a:avLst/>
            <a:gdLst>
              <a:gd name="connsiteX0" fmla="*/ 4498565 w 6865640"/>
              <a:gd name="connsiteY0" fmla="*/ 6966605 h 7785545"/>
              <a:gd name="connsiteX1" fmla="*/ 4588312 w 6865640"/>
              <a:gd name="connsiteY1" fmla="*/ 6977823 h 7785545"/>
              <a:gd name="connsiteX2" fmla="*/ 4678058 w 6865640"/>
              <a:gd name="connsiteY2" fmla="*/ 7000260 h 7785545"/>
              <a:gd name="connsiteX3" fmla="*/ 4756587 w 6865640"/>
              <a:gd name="connsiteY3" fmla="*/ 7033915 h 7785545"/>
              <a:gd name="connsiteX4" fmla="*/ 4823898 w 6865640"/>
              <a:gd name="connsiteY4" fmla="*/ 7090007 h 7785545"/>
              <a:gd name="connsiteX5" fmla="*/ 4879989 w 6865640"/>
              <a:gd name="connsiteY5" fmla="*/ 7146098 h 7785545"/>
              <a:gd name="connsiteX6" fmla="*/ 4924862 w 6865640"/>
              <a:gd name="connsiteY6" fmla="*/ 7213409 h 7785545"/>
              <a:gd name="connsiteX7" fmla="*/ 4947300 w 6865640"/>
              <a:gd name="connsiteY7" fmla="*/ 7291937 h 7785545"/>
              <a:gd name="connsiteX8" fmla="*/ 4958518 w 6865640"/>
              <a:gd name="connsiteY8" fmla="*/ 7381684 h 7785545"/>
              <a:gd name="connsiteX9" fmla="*/ 4947300 w 6865640"/>
              <a:gd name="connsiteY9" fmla="*/ 7460213 h 7785545"/>
              <a:gd name="connsiteX10" fmla="*/ 4924862 w 6865640"/>
              <a:gd name="connsiteY10" fmla="*/ 7538741 h 7785545"/>
              <a:gd name="connsiteX11" fmla="*/ 4879989 w 6865640"/>
              <a:gd name="connsiteY11" fmla="*/ 7606051 h 7785545"/>
              <a:gd name="connsiteX12" fmla="*/ 4823898 w 6865640"/>
              <a:gd name="connsiteY12" fmla="*/ 7662143 h 7785545"/>
              <a:gd name="connsiteX13" fmla="*/ 4756587 w 6865640"/>
              <a:gd name="connsiteY13" fmla="*/ 7718235 h 7785545"/>
              <a:gd name="connsiteX14" fmla="*/ 4678058 w 6865640"/>
              <a:gd name="connsiteY14" fmla="*/ 7751890 h 7785545"/>
              <a:gd name="connsiteX15" fmla="*/ 4588312 w 6865640"/>
              <a:gd name="connsiteY15" fmla="*/ 7774327 h 7785545"/>
              <a:gd name="connsiteX16" fmla="*/ 4498565 w 6865640"/>
              <a:gd name="connsiteY16" fmla="*/ 7785545 h 7785545"/>
              <a:gd name="connsiteX17" fmla="*/ 4397600 w 6865640"/>
              <a:gd name="connsiteY17" fmla="*/ 7774327 h 7785545"/>
              <a:gd name="connsiteX18" fmla="*/ 4319071 w 6865640"/>
              <a:gd name="connsiteY18" fmla="*/ 7751890 h 7785545"/>
              <a:gd name="connsiteX19" fmla="*/ 4240542 w 6865640"/>
              <a:gd name="connsiteY19" fmla="*/ 7718235 h 7785545"/>
              <a:gd name="connsiteX20" fmla="*/ 4162014 w 6865640"/>
              <a:gd name="connsiteY20" fmla="*/ 7662143 h 7785545"/>
              <a:gd name="connsiteX21" fmla="*/ 4105922 w 6865640"/>
              <a:gd name="connsiteY21" fmla="*/ 7606051 h 7785545"/>
              <a:gd name="connsiteX22" fmla="*/ 4072267 w 6865640"/>
              <a:gd name="connsiteY22" fmla="*/ 7538741 h 7785545"/>
              <a:gd name="connsiteX23" fmla="*/ 4038612 w 6865640"/>
              <a:gd name="connsiteY23" fmla="*/ 7460213 h 7785545"/>
              <a:gd name="connsiteX24" fmla="*/ 4027394 w 6865640"/>
              <a:gd name="connsiteY24" fmla="*/ 7381684 h 7785545"/>
              <a:gd name="connsiteX25" fmla="*/ 4038612 w 6865640"/>
              <a:gd name="connsiteY25" fmla="*/ 7291937 h 7785545"/>
              <a:gd name="connsiteX26" fmla="*/ 4072267 w 6865640"/>
              <a:gd name="connsiteY26" fmla="*/ 7213409 h 7785545"/>
              <a:gd name="connsiteX27" fmla="*/ 4105922 w 6865640"/>
              <a:gd name="connsiteY27" fmla="*/ 7146098 h 7785545"/>
              <a:gd name="connsiteX28" fmla="*/ 4162014 w 6865640"/>
              <a:gd name="connsiteY28" fmla="*/ 7090007 h 7785545"/>
              <a:gd name="connsiteX29" fmla="*/ 4240542 w 6865640"/>
              <a:gd name="connsiteY29" fmla="*/ 7033915 h 7785545"/>
              <a:gd name="connsiteX30" fmla="*/ 4319071 w 6865640"/>
              <a:gd name="connsiteY30" fmla="*/ 7000260 h 7785545"/>
              <a:gd name="connsiteX31" fmla="*/ 4397600 w 6865640"/>
              <a:gd name="connsiteY31" fmla="*/ 6977823 h 7785545"/>
              <a:gd name="connsiteX32" fmla="*/ 5295069 w 6865640"/>
              <a:gd name="connsiteY32" fmla="*/ 6428123 h 7785545"/>
              <a:gd name="connsiteX33" fmla="*/ 5407252 w 6865640"/>
              <a:gd name="connsiteY33" fmla="*/ 6439342 h 7785545"/>
              <a:gd name="connsiteX34" fmla="*/ 5519436 w 6865640"/>
              <a:gd name="connsiteY34" fmla="*/ 6450560 h 7785545"/>
              <a:gd name="connsiteX35" fmla="*/ 5609183 w 6865640"/>
              <a:gd name="connsiteY35" fmla="*/ 6472997 h 7785545"/>
              <a:gd name="connsiteX36" fmla="*/ 5698930 w 6865640"/>
              <a:gd name="connsiteY36" fmla="*/ 6506652 h 7785545"/>
              <a:gd name="connsiteX37" fmla="*/ 5766240 w 6865640"/>
              <a:gd name="connsiteY37" fmla="*/ 6551525 h 7785545"/>
              <a:gd name="connsiteX38" fmla="*/ 5822332 w 6865640"/>
              <a:gd name="connsiteY38" fmla="*/ 6596399 h 7785545"/>
              <a:gd name="connsiteX39" fmla="*/ 5855987 w 6865640"/>
              <a:gd name="connsiteY39" fmla="*/ 6641272 h 7785545"/>
              <a:gd name="connsiteX40" fmla="*/ 5867206 w 6865640"/>
              <a:gd name="connsiteY40" fmla="*/ 6697364 h 7785545"/>
              <a:gd name="connsiteX41" fmla="*/ 5855987 w 6865640"/>
              <a:gd name="connsiteY41" fmla="*/ 6753456 h 7785545"/>
              <a:gd name="connsiteX42" fmla="*/ 5822332 w 6865640"/>
              <a:gd name="connsiteY42" fmla="*/ 6798329 h 7785545"/>
              <a:gd name="connsiteX43" fmla="*/ 5766240 w 6865640"/>
              <a:gd name="connsiteY43" fmla="*/ 6854421 h 7785545"/>
              <a:gd name="connsiteX44" fmla="*/ 5698930 w 6865640"/>
              <a:gd name="connsiteY44" fmla="*/ 6888076 h 7785545"/>
              <a:gd name="connsiteX45" fmla="*/ 5609183 w 6865640"/>
              <a:gd name="connsiteY45" fmla="*/ 6921731 h 7785545"/>
              <a:gd name="connsiteX46" fmla="*/ 5519436 w 6865640"/>
              <a:gd name="connsiteY46" fmla="*/ 6944168 h 7785545"/>
              <a:gd name="connsiteX47" fmla="*/ 5407252 w 6865640"/>
              <a:gd name="connsiteY47" fmla="*/ 6966605 h 7785545"/>
              <a:gd name="connsiteX48" fmla="*/ 5295069 w 6865640"/>
              <a:gd name="connsiteY48" fmla="*/ 6966605 h 7785545"/>
              <a:gd name="connsiteX49" fmla="*/ 5182885 w 6865640"/>
              <a:gd name="connsiteY49" fmla="*/ 6966605 h 7785545"/>
              <a:gd name="connsiteX50" fmla="*/ 5070702 w 6865640"/>
              <a:gd name="connsiteY50" fmla="*/ 6944168 h 7785545"/>
              <a:gd name="connsiteX51" fmla="*/ 4980954 w 6865640"/>
              <a:gd name="connsiteY51" fmla="*/ 6921731 h 7785545"/>
              <a:gd name="connsiteX52" fmla="*/ 4891208 w 6865640"/>
              <a:gd name="connsiteY52" fmla="*/ 6888076 h 7785545"/>
              <a:gd name="connsiteX53" fmla="*/ 4823898 w 6865640"/>
              <a:gd name="connsiteY53" fmla="*/ 6854421 h 7785545"/>
              <a:gd name="connsiteX54" fmla="*/ 4767806 w 6865640"/>
              <a:gd name="connsiteY54" fmla="*/ 6798329 h 7785545"/>
              <a:gd name="connsiteX55" fmla="*/ 4734150 w 6865640"/>
              <a:gd name="connsiteY55" fmla="*/ 6753456 h 7785545"/>
              <a:gd name="connsiteX56" fmla="*/ 4722932 w 6865640"/>
              <a:gd name="connsiteY56" fmla="*/ 6697364 h 7785545"/>
              <a:gd name="connsiteX57" fmla="*/ 4734150 w 6865640"/>
              <a:gd name="connsiteY57" fmla="*/ 6641272 h 7785545"/>
              <a:gd name="connsiteX58" fmla="*/ 4767806 w 6865640"/>
              <a:gd name="connsiteY58" fmla="*/ 6596399 h 7785545"/>
              <a:gd name="connsiteX59" fmla="*/ 4823898 w 6865640"/>
              <a:gd name="connsiteY59" fmla="*/ 6551525 h 7785545"/>
              <a:gd name="connsiteX60" fmla="*/ 4891208 w 6865640"/>
              <a:gd name="connsiteY60" fmla="*/ 6506652 h 7785545"/>
              <a:gd name="connsiteX61" fmla="*/ 4980954 w 6865640"/>
              <a:gd name="connsiteY61" fmla="*/ 6472997 h 7785545"/>
              <a:gd name="connsiteX62" fmla="*/ 5070702 w 6865640"/>
              <a:gd name="connsiteY62" fmla="*/ 6450560 h 7785545"/>
              <a:gd name="connsiteX63" fmla="*/ 5182885 w 6865640"/>
              <a:gd name="connsiteY63" fmla="*/ 6439342 h 7785545"/>
              <a:gd name="connsiteX64" fmla="*/ 2658753 w 6865640"/>
              <a:gd name="connsiteY64" fmla="*/ 6293503 h 7785545"/>
              <a:gd name="connsiteX65" fmla="*/ 2692408 w 6865640"/>
              <a:gd name="connsiteY65" fmla="*/ 6304721 h 7785545"/>
              <a:gd name="connsiteX66" fmla="*/ 2714844 w 6865640"/>
              <a:gd name="connsiteY66" fmla="*/ 6315939 h 7785545"/>
              <a:gd name="connsiteX67" fmla="*/ 2748500 w 6865640"/>
              <a:gd name="connsiteY67" fmla="*/ 6327158 h 7785545"/>
              <a:gd name="connsiteX68" fmla="*/ 2770936 w 6865640"/>
              <a:gd name="connsiteY68" fmla="*/ 6360813 h 7785545"/>
              <a:gd name="connsiteX69" fmla="*/ 2804592 w 6865640"/>
              <a:gd name="connsiteY69" fmla="*/ 6416905 h 7785545"/>
              <a:gd name="connsiteX70" fmla="*/ 2815810 w 6865640"/>
              <a:gd name="connsiteY70" fmla="*/ 6495433 h 7785545"/>
              <a:gd name="connsiteX71" fmla="*/ 2804592 w 6865640"/>
              <a:gd name="connsiteY71" fmla="*/ 6573962 h 7785545"/>
              <a:gd name="connsiteX72" fmla="*/ 2770936 w 6865640"/>
              <a:gd name="connsiteY72" fmla="*/ 6641272 h 7785545"/>
              <a:gd name="connsiteX73" fmla="*/ 2748500 w 6865640"/>
              <a:gd name="connsiteY73" fmla="*/ 6663709 h 7785545"/>
              <a:gd name="connsiteX74" fmla="*/ 2714844 w 6865640"/>
              <a:gd name="connsiteY74" fmla="*/ 6674927 h 7785545"/>
              <a:gd name="connsiteX75" fmla="*/ 2692408 w 6865640"/>
              <a:gd name="connsiteY75" fmla="*/ 6686146 h 7785545"/>
              <a:gd name="connsiteX76" fmla="*/ 2658753 w 6865640"/>
              <a:gd name="connsiteY76" fmla="*/ 6697364 h 7785545"/>
              <a:gd name="connsiteX77" fmla="*/ 2625098 w 6865640"/>
              <a:gd name="connsiteY77" fmla="*/ 6686146 h 7785545"/>
              <a:gd name="connsiteX78" fmla="*/ 2602661 w 6865640"/>
              <a:gd name="connsiteY78" fmla="*/ 6674927 h 7785545"/>
              <a:gd name="connsiteX79" fmla="*/ 2569006 w 6865640"/>
              <a:gd name="connsiteY79" fmla="*/ 6663709 h 7785545"/>
              <a:gd name="connsiteX80" fmla="*/ 2546569 w 6865640"/>
              <a:gd name="connsiteY80" fmla="*/ 6641272 h 7785545"/>
              <a:gd name="connsiteX81" fmla="*/ 2512914 w 6865640"/>
              <a:gd name="connsiteY81" fmla="*/ 6573962 h 7785545"/>
              <a:gd name="connsiteX82" fmla="*/ 2501696 w 6865640"/>
              <a:gd name="connsiteY82" fmla="*/ 6495433 h 7785545"/>
              <a:gd name="connsiteX83" fmla="*/ 2512914 w 6865640"/>
              <a:gd name="connsiteY83" fmla="*/ 6416905 h 7785545"/>
              <a:gd name="connsiteX84" fmla="*/ 2546569 w 6865640"/>
              <a:gd name="connsiteY84" fmla="*/ 6360813 h 7785545"/>
              <a:gd name="connsiteX85" fmla="*/ 2569006 w 6865640"/>
              <a:gd name="connsiteY85" fmla="*/ 6327158 h 7785545"/>
              <a:gd name="connsiteX86" fmla="*/ 2602661 w 6865640"/>
              <a:gd name="connsiteY86" fmla="*/ 6315939 h 7785545"/>
              <a:gd name="connsiteX87" fmla="*/ 2625098 w 6865640"/>
              <a:gd name="connsiteY87" fmla="*/ 6304721 h 7785545"/>
              <a:gd name="connsiteX88" fmla="*/ 1738847 w 6865640"/>
              <a:gd name="connsiteY88" fmla="*/ 5900860 h 7785545"/>
              <a:gd name="connsiteX89" fmla="*/ 1839812 w 6865640"/>
              <a:gd name="connsiteY89" fmla="*/ 5912078 h 7785545"/>
              <a:gd name="connsiteX90" fmla="*/ 1929559 w 6865640"/>
              <a:gd name="connsiteY90" fmla="*/ 5934515 h 7785545"/>
              <a:gd name="connsiteX91" fmla="*/ 2008088 w 6865640"/>
              <a:gd name="connsiteY91" fmla="*/ 5968170 h 7785545"/>
              <a:gd name="connsiteX92" fmla="*/ 2086616 w 6865640"/>
              <a:gd name="connsiteY92" fmla="*/ 6024262 h 7785545"/>
              <a:gd name="connsiteX93" fmla="*/ 2142708 w 6865640"/>
              <a:gd name="connsiteY93" fmla="*/ 6080354 h 7785545"/>
              <a:gd name="connsiteX94" fmla="*/ 2187581 w 6865640"/>
              <a:gd name="connsiteY94" fmla="*/ 6147664 h 7785545"/>
              <a:gd name="connsiteX95" fmla="*/ 2221236 w 6865640"/>
              <a:gd name="connsiteY95" fmla="*/ 6214974 h 7785545"/>
              <a:gd name="connsiteX96" fmla="*/ 2232455 w 6865640"/>
              <a:gd name="connsiteY96" fmla="*/ 6293503 h 7785545"/>
              <a:gd name="connsiteX97" fmla="*/ 2221236 w 6865640"/>
              <a:gd name="connsiteY97" fmla="*/ 6383250 h 7785545"/>
              <a:gd name="connsiteX98" fmla="*/ 2187581 w 6865640"/>
              <a:gd name="connsiteY98" fmla="*/ 6450560 h 7785545"/>
              <a:gd name="connsiteX99" fmla="*/ 2142708 w 6865640"/>
              <a:gd name="connsiteY99" fmla="*/ 6517870 h 7785545"/>
              <a:gd name="connsiteX100" fmla="*/ 2086616 w 6865640"/>
              <a:gd name="connsiteY100" fmla="*/ 6573962 h 7785545"/>
              <a:gd name="connsiteX101" fmla="*/ 2008088 w 6865640"/>
              <a:gd name="connsiteY101" fmla="*/ 6630054 h 7785545"/>
              <a:gd name="connsiteX102" fmla="*/ 1929559 w 6865640"/>
              <a:gd name="connsiteY102" fmla="*/ 6663709 h 7785545"/>
              <a:gd name="connsiteX103" fmla="*/ 1839812 w 6865640"/>
              <a:gd name="connsiteY103" fmla="*/ 6686146 h 7785545"/>
              <a:gd name="connsiteX104" fmla="*/ 1738847 w 6865640"/>
              <a:gd name="connsiteY104" fmla="*/ 6697364 h 7785545"/>
              <a:gd name="connsiteX105" fmla="*/ 1637882 w 6865640"/>
              <a:gd name="connsiteY105" fmla="*/ 6686146 h 7785545"/>
              <a:gd name="connsiteX106" fmla="*/ 1548135 w 6865640"/>
              <a:gd name="connsiteY106" fmla="*/ 6663709 h 7785545"/>
              <a:gd name="connsiteX107" fmla="*/ 1458388 w 6865640"/>
              <a:gd name="connsiteY107" fmla="*/ 6630054 h 7785545"/>
              <a:gd name="connsiteX108" fmla="*/ 1391078 w 6865640"/>
              <a:gd name="connsiteY108" fmla="*/ 6573962 h 7785545"/>
              <a:gd name="connsiteX109" fmla="*/ 1323767 w 6865640"/>
              <a:gd name="connsiteY109" fmla="*/ 6517870 h 7785545"/>
              <a:gd name="connsiteX110" fmla="*/ 1278894 w 6865640"/>
              <a:gd name="connsiteY110" fmla="*/ 6450560 h 7785545"/>
              <a:gd name="connsiteX111" fmla="*/ 1256457 w 6865640"/>
              <a:gd name="connsiteY111" fmla="*/ 6383250 h 7785545"/>
              <a:gd name="connsiteX112" fmla="*/ 1245239 w 6865640"/>
              <a:gd name="connsiteY112" fmla="*/ 6293503 h 7785545"/>
              <a:gd name="connsiteX113" fmla="*/ 1256457 w 6865640"/>
              <a:gd name="connsiteY113" fmla="*/ 6214974 h 7785545"/>
              <a:gd name="connsiteX114" fmla="*/ 1278894 w 6865640"/>
              <a:gd name="connsiteY114" fmla="*/ 6147664 h 7785545"/>
              <a:gd name="connsiteX115" fmla="*/ 1323767 w 6865640"/>
              <a:gd name="connsiteY115" fmla="*/ 6080354 h 7785545"/>
              <a:gd name="connsiteX116" fmla="*/ 1391078 w 6865640"/>
              <a:gd name="connsiteY116" fmla="*/ 6024262 h 7785545"/>
              <a:gd name="connsiteX117" fmla="*/ 1458388 w 6865640"/>
              <a:gd name="connsiteY117" fmla="*/ 5968170 h 7785545"/>
              <a:gd name="connsiteX118" fmla="*/ 1548135 w 6865640"/>
              <a:gd name="connsiteY118" fmla="*/ 5934515 h 7785545"/>
              <a:gd name="connsiteX119" fmla="*/ 1637882 w 6865640"/>
              <a:gd name="connsiteY119" fmla="*/ 5912078 h 7785545"/>
              <a:gd name="connsiteX120" fmla="*/ 751631 w 6865640"/>
              <a:gd name="connsiteY120" fmla="*/ 5900860 h 7785545"/>
              <a:gd name="connsiteX121" fmla="*/ 807723 w 6865640"/>
              <a:gd name="connsiteY121" fmla="*/ 5912078 h 7785545"/>
              <a:gd name="connsiteX122" fmla="*/ 863814 w 6865640"/>
              <a:gd name="connsiteY122" fmla="*/ 5923297 h 7785545"/>
              <a:gd name="connsiteX123" fmla="*/ 908688 w 6865640"/>
              <a:gd name="connsiteY123" fmla="*/ 5934515 h 7785545"/>
              <a:gd name="connsiteX124" fmla="*/ 942343 w 6865640"/>
              <a:gd name="connsiteY124" fmla="*/ 5956952 h 7785545"/>
              <a:gd name="connsiteX125" fmla="*/ 975998 w 6865640"/>
              <a:gd name="connsiteY125" fmla="*/ 5979389 h 7785545"/>
              <a:gd name="connsiteX126" fmla="*/ 1009653 w 6865640"/>
              <a:gd name="connsiteY126" fmla="*/ 6013044 h 7785545"/>
              <a:gd name="connsiteX127" fmla="*/ 1020872 w 6865640"/>
              <a:gd name="connsiteY127" fmla="*/ 6046699 h 7785545"/>
              <a:gd name="connsiteX128" fmla="*/ 1020872 w 6865640"/>
              <a:gd name="connsiteY128" fmla="*/ 6091572 h 7785545"/>
              <a:gd name="connsiteX129" fmla="*/ 1020872 w 6865640"/>
              <a:gd name="connsiteY129" fmla="*/ 6125227 h 7785545"/>
              <a:gd name="connsiteX130" fmla="*/ 1009653 w 6865640"/>
              <a:gd name="connsiteY130" fmla="*/ 6158882 h 7785545"/>
              <a:gd name="connsiteX131" fmla="*/ 975998 w 6865640"/>
              <a:gd name="connsiteY131" fmla="*/ 6192537 h 7785545"/>
              <a:gd name="connsiteX132" fmla="*/ 942343 w 6865640"/>
              <a:gd name="connsiteY132" fmla="*/ 6214974 h 7785545"/>
              <a:gd name="connsiteX133" fmla="*/ 908688 w 6865640"/>
              <a:gd name="connsiteY133" fmla="*/ 6237411 h 7785545"/>
              <a:gd name="connsiteX134" fmla="*/ 863814 w 6865640"/>
              <a:gd name="connsiteY134" fmla="*/ 6259848 h 7785545"/>
              <a:gd name="connsiteX135" fmla="*/ 807723 w 6865640"/>
              <a:gd name="connsiteY135" fmla="*/ 6271066 h 7785545"/>
              <a:gd name="connsiteX136" fmla="*/ 751631 w 6865640"/>
              <a:gd name="connsiteY136" fmla="*/ 6271066 h 7785545"/>
              <a:gd name="connsiteX137" fmla="*/ 695539 w 6865640"/>
              <a:gd name="connsiteY137" fmla="*/ 6271066 h 7785545"/>
              <a:gd name="connsiteX138" fmla="*/ 650665 w 6865640"/>
              <a:gd name="connsiteY138" fmla="*/ 6259848 h 7785545"/>
              <a:gd name="connsiteX139" fmla="*/ 594574 w 6865640"/>
              <a:gd name="connsiteY139" fmla="*/ 6237411 h 7785545"/>
              <a:gd name="connsiteX140" fmla="*/ 560919 w 6865640"/>
              <a:gd name="connsiteY140" fmla="*/ 6214974 h 7785545"/>
              <a:gd name="connsiteX141" fmla="*/ 527263 w 6865640"/>
              <a:gd name="connsiteY141" fmla="*/ 6192537 h 7785545"/>
              <a:gd name="connsiteX142" fmla="*/ 504827 w 6865640"/>
              <a:gd name="connsiteY142" fmla="*/ 6158882 h 7785545"/>
              <a:gd name="connsiteX143" fmla="*/ 482390 w 6865640"/>
              <a:gd name="connsiteY143" fmla="*/ 6125227 h 7785545"/>
              <a:gd name="connsiteX144" fmla="*/ 482390 w 6865640"/>
              <a:gd name="connsiteY144" fmla="*/ 6091572 h 7785545"/>
              <a:gd name="connsiteX145" fmla="*/ 482390 w 6865640"/>
              <a:gd name="connsiteY145" fmla="*/ 6046699 h 7785545"/>
              <a:gd name="connsiteX146" fmla="*/ 504827 w 6865640"/>
              <a:gd name="connsiteY146" fmla="*/ 6013044 h 7785545"/>
              <a:gd name="connsiteX147" fmla="*/ 527263 w 6865640"/>
              <a:gd name="connsiteY147" fmla="*/ 5979389 h 7785545"/>
              <a:gd name="connsiteX148" fmla="*/ 560919 w 6865640"/>
              <a:gd name="connsiteY148" fmla="*/ 5956952 h 7785545"/>
              <a:gd name="connsiteX149" fmla="*/ 594574 w 6865640"/>
              <a:gd name="connsiteY149" fmla="*/ 5934515 h 7785545"/>
              <a:gd name="connsiteX150" fmla="*/ 650665 w 6865640"/>
              <a:gd name="connsiteY150" fmla="*/ 5923297 h 7785545"/>
              <a:gd name="connsiteX151" fmla="*/ 695539 w 6865640"/>
              <a:gd name="connsiteY151" fmla="*/ 5912078 h 7785545"/>
              <a:gd name="connsiteX152" fmla="*/ 157057 w 6865640"/>
              <a:gd name="connsiteY152" fmla="*/ 4453691 h 7785545"/>
              <a:gd name="connsiteX153" fmla="*/ 190712 w 6865640"/>
              <a:gd name="connsiteY153" fmla="*/ 4453691 h 7785545"/>
              <a:gd name="connsiteX154" fmla="*/ 224368 w 6865640"/>
              <a:gd name="connsiteY154" fmla="*/ 4453691 h 7785545"/>
              <a:gd name="connsiteX155" fmla="*/ 269241 w 6865640"/>
              <a:gd name="connsiteY155" fmla="*/ 4476128 h 7785545"/>
              <a:gd name="connsiteX156" fmla="*/ 291678 w 6865640"/>
              <a:gd name="connsiteY156" fmla="*/ 4498564 h 7785545"/>
              <a:gd name="connsiteX157" fmla="*/ 325333 w 6865640"/>
              <a:gd name="connsiteY157" fmla="*/ 4521001 h 7785545"/>
              <a:gd name="connsiteX158" fmla="*/ 347770 w 6865640"/>
              <a:gd name="connsiteY158" fmla="*/ 4554656 h 7785545"/>
              <a:gd name="connsiteX159" fmla="*/ 358988 w 6865640"/>
              <a:gd name="connsiteY159" fmla="*/ 4588311 h 7785545"/>
              <a:gd name="connsiteX160" fmla="*/ 370206 w 6865640"/>
              <a:gd name="connsiteY160" fmla="*/ 4633185 h 7785545"/>
              <a:gd name="connsiteX161" fmla="*/ 381425 w 6865640"/>
              <a:gd name="connsiteY161" fmla="*/ 4678058 h 7785545"/>
              <a:gd name="connsiteX162" fmla="*/ 370206 w 6865640"/>
              <a:gd name="connsiteY162" fmla="*/ 4722932 h 7785545"/>
              <a:gd name="connsiteX163" fmla="*/ 358988 w 6865640"/>
              <a:gd name="connsiteY163" fmla="*/ 4767805 h 7785545"/>
              <a:gd name="connsiteX164" fmla="*/ 347770 w 6865640"/>
              <a:gd name="connsiteY164" fmla="*/ 4812679 h 7785545"/>
              <a:gd name="connsiteX165" fmla="*/ 325333 w 6865640"/>
              <a:gd name="connsiteY165" fmla="*/ 4846334 h 7785545"/>
              <a:gd name="connsiteX166" fmla="*/ 291678 w 6865640"/>
              <a:gd name="connsiteY166" fmla="*/ 4868770 h 7785545"/>
              <a:gd name="connsiteX167" fmla="*/ 269241 w 6865640"/>
              <a:gd name="connsiteY167" fmla="*/ 4891207 h 7785545"/>
              <a:gd name="connsiteX168" fmla="*/ 224368 w 6865640"/>
              <a:gd name="connsiteY168" fmla="*/ 4902426 h 7785545"/>
              <a:gd name="connsiteX169" fmla="*/ 190712 w 6865640"/>
              <a:gd name="connsiteY169" fmla="*/ 4913644 h 7785545"/>
              <a:gd name="connsiteX170" fmla="*/ 157057 w 6865640"/>
              <a:gd name="connsiteY170" fmla="*/ 4902426 h 7785545"/>
              <a:gd name="connsiteX171" fmla="*/ 123402 w 6865640"/>
              <a:gd name="connsiteY171" fmla="*/ 4891207 h 7785545"/>
              <a:gd name="connsiteX172" fmla="*/ 89747 w 6865640"/>
              <a:gd name="connsiteY172" fmla="*/ 4868770 h 7785545"/>
              <a:gd name="connsiteX173" fmla="*/ 56092 w 6865640"/>
              <a:gd name="connsiteY173" fmla="*/ 4846334 h 7785545"/>
              <a:gd name="connsiteX174" fmla="*/ 33655 w 6865640"/>
              <a:gd name="connsiteY174" fmla="*/ 4812679 h 7785545"/>
              <a:gd name="connsiteX175" fmla="*/ 22437 w 6865640"/>
              <a:gd name="connsiteY175" fmla="*/ 4767805 h 7785545"/>
              <a:gd name="connsiteX176" fmla="*/ 11219 w 6865640"/>
              <a:gd name="connsiteY176" fmla="*/ 4722932 h 7785545"/>
              <a:gd name="connsiteX177" fmla="*/ 0 w 6865640"/>
              <a:gd name="connsiteY177" fmla="*/ 4678058 h 7785545"/>
              <a:gd name="connsiteX178" fmla="*/ 11219 w 6865640"/>
              <a:gd name="connsiteY178" fmla="*/ 4633185 h 7785545"/>
              <a:gd name="connsiteX179" fmla="*/ 22437 w 6865640"/>
              <a:gd name="connsiteY179" fmla="*/ 4588311 h 7785545"/>
              <a:gd name="connsiteX180" fmla="*/ 33655 w 6865640"/>
              <a:gd name="connsiteY180" fmla="*/ 4554656 h 7785545"/>
              <a:gd name="connsiteX181" fmla="*/ 56092 w 6865640"/>
              <a:gd name="connsiteY181" fmla="*/ 4521001 h 7785545"/>
              <a:gd name="connsiteX182" fmla="*/ 89747 w 6865640"/>
              <a:gd name="connsiteY182" fmla="*/ 4498564 h 7785545"/>
              <a:gd name="connsiteX183" fmla="*/ 123402 w 6865640"/>
              <a:gd name="connsiteY183" fmla="*/ 4476128 h 7785545"/>
              <a:gd name="connsiteX184" fmla="*/ 605792 w 6865640"/>
              <a:gd name="connsiteY184" fmla="*/ 3881554 h 7785545"/>
              <a:gd name="connsiteX185" fmla="*/ 650665 w 6865640"/>
              <a:gd name="connsiteY185" fmla="*/ 3892773 h 7785545"/>
              <a:gd name="connsiteX186" fmla="*/ 684321 w 6865640"/>
              <a:gd name="connsiteY186" fmla="*/ 3903991 h 7785545"/>
              <a:gd name="connsiteX187" fmla="*/ 729194 w 6865640"/>
              <a:gd name="connsiteY187" fmla="*/ 3915209 h 7785545"/>
              <a:gd name="connsiteX188" fmla="*/ 762849 w 6865640"/>
              <a:gd name="connsiteY188" fmla="*/ 3948864 h 7785545"/>
              <a:gd name="connsiteX189" fmla="*/ 785286 w 6865640"/>
              <a:gd name="connsiteY189" fmla="*/ 3971301 h 7785545"/>
              <a:gd name="connsiteX190" fmla="*/ 807723 w 6865640"/>
              <a:gd name="connsiteY190" fmla="*/ 4016175 h 7785545"/>
              <a:gd name="connsiteX191" fmla="*/ 818941 w 6865640"/>
              <a:gd name="connsiteY191" fmla="*/ 4049830 h 7785545"/>
              <a:gd name="connsiteX192" fmla="*/ 830159 w 6865640"/>
              <a:gd name="connsiteY192" fmla="*/ 4094703 h 7785545"/>
              <a:gd name="connsiteX193" fmla="*/ 818941 w 6865640"/>
              <a:gd name="connsiteY193" fmla="*/ 4128358 h 7785545"/>
              <a:gd name="connsiteX194" fmla="*/ 807723 w 6865640"/>
              <a:gd name="connsiteY194" fmla="*/ 4173232 h 7785545"/>
              <a:gd name="connsiteX195" fmla="*/ 785286 w 6865640"/>
              <a:gd name="connsiteY195" fmla="*/ 4206887 h 7785545"/>
              <a:gd name="connsiteX196" fmla="*/ 762849 w 6865640"/>
              <a:gd name="connsiteY196" fmla="*/ 4240542 h 7785545"/>
              <a:gd name="connsiteX197" fmla="*/ 729194 w 6865640"/>
              <a:gd name="connsiteY197" fmla="*/ 4262979 h 7785545"/>
              <a:gd name="connsiteX198" fmla="*/ 684321 w 6865640"/>
              <a:gd name="connsiteY198" fmla="*/ 4285416 h 7785545"/>
              <a:gd name="connsiteX199" fmla="*/ 650665 w 6865640"/>
              <a:gd name="connsiteY199" fmla="*/ 4296634 h 7785545"/>
              <a:gd name="connsiteX200" fmla="*/ 605792 w 6865640"/>
              <a:gd name="connsiteY200" fmla="*/ 4296634 h 7785545"/>
              <a:gd name="connsiteX201" fmla="*/ 560919 w 6865640"/>
              <a:gd name="connsiteY201" fmla="*/ 4296634 h 7785545"/>
              <a:gd name="connsiteX202" fmla="*/ 516045 w 6865640"/>
              <a:gd name="connsiteY202" fmla="*/ 4285416 h 7785545"/>
              <a:gd name="connsiteX203" fmla="*/ 482390 w 6865640"/>
              <a:gd name="connsiteY203" fmla="*/ 4262979 h 7785545"/>
              <a:gd name="connsiteX204" fmla="*/ 448735 w 6865640"/>
              <a:gd name="connsiteY204" fmla="*/ 4240542 h 7785545"/>
              <a:gd name="connsiteX205" fmla="*/ 415080 w 6865640"/>
              <a:gd name="connsiteY205" fmla="*/ 4206887 h 7785545"/>
              <a:gd name="connsiteX206" fmla="*/ 392643 w 6865640"/>
              <a:gd name="connsiteY206" fmla="*/ 4173232 h 7785545"/>
              <a:gd name="connsiteX207" fmla="*/ 381425 w 6865640"/>
              <a:gd name="connsiteY207" fmla="*/ 4128358 h 7785545"/>
              <a:gd name="connsiteX208" fmla="*/ 381425 w 6865640"/>
              <a:gd name="connsiteY208" fmla="*/ 4094703 h 7785545"/>
              <a:gd name="connsiteX209" fmla="*/ 381425 w 6865640"/>
              <a:gd name="connsiteY209" fmla="*/ 4049830 h 7785545"/>
              <a:gd name="connsiteX210" fmla="*/ 392643 w 6865640"/>
              <a:gd name="connsiteY210" fmla="*/ 4016175 h 7785545"/>
              <a:gd name="connsiteX211" fmla="*/ 415080 w 6865640"/>
              <a:gd name="connsiteY211" fmla="*/ 3971301 h 7785545"/>
              <a:gd name="connsiteX212" fmla="*/ 448735 w 6865640"/>
              <a:gd name="connsiteY212" fmla="*/ 3948864 h 7785545"/>
              <a:gd name="connsiteX213" fmla="*/ 482390 w 6865640"/>
              <a:gd name="connsiteY213" fmla="*/ 3915209 h 7785545"/>
              <a:gd name="connsiteX214" fmla="*/ 516045 w 6865640"/>
              <a:gd name="connsiteY214" fmla="*/ 3903991 h 7785545"/>
              <a:gd name="connsiteX215" fmla="*/ 560919 w 6865640"/>
              <a:gd name="connsiteY215" fmla="*/ 3892773 h 7785545"/>
              <a:gd name="connsiteX216" fmla="*/ 482390 w 6865640"/>
              <a:gd name="connsiteY216" fmla="*/ 2871901 h 7785545"/>
              <a:gd name="connsiteX217" fmla="*/ 549700 w 6865640"/>
              <a:gd name="connsiteY217" fmla="*/ 2883120 h 7785545"/>
              <a:gd name="connsiteX218" fmla="*/ 617010 w 6865640"/>
              <a:gd name="connsiteY218" fmla="*/ 2905557 h 7785545"/>
              <a:gd name="connsiteX219" fmla="*/ 673102 w 6865640"/>
              <a:gd name="connsiteY219" fmla="*/ 2939212 h 7785545"/>
              <a:gd name="connsiteX220" fmla="*/ 729194 w 6865640"/>
              <a:gd name="connsiteY220" fmla="*/ 2984085 h 7785545"/>
              <a:gd name="connsiteX221" fmla="*/ 762849 w 6865640"/>
              <a:gd name="connsiteY221" fmla="*/ 3040177 h 7785545"/>
              <a:gd name="connsiteX222" fmla="*/ 796504 w 6865640"/>
              <a:gd name="connsiteY222" fmla="*/ 3107487 h 7785545"/>
              <a:gd name="connsiteX223" fmla="*/ 818941 w 6865640"/>
              <a:gd name="connsiteY223" fmla="*/ 3174798 h 7785545"/>
              <a:gd name="connsiteX224" fmla="*/ 830159 w 6865640"/>
              <a:gd name="connsiteY224" fmla="*/ 3253326 h 7785545"/>
              <a:gd name="connsiteX225" fmla="*/ 818941 w 6865640"/>
              <a:gd name="connsiteY225" fmla="*/ 3320636 h 7785545"/>
              <a:gd name="connsiteX226" fmla="*/ 796504 w 6865640"/>
              <a:gd name="connsiteY226" fmla="*/ 3387946 h 7785545"/>
              <a:gd name="connsiteX227" fmla="*/ 762849 w 6865640"/>
              <a:gd name="connsiteY227" fmla="*/ 3455256 h 7785545"/>
              <a:gd name="connsiteX228" fmla="*/ 729194 w 6865640"/>
              <a:gd name="connsiteY228" fmla="*/ 3511348 h 7785545"/>
              <a:gd name="connsiteX229" fmla="*/ 673102 w 6865640"/>
              <a:gd name="connsiteY229" fmla="*/ 3556222 h 7785545"/>
              <a:gd name="connsiteX230" fmla="*/ 617010 w 6865640"/>
              <a:gd name="connsiteY230" fmla="*/ 3589877 h 7785545"/>
              <a:gd name="connsiteX231" fmla="*/ 549700 w 6865640"/>
              <a:gd name="connsiteY231" fmla="*/ 3612314 h 7785545"/>
              <a:gd name="connsiteX232" fmla="*/ 482390 w 6865640"/>
              <a:gd name="connsiteY232" fmla="*/ 3623532 h 7785545"/>
              <a:gd name="connsiteX233" fmla="*/ 403861 w 6865640"/>
              <a:gd name="connsiteY233" fmla="*/ 3612314 h 7785545"/>
              <a:gd name="connsiteX234" fmla="*/ 347770 w 6865640"/>
              <a:gd name="connsiteY234" fmla="*/ 3589877 h 7785545"/>
              <a:gd name="connsiteX235" fmla="*/ 280459 w 6865640"/>
              <a:gd name="connsiteY235" fmla="*/ 3556222 h 7785545"/>
              <a:gd name="connsiteX236" fmla="*/ 235586 w 6865640"/>
              <a:gd name="connsiteY236" fmla="*/ 3511348 h 7785545"/>
              <a:gd name="connsiteX237" fmla="*/ 190712 w 6865640"/>
              <a:gd name="connsiteY237" fmla="*/ 3455256 h 7785545"/>
              <a:gd name="connsiteX238" fmla="*/ 157057 w 6865640"/>
              <a:gd name="connsiteY238" fmla="*/ 3387946 h 7785545"/>
              <a:gd name="connsiteX239" fmla="*/ 134621 w 6865640"/>
              <a:gd name="connsiteY239" fmla="*/ 3320636 h 7785545"/>
              <a:gd name="connsiteX240" fmla="*/ 134621 w 6865640"/>
              <a:gd name="connsiteY240" fmla="*/ 3253326 h 7785545"/>
              <a:gd name="connsiteX241" fmla="*/ 134621 w 6865640"/>
              <a:gd name="connsiteY241" fmla="*/ 3174798 h 7785545"/>
              <a:gd name="connsiteX242" fmla="*/ 157057 w 6865640"/>
              <a:gd name="connsiteY242" fmla="*/ 3107487 h 7785545"/>
              <a:gd name="connsiteX243" fmla="*/ 190712 w 6865640"/>
              <a:gd name="connsiteY243" fmla="*/ 3040177 h 7785545"/>
              <a:gd name="connsiteX244" fmla="*/ 235586 w 6865640"/>
              <a:gd name="connsiteY244" fmla="*/ 2984085 h 7785545"/>
              <a:gd name="connsiteX245" fmla="*/ 280459 w 6865640"/>
              <a:gd name="connsiteY245" fmla="*/ 2939212 h 7785545"/>
              <a:gd name="connsiteX246" fmla="*/ 347770 w 6865640"/>
              <a:gd name="connsiteY246" fmla="*/ 2905557 h 7785545"/>
              <a:gd name="connsiteX247" fmla="*/ 403861 w 6865640"/>
              <a:gd name="connsiteY247" fmla="*/ 2883120 h 7785545"/>
              <a:gd name="connsiteX248" fmla="*/ 1245239 w 6865640"/>
              <a:gd name="connsiteY248" fmla="*/ 2468040 h 7785545"/>
              <a:gd name="connsiteX249" fmla="*/ 1301331 w 6865640"/>
              <a:gd name="connsiteY249" fmla="*/ 2479259 h 7785545"/>
              <a:gd name="connsiteX250" fmla="*/ 1346204 w 6865640"/>
              <a:gd name="connsiteY250" fmla="*/ 2501696 h 7785545"/>
              <a:gd name="connsiteX251" fmla="*/ 1379859 w 6865640"/>
              <a:gd name="connsiteY251" fmla="*/ 2546569 h 7785545"/>
              <a:gd name="connsiteX252" fmla="*/ 1391078 w 6865640"/>
              <a:gd name="connsiteY252" fmla="*/ 2591443 h 7785545"/>
              <a:gd name="connsiteX253" fmla="*/ 1379859 w 6865640"/>
              <a:gd name="connsiteY253" fmla="*/ 2647534 h 7785545"/>
              <a:gd name="connsiteX254" fmla="*/ 1346204 w 6865640"/>
              <a:gd name="connsiteY254" fmla="*/ 2692408 h 7785545"/>
              <a:gd name="connsiteX255" fmla="*/ 1301331 w 6865640"/>
              <a:gd name="connsiteY255" fmla="*/ 2714845 h 7785545"/>
              <a:gd name="connsiteX256" fmla="*/ 1245239 w 6865640"/>
              <a:gd name="connsiteY256" fmla="*/ 2726063 h 7785545"/>
              <a:gd name="connsiteX257" fmla="*/ 1177929 w 6865640"/>
              <a:gd name="connsiteY257" fmla="*/ 2714845 h 7785545"/>
              <a:gd name="connsiteX258" fmla="*/ 1133055 w 6865640"/>
              <a:gd name="connsiteY258" fmla="*/ 2692408 h 7785545"/>
              <a:gd name="connsiteX259" fmla="*/ 1099400 w 6865640"/>
              <a:gd name="connsiteY259" fmla="*/ 2647534 h 7785545"/>
              <a:gd name="connsiteX260" fmla="*/ 1088182 w 6865640"/>
              <a:gd name="connsiteY260" fmla="*/ 2591443 h 7785545"/>
              <a:gd name="connsiteX261" fmla="*/ 1099400 w 6865640"/>
              <a:gd name="connsiteY261" fmla="*/ 2546569 h 7785545"/>
              <a:gd name="connsiteX262" fmla="*/ 1133055 w 6865640"/>
              <a:gd name="connsiteY262" fmla="*/ 2501696 h 7785545"/>
              <a:gd name="connsiteX263" fmla="*/ 1177929 w 6865640"/>
              <a:gd name="connsiteY263" fmla="*/ 2479259 h 7785545"/>
              <a:gd name="connsiteX264" fmla="*/ 6394468 w 6865640"/>
              <a:gd name="connsiteY264" fmla="*/ 2232455 h 7785545"/>
              <a:gd name="connsiteX265" fmla="*/ 6450560 w 6865640"/>
              <a:gd name="connsiteY265" fmla="*/ 2232455 h 7785545"/>
              <a:gd name="connsiteX266" fmla="*/ 6506652 w 6865640"/>
              <a:gd name="connsiteY266" fmla="*/ 2232455 h 7785545"/>
              <a:gd name="connsiteX267" fmla="*/ 6585181 w 6865640"/>
              <a:gd name="connsiteY267" fmla="*/ 2243673 h 7785545"/>
              <a:gd name="connsiteX268" fmla="*/ 6663710 w 6865640"/>
              <a:gd name="connsiteY268" fmla="*/ 2277328 h 7785545"/>
              <a:gd name="connsiteX269" fmla="*/ 6697364 w 6865640"/>
              <a:gd name="connsiteY269" fmla="*/ 2310983 h 7785545"/>
              <a:gd name="connsiteX270" fmla="*/ 6742238 w 6865640"/>
              <a:gd name="connsiteY270" fmla="*/ 2344639 h 7785545"/>
              <a:gd name="connsiteX271" fmla="*/ 6775893 w 6865640"/>
              <a:gd name="connsiteY271" fmla="*/ 2400730 h 7785545"/>
              <a:gd name="connsiteX272" fmla="*/ 6809548 w 6865640"/>
              <a:gd name="connsiteY272" fmla="*/ 2456822 h 7785545"/>
              <a:gd name="connsiteX273" fmla="*/ 6831985 w 6865640"/>
              <a:gd name="connsiteY273" fmla="*/ 2490477 h 7785545"/>
              <a:gd name="connsiteX274" fmla="*/ 6854422 w 6865640"/>
              <a:gd name="connsiteY274" fmla="*/ 2546569 h 7785545"/>
              <a:gd name="connsiteX275" fmla="*/ 6865640 w 6865640"/>
              <a:gd name="connsiteY275" fmla="*/ 2613879 h 7785545"/>
              <a:gd name="connsiteX276" fmla="*/ 6865640 w 6865640"/>
              <a:gd name="connsiteY276" fmla="*/ 2714845 h 7785545"/>
              <a:gd name="connsiteX277" fmla="*/ 6854422 w 6865640"/>
              <a:gd name="connsiteY277" fmla="*/ 2827028 h 7785545"/>
              <a:gd name="connsiteX278" fmla="*/ 6820766 w 6865640"/>
              <a:gd name="connsiteY278" fmla="*/ 2972867 h 7785545"/>
              <a:gd name="connsiteX279" fmla="*/ 6753456 w 6865640"/>
              <a:gd name="connsiteY279" fmla="*/ 3129924 h 7785545"/>
              <a:gd name="connsiteX280" fmla="*/ 6708583 w 6865640"/>
              <a:gd name="connsiteY280" fmla="*/ 3230889 h 7785545"/>
              <a:gd name="connsiteX281" fmla="*/ 6652491 w 6865640"/>
              <a:gd name="connsiteY281" fmla="*/ 3320636 h 7785545"/>
              <a:gd name="connsiteX282" fmla="*/ 6585181 w 6865640"/>
              <a:gd name="connsiteY282" fmla="*/ 3387946 h 7785545"/>
              <a:gd name="connsiteX283" fmla="*/ 6529089 w 6865640"/>
              <a:gd name="connsiteY283" fmla="*/ 3444038 h 7785545"/>
              <a:gd name="connsiteX284" fmla="*/ 6461779 w 6865640"/>
              <a:gd name="connsiteY284" fmla="*/ 3488912 h 7785545"/>
              <a:gd name="connsiteX285" fmla="*/ 6394468 w 6865640"/>
              <a:gd name="connsiteY285" fmla="*/ 3511348 h 7785545"/>
              <a:gd name="connsiteX286" fmla="*/ 6338377 w 6865640"/>
              <a:gd name="connsiteY286" fmla="*/ 3522567 h 7785545"/>
              <a:gd name="connsiteX287" fmla="*/ 6282285 w 6865640"/>
              <a:gd name="connsiteY287" fmla="*/ 3500130 h 7785545"/>
              <a:gd name="connsiteX288" fmla="*/ 6237412 w 6865640"/>
              <a:gd name="connsiteY288" fmla="*/ 3455256 h 7785545"/>
              <a:gd name="connsiteX289" fmla="*/ 6203756 w 6865640"/>
              <a:gd name="connsiteY289" fmla="*/ 3399165 h 7785545"/>
              <a:gd name="connsiteX290" fmla="*/ 6181320 w 6865640"/>
              <a:gd name="connsiteY290" fmla="*/ 3331855 h 7785545"/>
              <a:gd name="connsiteX291" fmla="*/ 6170102 w 6865640"/>
              <a:gd name="connsiteY291" fmla="*/ 3242107 h 7785545"/>
              <a:gd name="connsiteX292" fmla="*/ 6170102 w 6865640"/>
              <a:gd name="connsiteY292" fmla="*/ 3152361 h 7785545"/>
              <a:gd name="connsiteX293" fmla="*/ 6181320 w 6865640"/>
              <a:gd name="connsiteY293" fmla="*/ 3051395 h 7785545"/>
              <a:gd name="connsiteX294" fmla="*/ 6203756 w 6865640"/>
              <a:gd name="connsiteY294" fmla="*/ 2950430 h 7785545"/>
              <a:gd name="connsiteX295" fmla="*/ 6248630 w 6865640"/>
              <a:gd name="connsiteY295" fmla="*/ 2838246 h 7785545"/>
              <a:gd name="connsiteX296" fmla="*/ 6259848 w 6865640"/>
              <a:gd name="connsiteY296" fmla="*/ 2815810 h 7785545"/>
              <a:gd name="connsiteX297" fmla="*/ 6271066 w 6865640"/>
              <a:gd name="connsiteY297" fmla="*/ 2748500 h 7785545"/>
              <a:gd name="connsiteX298" fmla="*/ 6271066 w 6865640"/>
              <a:gd name="connsiteY298" fmla="*/ 2658753 h 7785545"/>
              <a:gd name="connsiteX299" fmla="*/ 6271066 w 6865640"/>
              <a:gd name="connsiteY299" fmla="*/ 2613879 h 7785545"/>
              <a:gd name="connsiteX300" fmla="*/ 6248630 w 6865640"/>
              <a:gd name="connsiteY300" fmla="*/ 2569006 h 7785545"/>
              <a:gd name="connsiteX301" fmla="*/ 6226193 w 6865640"/>
              <a:gd name="connsiteY301" fmla="*/ 2535351 h 7785545"/>
              <a:gd name="connsiteX302" fmla="*/ 6214975 w 6865640"/>
              <a:gd name="connsiteY302" fmla="*/ 2501696 h 7785545"/>
              <a:gd name="connsiteX303" fmla="*/ 6203756 w 6865640"/>
              <a:gd name="connsiteY303" fmla="*/ 2456822 h 7785545"/>
              <a:gd name="connsiteX304" fmla="*/ 6203756 w 6865640"/>
              <a:gd name="connsiteY304" fmla="*/ 2411949 h 7785545"/>
              <a:gd name="connsiteX305" fmla="*/ 6226193 w 6865640"/>
              <a:gd name="connsiteY305" fmla="*/ 2355857 h 7785545"/>
              <a:gd name="connsiteX306" fmla="*/ 6271066 w 6865640"/>
              <a:gd name="connsiteY306" fmla="*/ 2299765 h 7785545"/>
              <a:gd name="connsiteX307" fmla="*/ 6349595 w 6865640"/>
              <a:gd name="connsiteY307" fmla="*/ 2254892 h 7785545"/>
              <a:gd name="connsiteX308" fmla="*/ 1783720 w 6865640"/>
              <a:gd name="connsiteY308" fmla="*/ 2097835 h 7785545"/>
              <a:gd name="connsiteX309" fmla="*/ 1839812 w 6865640"/>
              <a:gd name="connsiteY309" fmla="*/ 2109053 h 7785545"/>
              <a:gd name="connsiteX310" fmla="*/ 1895904 w 6865640"/>
              <a:gd name="connsiteY310" fmla="*/ 2120271 h 7785545"/>
              <a:gd name="connsiteX311" fmla="*/ 1940778 w 6865640"/>
              <a:gd name="connsiteY311" fmla="*/ 2142708 h 7785545"/>
              <a:gd name="connsiteX312" fmla="*/ 1985651 w 6865640"/>
              <a:gd name="connsiteY312" fmla="*/ 2165145 h 7785545"/>
              <a:gd name="connsiteX313" fmla="*/ 2019306 w 6865640"/>
              <a:gd name="connsiteY313" fmla="*/ 2198800 h 7785545"/>
              <a:gd name="connsiteX314" fmla="*/ 2052961 w 6865640"/>
              <a:gd name="connsiteY314" fmla="*/ 2232455 h 7785545"/>
              <a:gd name="connsiteX315" fmla="*/ 2064180 w 6865640"/>
              <a:gd name="connsiteY315" fmla="*/ 2266110 h 7785545"/>
              <a:gd name="connsiteX316" fmla="*/ 2075398 w 6865640"/>
              <a:gd name="connsiteY316" fmla="*/ 2310983 h 7785545"/>
              <a:gd name="connsiteX317" fmla="*/ 2064180 w 6865640"/>
              <a:gd name="connsiteY317" fmla="*/ 2355857 h 7785545"/>
              <a:gd name="connsiteX318" fmla="*/ 2052961 w 6865640"/>
              <a:gd name="connsiteY318" fmla="*/ 2400730 h 7785545"/>
              <a:gd name="connsiteX319" fmla="*/ 2019306 w 6865640"/>
              <a:gd name="connsiteY319" fmla="*/ 2434385 h 7785545"/>
              <a:gd name="connsiteX320" fmla="*/ 1985651 w 6865640"/>
              <a:gd name="connsiteY320" fmla="*/ 2468040 h 7785545"/>
              <a:gd name="connsiteX321" fmla="*/ 1940778 w 6865640"/>
              <a:gd name="connsiteY321" fmla="*/ 2490477 h 7785545"/>
              <a:gd name="connsiteX322" fmla="*/ 1895904 w 6865640"/>
              <a:gd name="connsiteY322" fmla="*/ 2512914 h 7785545"/>
              <a:gd name="connsiteX323" fmla="*/ 1839812 w 6865640"/>
              <a:gd name="connsiteY323" fmla="*/ 2524132 h 7785545"/>
              <a:gd name="connsiteX324" fmla="*/ 1783720 w 6865640"/>
              <a:gd name="connsiteY324" fmla="*/ 2524132 h 7785545"/>
              <a:gd name="connsiteX325" fmla="*/ 1727629 w 6865640"/>
              <a:gd name="connsiteY325" fmla="*/ 2524132 h 7785545"/>
              <a:gd name="connsiteX326" fmla="*/ 1671537 w 6865640"/>
              <a:gd name="connsiteY326" fmla="*/ 2512914 h 7785545"/>
              <a:gd name="connsiteX327" fmla="*/ 1615445 w 6865640"/>
              <a:gd name="connsiteY327" fmla="*/ 2490477 h 7785545"/>
              <a:gd name="connsiteX328" fmla="*/ 1570571 w 6865640"/>
              <a:gd name="connsiteY328" fmla="*/ 2468040 h 7785545"/>
              <a:gd name="connsiteX329" fmla="*/ 1536916 w 6865640"/>
              <a:gd name="connsiteY329" fmla="*/ 2434385 h 7785545"/>
              <a:gd name="connsiteX330" fmla="*/ 1514480 w 6865640"/>
              <a:gd name="connsiteY330" fmla="*/ 2400730 h 7785545"/>
              <a:gd name="connsiteX331" fmla="*/ 1492043 w 6865640"/>
              <a:gd name="connsiteY331" fmla="*/ 2355857 h 7785545"/>
              <a:gd name="connsiteX332" fmla="*/ 1492043 w 6865640"/>
              <a:gd name="connsiteY332" fmla="*/ 2310983 h 7785545"/>
              <a:gd name="connsiteX333" fmla="*/ 1492043 w 6865640"/>
              <a:gd name="connsiteY333" fmla="*/ 2266110 h 7785545"/>
              <a:gd name="connsiteX334" fmla="*/ 1514480 w 6865640"/>
              <a:gd name="connsiteY334" fmla="*/ 2232455 h 7785545"/>
              <a:gd name="connsiteX335" fmla="*/ 1536916 w 6865640"/>
              <a:gd name="connsiteY335" fmla="*/ 2198800 h 7785545"/>
              <a:gd name="connsiteX336" fmla="*/ 1570571 w 6865640"/>
              <a:gd name="connsiteY336" fmla="*/ 2165145 h 7785545"/>
              <a:gd name="connsiteX337" fmla="*/ 1615445 w 6865640"/>
              <a:gd name="connsiteY337" fmla="*/ 2142708 h 7785545"/>
              <a:gd name="connsiteX338" fmla="*/ 1671537 w 6865640"/>
              <a:gd name="connsiteY338" fmla="*/ 2120271 h 7785545"/>
              <a:gd name="connsiteX339" fmla="*/ 1727629 w 6865640"/>
              <a:gd name="connsiteY339" fmla="*/ 2109053 h 7785545"/>
              <a:gd name="connsiteX340" fmla="*/ 5586746 w 6865640"/>
              <a:gd name="connsiteY340" fmla="*/ 560918 h 7785545"/>
              <a:gd name="connsiteX341" fmla="*/ 5654056 w 6865640"/>
              <a:gd name="connsiteY341" fmla="*/ 560918 h 7785545"/>
              <a:gd name="connsiteX342" fmla="*/ 5710148 w 6865640"/>
              <a:gd name="connsiteY342" fmla="*/ 583355 h 7785545"/>
              <a:gd name="connsiteX343" fmla="*/ 5777458 w 6865640"/>
              <a:gd name="connsiteY343" fmla="*/ 628229 h 7785545"/>
              <a:gd name="connsiteX344" fmla="*/ 5844768 w 6865640"/>
              <a:gd name="connsiteY344" fmla="*/ 684320 h 7785545"/>
              <a:gd name="connsiteX345" fmla="*/ 5900860 w 6865640"/>
              <a:gd name="connsiteY345" fmla="*/ 762849 h 7785545"/>
              <a:gd name="connsiteX346" fmla="*/ 5956952 w 6865640"/>
              <a:gd name="connsiteY346" fmla="*/ 852596 h 7785545"/>
              <a:gd name="connsiteX347" fmla="*/ 6001826 w 6865640"/>
              <a:gd name="connsiteY347" fmla="*/ 953561 h 7785545"/>
              <a:gd name="connsiteX348" fmla="*/ 6035481 w 6865640"/>
              <a:gd name="connsiteY348" fmla="*/ 1054526 h 7785545"/>
              <a:gd name="connsiteX349" fmla="*/ 6057918 w 6865640"/>
              <a:gd name="connsiteY349" fmla="*/ 1166710 h 7785545"/>
              <a:gd name="connsiteX350" fmla="*/ 6069136 w 6865640"/>
              <a:gd name="connsiteY350" fmla="*/ 1267675 h 7785545"/>
              <a:gd name="connsiteX351" fmla="*/ 6069136 w 6865640"/>
              <a:gd name="connsiteY351" fmla="*/ 1368641 h 7785545"/>
              <a:gd name="connsiteX352" fmla="*/ 6057918 w 6865640"/>
              <a:gd name="connsiteY352" fmla="*/ 1447169 h 7785545"/>
              <a:gd name="connsiteX353" fmla="*/ 6035481 w 6865640"/>
              <a:gd name="connsiteY353" fmla="*/ 1514480 h 7785545"/>
              <a:gd name="connsiteX354" fmla="*/ 6001826 w 6865640"/>
              <a:gd name="connsiteY354" fmla="*/ 1570571 h 7785545"/>
              <a:gd name="connsiteX355" fmla="*/ 5956952 w 6865640"/>
              <a:gd name="connsiteY355" fmla="*/ 1615445 h 7785545"/>
              <a:gd name="connsiteX356" fmla="*/ 5900860 w 6865640"/>
              <a:gd name="connsiteY356" fmla="*/ 1626663 h 7785545"/>
              <a:gd name="connsiteX357" fmla="*/ 5833550 w 6865640"/>
              <a:gd name="connsiteY357" fmla="*/ 1626663 h 7785545"/>
              <a:gd name="connsiteX358" fmla="*/ 5766240 w 6865640"/>
              <a:gd name="connsiteY358" fmla="*/ 1604226 h 7785545"/>
              <a:gd name="connsiteX359" fmla="*/ 5710148 w 6865640"/>
              <a:gd name="connsiteY359" fmla="*/ 1559353 h 7785545"/>
              <a:gd name="connsiteX360" fmla="*/ 5642838 w 6865640"/>
              <a:gd name="connsiteY360" fmla="*/ 1492043 h 7785545"/>
              <a:gd name="connsiteX361" fmla="*/ 5586746 w 6865640"/>
              <a:gd name="connsiteY361" fmla="*/ 1424733 h 7785545"/>
              <a:gd name="connsiteX362" fmla="*/ 5530654 w 6865640"/>
              <a:gd name="connsiteY362" fmla="*/ 1334986 h 7785545"/>
              <a:gd name="connsiteX363" fmla="*/ 5485781 w 6865640"/>
              <a:gd name="connsiteY363" fmla="*/ 1234020 h 7785545"/>
              <a:gd name="connsiteX364" fmla="*/ 5452126 w 6865640"/>
              <a:gd name="connsiteY364" fmla="*/ 1133055 h 7785545"/>
              <a:gd name="connsiteX365" fmla="*/ 5418471 w 6865640"/>
              <a:gd name="connsiteY365" fmla="*/ 1020871 h 7785545"/>
              <a:gd name="connsiteX366" fmla="*/ 5407252 w 6865640"/>
              <a:gd name="connsiteY366" fmla="*/ 919906 h 7785545"/>
              <a:gd name="connsiteX367" fmla="*/ 5407252 w 6865640"/>
              <a:gd name="connsiteY367" fmla="*/ 818941 h 7785545"/>
              <a:gd name="connsiteX368" fmla="*/ 5429689 w 6865640"/>
              <a:gd name="connsiteY368" fmla="*/ 740412 h 7785545"/>
              <a:gd name="connsiteX369" fmla="*/ 5452126 w 6865640"/>
              <a:gd name="connsiteY369" fmla="*/ 673102 h 7785545"/>
              <a:gd name="connsiteX370" fmla="*/ 5485781 w 6865640"/>
              <a:gd name="connsiteY370" fmla="*/ 617010 h 7785545"/>
              <a:gd name="connsiteX371" fmla="*/ 5530654 w 6865640"/>
              <a:gd name="connsiteY371" fmla="*/ 572137 h 7785545"/>
              <a:gd name="connsiteX372" fmla="*/ 4285416 w 6865640"/>
              <a:gd name="connsiteY372" fmla="*/ 347770 h 7785545"/>
              <a:gd name="connsiteX373" fmla="*/ 4386381 w 6865640"/>
              <a:gd name="connsiteY373" fmla="*/ 347770 h 7785545"/>
              <a:gd name="connsiteX374" fmla="*/ 4487346 w 6865640"/>
              <a:gd name="connsiteY374" fmla="*/ 358988 h 7785545"/>
              <a:gd name="connsiteX375" fmla="*/ 4565875 w 6865640"/>
              <a:gd name="connsiteY375" fmla="*/ 392643 h 7785545"/>
              <a:gd name="connsiteX376" fmla="*/ 4644404 w 6865640"/>
              <a:gd name="connsiteY376" fmla="*/ 426298 h 7785545"/>
              <a:gd name="connsiteX377" fmla="*/ 4711714 w 6865640"/>
              <a:gd name="connsiteY377" fmla="*/ 459953 h 7785545"/>
              <a:gd name="connsiteX378" fmla="*/ 4801460 w 6865640"/>
              <a:gd name="connsiteY378" fmla="*/ 527263 h 7785545"/>
              <a:gd name="connsiteX379" fmla="*/ 4835116 w 6865640"/>
              <a:gd name="connsiteY379" fmla="*/ 560918 h 7785545"/>
              <a:gd name="connsiteX380" fmla="*/ 4924862 w 6865640"/>
              <a:gd name="connsiteY380" fmla="*/ 639447 h 7785545"/>
              <a:gd name="connsiteX381" fmla="*/ 5014610 w 6865640"/>
              <a:gd name="connsiteY381" fmla="*/ 729194 h 7785545"/>
              <a:gd name="connsiteX382" fmla="*/ 5070702 w 6865640"/>
              <a:gd name="connsiteY382" fmla="*/ 830159 h 7785545"/>
              <a:gd name="connsiteX383" fmla="*/ 5126794 w 6865640"/>
              <a:gd name="connsiteY383" fmla="*/ 919906 h 7785545"/>
              <a:gd name="connsiteX384" fmla="*/ 5160448 w 6865640"/>
              <a:gd name="connsiteY384" fmla="*/ 1009653 h 7785545"/>
              <a:gd name="connsiteX385" fmla="*/ 5194104 w 6865640"/>
              <a:gd name="connsiteY385" fmla="*/ 1099400 h 7785545"/>
              <a:gd name="connsiteX386" fmla="*/ 5216540 w 6865640"/>
              <a:gd name="connsiteY386" fmla="*/ 1177929 h 7785545"/>
              <a:gd name="connsiteX387" fmla="*/ 5216540 w 6865640"/>
              <a:gd name="connsiteY387" fmla="*/ 1267675 h 7785545"/>
              <a:gd name="connsiteX388" fmla="*/ 5227758 w 6865640"/>
              <a:gd name="connsiteY388" fmla="*/ 1413514 h 7785545"/>
              <a:gd name="connsiteX389" fmla="*/ 5205322 w 6865640"/>
              <a:gd name="connsiteY389" fmla="*/ 1525698 h 7785545"/>
              <a:gd name="connsiteX390" fmla="*/ 5182885 w 6865640"/>
              <a:gd name="connsiteY390" fmla="*/ 1626663 h 7785545"/>
              <a:gd name="connsiteX391" fmla="*/ 5149230 w 6865640"/>
              <a:gd name="connsiteY391" fmla="*/ 1772502 h 7785545"/>
              <a:gd name="connsiteX392" fmla="*/ 5138012 w 6865640"/>
              <a:gd name="connsiteY392" fmla="*/ 1884686 h 7785545"/>
              <a:gd name="connsiteX393" fmla="*/ 5138012 w 6865640"/>
              <a:gd name="connsiteY393" fmla="*/ 1985651 h 7785545"/>
              <a:gd name="connsiteX394" fmla="*/ 5149230 w 6865640"/>
              <a:gd name="connsiteY394" fmla="*/ 2052961 h 7785545"/>
              <a:gd name="connsiteX395" fmla="*/ 5182885 w 6865640"/>
              <a:gd name="connsiteY395" fmla="*/ 2109053 h 7785545"/>
              <a:gd name="connsiteX396" fmla="*/ 5205322 w 6865640"/>
              <a:gd name="connsiteY396" fmla="*/ 2153926 h 7785545"/>
              <a:gd name="connsiteX397" fmla="*/ 5238977 w 6865640"/>
              <a:gd name="connsiteY397" fmla="*/ 2198800 h 7785545"/>
              <a:gd name="connsiteX398" fmla="*/ 5283850 w 6865640"/>
              <a:gd name="connsiteY398" fmla="*/ 2232455 h 7785545"/>
              <a:gd name="connsiteX399" fmla="*/ 5328724 w 6865640"/>
              <a:gd name="connsiteY399" fmla="*/ 2254892 h 7785545"/>
              <a:gd name="connsiteX400" fmla="*/ 5407252 w 6865640"/>
              <a:gd name="connsiteY400" fmla="*/ 2288547 h 7785545"/>
              <a:gd name="connsiteX401" fmla="*/ 5485781 w 6865640"/>
              <a:gd name="connsiteY401" fmla="*/ 2299765 h 7785545"/>
              <a:gd name="connsiteX402" fmla="*/ 5553091 w 6865640"/>
              <a:gd name="connsiteY402" fmla="*/ 2299765 h 7785545"/>
              <a:gd name="connsiteX403" fmla="*/ 5620402 w 6865640"/>
              <a:gd name="connsiteY403" fmla="*/ 2299765 h 7785545"/>
              <a:gd name="connsiteX404" fmla="*/ 5732585 w 6865640"/>
              <a:gd name="connsiteY404" fmla="*/ 2299765 h 7785545"/>
              <a:gd name="connsiteX405" fmla="*/ 5822332 w 6865640"/>
              <a:gd name="connsiteY405" fmla="*/ 2310983 h 7785545"/>
              <a:gd name="connsiteX406" fmla="*/ 5900860 w 6865640"/>
              <a:gd name="connsiteY406" fmla="*/ 2333420 h 7785545"/>
              <a:gd name="connsiteX407" fmla="*/ 5956952 w 6865640"/>
              <a:gd name="connsiteY407" fmla="*/ 2355857 h 7785545"/>
              <a:gd name="connsiteX408" fmla="*/ 5990608 w 6865640"/>
              <a:gd name="connsiteY408" fmla="*/ 2389512 h 7785545"/>
              <a:gd name="connsiteX409" fmla="*/ 6013044 w 6865640"/>
              <a:gd name="connsiteY409" fmla="*/ 2411949 h 7785545"/>
              <a:gd name="connsiteX410" fmla="*/ 6035481 w 6865640"/>
              <a:gd name="connsiteY410" fmla="*/ 2434385 h 7785545"/>
              <a:gd name="connsiteX411" fmla="*/ 6057918 w 6865640"/>
              <a:gd name="connsiteY411" fmla="*/ 2468040 h 7785545"/>
              <a:gd name="connsiteX412" fmla="*/ 6069136 w 6865640"/>
              <a:gd name="connsiteY412" fmla="*/ 2501696 h 7785545"/>
              <a:gd name="connsiteX413" fmla="*/ 6091572 w 6865640"/>
              <a:gd name="connsiteY413" fmla="*/ 2569006 h 7785545"/>
              <a:gd name="connsiteX414" fmla="*/ 6091572 w 6865640"/>
              <a:gd name="connsiteY414" fmla="*/ 2647534 h 7785545"/>
              <a:gd name="connsiteX415" fmla="*/ 6069136 w 6865640"/>
              <a:gd name="connsiteY415" fmla="*/ 2714845 h 7785545"/>
              <a:gd name="connsiteX416" fmla="*/ 6024262 w 6865640"/>
              <a:gd name="connsiteY416" fmla="*/ 2827028 h 7785545"/>
              <a:gd name="connsiteX417" fmla="*/ 6001826 w 6865640"/>
              <a:gd name="connsiteY417" fmla="*/ 2860683 h 7785545"/>
              <a:gd name="connsiteX418" fmla="*/ 5923298 w 6865640"/>
              <a:gd name="connsiteY418" fmla="*/ 2984085 h 7785545"/>
              <a:gd name="connsiteX419" fmla="*/ 5867206 w 6865640"/>
              <a:gd name="connsiteY419" fmla="*/ 3085050 h 7785545"/>
              <a:gd name="connsiteX420" fmla="*/ 5833550 w 6865640"/>
              <a:gd name="connsiteY420" fmla="*/ 3174798 h 7785545"/>
              <a:gd name="connsiteX421" fmla="*/ 5811114 w 6865640"/>
              <a:gd name="connsiteY421" fmla="*/ 3242107 h 7785545"/>
              <a:gd name="connsiteX422" fmla="*/ 5799895 w 6865640"/>
              <a:gd name="connsiteY422" fmla="*/ 3309418 h 7785545"/>
              <a:gd name="connsiteX423" fmla="*/ 5799895 w 6865640"/>
              <a:gd name="connsiteY423" fmla="*/ 3354291 h 7785545"/>
              <a:gd name="connsiteX424" fmla="*/ 5799895 w 6865640"/>
              <a:gd name="connsiteY424" fmla="*/ 3387946 h 7785545"/>
              <a:gd name="connsiteX425" fmla="*/ 5811114 w 6865640"/>
              <a:gd name="connsiteY425" fmla="*/ 3444038 h 7785545"/>
              <a:gd name="connsiteX426" fmla="*/ 5822332 w 6865640"/>
              <a:gd name="connsiteY426" fmla="*/ 3500130 h 7785545"/>
              <a:gd name="connsiteX427" fmla="*/ 5844768 w 6865640"/>
              <a:gd name="connsiteY427" fmla="*/ 3545004 h 7785545"/>
              <a:gd name="connsiteX428" fmla="*/ 5878424 w 6865640"/>
              <a:gd name="connsiteY428" fmla="*/ 3578658 h 7785545"/>
              <a:gd name="connsiteX429" fmla="*/ 5912079 w 6865640"/>
              <a:gd name="connsiteY429" fmla="*/ 3612314 h 7785545"/>
              <a:gd name="connsiteX430" fmla="*/ 5945734 w 6865640"/>
              <a:gd name="connsiteY430" fmla="*/ 3645969 h 7785545"/>
              <a:gd name="connsiteX431" fmla="*/ 6024262 w 6865640"/>
              <a:gd name="connsiteY431" fmla="*/ 3679624 h 7785545"/>
              <a:gd name="connsiteX432" fmla="*/ 6091572 w 6865640"/>
              <a:gd name="connsiteY432" fmla="*/ 3702061 h 7785545"/>
              <a:gd name="connsiteX433" fmla="*/ 6158883 w 6865640"/>
              <a:gd name="connsiteY433" fmla="*/ 3702061 h 7785545"/>
              <a:gd name="connsiteX434" fmla="*/ 6226193 w 6865640"/>
              <a:gd name="connsiteY434" fmla="*/ 3702061 h 7785545"/>
              <a:gd name="connsiteX435" fmla="*/ 6360814 w 6865640"/>
              <a:gd name="connsiteY435" fmla="*/ 3713279 h 7785545"/>
              <a:gd name="connsiteX436" fmla="*/ 6484216 w 6865640"/>
              <a:gd name="connsiteY436" fmla="*/ 3735716 h 7785545"/>
              <a:gd name="connsiteX437" fmla="*/ 6573962 w 6865640"/>
              <a:gd name="connsiteY437" fmla="*/ 3769371 h 7785545"/>
              <a:gd name="connsiteX438" fmla="*/ 6652491 w 6865640"/>
              <a:gd name="connsiteY438" fmla="*/ 3803026 h 7785545"/>
              <a:gd name="connsiteX439" fmla="*/ 6708583 w 6865640"/>
              <a:gd name="connsiteY439" fmla="*/ 3847899 h 7785545"/>
              <a:gd name="connsiteX440" fmla="*/ 6753456 w 6865640"/>
              <a:gd name="connsiteY440" fmla="*/ 3881554 h 7785545"/>
              <a:gd name="connsiteX441" fmla="*/ 6787112 w 6865640"/>
              <a:gd name="connsiteY441" fmla="*/ 3926428 h 7785545"/>
              <a:gd name="connsiteX442" fmla="*/ 6809548 w 6865640"/>
              <a:gd name="connsiteY442" fmla="*/ 3960083 h 7785545"/>
              <a:gd name="connsiteX443" fmla="*/ 6831985 w 6865640"/>
              <a:gd name="connsiteY443" fmla="*/ 4004956 h 7785545"/>
              <a:gd name="connsiteX444" fmla="*/ 6843204 w 6865640"/>
              <a:gd name="connsiteY444" fmla="*/ 4038611 h 7785545"/>
              <a:gd name="connsiteX445" fmla="*/ 6843204 w 6865640"/>
              <a:gd name="connsiteY445" fmla="*/ 4072266 h 7785545"/>
              <a:gd name="connsiteX446" fmla="*/ 6831985 w 6865640"/>
              <a:gd name="connsiteY446" fmla="*/ 4105922 h 7785545"/>
              <a:gd name="connsiteX447" fmla="*/ 6809548 w 6865640"/>
              <a:gd name="connsiteY447" fmla="*/ 4139577 h 7785545"/>
              <a:gd name="connsiteX448" fmla="*/ 6764674 w 6865640"/>
              <a:gd name="connsiteY448" fmla="*/ 4195669 h 7785545"/>
              <a:gd name="connsiteX449" fmla="*/ 6708583 w 6865640"/>
              <a:gd name="connsiteY449" fmla="*/ 4240542 h 7785545"/>
              <a:gd name="connsiteX450" fmla="*/ 6652491 w 6865640"/>
              <a:gd name="connsiteY450" fmla="*/ 4274197 h 7785545"/>
              <a:gd name="connsiteX451" fmla="*/ 6596399 w 6865640"/>
              <a:gd name="connsiteY451" fmla="*/ 4296634 h 7785545"/>
              <a:gd name="connsiteX452" fmla="*/ 6529089 w 6865640"/>
              <a:gd name="connsiteY452" fmla="*/ 4319071 h 7785545"/>
              <a:gd name="connsiteX453" fmla="*/ 6484216 w 6865640"/>
              <a:gd name="connsiteY453" fmla="*/ 4341507 h 7785545"/>
              <a:gd name="connsiteX454" fmla="*/ 6394468 w 6865640"/>
              <a:gd name="connsiteY454" fmla="*/ 4408818 h 7785545"/>
              <a:gd name="connsiteX455" fmla="*/ 6338377 w 6865640"/>
              <a:gd name="connsiteY455" fmla="*/ 4476128 h 7785545"/>
              <a:gd name="connsiteX456" fmla="*/ 6293504 w 6865640"/>
              <a:gd name="connsiteY456" fmla="*/ 4554656 h 7785545"/>
              <a:gd name="connsiteX457" fmla="*/ 6259848 w 6865640"/>
              <a:gd name="connsiteY457" fmla="*/ 4621966 h 7785545"/>
              <a:gd name="connsiteX458" fmla="*/ 6248630 w 6865640"/>
              <a:gd name="connsiteY458" fmla="*/ 4678058 h 7785545"/>
              <a:gd name="connsiteX459" fmla="*/ 6248630 w 6865640"/>
              <a:gd name="connsiteY459" fmla="*/ 4722932 h 7785545"/>
              <a:gd name="connsiteX460" fmla="*/ 6237412 w 6865640"/>
              <a:gd name="connsiteY460" fmla="*/ 4812679 h 7785545"/>
              <a:gd name="connsiteX461" fmla="*/ 6214975 w 6865640"/>
              <a:gd name="connsiteY461" fmla="*/ 4879989 h 7785545"/>
              <a:gd name="connsiteX462" fmla="*/ 6192538 w 6865640"/>
              <a:gd name="connsiteY462" fmla="*/ 4947299 h 7785545"/>
              <a:gd name="connsiteX463" fmla="*/ 6158883 w 6865640"/>
              <a:gd name="connsiteY463" fmla="*/ 5003391 h 7785545"/>
              <a:gd name="connsiteX464" fmla="*/ 6091572 w 6865640"/>
              <a:gd name="connsiteY464" fmla="*/ 5093138 h 7785545"/>
              <a:gd name="connsiteX465" fmla="*/ 6024262 w 6865640"/>
              <a:gd name="connsiteY465" fmla="*/ 5171666 h 7785545"/>
              <a:gd name="connsiteX466" fmla="*/ 5945734 w 6865640"/>
              <a:gd name="connsiteY466" fmla="*/ 5216540 h 7785545"/>
              <a:gd name="connsiteX467" fmla="*/ 5878424 w 6865640"/>
              <a:gd name="connsiteY467" fmla="*/ 5250195 h 7785545"/>
              <a:gd name="connsiteX468" fmla="*/ 5822332 w 6865640"/>
              <a:gd name="connsiteY468" fmla="*/ 5261413 h 7785545"/>
              <a:gd name="connsiteX469" fmla="*/ 5743804 w 6865640"/>
              <a:gd name="connsiteY469" fmla="*/ 5295068 h 7785545"/>
              <a:gd name="connsiteX470" fmla="*/ 5676493 w 6865640"/>
              <a:gd name="connsiteY470" fmla="*/ 5317505 h 7785545"/>
              <a:gd name="connsiteX471" fmla="*/ 5631620 w 6865640"/>
              <a:gd name="connsiteY471" fmla="*/ 5351160 h 7785545"/>
              <a:gd name="connsiteX472" fmla="*/ 5586746 w 6865640"/>
              <a:gd name="connsiteY472" fmla="*/ 5384815 h 7785545"/>
              <a:gd name="connsiteX473" fmla="*/ 5553091 w 6865640"/>
              <a:gd name="connsiteY473" fmla="*/ 5418470 h 7785545"/>
              <a:gd name="connsiteX474" fmla="*/ 5530654 w 6865640"/>
              <a:gd name="connsiteY474" fmla="*/ 5452125 h 7785545"/>
              <a:gd name="connsiteX475" fmla="*/ 5497000 w 6865640"/>
              <a:gd name="connsiteY475" fmla="*/ 5530654 h 7785545"/>
              <a:gd name="connsiteX476" fmla="*/ 5497000 w 6865640"/>
              <a:gd name="connsiteY476" fmla="*/ 5586746 h 7785545"/>
              <a:gd name="connsiteX477" fmla="*/ 5497000 w 6865640"/>
              <a:gd name="connsiteY477" fmla="*/ 5642838 h 7785545"/>
              <a:gd name="connsiteX478" fmla="*/ 5519436 w 6865640"/>
              <a:gd name="connsiteY478" fmla="*/ 5698929 h 7785545"/>
              <a:gd name="connsiteX479" fmla="*/ 5541873 w 6865640"/>
              <a:gd name="connsiteY479" fmla="*/ 5755021 h 7785545"/>
              <a:gd name="connsiteX480" fmla="*/ 5553091 w 6865640"/>
              <a:gd name="connsiteY480" fmla="*/ 5811113 h 7785545"/>
              <a:gd name="connsiteX481" fmla="*/ 5553091 w 6865640"/>
              <a:gd name="connsiteY481" fmla="*/ 5867205 h 7785545"/>
              <a:gd name="connsiteX482" fmla="*/ 5530654 w 6865640"/>
              <a:gd name="connsiteY482" fmla="*/ 5912078 h 7785545"/>
              <a:gd name="connsiteX483" fmla="*/ 5497000 w 6865640"/>
              <a:gd name="connsiteY483" fmla="*/ 5979389 h 7785545"/>
              <a:gd name="connsiteX484" fmla="*/ 5474562 w 6865640"/>
              <a:gd name="connsiteY484" fmla="*/ 6013044 h 7785545"/>
              <a:gd name="connsiteX485" fmla="*/ 5384816 w 6865640"/>
              <a:gd name="connsiteY485" fmla="*/ 6069135 h 7785545"/>
              <a:gd name="connsiteX486" fmla="*/ 5283850 w 6865640"/>
              <a:gd name="connsiteY486" fmla="*/ 6091572 h 7785545"/>
              <a:gd name="connsiteX487" fmla="*/ 5205322 w 6865640"/>
              <a:gd name="connsiteY487" fmla="*/ 6102791 h 7785545"/>
              <a:gd name="connsiteX488" fmla="*/ 5126794 w 6865640"/>
              <a:gd name="connsiteY488" fmla="*/ 6102791 h 7785545"/>
              <a:gd name="connsiteX489" fmla="*/ 5070702 w 6865640"/>
              <a:gd name="connsiteY489" fmla="*/ 6091572 h 7785545"/>
              <a:gd name="connsiteX490" fmla="*/ 5025828 w 6865640"/>
              <a:gd name="connsiteY490" fmla="*/ 6080354 h 7785545"/>
              <a:gd name="connsiteX491" fmla="*/ 4980954 w 6865640"/>
              <a:gd name="connsiteY491" fmla="*/ 6057917 h 7785545"/>
              <a:gd name="connsiteX492" fmla="*/ 4857552 w 6865640"/>
              <a:gd name="connsiteY492" fmla="*/ 6001825 h 7785545"/>
              <a:gd name="connsiteX493" fmla="*/ 4734150 w 6865640"/>
              <a:gd name="connsiteY493" fmla="*/ 5968170 h 7785545"/>
              <a:gd name="connsiteX494" fmla="*/ 4633185 w 6865640"/>
              <a:gd name="connsiteY494" fmla="*/ 5934515 h 7785545"/>
              <a:gd name="connsiteX495" fmla="*/ 4532220 w 6865640"/>
              <a:gd name="connsiteY495" fmla="*/ 5923297 h 7785545"/>
              <a:gd name="connsiteX496" fmla="*/ 4431254 w 6865640"/>
              <a:gd name="connsiteY496" fmla="*/ 5923297 h 7785545"/>
              <a:gd name="connsiteX497" fmla="*/ 4341508 w 6865640"/>
              <a:gd name="connsiteY497" fmla="*/ 5934515 h 7785545"/>
              <a:gd name="connsiteX498" fmla="*/ 4262979 w 6865640"/>
              <a:gd name="connsiteY498" fmla="*/ 5945733 h 7785545"/>
              <a:gd name="connsiteX499" fmla="*/ 4195669 w 6865640"/>
              <a:gd name="connsiteY499" fmla="*/ 5968170 h 7785545"/>
              <a:gd name="connsiteX500" fmla="*/ 4083485 w 6865640"/>
              <a:gd name="connsiteY500" fmla="*/ 6024262 h 7785545"/>
              <a:gd name="connsiteX501" fmla="*/ 3993738 w 6865640"/>
              <a:gd name="connsiteY501" fmla="*/ 6080354 h 7785545"/>
              <a:gd name="connsiteX502" fmla="*/ 3926428 w 6865640"/>
              <a:gd name="connsiteY502" fmla="*/ 6136446 h 7785545"/>
              <a:gd name="connsiteX503" fmla="*/ 3814244 w 6865640"/>
              <a:gd name="connsiteY503" fmla="*/ 6248629 h 7785545"/>
              <a:gd name="connsiteX504" fmla="*/ 3702061 w 6865640"/>
              <a:gd name="connsiteY504" fmla="*/ 6327158 h 7785545"/>
              <a:gd name="connsiteX505" fmla="*/ 3601096 w 6865640"/>
              <a:gd name="connsiteY505" fmla="*/ 6383250 h 7785545"/>
              <a:gd name="connsiteX506" fmla="*/ 3511348 w 6865640"/>
              <a:gd name="connsiteY506" fmla="*/ 6416905 h 7785545"/>
              <a:gd name="connsiteX507" fmla="*/ 3432820 w 6865640"/>
              <a:gd name="connsiteY507" fmla="*/ 6428123 h 7785545"/>
              <a:gd name="connsiteX508" fmla="*/ 3365510 w 6865640"/>
              <a:gd name="connsiteY508" fmla="*/ 6428123 h 7785545"/>
              <a:gd name="connsiteX509" fmla="*/ 3320636 w 6865640"/>
              <a:gd name="connsiteY509" fmla="*/ 6428123 h 7785545"/>
              <a:gd name="connsiteX510" fmla="*/ 3208453 w 6865640"/>
              <a:gd name="connsiteY510" fmla="*/ 6405686 h 7785545"/>
              <a:gd name="connsiteX511" fmla="*/ 3118706 w 6865640"/>
              <a:gd name="connsiteY511" fmla="*/ 6372031 h 7785545"/>
              <a:gd name="connsiteX512" fmla="*/ 3051396 w 6865640"/>
              <a:gd name="connsiteY512" fmla="*/ 6315939 h 7785545"/>
              <a:gd name="connsiteX513" fmla="*/ 3006522 w 6865640"/>
              <a:gd name="connsiteY513" fmla="*/ 6271066 h 7785545"/>
              <a:gd name="connsiteX514" fmla="*/ 2972867 w 6865640"/>
              <a:gd name="connsiteY514" fmla="*/ 6214974 h 7785545"/>
              <a:gd name="connsiteX515" fmla="*/ 2950430 w 6865640"/>
              <a:gd name="connsiteY515" fmla="*/ 6170101 h 7785545"/>
              <a:gd name="connsiteX516" fmla="*/ 2939212 w 6865640"/>
              <a:gd name="connsiteY516" fmla="*/ 6136446 h 7785545"/>
              <a:gd name="connsiteX517" fmla="*/ 2916775 w 6865640"/>
              <a:gd name="connsiteY517" fmla="*/ 6035480 h 7785545"/>
              <a:gd name="connsiteX518" fmla="*/ 2871902 w 6865640"/>
              <a:gd name="connsiteY518" fmla="*/ 5956952 h 7785545"/>
              <a:gd name="connsiteX519" fmla="*/ 2827028 w 6865640"/>
              <a:gd name="connsiteY519" fmla="*/ 5900860 h 7785545"/>
              <a:gd name="connsiteX520" fmla="*/ 2770936 w 6865640"/>
              <a:gd name="connsiteY520" fmla="*/ 5867205 h 7785545"/>
              <a:gd name="connsiteX521" fmla="*/ 2714844 w 6865640"/>
              <a:gd name="connsiteY521" fmla="*/ 5844768 h 7785545"/>
              <a:gd name="connsiteX522" fmla="*/ 2669971 w 6865640"/>
              <a:gd name="connsiteY522" fmla="*/ 5833550 h 7785545"/>
              <a:gd name="connsiteX523" fmla="*/ 2625098 w 6865640"/>
              <a:gd name="connsiteY523" fmla="*/ 5833550 h 7785545"/>
              <a:gd name="connsiteX524" fmla="*/ 2535351 w 6865640"/>
              <a:gd name="connsiteY524" fmla="*/ 5833550 h 7785545"/>
              <a:gd name="connsiteX525" fmla="*/ 2468040 w 6865640"/>
              <a:gd name="connsiteY525" fmla="*/ 5811113 h 7785545"/>
              <a:gd name="connsiteX526" fmla="*/ 2400730 w 6865640"/>
              <a:gd name="connsiteY526" fmla="*/ 5777458 h 7785545"/>
              <a:gd name="connsiteX527" fmla="*/ 2344638 w 6865640"/>
              <a:gd name="connsiteY527" fmla="*/ 5743803 h 7785545"/>
              <a:gd name="connsiteX528" fmla="*/ 2310984 w 6865640"/>
              <a:gd name="connsiteY528" fmla="*/ 5698929 h 7785545"/>
              <a:gd name="connsiteX529" fmla="*/ 2277328 w 6865640"/>
              <a:gd name="connsiteY529" fmla="*/ 5665274 h 7785545"/>
              <a:gd name="connsiteX530" fmla="*/ 2254892 w 6865640"/>
              <a:gd name="connsiteY530" fmla="*/ 5631619 h 7785545"/>
              <a:gd name="connsiteX531" fmla="*/ 2221236 w 6865640"/>
              <a:gd name="connsiteY531" fmla="*/ 5575527 h 7785545"/>
              <a:gd name="connsiteX532" fmla="*/ 2176363 w 6865640"/>
              <a:gd name="connsiteY532" fmla="*/ 5541872 h 7785545"/>
              <a:gd name="connsiteX533" fmla="*/ 2120271 w 6865640"/>
              <a:gd name="connsiteY533" fmla="*/ 5508217 h 7785545"/>
              <a:gd name="connsiteX534" fmla="*/ 2075398 w 6865640"/>
              <a:gd name="connsiteY534" fmla="*/ 5485781 h 7785545"/>
              <a:gd name="connsiteX535" fmla="*/ 2019306 w 6865640"/>
              <a:gd name="connsiteY535" fmla="*/ 5474562 h 7785545"/>
              <a:gd name="connsiteX536" fmla="*/ 1963214 w 6865640"/>
              <a:gd name="connsiteY536" fmla="*/ 5463344 h 7785545"/>
              <a:gd name="connsiteX537" fmla="*/ 1851031 w 6865640"/>
              <a:gd name="connsiteY537" fmla="*/ 5463344 h 7785545"/>
              <a:gd name="connsiteX538" fmla="*/ 1750065 w 6865640"/>
              <a:gd name="connsiteY538" fmla="*/ 5485781 h 7785545"/>
              <a:gd name="connsiteX539" fmla="*/ 1660318 w 6865640"/>
              <a:gd name="connsiteY539" fmla="*/ 5508217 h 7785545"/>
              <a:gd name="connsiteX540" fmla="*/ 1581790 w 6865640"/>
              <a:gd name="connsiteY540" fmla="*/ 5541872 h 7785545"/>
              <a:gd name="connsiteX541" fmla="*/ 1435951 w 6865640"/>
              <a:gd name="connsiteY541" fmla="*/ 5586746 h 7785545"/>
              <a:gd name="connsiteX542" fmla="*/ 1301331 w 6865640"/>
              <a:gd name="connsiteY542" fmla="*/ 5609183 h 7785545"/>
              <a:gd name="connsiteX543" fmla="*/ 1177929 w 6865640"/>
              <a:gd name="connsiteY543" fmla="*/ 5620401 h 7785545"/>
              <a:gd name="connsiteX544" fmla="*/ 1076963 w 6865640"/>
              <a:gd name="connsiteY544" fmla="*/ 5631619 h 7785545"/>
              <a:gd name="connsiteX545" fmla="*/ 987216 w 6865640"/>
              <a:gd name="connsiteY545" fmla="*/ 5631619 h 7785545"/>
              <a:gd name="connsiteX546" fmla="*/ 897469 w 6865640"/>
              <a:gd name="connsiteY546" fmla="*/ 5620401 h 7785545"/>
              <a:gd name="connsiteX547" fmla="*/ 830159 w 6865640"/>
              <a:gd name="connsiteY547" fmla="*/ 5597964 h 7785545"/>
              <a:gd name="connsiteX548" fmla="*/ 774067 w 6865640"/>
              <a:gd name="connsiteY548" fmla="*/ 5586746 h 7785545"/>
              <a:gd name="connsiteX549" fmla="*/ 684321 w 6865640"/>
              <a:gd name="connsiteY549" fmla="*/ 5530654 h 7785545"/>
              <a:gd name="connsiteX550" fmla="*/ 639447 w 6865640"/>
              <a:gd name="connsiteY550" fmla="*/ 5485781 h 7785545"/>
              <a:gd name="connsiteX551" fmla="*/ 605792 w 6865640"/>
              <a:gd name="connsiteY551" fmla="*/ 5452125 h 7785545"/>
              <a:gd name="connsiteX552" fmla="*/ 594574 w 6865640"/>
              <a:gd name="connsiteY552" fmla="*/ 5429689 h 7785545"/>
              <a:gd name="connsiteX553" fmla="*/ 572137 w 6865640"/>
              <a:gd name="connsiteY553" fmla="*/ 5362379 h 7785545"/>
              <a:gd name="connsiteX554" fmla="*/ 549700 w 6865640"/>
              <a:gd name="connsiteY554" fmla="*/ 5283850 h 7785545"/>
              <a:gd name="connsiteX555" fmla="*/ 538482 w 6865640"/>
              <a:gd name="connsiteY555" fmla="*/ 5216540 h 7785545"/>
              <a:gd name="connsiteX556" fmla="*/ 538482 w 6865640"/>
              <a:gd name="connsiteY556" fmla="*/ 5149230 h 7785545"/>
              <a:gd name="connsiteX557" fmla="*/ 549700 w 6865640"/>
              <a:gd name="connsiteY557" fmla="*/ 5025828 h 7785545"/>
              <a:gd name="connsiteX558" fmla="*/ 583355 w 6865640"/>
              <a:gd name="connsiteY558" fmla="*/ 4913644 h 7785545"/>
              <a:gd name="connsiteX559" fmla="*/ 639447 w 6865640"/>
              <a:gd name="connsiteY559" fmla="*/ 4801460 h 7785545"/>
              <a:gd name="connsiteX560" fmla="*/ 706757 w 6865640"/>
              <a:gd name="connsiteY560" fmla="*/ 4711713 h 7785545"/>
              <a:gd name="connsiteX561" fmla="*/ 796504 w 6865640"/>
              <a:gd name="connsiteY561" fmla="*/ 4621966 h 7785545"/>
              <a:gd name="connsiteX562" fmla="*/ 886251 w 6865640"/>
              <a:gd name="connsiteY562" fmla="*/ 4554656 h 7785545"/>
              <a:gd name="connsiteX563" fmla="*/ 975998 w 6865640"/>
              <a:gd name="connsiteY563" fmla="*/ 4487346 h 7785545"/>
              <a:gd name="connsiteX564" fmla="*/ 1076963 w 6865640"/>
              <a:gd name="connsiteY564" fmla="*/ 4431254 h 7785545"/>
              <a:gd name="connsiteX565" fmla="*/ 1245239 w 6865640"/>
              <a:gd name="connsiteY565" fmla="*/ 4341507 h 7785545"/>
              <a:gd name="connsiteX566" fmla="*/ 1368641 w 6865640"/>
              <a:gd name="connsiteY566" fmla="*/ 4285416 h 7785545"/>
              <a:gd name="connsiteX567" fmla="*/ 1424733 w 6865640"/>
              <a:gd name="connsiteY567" fmla="*/ 4274197 h 7785545"/>
              <a:gd name="connsiteX568" fmla="*/ 1559353 w 6865640"/>
              <a:gd name="connsiteY568" fmla="*/ 4218105 h 7785545"/>
              <a:gd name="connsiteX569" fmla="*/ 1671537 w 6865640"/>
              <a:gd name="connsiteY569" fmla="*/ 4162013 h 7785545"/>
              <a:gd name="connsiteX570" fmla="*/ 1750065 w 6865640"/>
              <a:gd name="connsiteY570" fmla="*/ 4094703 h 7785545"/>
              <a:gd name="connsiteX571" fmla="*/ 1806157 w 6865640"/>
              <a:gd name="connsiteY571" fmla="*/ 4038611 h 7785545"/>
              <a:gd name="connsiteX572" fmla="*/ 1851031 w 6865640"/>
              <a:gd name="connsiteY572" fmla="*/ 3971301 h 7785545"/>
              <a:gd name="connsiteX573" fmla="*/ 1873467 w 6865640"/>
              <a:gd name="connsiteY573" fmla="*/ 3926428 h 7785545"/>
              <a:gd name="connsiteX574" fmla="*/ 1884686 w 6865640"/>
              <a:gd name="connsiteY574" fmla="*/ 3892773 h 7785545"/>
              <a:gd name="connsiteX575" fmla="*/ 1884686 w 6865640"/>
              <a:gd name="connsiteY575" fmla="*/ 3803026 h 7785545"/>
              <a:gd name="connsiteX576" fmla="*/ 1862249 w 6865640"/>
              <a:gd name="connsiteY576" fmla="*/ 3746934 h 7785545"/>
              <a:gd name="connsiteX577" fmla="*/ 1828594 w 6865640"/>
              <a:gd name="connsiteY577" fmla="*/ 3690842 h 7785545"/>
              <a:gd name="connsiteX578" fmla="*/ 1794939 w 6865640"/>
              <a:gd name="connsiteY578" fmla="*/ 3657187 h 7785545"/>
              <a:gd name="connsiteX579" fmla="*/ 1761284 w 6865640"/>
              <a:gd name="connsiteY579" fmla="*/ 3634750 h 7785545"/>
              <a:gd name="connsiteX580" fmla="*/ 1738847 w 6865640"/>
              <a:gd name="connsiteY580" fmla="*/ 3612314 h 7785545"/>
              <a:gd name="connsiteX581" fmla="*/ 1705192 w 6865640"/>
              <a:gd name="connsiteY581" fmla="*/ 3601095 h 7785545"/>
              <a:gd name="connsiteX582" fmla="*/ 1604227 w 6865640"/>
              <a:gd name="connsiteY582" fmla="*/ 3578658 h 7785545"/>
              <a:gd name="connsiteX583" fmla="*/ 1514480 w 6865640"/>
              <a:gd name="connsiteY583" fmla="*/ 3545004 h 7785545"/>
              <a:gd name="connsiteX584" fmla="*/ 1435951 w 6865640"/>
              <a:gd name="connsiteY584" fmla="*/ 3511348 h 7785545"/>
              <a:gd name="connsiteX585" fmla="*/ 1368641 w 6865640"/>
              <a:gd name="connsiteY585" fmla="*/ 3477693 h 7785545"/>
              <a:gd name="connsiteX586" fmla="*/ 1267676 w 6865640"/>
              <a:gd name="connsiteY586" fmla="*/ 3399165 h 7785545"/>
              <a:gd name="connsiteX587" fmla="*/ 1200365 w 6865640"/>
              <a:gd name="connsiteY587" fmla="*/ 3320636 h 7785545"/>
              <a:gd name="connsiteX588" fmla="*/ 1155492 w 6865640"/>
              <a:gd name="connsiteY588" fmla="*/ 3253326 h 7785545"/>
              <a:gd name="connsiteX589" fmla="*/ 1133055 w 6865640"/>
              <a:gd name="connsiteY589" fmla="*/ 3208452 h 7785545"/>
              <a:gd name="connsiteX590" fmla="*/ 1133055 w 6865640"/>
              <a:gd name="connsiteY590" fmla="*/ 3152361 h 7785545"/>
              <a:gd name="connsiteX591" fmla="*/ 1144274 w 6865640"/>
              <a:gd name="connsiteY591" fmla="*/ 3096269 h 7785545"/>
              <a:gd name="connsiteX592" fmla="*/ 1177929 w 6865640"/>
              <a:gd name="connsiteY592" fmla="*/ 3040177 h 7785545"/>
              <a:gd name="connsiteX593" fmla="*/ 1211584 w 6865640"/>
              <a:gd name="connsiteY593" fmla="*/ 2995303 h 7785545"/>
              <a:gd name="connsiteX594" fmla="*/ 1267676 w 6865640"/>
              <a:gd name="connsiteY594" fmla="*/ 2950430 h 7785545"/>
              <a:gd name="connsiteX595" fmla="*/ 1334986 w 6865640"/>
              <a:gd name="connsiteY595" fmla="*/ 2916775 h 7785545"/>
              <a:gd name="connsiteX596" fmla="*/ 1402296 w 6865640"/>
              <a:gd name="connsiteY596" fmla="*/ 2894338 h 7785545"/>
              <a:gd name="connsiteX597" fmla="*/ 1548135 w 6865640"/>
              <a:gd name="connsiteY597" fmla="*/ 2860683 h 7785545"/>
              <a:gd name="connsiteX598" fmla="*/ 1705192 w 6865640"/>
              <a:gd name="connsiteY598" fmla="*/ 2838246 h 7785545"/>
              <a:gd name="connsiteX599" fmla="*/ 1828594 w 6865640"/>
              <a:gd name="connsiteY599" fmla="*/ 2827028 h 7785545"/>
              <a:gd name="connsiteX600" fmla="*/ 1963214 w 6865640"/>
              <a:gd name="connsiteY600" fmla="*/ 2827028 h 7785545"/>
              <a:gd name="connsiteX601" fmla="*/ 2052961 w 6865640"/>
              <a:gd name="connsiteY601" fmla="*/ 2827028 h 7785545"/>
              <a:gd name="connsiteX602" fmla="*/ 2142708 w 6865640"/>
              <a:gd name="connsiteY602" fmla="*/ 2815810 h 7785545"/>
              <a:gd name="connsiteX603" fmla="*/ 2299765 w 6865640"/>
              <a:gd name="connsiteY603" fmla="*/ 2782155 h 7785545"/>
              <a:gd name="connsiteX604" fmla="*/ 2411949 w 6865640"/>
              <a:gd name="connsiteY604" fmla="*/ 2737281 h 7785545"/>
              <a:gd name="connsiteX605" fmla="*/ 2490477 w 6865640"/>
              <a:gd name="connsiteY605" fmla="*/ 2681189 h 7785545"/>
              <a:gd name="connsiteX606" fmla="*/ 2546569 w 6865640"/>
              <a:gd name="connsiteY606" fmla="*/ 2625097 h 7785545"/>
              <a:gd name="connsiteX607" fmla="*/ 2580224 w 6865640"/>
              <a:gd name="connsiteY607" fmla="*/ 2580224 h 7785545"/>
              <a:gd name="connsiteX608" fmla="*/ 2602661 w 6865640"/>
              <a:gd name="connsiteY608" fmla="*/ 2535351 h 7785545"/>
              <a:gd name="connsiteX609" fmla="*/ 2625098 w 6865640"/>
              <a:gd name="connsiteY609" fmla="*/ 2434385 h 7785545"/>
              <a:gd name="connsiteX610" fmla="*/ 2625098 w 6865640"/>
              <a:gd name="connsiteY610" fmla="*/ 2355857 h 7785545"/>
              <a:gd name="connsiteX611" fmla="*/ 2613879 w 6865640"/>
              <a:gd name="connsiteY611" fmla="*/ 2288547 h 7785545"/>
              <a:gd name="connsiteX612" fmla="*/ 2591442 w 6865640"/>
              <a:gd name="connsiteY612" fmla="*/ 2232455 h 7785545"/>
              <a:gd name="connsiteX613" fmla="*/ 2569006 w 6865640"/>
              <a:gd name="connsiteY613" fmla="*/ 2187581 h 7785545"/>
              <a:gd name="connsiteX614" fmla="*/ 2535351 w 6865640"/>
              <a:gd name="connsiteY614" fmla="*/ 2153926 h 7785545"/>
              <a:gd name="connsiteX615" fmla="*/ 2512914 w 6865640"/>
              <a:gd name="connsiteY615" fmla="*/ 2131490 h 7785545"/>
              <a:gd name="connsiteX616" fmla="*/ 2423167 w 6865640"/>
              <a:gd name="connsiteY616" fmla="*/ 2030524 h 7785545"/>
              <a:gd name="connsiteX617" fmla="*/ 2355857 w 6865640"/>
              <a:gd name="connsiteY617" fmla="*/ 1940777 h 7785545"/>
              <a:gd name="connsiteX618" fmla="*/ 2322202 w 6865640"/>
              <a:gd name="connsiteY618" fmla="*/ 1862249 h 7785545"/>
              <a:gd name="connsiteX619" fmla="*/ 2310984 w 6865640"/>
              <a:gd name="connsiteY619" fmla="*/ 1783720 h 7785545"/>
              <a:gd name="connsiteX620" fmla="*/ 2299765 w 6865640"/>
              <a:gd name="connsiteY620" fmla="*/ 1716410 h 7785545"/>
              <a:gd name="connsiteX621" fmla="*/ 2310984 w 6865640"/>
              <a:gd name="connsiteY621" fmla="*/ 1660318 h 7785545"/>
              <a:gd name="connsiteX622" fmla="*/ 2322202 w 6865640"/>
              <a:gd name="connsiteY622" fmla="*/ 1615445 h 7785545"/>
              <a:gd name="connsiteX623" fmla="*/ 2344638 w 6865640"/>
              <a:gd name="connsiteY623" fmla="*/ 1559353 h 7785545"/>
              <a:gd name="connsiteX624" fmla="*/ 2378294 w 6865640"/>
              <a:gd name="connsiteY624" fmla="*/ 1514480 h 7785545"/>
              <a:gd name="connsiteX625" fmla="*/ 2411949 w 6865640"/>
              <a:gd name="connsiteY625" fmla="*/ 1480824 h 7785545"/>
              <a:gd name="connsiteX626" fmla="*/ 2445604 w 6865640"/>
              <a:gd name="connsiteY626" fmla="*/ 1447169 h 7785545"/>
              <a:gd name="connsiteX627" fmla="*/ 2490477 w 6865640"/>
              <a:gd name="connsiteY627" fmla="*/ 1435951 h 7785545"/>
              <a:gd name="connsiteX628" fmla="*/ 2535351 w 6865640"/>
              <a:gd name="connsiteY628" fmla="*/ 1424733 h 7785545"/>
              <a:gd name="connsiteX629" fmla="*/ 2636316 w 6865640"/>
              <a:gd name="connsiteY629" fmla="*/ 1413514 h 7785545"/>
              <a:gd name="connsiteX630" fmla="*/ 2714844 w 6865640"/>
              <a:gd name="connsiteY630" fmla="*/ 1424733 h 7785545"/>
              <a:gd name="connsiteX631" fmla="*/ 2793373 w 6865640"/>
              <a:gd name="connsiteY631" fmla="*/ 1447169 h 7785545"/>
              <a:gd name="connsiteX632" fmla="*/ 2860683 w 6865640"/>
              <a:gd name="connsiteY632" fmla="*/ 1469606 h 7785545"/>
              <a:gd name="connsiteX633" fmla="*/ 2927994 w 6865640"/>
              <a:gd name="connsiteY633" fmla="*/ 1480824 h 7785545"/>
              <a:gd name="connsiteX634" fmla="*/ 2995304 w 6865640"/>
              <a:gd name="connsiteY634" fmla="*/ 1492043 h 7785545"/>
              <a:gd name="connsiteX635" fmla="*/ 3062614 w 6865640"/>
              <a:gd name="connsiteY635" fmla="*/ 1480824 h 7785545"/>
              <a:gd name="connsiteX636" fmla="*/ 3118706 w 6865640"/>
              <a:gd name="connsiteY636" fmla="*/ 1458388 h 7785545"/>
              <a:gd name="connsiteX637" fmla="*/ 3174798 w 6865640"/>
              <a:gd name="connsiteY637" fmla="*/ 1435951 h 7785545"/>
              <a:gd name="connsiteX638" fmla="*/ 3230890 w 6865640"/>
              <a:gd name="connsiteY638" fmla="*/ 1413514 h 7785545"/>
              <a:gd name="connsiteX639" fmla="*/ 3320636 w 6865640"/>
              <a:gd name="connsiteY639" fmla="*/ 1334986 h 7785545"/>
              <a:gd name="connsiteX640" fmla="*/ 3387946 w 6865640"/>
              <a:gd name="connsiteY640" fmla="*/ 1256457 h 7785545"/>
              <a:gd name="connsiteX641" fmla="*/ 3444038 w 6865640"/>
              <a:gd name="connsiteY641" fmla="*/ 1189147 h 7785545"/>
              <a:gd name="connsiteX642" fmla="*/ 3488912 w 6865640"/>
              <a:gd name="connsiteY642" fmla="*/ 1121837 h 7785545"/>
              <a:gd name="connsiteX643" fmla="*/ 3601096 w 6865640"/>
              <a:gd name="connsiteY643" fmla="*/ 897469 h 7785545"/>
              <a:gd name="connsiteX644" fmla="*/ 3724498 w 6865640"/>
              <a:gd name="connsiteY644" fmla="*/ 717976 h 7785545"/>
              <a:gd name="connsiteX645" fmla="*/ 3836681 w 6865640"/>
              <a:gd name="connsiteY645" fmla="*/ 583355 h 7785545"/>
              <a:gd name="connsiteX646" fmla="*/ 3960083 w 6865640"/>
              <a:gd name="connsiteY646" fmla="*/ 482390 h 7785545"/>
              <a:gd name="connsiteX647" fmla="*/ 4072267 w 6865640"/>
              <a:gd name="connsiteY647" fmla="*/ 415080 h 7785545"/>
              <a:gd name="connsiteX648" fmla="*/ 4184450 w 6865640"/>
              <a:gd name="connsiteY648" fmla="*/ 370206 h 7785545"/>
              <a:gd name="connsiteX649" fmla="*/ 3387946 w 6865640"/>
              <a:gd name="connsiteY649" fmla="*/ 0 h 7785545"/>
              <a:gd name="connsiteX650" fmla="*/ 3466475 w 6865640"/>
              <a:gd name="connsiteY650" fmla="*/ 11218 h 7785545"/>
              <a:gd name="connsiteX651" fmla="*/ 3533785 w 6865640"/>
              <a:gd name="connsiteY651" fmla="*/ 44874 h 7785545"/>
              <a:gd name="connsiteX652" fmla="*/ 3578659 w 6865640"/>
              <a:gd name="connsiteY652" fmla="*/ 89747 h 7785545"/>
              <a:gd name="connsiteX653" fmla="*/ 3612314 w 6865640"/>
              <a:gd name="connsiteY653" fmla="*/ 157057 h 7785545"/>
              <a:gd name="connsiteX654" fmla="*/ 3634750 w 6865640"/>
              <a:gd name="connsiteY654" fmla="*/ 224367 h 7785545"/>
              <a:gd name="connsiteX655" fmla="*/ 3634750 w 6865640"/>
              <a:gd name="connsiteY655" fmla="*/ 314114 h 7785545"/>
              <a:gd name="connsiteX656" fmla="*/ 3623532 w 6865640"/>
              <a:gd name="connsiteY656" fmla="*/ 403861 h 7785545"/>
              <a:gd name="connsiteX657" fmla="*/ 3589877 w 6865640"/>
              <a:gd name="connsiteY657" fmla="*/ 504827 h 7785545"/>
              <a:gd name="connsiteX658" fmla="*/ 3545004 w 6865640"/>
              <a:gd name="connsiteY658" fmla="*/ 605792 h 7785545"/>
              <a:gd name="connsiteX659" fmla="*/ 3477694 w 6865640"/>
              <a:gd name="connsiteY659" fmla="*/ 695539 h 7785545"/>
              <a:gd name="connsiteX660" fmla="*/ 3410383 w 6865640"/>
              <a:gd name="connsiteY660" fmla="*/ 785286 h 7785545"/>
              <a:gd name="connsiteX661" fmla="*/ 3320636 w 6865640"/>
              <a:gd name="connsiteY661" fmla="*/ 863814 h 7785545"/>
              <a:gd name="connsiteX662" fmla="*/ 3242108 w 6865640"/>
              <a:gd name="connsiteY662" fmla="*/ 931124 h 7785545"/>
              <a:gd name="connsiteX663" fmla="*/ 3152361 w 6865640"/>
              <a:gd name="connsiteY663" fmla="*/ 975998 h 7785545"/>
              <a:gd name="connsiteX664" fmla="*/ 3062614 w 6865640"/>
              <a:gd name="connsiteY664" fmla="*/ 998435 h 7785545"/>
              <a:gd name="connsiteX665" fmla="*/ 2984085 w 6865640"/>
              <a:gd name="connsiteY665" fmla="*/ 1009653 h 7785545"/>
              <a:gd name="connsiteX666" fmla="*/ 2905557 w 6865640"/>
              <a:gd name="connsiteY666" fmla="*/ 998435 h 7785545"/>
              <a:gd name="connsiteX667" fmla="*/ 2849465 w 6865640"/>
              <a:gd name="connsiteY667" fmla="*/ 964780 h 7785545"/>
              <a:gd name="connsiteX668" fmla="*/ 2793373 w 6865640"/>
              <a:gd name="connsiteY668" fmla="*/ 919906 h 7785545"/>
              <a:gd name="connsiteX669" fmla="*/ 2759718 w 6865640"/>
              <a:gd name="connsiteY669" fmla="*/ 852596 h 7785545"/>
              <a:gd name="connsiteX670" fmla="*/ 2737281 w 6865640"/>
              <a:gd name="connsiteY670" fmla="*/ 785286 h 7785545"/>
              <a:gd name="connsiteX671" fmla="*/ 2737281 w 6865640"/>
              <a:gd name="connsiteY671" fmla="*/ 695539 h 7785545"/>
              <a:gd name="connsiteX672" fmla="*/ 2748500 w 6865640"/>
              <a:gd name="connsiteY672" fmla="*/ 605792 h 7785545"/>
              <a:gd name="connsiteX673" fmla="*/ 2782155 w 6865640"/>
              <a:gd name="connsiteY673" fmla="*/ 504827 h 7785545"/>
              <a:gd name="connsiteX674" fmla="*/ 2827028 w 6865640"/>
              <a:gd name="connsiteY674" fmla="*/ 403861 h 7785545"/>
              <a:gd name="connsiteX675" fmla="*/ 2894338 w 6865640"/>
              <a:gd name="connsiteY675" fmla="*/ 314114 h 7785545"/>
              <a:gd name="connsiteX676" fmla="*/ 2972867 w 6865640"/>
              <a:gd name="connsiteY676" fmla="*/ 224367 h 7785545"/>
              <a:gd name="connsiteX677" fmla="*/ 3051396 w 6865640"/>
              <a:gd name="connsiteY677" fmla="*/ 145839 h 7785545"/>
              <a:gd name="connsiteX678" fmla="*/ 3141142 w 6865640"/>
              <a:gd name="connsiteY678" fmla="*/ 78529 h 7785545"/>
              <a:gd name="connsiteX679" fmla="*/ 3219671 w 6865640"/>
              <a:gd name="connsiteY679" fmla="*/ 33655 h 7785545"/>
              <a:gd name="connsiteX680" fmla="*/ 3309418 w 6865640"/>
              <a:gd name="connsiteY680" fmla="*/ 11218 h 7785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</a:cxnLst>
            <a:rect l="l" t="t" r="r" b="b"/>
            <a:pathLst>
              <a:path w="6865640" h="7785545">
                <a:moveTo>
                  <a:pt x="4498565" y="6966605"/>
                </a:moveTo>
                <a:lnTo>
                  <a:pt x="4588312" y="6977823"/>
                </a:lnTo>
                <a:lnTo>
                  <a:pt x="4678058" y="7000260"/>
                </a:lnTo>
                <a:lnTo>
                  <a:pt x="4756587" y="7033915"/>
                </a:lnTo>
                <a:lnTo>
                  <a:pt x="4823898" y="7090007"/>
                </a:lnTo>
                <a:lnTo>
                  <a:pt x="4879989" y="7146098"/>
                </a:lnTo>
                <a:lnTo>
                  <a:pt x="4924862" y="7213409"/>
                </a:lnTo>
                <a:lnTo>
                  <a:pt x="4947300" y="7291937"/>
                </a:lnTo>
                <a:lnTo>
                  <a:pt x="4958518" y="7381684"/>
                </a:lnTo>
                <a:lnTo>
                  <a:pt x="4947300" y="7460213"/>
                </a:lnTo>
                <a:lnTo>
                  <a:pt x="4924862" y="7538741"/>
                </a:lnTo>
                <a:lnTo>
                  <a:pt x="4879989" y="7606051"/>
                </a:lnTo>
                <a:lnTo>
                  <a:pt x="4823898" y="7662143"/>
                </a:lnTo>
                <a:lnTo>
                  <a:pt x="4756587" y="7718235"/>
                </a:lnTo>
                <a:lnTo>
                  <a:pt x="4678058" y="7751890"/>
                </a:lnTo>
                <a:lnTo>
                  <a:pt x="4588312" y="7774327"/>
                </a:lnTo>
                <a:lnTo>
                  <a:pt x="4498565" y="7785545"/>
                </a:lnTo>
                <a:lnTo>
                  <a:pt x="4397600" y="7774327"/>
                </a:lnTo>
                <a:lnTo>
                  <a:pt x="4319071" y="7751890"/>
                </a:lnTo>
                <a:lnTo>
                  <a:pt x="4240542" y="7718235"/>
                </a:lnTo>
                <a:lnTo>
                  <a:pt x="4162014" y="7662143"/>
                </a:lnTo>
                <a:lnTo>
                  <a:pt x="4105922" y="7606051"/>
                </a:lnTo>
                <a:lnTo>
                  <a:pt x="4072267" y="7538741"/>
                </a:lnTo>
                <a:lnTo>
                  <a:pt x="4038612" y="7460213"/>
                </a:lnTo>
                <a:lnTo>
                  <a:pt x="4027394" y="7381684"/>
                </a:lnTo>
                <a:lnTo>
                  <a:pt x="4038612" y="7291937"/>
                </a:lnTo>
                <a:lnTo>
                  <a:pt x="4072267" y="7213409"/>
                </a:lnTo>
                <a:lnTo>
                  <a:pt x="4105922" y="7146098"/>
                </a:lnTo>
                <a:lnTo>
                  <a:pt x="4162014" y="7090007"/>
                </a:lnTo>
                <a:lnTo>
                  <a:pt x="4240542" y="7033915"/>
                </a:lnTo>
                <a:lnTo>
                  <a:pt x="4319071" y="7000260"/>
                </a:lnTo>
                <a:lnTo>
                  <a:pt x="4397600" y="6977823"/>
                </a:lnTo>
                <a:close/>
                <a:moveTo>
                  <a:pt x="5295069" y="6428123"/>
                </a:moveTo>
                <a:lnTo>
                  <a:pt x="5407252" y="6439342"/>
                </a:lnTo>
                <a:lnTo>
                  <a:pt x="5519436" y="6450560"/>
                </a:lnTo>
                <a:lnTo>
                  <a:pt x="5609183" y="6472997"/>
                </a:lnTo>
                <a:lnTo>
                  <a:pt x="5698930" y="6506652"/>
                </a:lnTo>
                <a:lnTo>
                  <a:pt x="5766240" y="6551525"/>
                </a:lnTo>
                <a:lnTo>
                  <a:pt x="5822332" y="6596399"/>
                </a:lnTo>
                <a:lnTo>
                  <a:pt x="5855987" y="6641272"/>
                </a:lnTo>
                <a:lnTo>
                  <a:pt x="5867206" y="6697364"/>
                </a:lnTo>
                <a:lnTo>
                  <a:pt x="5855987" y="6753456"/>
                </a:lnTo>
                <a:lnTo>
                  <a:pt x="5822332" y="6798329"/>
                </a:lnTo>
                <a:lnTo>
                  <a:pt x="5766240" y="6854421"/>
                </a:lnTo>
                <a:lnTo>
                  <a:pt x="5698930" y="6888076"/>
                </a:lnTo>
                <a:lnTo>
                  <a:pt x="5609183" y="6921731"/>
                </a:lnTo>
                <a:lnTo>
                  <a:pt x="5519436" y="6944168"/>
                </a:lnTo>
                <a:lnTo>
                  <a:pt x="5407252" y="6966605"/>
                </a:lnTo>
                <a:lnTo>
                  <a:pt x="5295069" y="6966605"/>
                </a:lnTo>
                <a:lnTo>
                  <a:pt x="5182885" y="6966605"/>
                </a:lnTo>
                <a:lnTo>
                  <a:pt x="5070702" y="6944168"/>
                </a:lnTo>
                <a:lnTo>
                  <a:pt x="4980954" y="6921731"/>
                </a:lnTo>
                <a:lnTo>
                  <a:pt x="4891208" y="6888076"/>
                </a:lnTo>
                <a:lnTo>
                  <a:pt x="4823898" y="6854421"/>
                </a:lnTo>
                <a:lnTo>
                  <a:pt x="4767806" y="6798329"/>
                </a:lnTo>
                <a:lnTo>
                  <a:pt x="4734150" y="6753456"/>
                </a:lnTo>
                <a:lnTo>
                  <a:pt x="4722932" y="6697364"/>
                </a:lnTo>
                <a:lnTo>
                  <a:pt x="4734150" y="6641272"/>
                </a:lnTo>
                <a:lnTo>
                  <a:pt x="4767806" y="6596399"/>
                </a:lnTo>
                <a:lnTo>
                  <a:pt x="4823898" y="6551525"/>
                </a:lnTo>
                <a:lnTo>
                  <a:pt x="4891208" y="6506652"/>
                </a:lnTo>
                <a:lnTo>
                  <a:pt x="4980954" y="6472997"/>
                </a:lnTo>
                <a:lnTo>
                  <a:pt x="5070702" y="6450560"/>
                </a:lnTo>
                <a:lnTo>
                  <a:pt x="5182885" y="6439342"/>
                </a:lnTo>
                <a:close/>
                <a:moveTo>
                  <a:pt x="2658753" y="6293503"/>
                </a:moveTo>
                <a:lnTo>
                  <a:pt x="2692408" y="6304721"/>
                </a:lnTo>
                <a:lnTo>
                  <a:pt x="2714844" y="6315939"/>
                </a:lnTo>
                <a:lnTo>
                  <a:pt x="2748500" y="6327158"/>
                </a:lnTo>
                <a:lnTo>
                  <a:pt x="2770936" y="6360813"/>
                </a:lnTo>
                <a:lnTo>
                  <a:pt x="2804592" y="6416905"/>
                </a:lnTo>
                <a:lnTo>
                  <a:pt x="2815810" y="6495433"/>
                </a:lnTo>
                <a:lnTo>
                  <a:pt x="2804592" y="6573962"/>
                </a:lnTo>
                <a:lnTo>
                  <a:pt x="2770936" y="6641272"/>
                </a:lnTo>
                <a:lnTo>
                  <a:pt x="2748500" y="6663709"/>
                </a:lnTo>
                <a:lnTo>
                  <a:pt x="2714844" y="6674927"/>
                </a:lnTo>
                <a:lnTo>
                  <a:pt x="2692408" y="6686146"/>
                </a:lnTo>
                <a:lnTo>
                  <a:pt x="2658753" y="6697364"/>
                </a:lnTo>
                <a:lnTo>
                  <a:pt x="2625098" y="6686146"/>
                </a:lnTo>
                <a:lnTo>
                  <a:pt x="2602661" y="6674927"/>
                </a:lnTo>
                <a:lnTo>
                  <a:pt x="2569006" y="6663709"/>
                </a:lnTo>
                <a:lnTo>
                  <a:pt x="2546569" y="6641272"/>
                </a:lnTo>
                <a:lnTo>
                  <a:pt x="2512914" y="6573962"/>
                </a:lnTo>
                <a:lnTo>
                  <a:pt x="2501696" y="6495433"/>
                </a:lnTo>
                <a:lnTo>
                  <a:pt x="2512914" y="6416905"/>
                </a:lnTo>
                <a:lnTo>
                  <a:pt x="2546569" y="6360813"/>
                </a:lnTo>
                <a:lnTo>
                  <a:pt x="2569006" y="6327158"/>
                </a:lnTo>
                <a:lnTo>
                  <a:pt x="2602661" y="6315939"/>
                </a:lnTo>
                <a:lnTo>
                  <a:pt x="2625098" y="6304721"/>
                </a:lnTo>
                <a:close/>
                <a:moveTo>
                  <a:pt x="1738847" y="5900860"/>
                </a:moveTo>
                <a:lnTo>
                  <a:pt x="1839812" y="5912078"/>
                </a:lnTo>
                <a:lnTo>
                  <a:pt x="1929559" y="5934515"/>
                </a:lnTo>
                <a:lnTo>
                  <a:pt x="2008088" y="5968170"/>
                </a:lnTo>
                <a:lnTo>
                  <a:pt x="2086616" y="6024262"/>
                </a:lnTo>
                <a:lnTo>
                  <a:pt x="2142708" y="6080354"/>
                </a:lnTo>
                <a:lnTo>
                  <a:pt x="2187581" y="6147664"/>
                </a:lnTo>
                <a:lnTo>
                  <a:pt x="2221236" y="6214974"/>
                </a:lnTo>
                <a:lnTo>
                  <a:pt x="2232455" y="6293503"/>
                </a:lnTo>
                <a:lnTo>
                  <a:pt x="2221236" y="6383250"/>
                </a:lnTo>
                <a:lnTo>
                  <a:pt x="2187581" y="6450560"/>
                </a:lnTo>
                <a:lnTo>
                  <a:pt x="2142708" y="6517870"/>
                </a:lnTo>
                <a:lnTo>
                  <a:pt x="2086616" y="6573962"/>
                </a:lnTo>
                <a:lnTo>
                  <a:pt x="2008088" y="6630054"/>
                </a:lnTo>
                <a:lnTo>
                  <a:pt x="1929559" y="6663709"/>
                </a:lnTo>
                <a:lnTo>
                  <a:pt x="1839812" y="6686146"/>
                </a:lnTo>
                <a:lnTo>
                  <a:pt x="1738847" y="6697364"/>
                </a:lnTo>
                <a:lnTo>
                  <a:pt x="1637882" y="6686146"/>
                </a:lnTo>
                <a:lnTo>
                  <a:pt x="1548135" y="6663709"/>
                </a:lnTo>
                <a:lnTo>
                  <a:pt x="1458388" y="6630054"/>
                </a:lnTo>
                <a:lnTo>
                  <a:pt x="1391078" y="6573962"/>
                </a:lnTo>
                <a:lnTo>
                  <a:pt x="1323767" y="6517870"/>
                </a:lnTo>
                <a:lnTo>
                  <a:pt x="1278894" y="6450560"/>
                </a:lnTo>
                <a:lnTo>
                  <a:pt x="1256457" y="6383250"/>
                </a:lnTo>
                <a:lnTo>
                  <a:pt x="1245239" y="6293503"/>
                </a:lnTo>
                <a:lnTo>
                  <a:pt x="1256457" y="6214974"/>
                </a:lnTo>
                <a:lnTo>
                  <a:pt x="1278894" y="6147664"/>
                </a:lnTo>
                <a:lnTo>
                  <a:pt x="1323767" y="6080354"/>
                </a:lnTo>
                <a:lnTo>
                  <a:pt x="1391078" y="6024262"/>
                </a:lnTo>
                <a:lnTo>
                  <a:pt x="1458388" y="5968170"/>
                </a:lnTo>
                <a:lnTo>
                  <a:pt x="1548135" y="5934515"/>
                </a:lnTo>
                <a:lnTo>
                  <a:pt x="1637882" y="5912078"/>
                </a:lnTo>
                <a:close/>
                <a:moveTo>
                  <a:pt x="751631" y="5900860"/>
                </a:moveTo>
                <a:lnTo>
                  <a:pt x="807723" y="5912078"/>
                </a:lnTo>
                <a:lnTo>
                  <a:pt x="863814" y="5923297"/>
                </a:lnTo>
                <a:lnTo>
                  <a:pt x="908688" y="5934515"/>
                </a:lnTo>
                <a:lnTo>
                  <a:pt x="942343" y="5956952"/>
                </a:lnTo>
                <a:lnTo>
                  <a:pt x="975998" y="5979389"/>
                </a:lnTo>
                <a:lnTo>
                  <a:pt x="1009653" y="6013044"/>
                </a:lnTo>
                <a:lnTo>
                  <a:pt x="1020872" y="6046699"/>
                </a:lnTo>
                <a:lnTo>
                  <a:pt x="1020872" y="6091572"/>
                </a:lnTo>
                <a:lnTo>
                  <a:pt x="1020872" y="6125227"/>
                </a:lnTo>
                <a:lnTo>
                  <a:pt x="1009653" y="6158882"/>
                </a:lnTo>
                <a:lnTo>
                  <a:pt x="975998" y="6192537"/>
                </a:lnTo>
                <a:lnTo>
                  <a:pt x="942343" y="6214974"/>
                </a:lnTo>
                <a:lnTo>
                  <a:pt x="908688" y="6237411"/>
                </a:lnTo>
                <a:lnTo>
                  <a:pt x="863814" y="6259848"/>
                </a:lnTo>
                <a:lnTo>
                  <a:pt x="807723" y="6271066"/>
                </a:lnTo>
                <a:lnTo>
                  <a:pt x="751631" y="6271066"/>
                </a:lnTo>
                <a:lnTo>
                  <a:pt x="695539" y="6271066"/>
                </a:lnTo>
                <a:lnTo>
                  <a:pt x="650665" y="6259848"/>
                </a:lnTo>
                <a:lnTo>
                  <a:pt x="594574" y="6237411"/>
                </a:lnTo>
                <a:lnTo>
                  <a:pt x="560919" y="6214974"/>
                </a:lnTo>
                <a:lnTo>
                  <a:pt x="527263" y="6192537"/>
                </a:lnTo>
                <a:lnTo>
                  <a:pt x="504827" y="6158882"/>
                </a:lnTo>
                <a:lnTo>
                  <a:pt x="482390" y="6125227"/>
                </a:lnTo>
                <a:lnTo>
                  <a:pt x="482390" y="6091572"/>
                </a:lnTo>
                <a:lnTo>
                  <a:pt x="482390" y="6046699"/>
                </a:lnTo>
                <a:lnTo>
                  <a:pt x="504827" y="6013044"/>
                </a:lnTo>
                <a:lnTo>
                  <a:pt x="527263" y="5979389"/>
                </a:lnTo>
                <a:lnTo>
                  <a:pt x="560919" y="5956952"/>
                </a:lnTo>
                <a:lnTo>
                  <a:pt x="594574" y="5934515"/>
                </a:lnTo>
                <a:lnTo>
                  <a:pt x="650665" y="5923297"/>
                </a:lnTo>
                <a:lnTo>
                  <a:pt x="695539" y="5912078"/>
                </a:lnTo>
                <a:close/>
                <a:moveTo>
                  <a:pt x="157057" y="4453691"/>
                </a:moveTo>
                <a:lnTo>
                  <a:pt x="190712" y="4453691"/>
                </a:lnTo>
                <a:lnTo>
                  <a:pt x="224368" y="4453691"/>
                </a:lnTo>
                <a:lnTo>
                  <a:pt x="269241" y="4476128"/>
                </a:lnTo>
                <a:lnTo>
                  <a:pt x="291678" y="4498564"/>
                </a:lnTo>
                <a:lnTo>
                  <a:pt x="325333" y="4521001"/>
                </a:lnTo>
                <a:lnTo>
                  <a:pt x="347770" y="4554656"/>
                </a:lnTo>
                <a:lnTo>
                  <a:pt x="358988" y="4588311"/>
                </a:lnTo>
                <a:lnTo>
                  <a:pt x="370206" y="4633185"/>
                </a:lnTo>
                <a:lnTo>
                  <a:pt x="381425" y="4678058"/>
                </a:lnTo>
                <a:lnTo>
                  <a:pt x="370206" y="4722932"/>
                </a:lnTo>
                <a:lnTo>
                  <a:pt x="358988" y="4767805"/>
                </a:lnTo>
                <a:lnTo>
                  <a:pt x="347770" y="4812679"/>
                </a:lnTo>
                <a:lnTo>
                  <a:pt x="325333" y="4846334"/>
                </a:lnTo>
                <a:lnTo>
                  <a:pt x="291678" y="4868770"/>
                </a:lnTo>
                <a:lnTo>
                  <a:pt x="269241" y="4891207"/>
                </a:lnTo>
                <a:lnTo>
                  <a:pt x="224368" y="4902426"/>
                </a:lnTo>
                <a:lnTo>
                  <a:pt x="190712" y="4913644"/>
                </a:lnTo>
                <a:lnTo>
                  <a:pt x="157057" y="4902426"/>
                </a:lnTo>
                <a:lnTo>
                  <a:pt x="123402" y="4891207"/>
                </a:lnTo>
                <a:lnTo>
                  <a:pt x="89747" y="4868770"/>
                </a:lnTo>
                <a:lnTo>
                  <a:pt x="56092" y="4846334"/>
                </a:lnTo>
                <a:lnTo>
                  <a:pt x="33655" y="4812679"/>
                </a:lnTo>
                <a:lnTo>
                  <a:pt x="22437" y="4767805"/>
                </a:lnTo>
                <a:lnTo>
                  <a:pt x="11219" y="4722932"/>
                </a:lnTo>
                <a:lnTo>
                  <a:pt x="0" y="4678058"/>
                </a:lnTo>
                <a:lnTo>
                  <a:pt x="11219" y="4633185"/>
                </a:lnTo>
                <a:lnTo>
                  <a:pt x="22437" y="4588311"/>
                </a:lnTo>
                <a:lnTo>
                  <a:pt x="33655" y="4554656"/>
                </a:lnTo>
                <a:lnTo>
                  <a:pt x="56092" y="4521001"/>
                </a:lnTo>
                <a:lnTo>
                  <a:pt x="89747" y="4498564"/>
                </a:lnTo>
                <a:lnTo>
                  <a:pt x="123402" y="4476128"/>
                </a:lnTo>
                <a:close/>
                <a:moveTo>
                  <a:pt x="605792" y="3881554"/>
                </a:moveTo>
                <a:lnTo>
                  <a:pt x="650665" y="3892773"/>
                </a:lnTo>
                <a:lnTo>
                  <a:pt x="684321" y="3903991"/>
                </a:lnTo>
                <a:lnTo>
                  <a:pt x="729194" y="3915209"/>
                </a:lnTo>
                <a:lnTo>
                  <a:pt x="762849" y="3948864"/>
                </a:lnTo>
                <a:lnTo>
                  <a:pt x="785286" y="3971301"/>
                </a:lnTo>
                <a:lnTo>
                  <a:pt x="807723" y="4016175"/>
                </a:lnTo>
                <a:lnTo>
                  <a:pt x="818941" y="4049830"/>
                </a:lnTo>
                <a:lnTo>
                  <a:pt x="830159" y="4094703"/>
                </a:lnTo>
                <a:lnTo>
                  <a:pt x="818941" y="4128358"/>
                </a:lnTo>
                <a:lnTo>
                  <a:pt x="807723" y="4173232"/>
                </a:lnTo>
                <a:lnTo>
                  <a:pt x="785286" y="4206887"/>
                </a:lnTo>
                <a:lnTo>
                  <a:pt x="762849" y="4240542"/>
                </a:lnTo>
                <a:lnTo>
                  <a:pt x="729194" y="4262979"/>
                </a:lnTo>
                <a:lnTo>
                  <a:pt x="684321" y="4285416"/>
                </a:lnTo>
                <a:lnTo>
                  <a:pt x="650665" y="4296634"/>
                </a:lnTo>
                <a:lnTo>
                  <a:pt x="605792" y="4296634"/>
                </a:lnTo>
                <a:lnTo>
                  <a:pt x="560919" y="4296634"/>
                </a:lnTo>
                <a:lnTo>
                  <a:pt x="516045" y="4285416"/>
                </a:lnTo>
                <a:lnTo>
                  <a:pt x="482390" y="4262979"/>
                </a:lnTo>
                <a:lnTo>
                  <a:pt x="448735" y="4240542"/>
                </a:lnTo>
                <a:lnTo>
                  <a:pt x="415080" y="4206887"/>
                </a:lnTo>
                <a:lnTo>
                  <a:pt x="392643" y="4173232"/>
                </a:lnTo>
                <a:lnTo>
                  <a:pt x="381425" y="4128358"/>
                </a:lnTo>
                <a:lnTo>
                  <a:pt x="381425" y="4094703"/>
                </a:lnTo>
                <a:lnTo>
                  <a:pt x="381425" y="4049830"/>
                </a:lnTo>
                <a:lnTo>
                  <a:pt x="392643" y="4016175"/>
                </a:lnTo>
                <a:lnTo>
                  <a:pt x="415080" y="3971301"/>
                </a:lnTo>
                <a:lnTo>
                  <a:pt x="448735" y="3948864"/>
                </a:lnTo>
                <a:lnTo>
                  <a:pt x="482390" y="3915209"/>
                </a:lnTo>
                <a:lnTo>
                  <a:pt x="516045" y="3903991"/>
                </a:lnTo>
                <a:lnTo>
                  <a:pt x="560919" y="3892773"/>
                </a:lnTo>
                <a:close/>
                <a:moveTo>
                  <a:pt x="482390" y="2871901"/>
                </a:moveTo>
                <a:lnTo>
                  <a:pt x="549700" y="2883120"/>
                </a:lnTo>
                <a:lnTo>
                  <a:pt x="617010" y="2905557"/>
                </a:lnTo>
                <a:lnTo>
                  <a:pt x="673102" y="2939212"/>
                </a:lnTo>
                <a:lnTo>
                  <a:pt x="729194" y="2984085"/>
                </a:lnTo>
                <a:lnTo>
                  <a:pt x="762849" y="3040177"/>
                </a:lnTo>
                <a:lnTo>
                  <a:pt x="796504" y="3107487"/>
                </a:lnTo>
                <a:lnTo>
                  <a:pt x="818941" y="3174798"/>
                </a:lnTo>
                <a:lnTo>
                  <a:pt x="830159" y="3253326"/>
                </a:lnTo>
                <a:lnTo>
                  <a:pt x="818941" y="3320636"/>
                </a:lnTo>
                <a:lnTo>
                  <a:pt x="796504" y="3387946"/>
                </a:lnTo>
                <a:lnTo>
                  <a:pt x="762849" y="3455256"/>
                </a:lnTo>
                <a:lnTo>
                  <a:pt x="729194" y="3511348"/>
                </a:lnTo>
                <a:lnTo>
                  <a:pt x="673102" y="3556222"/>
                </a:lnTo>
                <a:lnTo>
                  <a:pt x="617010" y="3589877"/>
                </a:lnTo>
                <a:lnTo>
                  <a:pt x="549700" y="3612314"/>
                </a:lnTo>
                <a:lnTo>
                  <a:pt x="482390" y="3623532"/>
                </a:lnTo>
                <a:lnTo>
                  <a:pt x="403861" y="3612314"/>
                </a:lnTo>
                <a:lnTo>
                  <a:pt x="347770" y="3589877"/>
                </a:lnTo>
                <a:lnTo>
                  <a:pt x="280459" y="3556222"/>
                </a:lnTo>
                <a:lnTo>
                  <a:pt x="235586" y="3511348"/>
                </a:lnTo>
                <a:lnTo>
                  <a:pt x="190712" y="3455256"/>
                </a:lnTo>
                <a:lnTo>
                  <a:pt x="157057" y="3387946"/>
                </a:lnTo>
                <a:lnTo>
                  <a:pt x="134621" y="3320636"/>
                </a:lnTo>
                <a:lnTo>
                  <a:pt x="134621" y="3253326"/>
                </a:lnTo>
                <a:lnTo>
                  <a:pt x="134621" y="3174798"/>
                </a:lnTo>
                <a:lnTo>
                  <a:pt x="157057" y="3107487"/>
                </a:lnTo>
                <a:lnTo>
                  <a:pt x="190712" y="3040177"/>
                </a:lnTo>
                <a:lnTo>
                  <a:pt x="235586" y="2984085"/>
                </a:lnTo>
                <a:lnTo>
                  <a:pt x="280459" y="2939212"/>
                </a:lnTo>
                <a:lnTo>
                  <a:pt x="347770" y="2905557"/>
                </a:lnTo>
                <a:lnTo>
                  <a:pt x="403861" y="2883120"/>
                </a:lnTo>
                <a:close/>
                <a:moveTo>
                  <a:pt x="1245239" y="2468040"/>
                </a:moveTo>
                <a:lnTo>
                  <a:pt x="1301331" y="2479259"/>
                </a:lnTo>
                <a:lnTo>
                  <a:pt x="1346204" y="2501696"/>
                </a:lnTo>
                <a:lnTo>
                  <a:pt x="1379859" y="2546569"/>
                </a:lnTo>
                <a:lnTo>
                  <a:pt x="1391078" y="2591443"/>
                </a:lnTo>
                <a:lnTo>
                  <a:pt x="1379859" y="2647534"/>
                </a:lnTo>
                <a:lnTo>
                  <a:pt x="1346204" y="2692408"/>
                </a:lnTo>
                <a:lnTo>
                  <a:pt x="1301331" y="2714845"/>
                </a:lnTo>
                <a:lnTo>
                  <a:pt x="1245239" y="2726063"/>
                </a:lnTo>
                <a:lnTo>
                  <a:pt x="1177929" y="2714845"/>
                </a:lnTo>
                <a:lnTo>
                  <a:pt x="1133055" y="2692408"/>
                </a:lnTo>
                <a:lnTo>
                  <a:pt x="1099400" y="2647534"/>
                </a:lnTo>
                <a:lnTo>
                  <a:pt x="1088182" y="2591443"/>
                </a:lnTo>
                <a:lnTo>
                  <a:pt x="1099400" y="2546569"/>
                </a:lnTo>
                <a:lnTo>
                  <a:pt x="1133055" y="2501696"/>
                </a:lnTo>
                <a:lnTo>
                  <a:pt x="1177929" y="2479259"/>
                </a:lnTo>
                <a:close/>
                <a:moveTo>
                  <a:pt x="6394468" y="2232455"/>
                </a:moveTo>
                <a:lnTo>
                  <a:pt x="6450560" y="2232455"/>
                </a:lnTo>
                <a:lnTo>
                  <a:pt x="6506652" y="2232455"/>
                </a:lnTo>
                <a:lnTo>
                  <a:pt x="6585181" y="2243673"/>
                </a:lnTo>
                <a:lnTo>
                  <a:pt x="6663710" y="2277328"/>
                </a:lnTo>
                <a:lnTo>
                  <a:pt x="6697364" y="2310983"/>
                </a:lnTo>
                <a:lnTo>
                  <a:pt x="6742238" y="2344639"/>
                </a:lnTo>
                <a:lnTo>
                  <a:pt x="6775893" y="2400730"/>
                </a:lnTo>
                <a:lnTo>
                  <a:pt x="6809548" y="2456822"/>
                </a:lnTo>
                <a:lnTo>
                  <a:pt x="6831985" y="2490477"/>
                </a:lnTo>
                <a:lnTo>
                  <a:pt x="6854422" y="2546569"/>
                </a:lnTo>
                <a:lnTo>
                  <a:pt x="6865640" y="2613879"/>
                </a:lnTo>
                <a:lnTo>
                  <a:pt x="6865640" y="2714845"/>
                </a:lnTo>
                <a:lnTo>
                  <a:pt x="6854422" y="2827028"/>
                </a:lnTo>
                <a:lnTo>
                  <a:pt x="6820766" y="2972867"/>
                </a:lnTo>
                <a:lnTo>
                  <a:pt x="6753456" y="3129924"/>
                </a:lnTo>
                <a:lnTo>
                  <a:pt x="6708583" y="3230889"/>
                </a:lnTo>
                <a:lnTo>
                  <a:pt x="6652491" y="3320636"/>
                </a:lnTo>
                <a:lnTo>
                  <a:pt x="6585181" y="3387946"/>
                </a:lnTo>
                <a:lnTo>
                  <a:pt x="6529089" y="3444038"/>
                </a:lnTo>
                <a:lnTo>
                  <a:pt x="6461779" y="3488912"/>
                </a:lnTo>
                <a:lnTo>
                  <a:pt x="6394468" y="3511348"/>
                </a:lnTo>
                <a:lnTo>
                  <a:pt x="6338377" y="3522567"/>
                </a:lnTo>
                <a:lnTo>
                  <a:pt x="6282285" y="3500130"/>
                </a:lnTo>
                <a:lnTo>
                  <a:pt x="6237412" y="3455256"/>
                </a:lnTo>
                <a:lnTo>
                  <a:pt x="6203756" y="3399165"/>
                </a:lnTo>
                <a:lnTo>
                  <a:pt x="6181320" y="3331855"/>
                </a:lnTo>
                <a:lnTo>
                  <a:pt x="6170102" y="3242107"/>
                </a:lnTo>
                <a:lnTo>
                  <a:pt x="6170102" y="3152361"/>
                </a:lnTo>
                <a:lnTo>
                  <a:pt x="6181320" y="3051395"/>
                </a:lnTo>
                <a:lnTo>
                  <a:pt x="6203756" y="2950430"/>
                </a:lnTo>
                <a:lnTo>
                  <a:pt x="6248630" y="2838246"/>
                </a:lnTo>
                <a:lnTo>
                  <a:pt x="6259848" y="2815810"/>
                </a:lnTo>
                <a:lnTo>
                  <a:pt x="6271066" y="2748500"/>
                </a:lnTo>
                <a:lnTo>
                  <a:pt x="6271066" y="2658753"/>
                </a:lnTo>
                <a:lnTo>
                  <a:pt x="6271066" y="2613879"/>
                </a:lnTo>
                <a:lnTo>
                  <a:pt x="6248630" y="2569006"/>
                </a:lnTo>
                <a:lnTo>
                  <a:pt x="6226193" y="2535351"/>
                </a:lnTo>
                <a:lnTo>
                  <a:pt x="6214975" y="2501696"/>
                </a:lnTo>
                <a:lnTo>
                  <a:pt x="6203756" y="2456822"/>
                </a:lnTo>
                <a:lnTo>
                  <a:pt x="6203756" y="2411949"/>
                </a:lnTo>
                <a:lnTo>
                  <a:pt x="6226193" y="2355857"/>
                </a:lnTo>
                <a:lnTo>
                  <a:pt x="6271066" y="2299765"/>
                </a:lnTo>
                <a:lnTo>
                  <a:pt x="6349595" y="2254892"/>
                </a:lnTo>
                <a:close/>
                <a:moveTo>
                  <a:pt x="1783720" y="2097835"/>
                </a:moveTo>
                <a:lnTo>
                  <a:pt x="1839812" y="2109053"/>
                </a:lnTo>
                <a:lnTo>
                  <a:pt x="1895904" y="2120271"/>
                </a:lnTo>
                <a:lnTo>
                  <a:pt x="1940778" y="2142708"/>
                </a:lnTo>
                <a:lnTo>
                  <a:pt x="1985651" y="2165145"/>
                </a:lnTo>
                <a:lnTo>
                  <a:pt x="2019306" y="2198800"/>
                </a:lnTo>
                <a:lnTo>
                  <a:pt x="2052961" y="2232455"/>
                </a:lnTo>
                <a:lnTo>
                  <a:pt x="2064180" y="2266110"/>
                </a:lnTo>
                <a:lnTo>
                  <a:pt x="2075398" y="2310983"/>
                </a:lnTo>
                <a:lnTo>
                  <a:pt x="2064180" y="2355857"/>
                </a:lnTo>
                <a:lnTo>
                  <a:pt x="2052961" y="2400730"/>
                </a:lnTo>
                <a:lnTo>
                  <a:pt x="2019306" y="2434385"/>
                </a:lnTo>
                <a:lnTo>
                  <a:pt x="1985651" y="2468040"/>
                </a:lnTo>
                <a:lnTo>
                  <a:pt x="1940778" y="2490477"/>
                </a:lnTo>
                <a:lnTo>
                  <a:pt x="1895904" y="2512914"/>
                </a:lnTo>
                <a:lnTo>
                  <a:pt x="1839812" y="2524132"/>
                </a:lnTo>
                <a:lnTo>
                  <a:pt x="1783720" y="2524132"/>
                </a:lnTo>
                <a:lnTo>
                  <a:pt x="1727629" y="2524132"/>
                </a:lnTo>
                <a:lnTo>
                  <a:pt x="1671537" y="2512914"/>
                </a:lnTo>
                <a:lnTo>
                  <a:pt x="1615445" y="2490477"/>
                </a:lnTo>
                <a:lnTo>
                  <a:pt x="1570571" y="2468040"/>
                </a:lnTo>
                <a:lnTo>
                  <a:pt x="1536916" y="2434385"/>
                </a:lnTo>
                <a:lnTo>
                  <a:pt x="1514480" y="2400730"/>
                </a:lnTo>
                <a:lnTo>
                  <a:pt x="1492043" y="2355857"/>
                </a:lnTo>
                <a:lnTo>
                  <a:pt x="1492043" y="2310983"/>
                </a:lnTo>
                <a:lnTo>
                  <a:pt x="1492043" y="2266110"/>
                </a:lnTo>
                <a:lnTo>
                  <a:pt x="1514480" y="2232455"/>
                </a:lnTo>
                <a:lnTo>
                  <a:pt x="1536916" y="2198800"/>
                </a:lnTo>
                <a:lnTo>
                  <a:pt x="1570571" y="2165145"/>
                </a:lnTo>
                <a:lnTo>
                  <a:pt x="1615445" y="2142708"/>
                </a:lnTo>
                <a:lnTo>
                  <a:pt x="1671537" y="2120271"/>
                </a:lnTo>
                <a:lnTo>
                  <a:pt x="1727629" y="2109053"/>
                </a:lnTo>
                <a:close/>
                <a:moveTo>
                  <a:pt x="5586746" y="560918"/>
                </a:moveTo>
                <a:lnTo>
                  <a:pt x="5654056" y="560918"/>
                </a:lnTo>
                <a:lnTo>
                  <a:pt x="5710148" y="583355"/>
                </a:lnTo>
                <a:lnTo>
                  <a:pt x="5777458" y="628229"/>
                </a:lnTo>
                <a:lnTo>
                  <a:pt x="5844768" y="684320"/>
                </a:lnTo>
                <a:lnTo>
                  <a:pt x="5900860" y="762849"/>
                </a:lnTo>
                <a:lnTo>
                  <a:pt x="5956952" y="852596"/>
                </a:lnTo>
                <a:lnTo>
                  <a:pt x="6001826" y="953561"/>
                </a:lnTo>
                <a:lnTo>
                  <a:pt x="6035481" y="1054526"/>
                </a:lnTo>
                <a:lnTo>
                  <a:pt x="6057918" y="1166710"/>
                </a:lnTo>
                <a:lnTo>
                  <a:pt x="6069136" y="1267675"/>
                </a:lnTo>
                <a:lnTo>
                  <a:pt x="6069136" y="1368641"/>
                </a:lnTo>
                <a:lnTo>
                  <a:pt x="6057918" y="1447169"/>
                </a:lnTo>
                <a:lnTo>
                  <a:pt x="6035481" y="1514480"/>
                </a:lnTo>
                <a:lnTo>
                  <a:pt x="6001826" y="1570571"/>
                </a:lnTo>
                <a:lnTo>
                  <a:pt x="5956952" y="1615445"/>
                </a:lnTo>
                <a:lnTo>
                  <a:pt x="5900860" y="1626663"/>
                </a:lnTo>
                <a:lnTo>
                  <a:pt x="5833550" y="1626663"/>
                </a:lnTo>
                <a:lnTo>
                  <a:pt x="5766240" y="1604226"/>
                </a:lnTo>
                <a:lnTo>
                  <a:pt x="5710148" y="1559353"/>
                </a:lnTo>
                <a:lnTo>
                  <a:pt x="5642838" y="1492043"/>
                </a:lnTo>
                <a:lnTo>
                  <a:pt x="5586746" y="1424733"/>
                </a:lnTo>
                <a:lnTo>
                  <a:pt x="5530654" y="1334986"/>
                </a:lnTo>
                <a:lnTo>
                  <a:pt x="5485781" y="1234020"/>
                </a:lnTo>
                <a:lnTo>
                  <a:pt x="5452126" y="1133055"/>
                </a:lnTo>
                <a:lnTo>
                  <a:pt x="5418471" y="1020871"/>
                </a:lnTo>
                <a:lnTo>
                  <a:pt x="5407252" y="919906"/>
                </a:lnTo>
                <a:lnTo>
                  <a:pt x="5407252" y="818941"/>
                </a:lnTo>
                <a:lnTo>
                  <a:pt x="5429689" y="740412"/>
                </a:lnTo>
                <a:lnTo>
                  <a:pt x="5452126" y="673102"/>
                </a:lnTo>
                <a:lnTo>
                  <a:pt x="5485781" y="617010"/>
                </a:lnTo>
                <a:lnTo>
                  <a:pt x="5530654" y="572137"/>
                </a:lnTo>
                <a:close/>
                <a:moveTo>
                  <a:pt x="4285416" y="347770"/>
                </a:moveTo>
                <a:lnTo>
                  <a:pt x="4386381" y="347770"/>
                </a:lnTo>
                <a:lnTo>
                  <a:pt x="4487346" y="358988"/>
                </a:lnTo>
                <a:lnTo>
                  <a:pt x="4565875" y="392643"/>
                </a:lnTo>
                <a:lnTo>
                  <a:pt x="4644404" y="426298"/>
                </a:lnTo>
                <a:lnTo>
                  <a:pt x="4711714" y="459953"/>
                </a:lnTo>
                <a:lnTo>
                  <a:pt x="4801460" y="527263"/>
                </a:lnTo>
                <a:lnTo>
                  <a:pt x="4835116" y="560918"/>
                </a:lnTo>
                <a:lnTo>
                  <a:pt x="4924862" y="639447"/>
                </a:lnTo>
                <a:lnTo>
                  <a:pt x="5014610" y="729194"/>
                </a:lnTo>
                <a:lnTo>
                  <a:pt x="5070702" y="830159"/>
                </a:lnTo>
                <a:lnTo>
                  <a:pt x="5126794" y="919906"/>
                </a:lnTo>
                <a:lnTo>
                  <a:pt x="5160448" y="1009653"/>
                </a:lnTo>
                <a:lnTo>
                  <a:pt x="5194104" y="1099400"/>
                </a:lnTo>
                <a:lnTo>
                  <a:pt x="5216540" y="1177929"/>
                </a:lnTo>
                <a:lnTo>
                  <a:pt x="5216540" y="1267675"/>
                </a:lnTo>
                <a:lnTo>
                  <a:pt x="5227758" y="1413514"/>
                </a:lnTo>
                <a:lnTo>
                  <a:pt x="5205322" y="1525698"/>
                </a:lnTo>
                <a:lnTo>
                  <a:pt x="5182885" y="1626663"/>
                </a:lnTo>
                <a:lnTo>
                  <a:pt x="5149230" y="1772502"/>
                </a:lnTo>
                <a:lnTo>
                  <a:pt x="5138012" y="1884686"/>
                </a:lnTo>
                <a:lnTo>
                  <a:pt x="5138012" y="1985651"/>
                </a:lnTo>
                <a:lnTo>
                  <a:pt x="5149230" y="2052961"/>
                </a:lnTo>
                <a:lnTo>
                  <a:pt x="5182885" y="2109053"/>
                </a:lnTo>
                <a:lnTo>
                  <a:pt x="5205322" y="2153926"/>
                </a:lnTo>
                <a:lnTo>
                  <a:pt x="5238977" y="2198800"/>
                </a:lnTo>
                <a:lnTo>
                  <a:pt x="5283850" y="2232455"/>
                </a:lnTo>
                <a:lnTo>
                  <a:pt x="5328724" y="2254892"/>
                </a:lnTo>
                <a:lnTo>
                  <a:pt x="5407252" y="2288547"/>
                </a:lnTo>
                <a:lnTo>
                  <a:pt x="5485781" y="2299765"/>
                </a:lnTo>
                <a:lnTo>
                  <a:pt x="5553091" y="2299765"/>
                </a:lnTo>
                <a:lnTo>
                  <a:pt x="5620402" y="2299765"/>
                </a:lnTo>
                <a:lnTo>
                  <a:pt x="5732585" y="2299765"/>
                </a:lnTo>
                <a:lnTo>
                  <a:pt x="5822332" y="2310983"/>
                </a:lnTo>
                <a:lnTo>
                  <a:pt x="5900860" y="2333420"/>
                </a:lnTo>
                <a:lnTo>
                  <a:pt x="5956952" y="2355857"/>
                </a:lnTo>
                <a:lnTo>
                  <a:pt x="5990608" y="2389512"/>
                </a:lnTo>
                <a:lnTo>
                  <a:pt x="6013044" y="2411949"/>
                </a:lnTo>
                <a:lnTo>
                  <a:pt x="6035481" y="2434385"/>
                </a:lnTo>
                <a:lnTo>
                  <a:pt x="6057918" y="2468040"/>
                </a:lnTo>
                <a:lnTo>
                  <a:pt x="6069136" y="2501696"/>
                </a:lnTo>
                <a:lnTo>
                  <a:pt x="6091572" y="2569006"/>
                </a:lnTo>
                <a:lnTo>
                  <a:pt x="6091572" y="2647534"/>
                </a:lnTo>
                <a:lnTo>
                  <a:pt x="6069136" y="2714845"/>
                </a:lnTo>
                <a:lnTo>
                  <a:pt x="6024262" y="2827028"/>
                </a:lnTo>
                <a:lnTo>
                  <a:pt x="6001826" y="2860683"/>
                </a:lnTo>
                <a:lnTo>
                  <a:pt x="5923298" y="2984085"/>
                </a:lnTo>
                <a:lnTo>
                  <a:pt x="5867206" y="3085050"/>
                </a:lnTo>
                <a:lnTo>
                  <a:pt x="5833550" y="3174798"/>
                </a:lnTo>
                <a:lnTo>
                  <a:pt x="5811114" y="3242107"/>
                </a:lnTo>
                <a:lnTo>
                  <a:pt x="5799895" y="3309418"/>
                </a:lnTo>
                <a:lnTo>
                  <a:pt x="5799895" y="3354291"/>
                </a:lnTo>
                <a:lnTo>
                  <a:pt x="5799895" y="3387946"/>
                </a:lnTo>
                <a:lnTo>
                  <a:pt x="5811114" y="3444038"/>
                </a:lnTo>
                <a:lnTo>
                  <a:pt x="5822332" y="3500130"/>
                </a:lnTo>
                <a:lnTo>
                  <a:pt x="5844768" y="3545004"/>
                </a:lnTo>
                <a:lnTo>
                  <a:pt x="5878424" y="3578658"/>
                </a:lnTo>
                <a:lnTo>
                  <a:pt x="5912079" y="3612314"/>
                </a:lnTo>
                <a:lnTo>
                  <a:pt x="5945734" y="3645969"/>
                </a:lnTo>
                <a:lnTo>
                  <a:pt x="6024262" y="3679624"/>
                </a:lnTo>
                <a:lnTo>
                  <a:pt x="6091572" y="3702061"/>
                </a:lnTo>
                <a:lnTo>
                  <a:pt x="6158883" y="3702061"/>
                </a:lnTo>
                <a:lnTo>
                  <a:pt x="6226193" y="3702061"/>
                </a:lnTo>
                <a:lnTo>
                  <a:pt x="6360814" y="3713279"/>
                </a:lnTo>
                <a:lnTo>
                  <a:pt x="6484216" y="3735716"/>
                </a:lnTo>
                <a:lnTo>
                  <a:pt x="6573962" y="3769371"/>
                </a:lnTo>
                <a:lnTo>
                  <a:pt x="6652491" y="3803026"/>
                </a:lnTo>
                <a:lnTo>
                  <a:pt x="6708583" y="3847899"/>
                </a:lnTo>
                <a:lnTo>
                  <a:pt x="6753456" y="3881554"/>
                </a:lnTo>
                <a:lnTo>
                  <a:pt x="6787112" y="3926428"/>
                </a:lnTo>
                <a:lnTo>
                  <a:pt x="6809548" y="3960083"/>
                </a:lnTo>
                <a:lnTo>
                  <a:pt x="6831985" y="4004956"/>
                </a:lnTo>
                <a:lnTo>
                  <a:pt x="6843204" y="4038611"/>
                </a:lnTo>
                <a:lnTo>
                  <a:pt x="6843204" y="4072266"/>
                </a:lnTo>
                <a:lnTo>
                  <a:pt x="6831985" y="4105922"/>
                </a:lnTo>
                <a:lnTo>
                  <a:pt x="6809548" y="4139577"/>
                </a:lnTo>
                <a:lnTo>
                  <a:pt x="6764674" y="4195669"/>
                </a:lnTo>
                <a:lnTo>
                  <a:pt x="6708583" y="4240542"/>
                </a:lnTo>
                <a:lnTo>
                  <a:pt x="6652491" y="4274197"/>
                </a:lnTo>
                <a:lnTo>
                  <a:pt x="6596399" y="4296634"/>
                </a:lnTo>
                <a:lnTo>
                  <a:pt x="6529089" y="4319071"/>
                </a:lnTo>
                <a:lnTo>
                  <a:pt x="6484216" y="4341507"/>
                </a:lnTo>
                <a:lnTo>
                  <a:pt x="6394468" y="4408818"/>
                </a:lnTo>
                <a:lnTo>
                  <a:pt x="6338377" y="4476128"/>
                </a:lnTo>
                <a:lnTo>
                  <a:pt x="6293504" y="4554656"/>
                </a:lnTo>
                <a:lnTo>
                  <a:pt x="6259848" y="4621966"/>
                </a:lnTo>
                <a:lnTo>
                  <a:pt x="6248630" y="4678058"/>
                </a:lnTo>
                <a:lnTo>
                  <a:pt x="6248630" y="4722932"/>
                </a:lnTo>
                <a:lnTo>
                  <a:pt x="6237412" y="4812679"/>
                </a:lnTo>
                <a:lnTo>
                  <a:pt x="6214975" y="4879989"/>
                </a:lnTo>
                <a:lnTo>
                  <a:pt x="6192538" y="4947299"/>
                </a:lnTo>
                <a:lnTo>
                  <a:pt x="6158883" y="5003391"/>
                </a:lnTo>
                <a:lnTo>
                  <a:pt x="6091572" y="5093138"/>
                </a:lnTo>
                <a:lnTo>
                  <a:pt x="6024262" y="5171666"/>
                </a:lnTo>
                <a:lnTo>
                  <a:pt x="5945734" y="5216540"/>
                </a:lnTo>
                <a:lnTo>
                  <a:pt x="5878424" y="5250195"/>
                </a:lnTo>
                <a:lnTo>
                  <a:pt x="5822332" y="5261413"/>
                </a:lnTo>
                <a:lnTo>
                  <a:pt x="5743804" y="5295068"/>
                </a:lnTo>
                <a:lnTo>
                  <a:pt x="5676493" y="5317505"/>
                </a:lnTo>
                <a:lnTo>
                  <a:pt x="5631620" y="5351160"/>
                </a:lnTo>
                <a:lnTo>
                  <a:pt x="5586746" y="5384815"/>
                </a:lnTo>
                <a:lnTo>
                  <a:pt x="5553091" y="5418470"/>
                </a:lnTo>
                <a:lnTo>
                  <a:pt x="5530654" y="5452125"/>
                </a:lnTo>
                <a:lnTo>
                  <a:pt x="5497000" y="5530654"/>
                </a:lnTo>
                <a:lnTo>
                  <a:pt x="5497000" y="5586746"/>
                </a:lnTo>
                <a:lnTo>
                  <a:pt x="5497000" y="5642838"/>
                </a:lnTo>
                <a:lnTo>
                  <a:pt x="5519436" y="5698929"/>
                </a:lnTo>
                <a:lnTo>
                  <a:pt x="5541873" y="5755021"/>
                </a:lnTo>
                <a:lnTo>
                  <a:pt x="5553091" y="5811113"/>
                </a:lnTo>
                <a:lnTo>
                  <a:pt x="5553091" y="5867205"/>
                </a:lnTo>
                <a:lnTo>
                  <a:pt x="5530654" y="5912078"/>
                </a:lnTo>
                <a:lnTo>
                  <a:pt x="5497000" y="5979389"/>
                </a:lnTo>
                <a:lnTo>
                  <a:pt x="5474562" y="6013044"/>
                </a:lnTo>
                <a:lnTo>
                  <a:pt x="5384816" y="6069135"/>
                </a:lnTo>
                <a:lnTo>
                  <a:pt x="5283850" y="6091572"/>
                </a:lnTo>
                <a:lnTo>
                  <a:pt x="5205322" y="6102791"/>
                </a:lnTo>
                <a:lnTo>
                  <a:pt x="5126794" y="6102791"/>
                </a:lnTo>
                <a:lnTo>
                  <a:pt x="5070702" y="6091572"/>
                </a:lnTo>
                <a:lnTo>
                  <a:pt x="5025828" y="6080354"/>
                </a:lnTo>
                <a:lnTo>
                  <a:pt x="4980954" y="6057917"/>
                </a:lnTo>
                <a:lnTo>
                  <a:pt x="4857552" y="6001825"/>
                </a:lnTo>
                <a:lnTo>
                  <a:pt x="4734150" y="5968170"/>
                </a:lnTo>
                <a:lnTo>
                  <a:pt x="4633185" y="5934515"/>
                </a:lnTo>
                <a:lnTo>
                  <a:pt x="4532220" y="5923297"/>
                </a:lnTo>
                <a:lnTo>
                  <a:pt x="4431254" y="5923297"/>
                </a:lnTo>
                <a:lnTo>
                  <a:pt x="4341508" y="5934515"/>
                </a:lnTo>
                <a:lnTo>
                  <a:pt x="4262979" y="5945733"/>
                </a:lnTo>
                <a:lnTo>
                  <a:pt x="4195669" y="5968170"/>
                </a:lnTo>
                <a:lnTo>
                  <a:pt x="4083485" y="6024262"/>
                </a:lnTo>
                <a:lnTo>
                  <a:pt x="3993738" y="6080354"/>
                </a:lnTo>
                <a:lnTo>
                  <a:pt x="3926428" y="6136446"/>
                </a:lnTo>
                <a:lnTo>
                  <a:pt x="3814244" y="6248629"/>
                </a:lnTo>
                <a:lnTo>
                  <a:pt x="3702061" y="6327158"/>
                </a:lnTo>
                <a:lnTo>
                  <a:pt x="3601096" y="6383250"/>
                </a:lnTo>
                <a:lnTo>
                  <a:pt x="3511348" y="6416905"/>
                </a:lnTo>
                <a:lnTo>
                  <a:pt x="3432820" y="6428123"/>
                </a:lnTo>
                <a:lnTo>
                  <a:pt x="3365510" y="6428123"/>
                </a:lnTo>
                <a:lnTo>
                  <a:pt x="3320636" y="6428123"/>
                </a:lnTo>
                <a:lnTo>
                  <a:pt x="3208453" y="6405686"/>
                </a:lnTo>
                <a:lnTo>
                  <a:pt x="3118706" y="6372031"/>
                </a:lnTo>
                <a:lnTo>
                  <a:pt x="3051396" y="6315939"/>
                </a:lnTo>
                <a:lnTo>
                  <a:pt x="3006522" y="6271066"/>
                </a:lnTo>
                <a:lnTo>
                  <a:pt x="2972867" y="6214974"/>
                </a:lnTo>
                <a:lnTo>
                  <a:pt x="2950430" y="6170101"/>
                </a:lnTo>
                <a:lnTo>
                  <a:pt x="2939212" y="6136446"/>
                </a:lnTo>
                <a:lnTo>
                  <a:pt x="2916775" y="6035480"/>
                </a:lnTo>
                <a:lnTo>
                  <a:pt x="2871902" y="5956952"/>
                </a:lnTo>
                <a:lnTo>
                  <a:pt x="2827028" y="5900860"/>
                </a:lnTo>
                <a:lnTo>
                  <a:pt x="2770936" y="5867205"/>
                </a:lnTo>
                <a:lnTo>
                  <a:pt x="2714844" y="5844768"/>
                </a:lnTo>
                <a:lnTo>
                  <a:pt x="2669971" y="5833550"/>
                </a:lnTo>
                <a:lnTo>
                  <a:pt x="2625098" y="5833550"/>
                </a:lnTo>
                <a:lnTo>
                  <a:pt x="2535351" y="5833550"/>
                </a:lnTo>
                <a:lnTo>
                  <a:pt x="2468040" y="5811113"/>
                </a:lnTo>
                <a:lnTo>
                  <a:pt x="2400730" y="5777458"/>
                </a:lnTo>
                <a:lnTo>
                  <a:pt x="2344638" y="5743803"/>
                </a:lnTo>
                <a:lnTo>
                  <a:pt x="2310984" y="5698929"/>
                </a:lnTo>
                <a:lnTo>
                  <a:pt x="2277328" y="5665274"/>
                </a:lnTo>
                <a:lnTo>
                  <a:pt x="2254892" y="5631619"/>
                </a:lnTo>
                <a:lnTo>
                  <a:pt x="2221236" y="5575527"/>
                </a:lnTo>
                <a:lnTo>
                  <a:pt x="2176363" y="5541872"/>
                </a:lnTo>
                <a:lnTo>
                  <a:pt x="2120271" y="5508217"/>
                </a:lnTo>
                <a:lnTo>
                  <a:pt x="2075398" y="5485781"/>
                </a:lnTo>
                <a:lnTo>
                  <a:pt x="2019306" y="5474562"/>
                </a:lnTo>
                <a:lnTo>
                  <a:pt x="1963214" y="5463344"/>
                </a:lnTo>
                <a:lnTo>
                  <a:pt x="1851031" y="5463344"/>
                </a:lnTo>
                <a:lnTo>
                  <a:pt x="1750065" y="5485781"/>
                </a:lnTo>
                <a:lnTo>
                  <a:pt x="1660318" y="5508217"/>
                </a:lnTo>
                <a:lnTo>
                  <a:pt x="1581790" y="5541872"/>
                </a:lnTo>
                <a:lnTo>
                  <a:pt x="1435951" y="5586746"/>
                </a:lnTo>
                <a:lnTo>
                  <a:pt x="1301331" y="5609183"/>
                </a:lnTo>
                <a:lnTo>
                  <a:pt x="1177929" y="5620401"/>
                </a:lnTo>
                <a:lnTo>
                  <a:pt x="1076963" y="5631619"/>
                </a:lnTo>
                <a:lnTo>
                  <a:pt x="987216" y="5631619"/>
                </a:lnTo>
                <a:lnTo>
                  <a:pt x="897469" y="5620401"/>
                </a:lnTo>
                <a:lnTo>
                  <a:pt x="830159" y="5597964"/>
                </a:lnTo>
                <a:lnTo>
                  <a:pt x="774067" y="5586746"/>
                </a:lnTo>
                <a:lnTo>
                  <a:pt x="684321" y="5530654"/>
                </a:lnTo>
                <a:lnTo>
                  <a:pt x="639447" y="5485781"/>
                </a:lnTo>
                <a:lnTo>
                  <a:pt x="605792" y="5452125"/>
                </a:lnTo>
                <a:lnTo>
                  <a:pt x="594574" y="5429689"/>
                </a:lnTo>
                <a:lnTo>
                  <a:pt x="572137" y="5362379"/>
                </a:lnTo>
                <a:lnTo>
                  <a:pt x="549700" y="5283850"/>
                </a:lnTo>
                <a:lnTo>
                  <a:pt x="538482" y="5216540"/>
                </a:lnTo>
                <a:lnTo>
                  <a:pt x="538482" y="5149230"/>
                </a:lnTo>
                <a:lnTo>
                  <a:pt x="549700" y="5025828"/>
                </a:lnTo>
                <a:lnTo>
                  <a:pt x="583355" y="4913644"/>
                </a:lnTo>
                <a:lnTo>
                  <a:pt x="639447" y="4801460"/>
                </a:lnTo>
                <a:lnTo>
                  <a:pt x="706757" y="4711713"/>
                </a:lnTo>
                <a:lnTo>
                  <a:pt x="796504" y="4621966"/>
                </a:lnTo>
                <a:lnTo>
                  <a:pt x="886251" y="4554656"/>
                </a:lnTo>
                <a:lnTo>
                  <a:pt x="975998" y="4487346"/>
                </a:lnTo>
                <a:lnTo>
                  <a:pt x="1076963" y="4431254"/>
                </a:lnTo>
                <a:lnTo>
                  <a:pt x="1245239" y="4341507"/>
                </a:lnTo>
                <a:lnTo>
                  <a:pt x="1368641" y="4285416"/>
                </a:lnTo>
                <a:lnTo>
                  <a:pt x="1424733" y="4274197"/>
                </a:lnTo>
                <a:lnTo>
                  <a:pt x="1559353" y="4218105"/>
                </a:lnTo>
                <a:lnTo>
                  <a:pt x="1671537" y="4162013"/>
                </a:lnTo>
                <a:lnTo>
                  <a:pt x="1750065" y="4094703"/>
                </a:lnTo>
                <a:lnTo>
                  <a:pt x="1806157" y="4038611"/>
                </a:lnTo>
                <a:lnTo>
                  <a:pt x="1851031" y="3971301"/>
                </a:lnTo>
                <a:lnTo>
                  <a:pt x="1873467" y="3926428"/>
                </a:lnTo>
                <a:lnTo>
                  <a:pt x="1884686" y="3892773"/>
                </a:lnTo>
                <a:lnTo>
                  <a:pt x="1884686" y="3803026"/>
                </a:lnTo>
                <a:lnTo>
                  <a:pt x="1862249" y="3746934"/>
                </a:lnTo>
                <a:lnTo>
                  <a:pt x="1828594" y="3690842"/>
                </a:lnTo>
                <a:lnTo>
                  <a:pt x="1794939" y="3657187"/>
                </a:lnTo>
                <a:lnTo>
                  <a:pt x="1761284" y="3634750"/>
                </a:lnTo>
                <a:lnTo>
                  <a:pt x="1738847" y="3612314"/>
                </a:lnTo>
                <a:lnTo>
                  <a:pt x="1705192" y="3601095"/>
                </a:lnTo>
                <a:lnTo>
                  <a:pt x="1604227" y="3578658"/>
                </a:lnTo>
                <a:lnTo>
                  <a:pt x="1514480" y="3545004"/>
                </a:lnTo>
                <a:lnTo>
                  <a:pt x="1435951" y="3511348"/>
                </a:lnTo>
                <a:lnTo>
                  <a:pt x="1368641" y="3477693"/>
                </a:lnTo>
                <a:lnTo>
                  <a:pt x="1267676" y="3399165"/>
                </a:lnTo>
                <a:lnTo>
                  <a:pt x="1200365" y="3320636"/>
                </a:lnTo>
                <a:lnTo>
                  <a:pt x="1155492" y="3253326"/>
                </a:lnTo>
                <a:lnTo>
                  <a:pt x="1133055" y="3208452"/>
                </a:lnTo>
                <a:lnTo>
                  <a:pt x="1133055" y="3152361"/>
                </a:lnTo>
                <a:lnTo>
                  <a:pt x="1144274" y="3096269"/>
                </a:lnTo>
                <a:lnTo>
                  <a:pt x="1177929" y="3040177"/>
                </a:lnTo>
                <a:lnTo>
                  <a:pt x="1211584" y="2995303"/>
                </a:lnTo>
                <a:lnTo>
                  <a:pt x="1267676" y="2950430"/>
                </a:lnTo>
                <a:lnTo>
                  <a:pt x="1334986" y="2916775"/>
                </a:lnTo>
                <a:lnTo>
                  <a:pt x="1402296" y="2894338"/>
                </a:lnTo>
                <a:lnTo>
                  <a:pt x="1548135" y="2860683"/>
                </a:lnTo>
                <a:lnTo>
                  <a:pt x="1705192" y="2838246"/>
                </a:lnTo>
                <a:lnTo>
                  <a:pt x="1828594" y="2827028"/>
                </a:lnTo>
                <a:lnTo>
                  <a:pt x="1963214" y="2827028"/>
                </a:lnTo>
                <a:lnTo>
                  <a:pt x="2052961" y="2827028"/>
                </a:lnTo>
                <a:lnTo>
                  <a:pt x="2142708" y="2815810"/>
                </a:lnTo>
                <a:lnTo>
                  <a:pt x="2299765" y="2782155"/>
                </a:lnTo>
                <a:lnTo>
                  <a:pt x="2411949" y="2737281"/>
                </a:lnTo>
                <a:lnTo>
                  <a:pt x="2490477" y="2681189"/>
                </a:lnTo>
                <a:lnTo>
                  <a:pt x="2546569" y="2625097"/>
                </a:lnTo>
                <a:lnTo>
                  <a:pt x="2580224" y="2580224"/>
                </a:lnTo>
                <a:lnTo>
                  <a:pt x="2602661" y="2535351"/>
                </a:lnTo>
                <a:lnTo>
                  <a:pt x="2625098" y="2434385"/>
                </a:lnTo>
                <a:lnTo>
                  <a:pt x="2625098" y="2355857"/>
                </a:lnTo>
                <a:lnTo>
                  <a:pt x="2613879" y="2288547"/>
                </a:lnTo>
                <a:lnTo>
                  <a:pt x="2591442" y="2232455"/>
                </a:lnTo>
                <a:lnTo>
                  <a:pt x="2569006" y="2187581"/>
                </a:lnTo>
                <a:lnTo>
                  <a:pt x="2535351" y="2153926"/>
                </a:lnTo>
                <a:lnTo>
                  <a:pt x="2512914" y="2131490"/>
                </a:lnTo>
                <a:lnTo>
                  <a:pt x="2423167" y="2030524"/>
                </a:lnTo>
                <a:lnTo>
                  <a:pt x="2355857" y="1940777"/>
                </a:lnTo>
                <a:lnTo>
                  <a:pt x="2322202" y="1862249"/>
                </a:lnTo>
                <a:lnTo>
                  <a:pt x="2310984" y="1783720"/>
                </a:lnTo>
                <a:lnTo>
                  <a:pt x="2299765" y="1716410"/>
                </a:lnTo>
                <a:lnTo>
                  <a:pt x="2310984" y="1660318"/>
                </a:lnTo>
                <a:lnTo>
                  <a:pt x="2322202" y="1615445"/>
                </a:lnTo>
                <a:lnTo>
                  <a:pt x="2344638" y="1559353"/>
                </a:lnTo>
                <a:lnTo>
                  <a:pt x="2378294" y="1514480"/>
                </a:lnTo>
                <a:lnTo>
                  <a:pt x="2411949" y="1480824"/>
                </a:lnTo>
                <a:lnTo>
                  <a:pt x="2445604" y="1447169"/>
                </a:lnTo>
                <a:lnTo>
                  <a:pt x="2490477" y="1435951"/>
                </a:lnTo>
                <a:lnTo>
                  <a:pt x="2535351" y="1424733"/>
                </a:lnTo>
                <a:lnTo>
                  <a:pt x="2636316" y="1413514"/>
                </a:lnTo>
                <a:lnTo>
                  <a:pt x="2714844" y="1424733"/>
                </a:lnTo>
                <a:lnTo>
                  <a:pt x="2793373" y="1447169"/>
                </a:lnTo>
                <a:lnTo>
                  <a:pt x="2860683" y="1469606"/>
                </a:lnTo>
                <a:lnTo>
                  <a:pt x="2927994" y="1480824"/>
                </a:lnTo>
                <a:lnTo>
                  <a:pt x="2995304" y="1492043"/>
                </a:lnTo>
                <a:lnTo>
                  <a:pt x="3062614" y="1480824"/>
                </a:lnTo>
                <a:lnTo>
                  <a:pt x="3118706" y="1458388"/>
                </a:lnTo>
                <a:lnTo>
                  <a:pt x="3174798" y="1435951"/>
                </a:lnTo>
                <a:lnTo>
                  <a:pt x="3230890" y="1413514"/>
                </a:lnTo>
                <a:lnTo>
                  <a:pt x="3320636" y="1334986"/>
                </a:lnTo>
                <a:lnTo>
                  <a:pt x="3387946" y="1256457"/>
                </a:lnTo>
                <a:lnTo>
                  <a:pt x="3444038" y="1189147"/>
                </a:lnTo>
                <a:lnTo>
                  <a:pt x="3488912" y="1121837"/>
                </a:lnTo>
                <a:lnTo>
                  <a:pt x="3601096" y="897469"/>
                </a:lnTo>
                <a:lnTo>
                  <a:pt x="3724498" y="717976"/>
                </a:lnTo>
                <a:lnTo>
                  <a:pt x="3836681" y="583355"/>
                </a:lnTo>
                <a:lnTo>
                  <a:pt x="3960083" y="482390"/>
                </a:lnTo>
                <a:lnTo>
                  <a:pt x="4072267" y="415080"/>
                </a:lnTo>
                <a:lnTo>
                  <a:pt x="4184450" y="370206"/>
                </a:lnTo>
                <a:close/>
                <a:moveTo>
                  <a:pt x="3387946" y="0"/>
                </a:moveTo>
                <a:lnTo>
                  <a:pt x="3466475" y="11218"/>
                </a:lnTo>
                <a:lnTo>
                  <a:pt x="3533785" y="44874"/>
                </a:lnTo>
                <a:lnTo>
                  <a:pt x="3578659" y="89747"/>
                </a:lnTo>
                <a:lnTo>
                  <a:pt x="3612314" y="157057"/>
                </a:lnTo>
                <a:lnTo>
                  <a:pt x="3634750" y="224367"/>
                </a:lnTo>
                <a:lnTo>
                  <a:pt x="3634750" y="314114"/>
                </a:lnTo>
                <a:lnTo>
                  <a:pt x="3623532" y="403861"/>
                </a:lnTo>
                <a:lnTo>
                  <a:pt x="3589877" y="504827"/>
                </a:lnTo>
                <a:lnTo>
                  <a:pt x="3545004" y="605792"/>
                </a:lnTo>
                <a:lnTo>
                  <a:pt x="3477694" y="695539"/>
                </a:lnTo>
                <a:lnTo>
                  <a:pt x="3410383" y="785286"/>
                </a:lnTo>
                <a:lnTo>
                  <a:pt x="3320636" y="863814"/>
                </a:lnTo>
                <a:lnTo>
                  <a:pt x="3242108" y="931124"/>
                </a:lnTo>
                <a:lnTo>
                  <a:pt x="3152361" y="975998"/>
                </a:lnTo>
                <a:lnTo>
                  <a:pt x="3062614" y="998435"/>
                </a:lnTo>
                <a:lnTo>
                  <a:pt x="2984085" y="1009653"/>
                </a:lnTo>
                <a:lnTo>
                  <a:pt x="2905557" y="998435"/>
                </a:lnTo>
                <a:lnTo>
                  <a:pt x="2849465" y="964780"/>
                </a:lnTo>
                <a:lnTo>
                  <a:pt x="2793373" y="919906"/>
                </a:lnTo>
                <a:lnTo>
                  <a:pt x="2759718" y="852596"/>
                </a:lnTo>
                <a:lnTo>
                  <a:pt x="2737281" y="785286"/>
                </a:lnTo>
                <a:lnTo>
                  <a:pt x="2737281" y="695539"/>
                </a:lnTo>
                <a:lnTo>
                  <a:pt x="2748500" y="605792"/>
                </a:lnTo>
                <a:lnTo>
                  <a:pt x="2782155" y="504827"/>
                </a:lnTo>
                <a:lnTo>
                  <a:pt x="2827028" y="403861"/>
                </a:lnTo>
                <a:lnTo>
                  <a:pt x="2894338" y="314114"/>
                </a:lnTo>
                <a:lnTo>
                  <a:pt x="2972867" y="224367"/>
                </a:lnTo>
                <a:lnTo>
                  <a:pt x="3051396" y="145839"/>
                </a:lnTo>
                <a:lnTo>
                  <a:pt x="3141142" y="78529"/>
                </a:lnTo>
                <a:lnTo>
                  <a:pt x="3219671" y="33655"/>
                </a:lnTo>
                <a:lnTo>
                  <a:pt x="3309418" y="112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7531610"/>
      </p:ext>
    </p:extLst>
  </p:cSld>
  <p:clrMapOvr>
    <a:masterClrMapping/>
  </p:clrMapOvr>
  <p:hf hdr="0" ft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064829" y="0"/>
            <a:ext cx="6755362" cy="457023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9064829" y="4570232"/>
            <a:ext cx="6755362" cy="457023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9064829" y="9145768"/>
            <a:ext cx="6755362" cy="457023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7268248"/>
      </p:ext>
    </p:extLst>
  </p:cSld>
  <p:clrMapOvr>
    <a:masterClrMapping/>
  </p:clrMapOvr>
  <p:hf hdr="0" ft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18316219" y="8377471"/>
            <a:ext cx="5140838" cy="35706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198207" y="8377471"/>
            <a:ext cx="5140838" cy="35706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908391" y="8377471"/>
            <a:ext cx="5140838" cy="35706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593489" y="8377471"/>
            <a:ext cx="5140838" cy="35706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3110622"/>
      </p:ext>
    </p:extLst>
  </p:cSld>
  <p:clrMapOvr>
    <a:masterClrMapping/>
  </p:clrMapOvr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161145" y="3941860"/>
            <a:ext cx="21702046" cy="4757188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563579"/>
      </p:ext>
    </p:extLst>
  </p:cSld>
  <p:clrMapOvr>
    <a:masterClrMapping/>
  </p:clrMapOvr>
  <p:hf hdr="0" ft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3"/>
            <a:ext cx="24384000" cy="11872686"/>
          </a:xfrm>
          <a:custGeom>
            <a:avLst/>
            <a:gdLst>
              <a:gd name="connsiteX0" fmla="*/ 0 w 12192000"/>
              <a:gd name="connsiteY0" fmla="*/ 0 h 5936343"/>
              <a:gd name="connsiteX1" fmla="*/ 12192000 w 12192000"/>
              <a:gd name="connsiteY1" fmla="*/ 0 h 5936343"/>
              <a:gd name="connsiteX2" fmla="*/ 12192000 w 12192000"/>
              <a:gd name="connsiteY2" fmla="*/ 4732566 h 5936343"/>
              <a:gd name="connsiteX3" fmla="*/ 12192000 w 12192000"/>
              <a:gd name="connsiteY3" fmla="*/ 4800248 h 5936343"/>
              <a:gd name="connsiteX4" fmla="*/ 12192000 w 12192000"/>
              <a:gd name="connsiteY4" fmla="*/ 5354932 h 5936343"/>
              <a:gd name="connsiteX5" fmla="*/ 8749034 w 12192000"/>
              <a:gd name="connsiteY5" fmla="*/ 5240471 h 5936343"/>
              <a:gd name="connsiteX6" fmla="*/ 6020349 w 12192000"/>
              <a:gd name="connsiteY6" fmla="*/ 5935580 h 5936343"/>
              <a:gd name="connsiteX7" fmla="*/ 3132006 w 12192000"/>
              <a:gd name="connsiteY7" fmla="*/ 5094984 h 5936343"/>
              <a:gd name="connsiteX8" fmla="*/ 0 w 12192000"/>
              <a:gd name="connsiteY8" fmla="*/ 5354932 h 5936343"/>
              <a:gd name="connsiteX9" fmla="*/ 0 w 12192000"/>
              <a:gd name="connsiteY9" fmla="*/ 4800248 h 5936343"/>
              <a:gd name="connsiteX10" fmla="*/ 0 w 12192000"/>
              <a:gd name="connsiteY10" fmla="*/ 4732566 h 593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936343">
                <a:moveTo>
                  <a:pt x="0" y="0"/>
                </a:moveTo>
                <a:lnTo>
                  <a:pt x="12192000" y="0"/>
                </a:lnTo>
                <a:lnTo>
                  <a:pt x="12192000" y="4732566"/>
                </a:lnTo>
                <a:lnTo>
                  <a:pt x="12192000" y="4800248"/>
                </a:lnTo>
                <a:lnTo>
                  <a:pt x="12192000" y="5354932"/>
                </a:lnTo>
                <a:cubicBezTo>
                  <a:pt x="11642363" y="5563518"/>
                  <a:pt x="9741357" y="5081728"/>
                  <a:pt x="8749034" y="5240471"/>
                </a:cubicBezTo>
                <a:cubicBezTo>
                  <a:pt x="7756711" y="5399213"/>
                  <a:pt x="6956520" y="5959828"/>
                  <a:pt x="6020349" y="5935580"/>
                </a:cubicBezTo>
                <a:cubicBezTo>
                  <a:pt x="5084178" y="5911333"/>
                  <a:pt x="4171683" y="5253726"/>
                  <a:pt x="3132006" y="5094984"/>
                </a:cubicBezTo>
                <a:cubicBezTo>
                  <a:pt x="2092329" y="4936242"/>
                  <a:pt x="621182" y="5644345"/>
                  <a:pt x="0" y="5354932"/>
                </a:cubicBezTo>
                <a:lnTo>
                  <a:pt x="0" y="4800248"/>
                </a:lnTo>
                <a:lnTo>
                  <a:pt x="0" y="4732566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4951175"/>
      </p:ext>
    </p:extLst>
  </p:cSld>
  <p:clrMapOvr>
    <a:masterClrMapping/>
  </p:clrMapOvr>
  <p:hf hdr="0" ft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6419640" y="0"/>
            <a:ext cx="7964360" cy="1371600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9297037"/>
      </p:ext>
    </p:extLst>
  </p:cSld>
  <p:clrMapOvr>
    <a:masterClrMapping/>
  </p:clrMapOvr>
  <p:hf hdr="0" ft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22997076" cy="7945378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2788203"/>
      </p:ext>
    </p:extLst>
  </p:cSld>
  <p:clrMapOvr>
    <a:masterClrMapping/>
  </p:clrMapOvr>
  <p:hf hdr="0" ftr="0" dt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3004800" y="0"/>
            <a:ext cx="11379200" cy="117984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2" y="2"/>
            <a:ext cx="13004800" cy="11798432"/>
          </a:xfrm>
          <a:prstGeom prst="rect">
            <a:avLst/>
          </a:prstGeom>
          <a:solidFill>
            <a:srgbClr val="24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grpSp>
        <p:nvGrpSpPr>
          <p:cNvPr id="9" name="Group 8"/>
          <p:cNvGrpSpPr/>
          <p:nvPr userDrawn="1"/>
        </p:nvGrpSpPr>
        <p:grpSpPr>
          <a:xfrm flipV="1">
            <a:off x="0" y="10089726"/>
            <a:ext cx="8325580" cy="1708708"/>
            <a:chOff x="0" y="-9526"/>
            <a:chExt cx="4162790" cy="854354"/>
          </a:xfrm>
        </p:grpSpPr>
        <p:sp>
          <p:nvSpPr>
            <p:cNvPr id="10" name="Freeform 9"/>
            <p:cNvSpPr/>
            <p:nvPr/>
          </p:nvSpPr>
          <p:spPr>
            <a:xfrm>
              <a:off x="1" y="-9526"/>
              <a:ext cx="4086315" cy="854354"/>
            </a:xfrm>
            <a:custGeom>
              <a:avLst/>
              <a:gdLst>
                <a:gd name="connsiteX0" fmla="*/ 0 w 4086315"/>
                <a:gd name="connsiteY0" fmla="*/ 0 h 854354"/>
                <a:gd name="connsiteX1" fmla="*/ 4086315 w 4086315"/>
                <a:gd name="connsiteY1" fmla="*/ 0 h 854354"/>
                <a:gd name="connsiteX2" fmla="*/ 3700053 w 4086315"/>
                <a:gd name="connsiteY2" fmla="*/ 236387 h 854354"/>
                <a:gd name="connsiteX3" fmla="*/ 3071976 w 4086315"/>
                <a:gd name="connsiteY3" fmla="*/ 837056 h 854354"/>
                <a:gd name="connsiteX4" fmla="*/ 2354350 w 4086315"/>
                <a:gd name="connsiteY4" fmla="*/ 594269 h 854354"/>
                <a:gd name="connsiteX5" fmla="*/ 2326519 w 4086315"/>
                <a:gd name="connsiteY5" fmla="*/ 596417 h 854354"/>
                <a:gd name="connsiteX6" fmla="*/ 2298688 w 4086315"/>
                <a:gd name="connsiteY6" fmla="*/ 594269 h 854354"/>
                <a:gd name="connsiteX7" fmla="*/ 1581063 w 4086315"/>
                <a:gd name="connsiteY7" fmla="*/ 837056 h 854354"/>
                <a:gd name="connsiteX8" fmla="*/ 813774 w 4086315"/>
                <a:gd name="connsiteY8" fmla="*/ 218287 h 854354"/>
                <a:gd name="connsiteX9" fmla="*/ 88899 w 4086315"/>
                <a:gd name="connsiteY9" fmla="*/ 729962 h 854354"/>
                <a:gd name="connsiteX10" fmla="*/ 36789 w 4086315"/>
                <a:gd name="connsiteY10" fmla="*/ 746586 h 854354"/>
                <a:gd name="connsiteX11" fmla="*/ 0 w 4086315"/>
                <a:gd name="connsiteY11" fmla="*/ 751118 h 8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6315" h="854354">
                  <a:moveTo>
                    <a:pt x="0" y="0"/>
                  </a:moveTo>
                  <a:lnTo>
                    <a:pt x="4086315" y="0"/>
                  </a:lnTo>
                  <a:lnTo>
                    <a:pt x="3700053" y="236387"/>
                  </a:lnTo>
                  <a:cubicBezTo>
                    <a:pt x="3634603" y="298480"/>
                    <a:pt x="3296259" y="777409"/>
                    <a:pt x="3071976" y="837056"/>
                  </a:cubicBezTo>
                  <a:cubicBezTo>
                    <a:pt x="2847692" y="896703"/>
                    <a:pt x="2547499" y="605700"/>
                    <a:pt x="2354350" y="594269"/>
                  </a:cubicBezTo>
                  <a:lnTo>
                    <a:pt x="2326519" y="596417"/>
                  </a:lnTo>
                  <a:lnTo>
                    <a:pt x="2298688" y="594269"/>
                  </a:lnTo>
                  <a:cubicBezTo>
                    <a:pt x="2105539" y="605700"/>
                    <a:pt x="1805467" y="931998"/>
                    <a:pt x="1581063" y="837056"/>
                  </a:cubicBezTo>
                  <a:cubicBezTo>
                    <a:pt x="1304873" y="720205"/>
                    <a:pt x="1062468" y="236136"/>
                    <a:pt x="813774" y="218287"/>
                  </a:cubicBezTo>
                  <a:cubicBezTo>
                    <a:pt x="565080" y="200438"/>
                    <a:pt x="352509" y="613111"/>
                    <a:pt x="88899" y="729962"/>
                  </a:cubicBezTo>
                  <a:cubicBezTo>
                    <a:pt x="72423" y="737266"/>
                    <a:pt x="55004" y="742727"/>
                    <a:pt x="36789" y="746586"/>
                  </a:cubicBezTo>
                  <a:lnTo>
                    <a:pt x="0" y="751118"/>
                  </a:lnTo>
                  <a:close/>
                </a:path>
              </a:pathLst>
            </a:custGeom>
            <a:solidFill>
              <a:schemeClr val="tx2">
                <a:lumMod val="50000"/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1" name="Freeform 10"/>
            <p:cNvSpPr/>
            <p:nvPr/>
          </p:nvSpPr>
          <p:spPr>
            <a:xfrm flipH="1">
              <a:off x="0" y="-9525"/>
              <a:ext cx="4162790" cy="688727"/>
            </a:xfrm>
            <a:custGeom>
              <a:avLst/>
              <a:gdLst>
                <a:gd name="connsiteX0" fmla="*/ 4162790 w 4162790"/>
                <a:gd name="connsiteY0" fmla="*/ 0 h 688727"/>
                <a:gd name="connsiteX1" fmla="*/ 0 w 4162790"/>
                <a:gd name="connsiteY1" fmla="*/ 0 h 688727"/>
                <a:gd name="connsiteX2" fmla="*/ 93505 w 4162790"/>
                <a:gd name="connsiteY2" fmla="*/ 40291 h 688727"/>
                <a:gd name="connsiteX3" fmla="*/ 764963 w 4162790"/>
                <a:gd name="connsiteY3" fmla="*/ 578498 h 688727"/>
                <a:gd name="connsiteX4" fmla="*/ 1524989 w 4162790"/>
                <a:gd name="connsiteY4" fmla="*/ 125080 h 688727"/>
                <a:gd name="connsiteX5" fmla="*/ 2329486 w 4162790"/>
                <a:gd name="connsiteY5" fmla="*/ 673399 h 688727"/>
                <a:gd name="connsiteX6" fmla="*/ 3081911 w 4162790"/>
                <a:gd name="connsiteY6" fmla="*/ 458255 h 688727"/>
                <a:gd name="connsiteX7" fmla="*/ 3111091 w 4162790"/>
                <a:gd name="connsiteY7" fmla="*/ 460157 h 688727"/>
                <a:gd name="connsiteX8" fmla="*/ 3140272 w 4162790"/>
                <a:gd name="connsiteY8" fmla="*/ 458255 h 688727"/>
                <a:gd name="connsiteX9" fmla="*/ 3892696 w 4162790"/>
                <a:gd name="connsiteY9" fmla="*/ 673399 h 688727"/>
                <a:gd name="connsiteX10" fmla="*/ 4103899 w 4162790"/>
                <a:gd name="connsiteY10" fmla="*/ 546264 h 688727"/>
                <a:gd name="connsiteX11" fmla="*/ 4162790 w 4162790"/>
                <a:gd name="connsiteY11" fmla="*/ 495560 h 68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2790" h="688727">
                  <a:moveTo>
                    <a:pt x="4162790" y="0"/>
                  </a:moveTo>
                  <a:lnTo>
                    <a:pt x="0" y="0"/>
                  </a:lnTo>
                  <a:lnTo>
                    <a:pt x="93505" y="40291"/>
                  </a:lnTo>
                  <a:cubicBezTo>
                    <a:pt x="414722" y="224142"/>
                    <a:pt x="407200" y="549345"/>
                    <a:pt x="764963" y="578498"/>
                  </a:cubicBezTo>
                  <a:cubicBezTo>
                    <a:pt x="1173835" y="611816"/>
                    <a:pt x="1264236" y="109263"/>
                    <a:pt x="1524989" y="125080"/>
                  </a:cubicBezTo>
                  <a:cubicBezTo>
                    <a:pt x="1785743" y="140897"/>
                    <a:pt x="2039902" y="569851"/>
                    <a:pt x="2329486" y="673399"/>
                  </a:cubicBezTo>
                  <a:cubicBezTo>
                    <a:pt x="2564772" y="757531"/>
                    <a:pt x="2879395" y="468384"/>
                    <a:pt x="3081911" y="458255"/>
                  </a:cubicBezTo>
                  <a:lnTo>
                    <a:pt x="3111091" y="460157"/>
                  </a:lnTo>
                  <a:lnTo>
                    <a:pt x="3140272" y="458255"/>
                  </a:lnTo>
                  <a:cubicBezTo>
                    <a:pt x="3342787" y="468384"/>
                    <a:pt x="3657409" y="757531"/>
                    <a:pt x="3892696" y="673399"/>
                  </a:cubicBezTo>
                  <a:cubicBezTo>
                    <a:pt x="3965092" y="647512"/>
                    <a:pt x="4035274" y="601287"/>
                    <a:pt x="4103899" y="546264"/>
                  </a:cubicBezTo>
                  <a:lnTo>
                    <a:pt x="4162790" y="49556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2" name="Freeform 11"/>
            <p:cNvSpPr/>
            <p:nvPr userDrawn="1"/>
          </p:nvSpPr>
          <p:spPr>
            <a:xfrm flipH="1">
              <a:off x="0" y="-9525"/>
              <a:ext cx="4148598" cy="562293"/>
            </a:xfrm>
            <a:custGeom>
              <a:avLst/>
              <a:gdLst>
                <a:gd name="connsiteX0" fmla="*/ 4148598 w 4148598"/>
                <a:gd name="connsiteY0" fmla="*/ 0 h 562293"/>
                <a:gd name="connsiteX1" fmla="*/ 0 w 4148598"/>
                <a:gd name="connsiteY1" fmla="*/ 0 h 562293"/>
                <a:gd name="connsiteX2" fmla="*/ 79313 w 4148598"/>
                <a:gd name="connsiteY2" fmla="*/ 28152 h 562293"/>
                <a:gd name="connsiteX3" fmla="*/ 750771 w 4148598"/>
                <a:gd name="connsiteY3" fmla="*/ 471494 h 562293"/>
                <a:gd name="connsiteX4" fmla="*/ 1510797 w 4148598"/>
                <a:gd name="connsiteY4" fmla="*/ 97996 h 562293"/>
                <a:gd name="connsiteX5" fmla="*/ 2315294 w 4148598"/>
                <a:gd name="connsiteY5" fmla="*/ 549667 h 562293"/>
                <a:gd name="connsiteX6" fmla="*/ 3067719 w 4148598"/>
                <a:gd name="connsiteY6" fmla="*/ 372445 h 562293"/>
                <a:gd name="connsiteX7" fmla="*/ 3096899 w 4148598"/>
                <a:gd name="connsiteY7" fmla="*/ 374012 h 562293"/>
                <a:gd name="connsiteX8" fmla="*/ 3126080 w 4148598"/>
                <a:gd name="connsiteY8" fmla="*/ 372445 h 562293"/>
                <a:gd name="connsiteX9" fmla="*/ 3878504 w 4148598"/>
                <a:gd name="connsiteY9" fmla="*/ 549667 h 562293"/>
                <a:gd name="connsiteX10" fmla="*/ 4089707 w 4148598"/>
                <a:gd name="connsiteY10" fmla="*/ 444942 h 562293"/>
                <a:gd name="connsiteX11" fmla="*/ 4148598 w 4148598"/>
                <a:gd name="connsiteY11" fmla="*/ 403175 h 562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48598" h="562293">
                  <a:moveTo>
                    <a:pt x="4148598" y="0"/>
                  </a:moveTo>
                  <a:lnTo>
                    <a:pt x="0" y="0"/>
                  </a:lnTo>
                  <a:lnTo>
                    <a:pt x="79313" y="28152"/>
                  </a:lnTo>
                  <a:cubicBezTo>
                    <a:pt x="400530" y="179597"/>
                    <a:pt x="393008" y="447480"/>
                    <a:pt x="750771" y="471494"/>
                  </a:cubicBezTo>
                  <a:cubicBezTo>
                    <a:pt x="1159643" y="498939"/>
                    <a:pt x="1250044" y="84967"/>
                    <a:pt x="1510797" y="97996"/>
                  </a:cubicBezTo>
                  <a:cubicBezTo>
                    <a:pt x="1771551" y="111025"/>
                    <a:pt x="2025710" y="464371"/>
                    <a:pt x="2315294" y="549667"/>
                  </a:cubicBezTo>
                  <a:cubicBezTo>
                    <a:pt x="2550580" y="618970"/>
                    <a:pt x="2865203" y="380789"/>
                    <a:pt x="3067719" y="372445"/>
                  </a:cubicBezTo>
                  <a:lnTo>
                    <a:pt x="3096899" y="374012"/>
                  </a:lnTo>
                  <a:lnTo>
                    <a:pt x="3126080" y="372445"/>
                  </a:lnTo>
                  <a:cubicBezTo>
                    <a:pt x="3328595" y="380789"/>
                    <a:pt x="3643217" y="618970"/>
                    <a:pt x="3878504" y="549667"/>
                  </a:cubicBezTo>
                  <a:cubicBezTo>
                    <a:pt x="3950900" y="528344"/>
                    <a:pt x="4021082" y="490267"/>
                    <a:pt x="4089707" y="444942"/>
                  </a:cubicBezTo>
                  <a:lnTo>
                    <a:pt x="4148598" y="403175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3" name="Freeform 12"/>
            <p:cNvSpPr/>
            <p:nvPr/>
          </p:nvSpPr>
          <p:spPr>
            <a:xfrm flipV="1">
              <a:off x="0" y="-9526"/>
              <a:ext cx="4045638" cy="463307"/>
            </a:xfrm>
            <a:custGeom>
              <a:avLst/>
              <a:gdLst>
                <a:gd name="connsiteX0" fmla="*/ 0 w 4045638"/>
                <a:gd name="connsiteY0" fmla="*/ 463307 h 463307"/>
                <a:gd name="connsiteX1" fmla="*/ 4045638 w 4045638"/>
                <a:gd name="connsiteY1" fmla="*/ 463307 h 463307"/>
                <a:gd name="connsiteX2" fmla="*/ 3929456 w 4045638"/>
                <a:gd name="connsiteY2" fmla="*/ 432895 h 463307"/>
                <a:gd name="connsiteX3" fmla="*/ 3530987 w 4045638"/>
                <a:gd name="connsiteY3" fmla="*/ 234506 h 463307"/>
                <a:gd name="connsiteX4" fmla="*/ 2523093 w 4045638"/>
                <a:gd name="connsiteY4" fmla="*/ 280673 h 463307"/>
                <a:gd name="connsiteX5" fmla="*/ 1724297 w 4045638"/>
                <a:gd name="connsiteY5" fmla="*/ 308 h 463307"/>
                <a:gd name="connsiteX6" fmla="*/ 878763 w 4045638"/>
                <a:gd name="connsiteY6" fmla="*/ 339353 h 463307"/>
                <a:gd name="connsiteX7" fmla="*/ 41022 w 4045638"/>
                <a:gd name="connsiteY7" fmla="*/ 208123 h 463307"/>
                <a:gd name="connsiteX8" fmla="*/ 0 w 4045638"/>
                <a:gd name="connsiteY8" fmla="*/ 216898 h 463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5638" h="463307">
                  <a:moveTo>
                    <a:pt x="0" y="463307"/>
                  </a:moveTo>
                  <a:lnTo>
                    <a:pt x="4045638" y="463307"/>
                  </a:lnTo>
                  <a:lnTo>
                    <a:pt x="3929456" y="432895"/>
                  </a:lnTo>
                  <a:cubicBezTo>
                    <a:pt x="3728123" y="370337"/>
                    <a:pt x="3698064" y="298850"/>
                    <a:pt x="3530987" y="234506"/>
                  </a:cubicBezTo>
                  <a:cubicBezTo>
                    <a:pt x="3370086" y="150375"/>
                    <a:pt x="2813585" y="344700"/>
                    <a:pt x="2523093" y="280673"/>
                  </a:cubicBezTo>
                  <a:cubicBezTo>
                    <a:pt x="2232600" y="216646"/>
                    <a:pt x="1998352" y="-9472"/>
                    <a:pt x="1724297" y="308"/>
                  </a:cubicBezTo>
                  <a:cubicBezTo>
                    <a:pt x="1450242" y="10088"/>
                    <a:pt x="1183118" y="275326"/>
                    <a:pt x="878763" y="339353"/>
                  </a:cubicBezTo>
                  <a:cubicBezTo>
                    <a:pt x="612453" y="395377"/>
                    <a:pt x="249437" y="183713"/>
                    <a:pt x="41022" y="208123"/>
                  </a:cubicBezTo>
                  <a:lnTo>
                    <a:pt x="0" y="216898"/>
                  </a:ln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2531902"/>
      </p:ext>
    </p:extLst>
  </p:cSld>
  <p:clrMapOvr>
    <a:masterClrMapping/>
  </p:clrMapOvr>
  <p:hf hdr="0" ft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8458200"/>
            <a:ext cx="24384000" cy="52578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5400000" scaled="1"/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651000" hangingPunct="0"/>
            <a:endParaRPr lang="en-US" sz="6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661456"/>
      </p:ext>
    </p:extLst>
  </p:cSld>
  <p:clrMapOvr>
    <a:masterClrMapping/>
  </p:clrMapOvr>
  <p:hf hdr="0" ftr="0" dt="0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9423400"/>
            <a:ext cx="24384000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012782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2"/>
            <a:ext cx="21031200" cy="1536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429750" y="2266952"/>
            <a:ext cx="5524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9486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400885" y="9356428"/>
            <a:ext cx="10906518" cy="270724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2307403" y="9356428"/>
            <a:ext cx="10675714" cy="27072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37555045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5417800" y="0"/>
            <a:ext cx="89662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5417800" y="6858000"/>
            <a:ext cx="8966200" cy="685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8600577"/>
      </p:ext>
    </p:extLst>
  </p:cSld>
  <p:clrMapOvr>
    <a:masterClrMapping/>
  </p:clrMapOvr>
  <p:hf hdr="0" ft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4010518"/>
            <a:ext cx="24384000" cy="44900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7772" y="1362429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037772" y="4283428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6865667"/>
      </p:ext>
    </p:extLst>
  </p:cSld>
  <p:clrMapOvr>
    <a:masterClrMapping/>
  </p:clrMapOvr>
  <p:hf hdr="0" ft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12636" y="1326953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812636" y="3651250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 flipH="1">
            <a:off x="15849596" y="-99644"/>
            <a:ext cx="8534404" cy="1789300"/>
            <a:chOff x="-38102" y="-49822"/>
            <a:chExt cx="4267202" cy="894650"/>
          </a:xfrm>
        </p:grpSpPr>
        <p:sp>
          <p:nvSpPr>
            <p:cNvPr id="13" name="Freeform 12"/>
            <p:cNvSpPr/>
            <p:nvPr/>
          </p:nvSpPr>
          <p:spPr>
            <a:xfrm>
              <a:off x="-38101" y="-49822"/>
              <a:ext cx="4190260" cy="894650"/>
            </a:xfrm>
            <a:custGeom>
              <a:avLst/>
              <a:gdLst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881143 h 1238985"/>
                <a:gd name="connsiteX14" fmla="*/ 12192000 w 12192000"/>
                <a:gd name="connsiteY14" fmla="*/ 116229 h 1238985"/>
                <a:gd name="connsiteX15" fmla="*/ 12075771 w 12192000"/>
                <a:gd name="connsiteY15" fmla="*/ 0 h 1238985"/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116229 h 1238985"/>
                <a:gd name="connsiteX14" fmla="*/ 12075771 w 12192000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192000 w 13388758"/>
                <a:gd name="connsiteY13" fmla="*/ 116229 h 1238985"/>
                <a:gd name="connsiteX14" fmla="*/ 12075771 w 13388758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075771 w 13388758"/>
                <a:gd name="connsiteY13" fmla="*/ 0 h 1238985"/>
                <a:gd name="connsiteX0" fmla="*/ 15008043 w 15008043"/>
                <a:gd name="connsiteY0" fmla="*/ 0 h 1255436"/>
                <a:gd name="connsiteX1" fmla="*/ 116229 w 15008043"/>
                <a:gd name="connsiteY1" fmla="*/ 16451 h 1255436"/>
                <a:gd name="connsiteX2" fmla="*/ 0 w 15008043"/>
                <a:gd name="connsiteY2" fmla="*/ 132680 h 1255436"/>
                <a:gd name="connsiteX3" fmla="*/ 0 w 15008043"/>
                <a:gd name="connsiteY3" fmla="*/ 1113555 h 1255436"/>
                <a:gd name="connsiteX4" fmla="*/ 64480 w 15008043"/>
                <a:gd name="connsiteY4" fmla="*/ 1114042 h 1255436"/>
                <a:gd name="connsiteX5" fmla="*/ 454868 w 15008043"/>
                <a:gd name="connsiteY5" fmla="*/ 1080881 h 1255436"/>
                <a:gd name="connsiteX6" fmla="*/ 3051118 w 15008043"/>
                <a:gd name="connsiteY6" fmla="*/ 362862 h 1255436"/>
                <a:gd name="connsiteX7" fmla="*/ 5799277 w 15008043"/>
                <a:gd name="connsiteY7" fmla="*/ 1231162 h 1255436"/>
                <a:gd name="connsiteX8" fmla="*/ 8369560 w 15008043"/>
                <a:gd name="connsiteY8" fmla="*/ 890467 h 1255436"/>
                <a:gd name="connsiteX9" fmla="*/ 8469240 w 15008043"/>
                <a:gd name="connsiteY9" fmla="*/ 893480 h 1255436"/>
                <a:gd name="connsiteX10" fmla="*/ 8568921 w 15008043"/>
                <a:gd name="connsiteY10" fmla="*/ 890467 h 1255436"/>
                <a:gd name="connsiteX11" fmla="*/ 11139204 w 15008043"/>
                <a:gd name="connsiteY11" fmla="*/ 1231162 h 1255436"/>
                <a:gd name="connsiteX12" fmla="*/ 13388758 w 15008043"/>
                <a:gd name="connsiteY12" fmla="*/ 388261 h 1255436"/>
                <a:gd name="connsiteX13" fmla="*/ 15008043 w 15008043"/>
                <a:gd name="connsiteY13" fmla="*/ 0 h 125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043" h="1255436">
                  <a:moveTo>
                    <a:pt x="15008043" y="0"/>
                  </a:moveTo>
                  <a:lnTo>
                    <a:pt x="116229" y="16451"/>
                  </a:lnTo>
                  <a:cubicBezTo>
                    <a:pt x="52037" y="16451"/>
                    <a:pt x="0" y="68488"/>
                    <a:pt x="0" y="132680"/>
                  </a:cubicBezTo>
                  <a:lnTo>
                    <a:pt x="0" y="1113555"/>
                  </a:lnTo>
                  <a:lnTo>
                    <a:pt x="64480" y="1114042"/>
                  </a:lnTo>
                  <a:cubicBezTo>
                    <a:pt x="205319" y="1111536"/>
                    <a:pt x="336848" y="1101378"/>
                    <a:pt x="454868" y="1080881"/>
                  </a:cubicBezTo>
                  <a:cubicBezTo>
                    <a:pt x="1399029" y="916907"/>
                    <a:pt x="2160383" y="337815"/>
                    <a:pt x="3051118" y="362862"/>
                  </a:cubicBezTo>
                  <a:cubicBezTo>
                    <a:pt x="3941852" y="387909"/>
                    <a:pt x="4810060" y="1067188"/>
                    <a:pt x="5799277" y="1231162"/>
                  </a:cubicBezTo>
                  <a:cubicBezTo>
                    <a:pt x="6603015" y="1364391"/>
                    <a:pt x="7677767" y="906507"/>
                    <a:pt x="8369560" y="890467"/>
                  </a:cubicBezTo>
                  <a:lnTo>
                    <a:pt x="8469240" y="893480"/>
                  </a:lnTo>
                  <a:lnTo>
                    <a:pt x="8568921" y="890467"/>
                  </a:lnTo>
                  <a:cubicBezTo>
                    <a:pt x="9260713" y="906507"/>
                    <a:pt x="10335898" y="1314863"/>
                    <a:pt x="11139204" y="1231162"/>
                  </a:cubicBezTo>
                  <a:cubicBezTo>
                    <a:pt x="11942510" y="1147461"/>
                    <a:pt x="13154337" y="475394"/>
                    <a:pt x="13388758" y="388261"/>
                  </a:cubicBezTo>
                  <a:lnTo>
                    <a:pt x="15008043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4" name="Freeform 13"/>
            <p:cNvSpPr/>
            <p:nvPr/>
          </p:nvSpPr>
          <p:spPr>
            <a:xfrm flipH="1">
              <a:off x="-38102" y="-38099"/>
              <a:ext cx="4267202" cy="717300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5" name="Freeform 14"/>
            <p:cNvSpPr/>
            <p:nvPr/>
          </p:nvSpPr>
          <p:spPr>
            <a:xfrm flipH="1">
              <a:off x="-38102" y="-38100"/>
              <a:ext cx="4267202" cy="590868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6" name="Freeform 15"/>
            <p:cNvSpPr/>
            <p:nvPr/>
          </p:nvSpPr>
          <p:spPr>
            <a:xfrm flipV="1">
              <a:off x="-38101" y="-38100"/>
              <a:ext cx="4237399" cy="491881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4952" h="2105637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4474952" y="2105637"/>
                  </a:lnTo>
                  <a:cubicBezTo>
                    <a:pt x="12881865" y="1792746"/>
                    <a:pt x="12952984" y="1371126"/>
                    <a:pt x="12192000" y="100387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4116385071"/>
      </p:ext>
    </p:extLst>
  </p:cSld>
  <p:clrMapOvr>
    <a:masterClrMapping/>
  </p:clrMapOvr>
  <p:hf hdr="0" ft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377354" cy="1371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360507" y="1"/>
            <a:ext cx="6675558" cy="68796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360507" y="6836307"/>
            <a:ext cx="6675558" cy="68796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730513" y="1326953"/>
            <a:ext cx="8113322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3730513" y="3651250"/>
            <a:ext cx="8113322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 flipH="1">
            <a:off x="15849596" y="-99644"/>
            <a:ext cx="8534404" cy="1789300"/>
            <a:chOff x="-38102" y="-49822"/>
            <a:chExt cx="4267202" cy="894650"/>
          </a:xfrm>
        </p:grpSpPr>
        <p:sp>
          <p:nvSpPr>
            <p:cNvPr id="13" name="Freeform 12"/>
            <p:cNvSpPr/>
            <p:nvPr/>
          </p:nvSpPr>
          <p:spPr>
            <a:xfrm>
              <a:off x="-38101" y="-49822"/>
              <a:ext cx="4190260" cy="894650"/>
            </a:xfrm>
            <a:custGeom>
              <a:avLst/>
              <a:gdLst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881143 h 1238985"/>
                <a:gd name="connsiteX14" fmla="*/ 12192000 w 12192000"/>
                <a:gd name="connsiteY14" fmla="*/ 116229 h 1238985"/>
                <a:gd name="connsiteX15" fmla="*/ 12075771 w 12192000"/>
                <a:gd name="connsiteY15" fmla="*/ 0 h 1238985"/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116229 h 1238985"/>
                <a:gd name="connsiteX14" fmla="*/ 12075771 w 12192000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192000 w 13388758"/>
                <a:gd name="connsiteY13" fmla="*/ 116229 h 1238985"/>
                <a:gd name="connsiteX14" fmla="*/ 12075771 w 13388758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075771 w 13388758"/>
                <a:gd name="connsiteY13" fmla="*/ 0 h 1238985"/>
                <a:gd name="connsiteX0" fmla="*/ 15008043 w 15008043"/>
                <a:gd name="connsiteY0" fmla="*/ 0 h 1255436"/>
                <a:gd name="connsiteX1" fmla="*/ 116229 w 15008043"/>
                <a:gd name="connsiteY1" fmla="*/ 16451 h 1255436"/>
                <a:gd name="connsiteX2" fmla="*/ 0 w 15008043"/>
                <a:gd name="connsiteY2" fmla="*/ 132680 h 1255436"/>
                <a:gd name="connsiteX3" fmla="*/ 0 w 15008043"/>
                <a:gd name="connsiteY3" fmla="*/ 1113555 h 1255436"/>
                <a:gd name="connsiteX4" fmla="*/ 64480 w 15008043"/>
                <a:gd name="connsiteY4" fmla="*/ 1114042 h 1255436"/>
                <a:gd name="connsiteX5" fmla="*/ 454868 w 15008043"/>
                <a:gd name="connsiteY5" fmla="*/ 1080881 h 1255436"/>
                <a:gd name="connsiteX6" fmla="*/ 3051118 w 15008043"/>
                <a:gd name="connsiteY6" fmla="*/ 362862 h 1255436"/>
                <a:gd name="connsiteX7" fmla="*/ 5799277 w 15008043"/>
                <a:gd name="connsiteY7" fmla="*/ 1231162 h 1255436"/>
                <a:gd name="connsiteX8" fmla="*/ 8369560 w 15008043"/>
                <a:gd name="connsiteY8" fmla="*/ 890467 h 1255436"/>
                <a:gd name="connsiteX9" fmla="*/ 8469240 w 15008043"/>
                <a:gd name="connsiteY9" fmla="*/ 893480 h 1255436"/>
                <a:gd name="connsiteX10" fmla="*/ 8568921 w 15008043"/>
                <a:gd name="connsiteY10" fmla="*/ 890467 h 1255436"/>
                <a:gd name="connsiteX11" fmla="*/ 11139204 w 15008043"/>
                <a:gd name="connsiteY11" fmla="*/ 1231162 h 1255436"/>
                <a:gd name="connsiteX12" fmla="*/ 13388758 w 15008043"/>
                <a:gd name="connsiteY12" fmla="*/ 388261 h 1255436"/>
                <a:gd name="connsiteX13" fmla="*/ 15008043 w 15008043"/>
                <a:gd name="connsiteY13" fmla="*/ 0 h 125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043" h="1255436">
                  <a:moveTo>
                    <a:pt x="15008043" y="0"/>
                  </a:moveTo>
                  <a:lnTo>
                    <a:pt x="116229" y="16451"/>
                  </a:lnTo>
                  <a:cubicBezTo>
                    <a:pt x="52037" y="16451"/>
                    <a:pt x="0" y="68488"/>
                    <a:pt x="0" y="132680"/>
                  </a:cubicBezTo>
                  <a:lnTo>
                    <a:pt x="0" y="1113555"/>
                  </a:lnTo>
                  <a:lnTo>
                    <a:pt x="64480" y="1114042"/>
                  </a:lnTo>
                  <a:cubicBezTo>
                    <a:pt x="205319" y="1111536"/>
                    <a:pt x="336848" y="1101378"/>
                    <a:pt x="454868" y="1080881"/>
                  </a:cubicBezTo>
                  <a:cubicBezTo>
                    <a:pt x="1399029" y="916907"/>
                    <a:pt x="2160383" y="337815"/>
                    <a:pt x="3051118" y="362862"/>
                  </a:cubicBezTo>
                  <a:cubicBezTo>
                    <a:pt x="3941852" y="387909"/>
                    <a:pt x="4810060" y="1067188"/>
                    <a:pt x="5799277" y="1231162"/>
                  </a:cubicBezTo>
                  <a:cubicBezTo>
                    <a:pt x="6603015" y="1364391"/>
                    <a:pt x="7677767" y="906507"/>
                    <a:pt x="8369560" y="890467"/>
                  </a:cubicBezTo>
                  <a:lnTo>
                    <a:pt x="8469240" y="893480"/>
                  </a:lnTo>
                  <a:lnTo>
                    <a:pt x="8568921" y="890467"/>
                  </a:lnTo>
                  <a:cubicBezTo>
                    <a:pt x="9260713" y="906507"/>
                    <a:pt x="10335898" y="1314863"/>
                    <a:pt x="11139204" y="1231162"/>
                  </a:cubicBezTo>
                  <a:cubicBezTo>
                    <a:pt x="11942510" y="1147461"/>
                    <a:pt x="13154337" y="475394"/>
                    <a:pt x="13388758" y="388261"/>
                  </a:cubicBezTo>
                  <a:lnTo>
                    <a:pt x="15008043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4" name="Freeform 13"/>
            <p:cNvSpPr/>
            <p:nvPr/>
          </p:nvSpPr>
          <p:spPr>
            <a:xfrm flipH="1">
              <a:off x="-38102" y="-38099"/>
              <a:ext cx="4267202" cy="717300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5" name="Freeform 14"/>
            <p:cNvSpPr/>
            <p:nvPr/>
          </p:nvSpPr>
          <p:spPr>
            <a:xfrm flipH="1">
              <a:off x="-38102" y="-38100"/>
              <a:ext cx="4267202" cy="590868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6" name="Freeform 15"/>
            <p:cNvSpPr/>
            <p:nvPr/>
          </p:nvSpPr>
          <p:spPr>
            <a:xfrm flipV="1">
              <a:off x="-38101" y="-38100"/>
              <a:ext cx="4237399" cy="491881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4952" h="2105637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4474952" y="2105637"/>
                  </a:lnTo>
                  <a:cubicBezTo>
                    <a:pt x="12881865" y="1792746"/>
                    <a:pt x="12952984" y="1371126"/>
                    <a:pt x="12192000" y="100387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3351290162"/>
      </p:ext>
    </p:extLst>
  </p:cSld>
  <p:clrMapOvr>
    <a:masterClrMapping/>
  </p:clrMapOvr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857998" cy="1371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857999" y="6324600"/>
            <a:ext cx="5638802" cy="7391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12636" y="1326953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 flipH="1">
            <a:off x="15849596" y="-99644"/>
            <a:ext cx="8534404" cy="1789300"/>
            <a:chOff x="-38102" y="-49822"/>
            <a:chExt cx="4267202" cy="894650"/>
          </a:xfrm>
        </p:grpSpPr>
        <p:sp>
          <p:nvSpPr>
            <p:cNvPr id="13" name="Freeform 12"/>
            <p:cNvSpPr/>
            <p:nvPr/>
          </p:nvSpPr>
          <p:spPr>
            <a:xfrm>
              <a:off x="-38101" y="-49822"/>
              <a:ext cx="4190260" cy="894650"/>
            </a:xfrm>
            <a:custGeom>
              <a:avLst/>
              <a:gdLst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881143 h 1238985"/>
                <a:gd name="connsiteX14" fmla="*/ 12192000 w 12192000"/>
                <a:gd name="connsiteY14" fmla="*/ 116229 h 1238985"/>
                <a:gd name="connsiteX15" fmla="*/ 12075771 w 12192000"/>
                <a:gd name="connsiteY15" fmla="*/ 0 h 1238985"/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116229 h 1238985"/>
                <a:gd name="connsiteX14" fmla="*/ 12075771 w 12192000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192000 w 13388758"/>
                <a:gd name="connsiteY13" fmla="*/ 116229 h 1238985"/>
                <a:gd name="connsiteX14" fmla="*/ 12075771 w 13388758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075771 w 13388758"/>
                <a:gd name="connsiteY13" fmla="*/ 0 h 1238985"/>
                <a:gd name="connsiteX0" fmla="*/ 15008043 w 15008043"/>
                <a:gd name="connsiteY0" fmla="*/ 0 h 1255436"/>
                <a:gd name="connsiteX1" fmla="*/ 116229 w 15008043"/>
                <a:gd name="connsiteY1" fmla="*/ 16451 h 1255436"/>
                <a:gd name="connsiteX2" fmla="*/ 0 w 15008043"/>
                <a:gd name="connsiteY2" fmla="*/ 132680 h 1255436"/>
                <a:gd name="connsiteX3" fmla="*/ 0 w 15008043"/>
                <a:gd name="connsiteY3" fmla="*/ 1113555 h 1255436"/>
                <a:gd name="connsiteX4" fmla="*/ 64480 w 15008043"/>
                <a:gd name="connsiteY4" fmla="*/ 1114042 h 1255436"/>
                <a:gd name="connsiteX5" fmla="*/ 454868 w 15008043"/>
                <a:gd name="connsiteY5" fmla="*/ 1080881 h 1255436"/>
                <a:gd name="connsiteX6" fmla="*/ 3051118 w 15008043"/>
                <a:gd name="connsiteY6" fmla="*/ 362862 h 1255436"/>
                <a:gd name="connsiteX7" fmla="*/ 5799277 w 15008043"/>
                <a:gd name="connsiteY7" fmla="*/ 1231162 h 1255436"/>
                <a:gd name="connsiteX8" fmla="*/ 8369560 w 15008043"/>
                <a:gd name="connsiteY8" fmla="*/ 890467 h 1255436"/>
                <a:gd name="connsiteX9" fmla="*/ 8469240 w 15008043"/>
                <a:gd name="connsiteY9" fmla="*/ 893480 h 1255436"/>
                <a:gd name="connsiteX10" fmla="*/ 8568921 w 15008043"/>
                <a:gd name="connsiteY10" fmla="*/ 890467 h 1255436"/>
                <a:gd name="connsiteX11" fmla="*/ 11139204 w 15008043"/>
                <a:gd name="connsiteY11" fmla="*/ 1231162 h 1255436"/>
                <a:gd name="connsiteX12" fmla="*/ 13388758 w 15008043"/>
                <a:gd name="connsiteY12" fmla="*/ 388261 h 1255436"/>
                <a:gd name="connsiteX13" fmla="*/ 15008043 w 15008043"/>
                <a:gd name="connsiteY13" fmla="*/ 0 h 125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043" h="1255436">
                  <a:moveTo>
                    <a:pt x="15008043" y="0"/>
                  </a:moveTo>
                  <a:lnTo>
                    <a:pt x="116229" y="16451"/>
                  </a:lnTo>
                  <a:cubicBezTo>
                    <a:pt x="52037" y="16451"/>
                    <a:pt x="0" y="68488"/>
                    <a:pt x="0" y="132680"/>
                  </a:cubicBezTo>
                  <a:lnTo>
                    <a:pt x="0" y="1113555"/>
                  </a:lnTo>
                  <a:lnTo>
                    <a:pt x="64480" y="1114042"/>
                  </a:lnTo>
                  <a:cubicBezTo>
                    <a:pt x="205319" y="1111536"/>
                    <a:pt x="336848" y="1101378"/>
                    <a:pt x="454868" y="1080881"/>
                  </a:cubicBezTo>
                  <a:cubicBezTo>
                    <a:pt x="1399029" y="916907"/>
                    <a:pt x="2160383" y="337815"/>
                    <a:pt x="3051118" y="362862"/>
                  </a:cubicBezTo>
                  <a:cubicBezTo>
                    <a:pt x="3941852" y="387909"/>
                    <a:pt x="4810060" y="1067188"/>
                    <a:pt x="5799277" y="1231162"/>
                  </a:cubicBezTo>
                  <a:cubicBezTo>
                    <a:pt x="6603015" y="1364391"/>
                    <a:pt x="7677767" y="906507"/>
                    <a:pt x="8369560" y="890467"/>
                  </a:cubicBezTo>
                  <a:lnTo>
                    <a:pt x="8469240" y="893480"/>
                  </a:lnTo>
                  <a:lnTo>
                    <a:pt x="8568921" y="890467"/>
                  </a:lnTo>
                  <a:cubicBezTo>
                    <a:pt x="9260713" y="906507"/>
                    <a:pt x="10335898" y="1314863"/>
                    <a:pt x="11139204" y="1231162"/>
                  </a:cubicBezTo>
                  <a:cubicBezTo>
                    <a:pt x="11942510" y="1147461"/>
                    <a:pt x="13154337" y="475394"/>
                    <a:pt x="13388758" y="388261"/>
                  </a:cubicBezTo>
                  <a:lnTo>
                    <a:pt x="15008043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4" name="Freeform 13"/>
            <p:cNvSpPr/>
            <p:nvPr/>
          </p:nvSpPr>
          <p:spPr>
            <a:xfrm flipH="1">
              <a:off x="-38102" y="-38099"/>
              <a:ext cx="4267202" cy="717300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5" name="Freeform 14"/>
            <p:cNvSpPr/>
            <p:nvPr/>
          </p:nvSpPr>
          <p:spPr>
            <a:xfrm flipH="1">
              <a:off x="-38102" y="-38100"/>
              <a:ext cx="4267202" cy="590868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6" name="Freeform 15"/>
            <p:cNvSpPr/>
            <p:nvPr/>
          </p:nvSpPr>
          <p:spPr>
            <a:xfrm flipV="1">
              <a:off x="-38101" y="-38100"/>
              <a:ext cx="4237399" cy="491881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4952" h="2105637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4474952" y="2105637"/>
                  </a:lnTo>
                  <a:cubicBezTo>
                    <a:pt x="12881865" y="1792746"/>
                    <a:pt x="12952984" y="1371126"/>
                    <a:pt x="12192000" y="100387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272438163"/>
      </p:ext>
    </p:extLst>
  </p:cSld>
  <p:clrMapOvr>
    <a:masterClrMapping/>
  </p:clrMapOvr>
  <p:hf hdr="0" ft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0287000" cy="11760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12636" y="1326953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812636" y="3651250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 flipH="1">
            <a:off x="15849596" y="-99644"/>
            <a:ext cx="8534404" cy="1789300"/>
            <a:chOff x="-38102" y="-49822"/>
            <a:chExt cx="4267202" cy="894650"/>
          </a:xfrm>
        </p:grpSpPr>
        <p:sp>
          <p:nvSpPr>
            <p:cNvPr id="13" name="Freeform 12"/>
            <p:cNvSpPr/>
            <p:nvPr/>
          </p:nvSpPr>
          <p:spPr>
            <a:xfrm>
              <a:off x="-38101" y="-49822"/>
              <a:ext cx="4190260" cy="894650"/>
            </a:xfrm>
            <a:custGeom>
              <a:avLst/>
              <a:gdLst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881143 h 1238985"/>
                <a:gd name="connsiteX14" fmla="*/ 12192000 w 12192000"/>
                <a:gd name="connsiteY14" fmla="*/ 116229 h 1238985"/>
                <a:gd name="connsiteX15" fmla="*/ 12075771 w 12192000"/>
                <a:gd name="connsiteY15" fmla="*/ 0 h 1238985"/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116229 h 1238985"/>
                <a:gd name="connsiteX14" fmla="*/ 12075771 w 12192000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192000 w 13388758"/>
                <a:gd name="connsiteY13" fmla="*/ 116229 h 1238985"/>
                <a:gd name="connsiteX14" fmla="*/ 12075771 w 13388758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075771 w 13388758"/>
                <a:gd name="connsiteY13" fmla="*/ 0 h 1238985"/>
                <a:gd name="connsiteX0" fmla="*/ 15008043 w 15008043"/>
                <a:gd name="connsiteY0" fmla="*/ 0 h 1255436"/>
                <a:gd name="connsiteX1" fmla="*/ 116229 w 15008043"/>
                <a:gd name="connsiteY1" fmla="*/ 16451 h 1255436"/>
                <a:gd name="connsiteX2" fmla="*/ 0 w 15008043"/>
                <a:gd name="connsiteY2" fmla="*/ 132680 h 1255436"/>
                <a:gd name="connsiteX3" fmla="*/ 0 w 15008043"/>
                <a:gd name="connsiteY3" fmla="*/ 1113555 h 1255436"/>
                <a:gd name="connsiteX4" fmla="*/ 64480 w 15008043"/>
                <a:gd name="connsiteY4" fmla="*/ 1114042 h 1255436"/>
                <a:gd name="connsiteX5" fmla="*/ 454868 w 15008043"/>
                <a:gd name="connsiteY5" fmla="*/ 1080881 h 1255436"/>
                <a:gd name="connsiteX6" fmla="*/ 3051118 w 15008043"/>
                <a:gd name="connsiteY6" fmla="*/ 362862 h 1255436"/>
                <a:gd name="connsiteX7" fmla="*/ 5799277 w 15008043"/>
                <a:gd name="connsiteY7" fmla="*/ 1231162 h 1255436"/>
                <a:gd name="connsiteX8" fmla="*/ 8369560 w 15008043"/>
                <a:gd name="connsiteY8" fmla="*/ 890467 h 1255436"/>
                <a:gd name="connsiteX9" fmla="*/ 8469240 w 15008043"/>
                <a:gd name="connsiteY9" fmla="*/ 893480 h 1255436"/>
                <a:gd name="connsiteX10" fmla="*/ 8568921 w 15008043"/>
                <a:gd name="connsiteY10" fmla="*/ 890467 h 1255436"/>
                <a:gd name="connsiteX11" fmla="*/ 11139204 w 15008043"/>
                <a:gd name="connsiteY11" fmla="*/ 1231162 h 1255436"/>
                <a:gd name="connsiteX12" fmla="*/ 13388758 w 15008043"/>
                <a:gd name="connsiteY12" fmla="*/ 388261 h 1255436"/>
                <a:gd name="connsiteX13" fmla="*/ 15008043 w 15008043"/>
                <a:gd name="connsiteY13" fmla="*/ 0 h 125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043" h="1255436">
                  <a:moveTo>
                    <a:pt x="15008043" y="0"/>
                  </a:moveTo>
                  <a:lnTo>
                    <a:pt x="116229" y="16451"/>
                  </a:lnTo>
                  <a:cubicBezTo>
                    <a:pt x="52037" y="16451"/>
                    <a:pt x="0" y="68488"/>
                    <a:pt x="0" y="132680"/>
                  </a:cubicBezTo>
                  <a:lnTo>
                    <a:pt x="0" y="1113555"/>
                  </a:lnTo>
                  <a:lnTo>
                    <a:pt x="64480" y="1114042"/>
                  </a:lnTo>
                  <a:cubicBezTo>
                    <a:pt x="205319" y="1111536"/>
                    <a:pt x="336848" y="1101378"/>
                    <a:pt x="454868" y="1080881"/>
                  </a:cubicBezTo>
                  <a:cubicBezTo>
                    <a:pt x="1399029" y="916907"/>
                    <a:pt x="2160383" y="337815"/>
                    <a:pt x="3051118" y="362862"/>
                  </a:cubicBezTo>
                  <a:cubicBezTo>
                    <a:pt x="3941852" y="387909"/>
                    <a:pt x="4810060" y="1067188"/>
                    <a:pt x="5799277" y="1231162"/>
                  </a:cubicBezTo>
                  <a:cubicBezTo>
                    <a:pt x="6603015" y="1364391"/>
                    <a:pt x="7677767" y="906507"/>
                    <a:pt x="8369560" y="890467"/>
                  </a:cubicBezTo>
                  <a:lnTo>
                    <a:pt x="8469240" y="893480"/>
                  </a:lnTo>
                  <a:lnTo>
                    <a:pt x="8568921" y="890467"/>
                  </a:lnTo>
                  <a:cubicBezTo>
                    <a:pt x="9260713" y="906507"/>
                    <a:pt x="10335898" y="1314863"/>
                    <a:pt x="11139204" y="1231162"/>
                  </a:cubicBezTo>
                  <a:cubicBezTo>
                    <a:pt x="11942510" y="1147461"/>
                    <a:pt x="13154337" y="475394"/>
                    <a:pt x="13388758" y="388261"/>
                  </a:cubicBezTo>
                  <a:lnTo>
                    <a:pt x="15008043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4" name="Freeform 13"/>
            <p:cNvSpPr/>
            <p:nvPr/>
          </p:nvSpPr>
          <p:spPr>
            <a:xfrm flipH="1">
              <a:off x="-38102" y="-38099"/>
              <a:ext cx="4267202" cy="717300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5" name="Freeform 14"/>
            <p:cNvSpPr/>
            <p:nvPr/>
          </p:nvSpPr>
          <p:spPr>
            <a:xfrm flipH="1">
              <a:off x="-38102" y="-38100"/>
              <a:ext cx="4267202" cy="590868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6" name="Freeform 15"/>
            <p:cNvSpPr/>
            <p:nvPr/>
          </p:nvSpPr>
          <p:spPr>
            <a:xfrm flipV="1">
              <a:off x="-38101" y="-38100"/>
              <a:ext cx="4237399" cy="491881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4952" h="2105637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4474952" y="2105637"/>
                  </a:lnTo>
                  <a:cubicBezTo>
                    <a:pt x="12881865" y="1792746"/>
                    <a:pt x="12952984" y="1371126"/>
                    <a:pt x="12192000" y="100387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4037975744"/>
      </p:ext>
    </p:extLst>
  </p:cSld>
  <p:clrMapOvr>
    <a:masterClrMapping/>
  </p:clrMapOvr>
  <p:hf hdr="0" ft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4964159"/>
      </p:ext>
    </p:extLst>
  </p:cSld>
  <p:clrMapOvr>
    <a:masterClrMapping/>
  </p:clrMapOvr>
  <p:hf hdr="0" ft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11850513" y="5"/>
            <a:ext cx="12533490" cy="13715998"/>
          </a:xfrm>
          <a:custGeom>
            <a:avLst/>
            <a:gdLst>
              <a:gd name="connsiteX0" fmla="*/ 1232079 w 6266745"/>
              <a:gd name="connsiteY0" fmla="*/ 0 h 6857999"/>
              <a:gd name="connsiteX1" fmla="*/ 6266745 w 6266745"/>
              <a:gd name="connsiteY1" fmla="*/ 6087 h 6857999"/>
              <a:gd name="connsiteX2" fmla="*/ 6266745 w 6266745"/>
              <a:gd name="connsiteY2" fmla="*/ 6857999 h 6857999"/>
              <a:gd name="connsiteX3" fmla="*/ 1232077 w 6266745"/>
              <a:gd name="connsiteY3" fmla="*/ 6857999 h 6857999"/>
              <a:gd name="connsiteX4" fmla="*/ 1169564 w 6266745"/>
              <a:gd name="connsiteY4" fmla="*/ 6811581 h 6857999"/>
              <a:gd name="connsiteX5" fmla="*/ 1909110 w 6266745"/>
              <a:gd name="connsiteY5" fmla="*/ 5485631 h 6857999"/>
              <a:gd name="connsiteX6" fmla="*/ 16261 w 6266745"/>
              <a:gd name="connsiteY6" fmla="*/ 4137385 h 6857999"/>
              <a:gd name="connsiteX7" fmla="*/ 976698 w 6266745"/>
              <a:gd name="connsiteY7" fmla="*/ 3060228 h 6857999"/>
              <a:gd name="connsiteX8" fmla="*/ 476135 w 6266745"/>
              <a:gd name="connsiteY8" fmla="*/ 2162803 h 6857999"/>
              <a:gd name="connsiteX9" fmla="*/ 1509875 w 6266745"/>
              <a:gd name="connsiteY9" fmla="*/ 1936668 h 6857999"/>
              <a:gd name="connsiteX10" fmla="*/ 1232079 w 6266745"/>
              <a:gd name="connsiteY10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66745" h="6857999">
                <a:moveTo>
                  <a:pt x="1232079" y="0"/>
                </a:moveTo>
                <a:lnTo>
                  <a:pt x="6266745" y="6087"/>
                </a:lnTo>
                <a:lnTo>
                  <a:pt x="6266745" y="6857999"/>
                </a:lnTo>
                <a:lnTo>
                  <a:pt x="1232077" y="6857999"/>
                </a:lnTo>
                <a:lnTo>
                  <a:pt x="1169564" y="6811581"/>
                </a:lnTo>
                <a:cubicBezTo>
                  <a:pt x="951972" y="6553013"/>
                  <a:pt x="2099082" y="5910727"/>
                  <a:pt x="1909110" y="5485631"/>
                </a:cubicBezTo>
                <a:cubicBezTo>
                  <a:pt x="1706474" y="5032195"/>
                  <a:pt x="171663" y="4541619"/>
                  <a:pt x="16261" y="4137385"/>
                </a:cubicBezTo>
                <a:cubicBezTo>
                  <a:pt x="-139142" y="3733152"/>
                  <a:pt x="867819" y="3278353"/>
                  <a:pt x="976698" y="3060228"/>
                </a:cubicBezTo>
                <a:cubicBezTo>
                  <a:pt x="1085578" y="2842103"/>
                  <a:pt x="269716" y="2272865"/>
                  <a:pt x="476135" y="2162803"/>
                </a:cubicBezTo>
                <a:cubicBezTo>
                  <a:pt x="682555" y="2052741"/>
                  <a:pt x="1383885" y="2297136"/>
                  <a:pt x="1509875" y="1936668"/>
                </a:cubicBezTo>
                <a:cubicBezTo>
                  <a:pt x="1635866" y="1576202"/>
                  <a:pt x="725849" y="309170"/>
                  <a:pt x="123207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7670800" cy="51625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9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676400" y="6070602"/>
            <a:ext cx="9855200" cy="62833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 flipH="1">
            <a:off x="-93249" y="11205019"/>
            <a:ext cx="24477246" cy="2540006"/>
            <a:chOff x="-46623" y="5681806"/>
            <a:chExt cx="12238623" cy="1176194"/>
          </a:xfrm>
        </p:grpSpPr>
        <p:sp>
          <p:nvSpPr>
            <p:cNvPr id="12" name="Freeform 11"/>
            <p:cNvSpPr/>
            <p:nvPr/>
          </p:nvSpPr>
          <p:spPr>
            <a:xfrm>
              <a:off x="-46623" y="5843625"/>
              <a:ext cx="12192000" cy="1014375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1416635 h 2491219"/>
                <a:gd name="connsiteX1" fmla="*/ 2772230 w 12192000"/>
                <a:gd name="connsiteY1" fmla="*/ 383918 h 2491219"/>
                <a:gd name="connsiteX2" fmla="*/ 0 w 12192000"/>
                <a:gd name="connsiteY2" fmla="*/ 1416635 h 2491219"/>
                <a:gd name="connsiteX3" fmla="*/ 0 w 12192000"/>
                <a:gd name="connsiteY3" fmla="*/ 2491219 h 2491219"/>
                <a:gd name="connsiteX4" fmla="*/ 12192000 w 12192000"/>
                <a:gd name="connsiteY4" fmla="*/ 2491219 h 2491219"/>
                <a:gd name="connsiteX5" fmla="*/ 12192000 w 12192000"/>
                <a:gd name="connsiteY5" fmla="*/ 1416635 h 2491219"/>
                <a:gd name="connsiteX0" fmla="*/ 12192000 w 12192000"/>
                <a:gd name="connsiteY0" fmla="*/ 1047619 h 2122203"/>
                <a:gd name="connsiteX1" fmla="*/ 2772230 w 12192000"/>
                <a:gd name="connsiteY1" fmla="*/ 14902 h 2122203"/>
                <a:gd name="connsiteX2" fmla="*/ 0 w 12192000"/>
                <a:gd name="connsiteY2" fmla="*/ 1047619 h 2122203"/>
                <a:gd name="connsiteX3" fmla="*/ 0 w 12192000"/>
                <a:gd name="connsiteY3" fmla="*/ 2122203 h 2122203"/>
                <a:gd name="connsiteX4" fmla="*/ 12192000 w 12192000"/>
                <a:gd name="connsiteY4" fmla="*/ 2122203 h 2122203"/>
                <a:gd name="connsiteX5" fmla="*/ 12192000 w 12192000"/>
                <a:gd name="connsiteY5" fmla="*/ 1047619 h 2122203"/>
                <a:gd name="connsiteX0" fmla="*/ 12192000 w 12192000"/>
                <a:gd name="connsiteY0" fmla="*/ 1157066 h 2231650"/>
                <a:gd name="connsiteX1" fmla="*/ 2264230 w 12192000"/>
                <a:gd name="connsiteY1" fmla="*/ 12704 h 2231650"/>
                <a:gd name="connsiteX2" fmla="*/ 0 w 12192000"/>
                <a:gd name="connsiteY2" fmla="*/ 1157066 h 2231650"/>
                <a:gd name="connsiteX3" fmla="*/ 0 w 12192000"/>
                <a:gd name="connsiteY3" fmla="*/ 2231650 h 2231650"/>
                <a:gd name="connsiteX4" fmla="*/ 12192000 w 12192000"/>
                <a:gd name="connsiteY4" fmla="*/ 2231650 h 2231650"/>
                <a:gd name="connsiteX5" fmla="*/ 12192000 w 12192000"/>
                <a:gd name="connsiteY5" fmla="*/ 1157066 h 2231650"/>
                <a:gd name="connsiteX0" fmla="*/ 12192000 w 12192000"/>
                <a:gd name="connsiteY0" fmla="*/ 1453594 h 2528178"/>
                <a:gd name="connsiteX1" fmla="*/ 2264230 w 12192000"/>
                <a:gd name="connsiteY1" fmla="*/ 309232 h 2528178"/>
                <a:gd name="connsiteX2" fmla="*/ 0 w 12192000"/>
                <a:gd name="connsiteY2" fmla="*/ 1453594 h 2528178"/>
                <a:gd name="connsiteX3" fmla="*/ 0 w 12192000"/>
                <a:gd name="connsiteY3" fmla="*/ 2528178 h 2528178"/>
                <a:gd name="connsiteX4" fmla="*/ 12192000 w 12192000"/>
                <a:gd name="connsiteY4" fmla="*/ 2528178 h 2528178"/>
                <a:gd name="connsiteX5" fmla="*/ 12192000 w 12192000"/>
                <a:gd name="connsiteY5" fmla="*/ 1453594 h 2528178"/>
                <a:gd name="connsiteX0" fmla="*/ 12192000 w 12192000"/>
                <a:gd name="connsiteY0" fmla="*/ 1152032 h 2226616"/>
                <a:gd name="connsiteX1" fmla="*/ 2264230 w 12192000"/>
                <a:gd name="connsiteY1" fmla="*/ 7670 h 2226616"/>
                <a:gd name="connsiteX2" fmla="*/ 0 w 12192000"/>
                <a:gd name="connsiteY2" fmla="*/ 1152032 h 2226616"/>
                <a:gd name="connsiteX3" fmla="*/ 0 w 12192000"/>
                <a:gd name="connsiteY3" fmla="*/ 2226616 h 2226616"/>
                <a:gd name="connsiteX4" fmla="*/ 12192000 w 12192000"/>
                <a:gd name="connsiteY4" fmla="*/ 2226616 h 2226616"/>
                <a:gd name="connsiteX5" fmla="*/ 12192000 w 12192000"/>
                <a:gd name="connsiteY5" fmla="*/ 1152032 h 2226616"/>
                <a:gd name="connsiteX0" fmla="*/ 12192000 w 12192000"/>
                <a:gd name="connsiteY0" fmla="*/ 1288113 h 2362697"/>
                <a:gd name="connsiteX1" fmla="*/ 2264230 w 12192000"/>
                <a:gd name="connsiteY1" fmla="*/ 143751 h 2362697"/>
                <a:gd name="connsiteX2" fmla="*/ 0 w 12192000"/>
                <a:gd name="connsiteY2" fmla="*/ 1288113 h 2362697"/>
                <a:gd name="connsiteX3" fmla="*/ 0 w 12192000"/>
                <a:gd name="connsiteY3" fmla="*/ 2362697 h 2362697"/>
                <a:gd name="connsiteX4" fmla="*/ 12192000 w 12192000"/>
                <a:gd name="connsiteY4" fmla="*/ 2362697 h 2362697"/>
                <a:gd name="connsiteX5" fmla="*/ 12192000 w 12192000"/>
                <a:gd name="connsiteY5" fmla="*/ 1288113 h 2362697"/>
                <a:gd name="connsiteX0" fmla="*/ 12192000 w 12192000"/>
                <a:gd name="connsiteY0" fmla="*/ 1270706 h 2345290"/>
                <a:gd name="connsiteX1" fmla="*/ 2264230 w 12192000"/>
                <a:gd name="connsiteY1" fmla="*/ 126344 h 2345290"/>
                <a:gd name="connsiteX2" fmla="*/ 0 w 12192000"/>
                <a:gd name="connsiteY2" fmla="*/ 1270706 h 2345290"/>
                <a:gd name="connsiteX3" fmla="*/ 0 w 12192000"/>
                <a:gd name="connsiteY3" fmla="*/ 2345290 h 2345290"/>
                <a:gd name="connsiteX4" fmla="*/ 12192000 w 12192000"/>
                <a:gd name="connsiteY4" fmla="*/ 2345290 h 2345290"/>
                <a:gd name="connsiteX5" fmla="*/ 12192000 w 12192000"/>
                <a:gd name="connsiteY5" fmla="*/ 1270706 h 2345290"/>
                <a:gd name="connsiteX0" fmla="*/ 12192000 w 12192000"/>
                <a:gd name="connsiteY0" fmla="*/ 1144362 h 2218946"/>
                <a:gd name="connsiteX1" fmla="*/ 2264230 w 12192000"/>
                <a:gd name="connsiteY1" fmla="*/ 0 h 2218946"/>
                <a:gd name="connsiteX2" fmla="*/ 0 w 12192000"/>
                <a:gd name="connsiteY2" fmla="*/ 1144362 h 2218946"/>
                <a:gd name="connsiteX3" fmla="*/ 0 w 12192000"/>
                <a:gd name="connsiteY3" fmla="*/ 2218946 h 2218946"/>
                <a:gd name="connsiteX4" fmla="*/ 12192000 w 12192000"/>
                <a:gd name="connsiteY4" fmla="*/ 2218946 h 2218946"/>
                <a:gd name="connsiteX5" fmla="*/ 12192000 w 12192000"/>
                <a:gd name="connsiteY5" fmla="*/ 1144362 h 2218946"/>
                <a:gd name="connsiteX0" fmla="*/ 12192000 w 12192000"/>
                <a:gd name="connsiteY0" fmla="*/ 1144362 h 2218946"/>
                <a:gd name="connsiteX1" fmla="*/ 2264230 w 12192000"/>
                <a:gd name="connsiteY1" fmla="*/ 0 h 2218946"/>
                <a:gd name="connsiteX2" fmla="*/ 0 w 12192000"/>
                <a:gd name="connsiteY2" fmla="*/ 1144362 h 2218946"/>
                <a:gd name="connsiteX3" fmla="*/ 0 w 12192000"/>
                <a:gd name="connsiteY3" fmla="*/ 2218946 h 2218946"/>
                <a:gd name="connsiteX4" fmla="*/ 12192000 w 12192000"/>
                <a:gd name="connsiteY4" fmla="*/ 2218946 h 2218946"/>
                <a:gd name="connsiteX5" fmla="*/ 12192000 w 12192000"/>
                <a:gd name="connsiteY5" fmla="*/ 1144362 h 2218946"/>
                <a:gd name="connsiteX0" fmla="*/ 12192000 w 12192000"/>
                <a:gd name="connsiteY0" fmla="*/ 1157573 h 2232157"/>
                <a:gd name="connsiteX1" fmla="*/ 2264230 w 12192000"/>
                <a:gd name="connsiteY1" fmla="*/ 13211 h 2232157"/>
                <a:gd name="connsiteX2" fmla="*/ 0 w 12192000"/>
                <a:gd name="connsiteY2" fmla="*/ 1157573 h 2232157"/>
                <a:gd name="connsiteX3" fmla="*/ 0 w 12192000"/>
                <a:gd name="connsiteY3" fmla="*/ 2232157 h 2232157"/>
                <a:gd name="connsiteX4" fmla="*/ 12192000 w 12192000"/>
                <a:gd name="connsiteY4" fmla="*/ 2232157 h 2232157"/>
                <a:gd name="connsiteX5" fmla="*/ 12192000 w 12192000"/>
                <a:gd name="connsiteY5" fmla="*/ 1157573 h 2232157"/>
                <a:gd name="connsiteX0" fmla="*/ 12192000 w 12192000"/>
                <a:gd name="connsiteY0" fmla="*/ 134324 h 1208908"/>
                <a:gd name="connsiteX1" fmla="*/ 0 w 12192000"/>
                <a:gd name="connsiteY1" fmla="*/ 134324 h 1208908"/>
                <a:gd name="connsiteX2" fmla="*/ 0 w 12192000"/>
                <a:gd name="connsiteY2" fmla="*/ 1208908 h 1208908"/>
                <a:gd name="connsiteX3" fmla="*/ 12192000 w 12192000"/>
                <a:gd name="connsiteY3" fmla="*/ 1208908 h 1208908"/>
                <a:gd name="connsiteX4" fmla="*/ 12192000 w 12192000"/>
                <a:gd name="connsiteY4" fmla="*/ 134324 h 1208908"/>
                <a:gd name="connsiteX0" fmla="*/ 12284079 w 12284079"/>
                <a:gd name="connsiteY0" fmla="*/ 114569 h 1189153"/>
                <a:gd name="connsiteX1" fmla="*/ 1285331 w 12284079"/>
                <a:gd name="connsiteY1" fmla="*/ 30832 h 1189153"/>
                <a:gd name="connsiteX2" fmla="*/ 92079 w 12284079"/>
                <a:gd name="connsiteY2" fmla="*/ 114569 h 1189153"/>
                <a:gd name="connsiteX3" fmla="*/ 92079 w 12284079"/>
                <a:gd name="connsiteY3" fmla="*/ 1189153 h 1189153"/>
                <a:gd name="connsiteX4" fmla="*/ 12284079 w 12284079"/>
                <a:gd name="connsiteY4" fmla="*/ 1189153 h 1189153"/>
                <a:gd name="connsiteX5" fmla="*/ 12284079 w 12284079"/>
                <a:gd name="connsiteY5" fmla="*/ 114569 h 1189153"/>
                <a:gd name="connsiteX0" fmla="*/ 12192000 w 12192000"/>
                <a:gd name="connsiteY0" fmla="*/ 614051 h 1688635"/>
                <a:gd name="connsiteX1" fmla="*/ 1672224 w 12192000"/>
                <a:gd name="connsiteY1" fmla="*/ 0 h 1688635"/>
                <a:gd name="connsiteX2" fmla="*/ 0 w 12192000"/>
                <a:gd name="connsiteY2" fmla="*/ 614051 h 1688635"/>
                <a:gd name="connsiteX3" fmla="*/ 0 w 12192000"/>
                <a:gd name="connsiteY3" fmla="*/ 1688635 h 1688635"/>
                <a:gd name="connsiteX4" fmla="*/ 12192000 w 12192000"/>
                <a:gd name="connsiteY4" fmla="*/ 1688635 h 1688635"/>
                <a:gd name="connsiteX5" fmla="*/ 12192000 w 12192000"/>
                <a:gd name="connsiteY5" fmla="*/ 614051 h 1688635"/>
                <a:gd name="connsiteX0" fmla="*/ 12192000 w 12192000"/>
                <a:gd name="connsiteY0" fmla="*/ 865252 h 1939836"/>
                <a:gd name="connsiteX1" fmla="*/ 1991538 w 12192000"/>
                <a:gd name="connsiteY1" fmla="*/ 0 h 1939836"/>
                <a:gd name="connsiteX2" fmla="*/ 0 w 12192000"/>
                <a:gd name="connsiteY2" fmla="*/ 865252 h 1939836"/>
                <a:gd name="connsiteX3" fmla="*/ 0 w 12192000"/>
                <a:gd name="connsiteY3" fmla="*/ 1939836 h 1939836"/>
                <a:gd name="connsiteX4" fmla="*/ 12192000 w 12192000"/>
                <a:gd name="connsiteY4" fmla="*/ 1939836 h 1939836"/>
                <a:gd name="connsiteX5" fmla="*/ 12192000 w 12192000"/>
                <a:gd name="connsiteY5" fmla="*/ 865252 h 1939836"/>
                <a:gd name="connsiteX0" fmla="*/ 12192000 w 12192000"/>
                <a:gd name="connsiteY0" fmla="*/ 876082 h 1950666"/>
                <a:gd name="connsiteX1" fmla="*/ 1991538 w 12192000"/>
                <a:gd name="connsiteY1" fmla="*/ 10830 h 1950666"/>
                <a:gd name="connsiteX2" fmla="*/ 0 w 12192000"/>
                <a:gd name="connsiteY2" fmla="*/ 876082 h 1950666"/>
                <a:gd name="connsiteX3" fmla="*/ 0 w 12192000"/>
                <a:gd name="connsiteY3" fmla="*/ 1950666 h 1950666"/>
                <a:gd name="connsiteX4" fmla="*/ 12192000 w 12192000"/>
                <a:gd name="connsiteY4" fmla="*/ 1950666 h 1950666"/>
                <a:gd name="connsiteX5" fmla="*/ 12192000 w 12192000"/>
                <a:gd name="connsiteY5" fmla="*/ 876082 h 1950666"/>
                <a:gd name="connsiteX0" fmla="*/ 12192000 w 12192000"/>
                <a:gd name="connsiteY0" fmla="*/ 876082 h 1950666"/>
                <a:gd name="connsiteX1" fmla="*/ 1991538 w 12192000"/>
                <a:gd name="connsiteY1" fmla="*/ 10830 h 1950666"/>
                <a:gd name="connsiteX2" fmla="*/ 0 w 12192000"/>
                <a:gd name="connsiteY2" fmla="*/ 876082 h 1950666"/>
                <a:gd name="connsiteX3" fmla="*/ 0 w 12192000"/>
                <a:gd name="connsiteY3" fmla="*/ 1950666 h 1950666"/>
                <a:gd name="connsiteX4" fmla="*/ 12192000 w 12192000"/>
                <a:gd name="connsiteY4" fmla="*/ 1950666 h 1950666"/>
                <a:gd name="connsiteX5" fmla="*/ 12192000 w 12192000"/>
                <a:gd name="connsiteY5" fmla="*/ 876082 h 1950666"/>
                <a:gd name="connsiteX0" fmla="*/ 12192000 w 12192000"/>
                <a:gd name="connsiteY0" fmla="*/ 876082 h 1950666"/>
                <a:gd name="connsiteX1" fmla="*/ 1991538 w 12192000"/>
                <a:gd name="connsiteY1" fmla="*/ 10830 h 1950666"/>
                <a:gd name="connsiteX2" fmla="*/ 0 w 12192000"/>
                <a:gd name="connsiteY2" fmla="*/ 876082 h 1950666"/>
                <a:gd name="connsiteX3" fmla="*/ 0 w 12192000"/>
                <a:gd name="connsiteY3" fmla="*/ 1950666 h 1950666"/>
                <a:gd name="connsiteX4" fmla="*/ 12192000 w 12192000"/>
                <a:gd name="connsiteY4" fmla="*/ 1950666 h 1950666"/>
                <a:gd name="connsiteX5" fmla="*/ 12192000 w 12192000"/>
                <a:gd name="connsiteY5" fmla="*/ 876082 h 195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1950666">
                  <a:moveTo>
                    <a:pt x="12192000" y="876082"/>
                  </a:moveTo>
                  <a:cubicBezTo>
                    <a:pt x="8588132" y="1995707"/>
                    <a:pt x="3921938" y="1099371"/>
                    <a:pt x="1991538" y="10830"/>
                  </a:cubicBezTo>
                  <a:cubicBezTo>
                    <a:pt x="1338395" y="-100815"/>
                    <a:pt x="198875" y="683029"/>
                    <a:pt x="0" y="876082"/>
                  </a:cubicBezTo>
                  <a:lnTo>
                    <a:pt x="0" y="1950666"/>
                  </a:lnTo>
                  <a:lnTo>
                    <a:pt x="12192000" y="1950666"/>
                  </a:lnTo>
                  <a:lnTo>
                    <a:pt x="12192000" y="876082"/>
                  </a:lnTo>
                  <a:close/>
                </a:path>
              </a:pathLst>
            </a:custGeom>
            <a:solidFill>
              <a:schemeClr val="accent2">
                <a:alpha val="2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3" name="Freeform 12"/>
            <p:cNvSpPr/>
            <p:nvPr/>
          </p:nvSpPr>
          <p:spPr>
            <a:xfrm flipH="1">
              <a:off x="0" y="5681806"/>
              <a:ext cx="12192000" cy="1176190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2261837">
                  <a:moveTo>
                    <a:pt x="12192000" y="1187253"/>
                  </a:moveTo>
                  <a:cubicBezTo>
                    <a:pt x="10643810" y="1552425"/>
                    <a:pt x="6473373" y="1522188"/>
                    <a:pt x="4601030" y="433648"/>
                  </a:cubicBezTo>
                  <a:cubicBezTo>
                    <a:pt x="2728687" y="-654892"/>
                    <a:pt x="498324" y="575531"/>
                    <a:pt x="0" y="1187253"/>
                  </a:cubicBezTo>
                  <a:lnTo>
                    <a:pt x="0" y="2261837"/>
                  </a:lnTo>
                  <a:lnTo>
                    <a:pt x="12192000" y="2261837"/>
                  </a:lnTo>
                  <a:lnTo>
                    <a:pt x="12192000" y="1187253"/>
                  </a:lnTo>
                  <a:close/>
                </a:path>
              </a:pathLst>
            </a:custGeom>
            <a:solidFill>
              <a:schemeClr val="accent4"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4" name="Freeform 13"/>
            <p:cNvSpPr/>
            <p:nvPr/>
          </p:nvSpPr>
          <p:spPr>
            <a:xfrm flipH="1">
              <a:off x="-46623" y="5777170"/>
              <a:ext cx="12192000" cy="1080828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2078454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2192000" y="2078454"/>
                  </a:lnTo>
                  <a:lnTo>
                    <a:pt x="12192000" y="1003870"/>
                  </a:ln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3648997974"/>
      </p:ext>
    </p:extLst>
  </p:cSld>
  <p:clrMapOvr>
    <a:masterClrMapping/>
  </p:clrMapOvr>
  <p:hf hdr="0" ftr="0" dt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522929"/>
      </p:ext>
    </p:extLst>
  </p:cSld>
  <p:clrMapOvr>
    <a:masterClrMapping/>
  </p:clrMapOvr>
  <p:hf hdr="0" ftr="0" dt="0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6" name="Group 5"/>
          <p:cNvGrpSpPr/>
          <p:nvPr userDrawn="1"/>
        </p:nvGrpSpPr>
        <p:grpSpPr>
          <a:xfrm flipV="1">
            <a:off x="-4" y="10464796"/>
            <a:ext cx="24384004" cy="3251204"/>
            <a:chOff x="-2" y="-1"/>
            <a:chExt cx="12192002" cy="1625602"/>
          </a:xfrm>
          <a:solidFill>
            <a:schemeClr val="bg1">
              <a:alpha val="6000"/>
            </a:schemeClr>
          </a:solidFill>
        </p:grpSpPr>
        <p:sp>
          <p:nvSpPr>
            <p:cNvPr id="7" name="Freeform 6"/>
            <p:cNvSpPr/>
            <p:nvPr/>
          </p:nvSpPr>
          <p:spPr>
            <a:xfrm>
              <a:off x="-2" y="1"/>
              <a:ext cx="12192000" cy="1625600"/>
            </a:xfrm>
            <a:custGeom>
              <a:avLst/>
              <a:gdLst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881143 h 1238985"/>
                <a:gd name="connsiteX14" fmla="*/ 12192000 w 12192000"/>
                <a:gd name="connsiteY14" fmla="*/ 116229 h 1238985"/>
                <a:gd name="connsiteX15" fmla="*/ 12075771 w 12192000"/>
                <a:gd name="connsiteY15" fmla="*/ 0 h 1238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238985">
                  <a:moveTo>
                    <a:pt x="12075771" y="0"/>
                  </a:moveTo>
                  <a:lnTo>
                    <a:pt x="116229" y="0"/>
                  </a:lnTo>
                  <a:cubicBezTo>
                    <a:pt x="52037" y="0"/>
                    <a:pt x="0" y="52037"/>
                    <a:pt x="0" y="116229"/>
                  </a:cubicBezTo>
                  <a:lnTo>
                    <a:pt x="0" y="1097104"/>
                  </a:lnTo>
                  <a:lnTo>
                    <a:pt x="64480" y="1097591"/>
                  </a:lnTo>
                  <a:cubicBezTo>
                    <a:pt x="205319" y="1095085"/>
                    <a:pt x="336848" y="1084927"/>
                    <a:pt x="454868" y="1064430"/>
                  </a:cubicBezTo>
                  <a:cubicBezTo>
                    <a:pt x="1399029" y="900456"/>
                    <a:pt x="2160383" y="321364"/>
                    <a:pt x="3051118" y="346411"/>
                  </a:cubicBezTo>
                  <a:cubicBezTo>
                    <a:pt x="3941852" y="371458"/>
                    <a:pt x="4810060" y="1050737"/>
                    <a:pt x="5799277" y="1214711"/>
                  </a:cubicBezTo>
                  <a:cubicBezTo>
                    <a:pt x="6603015" y="1347940"/>
                    <a:pt x="7677767" y="890056"/>
                    <a:pt x="8369560" y="874016"/>
                  </a:cubicBezTo>
                  <a:lnTo>
                    <a:pt x="8469240" y="877029"/>
                  </a:lnTo>
                  <a:lnTo>
                    <a:pt x="8568921" y="874016"/>
                  </a:lnTo>
                  <a:cubicBezTo>
                    <a:pt x="9260713" y="890056"/>
                    <a:pt x="10335464" y="1347940"/>
                    <a:pt x="11139204" y="1214711"/>
                  </a:cubicBezTo>
                  <a:cubicBezTo>
                    <a:pt x="11386508" y="1173718"/>
                    <a:pt x="11626249" y="1100518"/>
                    <a:pt x="11860670" y="1013385"/>
                  </a:cubicBezTo>
                  <a:lnTo>
                    <a:pt x="12192000" y="881143"/>
                  </a:lnTo>
                  <a:lnTo>
                    <a:pt x="12192000" y="116229"/>
                  </a:lnTo>
                  <a:cubicBezTo>
                    <a:pt x="12192000" y="52037"/>
                    <a:pt x="12139963" y="0"/>
                    <a:pt x="12075771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8" name="Freeform 7"/>
            <p:cNvSpPr/>
            <p:nvPr/>
          </p:nvSpPr>
          <p:spPr>
            <a:xfrm flipH="1">
              <a:off x="-2" y="0"/>
              <a:ext cx="12192000" cy="1418416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418416">
                  <a:moveTo>
                    <a:pt x="12191319" y="0"/>
                  </a:moveTo>
                  <a:lnTo>
                    <a:pt x="681" y="0"/>
                  </a:lnTo>
                  <a:lnTo>
                    <a:pt x="0" y="4247"/>
                  </a:lnTo>
                  <a:lnTo>
                    <a:pt x="0" y="1239710"/>
                  </a:lnTo>
                  <a:lnTo>
                    <a:pt x="64480" y="1240323"/>
                  </a:lnTo>
                  <a:cubicBezTo>
                    <a:pt x="205319" y="1237167"/>
                    <a:pt x="336848" y="1224372"/>
                    <a:pt x="454868" y="1198555"/>
                  </a:cubicBezTo>
                  <a:cubicBezTo>
                    <a:pt x="1399029" y="992021"/>
                    <a:pt x="2160383" y="262625"/>
                    <a:pt x="3051118" y="294173"/>
                  </a:cubicBezTo>
                  <a:cubicBezTo>
                    <a:pt x="3941852" y="325721"/>
                    <a:pt x="4810060" y="1181308"/>
                    <a:pt x="5799277" y="1387842"/>
                  </a:cubicBezTo>
                  <a:cubicBezTo>
                    <a:pt x="6603015" y="1555651"/>
                    <a:pt x="7677767" y="978922"/>
                    <a:pt x="8369560" y="958719"/>
                  </a:cubicBezTo>
                  <a:lnTo>
                    <a:pt x="8469240" y="962514"/>
                  </a:lnTo>
                  <a:lnTo>
                    <a:pt x="8568921" y="958719"/>
                  </a:lnTo>
                  <a:cubicBezTo>
                    <a:pt x="9260713" y="978922"/>
                    <a:pt x="10335464" y="1555651"/>
                    <a:pt x="11139204" y="1387842"/>
                  </a:cubicBezTo>
                  <a:cubicBezTo>
                    <a:pt x="11386508" y="1336209"/>
                    <a:pt x="11626249" y="1244010"/>
                    <a:pt x="11860670" y="1134261"/>
                  </a:cubicBezTo>
                  <a:lnTo>
                    <a:pt x="12192000" y="967695"/>
                  </a:lnTo>
                  <a:lnTo>
                    <a:pt x="12192000" y="42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9" name="Freeform 8"/>
            <p:cNvSpPr/>
            <p:nvPr/>
          </p:nvSpPr>
          <p:spPr>
            <a:xfrm flipV="1">
              <a:off x="0" y="-1"/>
              <a:ext cx="12192000" cy="1175657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2078454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2192000" y="2078454"/>
                  </a:lnTo>
                  <a:lnTo>
                    <a:pt x="12192000" y="10038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220126" y="-809150"/>
            <a:ext cx="26123712" cy="10232272"/>
          </a:xfrm>
          <a:custGeom>
            <a:avLst/>
            <a:gdLst>
              <a:gd name="connsiteX0" fmla="*/ 11799146 w 13061856"/>
              <a:gd name="connsiteY0" fmla="*/ 5070920 h 5116136"/>
              <a:gd name="connsiteX1" fmla="*/ 11797332 w 13061856"/>
              <a:gd name="connsiteY1" fmla="*/ 5092087 h 5116136"/>
              <a:gd name="connsiteX2" fmla="*/ 11815474 w 13061856"/>
              <a:gd name="connsiteY2" fmla="*/ 5104454 h 5116136"/>
              <a:gd name="connsiteX3" fmla="*/ 11786446 w 13061856"/>
              <a:gd name="connsiteY3" fmla="*/ 5103741 h 5116136"/>
              <a:gd name="connsiteX4" fmla="*/ 11799146 w 13061856"/>
              <a:gd name="connsiteY4" fmla="*/ 5070920 h 5116136"/>
              <a:gd name="connsiteX5" fmla="*/ 11784632 w 13061856"/>
              <a:gd name="connsiteY5" fmla="*/ 4992197 h 5116136"/>
              <a:gd name="connsiteX6" fmla="*/ 11799146 w 13061856"/>
              <a:gd name="connsiteY6" fmla="*/ 4996954 h 5116136"/>
              <a:gd name="connsiteX7" fmla="*/ 11785842 w 13061856"/>
              <a:gd name="connsiteY7" fmla="*/ 5020499 h 5116136"/>
              <a:gd name="connsiteX8" fmla="*/ 11784027 w 13061856"/>
              <a:gd name="connsiteY8" fmla="*/ 4948912 h 5116136"/>
              <a:gd name="connsiteX9" fmla="*/ 11779795 w 13061856"/>
              <a:gd name="connsiteY9" fmla="*/ 4976738 h 5116136"/>
              <a:gd name="connsiteX10" fmla="*/ 11784027 w 13061856"/>
              <a:gd name="connsiteY10" fmla="*/ 4948912 h 5116136"/>
              <a:gd name="connsiteX11" fmla="*/ 9539825 w 13061856"/>
              <a:gd name="connsiteY11" fmla="*/ 4799790 h 5116136"/>
              <a:gd name="connsiteX12" fmla="*/ 9563410 w 13061856"/>
              <a:gd name="connsiteY12" fmla="*/ 4826189 h 5116136"/>
              <a:gd name="connsiteX13" fmla="*/ 9533778 w 13061856"/>
              <a:gd name="connsiteY13" fmla="*/ 4820005 h 5116136"/>
              <a:gd name="connsiteX14" fmla="*/ 9539825 w 13061856"/>
              <a:gd name="connsiteY14" fmla="*/ 4799790 h 5116136"/>
              <a:gd name="connsiteX15" fmla="*/ 9567643 w 13061856"/>
              <a:gd name="connsiteY15" fmla="*/ 4795746 h 5116136"/>
              <a:gd name="connsiteX16" fmla="*/ 9586995 w 13061856"/>
              <a:gd name="connsiteY16" fmla="*/ 4799790 h 5116136"/>
              <a:gd name="connsiteX17" fmla="*/ 9571877 w 13061856"/>
              <a:gd name="connsiteY17" fmla="*/ 4825238 h 5116136"/>
              <a:gd name="connsiteX18" fmla="*/ 9571272 w 13061856"/>
              <a:gd name="connsiteY18" fmla="*/ 4800265 h 5116136"/>
              <a:gd name="connsiteX19" fmla="*/ 9567643 w 13061856"/>
              <a:gd name="connsiteY19" fmla="*/ 4795746 h 5116136"/>
              <a:gd name="connsiteX20" fmla="*/ 7308928 w 13061856"/>
              <a:gd name="connsiteY20" fmla="*/ 4675165 h 5116136"/>
              <a:gd name="connsiteX21" fmla="*/ 7333117 w 13061856"/>
              <a:gd name="connsiteY21" fmla="*/ 4682299 h 5116136"/>
              <a:gd name="connsiteX22" fmla="*/ 7303485 w 13061856"/>
              <a:gd name="connsiteY22" fmla="*/ 4706797 h 5116136"/>
              <a:gd name="connsiteX23" fmla="*/ 7296833 w 13061856"/>
              <a:gd name="connsiteY23" fmla="*/ 4675641 h 5116136"/>
              <a:gd name="connsiteX24" fmla="*/ 7308928 w 13061856"/>
              <a:gd name="connsiteY24" fmla="*/ 4675165 h 5116136"/>
              <a:gd name="connsiteX25" fmla="*/ 9721853 w 13061856"/>
              <a:gd name="connsiteY25" fmla="*/ 4631642 h 5116136"/>
              <a:gd name="connsiteX26" fmla="*/ 9730319 w 13061856"/>
              <a:gd name="connsiteY26" fmla="*/ 4687057 h 5116136"/>
              <a:gd name="connsiteX27" fmla="*/ 9721853 w 13061856"/>
              <a:gd name="connsiteY27" fmla="*/ 4631642 h 5116136"/>
              <a:gd name="connsiteX28" fmla="*/ 9799260 w 13061856"/>
              <a:gd name="connsiteY28" fmla="*/ 4625934 h 5116136"/>
              <a:gd name="connsiteX29" fmla="*/ 9811960 w 13061856"/>
              <a:gd name="connsiteY29" fmla="*/ 4647815 h 5116136"/>
              <a:gd name="connsiteX30" fmla="*/ 9783537 w 13061856"/>
              <a:gd name="connsiteY30" fmla="*/ 4655425 h 5116136"/>
              <a:gd name="connsiteX31" fmla="*/ 9782932 w 13061856"/>
              <a:gd name="connsiteY31" fmla="*/ 4629738 h 5116136"/>
              <a:gd name="connsiteX32" fmla="*/ 9799260 w 13061856"/>
              <a:gd name="connsiteY32" fmla="*/ 4625934 h 5116136"/>
              <a:gd name="connsiteX33" fmla="*/ 9574900 w 13061856"/>
              <a:gd name="connsiteY33" fmla="*/ 4604290 h 5116136"/>
              <a:gd name="connsiteX34" fmla="*/ 9555548 w 13061856"/>
              <a:gd name="connsiteY34" fmla="*/ 4642581 h 5116136"/>
              <a:gd name="connsiteX35" fmla="*/ 9574900 w 13061856"/>
              <a:gd name="connsiteY35" fmla="*/ 4604290 h 5116136"/>
              <a:gd name="connsiteX36" fmla="*/ 11205893 w 13061856"/>
              <a:gd name="connsiteY36" fmla="*/ 4574323 h 5116136"/>
              <a:gd name="connsiteX37" fmla="*/ 11212545 w 13061856"/>
              <a:gd name="connsiteY37" fmla="*/ 4593350 h 5116136"/>
              <a:gd name="connsiteX38" fmla="*/ 11193798 w 13061856"/>
              <a:gd name="connsiteY38" fmla="*/ 4575512 h 5116136"/>
              <a:gd name="connsiteX39" fmla="*/ 10449964 w 13061856"/>
              <a:gd name="connsiteY39" fmla="*/ 4548875 h 5116136"/>
              <a:gd name="connsiteX40" fmla="*/ 10425170 w 13061856"/>
              <a:gd name="connsiteY40" fmla="*/ 4572658 h 5116136"/>
              <a:gd name="connsiteX41" fmla="*/ 10449964 w 13061856"/>
              <a:gd name="connsiteY41" fmla="*/ 4548875 h 5116136"/>
              <a:gd name="connsiteX42" fmla="*/ 10087722 w 13061856"/>
              <a:gd name="connsiteY42" fmla="*/ 4498217 h 5116136"/>
              <a:gd name="connsiteX43" fmla="*/ 10058090 w 13061856"/>
              <a:gd name="connsiteY43" fmla="*/ 4521287 h 5116136"/>
              <a:gd name="connsiteX44" fmla="*/ 10087722 w 13061856"/>
              <a:gd name="connsiteY44" fmla="*/ 4498217 h 5116136"/>
              <a:gd name="connsiteX45" fmla="*/ 11221011 w 13061856"/>
              <a:gd name="connsiteY45" fmla="*/ 4495838 h 5116136"/>
              <a:gd name="connsiteX46" fmla="*/ 11245806 w 13061856"/>
              <a:gd name="connsiteY46" fmla="*/ 4534605 h 5116136"/>
              <a:gd name="connsiteX47" fmla="*/ 11221011 w 13061856"/>
              <a:gd name="connsiteY47" fmla="*/ 4495838 h 5116136"/>
              <a:gd name="connsiteX48" fmla="*/ 10880541 w 13061856"/>
              <a:gd name="connsiteY48" fmla="*/ 4480855 h 5116136"/>
              <a:gd name="connsiteX49" fmla="*/ 10905336 w 13061856"/>
              <a:gd name="connsiteY49" fmla="*/ 4481331 h 5116136"/>
              <a:gd name="connsiteX50" fmla="*/ 10942829 w 13061856"/>
              <a:gd name="connsiteY50" fmla="*/ 4502736 h 5116136"/>
              <a:gd name="connsiteX51" fmla="*/ 10862399 w 13061856"/>
              <a:gd name="connsiteY51" fmla="*/ 4484898 h 5116136"/>
              <a:gd name="connsiteX52" fmla="*/ 10880541 w 13061856"/>
              <a:gd name="connsiteY52" fmla="*/ 4480855 h 5116136"/>
              <a:gd name="connsiteX53" fmla="*/ 11144814 w 13061856"/>
              <a:gd name="connsiteY53" fmla="*/ 4447321 h 5116136"/>
              <a:gd name="connsiteX54" fmla="*/ 11157514 w 13061856"/>
              <a:gd name="connsiteY54" fmla="*/ 4478001 h 5116136"/>
              <a:gd name="connsiteX55" fmla="*/ 11140580 w 13061856"/>
              <a:gd name="connsiteY55" fmla="*/ 4467536 h 5116136"/>
              <a:gd name="connsiteX56" fmla="*/ 11139371 w 13061856"/>
              <a:gd name="connsiteY56" fmla="*/ 4448986 h 5116136"/>
              <a:gd name="connsiteX57" fmla="*/ 11144814 w 13061856"/>
              <a:gd name="connsiteY57" fmla="*/ 4447321 h 5116136"/>
              <a:gd name="connsiteX58" fmla="*/ 10032691 w 13061856"/>
              <a:gd name="connsiteY58" fmla="*/ 4440423 h 5116136"/>
              <a:gd name="connsiteX59" fmla="*/ 10009106 w 13061856"/>
              <a:gd name="connsiteY59" fmla="*/ 4449462 h 5116136"/>
              <a:gd name="connsiteX60" fmla="*/ 10074418 w 13061856"/>
              <a:gd name="connsiteY60" fmla="*/ 4461828 h 5116136"/>
              <a:gd name="connsiteX61" fmla="*/ 10032691 w 13061856"/>
              <a:gd name="connsiteY61" fmla="*/ 4440423 h 5116136"/>
              <a:gd name="connsiteX62" fmla="*/ 10379209 w 13061856"/>
              <a:gd name="connsiteY62" fmla="*/ 4385960 h 5116136"/>
              <a:gd name="connsiteX63" fmla="*/ 10368928 w 13061856"/>
              <a:gd name="connsiteY63" fmla="*/ 4401657 h 5116136"/>
              <a:gd name="connsiteX64" fmla="*/ 10384652 w 13061856"/>
              <a:gd name="connsiteY64" fmla="*/ 4424014 h 5116136"/>
              <a:gd name="connsiteX65" fmla="*/ 10287287 w 13061856"/>
              <a:gd name="connsiteY65" fmla="*/ 4394760 h 5116136"/>
              <a:gd name="connsiteX66" fmla="*/ 10353810 w 13061856"/>
              <a:gd name="connsiteY66" fmla="*/ 4407365 h 5116136"/>
              <a:gd name="connsiteX67" fmla="*/ 10379209 w 13061856"/>
              <a:gd name="connsiteY67" fmla="*/ 4385960 h 5116136"/>
              <a:gd name="connsiteX68" fmla="*/ 10429402 w 13061856"/>
              <a:gd name="connsiteY68" fmla="*/ 4379063 h 5116136"/>
              <a:gd name="connsiteX69" fmla="*/ 10404608 w 13061856"/>
              <a:gd name="connsiteY69" fmla="*/ 4420208 h 5116136"/>
              <a:gd name="connsiteX70" fmla="*/ 10429402 w 13061856"/>
              <a:gd name="connsiteY70" fmla="*/ 4379063 h 5116136"/>
              <a:gd name="connsiteX71" fmla="*/ 10861189 w 13061856"/>
              <a:gd name="connsiteY71" fmla="*/ 4370977 h 5116136"/>
              <a:gd name="connsiteX72" fmla="*/ 10937387 w 13061856"/>
              <a:gd name="connsiteY72" fmla="*/ 4389051 h 5116136"/>
              <a:gd name="connsiteX73" fmla="*/ 10886589 w 13061856"/>
              <a:gd name="connsiteY73" fmla="*/ 4400468 h 5116136"/>
              <a:gd name="connsiteX74" fmla="*/ 10861189 w 13061856"/>
              <a:gd name="connsiteY74" fmla="*/ 4370977 h 5116136"/>
              <a:gd name="connsiteX75" fmla="*/ 10284869 w 13061856"/>
              <a:gd name="connsiteY75" fmla="*/ 4335539 h 5116136"/>
              <a:gd name="connsiteX76" fmla="*/ 10318734 w 13061856"/>
              <a:gd name="connsiteY76" fmla="*/ 4365268 h 5116136"/>
              <a:gd name="connsiteX77" fmla="*/ 10281845 w 13061856"/>
              <a:gd name="connsiteY77" fmla="*/ 4359560 h 5116136"/>
              <a:gd name="connsiteX78" fmla="*/ 10275193 w 13061856"/>
              <a:gd name="connsiteY78" fmla="*/ 4370977 h 5116136"/>
              <a:gd name="connsiteX79" fmla="*/ 10267936 w 13061856"/>
              <a:gd name="connsiteY79" fmla="*/ 4364793 h 5116136"/>
              <a:gd name="connsiteX80" fmla="*/ 10248585 w 13061856"/>
              <a:gd name="connsiteY80" fmla="*/ 4347907 h 5116136"/>
              <a:gd name="connsiteX81" fmla="*/ 10264307 w 13061856"/>
              <a:gd name="connsiteY81" fmla="*/ 4354804 h 5116136"/>
              <a:gd name="connsiteX82" fmla="*/ 10284869 w 13061856"/>
              <a:gd name="connsiteY82" fmla="*/ 4335539 h 5116136"/>
              <a:gd name="connsiteX83" fmla="*/ 7472813 w 13061856"/>
              <a:gd name="connsiteY83" fmla="*/ 4334588 h 5116136"/>
              <a:gd name="connsiteX84" fmla="*/ 7475836 w 13061856"/>
              <a:gd name="connsiteY84" fmla="*/ 4408554 h 5116136"/>
              <a:gd name="connsiteX85" fmla="*/ 7374240 w 13061856"/>
              <a:gd name="connsiteY85" fmla="*/ 4404035 h 5116136"/>
              <a:gd name="connsiteX86" fmla="*/ 7223659 w 13061856"/>
              <a:gd name="connsiteY86" fmla="*/ 4384771 h 5116136"/>
              <a:gd name="connsiteX87" fmla="*/ 7158952 w 13061856"/>
              <a:gd name="connsiteY87" fmla="*/ 4361701 h 5116136"/>
              <a:gd name="connsiteX88" fmla="*/ 7259943 w 13061856"/>
              <a:gd name="connsiteY88" fmla="*/ 4368123 h 5116136"/>
              <a:gd name="connsiteX89" fmla="*/ 7255710 w 13061856"/>
              <a:gd name="connsiteY89" fmla="*/ 4355993 h 5116136"/>
              <a:gd name="connsiteX90" fmla="*/ 7355493 w 13061856"/>
              <a:gd name="connsiteY90" fmla="*/ 4356468 h 5116136"/>
              <a:gd name="connsiteX91" fmla="*/ 7345817 w 13061856"/>
              <a:gd name="connsiteY91" fmla="*/ 4351235 h 5116136"/>
              <a:gd name="connsiteX92" fmla="*/ 7472813 w 13061856"/>
              <a:gd name="connsiteY92" fmla="*/ 4334588 h 5116136"/>
              <a:gd name="connsiteX93" fmla="*/ 5491675 w 13061856"/>
              <a:gd name="connsiteY93" fmla="*/ 4332685 h 5116136"/>
              <a:gd name="connsiteX94" fmla="*/ 5480185 w 13061856"/>
              <a:gd name="connsiteY94" fmla="*/ 4342199 h 5116136"/>
              <a:gd name="connsiteX95" fmla="*/ 5504375 w 13061856"/>
              <a:gd name="connsiteY95" fmla="*/ 4337917 h 5116136"/>
              <a:gd name="connsiteX96" fmla="*/ 5491675 w 13061856"/>
              <a:gd name="connsiteY96" fmla="*/ 4332685 h 5116136"/>
              <a:gd name="connsiteX97" fmla="*/ 8552279 w 13061856"/>
              <a:gd name="connsiteY97" fmla="*/ 4318416 h 5116136"/>
              <a:gd name="connsiteX98" fmla="*/ 8592797 w 13061856"/>
              <a:gd name="connsiteY98" fmla="*/ 4320079 h 5116136"/>
              <a:gd name="connsiteX99" fmla="*/ 8592797 w 13061856"/>
              <a:gd name="connsiteY99" fmla="*/ 4326026 h 5116136"/>
              <a:gd name="connsiteX100" fmla="*/ 8705884 w 13061856"/>
              <a:gd name="connsiteY100" fmla="*/ 4349572 h 5116136"/>
              <a:gd name="connsiteX101" fmla="*/ 8587960 w 13061856"/>
              <a:gd name="connsiteY101" fmla="*/ 4362890 h 5116136"/>
              <a:gd name="connsiteX102" fmla="*/ 8581912 w 13061856"/>
              <a:gd name="connsiteY102" fmla="*/ 4345053 h 5116136"/>
              <a:gd name="connsiteX103" fmla="*/ 8528090 w 13061856"/>
              <a:gd name="connsiteY103" fmla="*/ 4326502 h 5116136"/>
              <a:gd name="connsiteX104" fmla="*/ 8552279 w 13061856"/>
              <a:gd name="connsiteY104" fmla="*/ 4318416 h 5116136"/>
              <a:gd name="connsiteX105" fmla="*/ 10590265 w 13061856"/>
              <a:gd name="connsiteY105" fmla="*/ 4306761 h 5116136"/>
              <a:gd name="connsiteX106" fmla="*/ 10610825 w 13061856"/>
              <a:gd name="connsiteY106" fmla="*/ 4331258 h 5116136"/>
              <a:gd name="connsiteX107" fmla="*/ 10598126 w 13061856"/>
              <a:gd name="connsiteY107" fmla="*/ 4337917 h 5116136"/>
              <a:gd name="connsiteX108" fmla="*/ 10590265 w 13061856"/>
              <a:gd name="connsiteY108" fmla="*/ 4306761 h 5116136"/>
              <a:gd name="connsiteX109" fmla="*/ 5736596 w 13061856"/>
              <a:gd name="connsiteY109" fmla="*/ 4304383 h 5116136"/>
              <a:gd name="connsiteX110" fmla="*/ 5691239 w 13061856"/>
              <a:gd name="connsiteY110" fmla="*/ 4308664 h 5116136"/>
              <a:gd name="connsiteX111" fmla="*/ 5694263 w 13061856"/>
              <a:gd name="connsiteY111" fmla="*/ 4332685 h 5116136"/>
              <a:gd name="connsiteX112" fmla="*/ 5698497 w 13061856"/>
              <a:gd name="connsiteY112" fmla="*/ 4339345 h 5116136"/>
              <a:gd name="connsiteX113" fmla="*/ 5736596 w 13061856"/>
              <a:gd name="connsiteY113" fmla="*/ 4304383 h 5116136"/>
              <a:gd name="connsiteX114" fmla="*/ 11069825 w 13061856"/>
              <a:gd name="connsiteY114" fmla="*/ 4300578 h 5116136"/>
              <a:gd name="connsiteX115" fmla="*/ 11073454 w 13061856"/>
              <a:gd name="connsiteY115" fmla="*/ 4304383 h 5116136"/>
              <a:gd name="connsiteX116" fmla="*/ 11060150 w 13061856"/>
              <a:gd name="connsiteY116" fmla="*/ 4340771 h 5116136"/>
              <a:gd name="connsiteX117" fmla="*/ 11066802 w 13061856"/>
              <a:gd name="connsiteY117" fmla="*/ 4301053 h 5116136"/>
              <a:gd name="connsiteX118" fmla="*/ 11069825 w 13061856"/>
              <a:gd name="connsiteY118" fmla="*/ 4300578 h 5116136"/>
              <a:gd name="connsiteX119" fmla="*/ 5592667 w 13061856"/>
              <a:gd name="connsiteY119" fmla="*/ 4300578 h 5116136"/>
              <a:gd name="connsiteX120" fmla="*/ 5548520 w 13061856"/>
              <a:gd name="connsiteY120" fmla="*/ 4326026 h 5116136"/>
              <a:gd name="connsiteX121" fmla="*/ 5638023 w 13061856"/>
              <a:gd name="connsiteY121" fmla="*/ 4313658 h 5116136"/>
              <a:gd name="connsiteX122" fmla="*/ 5592667 w 13061856"/>
              <a:gd name="connsiteY122" fmla="*/ 4300578 h 5116136"/>
              <a:gd name="connsiteX123" fmla="*/ 10285473 w 13061856"/>
              <a:gd name="connsiteY123" fmla="*/ 4299389 h 5116136"/>
              <a:gd name="connsiteX124" fmla="*/ 10283659 w 13061856"/>
              <a:gd name="connsiteY124" fmla="*/ 4331734 h 5116136"/>
              <a:gd name="connsiteX125" fmla="*/ 10224394 w 13061856"/>
              <a:gd name="connsiteY125" fmla="*/ 4324598 h 5116136"/>
              <a:gd name="connsiteX126" fmla="*/ 10285473 w 13061856"/>
              <a:gd name="connsiteY126" fmla="*/ 4299389 h 5116136"/>
              <a:gd name="connsiteX127" fmla="*/ 9501122 w 13061856"/>
              <a:gd name="connsiteY127" fmla="*/ 4298674 h 5116136"/>
              <a:gd name="connsiteX128" fmla="*/ 9488422 w 13061856"/>
              <a:gd name="connsiteY128" fmla="*/ 4317940 h 5116136"/>
              <a:gd name="connsiteX129" fmla="*/ 9517450 w 13061856"/>
              <a:gd name="connsiteY129" fmla="*/ 4312707 h 5116136"/>
              <a:gd name="connsiteX130" fmla="*/ 9501122 w 13061856"/>
              <a:gd name="connsiteY130" fmla="*/ 4298674 h 5116136"/>
              <a:gd name="connsiteX131" fmla="*/ 6715674 w 13061856"/>
              <a:gd name="connsiteY131" fmla="*/ 4294155 h 5116136"/>
              <a:gd name="connsiteX132" fmla="*/ 6698137 w 13061856"/>
              <a:gd name="connsiteY132" fmla="*/ 4311993 h 5116136"/>
              <a:gd name="connsiteX133" fmla="*/ 6816062 w 13061856"/>
              <a:gd name="connsiteY133" fmla="*/ 4335539 h 5116136"/>
              <a:gd name="connsiteX134" fmla="*/ 6764054 w 13061856"/>
              <a:gd name="connsiteY134" fmla="*/ 4335063 h 5116136"/>
              <a:gd name="connsiteX135" fmla="*/ 6670319 w 13061856"/>
              <a:gd name="connsiteY135" fmla="*/ 4346718 h 5116136"/>
              <a:gd name="connsiteX136" fmla="*/ 6642501 w 13061856"/>
              <a:gd name="connsiteY136" fmla="*/ 4328880 h 5116136"/>
              <a:gd name="connsiteX137" fmla="*/ 6474988 w 13061856"/>
              <a:gd name="connsiteY137" fmla="*/ 4334112 h 5116136"/>
              <a:gd name="connsiteX138" fmla="*/ 6488895 w 13061856"/>
              <a:gd name="connsiteY138" fmla="*/ 4344338 h 5116136"/>
              <a:gd name="connsiteX139" fmla="*/ 6401208 w 13061856"/>
              <a:gd name="connsiteY139" fmla="*/ 4339345 h 5116136"/>
              <a:gd name="connsiteX140" fmla="*/ 6433865 w 13061856"/>
              <a:gd name="connsiteY140" fmla="*/ 4310804 h 5116136"/>
              <a:gd name="connsiteX141" fmla="*/ 6665480 w 13061856"/>
              <a:gd name="connsiteY141" fmla="*/ 4305572 h 5116136"/>
              <a:gd name="connsiteX142" fmla="*/ 6715674 w 13061856"/>
              <a:gd name="connsiteY142" fmla="*/ 4294155 h 5116136"/>
              <a:gd name="connsiteX143" fmla="*/ 4716394 w 13061856"/>
              <a:gd name="connsiteY143" fmla="*/ 4262999 h 5116136"/>
              <a:gd name="connsiteX144" fmla="*/ 4663176 w 13061856"/>
              <a:gd name="connsiteY144" fmla="*/ 4303907 h 5116136"/>
              <a:gd name="connsiteX145" fmla="*/ 4707323 w 13061856"/>
              <a:gd name="connsiteY145" fmla="*/ 4287734 h 5116136"/>
              <a:gd name="connsiteX146" fmla="*/ 4716394 w 13061856"/>
              <a:gd name="connsiteY146" fmla="*/ 4262999 h 5116136"/>
              <a:gd name="connsiteX147" fmla="*/ 11636470 w 13061856"/>
              <a:gd name="connsiteY147" fmla="*/ 4261810 h 5116136"/>
              <a:gd name="connsiteX148" fmla="*/ 11664289 w 13061856"/>
              <a:gd name="connsiteY148" fmla="*/ 4288210 h 5116136"/>
              <a:gd name="connsiteX149" fmla="*/ 11636470 w 13061856"/>
              <a:gd name="connsiteY149" fmla="*/ 4261810 h 5116136"/>
              <a:gd name="connsiteX150" fmla="*/ 4888746 w 13061856"/>
              <a:gd name="connsiteY150" fmla="*/ 4259908 h 5116136"/>
              <a:gd name="connsiteX151" fmla="*/ 4883908 w 13061856"/>
              <a:gd name="connsiteY151" fmla="*/ 4269183 h 5116136"/>
              <a:gd name="connsiteX152" fmla="*/ 4905074 w 13061856"/>
              <a:gd name="connsiteY152" fmla="*/ 4271086 h 5116136"/>
              <a:gd name="connsiteX153" fmla="*/ 4888746 w 13061856"/>
              <a:gd name="connsiteY153" fmla="*/ 4259908 h 5116136"/>
              <a:gd name="connsiteX154" fmla="*/ 11690897 w 13061856"/>
              <a:gd name="connsiteY154" fmla="*/ 4259432 h 5116136"/>
              <a:gd name="connsiteX155" fmla="*/ 11681221 w 13061856"/>
              <a:gd name="connsiteY155" fmla="*/ 4273940 h 5116136"/>
              <a:gd name="connsiteX156" fmla="*/ 11715691 w 13061856"/>
              <a:gd name="connsiteY156" fmla="*/ 4262999 h 5116136"/>
              <a:gd name="connsiteX157" fmla="*/ 11690897 w 13061856"/>
              <a:gd name="connsiteY157" fmla="*/ 4259432 h 5116136"/>
              <a:gd name="connsiteX158" fmla="*/ 4831295 w 13061856"/>
              <a:gd name="connsiteY158" fmla="*/ 4259195 h 5116136"/>
              <a:gd name="connsiteX159" fmla="*/ 4830085 w 13061856"/>
              <a:gd name="connsiteY159" fmla="*/ 4282502 h 5116136"/>
              <a:gd name="connsiteX160" fmla="*/ 4831295 w 13061856"/>
              <a:gd name="connsiteY160" fmla="*/ 4259195 h 5116136"/>
              <a:gd name="connsiteX161" fmla="*/ 10503181 w 13061856"/>
              <a:gd name="connsiteY161" fmla="*/ 4256578 h 5116136"/>
              <a:gd name="connsiteX162" fmla="*/ 10497134 w 13061856"/>
              <a:gd name="connsiteY162" fmla="*/ 4273940 h 5116136"/>
              <a:gd name="connsiteX163" fmla="*/ 10535837 w 13061856"/>
              <a:gd name="connsiteY163" fmla="*/ 4269183 h 5116136"/>
              <a:gd name="connsiteX164" fmla="*/ 10503181 w 13061856"/>
              <a:gd name="connsiteY164" fmla="*/ 4256578 h 5116136"/>
              <a:gd name="connsiteX165" fmla="*/ 8993741 w 13061856"/>
              <a:gd name="connsiteY165" fmla="*/ 4256578 h 5116136"/>
              <a:gd name="connsiteX166" fmla="*/ 9016118 w 13061856"/>
              <a:gd name="connsiteY166" fmla="*/ 4256578 h 5116136"/>
              <a:gd name="connsiteX167" fmla="*/ 8978623 w 13061856"/>
              <a:gd name="connsiteY167" fmla="*/ 4263951 h 5116136"/>
              <a:gd name="connsiteX168" fmla="*/ 8993741 w 13061856"/>
              <a:gd name="connsiteY168" fmla="*/ 4256578 h 5116136"/>
              <a:gd name="connsiteX169" fmla="*/ 4821619 w 13061856"/>
              <a:gd name="connsiteY169" fmla="*/ 4252773 h 5116136"/>
              <a:gd name="connsiteX170" fmla="*/ 4822224 w 13061856"/>
              <a:gd name="connsiteY170" fmla="*/ 4257767 h 5116136"/>
              <a:gd name="connsiteX171" fmla="*/ 4831295 w 13061856"/>
              <a:gd name="connsiteY171" fmla="*/ 4258956 h 5116136"/>
              <a:gd name="connsiteX172" fmla="*/ 4824642 w 13061856"/>
              <a:gd name="connsiteY172" fmla="*/ 4253249 h 5116136"/>
              <a:gd name="connsiteX173" fmla="*/ 4821619 w 13061856"/>
              <a:gd name="connsiteY173" fmla="*/ 4252773 h 5116136"/>
              <a:gd name="connsiteX174" fmla="*/ 5101012 w 13061856"/>
              <a:gd name="connsiteY174" fmla="*/ 4248016 h 5116136"/>
              <a:gd name="connsiteX175" fmla="*/ 5085892 w 13061856"/>
              <a:gd name="connsiteY175" fmla="*/ 4260621 h 5116136"/>
              <a:gd name="connsiteX176" fmla="*/ 5120361 w 13061856"/>
              <a:gd name="connsiteY176" fmla="*/ 4253724 h 5116136"/>
              <a:gd name="connsiteX177" fmla="*/ 5101012 w 13061856"/>
              <a:gd name="connsiteY177" fmla="*/ 4248016 h 5116136"/>
              <a:gd name="connsiteX178" fmla="*/ 4659548 w 13061856"/>
              <a:gd name="connsiteY178" fmla="*/ 4246113 h 5116136"/>
              <a:gd name="connsiteX179" fmla="*/ 4631729 w 13061856"/>
              <a:gd name="connsiteY179" fmla="*/ 4263475 h 5116136"/>
              <a:gd name="connsiteX180" fmla="*/ 4650478 w 13061856"/>
              <a:gd name="connsiteY180" fmla="*/ 4274891 h 5116136"/>
              <a:gd name="connsiteX181" fmla="*/ 4659548 w 13061856"/>
              <a:gd name="connsiteY181" fmla="*/ 4246113 h 5116136"/>
              <a:gd name="connsiteX182" fmla="*/ 5067144 w 13061856"/>
              <a:gd name="connsiteY182" fmla="*/ 4238027 h 5116136"/>
              <a:gd name="connsiteX183" fmla="*/ 5057469 w 13061856"/>
              <a:gd name="connsiteY183" fmla="*/ 4254200 h 5116136"/>
              <a:gd name="connsiteX184" fmla="*/ 5076820 w 13061856"/>
              <a:gd name="connsiteY184" fmla="*/ 4254200 h 5116136"/>
              <a:gd name="connsiteX185" fmla="*/ 5067144 w 13061856"/>
              <a:gd name="connsiteY185" fmla="*/ 4238027 h 5116136"/>
              <a:gd name="connsiteX186" fmla="*/ 11037774 w 13061856"/>
              <a:gd name="connsiteY186" fmla="*/ 4222330 h 5116136"/>
              <a:gd name="connsiteX187" fmla="*/ 11066802 w 13061856"/>
              <a:gd name="connsiteY187" fmla="*/ 4241357 h 5116136"/>
              <a:gd name="connsiteX188" fmla="*/ 11063174 w 13061856"/>
              <a:gd name="connsiteY188" fmla="*/ 4271561 h 5116136"/>
              <a:gd name="connsiteX189" fmla="*/ 11048054 w 13061856"/>
              <a:gd name="connsiteY189" fmla="*/ 4290588 h 5116136"/>
              <a:gd name="connsiteX190" fmla="*/ 11023260 w 13061856"/>
              <a:gd name="connsiteY190" fmla="*/ 4278697 h 5116136"/>
              <a:gd name="connsiteX191" fmla="*/ 11037774 w 13061856"/>
              <a:gd name="connsiteY191" fmla="*/ 4222330 h 5116136"/>
              <a:gd name="connsiteX192" fmla="*/ 10488668 w 13061856"/>
              <a:gd name="connsiteY192" fmla="*/ 4219476 h 5116136"/>
              <a:gd name="connsiteX193" fmla="*/ 10453592 w 13061856"/>
              <a:gd name="connsiteY193" fmla="*/ 4232319 h 5116136"/>
              <a:gd name="connsiteX194" fmla="*/ 10481410 w 13061856"/>
              <a:gd name="connsiteY194" fmla="*/ 4256578 h 5116136"/>
              <a:gd name="connsiteX195" fmla="*/ 10488668 w 13061856"/>
              <a:gd name="connsiteY195" fmla="*/ 4219476 h 5116136"/>
              <a:gd name="connsiteX196" fmla="*/ 4807710 w 13061856"/>
              <a:gd name="connsiteY196" fmla="*/ 4212103 h 5116136"/>
              <a:gd name="connsiteX197" fmla="*/ 4797430 w 13061856"/>
              <a:gd name="connsiteY197" fmla="*/ 4224233 h 5116136"/>
              <a:gd name="connsiteX198" fmla="*/ 4827061 w 13061856"/>
              <a:gd name="connsiteY198" fmla="*/ 4212579 h 5116136"/>
              <a:gd name="connsiteX199" fmla="*/ 4807710 w 13061856"/>
              <a:gd name="connsiteY199" fmla="*/ 4212103 h 5116136"/>
              <a:gd name="connsiteX200" fmla="*/ 4608749 w 13061856"/>
              <a:gd name="connsiteY200" fmla="*/ 4209725 h 5116136"/>
              <a:gd name="connsiteX201" fmla="*/ 4588793 w 13061856"/>
              <a:gd name="connsiteY201" fmla="*/ 4216146 h 5116136"/>
              <a:gd name="connsiteX202" fmla="*/ 4592421 w 13061856"/>
              <a:gd name="connsiteY202" fmla="*/ 4240405 h 5116136"/>
              <a:gd name="connsiteX203" fmla="*/ 4606936 w 13061856"/>
              <a:gd name="connsiteY203" fmla="*/ 4239929 h 5116136"/>
              <a:gd name="connsiteX204" fmla="*/ 4608749 w 13061856"/>
              <a:gd name="connsiteY204" fmla="*/ 4209725 h 5116136"/>
              <a:gd name="connsiteX205" fmla="*/ 11398201 w 13061856"/>
              <a:gd name="connsiteY205" fmla="*/ 4204493 h 5116136"/>
              <a:gd name="connsiteX206" fmla="*/ 11453837 w 13061856"/>
              <a:gd name="connsiteY206" fmla="*/ 4259908 h 5116136"/>
              <a:gd name="connsiteX207" fmla="*/ 11429648 w 13061856"/>
              <a:gd name="connsiteY207" fmla="*/ 4217335 h 5116136"/>
              <a:gd name="connsiteX208" fmla="*/ 11459280 w 13061856"/>
              <a:gd name="connsiteY208" fmla="*/ 4254200 h 5116136"/>
              <a:gd name="connsiteX209" fmla="*/ 11529431 w 13061856"/>
              <a:gd name="connsiteY209" fmla="*/ 4266329 h 5116136"/>
              <a:gd name="connsiteX210" fmla="*/ 11489518 w 13061856"/>
              <a:gd name="connsiteY210" fmla="*/ 4279648 h 5116136"/>
              <a:gd name="connsiteX211" fmla="*/ 11498589 w 13061856"/>
              <a:gd name="connsiteY211" fmla="*/ 4329355 h 5116136"/>
              <a:gd name="connsiteX212" fmla="*/ 11458071 w 13061856"/>
              <a:gd name="connsiteY212" fmla="*/ 4272750 h 5116136"/>
              <a:gd name="connsiteX213" fmla="*/ 11439324 w 13061856"/>
              <a:gd name="connsiteY213" fmla="*/ 4303907 h 5116136"/>
              <a:gd name="connsiteX214" fmla="*/ 11392153 w 13061856"/>
              <a:gd name="connsiteY214" fmla="*/ 4273465 h 5116136"/>
              <a:gd name="connsiteX215" fmla="*/ 11408482 w 13061856"/>
              <a:gd name="connsiteY215" fmla="*/ 4248016 h 5116136"/>
              <a:gd name="connsiteX216" fmla="*/ 11359497 w 13061856"/>
              <a:gd name="connsiteY216" fmla="*/ 4248016 h 5116136"/>
              <a:gd name="connsiteX217" fmla="*/ 11398201 w 13061856"/>
              <a:gd name="connsiteY217" fmla="*/ 4204493 h 5116136"/>
              <a:gd name="connsiteX218" fmla="*/ 4754492 w 13061856"/>
              <a:gd name="connsiteY218" fmla="*/ 4199023 h 5116136"/>
              <a:gd name="connsiteX219" fmla="*/ 4735141 w 13061856"/>
              <a:gd name="connsiteY219" fmla="*/ 4223044 h 5116136"/>
              <a:gd name="connsiteX220" fmla="*/ 4769611 w 13061856"/>
              <a:gd name="connsiteY220" fmla="*/ 4199736 h 5116136"/>
              <a:gd name="connsiteX221" fmla="*/ 4754492 w 13061856"/>
              <a:gd name="connsiteY221" fmla="*/ 4199023 h 5116136"/>
              <a:gd name="connsiteX222" fmla="*/ 4643825 w 13061856"/>
              <a:gd name="connsiteY222" fmla="*/ 4183088 h 5116136"/>
              <a:gd name="connsiteX223" fmla="*/ 4626892 w 13061856"/>
              <a:gd name="connsiteY223" fmla="*/ 4183564 h 5116136"/>
              <a:gd name="connsiteX224" fmla="*/ 4606330 w 13061856"/>
              <a:gd name="connsiteY224" fmla="*/ 4199736 h 5116136"/>
              <a:gd name="connsiteX225" fmla="*/ 4635359 w 13061856"/>
              <a:gd name="connsiteY225" fmla="*/ 4204493 h 5116136"/>
              <a:gd name="connsiteX226" fmla="*/ 4643825 w 13061856"/>
              <a:gd name="connsiteY226" fmla="*/ 4183088 h 5116136"/>
              <a:gd name="connsiteX227" fmla="*/ 5194745 w 13061856"/>
              <a:gd name="connsiteY227" fmla="*/ 4175715 h 5116136"/>
              <a:gd name="connsiteX228" fmla="*/ 5154226 w 13061856"/>
              <a:gd name="connsiteY228" fmla="*/ 4202828 h 5116136"/>
              <a:gd name="connsiteX229" fmla="*/ 5244334 w 13061856"/>
              <a:gd name="connsiteY229" fmla="*/ 4184990 h 5116136"/>
              <a:gd name="connsiteX230" fmla="*/ 5194745 w 13061856"/>
              <a:gd name="connsiteY230" fmla="*/ 4175715 h 5116136"/>
              <a:gd name="connsiteX231" fmla="*/ 11598976 w 13061856"/>
              <a:gd name="connsiteY231" fmla="*/ 4166439 h 5116136"/>
              <a:gd name="connsiteX232" fmla="*/ 11606233 w 13061856"/>
              <a:gd name="connsiteY232" fmla="*/ 4219000 h 5116136"/>
              <a:gd name="connsiteX233" fmla="*/ 11598371 w 13061856"/>
              <a:gd name="connsiteY233" fmla="*/ 4212579 h 5116136"/>
              <a:gd name="connsiteX234" fmla="*/ 11585672 w 13061856"/>
              <a:gd name="connsiteY234" fmla="*/ 4219000 h 5116136"/>
              <a:gd name="connsiteX235" fmla="*/ 11598976 w 13061856"/>
              <a:gd name="connsiteY235" fmla="*/ 4166439 h 5116136"/>
              <a:gd name="connsiteX236" fmla="*/ 10870260 w 13061856"/>
              <a:gd name="connsiteY236" fmla="*/ 4157640 h 5116136"/>
              <a:gd name="connsiteX237" fmla="*/ 10878727 w 13061856"/>
              <a:gd name="connsiteY237" fmla="*/ 4160494 h 5116136"/>
              <a:gd name="connsiteX238" fmla="*/ 10864213 w 13061856"/>
              <a:gd name="connsiteY238" fmla="*/ 4183088 h 5116136"/>
              <a:gd name="connsiteX239" fmla="*/ 10870260 w 13061856"/>
              <a:gd name="connsiteY239" fmla="*/ 4157640 h 5116136"/>
              <a:gd name="connsiteX240" fmla="*/ 4697042 w 13061856"/>
              <a:gd name="connsiteY240" fmla="*/ 4132429 h 5116136"/>
              <a:gd name="connsiteX241" fmla="*/ 4698251 w 13061856"/>
              <a:gd name="connsiteY241" fmla="*/ 4156212 h 5116136"/>
              <a:gd name="connsiteX242" fmla="*/ 4688576 w 13061856"/>
              <a:gd name="connsiteY242" fmla="*/ 4155262 h 5116136"/>
              <a:gd name="connsiteX243" fmla="*/ 4687972 w 13061856"/>
              <a:gd name="connsiteY243" fmla="*/ 4165250 h 5116136"/>
              <a:gd name="connsiteX244" fmla="*/ 4706113 w 13061856"/>
              <a:gd name="connsiteY244" fmla="*/ 4140991 h 5116136"/>
              <a:gd name="connsiteX245" fmla="*/ 4697042 w 13061856"/>
              <a:gd name="connsiteY245" fmla="*/ 4132429 h 5116136"/>
              <a:gd name="connsiteX246" fmla="*/ 10732379 w 13061856"/>
              <a:gd name="connsiteY246" fmla="*/ 4128862 h 5116136"/>
              <a:gd name="connsiteX247" fmla="*/ 10738427 w 13061856"/>
              <a:gd name="connsiteY247" fmla="*/ 4170482 h 5116136"/>
              <a:gd name="connsiteX248" fmla="*/ 10732379 w 13061856"/>
              <a:gd name="connsiteY248" fmla="*/ 4128862 h 5116136"/>
              <a:gd name="connsiteX249" fmla="*/ 10481410 w 13061856"/>
              <a:gd name="connsiteY249" fmla="*/ 4119586 h 5116136"/>
              <a:gd name="connsiteX250" fmla="*/ 10524952 w 13061856"/>
              <a:gd name="connsiteY250" fmla="*/ 4140991 h 5116136"/>
              <a:gd name="connsiteX251" fmla="*/ 10474153 w 13061856"/>
              <a:gd name="connsiteY251" fmla="*/ 4128149 h 5116136"/>
              <a:gd name="connsiteX252" fmla="*/ 10481410 w 13061856"/>
              <a:gd name="connsiteY252" fmla="*/ 4119586 h 5116136"/>
              <a:gd name="connsiteX253" fmla="*/ 10374371 w 13061856"/>
              <a:gd name="connsiteY253" fmla="*/ 4114354 h 5116136"/>
              <a:gd name="connsiteX254" fmla="*/ 10348971 w 13061856"/>
              <a:gd name="connsiteY254" fmla="*/ 4140515 h 5116136"/>
              <a:gd name="connsiteX255" fmla="*/ 10374371 w 13061856"/>
              <a:gd name="connsiteY255" fmla="*/ 4114354 h 5116136"/>
              <a:gd name="connsiteX256" fmla="*/ 11562087 w 13061856"/>
              <a:gd name="connsiteY256" fmla="*/ 4113641 h 5116136"/>
              <a:gd name="connsiteX257" fmla="*/ 11556644 w 13061856"/>
              <a:gd name="connsiteY257" fmla="*/ 4162396 h 5116136"/>
              <a:gd name="connsiteX258" fmla="*/ 11550597 w 13061856"/>
              <a:gd name="connsiteY258" fmla="*/ 4150029 h 5116136"/>
              <a:gd name="connsiteX259" fmla="*/ 11562087 w 13061856"/>
              <a:gd name="connsiteY259" fmla="*/ 4113641 h 5116136"/>
              <a:gd name="connsiteX260" fmla="*/ 4796221 w 13061856"/>
              <a:gd name="connsiteY260" fmla="*/ 4101273 h 5116136"/>
              <a:gd name="connsiteX261" fmla="*/ 4790777 w 13061856"/>
              <a:gd name="connsiteY261" fmla="*/ 4106981 h 5116136"/>
              <a:gd name="connsiteX262" fmla="*/ 4816176 w 13061856"/>
              <a:gd name="connsiteY262" fmla="*/ 4101273 h 5116136"/>
              <a:gd name="connsiteX263" fmla="*/ 4780497 w 13061856"/>
              <a:gd name="connsiteY263" fmla="*/ 4120300 h 5116136"/>
              <a:gd name="connsiteX264" fmla="*/ 4796221 w 13061856"/>
              <a:gd name="connsiteY264" fmla="*/ 4101273 h 5116136"/>
              <a:gd name="connsiteX265" fmla="*/ 11011166 w 13061856"/>
              <a:gd name="connsiteY265" fmla="*/ 4091284 h 5116136"/>
              <a:gd name="connsiteX266" fmla="*/ 10976091 w 13061856"/>
              <a:gd name="connsiteY266" fmla="*/ 4094614 h 5116136"/>
              <a:gd name="connsiteX267" fmla="*/ 10980928 w 13061856"/>
              <a:gd name="connsiteY267" fmla="*/ 4130527 h 5116136"/>
              <a:gd name="connsiteX268" fmla="*/ 11009352 w 13061856"/>
              <a:gd name="connsiteY268" fmla="*/ 4137661 h 5116136"/>
              <a:gd name="connsiteX269" fmla="*/ 11034750 w 13061856"/>
              <a:gd name="connsiteY269" fmla="*/ 4117921 h 5116136"/>
              <a:gd name="connsiteX270" fmla="*/ 11011166 w 13061856"/>
              <a:gd name="connsiteY270" fmla="*/ 4091284 h 5116136"/>
              <a:gd name="connsiteX271" fmla="*/ 11648565 w 13061856"/>
              <a:gd name="connsiteY271" fmla="*/ 4090808 h 5116136"/>
              <a:gd name="connsiteX272" fmla="*/ 11640703 w 13061856"/>
              <a:gd name="connsiteY272" fmla="*/ 4139802 h 5116136"/>
              <a:gd name="connsiteX273" fmla="*/ 11687874 w 13061856"/>
              <a:gd name="connsiteY273" fmla="*/ 4116019 h 5116136"/>
              <a:gd name="connsiteX274" fmla="*/ 11648565 w 13061856"/>
              <a:gd name="connsiteY274" fmla="*/ 4090808 h 5116136"/>
              <a:gd name="connsiteX275" fmla="*/ 10635015 w 13061856"/>
              <a:gd name="connsiteY275" fmla="*/ 4087478 h 5116136"/>
              <a:gd name="connsiteX276" fmla="*/ 10653763 w 13061856"/>
              <a:gd name="connsiteY276" fmla="*/ 4101273 h 5116136"/>
              <a:gd name="connsiteX277" fmla="*/ 10624735 w 13061856"/>
              <a:gd name="connsiteY277" fmla="*/ 4088430 h 5116136"/>
              <a:gd name="connsiteX278" fmla="*/ 10635015 w 13061856"/>
              <a:gd name="connsiteY278" fmla="*/ 4087478 h 5116136"/>
              <a:gd name="connsiteX279" fmla="*/ 11604419 w 13061856"/>
              <a:gd name="connsiteY279" fmla="*/ 4080820 h 5116136"/>
              <a:gd name="connsiteX280" fmla="*/ 11614095 w 13061856"/>
              <a:gd name="connsiteY280" fmla="*/ 4081533 h 5116136"/>
              <a:gd name="connsiteX281" fmla="*/ 11617723 w 13061856"/>
              <a:gd name="connsiteY281" fmla="*/ 4106505 h 5116136"/>
              <a:gd name="connsiteX282" fmla="*/ 11612281 w 13061856"/>
              <a:gd name="connsiteY282" fmla="*/ 4112213 h 5116136"/>
              <a:gd name="connsiteX283" fmla="*/ 11602605 w 13061856"/>
              <a:gd name="connsiteY283" fmla="*/ 4111500 h 5116136"/>
              <a:gd name="connsiteX284" fmla="*/ 11608047 w 13061856"/>
              <a:gd name="connsiteY284" fmla="*/ 4105555 h 5116136"/>
              <a:gd name="connsiteX285" fmla="*/ 11598371 w 13061856"/>
              <a:gd name="connsiteY285" fmla="*/ 4092473 h 5116136"/>
              <a:gd name="connsiteX286" fmla="*/ 11604419 w 13061856"/>
              <a:gd name="connsiteY286" fmla="*/ 4080820 h 5116136"/>
              <a:gd name="connsiteX287" fmla="*/ 8685323 w 13061856"/>
              <a:gd name="connsiteY287" fmla="*/ 4080344 h 5116136"/>
              <a:gd name="connsiteX288" fmla="*/ 8688951 w 13061856"/>
              <a:gd name="connsiteY288" fmla="*/ 4092949 h 5116136"/>
              <a:gd name="connsiteX289" fmla="*/ 8696813 w 13061856"/>
              <a:gd name="connsiteY289" fmla="*/ 4083674 h 5116136"/>
              <a:gd name="connsiteX290" fmla="*/ 8685323 w 13061856"/>
              <a:gd name="connsiteY290" fmla="*/ 4080344 h 5116136"/>
              <a:gd name="connsiteX291" fmla="*/ 4820408 w 13061856"/>
              <a:gd name="connsiteY291" fmla="*/ 4073447 h 5116136"/>
              <a:gd name="connsiteX292" fmla="*/ 4755098 w 13061856"/>
              <a:gd name="connsiteY292" fmla="*/ 4127197 h 5116136"/>
              <a:gd name="connsiteX293" fmla="*/ 4738770 w 13061856"/>
              <a:gd name="connsiteY293" fmla="*/ 4126008 h 5116136"/>
              <a:gd name="connsiteX294" fmla="*/ 4726673 w 13061856"/>
              <a:gd name="connsiteY294" fmla="*/ 4158116 h 5116136"/>
              <a:gd name="connsiteX295" fmla="*/ 4745422 w 13061856"/>
              <a:gd name="connsiteY295" fmla="*/ 4169769 h 5116136"/>
              <a:gd name="connsiteX296" fmla="*/ 4875441 w 13061856"/>
              <a:gd name="connsiteY296" fmla="*/ 4125295 h 5116136"/>
              <a:gd name="connsiteX297" fmla="*/ 4828876 w 13061856"/>
              <a:gd name="connsiteY297" fmla="*/ 4101749 h 5116136"/>
              <a:gd name="connsiteX298" fmla="*/ 4856089 w 13061856"/>
              <a:gd name="connsiteY298" fmla="*/ 4084387 h 5116136"/>
              <a:gd name="connsiteX299" fmla="*/ 4820408 w 13061856"/>
              <a:gd name="connsiteY299" fmla="*/ 4073447 h 5116136"/>
              <a:gd name="connsiteX300" fmla="*/ 11557853 w 13061856"/>
              <a:gd name="connsiteY300" fmla="*/ 4054420 h 5116136"/>
              <a:gd name="connsiteX301" fmla="*/ 11598371 w 13061856"/>
              <a:gd name="connsiteY301" fmla="*/ 4104603 h 5116136"/>
              <a:gd name="connsiteX302" fmla="*/ 11533059 w 13061856"/>
              <a:gd name="connsiteY302" fmla="*/ 4103175 h 5116136"/>
              <a:gd name="connsiteX303" fmla="*/ 11527616 w 13061856"/>
              <a:gd name="connsiteY303" fmla="*/ 4072019 h 5116136"/>
              <a:gd name="connsiteX304" fmla="*/ 11557853 w 13061856"/>
              <a:gd name="connsiteY304" fmla="*/ 4054420 h 5116136"/>
              <a:gd name="connsiteX305" fmla="*/ 8768778 w 13061856"/>
              <a:gd name="connsiteY305" fmla="*/ 4048475 h 5116136"/>
              <a:gd name="connsiteX306" fmla="*/ 8751240 w 13061856"/>
              <a:gd name="connsiteY306" fmla="*/ 4066787 h 5116136"/>
              <a:gd name="connsiteX307" fmla="*/ 8768778 w 13061856"/>
              <a:gd name="connsiteY307" fmla="*/ 4048475 h 5116136"/>
              <a:gd name="connsiteX308" fmla="*/ 12717752 w 13061856"/>
              <a:gd name="connsiteY308" fmla="*/ 4041101 h 5116136"/>
              <a:gd name="connsiteX309" fmla="*/ 12755245 w 13061856"/>
              <a:gd name="connsiteY309" fmla="*/ 4093662 h 5116136"/>
              <a:gd name="connsiteX310" fmla="*/ 12723194 w 13061856"/>
              <a:gd name="connsiteY310" fmla="*/ 4086528 h 5116136"/>
              <a:gd name="connsiteX311" fmla="*/ 12717752 w 13061856"/>
              <a:gd name="connsiteY311" fmla="*/ 4041101 h 5116136"/>
              <a:gd name="connsiteX312" fmla="*/ 11008142 w 13061856"/>
              <a:gd name="connsiteY312" fmla="*/ 4038009 h 5116136"/>
              <a:gd name="connsiteX313" fmla="*/ 10996047 w 13061856"/>
              <a:gd name="connsiteY313" fmla="*/ 4044906 h 5116136"/>
              <a:gd name="connsiteX314" fmla="*/ 11027493 w 13061856"/>
              <a:gd name="connsiteY314" fmla="*/ 4039912 h 5116136"/>
              <a:gd name="connsiteX315" fmla="*/ 11008142 w 13061856"/>
              <a:gd name="connsiteY315" fmla="*/ 4038009 h 5116136"/>
              <a:gd name="connsiteX316" fmla="*/ 10717555 w 13061856"/>
              <a:gd name="connsiteY316" fmla="*/ 4036913 h 5116136"/>
              <a:gd name="connsiteX317" fmla="*/ 10717421 w 13061856"/>
              <a:gd name="connsiteY317" fmla="*/ 4040544 h 5116136"/>
              <a:gd name="connsiteX318" fmla="*/ 10717261 w 13061856"/>
              <a:gd name="connsiteY318" fmla="*/ 4037058 h 5116136"/>
              <a:gd name="connsiteX319" fmla="*/ 10564260 w 13061856"/>
              <a:gd name="connsiteY319" fmla="*/ 4031826 h 5116136"/>
              <a:gd name="connsiteX320" fmla="*/ 10552770 w 13061856"/>
              <a:gd name="connsiteY320" fmla="*/ 4054896 h 5116136"/>
              <a:gd name="connsiteX321" fmla="*/ 10569702 w 13061856"/>
              <a:gd name="connsiteY321" fmla="*/ 4061555 h 5116136"/>
              <a:gd name="connsiteX322" fmla="*/ 10564260 w 13061856"/>
              <a:gd name="connsiteY322" fmla="*/ 4031826 h 5116136"/>
              <a:gd name="connsiteX323" fmla="*/ 12676629 w 13061856"/>
              <a:gd name="connsiteY323" fmla="*/ 4022312 h 5116136"/>
              <a:gd name="connsiteX324" fmla="*/ 12701423 w 13061856"/>
              <a:gd name="connsiteY324" fmla="*/ 4050614 h 5116136"/>
              <a:gd name="connsiteX325" fmla="*/ 12665744 w 13061856"/>
              <a:gd name="connsiteY325" fmla="*/ 4027068 h 5116136"/>
              <a:gd name="connsiteX326" fmla="*/ 12676629 w 13061856"/>
              <a:gd name="connsiteY326" fmla="*/ 4022312 h 5116136"/>
              <a:gd name="connsiteX327" fmla="*/ 10430612 w 13061856"/>
              <a:gd name="connsiteY327" fmla="*/ 4012799 h 5116136"/>
              <a:gd name="connsiteX328" fmla="*/ 10405818 w 13061856"/>
              <a:gd name="connsiteY328" fmla="*/ 4024216 h 5116136"/>
              <a:gd name="connsiteX329" fmla="*/ 10429402 w 13061856"/>
              <a:gd name="connsiteY329" fmla="*/ 4029923 h 5116136"/>
              <a:gd name="connsiteX330" fmla="*/ 12157154 w 13061856"/>
              <a:gd name="connsiteY330" fmla="*/ 4008994 h 5116136"/>
              <a:gd name="connsiteX331" fmla="*/ 12182553 w 13061856"/>
              <a:gd name="connsiteY331" fmla="*/ 4027544 h 5116136"/>
              <a:gd name="connsiteX332" fmla="*/ 12162596 w 13061856"/>
              <a:gd name="connsiteY332" fmla="*/ 4039912 h 5116136"/>
              <a:gd name="connsiteX333" fmla="*/ 12171063 w 13061856"/>
              <a:gd name="connsiteY333" fmla="*/ 4064885 h 5116136"/>
              <a:gd name="connsiteX334" fmla="*/ 12150502 w 13061856"/>
              <a:gd name="connsiteY334" fmla="*/ 4082485 h 5116136"/>
              <a:gd name="connsiteX335" fmla="*/ 12145664 w 13061856"/>
              <a:gd name="connsiteY335" fmla="*/ 4126008 h 5116136"/>
              <a:gd name="connsiteX336" fmla="*/ 12176506 w 13061856"/>
              <a:gd name="connsiteY336" fmla="*/ 4132905 h 5116136"/>
              <a:gd name="connsiteX337" fmla="*/ 12135988 w 13061856"/>
              <a:gd name="connsiteY337" fmla="*/ 4169293 h 5116136"/>
              <a:gd name="connsiteX338" fmla="*/ 12105751 w 13061856"/>
              <a:gd name="connsiteY338" fmla="*/ 4062982 h 5116136"/>
              <a:gd name="connsiteX339" fmla="*/ 12126312 w 13061856"/>
              <a:gd name="connsiteY339" fmla="*/ 4088430 h 5116136"/>
              <a:gd name="connsiteX340" fmla="*/ 12118450 w 13061856"/>
              <a:gd name="connsiteY340" fmla="*/ 4063933 h 5116136"/>
              <a:gd name="connsiteX341" fmla="*/ 12136593 w 13061856"/>
              <a:gd name="connsiteY341" fmla="*/ 4075825 h 5116136"/>
              <a:gd name="connsiteX342" fmla="*/ 12157154 w 13061856"/>
              <a:gd name="connsiteY342" fmla="*/ 4008994 h 5116136"/>
              <a:gd name="connsiteX343" fmla="*/ 8716165 w 13061856"/>
              <a:gd name="connsiteY343" fmla="*/ 4006139 h 5116136"/>
              <a:gd name="connsiteX344" fmla="*/ 8688951 w 13061856"/>
              <a:gd name="connsiteY344" fmla="*/ 4016128 h 5116136"/>
              <a:gd name="connsiteX345" fmla="*/ 8701650 w 13061856"/>
              <a:gd name="connsiteY345" fmla="*/ 4035869 h 5116136"/>
              <a:gd name="connsiteX346" fmla="*/ 8704071 w 13061856"/>
              <a:gd name="connsiteY346" fmla="*/ 4033966 h 5116136"/>
              <a:gd name="connsiteX347" fmla="*/ 8706489 w 13061856"/>
              <a:gd name="connsiteY347" fmla="*/ 4020410 h 5116136"/>
              <a:gd name="connsiteX348" fmla="*/ 8713140 w 13061856"/>
              <a:gd name="connsiteY348" fmla="*/ 4034680 h 5116136"/>
              <a:gd name="connsiteX349" fmla="*/ 8750635 w 13061856"/>
              <a:gd name="connsiteY349" fmla="*/ 4037058 h 5116136"/>
              <a:gd name="connsiteX350" fmla="*/ 8716165 w 13061856"/>
              <a:gd name="connsiteY350" fmla="*/ 4006139 h 5116136"/>
              <a:gd name="connsiteX351" fmla="*/ 10445126 w 13061856"/>
              <a:gd name="connsiteY351" fmla="*/ 4005664 h 5116136"/>
              <a:gd name="connsiteX352" fmla="*/ 10434241 w 13061856"/>
              <a:gd name="connsiteY352" fmla="*/ 4036345 h 5116136"/>
              <a:gd name="connsiteX353" fmla="*/ 10469920 w 13061856"/>
              <a:gd name="connsiteY353" fmla="*/ 4005664 h 5116136"/>
              <a:gd name="connsiteX354" fmla="*/ 10637434 w 13061856"/>
              <a:gd name="connsiteY354" fmla="*/ 3999955 h 5116136"/>
              <a:gd name="connsiteX355" fmla="*/ 10674324 w 13061856"/>
              <a:gd name="connsiteY355" fmla="*/ 4008518 h 5116136"/>
              <a:gd name="connsiteX356" fmla="*/ 10651948 w 13061856"/>
              <a:gd name="connsiteY356" fmla="*/ 4035869 h 5116136"/>
              <a:gd name="connsiteX357" fmla="*/ 10631992 w 13061856"/>
              <a:gd name="connsiteY357" fmla="*/ 4019458 h 5116136"/>
              <a:gd name="connsiteX358" fmla="*/ 10614454 w 13061856"/>
              <a:gd name="connsiteY358" fmla="*/ 4012799 h 5116136"/>
              <a:gd name="connsiteX359" fmla="*/ 10625339 w 13061856"/>
              <a:gd name="connsiteY359" fmla="*/ 4000431 h 5116136"/>
              <a:gd name="connsiteX360" fmla="*/ 10637434 w 13061856"/>
              <a:gd name="connsiteY360" fmla="*/ 3999955 h 5116136"/>
              <a:gd name="connsiteX361" fmla="*/ 8652062 w 13061856"/>
              <a:gd name="connsiteY361" fmla="*/ 3999481 h 5116136"/>
              <a:gd name="connsiteX362" fmla="*/ 8618196 w 13061856"/>
              <a:gd name="connsiteY362" fmla="*/ 4033491 h 5116136"/>
              <a:gd name="connsiteX363" fmla="*/ 8649038 w 13061856"/>
              <a:gd name="connsiteY363" fmla="*/ 4072734 h 5116136"/>
              <a:gd name="connsiteX364" fmla="*/ 8650853 w 13061856"/>
              <a:gd name="connsiteY364" fmla="*/ 4062982 h 5116136"/>
              <a:gd name="connsiteX365" fmla="*/ 8667785 w 13061856"/>
              <a:gd name="connsiteY365" fmla="*/ 4070593 h 5116136"/>
              <a:gd name="connsiteX366" fmla="*/ 8678670 w 13061856"/>
              <a:gd name="connsiteY366" fmla="*/ 4058225 h 5116136"/>
              <a:gd name="connsiteX367" fmla="*/ 8684719 w 13061856"/>
              <a:gd name="connsiteY367" fmla="*/ 4076777 h 5116136"/>
              <a:gd name="connsiteX368" fmla="*/ 8719793 w 13061856"/>
              <a:gd name="connsiteY368" fmla="*/ 4072019 h 5116136"/>
              <a:gd name="connsiteX369" fmla="*/ 8711327 w 13061856"/>
              <a:gd name="connsiteY369" fmla="*/ 4047284 h 5116136"/>
              <a:gd name="connsiteX370" fmla="*/ 8711327 w 13061856"/>
              <a:gd name="connsiteY370" fmla="*/ 4047760 h 5116136"/>
              <a:gd name="connsiteX371" fmla="*/ 8710117 w 13061856"/>
              <a:gd name="connsiteY371" fmla="*/ 4046810 h 5116136"/>
              <a:gd name="connsiteX372" fmla="*/ 8694999 w 13061856"/>
              <a:gd name="connsiteY372" fmla="*/ 4042052 h 5116136"/>
              <a:gd name="connsiteX373" fmla="*/ 8698022 w 13061856"/>
              <a:gd name="connsiteY373" fmla="*/ 4039198 h 5116136"/>
              <a:gd name="connsiteX374" fmla="*/ 8685928 w 13061856"/>
              <a:gd name="connsiteY374" fmla="*/ 4032302 h 5116136"/>
              <a:gd name="connsiteX375" fmla="*/ 8685323 w 13061856"/>
              <a:gd name="connsiteY375" fmla="*/ 4041577 h 5116136"/>
              <a:gd name="connsiteX376" fmla="*/ 8675647 w 13061856"/>
              <a:gd name="connsiteY376" fmla="*/ 4028972 h 5116136"/>
              <a:gd name="connsiteX377" fmla="*/ 8665367 w 13061856"/>
              <a:gd name="connsiteY377" fmla="*/ 4024690 h 5116136"/>
              <a:gd name="connsiteX378" fmla="*/ 8670204 w 13061856"/>
              <a:gd name="connsiteY378" fmla="*/ 4021836 h 5116136"/>
              <a:gd name="connsiteX379" fmla="*/ 8652062 w 13061856"/>
              <a:gd name="connsiteY379" fmla="*/ 3999481 h 5116136"/>
              <a:gd name="connsiteX380" fmla="*/ 12129336 w 13061856"/>
              <a:gd name="connsiteY380" fmla="*/ 3998292 h 5116136"/>
              <a:gd name="connsiteX381" fmla="*/ 12146269 w 13061856"/>
              <a:gd name="connsiteY381" fmla="*/ 4008518 h 5116136"/>
              <a:gd name="connsiteX382" fmla="*/ 12116032 w 13061856"/>
              <a:gd name="connsiteY382" fmla="*/ 4018032 h 5116136"/>
              <a:gd name="connsiteX383" fmla="*/ 12129336 w 13061856"/>
              <a:gd name="connsiteY383" fmla="*/ 3998292 h 5116136"/>
              <a:gd name="connsiteX384" fmla="*/ 10479596 w 13061856"/>
              <a:gd name="connsiteY384" fmla="*/ 3994723 h 5116136"/>
              <a:gd name="connsiteX385" fmla="*/ 10465083 w 13061856"/>
              <a:gd name="connsiteY385" fmla="*/ 4037058 h 5116136"/>
              <a:gd name="connsiteX386" fmla="*/ 10490482 w 13061856"/>
              <a:gd name="connsiteY386" fmla="*/ 4061079 h 5116136"/>
              <a:gd name="connsiteX387" fmla="*/ 10520114 w 13061856"/>
              <a:gd name="connsiteY387" fmla="*/ 4043956 h 5116136"/>
              <a:gd name="connsiteX388" fmla="*/ 10519510 w 13061856"/>
              <a:gd name="connsiteY388" fmla="*/ 4096992 h 5116136"/>
              <a:gd name="connsiteX389" fmla="*/ 10384652 w 13061856"/>
              <a:gd name="connsiteY389" fmla="*/ 4103175 h 5116136"/>
              <a:gd name="connsiteX390" fmla="*/ 10394932 w 13061856"/>
              <a:gd name="connsiteY390" fmla="*/ 4128149 h 5116136"/>
              <a:gd name="connsiteX391" fmla="*/ 10359252 w 13061856"/>
              <a:gd name="connsiteY391" fmla="*/ 4170482 h 5116136"/>
              <a:gd name="connsiteX392" fmla="*/ 10388280 w 13061856"/>
              <a:gd name="connsiteY392" fmla="*/ 4201163 h 5116136"/>
              <a:gd name="connsiteX393" fmla="*/ 10418517 w 13061856"/>
              <a:gd name="connsiteY393" fmla="*/ 4219476 h 5116136"/>
              <a:gd name="connsiteX394" fmla="*/ 10408236 w 13061856"/>
              <a:gd name="connsiteY394" fmla="*/ 4188796 h 5116136"/>
              <a:gd name="connsiteX395" fmla="*/ 10502576 w 13061856"/>
              <a:gd name="connsiteY395" fmla="*/ 4188796 h 5116136"/>
              <a:gd name="connsiteX396" fmla="*/ 10498948 w 13061856"/>
              <a:gd name="connsiteY396" fmla="*/ 4206395 h 5116136"/>
              <a:gd name="connsiteX397" fmla="*/ 10523138 w 13061856"/>
              <a:gd name="connsiteY397" fmla="*/ 4200687 h 5116136"/>
              <a:gd name="connsiteX398" fmla="*/ 10526766 w 13061856"/>
              <a:gd name="connsiteY398" fmla="*/ 4219000 h 5116136"/>
              <a:gd name="connsiteX399" fmla="*/ 10532814 w 13061856"/>
              <a:gd name="connsiteY399" fmla="*/ 4201639 h 5116136"/>
              <a:gd name="connsiteX400" fmla="*/ 10552770 w 13061856"/>
              <a:gd name="connsiteY400" fmla="*/ 4219000 h 5116136"/>
              <a:gd name="connsiteX401" fmla="*/ 10566679 w 13061856"/>
              <a:gd name="connsiteY401" fmla="*/ 4188320 h 5116136"/>
              <a:gd name="connsiteX402" fmla="*/ 10528581 w 13061856"/>
              <a:gd name="connsiteY402" fmla="*/ 4188796 h 5116136"/>
              <a:gd name="connsiteX403" fmla="*/ 10527976 w 13061856"/>
              <a:gd name="connsiteY403" fmla="*/ 4159542 h 5116136"/>
              <a:gd name="connsiteX404" fmla="*/ 10547932 w 13061856"/>
              <a:gd name="connsiteY404" fmla="*/ 4147175 h 5116136"/>
              <a:gd name="connsiteX405" fmla="*/ 10509229 w 13061856"/>
              <a:gd name="connsiteY405" fmla="*/ 4110311 h 5116136"/>
              <a:gd name="connsiteX406" fmla="*/ 10552166 w 13061856"/>
              <a:gd name="connsiteY406" fmla="*/ 4109835 h 5116136"/>
              <a:gd name="connsiteX407" fmla="*/ 10529186 w 13061856"/>
              <a:gd name="connsiteY407" fmla="*/ 4092473 h 5116136"/>
              <a:gd name="connsiteX408" fmla="*/ 10558212 w 13061856"/>
              <a:gd name="connsiteY408" fmla="*/ 4092473 h 5116136"/>
              <a:gd name="connsiteX409" fmla="*/ 10564260 w 13061856"/>
              <a:gd name="connsiteY409" fmla="*/ 4067739 h 5116136"/>
              <a:gd name="connsiteX410" fmla="*/ 10538257 w 13061856"/>
              <a:gd name="connsiteY410" fmla="*/ 4061079 h 5116136"/>
              <a:gd name="connsiteX411" fmla="*/ 10534023 w 13061856"/>
              <a:gd name="connsiteY411" fmla="*/ 4013275 h 5116136"/>
              <a:gd name="connsiteX412" fmla="*/ 10489272 w 13061856"/>
              <a:gd name="connsiteY412" fmla="*/ 4043241 h 5116136"/>
              <a:gd name="connsiteX413" fmla="*/ 10495924 w 13061856"/>
              <a:gd name="connsiteY413" fmla="*/ 4012085 h 5116136"/>
              <a:gd name="connsiteX414" fmla="*/ 10479596 w 13061856"/>
              <a:gd name="connsiteY414" fmla="*/ 3994723 h 5116136"/>
              <a:gd name="connsiteX415" fmla="*/ 11738067 w 13061856"/>
              <a:gd name="connsiteY415" fmla="*/ 3994249 h 5116136"/>
              <a:gd name="connsiteX416" fmla="*/ 11742300 w 13061856"/>
              <a:gd name="connsiteY416" fmla="*/ 4047760 h 5116136"/>
              <a:gd name="connsiteX417" fmla="*/ 11726576 w 13061856"/>
              <a:gd name="connsiteY417" fmla="*/ 4023740 h 5116136"/>
              <a:gd name="connsiteX418" fmla="*/ 11705410 w 13061856"/>
              <a:gd name="connsiteY418" fmla="*/ 4046810 h 5116136"/>
              <a:gd name="connsiteX419" fmla="*/ 11728391 w 13061856"/>
              <a:gd name="connsiteY419" fmla="*/ 3995199 h 5116136"/>
              <a:gd name="connsiteX420" fmla="*/ 11738067 w 13061856"/>
              <a:gd name="connsiteY420" fmla="*/ 3994249 h 5116136"/>
              <a:gd name="connsiteX421" fmla="*/ 3743966 w 13061856"/>
              <a:gd name="connsiteY421" fmla="*/ 3953578 h 5116136"/>
              <a:gd name="connsiteX422" fmla="*/ 3768156 w 13061856"/>
              <a:gd name="connsiteY422" fmla="*/ 3960238 h 5116136"/>
              <a:gd name="connsiteX423" fmla="*/ 3771785 w 13061856"/>
              <a:gd name="connsiteY423" fmla="*/ 3984972 h 5116136"/>
              <a:gd name="connsiteX424" fmla="*/ 3742758 w 13061856"/>
              <a:gd name="connsiteY424" fmla="*/ 4015178 h 5116136"/>
              <a:gd name="connsiteX425" fmla="*/ 3724614 w 13061856"/>
              <a:gd name="connsiteY425" fmla="*/ 3991156 h 5116136"/>
              <a:gd name="connsiteX426" fmla="*/ 3724009 w 13061856"/>
              <a:gd name="connsiteY426" fmla="*/ 3954292 h 5116136"/>
              <a:gd name="connsiteX427" fmla="*/ 3743966 w 13061856"/>
              <a:gd name="connsiteY427" fmla="*/ 3953578 h 5116136"/>
              <a:gd name="connsiteX428" fmla="*/ 11797332 w 13061856"/>
              <a:gd name="connsiteY428" fmla="*/ 3935265 h 5116136"/>
              <a:gd name="connsiteX429" fmla="*/ 11837245 w 13061856"/>
              <a:gd name="connsiteY429" fmla="*/ 3950724 h 5116136"/>
              <a:gd name="connsiteX430" fmla="*/ 11842083 w 13061856"/>
              <a:gd name="connsiteY430" fmla="*/ 3999481 h 5116136"/>
              <a:gd name="connsiteX431" fmla="*/ 11831803 w 13061856"/>
              <a:gd name="connsiteY431" fmla="*/ 4000431 h 5116136"/>
              <a:gd name="connsiteX432" fmla="*/ 11822731 w 13061856"/>
              <a:gd name="connsiteY432" fmla="*/ 4026118 h 5116136"/>
              <a:gd name="connsiteX433" fmla="*/ 11782818 w 13061856"/>
              <a:gd name="connsiteY433" fmla="*/ 3994249 h 5116136"/>
              <a:gd name="connsiteX434" fmla="*/ 11812451 w 13061856"/>
              <a:gd name="connsiteY434" fmla="*/ 3980691 h 5116136"/>
              <a:gd name="connsiteX435" fmla="*/ 11796727 w 13061856"/>
              <a:gd name="connsiteY435" fmla="*/ 3939308 h 5116136"/>
              <a:gd name="connsiteX436" fmla="*/ 11797332 w 13061856"/>
              <a:gd name="connsiteY436" fmla="*/ 3935265 h 5116136"/>
              <a:gd name="connsiteX437" fmla="*/ 11754395 w 13061856"/>
              <a:gd name="connsiteY437" fmla="*/ 3930033 h 5116136"/>
              <a:gd name="connsiteX438" fmla="*/ 11765885 w 13061856"/>
              <a:gd name="connsiteY438" fmla="*/ 3930509 h 5116136"/>
              <a:gd name="connsiteX439" fmla="*/ 11770723 w 13061856"/>
              <a:gd name="connsiteY439" fmla="*/ 3941449 h 5116136"/>
              <a:gd name="connsiteX440" fmla="*/ 11743510 w 13061856"/>
              <a:gd name="connsiteY440" fmla="*/ 3951438 h 5116136"/>
              <a:gd name="connsiteX441" fmla="*/ 11754395 w 13061856"/>
              <a:gd name="connsiteY441" fmla="*/ 3930033 h 5116136"/>
              <a:gd name="connsiteX442" fmla="*/ 11230083 w 13061856"/>
              <a:gd name="connsiteY442" fmla="*/ 3917903 h 5116136"/>
              <a:gd name="connsiteX443" fmla="*/ 11259111 w 13061856"/>
              <a:gd name="connsiteY443" fmla="*/ 3925276 h 5116136"/>
              <a:gd name="connsiteX444" fmla="*/ 11207103 w 13061856"/>
              <a:gd name="connsiteY444" fmla="*/ 3925276 h 5116136"/>
              <a:gd name="connsiteX445" fmla="*/ 11230083 w 13061856"/>
              <a:gd name="connsiteY445" fmla="*/ 3917903 h 5116136"/>
              <a:gd name="connsiteX446" fmla="*/ 11326237 w 13061856"/>
              <a:gd name="connsiteY446" fmla="*/ 3915525 h 5116136"/>
              <a:gd name="connsiteX447" fmla="*/ 11295999 w 13061856"/>
              <a:gd name="connsiteY447" fmla="*/ 3924800 h 5116136"/>
              <a:gd name="connsiteX448" fmla="*/ 11326237 w 13061856"/>
              <a:gd name="connsiteY448" fmla="*/ 3915525 h 5116136"/>
              <a:gd name="connsiteX449" fmla="*/ 11493146 w 13061856"/>
              <a:gd name="connsiteY449" fmla="*/ 3901731 h 5116136"/>
              <a:gd name="connsiteX450" fmla="*/ 11501008 w 13061856"/>
              <a:gd name="connsiteY450" fmla="*/ 3945016 h 5116136"/>
              <a:gd name="connsiteX451" fmla="*/ 11485889 w 13061856"/>
              <a:gd name="connsiteY451" fmla="*/ 3990680 h 5116136"/>
              <a:gd name="connsiteX452" fmla="*/ 11467142 w 13061856"/>
              <a:gd name="connsiteY452" fmla="*/ 3927655 h 5116136"/>
              <a:gd name="connsiteX453" fmla="*/ 11493146 w 13061856"/>
              <a:gd name="connsiteY453" fmla="*/ 3901731 h 5116136"/>
              <a:gd name="connsiteX454" fmla="*/ 8551070 w 13061856"/>
              <a:gd name="connsiteY454" fmla="*/ 3883180 h 5116136"/>
              <a:gd name="connsiteX455" fmla="*/ 8511762 w 13061856"/>
              <a:gd name="connsiteY455" fmla="*/ 3908628 h 5116136"/>
              <a:gd name="connsiteX456" fmla="*/ 8526276 w 13061856"/>
              <a:gd name="connsiteY456" fmla="*/ 3951913 h 5116136"/>
              <a:gd name="connsiteX457" fmla="*/ 8507529 w 13061856"/>
              <a:gd name="connsiteY457" fmla="*/ 3952627 h 5116136"/>
              <a:gd name="connsiteX458" fmla="*/ 8531114 w 13061856"/>
              <a:gd name="connsiteY458" fmla="*/ 3998292 h 5116136"/>
              <a:gd name="connsiteX459" fmla="*/ 8537161 w 13061856"/>
              <a:gd name="connsiteY459" fmla="*/ 3980691 h 5116136"/>
              <a:gd name="connsiteX460" fmla="*/ 8650249 w 13061856"/>
              <a:gd name="connsiteY460" fmla="*/ 3996388 h 5116136"/>
              <a:gd name="connsiteX461" fmla="*/ 8647224 w 13061856"/>
              <a:gd name="connsiteY461" fmla="*/ 3992345 h 5116136"/>
              <a:gd name="connsiteX462" fmla="*/ 8667180 w 13061856"/>
              <a:gd name="connsiteY462" fmla="*/ 3980216 h 5116136"/>
              <a:gd name="connsiteX463" fmla="*/ 8661134 w 13061856"/>
              <a:gd name="connsiteY463" fmla="*/ 3961665 h 5116136"/>
              <a:gd name="connsiteX464" fmla="*/ 8658714 w 13061856"/>
              <a:gd name="connsiteY464" fmla="*/ 3963567 h 5116136"/>
              <a:gd name="connsiteX465" fmla="*/ 8630897 w 13061856"/>
              <a:gd name="connsiteY465" fmla="*/ 3975459 h 5116136"/>
              <a:gd name="connsiteX466" fmla="*/ 8644805 w 13061856"/>
              <a:gd name="connsiteY466" fmla="*/ 3969275 h 5116136"/>
              <a:gd name="connsiteX467" fmla="*/ 8617591 w 13061856"/>
              <a:gd name="connsiteY467" fmla="*/ 3968325 h 5116136"/>
              <a:gd name="connsiteX468" fmla="*/ 8621825 w 13061856"/>
              <a:gd name="connsiteY468" fmla="*/ 3954292 h 5116136"/>
              <a:gd name="connsiteX469" fmla="*/ 8545627 w 13061856"/>
              <a:gd name="connsiteY469" fmla="*/ 3945729 h 5116136"/>
              <a:gd name="connsiteX470" fmla="*/ 8527485 w 13061856"/>
              <a:gd name="connsiteY470" fmla="*/ 3964519 h 5116136"/>
              <a:gd name="connsiteX471" fmla="*/ 8536556 w 13061856"/>
              <a:gd name="connsiteY471" fmla="*/ 3934789 h 5116136"/>
              <a:gd name="connsiteX472" fmla="*/ 8580703 w 13061856"/>
              <a:gd name="connsiteY472" fmla="*/ 3928130 h 5116136"/>
              <a:gd name="connsiteX473" fmla="*/ 8620616 w 13061856"/>
              <a:gd name="connsiteY473" fmla="*/ 3941449 h 5116136"/>
              <a:gd name="connsiteX474" fmla="*/ 8602473 w 13061856"/>
              <a:gd name="connsiteY474" fmla="*/ 3939308 h 5116136"/>
              <a:gd name="connsiteX475" fmla="*/ 8636338 w 13061856"/>
              <a:gd name="connsiteY475" fmla="*/ 3932411 h 5116136"/>
              <a:gd name="connsiteX476" fmla="*/ 8558327 w 13061856"/>
              <a:gd name="connsiteY476" fmla="*/ 3913384 h 5116136"/>
              <a:gd name="connsiteX477" fmla="*/ 8561956 w 13061856"/>
              <a:gd name="connsiteY477" fmla="*/ 3886034 h 5116136"/>
              <a:gd name="connsiteX478" fmla="*/ 8551070 w 13061856"/>
              <a:gd name="connsiteY478" fmla="*/ 3883180 h 5116136"/>
              <a:gd name="connsiteX479" fmla="*/ 11548782 w 13061856"/>
              <a:gd name="connsiteY479" fmla="*/ 3849170 h 5116136"/>
              <a:gd name="connsiteX480" fmla="*/ 11530036 w 13061856"/>
              <a:gd name="connsiteY480" fmla="*/ 3864629 h 5116136"/>
              <a:gd name="connsiteX481" fmla="*/ 11575996 w 13061856"/>
              <a:gd name="connsiteY481" fmla="*/ 3853213 h 5116136"/>
              <a:gd name="connsiteX482" fmla="*/ 11548782 w 13061856"/>
              <a:gd name="connsiteY482" fmla="*/ 3849170 h 5116136"/>
              <a:gd name="connsiteX483" fmla="*/ 11714482 w 13061856"/>
              <a:gd name="connsiteY483" fmla="*/ 3828715 h 5116136"/>
              <a:gd name="connsiteX484" fmla="*/ 11695130 w 13061856"/>
              <a:gd name="connsiteY484" fmla="*/ 3829428 h 5116136"/>
              <a:gd name="connsiteX485" fmla="*/ 11703596 w 13061856"/>
              <a:gd name="connsiteY485" fmla="*/ 3891266 h 5116136"/>
              <a:gd name="connsiteX486" fmla="*/ 11724762 w 13061856"/>
              <a:gd name="connsiteY486" fmla="*/ 3891266 h 5116136"/>
              <a:gd name="connsiteX487" fmla="*/ 11714482 w 13061856"/>
              <a:gd name="connsiteY487" fmla="*/ 3828715 h 5116136"/>
              <a:gd name="connsiteX488" fmla="*/ 11178680 w 13061856"/>
              <a:gd name="connsiteY488" fmla="*/ 3826574 h 5116136"/>
              <a:gd name="connsiteX489" fmla="*/ 11178075 w 13061856"/>
              <a:gd name="connsiteY489" fmla="*/ 3827289 h 5116136"/>
              <a:gd name="connsiteX490" fmla="*/ 11186541 w 13061856"/>
              <a:gd name="connsiteY490" fmla="*/ 3828239 h 5116136"/>
              <a:gd name="connsiteX491" fmla="*/ 11178680 w 13061856"/>
              <a:gd name="connsiteY491" fmla="*/ 3826574 h 5116136"/>
              <a:gd name="connsiteX492" fmla="*/ 12391190 w 13061856"/>
              <a:gd name="connsiteY492" fmla="*/ 3821342 h 5116136"/>
              <a:gd name="connsiteX493" fmla="*/ 12408123 w 13061856"/>
              <a:gd name="connsiteY493" fmla="*/ 3826574 h 5116136"/>
              <a:gd name="connsiteX494" fmla="*/ 12388166 w 13061856"/>
              <a:gd name="connsiteY494" fmla="*/ 3847267 h 5116136"/>
              <a:gd name="connsiteX495" fmla="*/ 12389980 w 13061856"/>
              <a:gd name="connsiteY495" fmla="*/ 3827289 h 5116136"/>
              <a:gd name="connsiteX496" fmla="*/ 12391190 w 13061856"/>
              <a:gd name="connsiteY496" fmla="*/ 3821342 h 5116136"/>
              <a:gd name="connsiteX497" fmla="*/ 3838910 w 13061856"/>
              <a:gd name="connsiteY497" fmla="*/ 3778057 h 5116136"/>
              <a:gd name="connsiteX498" fmla="*/ 3838306 w 13061856"/>
              <a:gd name="connsiteY498" fmla="*/ 3784241 h 5116136"/>
              <a:gd name="connsiteX499" fmla="*/ 3947765 w 13061856"/>
              <a:gd name="connsiteY499" fmla="*/ 3808024 h 5116136"/>
              <a:gd name="connsiteX500" fmla="*/ 3834074 w 13061856"/>
              <a:gd name="connsiteY500" fmla="*/ 3820866 h 5116136"/>
              <a:gd name="connsiteX501" fmla="*/ 3830444 w 13061856"/>
              <a:gd name="connsiteY501" fmla="*/ 3801841 h 5116136"/>
              <a:gd name="connsiteX502" fmla="*/ 3777832 w 13061856"/>
              <a:gd name="connsiteY502" fmla="*/ 3784954 h 5116136"/>
              <a:gd name="connsiteX503" fmla="*/ 3800207 w 13061856"/>
              <a:gd name="connsiteY503" fmla="*/ 3778532 h 5116136"/>
              <a:gd name="connsiteX504" fmla="*/ 3838910 w 13061856"/>
              <a:gd name="connsiteY504" fmla="*/ 3778057 h 5116136"/>
              <a:gd name="connsiteX505" fmla="*/ 4221108 w 13061856"/>
              <a:gd name="connsiteY505" fmla="*/ 3724306 h 5116136"/>
              <a:gd name="connsiteX506" fmla="*/ 4242880 w 13061856"/>
              <a:gd name="connsiteY506" fmla="*/ 3724782 h 5116136"/>
              <a:gd name="connsiteX507" fmla="*/ 4227762 w 13061856"/>
              <a:gd name="connsiteY507" fmla="*/ 3739766 h 5116136"/>
              <a:gd name="connsiteX508" fmla="*/ 4175754 w 13061856"/>
              <a:gd name="connsiteY508" fmla="*/ 3733582 h 5116136"/>
              <a:gd name="connsiteX509" fmla="*/ 4209014 w 13061856"/>
              <a:gd name="connsiteY509" fmla="*/ 3734058 h 5116136"/>
              <a:gd name="connsiteX510" fmla="*/ 4204176 w 13061856"/>
              <a:gd name="connsiteY510" fmla="*/ 3731680 h 5116136"/>
              <a:gd name="connsiteX511" fmla="*/ 4221108 w 13061856"/>
              <a:gd name="connsiteY511" fmla="*/ 3724306 h 5116136"/>
              <a:gd name="connsiteX512" fmla="*/ 11809426 w 13061856"/>
              <a:gd name="connsiteY512" fmla="*/ 3720263 h 5116136"/>
              <a:gd name="connsiteX513" fmla="*/ 11809426 w 13061856"/>
              <a:gd name="connsiteY513" fmla="*/ 3764025 h 5116136"/>
              <a:gd name="connsiteX514" fmla="*/ 11863249 w 13061856"/>
              <a:gd name="connsiteY514" fmla="*/ 3782814 h 5116136"/>
              <a:gd name="connsiteX515" fmla="*/ 11860225 w 13061856"/>
              <a:gd name="connsiteY515" fmla="*/ 3758317 h 5116136"/>
              <a:gd name="connsiteX516" fmla="*/ 11828778 w 13061856"/>
              <a:gd name="connsiteY516" fmla="*/ 3757841 h 5116136"/>
              <a:gd name="connsiteX517" fmla="*/ 11809426 w 13061856"/>
              <a:gd name="connsiteY517" fmla="*/ 3720263 h 5116136"/>
              <a:gd name="connsiteX518" fmla="*/ 3408334 w 13061856"/>
              <a:gd name="connsiteY518" fmla="*/ 3697193 h 5116136"/>
              <a:gd name="connsiteX519" fmla="*/ 3460946 w 13061856"/>
              <a:gd name="connsiteY519" fmla="*/ 3704804 h 5116136"/>
              <a:gd name="connsiteX520" fmla="*/ 3457318 w 13061856"/>
              <a:gd name="connsiteY520" fmla="*/ 3727161 h 5116136"/>
              <a:gd name="connsiteX521" fmla="*/ 3396239 w 13061856"/>
              <a:gd name="connsiteY521" fmla="*/ 3705280 h 5116136"/>
              <a:gd name="connsiteX522" fmla="*/ 3408334 w 13061856"/>
              <a:gd name="connsiteY522" fmla="*/ 3697193 h 5116136"/>
              <a:gd name="connsiteX523" fmla="*/ 4148539 w 13061856"/>
              <a:gd name="connsiteY523" fmla="*/ 3685064 h 5116136"/>
              <a:gd name="connsiteX524" fmla="*/ 4185428 w 13061856"/>
              <a:gd name="connsiteY524" fmla="*/ 3690772 h 5116136"/>
              <a:gd name="connsiteX525" fmla="*/ 4148539 w 13061856"/>
              <a:gd name="connsiteY525" fmla="*/ 3685064 h 5116136"/>
              <a:gd name="connsiteX526" fmla="*/ 11861434 w 13061856"/>
              <a:gd name="connsiteY526" fmla="*/ 3659379 h 5116136"/>
              <a:gd name="connsiteX527" fmla="*/ 11875949 w 13061856"/>
              <a:gd name="connsiteY527" fmla="*/ 3696718 h 5116136"/>
              <a:gd name="connsiteX528" fmla="*/ 11875344 w 13061856"/>
              <a:gd name="connsiteY528" fmla="*/ 3660805 h 5116136"/>
              <a:gd name="connsiteX529" fmla="*/ 2301654 w 13061856"/>
              <a:gd name="connsiteY529" fmla="*/ 3607531 h 5116136"/>
              <a:gd name="connsiteX530" fmla="*/ 2276859 w 13061856"/>
              <a:gd name="connsiteY530" fmla="*/ 3636546 h 5116136"/>
              <a:gd name="connsiteX531" fmla="*/ 2174657 w 13061856"/>
              <a:gd name="connsiteY531" fmla="*/ 3613952 h 5116136"/>
              <a:gd name="connsiteX532" fmla="*/ 2301654 w 13061856"/>
              <a:gd name="connsiteY532" fmla="*/ 3607531 h 5116136"/>
              <a:gd name="connsiteX533" fmla="*/ 2209732 w 13061856"/>
              <a:gd name="connsiteY533" fmla="*/ 3583747 h 5116136"/>
              <a:gd name="connsiteX534" fmla="*/ 2220618 w 13061856"/>
              <a:gd name="connsiteY534" fmla="*/ 3588504 h 5116136"/>
              <a:gd name="connsiteX535" fmla="*/ 2175867 w 13061856"/>
              <a:gd name="connsiteY535" fmla="*/ 3590882 h 5116136"/>
              <a:gd name="connsiteX536" fmla="*/ 2200661 w 13061856"/>
              <a:gd name="connsiteY536" fmla="*/ 3585650 h 5116136"/>
              <a:gd name="connsiteX537" fmla="*/ 2209732 w 13061856"/>
              <a:gd name="connsiteY537" fmla="*/ 3583747 h 5116136"/>
              <a:gd name="connsiteX538" fmla="*/ 12616759 w 13061856"/>
              <a:gd name="connsiteY538" fmla="*/ 3581368 h 5116136"/>
              <a:gd name="connsiteX539" fmla="*/ 12643972 w 13061856"/>
              <a:gd name="connsiteY539" fmla="*/ 3631790 h 5116136"/>
              <a:gd name="connsiteX540" fmla="*/ 12584708 w 13061856"/>
              <a:gd name="connsiteY540" fmla="*/ 3624893 h 5116136"/>
              <a:gd name="connsiteX541" fmla="*/ 12594384 w 13061856"/>
              <a:gd name="connsiteY541" fmla="*/ 3585650 h 5116136"/>
              <a:gd name="connsiteX542" fmla="*/ 12610711 w 13061856"/>
              <a:gd name="connsiteY542" fmla="*/ 3599445 h 5116136"/>
              <a:gd name="connsiteX543" fmla="*/ 12603455 w 13061856"/>
              <a:gd name="connsiteY543" fmla="*/ 3592547 h 5116136"/>
              <a:gd name="connsiteX544" fmla="*/ 12616759 w 13061856"/>
              <a:gd name="connsiteY544" fmla="*/ 3581368 h 5116136"/>
              <a:gd name="connsiteX545" fmla="*/ 2073060 w 13061856"/>
              <a:gd name="connsiteY545" fmla="*/ 3566623 h 5116136"/>
              <a:gd name="connsiteX546" fmla="*/ 2027705 w 13061856"/>
              <a:gd name="connsiteY546" fmla="*/ 3580892 h 5116136"/>
              <a:gd name="connsiteX547" fmla="*/ 2073060 w 13061856"/>
              <a:gd name="connsiteY547" fmla="*/ 3566623 h 5116136"/>
              <a:gd name="connsiteX548" fmla="*/ 2376037 w 13061856"/>
              <a:gd name="connsiteY548" fmla="*/ 3560915 h 5116136"/>
              <a:gd name="connsiteX549" fmla="*/ 2400227 w 13061856"/>
              <a:gd name="connsiteY549" fmla="*/ 3567099 h 5116136"/>
              <a:gd name="connsiteX550" fmla="*/ 2369991 w 13061856"/>
              <a:gd name="connsiteY550" fmla="*/ 3578514 h 5116136"/>
              <a:gd name="connsiteX551" fmla="*/ 2376037 w 13061856"/>
              <a:gd name="connsiteY551" fmla="*/ 3560915 h 5116136"/>
              <a:gd name="connsiteX552" fmla="*/ 1849306 w 13061856"/>
              <a:gd name="connsiteY552" fmla="*/ 3549736 h 5116136"/>
              <a:gd name="connsiteX553" fmla="*/ 1865029 w 13061856"/>
              <a:gd name="connsiteY553" fmla="*/ 3569477 h 5116136"/>
              <a:gd name="connsiteX554" fmla="*/ 1828140 w 13061856"/>
              <a:gd name="connsiteY554" fmla="*/ 3561391 h 5116136"/>
              <a:gd name="connsiteX555" fmla="*/ 1849306 w 13061856"/>
              <a:gd name="connsiteY555" fmla="*/ 3549736 h 5116136"/>
              <a:gd name="connsiteX556" fmla="*/ 3896967 w 13061856"/>
              <a:gd name="connsiteY556" fmla="*/ 3539272 h 5116136"/>
              <a:gd name="connsiteX557" fmla="*/ 3925995 w 13061856"/>
              <a:gd name="connsiteY557" fmla="*/ 3549736 h 5116136"/>
              <a:gd name="connsiteX558" fmla="*/ 3904224 w 13061856"/>
              <a:gd name="connsiteY558" fmla="*/ 3553305 h 5116136"/>
              <a:gd name="connsiteX559" fmla="*/ 3903618 w 13061856"/>
              <a:gd name="connsiteY559" fmla="*/ 3562342 h 5116136"/>
              <a:gd name="connsiteX560" fmla="*/ 3896967 w 13061856"/>
              <a:gd name="connsiteY560" fmla="*/ 3539272 h 5116136"/>
              <a:gd name="connsiteX561" fmla="*/ 3999169 w 13061856"/>
              <a:gd name="connsiteY561" fmla="*/ 3530710 h 5116136"/>
              <a:gd name="connsiteX562" fmla="*/ 3993726 w 13061856"/>
              <a:gd name="connsiteY562" fmla="*/ 3544029 h 5116136"/>
              <a:gd name="connsiteX563" fmla="*/ 4013683 w 13061856"/>
              <a:gd name="connsiteY563" fmla="*/ 3531661 h 5116136"/>
              <a:gd name="connsiteX564" fmla="*/ 3999169 w 13061856"/>
              <a:gd name="connsiteY564" fmla="*/ 3530710 h 5116136"/>
              <a:gd name="connsiteX565" fmla="*/ 3168251 w 13061856"/>
              <a:gd name="connsiteY565" fmla="*/ 3524527 h 5116136"/>
              <a:gd name="connsiteX566" fmla="*/ 3145876 w 13061856"/>
              <a:gd name="connsiteY566" fmla="*/ 3536418 h 5116136"/>
              <a:gd name="connsiteX567" fmla="*/ 3168251 w 13061856"/>
              <a:gd name="connsiteY567" fmla="*/ 3524527 h 5116136"/>
              <a:gd name="connsiteX568" fmla="*/ 3724614 w 13061856"/>
              <a:gd name="connsiteY568" fmla="*/ 3523099 h 5116136"/>
              <a:gd name="connsiteX569" fmla="*/ 3748805 w 13061856"/>
              <a:gd name="connsiteY569" fmla="*/ 3533089 h 5116136"/>
              <a:gd name="connsiteX570" fmla="*/ 3718567 w 13061856"/>
              <a:gd name="connsiteY570" fmla="*/ 3533089 h 5116136"/>
              <a:gd name="connsiteX571" fmla="*/ 3724614 w 13061856"/>
              <a:gd name="connsiteY571" fmla="*/ 3523099 h 5116136"/>
              <a:gd name="connsiteX572" fmla="*/ 12202510 w 13061856"/>
              <a:gd name="connsiteY572" fmla="*/ 3514537 h 5116136"/>
              <a:gd name="connsiteX573" fmla="*/ 12191020 w 13061856"/>
              <a:gd name="connsiteY573" fmla="*/ 3515013 h 5116136"/>
              <a:gd name="connsiteX574" fmla="*/ 12196463 w 13061856"/>
              <a:gd name="connsiteY574" fmla="*/ 3545693 h 5116136"/>
              <a:gd name="connsiteX575" fmla="*/ 12226699 w 13061856"/>
              <a:gd name="connsiteY575" fmla="*/ 3528331 h 5116136"/>
              <a:gd name="connsiteX576" fmla="*/ 12202510 w 13061856"/>
              <a:gd name="connsiteY576" fmla="*/ 3514537 h 5116136"/>
              <a:gd name="connsiteX577" fmla="*/ 3838910 w 13061856"/>
              <a:gd name="connsiteY577" fmla="*/ 3501694 h 5116136"/>
              <a:gd name="connsiteX578" fmla="*/ 3818349 w 13061856"/>
              <a:gd name="connsiteY578" fmla="*/ 3525003 h 5116136"/>
              <a:gd name="connsiteX579" fmla="*/ 3838910 w 13061856"/>
              <a:gd name="connsiteY579" fmla="*/ 3501694 h 5116136"/>
              <a:gd name="connsiteX580" fmla="*/ 3689540 w 13061856"/>
              <a:gd name="connsiteY580" fmla="*/ 3501218 h 5116136"/>
              <a:gd name="connsiteX581" fmla="*/ 3693772 w 13061856"/>
              <a:gd name="connsiteY581" fmla="*/ 3538796 h 5116136"/>
              <a:gd name="connsiteX582" fmla="*/ 3689540 w 13061856"/>
              <a:gd name="connsiteY582" fmla="*/ 3501218 h 5116136"/>
              <a:gd name="connsiteX583" fmla="*/ 2327053 w 13061856"/>
              <a:gd name="connsiteY583" fmla="*/ 3499553 h 5116136"/>
              <a:gd name="connsiteX584" fmla="*/ 2343381 w 13061856"/>
              <a:gd name="connsiteY584" fmla="*/ 3519295 h 5116136"/>
              <a:gd name="connsiteX585" fmla="*/ 2321610 w 13061856"/>
              <a:gd name="connsiteY585" fmla="*/ 3519295 h 5116136"/>
              <a:gd name="connsiteX586" fmla="*/ 2327053 w 13061856"/>
              <a:gd name="connsiteY586" fmla="*/ 3499553 h 5116136"/>
              <a:gd name="connsiteX587" fmla="*/ 12181344 w 13061856"/>
              <a:gd name="connsiteY587" fmla="*/ 3456031 h 5116136"/>
              <a:gd name="connsiteX588" fmla="*/ 12172272 w 13061856"/>
              <a:gd name="connsiteY588" fmla="*/ 3473868 h 5116136"/>
              <a:gd name="connsiteX589" fmla="*/ 12191020 w 13061856"/>
              <a:gd name="connsiteY589" fmla="*/ 3473392 h 5116136"/>
              <a:gd name="connsiteX590" fmla="*/ 12181344 w 13061856"/>
              <a:gd name="connsiteY590" fmla="*/ 3456031 h 5116136"/>
              <a:gd name="connsiteX591" fmla="*/ 3663535 w 13061856"/>
              <a:gd name="connsiteY591" fmla="*/ 3454366 h 5116136"/>
              <a:gd name="connsiteX592" fmla="*/ 3652046 w 13061856"/>
              <a:gd name="connsiteY592" fmla="*/ 3459598 h 5116136"/>
              <a:gd name="connsiteX593" fmla="*/ 3656280 w 13061856"/>
              <a:gd name="connsiteY593" fmla="*/ 3471727 h 5116136"/>
              <a:gd name="connsiteX594" fmla="*/ 3633903 w 13061856"/>
              <a:gd name="connsiteY594" fmla="*/ 3472440 h 5116136"/>
              <a:gd name="connsiteX595" fmla="*/ 3663535 w 13061856"/>
              <a:gd name="connsiteY595" fmla="*/ 3454366 h 5116136"/>
              <a:gd name="connsiteX596" fmla="*/ 3502069 w 13061856"/>
              <a:gd name="connsiteY596" fmla="*/ 3452701 h 5116136"/>
              <a:gd name="connsiteX597" fmla="*/ 3516584 w 13061856"/>
              <a:gd name="connsiteY597" fmla="*/ 3468873 h 5116136"/>
              <a:gd name="connsiteX598" fmla="*/ 3496626 w 13061856"/>
              <a:gd name="connsiteY598" fmla="*/ 3469588 h 5116136"/>
              <a:gd name="connsiteX599" fmla="*/ 3502069 w 13061856"/>
              <a:gd name="connsiteY599" fmla="*/ 3452701 h 5116136"/>
              <a:gd name="connsiteX600" fmla="*/ 12327087 w 13061856"/>
              <a:gd name="connsiteY600" fmla="*/ 3442712 h 5116136"/>
              <a:gd name="connsiteX601" fmla="*/ 12317411 w 13061856"/>
              <a:gd name="connsiteY601" fmla="*/ 3456744 h 5116136"/>
              <a:gd name="connsiteX602" fmla="*/ 12335553 w 13061856"/>
              <a:gd name="connsiteY602" fmla="*/ 3462452 h 5116136"/>
              <a:gd name="connsiteX603" fmla="*/ 12304712 w 13061856"/>
              <a:gd name="connsiteY603" fmla="*/ 3497175 h 5116136"/>
              <a:gd name="connsiteX604" fmla="*/ 12335553 w 13061856"/>
              <a:gd name="connsiteY604" fmla="*/ 3504073 h 5116136"/>
              <a:gd name="connsiteX605" fmla="*/ 12375467 w 13061856"/>
              <a:gd name="connsiteY605" fmla="*/ 3487187 h 5116136"/>
              <a:gd name="connsiteX606" fmla="*/ 12351276 w 13061856"/>
              <a:gd name="connsiteY606" fmla="*/ 3444138 h 5116136"/>
              <a:gd name="connsiteX607" fmla="*/ 12327087 w 13061856"/>
              <a:gd name="connsiteY607" fmla="*/ 3442712 h 5116136"/>
              <a:gd name="connsiteX608" fmla="*/ 3601247 w 13061856"/>
              <a:gd name="connsiteY608" fmla="*/ 3438906 h 5116136"/>
              <a:gd name="connsiteX609" fmla="*/ 3598828 w 13061856"/>
              <a:gd name="connsiteY609" fmla="*/ 3444138 h 5116136"/>
              <a:gd name="connsiteX610" fmla="*/ 3618179 w 13061856"/>
              <a:gd name="connsiteY610" fmla="*/ 3460787 h 5116136"/>
              <a:gd name="connsiteX611" fmla="*/ 3581895 w 13061856"/>
              <a:gd name="connsiteY611" fmla="*/ 3447944 h 5116136"/>
              <a:gd name="connsiteX612" fmla="*/ 3601247 w 13061856"/>
              <a:gd name="connsiteY612" fmla="*/ 3438906 h 5116136"/>
              <a:gd name="connsiteX613" fmla="*/ 2813872 w 13061856"/>
              <a:gd name="connsiteY613" fmla="*/ 3408226 h 5116136"/>
              <a:gd name="connsiteX614" fmla="*/ 2864065 w 13061856"/>
              <a:gd name="connsiteY614" fmla="*/ 3455555 h 5116136"/>
              <a:gd name="connsiteX615" fmla="*/ 2881603 w 13061856"/>
              <a:gd name="connsiteY615" fmla="*/ 3437480 h 5116136"/>
              <a:gd name="connsiteX616" fmla="*/ 2926958 w 13061856"/>
              <a:gd name="connsiteY616" fmla="*/ 3455079 h 5116136"/>
              <a:gd name="connsiteX617" fmla="*/ 2942076 w 13061856"/>
              <a:gd name="connsiteY617" fmla="*/ 3472440 h 5116136"/>
              <a:gd name="connsiteX618" fmla="*/ 2931797 w 13061856"/>
              <a:gd name="connsiteY618" fmla="*/ 3494797 h 5116136"/>
              <a:gd name="connsiteX619" fmla="*/ 2954172 w 13061856"/>
              <a:gd name="connsiteY619" fmla="*/ 3506927 h 5116136"/>
              <a:gd name="connsiteX620" fmla="*/ 2943287 w 13061856"/>
              <a:gd name="connsiteY620" fmla="*/ 3510970 h 5116136"/>
              <a:gd name="connsiteX621" fmla="*/ 3131362 w 13061856"/>
              <a:gd name="connsiteY621" fmla="*/ 3528331 h 5116136"/>
              <a:gd name="connsiteX622" fmla="*/ 3137409 w 13061856"/>
              <a:gd name="connsiteY622" fmla="*/ 3550927 h 5116136"/>
              <a:gd name="connsiteX623" fmla="*/ 2852575 w 13061856"/>
              <a:gd name="connsiteY623" fmla="*/ 3534040 h 5116136"/>
              <a:gd name="connsiteX624" fmla="*/ 2807824 w 13061856"/>
              <a:gd name="connsiteY624" fmla="*/ 3505738 h 5116136"/>
              <a:gd name="connsiteX625" fmla="*/ 2842294 w 13061856"/>
              <a:gd name="connsiteY625" fmla="*/ 3502408 h 5116136"/>
              <a:gd name="connsiteX626" fmla="*/ 2861647 w 13061856"/>
              <a:gd name="connsiteY626" fmla="*/ 3489089 h 5116136"/>
              <a:gd name="connsiteX627" fmla="*/ 2825966 w 13061856"/>
              <a:gd name="connsiteY627" fmla="*/ 3472440 h 5116136"/>
              <a:gd name="connsiteX628" fmla="*/ 2813872 w 13061856"/>
              <a:gd name="connsiteY628" fmla="*/ 3408226 h 5116136"/>
              <a:gd name="connsiteX629" fmla="*/ 2793688 w 13061856"/>
              <a:gd name="connsiteY629" fmla="*/ 3405700 h 5116136"/>
              <a:gd name="connsiteX630" fmla="*/ 2799358 w 13061856"/>
              <a:gd name="connsiteY630" fmla="*/ 3411080 h 5116136"/>
              <a:gd name="connsiteX631" fmla="*/ 2773353 w 13061856"/>
              <a:gd name="connsiteY631" fmla="*/ 3416788 h 5116136"/>
              <a:gd name="connsiteX632" fmla="*/ 2786658 w 13061856"/>
              <a:gd name="connsiteY632" fmla="*/ 3405848 h 5116136"/>
              <a:gd name="connsiteX633" fmla="*/ 2793688 w 13061856"/>
              <a:gd name="connsiteY633" fmla="*/ 3405700 h 5116136"/>
              <a:gd name="connsiteX634" fmla="*/ 506776 w 13061856"/>
              <a:gd name="connsiteY634" fmla="*/ 3388723 h 5116136"/>
              <a:gd name="connsiteX635" fmla="*/ 512823 w 13061856"/>
              <a:gd name="connsiteY635" fmla="*/ 3419642 h 5116136"/>
              <a:gd name="connsiteX636" fmla="*/ 506776 w 13061856"/>
              <a:gd name="connsiteY636" fmla="*/ 3388723 h 5116136"/>
              <a:gd name="connsiteX637" fmla="*/ 270321 w 13061856"/>
              <a:gd name="connsiteY637" fmla="*/ 3351384 h 5116136"/>
              <a:gd name="connsiteX638" fmla="*/ 305397 w 13061856"/>
              <a:gd name="connsiteY638" fmla="*/ 3379211 h 5116136"/>
              <a:gd name="connsiteX639" fmla="*/ 327772 w 13061856"/>
              <a:gd name="connsiteY639" fmla="*/ 3368746 h 5116136"/>
              <a:gd name="connsiteX640" fmla="*/ 350752 w 13061856"/>
              <a:gd name="connsiteY640" fmla="*/ 3388723 h 5116136"/>
              <a:gd name="connsiteX641" fmla="*/ 241294 w 13061856"/>
              <a:gd name="connsiteY641" fmla="*/ 3352811 h 5116136"/>
              <a:gd name="connsiteX642" fmla="*/ 270321 w 13061856"/>
              <a:gd name="connsiteY642" fmla="*/ 3351384 h 5116136"/>
              <a:gd name="connsiteX643" fmla="*/ 3616366 w 13061856"/>
              <a:gd name="connsiteY643" fmla="*/ 3350909 h 5116136"/>
              <a:gd name="connsiteX644" fmla="*/ 3600642 w 13061856"/>
              <a:gd name="connsiteY644" fmla="*/ 3363751 h 5116136"/>
              <a:gd name="connsiteX645" fmla="*/ 3627251 w 13061856"/>
              <a:gd name="connsiteY645" fmla="*/ 3368270 h 5116136"/>
              <a:gd name="connsiteX646" fmla="*/ 3616366 w 13061856"/>
              <a:gd name="connsiteY646" fmla="*/ 3350909 h 5116136"/>
              <a:gd name="connsiteX647" fmla="*/ 3664746 w 13061856"/>
              <a:gd name="connsiteY647" fmla="*/ 3327839 h 5116136"/>
              <a:gd name="connsiteX648" fmla="*/ 3705263 w 13061856"/>
              <a:gd name="connsiteY648" fmla="*/ 3361373 h 5116136"/>
              <a:gd name="connsiteX649" fmla="*/ 3702239 w 13061856"/>
              <a:gd name="connsiteY649" fmla="*/ 3350909 h 5116136"/>
              <a:gd name="connsiteX650" fmla="*/ 3731267 w 13061856"/>
              <a:gd name="connsiteY650" fmla="*/ 3345200 h 5116136"/>
              <a:gd name="connsiteX651" fmla="*/ 3664746 w 13061856"/>
              <a:gd name="connsiteY651" fmla="*/ 3327839 h 5116136"/>
              <a:gd name="connsiteX652" fmla="*/ 2657243 w 13061856"/>
              <a:gd name="connsiteY652" fmla="*/ 3308812 h 5116136"/>
              <a:gd name="connsiteX653" fmla="*/ 2705018 w 13061856"/>
              <a:gd name="connsiteY653" fmla="*/ 3329978 h 5116136"/>
              <a:gd name="connsiteX654" fmla="*/ 2679013 w 13061856"/>
              <a:gd name="connsiteY654" fmla="*/ 3326174 h 5116136"/>
              <a:gd name="connsiteX655" fmla="*/ 2664499 w 13061856"/>
              <a:gd name="connsiteY655" fmla="*/ 3342346 h 5116136"/>
              <a:gd name="connsiteX656" fmla="*/ 2657243 w 13061856"/>
              <a:gd name="connsiteY656" fmla="*/ 3308812 h 5116136"/>
              <a:gd name="connsiteX657" fmla="*/ 2522385 w 13061856"/>
              <a:gd name="connsiteY657" fmla="*/ 3285029 h 5116136"/>
              <a:gd name="connsiteX658" fmla="*/ 2707436 w 13061856"/>
              <a:gd name="connsiteY658" fmla="*/ 3407037 h 5116136"/>
              <a:gd name="connsiteX659" fmla="*/ 2521175 w 13061856"/>
              <a:gd name="connsiteY659" fmla="*/ 3394907 h 5116136"/>
              <a:gd name="connsiteX660" fmla="*/ 2530247 w 13061856"/>
              <a:gd name="connsiteY660" fmla="*/ 3360184 h 5116136"/>
              <a:gd name="connsiteX661" fmla="*/ 2489729 w 13061856"/>
              <a:gd name="connsiteY661" fmla="*/ 3307623 h 5116136"/>
              <a:gd name="connsiteX662" fmla="*/ 2530851 w 13061856"/>
              <a:gd name="connsiteY662" fmla="*/ 3309288 h 5116136"/>
              <a:gd name="connsiteX663" fmla="*/ 2522385 w 13061856"/>
              <a:gd name="connsiteY663" fmla="*/ 3285029 h 5116136"/>
              <a:gd name="connsiteX664" fmla="*/ 3015856 w 13061856"/>
              <a:gd name="connsiteY664" fmla="*/ 3242457 h 5116136"/>
              <a:gd name="connsiteX665" fmla="*/ 3035813 w 13061856"/>
              <a:gd name="connsiteY665" fmla="*/ 3253397 h 5116136"/>
              <a:gd name="connsiteX666" fmla="*/ 2998318 w 13061856"/>
              <a:gd name="connsiteY666" fmla="*/ 3258629 h 5116136"/>
              <a:gd name="connsiteX667" fmla="*/ 3015856 w 13061856"/>
              <a:gd name="connsiteY667" fmla="*/ 3242457 h 5116136"/>
              <a:gd name="connsiteX668" fmla="*/ 2457677 w 13061856"/>
              <a:gd name="connsiteY668" fmla="*/ 3234846 h 5116136"/>
              <a:gd name="connsiteX669" fmla="*/ 2477634 w 13061856"/>
              <a:gd name="connsiteY669" fmla="*/ 3240078 h 5116136"/>
              <a:gd name="connsiteX670" fmla="*/ 2463121 w 13061856"/>
              <a:gd name="connsiteY670" fmla="*/ 3276467 h 5116136"/>
              <a:gd name="connsiteX671" fmla="*/ 2488519 w 13061856"/>
              <a:gd name="connsiteY671" fmla="*/ 3258629 h 5116136"/>
              <a:gd name="connsiteX672" fmla="*/ 2506057 w 13061856"/>
              <a:gd name="connsiteY672" fmla="*/ 3282175 h 5116136"/>
              <a:gd name="connsiteX673" fmla="*/ 2467353 w 13061856"/>
              <a:gd name="connsiteY673" fmla="*/ 3292639 h 5116136"/>
              <a:gd name="connsiteX674" fmla="*/ 2449211 w 13061856"/>
              <a:gd name="connsiteY674" fmla="*/ 3235321 h 5116136"/>
              <a:gd name="connsiteX675" fmla="*/ 2457677 w 13061856"/>
              <a:gd name="connsiteY675" fmla="*/ 3234846 h 5116136"/>
              <a:gd name="connsiteX676" fmla="*/ 3168855 w 13061856"/>
              <a:gd name="connsiteY676" fmla="*/ 3219863 h 5116136"/>
              <a:gd name="connsiteX677" fmla="*/ 3193651 w 13061856"/>
              <a:gd name="connsiteY677" fmla="*/ 3219863 h 5116136"/>
              <a:gd name="connsiteX678" fmla="*/ 3183370 w 13061856"/>
              <a:gd name="connsiteY678" fmla="*/ 3226045 h 5116136"/>
              <a:gd name="connsiteX679" fmla="*/ 3188207 w 13061856"/>
              <a:gd name="connsiteY679" fmla="*/ 3233657 h 5116136"/>
              <a:gd name="connsiteX680" fmla="*/ 3168855 w 13061856"/>
              <a:gd name="connsiteY680" fmla="*/ 3219863 h 5116136"/>
              <a:gd name="connsiteX681" fmla="*/ 2382613 w 13061856"/>
              <a:gd name="connsiteY681" fmla="*/ 3217276 h 5116136"/>
              <a:gd name="connsiteX682" fmla="*/ 2389342 w 13061856"/>
              <a:gd name="connsiteY682" fmla="*/ 3217959 h 5116136"/>
              <a:gd name="connsiteX683" fmla="*/ 2434093 w 13061856"/>
              <a:gd name="connsiteY683" fmla="*/ 3237224 h 5116136"/>
              <a:gd name="connsiteX684" fmla="*/ 2425626 w 13061856"/>
              <a:gd name="connsiteY684" fmla="*/ 3276467 h 5116136"/>
              <a:gd name="connsiteX685" fmla="*/ 2375432 w 13061856"/>
              <a:gd name="connsiteY685" fmla="*/ 3220337 h 5116136"/>
              <a:gd name="connsiteX686" fmla="*/ 2382613 w 13061856"/>
              <a:gd name="connsiteY686" fmla="*/ 3217276 h 5116136"/>
              <a:gd name="connsiteX687" fmla="*/ 3110800 w 13061856"/>
              <a:gd name="connsiteY687" fmla="*/ 3203690 h 5116136"/>
              <a:gd name="connsiteX688" fmla="*/ 3107172 w 13061856"/>
              <a:gd name="connsiteY688" fmla="*/ 3242932 h 5116136"/>
              <a:gd name="connsiteX689" fmla="*/ 3092053 w 13061856"/>
              <a:gd name="connsiteY689" fmla="*/ 3237700 h 5116136"/>
              <a:gd name="connsiteX690" fmla="*/ 3110800 w 13061856"/>
              <a:gd name="connsiteY690" fmla="*/ 3203690 h 5116136"/>
              <a:gd name="connsiteX691" fmla="*/ 3110800 w 13061856"/>
              <a:gd name="connsiteY691" fmla="*/ 3201786 h 5116136"/>
              <a:gd name="connsiteX692" fmla="*/ 3112615 w 13061856"/>
              <a:gd name="connsiteY692" fmla="*/ 3202976 h 5116136"/>
              <a:gd name="connsiteX693" fmla="*/ 3110800 w 13061856"/>
              <a:gd name="connsiteY693" fmla="*/ 3203690 h 5116136"/>
              <a:gd name="connsiteX694" fmla="*/ 3110800 w 13061856"/>
              <a:gd name="connsiteY694" fmla="*/ 3201786 h 5116136"/>
              <a:gd name="connsiteX695" fmla="*/ 3106567 w 13061856"/>
              <a:gd name="connsiteY695" fmla="*/ 3175388 h 5116136"/>
              <a:gd name="connsiteX696" fmla="*/ 3110800 w 13061856"/>
              <a:gd name="connsiteY696" fmla="*/ 3201786 h 5116136"/>
              <a:gd name="connsiteX697" fmla="*/ 3076329 w 13061856"/>
              <a:gd name="connsiteY697" fmla="*/ 3186327 h 5116136"/>
              <a:gd name="connsiteX698" fmla="*/ 3106567 w 13061856"/>
              <a:gd name="connsiteY698" fmla="*/ 3175388 h 5116136"/>
              <a:gd name="connsiteX699" fmla="*/ 153606 w 13061856"/>
              <a:gd name="connsiteY699" fmla="*/ 3162068 h 5116136"/>
              <a:gd name="connsiteX700" fmla="*/ 348938 w 13061856"/>
              <a:gd name="connsiteY700" fmla="*/ 3215581 h 5116136"/>
              <a:gd name="connsiteX701" fmla="*/ 359219 w 13061856"/>
              <a:gd name="connsiteY701" fmla="*/ 3201786 h 5116136"/>
              <a:gd name="connsiteX702" fmla="*/ 405783 w 13061856"/>
              <a:gd name="connsiteY702" fmla="*/ 3220337 h 5116136"/>
              <a:gd name="connsiteX703" fmla="*/ 499519 w 13061856"/>
              <a:gd name="connsiteY703" fmla="*/ 3248639 h 5116136"/>
              <a:gd name="connsiteX704" fmla="*/ 625305 w 13061856"/>
              <a:gd name="connsiteY704" fmla="*/ 3308812 h 5116136"/>
              <a:gd name="connsiteX705" fmla="*/ 659172 w 13061856"/>
              <a:gd name="connsiteY705" fmla="*/ 3338066 h 5116136"/>
              <a:gd name="connsiteX706" fmla="*/ 671871 w 13061856"/>
              <a:gd name="connsiteY706" fmla="*/ 3327126 h 5116136"/>
              <a:gd name="connsiteX707" fmla="*/ 653728 w 13061856"/>
              <a:gd name="connsiteY707" fmla="*/ 3356141 h 5116136"/>
              <a:gd name="connsiteX708" fmla="*/ 639215 w 13061856"/>
              <a:gd name="connsiteY708" fmla="*/ 3356617 h 5116136"/>
              <a:gd name="connsiteX709" fmla="*/ 641029 w 13061856"/>
              <a:gd name="connsiteY709" fmla="*/ 3326650 h 5116136"/>
              <a:gd name="connsiteX710" fmla="*/ 621072 w 13061856"/>
              <a:gd name="connsiteY710" fmla="*/ 3333071 h 5116136"/>
              <a:gd name="connsiteX711" fmla="*/ 616838 w 13061856"/>
              <a:gd name="connsiteY711" fmla="*/ 3332358 h 5116136"/>
              <a:gd name="connsiteX712" fmla="*/ 598697 w 13061856"/>
              <a:gd name="connsiteY712" fmla="*/ 3351384 h 5116136"/>
              <a:gd name="connsiteX713" fmla="*/ 479562 w 13061856"/>
              <a:gd name="connsiteY713" fmla="*/ 3310477 h 5116136"/>
              <a:gd name="connsiteX714" fmla="*/ 434811 w 13061856"/>
              <a:gd name="connsiteY714" fmla="*/ 3298348 h 5116136"/>
              <a:gd name="connsiteX715" fmla="*/ 372523 w 13061856"/>
              <a:gd name="connsiteY715" fmla="*/ 3303580 h 5116136"/>
              <a:gd name="connsiteX716" fmla="*/ 364056 w 13061856"/>
              <a:gd name="connsiteY716" fmla="*/ 3286218 h 5116136"/>
              <a:gd name="connsiteX717" fmla="*/ 151791 w 13061856"/>
              <a:gd name="connsiteY717" fmla="*/ 3239364 h 5116136"/>
              <a:gd name="connsiteX718" fmla="*/ 172353 w 13061856"/>
              <a:gd name="connsiteY718" fmla="*/ 3217009 h 5116136"/>
              <a:gd name="connsiteX719" fmla="*/ 157234 w 13061856"/>
              <a:gd name="connsiteY719" fmla="*/ 3190846 h 5116136"/>
              <a:gd name="connsiteX720" fmla="*/ 153606 w 13061856"/>
              <a:gd name="connsiteY720" fmla="*/ 3208922 h 5116136"/>
              <a:gd name="connsiteX721" fmla="*/ 109460 w 13061856"/>
              <a:gd name="connsiteY721" fmla="*/ 3180620 h 5116136"/>
              <a:gd name="connsiteX722" fmla="*/ 153606 w 13061856"/>
              <a:gd name="connsiteY722" fmla="*/ 3162068 h 5116136"/>
              <a:gd name="connsiteX723" fmla="*/ 2904583 w 13061856"/>
              <a:gd name="connsiteY723" fmla="*/ 3137572 h 5116136"/>
              <a:gd name="connsiteX724" fmla="*/ 2911841 w 13061856"/>
              <a:gd name="connsiteY724" fmla="*/ 3138761 h 5116136"/>
              <a:gd name="connsiteX725" fmla="*/ 2920306 w 13061856"/>
              <a:gd name="connsiteY725" fmla="*/ 3154934 h 5116136"/>
              <a:gd name="connsiteX726" fmla="*/ 2900955 w 13061856"/>
              <a:gd name="connsiteY726" fmla="*/ 3142328 h 5116136"/>
              <a:gd name="connsiteX727" fmla="*/ 2904583 w 13061856"/>
              <a:gd name="connsiteY727" fmla="*/ 3137572 h 5116136"/>
              <a:gd name="connsiteX728" fmla="*/ 2980175 w 13061856"/>
              <a:gd name="connsiteY728" fmla="*/ 3082633 h 5116136"/>
              <a:gd name="connsiteX729" fmla="*/ 2972920 w 13061856"/>
              <a:gd name="connsiteY729" fmla="*/ 3084059 h 5116136"/>
              <a:gd name="connsiteX730" fmla="*/ 2970500 w 13061856"/>
              <a:gd name="connsiteY730" fmla="*/ 3095475 h 5116136"/>
              <a:gd name="connsiteX731" fmla="*/ 2994084 w 13061856"/>
              <a:gd name="connsiteY731" fmla="*/ 3101183 h 5116136"/>
              <a:gd name="connsiteX732" fmla="*/ 2980175 w 13061856"/>
              <a:gd name="connsiteY732" fmla="*/ 3082633 h 5116136"/>
              <a:gd name="connsiteX733" fmla="*/ 3288595 w 13061856"/>
              <a:gd name="connsiteY733" fmla="*/ 3071216 h 5116136"/>
              <a:gd name="connsiteX734" fmla="*/ 3263800 w 13061856"/>
              <a:gd name="connsiteY734" fmla="*/ 3082633 h 5116136"/>
              <a:gd name="connsiteX735" fmla="*/ 3288595 w 13061856"/>
              <a:gd name="connsiteY735" fmla="*/ 3071216 h 5116136"/>
              <a:gd name="connsiteX736" fmla="*/ 1514883 w 13061856"/>
              <a:gd name="connsiteY736" fmla="*/ 3059087 h 5116136"/>
              <a:gd name="connsiteX737" fmla="*/ 1526373 w 13061856"/>
              <a:gd name="connsiteY737" fmla="*/ 3076449 h 5116136"/>
              <a:gd name="connsiteX738" fmla="*/ 1501578 w 13061856"/>
              <a:gd name="connsiteY738" fmla="*/ 3075973 h 5116136"/>
              <a:gd name="connsiteX739" fmla="*/ 1514883 w 13061856"/>
              <a:gd name="connsiteY739" fmla="*/ 3059087 h 5116136"/>
              <a:gd name="connsiteX740" fmla="*/ 12455292 w 13061856"/>
              <a:gd name="connsiteY740" fmla="*/ 3054568 h 5116136"/>
              <a:gd name="connsiteX741" fmla="*/ 12424450 w 13061856"/>
              <a:gd name="connsiteY741" fmla="*/ 3091432 h 5116136"/>
              <a:gd name="connsiteX742" fmla="*/ 12450455 w 13061856"/>
              <a:gd name="connsiteY742" fmla="*/ 3109507 h 5116136"/>
              <a:gd name="connsiteX743" fmla="*/ 12415380 w 13061856"/>
              <a:gd name="connsiteY743" fmla="*/ 3128534 h 5116136"/>
              <a:gd name="connsiteX744" fmla="*/ 12449245 w 13061856"/>
              <a:gd name="connsiteY744" fmla="*/ 3127107 h 5116136"/>
              <a:gd name="connsiteX745" fmla="*/ 12448641 w 13061856"/>
              <a:gd name="connsiteY745" fmla="*/ 3176814 h 5116136"/>
              <a:gd name="connsiteX746" fmla="*/ 12483111 w 13061856"/>
              <a:gd name="connsiteY746" fmla="*/ 3157788 h 5116136"/>
              <a:gd name="connsiteX747" fmla="*/ 12455292 w 13061856"/>
              <a:gd name="connsiteY747" fmla="*/ 3054568 h 5116136"/>
              <a:gd name="connsiteX748" fmla="*/ 12155945 w 13061856"/>
              <a:gd name="connsiteY748" fmla="*/ 3035778 h 5116136"/>
              <a:gd name="connsiteX749" fmla="*/ 12142640 w 13061856"/>
              <a:gd name="connsiteY749" fmla="*/ 3059087 h 5116136"/>
              <a:gd name="connsiteX750" fmla="*/ 12134779 w 13061856"/>
              <a:gd name="connsiteY750" fmla="*/ 3047671 h 5116136"/>
              <a:gd name="connsiteX751" fmla="*/ 12155945 w 13061856"/>
              <a:gd name="connsiteY751" fmla="*/ 3035778 h 5116136"/>
              <a:gd name="connsiteX752" fmla="*/ 3018879 w 13061856"/>
              <a:gd name="connsiteY752" fmla="*/ 3035778 h 5116136"/>
              <a:gd name="connsiteX753" fmla="*/ 3046092 w 13061856"/>
              <a:gd name="connsiteY753" fmla="*/ 3066460 h 5116136"/>
              <a:gd name="connsiteX754" fmla="*/ 3018879 w 13061856"/>
              <a:gd name="connsiteY754" fmla="*/ 3035778 h 5116136"/>
              <a:gd name="connsiteX755" fmla="*/ 2897326 w 13061856"/>
              <a:gd name="connsiteY755" fmla="*/ 3031498 h 5116136"/>
              <a:gd name="connsiteX756" fmla="*/ 2882207 w 13061856"/>
              <a:gd name="connsiteY756" fmla="*/ 3042438 h 5116136"/>
              <a:gd name="connsiteX757" fmla="*/ 2872532 w 13061856"/>
              <a:gd name="connsiteY757" fmla="*/ 3031974 h 5116136"/>
              <a:gd name="connsiteX758" fmla="*/ 2903978 w 13061856"/>
              <a:gd name="connsiteY758" fmla="*/ 3036730 h 5116136"/>
              <a:gd name="connsiteX759" fmla="*/ 2897326 w 13061856"/>
              <a:gd name="connsiteY759" fmla="*/ 3031498 h 5116136"/>
              <a:gd name="connsiteX760" fmla="*/ 891997 w 13061856"/>
              <a:gd name="connsiteY760" fmla="*/ 3016277 h 5116136"/>
              <a:gd name="connsiteX761" fmla="*/ 982105 w 13061856"/>
              <a:gd name="connsiteY761" fmla="*/ 3027692 h 5116136"/>
              <a:gd name="connsiteX762" fmla="*/ 1000246 w 13061856"/>
              <a:gd name="connsiteY762" fmla="*/ 3033876 h 5116136"/>
              <a:gd name="connsiteX763" fmla="*/ 1004480 w 13061856"/>
              <a:gd name="connsiteY763" fmla="*/ 3052190 h 5116136"/>
              <a:gd name="connsiteX764" fmla="*/ 1097610 w 13061856"/>
              <a:gd name="connsiteY764" fmla="*/ 3074070 h 5116136"/>
              <a:gd name="connsiteX765" fmla="*/ 1093982 w 13061856"/>
              <a:gd name="connsiteY765" fmla="*/ 3097140 h 5116136"/>
              <a:gd name="connsiteX766" fmla="*/ 976056 w 13061856"/>
              <a:gd name="connsiteY766" fmla="*/ 3091432 h 5116136"/>
              <a:gd name="connsiteX767" fmla="*/ 967590 w 13061856"/>
              <a:gd name="connsiteY767" fmla="*/ 3068838 h 5116136"/>
              <a:gd name="connsiteX768" fmla="*/ 921630 w 13061856"/>
              <a:gd name="connsiteY768" fmla="*/ 3086913 h 5116136"/>
              <a:gd name="connsiteX769" fmla="*/ 908325 w 13061856"/>
              <a:gd name="connsiteY769" fmla="*/ 3033876 h 5116136"/>
              <a:gd name="connsiteX770" fmla="*/ 893207 w 13061856"/>
              <a:gd name="connsiteY770" fmla="*/ 3046244 h 5116136"/>
              <a:gd name="connsiteX771" fmla="*/ 891997 w 13061856"/>
              <a:gd name="connsiteY771" fmla="*/ 3016277 h 5116136"/>
              <a:gd name="connsiteX772" fmla="*/ 2530851 w 13061856"/>
              <a:gd name="connsiteY772" fmla="*/ 3009380 h 5116136"/>
              <a:gd name="connsiteX773" fmla="*/ 2565322 w 13061856"/>
              <a:gd name="connsiteY773" fmla="*/ 3027218 h 5116136"/>
              <a:gd name="connsiteX774" fmla="*/ 2553831 w 13061856"/>
              <a:gd name="connsiteY774" fmla="*/ 3058374 h 5116136"/>
              <a:gd name="connsiteX775" fmla="*/ 2531456 w 13061856"/>
              <a:gd name="connsiteY775" fmla="*/ 3035304 h 5116136"/>
              <a:gd name="connsiteX776" fmla="*/ 2501824 w 13061856"/>
              <a:gd name="connsiteY776" fmla="*/ 3047671 h 5116136"/>
              <a:gd name="connsiteX777" fmla="*/ 2493358 w 13061856"/>
              <a:gd name="connsiteY777" fmla="*/ 3034352 h 5116136"/>
              <a:gd name="connsiteX778" fmla="*/ 2530851 w 13061856"/>
              <a:gd name="connsiteY778" fmla="*/ 3009380 h 5116136"/>
              <a:gd name="connsiteX779" fmla="*/ 2354871 w 13061856"/>
              <a:gd name="connsiteY779" fmla="*/ 2994396 h 5116136"/>
              <a:gd name="connsiteX780" fmla="*/ 2370595 w 13061856"/>
              <a:gd name="connsiteY780" fmla="*/ 2995110 h 5116136"/>
              <a:gd name="connsiteX781" fmla="*/ 2386318 w 13061856"/>
              <a:gd name="connsiteY781" fmla="*/ 3017466 h 5116136"/>
              <a:gd name="connsiteX782" fmla="*/ 2412927 w 13061856"/>
              <a:gd name="connsiteY782" fmla="*/ 3012234 h 5116136"/>
              <a:gd name="connsiteX783" fmla="*/ 2423812 w 13061856"/>
              <a:gd name="connsiteY783" fmla="*/ 3030072 h 5116136"/>
              <a:gd name="connsiteX784" fmla="*/ 2411717 w 13061856"/>
              <a:gd name="connsiteY784" fmla="*/ 3023888 h 5116136"/>
              <a:gd name="connsiteX785" fmla="*/ 2376037 w 13061856"/>
              <a:gd name="connsiteY785" fmla="*/ 3030072 h 5116136"/>
              <a:gd name="connsiteX786" fmla="*/ 2369991 w 13061856"/>
              <a:gd name="connsiteY786" fmla="*/ 3006526 h 5116136"/>
              <a:gd name="connsiteX787" fmla="*/ 2366966 w 13061856"/>
              <a:gd name="connsiteY787" fmla="*/ 3018179 h 5116136"/>
              <a:gd name="connsiteX788" fmla="*/ 2351243 w 13061856"/>
              <a:gd name="connsiteY788" fmla="*/ 3001294 h 5116136"/>
              <a:gd name="connsiteX789" fmla="*/ 2354871 w 13061856"/>
              <a:gd name="connsiteY789" fmla="*/ 2994396 h 5116136"/>
              <a:gd name="connsiteX790" fmla="*/ 12180134 w 13061856"/>
              <a:gd name="connsiteY790" fmla="*/ 2990829 h 5116136"/>
              <a:gd name="connsiteX791" fmla="*/ 12161387 w 13061856"/>
              <a:gd name="connsiteY791" fmla="*/ 2991304 h 5116136"/>
              <a:gd name="connsiteX792" fmla="*/ 12135988 w 13061856"/>
              <a:gd name="connsiteY792" fmla="*/ 3015088 h 5116136"/>
              <a:gd name="connsiteX793" fmla="*/ 12152316 w 13061856"/>
              <a:gd name="connsiteY793" fmla="*/ 3022699 h 5116136"/>
              <a:gd name="connsiteX794" fmla="*/ 12047091 w 13061856"/>
              <a:gd name="connsiteY794" fmla="*/ 3015801 h 5116136"/>
              <a:gd name="connsiteX795" fmla="*/ 12085794 w 13061856"/>
              <a:gd name="connsiteY795" fmla="*/ 3058374 h 5116136"/>
              <a:gd name="connsiteX796" fmla="*/ 12086399 w 13061856"/>
              <a:gd name="connsiteY796" fmla="*/ 3034828 h 5116136"/>
              <a:gd name="connsiteX797" fmla="*/ 12122683 w 13061856"/>
              <a:gd name="connsiteY797" fmla="*/ 3040060 h 5116136"/>
              <a:gd name="connsiteX798" fmla="*/ 12295036 w 13061856"/>
              <a:gd name="connsiteY798" fmla="*/ 3090243 h 5116136"/>
              <a:gd name="connsiteX799" fmla="*/ 12281731 w 13061856"/>
              <a:gd name="connsiteY799" fmla="*/ 3029596 h 5116136"/>
              <a:gd name="connsiteX800" fmla="*/ 12266612 w 13061856"/>
              <a:gd name="connsiteY800" fmla="*/ 3040536 h 5116136"/>
              <a:gd name="connsiteX801" fmla="*/ 12257541 w 13061856"/>
              <a:gd name="connsiteY801" fmla="*/ 2992256 h 5116136"/>
              <a:gd name="connsiteX802" fmla="*/ 12180134 w 13061856"/>
              <a:gd name="connsiteY802" fmla="*/ 2990829 h 5116136"/>
              <a:gd name="connsiteX803" fmla="*/ 12747988 w 13061856"/>
              <a:gd name="connsiteY803" fmla="*/ 2986072 h 5116136"/>
              <a:gd name="connsiteX804" fmla="*/ 12762502 w 13061856"/>
              <a:gd name="connsiteY804" fmla="*/ 2995586 h 5116136"/>
              <a:gd name="connsiteX805" fmla="*/ 12738918 w 13061856"/>
              <a:gd name="connsiteY805" fmla="*/ 3004148 h 5116136"/>
              <a:gd name="connsiteX806" fmla="*/ 12747988 w 13061856"/>
              <a:gd name="connsiteY806" fmla="*/ 2986072 h 5116136"/>
              <a:gd name="connsiteX807" fmla="*/ 2294624 w 13061856"/>
              <a:gd name="connsiteY807" fmla="*/ 2981595 h 5116136"/>
              <a:gd name="connsiteX808" fmla="*/ 2341567 w 13061856"/>
              <a:gd name="connsiteY808" fmla="*/ 2992731 h 5116136"/>
              <a:gd name="connsiteX809" fmla="*/ 2319191 w 13061856"/>
              <a:gd name="connsiteY809" fmla="*/ 3015088 h 5116136"/>
              <a:gd name="connsiteX810" fmla="*/ 2278069 w 13061856"/>
              <a:gd name="connsiteY810" fmla="*/ 2981791 h 5116136"/>
              <a:gd name="connsiteX811" fmla="*/ 2294624 w 13061856"/>
              <a:gd name="connsiteY811" fmla="*/ 2981595 h 5116136"/>
              <a:gd name="connsiteX812" fmla="*/ 1980535 w 13061856"/>
              <a:gd name="connsiteY812" fmla="*/ 2981078 h 5116136"/>
              <a:gd name="connsiteX813" fmla="*/ 2004725 w 13061856"/>
              <a:gd name="connsiteY813" fmla="*/ 2987023 h 5116136"/>
              <a:gd name="connsiteX814" fmla="*/ 2009563 w 13061856"/>
              <a:gd name="connsiteY814" fmla="*/ 2993683 h 5116136"/>
              <a:gd name="connsiteX815" fmla="*/ 2008353 w 13061856"/>
              <a:gd name="connsiteY815" fmla="*/ 3006050 h 5116136"/>
              <a:gd name="connsiteX816" fmla="*/ 1979325 w 13061856"/>
              <a:gd name="connsiteY816" fmla="*/ 3005337 h 5116136"/>
              <a:gd name="connsiteX817" fmla="*/ 1980535 w 13061856"/>
              <a:gd name="connsiteY817" fmla="*/ 2981078 h 5116136"/>
              <a:gd name="connsiteX818" fmla="*/ 12282336 w 13061856"/>
              <a:gd name="connsiteY818" fmla="*/ 2974657 h 5116136"/>
              <a:gd name="connsiteX819" fmla="*/ 12296850 w 13061856"/>
              <a:gd name="connsiteY819" fmla="*/ 3017466 h 5116136"/>
              <a:gd name="connsiteX820" fmla="*/ 12275684 w 13061856"/>
              <a:gd name="connsiteY820" fmla="*/ 3011758 h 5116136"/>
              <a:gd name="connsiteX821" fmla="*/ 12310758 w 13061856"/>
              <a:gd name="connsiteY821" fmla="*/ 3028644 h 5116136"/>
              <a:gd name="connsiteX822" fmla="*/ 12329506 w 13061856"/>
              <a:gd name="connsiteY822" fmla="*/ 3071692 h 5116136"/>
              <a:gd name="connsiteX823" fmla="*/ 12386352 w 13061856"/>
              <a:gd name="connsiteY823" fmla="*/ 3054568 h 5116136"/>
              <a:gd name="connsiteX824" fmla="*/ 12415380 w 13061856"/>
              <a:gd name="connsiteY824" fmla="*/ 3085011 h 5116136"/>
              <a:gd name="connsiteX825" fmla="*/ 12415985 w 13061856"/>
              <a:gd name="connsiteY825" fmla="*/ 3029596 h 5116136"/>
              <a:gd name="connsiteX826" fmla="*/ 12396633 w 13061856"/>
              <a:gd name="connsiteY826" fmla="*/ 2994396 h 5116136"/>
              <a:gd name="connsiteX827" fmla="*/ 12282336 w 13061856"/>
              <a:gd name="connsiteY827" fmla="*/ 2974657 h 5116136"/>
              <a:gd name="connsiteX828" fmla="*/ 2222433 w 13061856"/>
              <a:gd name="connsiteY828" fmla="*/ 2972992 h 5116136"/>
              <a:gd name="connsiteX829" fmla="*/ 2241179 w 13061856"/>
              <a:gd name="connsiteY829" fmla="*/ 2972992 h 5116136"/>
              <a:gd name="connsiteX830" fmla="*/ 2210942 w 13061856"/>
              <a:gd name="connsiteY830" fmla="*/ 2981791 h 5116136"/>
              <a:gd name="connsiteX831" fmla="*/ 2222433 w 13061856"/>
              <a:gd name="connsiteY831" fmla="*/ 2972992 h 5116136"/>
              <a:gd name="connsiteX832" fmla="*/ 1534234 w 13061856"/>
              <a:gd name="connsiteY832" fmla="*/ 2967284 h 5116136"/>
              <a:gd name="connsiteX833" fmla="*/ 1530001 w 13061856"/>
              <a:gd name="connsiteY833" fmla="*/ 2996061 h 5116136"/>
              <a:gd name="connsiteX834" fmla="*/ 1494926 w 13061856"/>
              <a:gd name="connsiteY834" fmla="*/ 3012947 h 5116136"/>
              <a:gd name="connsiteX835" fmla="*/ 1515488 w 13061856"/>
              <a:gd name="connsiteY835" fmla="*/ 2977510 h 5116136"/>
              <a:gd name="connsiteX836" fmla="*/ 1534234 w 13061856"/>
              <a:gd name="connsiteY836" fmla="*/ 2967284 h 5116136"/>
              <a:gd name="connsiteX837" fmla="*/ 2174657 w 13061856"/>
              <a:gd name="connsiteY837" fmla="*/ 2966571 h 5116136"/>
              <a:gd name="connsiteX838" fmla="*/ 2203684 w 13061856"/>
              <a:gd name="connsiteY838" fmla="*/ 2978937 h 5116136"/>
              <a:gd name="connsiteX839" fmla="*/ 2177681 w 13061856"/>
              <a:gd name="connsiteY839" fmla="*/ 2990353 h 5116136"/>
              <a:gd name="connsiteX840" fmla="*/ 2174657 w 13061856"/>
              <a:gd name="connsiteY840" fmla="*/ 2966571 h 5116136"/>
              <a:gd name="connsiteX841" fmla="*/ 1907361 w 13061856"/>
              <a:gd name="connsiteY841" fmla="*/ 2962526 h 5116136"/>
              <a:gd name="connsiteX842" fmla="*/ 1906151 w 13061856"/>
              <a:gd name="connsiteY842" fmla="*/ 2971803 h 5116136"/>
              <a:gd name="connsiteX843" fmla="*/ 1875914 w 13061856"/>
              <a:gd name="connsiteY843" fmla="*/ 2990353 h 5116136"/>
              <a:gd name="connsiteX844" fmla="*/ 1907361 w 13061856"/>
              <a:gd name="connsiteY844" fmla="*/ 2962526 h 5116136"/>
              <a:gd name="connsiteX845" fmla="*/ 1920060 w 13061856"/>
              <a:gd name="connsiteY845" fmla="*/ 2959673 h 5116136"/>
              <a:gd name="connsiteX846" fmla="*/ 1930341 w 13061856"/>
              <a:gd name="connsiteY846" fmla="*/ 2980364 h 5116136"/>
              <a:gd name="connsiteX847" fmla="*/ 1922480 w 13061856"/>
              <a:gd name="connsiteY847" fmla="*/ 2971327 h 5116136"/>
              <a:gd name="connsiteX848" fmla="*/ 1917641 w 13061856"/>
              <a:gd name="connsiteY848" fmla="*/ 2975846 h 5116136"/>
              <a:gd name="connsiteX849" fmla="*/ 1913409 w 13061856"/>
              <a:gd name="connsiteY849" fmla="*/ 2964905 h 5116136"/>
              <a:gd name="connsiteX850" fmla="*/ 1920060 w 13061856"/>
              <a:gd name="connsiteY850" fmla="*/ 2959673 h 5116136"/>
              <a:gd name="connsiteX851" fmla="*/ 2145025 w 13061856"/>
              <a:gd name="connsiteY851" fmla="*/ 2958008 h 5116136"/>
              <a:gd name="connsiteX852" fmla="*/ 2166796 w 13061856"/>
              <a:gd name="connsiteY852" fmla="*/ 2969423 h 5116136"/>
              <a:gd name="connsiteX853" fmla="*/ 2145025 w 13061856"/>
              <a:gd name="connsiteY853" fmla="*/ 2958008 h 5116136"/>
              <a:gd name="connsiteX854" fmla="*/ 1559029 w 13061856"/>
              <a:gd name="connsiteY854" fmla="*/ 2935413 h 5116136"/>
              <a:gd name="connsiteX855" fmla="*/ 1580195 w 13061856"/>
              <a:gd name="connsiteY855" fmla="*/ 2953965 h 5116136"/>
              <a:gd name="connsiteX856" fmla="*/ 1560239 w 13061856"/>
              <a:gd name="connsiteY856" fmla="*/ 2954440 h 5116136"/>
              <a:gd name="connsiteX857" fmla="*/ 1990815 w 13061856"/>
              <a:gd name="connsiteY857" fmla="*/ 2926852 h 5116136"/>
              <a:gd name="connsiteX858" fmla="*/ 2115997 w 13061856"/>
              <a:gd name="connsiteY858" fmla="*/ 2958008 h 5116136"/>
              <a:gd name="connsiteX859" fmla="*/ 2063989 w 13061856"/>
              <a:gd name="connsiteY859" fmla="*/ 2969423 h 5116136"/>
              <a:gd name="connsiteX860" fmla="*/ 1990815 w 13061856"/>
              <a:gd name="connsiteY860" fmla="*/ 2926852 h 5116136"/>
              <a:gd name="connsiteX861" fmla="*/ 1882567 w 13061856"/>
              <a:gd name="connsiteY861" fmla="*/ 2905922 h 5116136"/>
              <a:gd name="connsiteX862" fmla="*/ 1895266 w 13061856"/>
              <a:gd name="connsiteY862" fmla="*/ 2906636 h 5116136"/>
              <a:gd name="connsiteX863" fmla="*/ 1909175 w 13061856"/>
              <a:gd name="connsiteY863" fmla="*/ 2924949 h 5116136"/>
              <a:gd name="connsiteX864" fmla="*/ 1886799 w 13061856"/>
              <a:gd name="connsiteY864" fmla="*/ 2932084 h 5116136"/>
              <a:gd name="connsiteX865" fmla="*/ 1875309 w 13061856"/>
              <a:gd name="connsiteY865" fmla="*/ 2913534 h 5116136"/>
              <a:gd name="connsiteX866" fmla="*/ 1882567 w 13061856"/>
              <a:gd name="connsiteY866" fmla="*/ 2905922 h 5116136"/>
              <a:gd name="connsiteX867" fmla="*/ 1643088 w 13061856"/>
              <a:gd name="connsiteY867" fmla="*/ 2860734 h 5116136"/>
              <a:gd name="connsiteX868" fmla="*/ 1666068 w 13061856"/>
              <a:gd name="connsiteY868" fmla="*/ 2878809 h 5116136"/>
              <a:gd name="connsiteX869" fmla="*/ 1643088 w 13061856"/>
              <a:gd name="connsiteY869" fmla="*/ 2860734 h 5116136"/>
              <a:gd name="connsiteX870" fmla="*/ 901068 w 13061856"/>
              <a:gd name="connsiteY870" fmla="*/ 2755136 h 5116136"/>
              <a:gd name="connsiteX871" fmla="*/ 891997 w 13061856"/>
              <a:gd name="connsiteY871" fmla="*/ 2763222 h 5116136"/>
              <a:gd name="connsiteX872" fmla="*/ 935539 w 13061856"/>
              <a:gd name="connsiteY872" fmla="*/ 2768455 h 5116136"/>
              <a:gd name="connsiteX873" fmla="*/ 901068 w 13061856"/>
              <a:gd name="connsiteY873" fmla="*/ 2755136 h 5116136"/>
              <a:gd name="connsiteX874" fmla="*/ 9445485 w 13061856"/>
              <a:gd name="connsiteY874" fmla="*/ 2733731 h 5116136"/>
              <a:gd name="connsiteX875" fmla="*/ 9441252 w 13061856"/>
              <a:gd name="connsiteY875" fmla="*/ 2765124 h 5116136"/>
              <a:gd name="connsiteX876" fmla="*/ 9445485 w 13061856"/>
              <a:gd name="connsiteY876" fmla="*/ 2733731 h 5116136"/>
              <a:gd name="connsiteX877" fmla="*/ 529151 w 13061856"/>
              <a:gd name="connsiteY877" fmla="*/ 2700197 h 5116136"/>
              <a:gd name="connsiteX878" fmla="*/ 518870 w 13061856"/>
              <a:gd name="connsiteY878" fmla="*/ 2705429 h 5116136"/>
              <a:gd name="connsiteX879" fmla="*/ 558179 w 13061856"/>
              <a:gd name="connsiteY879" fmla="*/ 2730164 h 5116136"/>
              <a:gd name="connsiteX880" fmla="*/ 556970 w 13061856"/>
              <a:gd name="connsiteY880" fmla="*/ 2706380 h 5116136"/>
              <a:gd name="connsiteX881" fmla="*/ 538223 w 13061856"/>
              <a:gd name="connsiteY881" fmla="*/ 2701386 h 5116136"/>
              <a:gd name="connsiteX882" fmla="*/ 529151 w 13061856"/>
              <a:gd name="connsiteY882" fmla="*/ 2700197 h 5116136"/>
              <a:gd name="connsiteX883" fmla="*/ 841878 w 13061856"/>
              <a:gd name="connsiteY883" fmla="*/ 2697610 h 5116136"/>
              <a:gd name="connsiteX884" fmla="*/ 830918 w 13061856"/>
              <a:gd name="connsiteY884" fmla="*/ 2697818 h 5116136"/>
              <a:gd name="connsiteX885" fmla="*/ 815800 w 13061856"/>
              <a:gd name="connsiteY885" fmla="*/ 2710661 h 5116136"/>
              <a:gd name="connsiteX886" fmla="*/ 846038 w 13061856"/>
              <a:gd name="connsiteY886" fmla="*/ 2699721 h 5116136"/>
              <a:gd name="connsiteX887" fmla="*/ 841878 w 13061856"/>
              <a:gd name="connsiteY887" fmla="*/ 2697610 h 5116136"/>
              <a:gd name="connsiteX888" fmla="*/ 367080 w 13061856"/>
              <a:gd name="connsiteY888" fmla="*/ 2660478 h 5116136"/>
              <a:gd name="connsiteX889" fmla="*/ 339867 w 13061856"/>
              <a:gd name="connsiteY889" fmla="*/ 2678077 h 5116136"/>
              <a:gd name="connsiteX890" fmla="*/ 367080 w 13061856"/>
              <a:gd name="connsiteY890" fmla="*/ 2660478 h 5116136"/>
              <a:gd name="connsiteX891" fmla="*/ 12760688 w 13061856"/>
              <a:gd name="connsiteY891" fmla="*/ 2658100 h 5116136"/>
              <a:gd name="connsiteX892" fmla="*/ 12758268 w 13061856"/>
              <a:gd name="connsiteY892" fmla="*/ 2694964 h 5116136"/>
              <a:gd name="connsiteX893" fmla="*/ 12697190 w 13061856"/>
              <a:gd name="connsiteY893" fmla="*/ 2695678 h 5116136"/>
              <a:gd name="connsiteX894" fmla="*/ 12721984 w 13061856"/>
              <a:gd name="connsiteY894" fmla="*/ 2659051 h 5116136"/>
              <a:gd name="connsiteX895" fmla="*/ 12760688 w 13061856"/>
              <a:gd name="connsiteY895" fmla="*/ 2658100 h 5116136"/>
              <a:gd name="connsiteX896" fmla="*/ 3615761 w 13061856"/>
              <a:gd name="connsiteY896" fmla="*/ 2648825 h 5116136"/>
              <a:gd name="connsiteX897" fmla="*/ 3597013 w 13061856"/>
              <a:gd name="connsiteY897" fmla="*/ 2672845 h 5116136"/>
              <a:gd name="connsiteX898" fmla="*/ 3616366 w 13061856"/>
              <a:gd name="connsiteY898" fmla="*/ 2672369 h 5116136"/>
              <a:gd name="connsiteX899" fmla="*/ 1399377 w 13061856"/>
              <a:gd name="connsiteY899" fmla="*/ 2635506 h 5116136"/>
              <a:gd name="connsiteX900" fmla="*/ 1427800 w 13061856"/>
              <a:gd name="connsiteY900" fmla="*/ 2640263 h 5116136"/>
              <a:gd name="connsiteX901" fmla="*/ 1399377 w 13061856"/>
              <a:gd name="connsiteY901" fmla="*/ 2635506 h 5116136"/>
              <a:gd name="connsiteX902" fmla="*/ 1265729 w 13061856"/>
              <a:gd name="connsiteY902" fmla="*/ 2618143 h 5116136"/>
              <a:gd name="connsiteX903" fmla="*/ 1256053 w 13061856"/>
              <a:gd name="connsiteY903" fmla="*/ 2653342 h 5116136"/>
              <a:gd name="connsiteX904" fmla="*/ 1289918 w 13061856"/>
              <a:gd name="connsiteY904" fmla="*/ 2652154 h 5116136"/>
              <a:gd name="connsiteX905" fmla="*/ 1265729 w 13061856"/>
              <a:gd name="connsiteY905" fmla="*/ 2618143 h 5116136"/>
              <a:gd name="connsiteX906" fmla="*/ 12729846 w 13061856"/>
              <a:gd name="connsiteY906" fmla="*/ 2615289 h 5116136"/>
              <a:gd name="connsiteX907" fmla="*/ 12737707 w 13061856"/>
              <a:gd name="connsiteY907" fmla="*/ 2615765 h 5116136"/>
              <a:gd name="connsiteX908" fmla="*/ 12728031 w 13061856"/>
              <a:gd name="connsiteY908" fmla="*/ 2649300 h 5116136"/>
              <a:gd name="connsiteX909" fmla="*/ 12718961 w 13061856"/>
              <a:gd name="connsiteY909" fmla="*/ 2644067 h 5116136"/>
              <a:gd name="connsiteX910" fmla="*/ 12716541 w 13061856"/>
              <a:gd name="connsiteY910" fmla="*/ 2629322 h 5116136"/>
              <a:gd name="connsiteX911" fmla="*/ 12723798 w 13061856"/>
              <a:gd name="connsiteY911" fmla="*/ 2635981 h 5116136"/>
              <a:gd name="connsiteX912" fmla="*/ 12729846 w 13061856"/>
              <a:gd name="connsiteY912" fmla="*/ 2615289 h 5116136"/>
              <a:gd name="connsiteX913" fmla="*/ 3388982 w 13061856"/>
              <a:gd name="connsiteY913" fmla="*/ 2613626 h 5116136"/>
              <a:gd name="connsiteX914" fmla="*/ 3380517 w 13061856"/>
              <a:gd name="connsiteY914" fmla="*/ 2636457 h 5116136"/>
              <a:gd name="connsiteX915" fmla="*/ 3416801 w 13061856"/>
              <a:gd name="connsiteY915" fmla="*/ 2637884 h 5116136"/>
              <a:gd name="connsiteX916" fmla="*/ 3388982 w 13061856"/>
              <a:gd name="connsiteY916" fmla="*/ 2613626 h 5116136"/>
              <a:gd name="connsiteX917" fmla="*/ 1290523 w 13061856"/>
              <a:gd name="connsiteY917" fmla="*/ 2606490 h 5116136"/>
              <a:gd name="connsiteX918" fmla="*/ 1299594 w 13061856"/>
              <a:gd name="connsiteY918" fmla="*/ 2652868 h 5116136"/>
              <a:gd name="connsiteX919" fmla="*/ 1388491 w 13061856"/>
              <a:gd name="connsiteY919" fmla="*/ 2652868 h 5116136"/>
              <a:gd name="connsiteX920" fmla="*/ 1290523 w 13061856"/>
              <a:gd name="connsiteY920" fmla="*/ 2606490 h 5116136"/>
              <a:gd name="connsiteX921" fmla="*/ 2644543 w 13061856"/>
              <a:gd name="connsiteY921" fmla="*/ 2599831 h 5116136"/>
              <a:gd name="connsiteX922" fmla="*/ 2623377 w 13061856"/>
              <a:gd name="connsiteY922" fmla="*/ 2601496 h 5116136"/>
              <a:gd name="connsiteX923" fmla="*/ 2656033 w 13061856"/>
              <a:gd name="connsiteY923" fmla="*/ 2624566 h 5116136"/>
              <a:gd name="connsiteX924" fmla="*/ 2654824 w 13061856"/>
              <a:gd name="connsiteY924" fmla="*/ 2600069 h 5116136"/>
              <a:gd name="connsiteX925" fmla="*/ 2644543 w 13061856"/>
              <a:gd name="connsiteY925" fmla="*/ 2599831 h 5116136"/>
              <a:gd name="connsiteX926" fmla="*/ 1165946 w 13061856"/>
              <a:gd name="connsiteY926" fmla="*/ 2599592 h 5116136"/>
              <a:gd name="connsiteX927" fmla="*/ 1128452 w 13061856"/>
              <a:gd name="connsiteY927" fmla="*/ 2618858 h 5116136"/>
              <a:gd name="connsiteX928" fmla="*/ 1142361 w 13061856"/>
              <a:gd name="connsiteY928" fmla="*/ 2629798 h 5116136"/>
              <a:gd name="connsiteX929" fmla="*/ 1165946 w 13061856"/>
              <a:gd name="connsiteY929" fmla="*/ 2599592 h 5116136"/>
              <a:gd name="connsiteX930" fmla="*/ 784354 w 13061856"/>
              <a:gd name="connsiteY930" fmla="*/ 2595073 h 5116136"/>
              <a:gd name="connsiteX931" fmla="*/ 812775 w 13061856"/>
              <a:gd name="connsiteY931" fmla="*/ 2601496 h 5116136"/>
              <a:gd name="connsiteX932" fmla="*/ 784354 w 13061856"/>
              <a:gd name="connsiteY932" fmla="*/ 2595073 h 5116136"/>
              <a:gd name="connsiteX933" fmla="*/ 1029274 w 13061856"/>
              <a:gd name="connsiteY933" fmla="*/ 2593885 h 5116136"/>
              <a:gd name="connsiteX934" fmla="*/ 1020808 w 13061856"/>
              <a:gd name="connsiteY934" fmla="*/ 2619333 h 5116136"/>
              <a:gd name="connsiteX935" fmla="*/ 1048626 w 13061856"/>
              <a:gd name="connsiteY935" fmla="*/ 2635506 h 5116136"/>
              <a:gd name="connsiteX936" fmla="*/ 1115752 w 13061856"/>
              <a:gd name="connsiteY936" fmla="*/ 2635506 h 5116136"/>
              <a:gd name="connsiteX937" fmla="*/ 1114542 w 13061856"/>
              <a:gd name="connsiteY937" fmla="*/ 2611246 h 5116136"/>
              <a:gd name="connsiteX938" fmla="*/ 1109101 w 13061856"/>
              <a:gd name="connsiteY938" fmla="*/ 2624566 h 5116136"/>
              <a:gd name="connsiteX939" fmla="*/ 1067978 w 13061856"/>
              <a:gd name="connsiteY939" fmla="*/ 2623138 h 5116136"/>
              <a:gd name="connsiteX940" fmla="*/ 1066768 w 13061856"/>
              <a:gd name="connsiteY940" fmla="*/ 2607203 h 5116136"/>
              <a:gd name="connsiteX941" fmla="*/ 1029274 w 13061856"/>
              <a:gd name="connsiteY941" fmla="*/ 2593885 h 5116136"/>
              <a:gd name="connsiteX942" fmla="*/ 2617934 w 13061856"/>
              <a:gd name="connsiteY942" fmla="*/ 2577237 h 5116136"/>
              <a:gd name="connsiteX943" fmla="*/ 2619144 w 13061856"/>
              <a:gd name="connsiteY943" fmla="*/ 2601496 h 5116136"/>
              <a:gd name="connsiteX944" fmla="*/ 469886 w 13061856"/>
              <a:gd name="connsiteY944" fmla="*/ 2575096 h 5116136"/>
              <a:gd name="connsiteX945" fmla="*/ 488634 w 13061856"/>
              <a:gd name="connsiteY945" fmla="*/ 2607679 h 5116136"/>
              <a:gd name="connsiteX946" fmla="*/ 464444 w 13061856"/>
              <a:gd name="connsiteY946" fmla="*/ 2577712 h 5116136"/>
              <a:gd name="connsiteX947" fmla="*/ 469886 w 13061856"/>
              <a:gd name="connsiteY947" fmla="*/ 2575096 h 5116136"/>
              <a:gd name="connsiteX948" fmla="*/ 723274 w 13061856"/>
              <a:gd name="connsiteY948" fmla="*/ 2572004 h 5116136"/>
              <a:gd name="connsiteX949" fmla="*/ 723274 w 13061856"/>
              <a:gd name="connsiteY949" fmla="*/ 2613626 h 5116136"/>
              <a:gd name="connsiteX950" fmla="*/ 769234 w 13061856"/>
              <a:gd name="connsiteY950" fmla="*/ 2613626 h 5116136"/>
              <a:gd name="connsiteX951" fmla="*/ 746254 w 13061856"/>
              <a:gd name="connsiteY951" fmla="*/ 2595788 h 5116136"/>
              <a:gd name="connsiteX952" fmla="*/ 761373 w 13061856"/>
              <a:gd name="connsiteY952" fmla="*/ 2578663 h 5116136"/>
              <a:gd name="connsiteX953" fmla="*/ 723274 w 13061856"/>
              <a:gd name="connsiteY953" fmla="*/ 2572004 h 5116136"/>
              <a:gd name="connsiteX954" fmla="*/ 1415705 w 13061856"/>
              <a:gd name="connsiteY954" fmla="*/ 2556307 h 5116136"/>
              <a:gd name="connsiteX955" fmla="*/ 1403006 w 13061856"/>
              <a:gd name="connsiteY955" fmla="*/ 2570577 h 5116136"/>
              <a:gd name="connsiteX956" fmla="*/ 1432033 w 13061856"/>
              <a:gd name="connsiteY956" fmla="*/ 2559161 h 5116136"/>
              <a:gd name="connsiteX957" fmla="*/ 1415705 w 13061856"/>
              <a:gd name="connsiteY957" fmla="*/ 2556307 h 5116136"/>
              <a:gd name="connsiteX958" fmla="*/ 525523 w 13061856"/>
              <a:gd name="connsiteY958" fmla="*/ 2532763 h 5116136"/>
              <a:gd name="connsiteX959" fmla="*/ 568460 w 13061856"/>
              <a:gd name="connsiteY959" fmla="*/ 2544177 h 5116136"/>
              <a:gd name="connsiteX960" fmla="*/ 569669 w 13061856"/>
              <a:gd name="connsiteY960" fmla="*/ 2566772 h 5116136"/>
              <a:gd name="connsiteX961" fmla="*/ 555156 w 13061856"/>
              <a:gd name="connsiteY961" fmla="*/ 2567247 h 5116136"/>
              <a:gd name="connsiteX962" fmla="*/ 578136 w 13061856"/>
              <a:gd name="connsiteY962" fmla="*/ 2588176 h 5116136"/>
              <a:gd name="connsiteX963" fmla="*/ 578740 w 13061856"/>
              <a:gd name="connsiteY963" fmla="*/ 2616954 h 5116136"/>
              <a:gd name="connsiteX964" fmla="*/ 555156 w 13061856"/>
              <a:gd name="connsiteY964" fmla="*/ 2577237 h 5116136"/>
              <a:gd name="connsiteX965" fmla="*/ 539432 w 13061856"/>
              <a:gd name="connsiteY965" fmla="*/ 2588652 h 5116136"/>
              <a:gd name="connsiteX966" fmla="*/ 555156 w 13061856"/>
              <a:gd name="connsiteY966" fmla="*/ 2605301 h 5116136"/>
              <a:gd name="connsiteX967" fmla="*/ 535199 w 13061856"/>
              <a:gd name="connsiteY967" fmla="*/ 2628371 h 5116136"/>
              <a:gd name="connsiteX968" fmla="*/ 540642 w 13061856"/>
              <a:gd name="connsiteY968" fmla="*/ 2611722 h 5116136"/>
              <a:gd name="connsiteX969" fmla="*/ 518266 w 13061856"/>
              <a:gd name="connsiteY969" fmla="*/ 2588652 h 5116136"/>
              <a:gd name="connsiteX970" fmla="*/ 512823 w 13061856"/>
              <a:gd name="connsiteY970" fmla="*/ 2605301 h 5116136"/>
              <a:gd name="connsiteX971" fmla="*/ 450535 w 13061856"/>
              <a:gd name="connsiteY971" fmla="*/ 2560350 h 5116136"/>
              <a:gd name="connsiteX972" fmla="*/ 507985 w 13061856"/>
              <a:gd name="connsiteY972" fmla="*/ 2561539 h 5116136"/>
              <a:gd name="connsiteX973" fmla="*/ 484400 w 13061856"/>
              <a:gd name="connsiteY973" fmla="*/ 2555594 h 5116136"/>
              <a:gd name="connsiteX974" fmla="*/ 560598 w 13061856"/>
              <a:gd name="connsiteY974" fmla="*/ 2556307 h 5116136"/>
              <a:gd name="connsiteX975" fmla="*/ 516452 w 13061856"/>
              <a:gd name="connsiteY975" fmla="*/ 2533713 h 5116136"/>
              <a:gd name="connsiteX976" fmla="*/ 525523 w 13061856"/>
              <a:gd name="connsiteY976" fmla="*/ 2532763 h 5116136"/>
              <a:gd name="connsiteX977" fmla="*/ 727980 w 13061856"/>
              <a:gd name="connsiteY977" fmla="*/ 2526192 h 5116136"/>
              <a:gd name="connsiteX978" fmla="*/ 739601 w 13061856"/>
              <a:gd name="connsiteY978" fmla="*/ 2527529 h 5116136"/>
              <a:gd name="connsiteX979" fmla="*/ 697875 w 13061856"/>
              <a:gd name="connsiteY979" fmla="*/ 2527529 h 5116136"/>
              <a:gd name="connsiteX980" fmla="*/ 727980 w 13061856"/>
              <a:gd name="connsiteY980" fmla="*/ 2526192 h 5116136"/>
              <a:gd name="connsiteX981" fmla="*/ 742021 w 13061856"/>
              <a:gd name="connsiteY981" fmla="*/ 2526102 h 5116136"/>
              <a:gd name="connsiteX982" fmla="*/ 743231 w 13061856"/>
              <a:gd name="connsiteY982" fmla="*/ 2527529 h 5116136"/>
              <a:gd name="connsiteX983" fmla="*/ 739601 w 13061856"/>
              <a:gd name="connsiteY983" fmla="*/ 2527529 h 5116136"/>
              <a:gd name="connsiteX984" fmla="*/ 742021 w 13061856"/>
              <a:gd name="connsiteY984" fmla="*/ 2526102 h 5116136"/>
              <a:gd name="connsiteX985" fmla="*/ 2504848 w 13061856"/>
              <a:gd name="connsiteY985" fmla="*/ 2522773 h 5116136"/>
              <a:gd name="connsiteX986" fmla="*/ 2494567 w 13061856"/>
              <a:gd name="connsiteY986" fmla="*/ 2555118 h 5116136"/>
              <a:gd name="connsiteX987" fmla="*/ 2482471 w 13061856"/>
              <a:gd name="connsiteY987" fmla="*/ 2533713 h 5116136"/>
              <a:gd name="connsiteX988" fmla="*/ 2504848 w 13061856"/>
              <a:gd name="connsiteY988" fmla="*/ 2522773 h 5116136"/>
              <a:gd name="connsiteX989" fmla="*/ 1338903 w 13061856"/>
              <a:gd name="connsiteY989" fmla="*/ 2513021 h 5116136"/>
              <a:gd name="connsiteX990" fmla="*/ 1323179 w 13061856"/>
              <a:gd name="connsiteY990" fmla="*/ 2515399 h 5116136"/>
              <a:gd name="connsiteX991" fmla="*/ 1338903 w 13061856"/>
              <a:gd name="connsiteY991" fmla="*/ 2513021 h 5116136"/>
              <a:gd name="connsiteX992" fmla="*/ 2407483 w 13061856"/>
              <a:gd name="connsiteY992" fmla="*/ 2510167 h 5116136"/>
              <a:gd name="connsiteX993" fmla="*/ 2437721 w 13061856"/>
              <a:gd name="connsiteY993" fmla="*/ 2534189 h 5116136"/>
              <a:gd name="connsiteX994" fmla="*/ 2425021 w 13061856"/>
              <a:gd name="connsiteY994" fmla="*/ 2547031 h 5116136"/>
              <a:gd name="connsiteX995" fmla="*/ 2423812 w 13061856"/>
              <a:gd name="connsiteY995" fmla="*/ 2523248 h 5116136"/>
              <a:gd name="connsiteX996" fmla="*/ 2334310 w 13061856"/>
              <a:gd name="connsiteY996" fmla="*/ 2551075 h 5116136"/>
              <a:gd name="connsiteX997" fmla="*/ 2376641 w 13061856"/>
              <a:gd name="connsiteY997" fmla="*/ 2534902 h 5116136"/>
              <a:gd name="connsiteX998" fmla="*/ 2362733 w 13061856"/>
              <a:gd name="connsiteY998" fmla="*/ 2518254 h 5116136"/>
              <a:gd name="connsiteX999" fmla="*/ 2407483 w 13061856"/>
              <a:gd name="connsiteY999" fmla="*/ 2510167 h 5116136"/>
              <a:gd name="connsiteX1000" fmla="*/ 1596523 w 13061856"/>
              <a:gd name="connsiteY1000" fmla="*/ 2507789 h 5116136"/>
              <a:gd name="connsiteX1001" fmla="*/ 1597733 w 13061856"/>
              <a:gd name="connsiteY1001" fmla="*/ 2529670 h 5116136"/>
              <a:gd name="connsiteX1002" fmla="*/ 1616479 w 13061856"/>
              <a:gd name="connsiteY1002" fmla="*/ 2537043 h 5116136"/>
              <a:gd name="connsiteX1003" fmla="*/ 1596523 w 13061856"/>
              <a:gd name="connsiteY1003" fmla="*/ 2507789 h 5116136"/>
              <a:gd name="connsiteX1004" fmla="*/ 1543910 w 13061856"/>
              <a:gd name="connsiteY1004" fmla="*/ 2503746 h 5116136"/>
              <a:gd name="connsiteX1005" fmla="*/ 1508230 w 13061856"/>
              <a:gd name="connsiteY1005" fmla="*/ 2536091 h 5116136"/>
              <a:gd name="connsiteX1006" fmla="*/ 1567496 w 13061856"/>
              <a:gd name="connsiteY1006" fmla="*/ 2547031 h 5116136"/>
              <a:gd name="connsiteX1007" fmla="*/ 1591686 w 13061856"/>
              <a:gd name="connsiteY1007" fmla="*/ 2507313 h 5116136"/>
              <a:gd name="connsiteX1008" fmla="*/ 1543910 w 13061856"/>
              <a:gd name="connsiteY1008" fmla="*/ 2503746 h 5116136"/>
              <a:gd name="connsiteX1009" fmla="*/ 723879 w 13061856"/>
              <a:gd name="connsiteY1009" fmla="*/ 2501131 h 5116136"/>
              <a:gd name="connsiteX1010" fmla="*/ 750487 w 13061856"/>
              <a:gd name="connsiteY1010" fmla="*/ 2520394 h 5116136"/>
              <a:gd name="connsiteX1011" fmla="*/ 742021 w 13061856"/>
              <a:gd name="connsiteY1011" fmla="*/ 2526102 h 5116136"/>
              <a:gd name="connsiteX1012" fmla="*/ 724484 w 13061856"/>
              <a:gd name="connsiteY1012" fmla="*/ 2504459 h 5116136"/>
              <a:gd name="connsiteX1013" fmla="*/ 723879 w 13061856"/>
              <a:gd name="connsiteY1013" fmla="*/ 2501131 h 5116136"/>
              <a:gd name="connsiteX1014" fmla="*/ 270321 w 13061856"/>
              <a:gd name="connsiteY1014" fmla="*/ 2494471 h 5116136"/>
              <a:gd name="connsiteX1015" fmla="*/ 296325 w 13061856"/>
              <a:gd name="connsiteY1015" fmla="*/ 2520394 h 5116136"/>
              <a:gd name="connsiteX1016" fmla="*/ 261249 w 13061856"/>
              <a:gd name="connsiteY1016" fmla="*/ 2497325 h 5116136"/>
              <a:gd name="connsiteX1017" fmla="*/ 270321 w 13061856"/>
              <a:gd name="connsiteY1017" fmla="*/ 2494471 h 5116136"/>
              <a:gd name="connsiteX1018" fmla="*/ 1034113 w 13061856"/>
              <a:gd name="connsiteY1018" fmla="*/ 2467358 h 5116136"/>
              <a:gd name="connsiteX1019" fmla="*/ 1039554 w 13061856"/>
              <a:gd name="connsiteY1019" fmla="*/ 2495422 h 5116136"/>
              <a:gd name="connsiteX1020" fmla="*/ 1058302 w 13061856"/>
              <a:gd name="connsiteY1020" fmla="*/ 2473542 h 5116136"/>
              <a:gd name="connsiteX1021" fmla="*/ 1034113 w 13061856"/>
              <a:gd name="connsiteY1021" fmla="*/ 2467358 h 5116136"/>
              <a:gd name="connsiteX1022" fmla="*/ 1020203 w 13061856"/>
              <a:gd name="connsiteY1022" fmla="*/ 2466169 h 5116136"/>
              <a:gd name="connsiteX1023" fmla="*/ 988151 w 13061856"/>
              <a:gd name="connsiteY1023" fmla="*/ 2473542 h 5116136"/>
              <a:gd name="connsiteX1024" fmla="*/ 1020203 w 13061856"/>
              <a:gd name="connsiteY1024" fmla="*/ 2466169 h 5116136"/>
              <a:gd name="connsiteX1025" fmla="*/ 1166551 w 13061856"/>
              <a:gd name="connsiteY1025" fmla="*/ 2460936 h 5116136"/>
              <a:gd name="connsiteX1026" fmla="*/ 1072816 w 13061856"/>
              <a:gd name="connsiteY1026" fmla="*/ 2473066 h 5116136"/>
              <a:gd name="connsiteX1027" fmla="*/ 1099424 w 13061856"/>
              <a:gd name="connsiteY1027" fmla="*/ 2496849 h 5116136"/>
              <a:gd name="connsiteX1028" fmla="*/ 1182275 w 13061856"/>
              <a:gd name="connsiteY1028" fmla="*/ 2484006 h 5116136"/>
              <a:gd name="connsiteX1029" fmla="*/ 1205859 w 13061856"/>
              <a:gd name="connsiteY1029" fmla="*/ 2490190 h 5116136"/>
              <a:gd name="connsiteX1030" fmla="*/ 1166551 w 13061856"/>
              <a:gd name="connsiteY1030" fmla="*/ 2460936 h 5116136"/>
              <a:gd name="connsiteX1031" fmla="*/ 9072 w 13061856"/>
              <a:gd name="connsiteY1031" fmla="*/ 2458558 h 5116136"/>
              <a:gd name="connsiteX1032" fmla="*/ 33866 w 13061856"/>
              <a:gd name="connsiteY1032" fmla="*/ 2468547 h 5116136"/>
              <a:gd name="connsiteX1033" fmla="*/ 10886 w 13061856"/>
              <a:gd name="connsiteY1033" fmla="*/ 2481152 h 5116136"/>
              <a:gd name="connsiteX1034" fmla="*/ 19353 w 13061856"/>
              <a:gd name="connsiteY1034" fmla="*/ 2504459 h 5116136"/>
              <a:gd name="connsiteX1035" fmla="*/ 32658 w 13061856"/>
              <a:gd name="connsiteY1035" fmla="*/ 2480676 h 5116136"/>
              <a:gd name="connsiteX1036" fmla="*/ 65918 w 13061856"/>
              <a:gd name="connsiteY1036" fmla="*/ 2492092 h 5116136"/>
              <a:gd name="connsiteX1037" fmla="*/ 76803 w 13061856"/>
              <a:gd name="connsiteY1037" fmla="*/ 2474255 h 5116136"/>
              <a:gd name="connsiteX1038" fmla="*/ 246131 w 13061856"/>
              <a:gd name="connsiteY1038" fmla="*/ 2503033 h 5116136"/>
              <a:gd name="connsiteX1039" fmla="*/ 272135 w 13061856"/>
              <a:gd name="connsiteY1039" fmla="*/ 2562728 h 5116136"/>
              <a:gd name="connsiteX1040" fmla="*/ 253389 w 13061856"/>
              <a:gd name="connsiteY1040" fmla="*/ 2551075 h 5116136"/>
              <a:gd name="connsiteX1041" fmla="*/ 252179 w 13061856"/>
              <a:gd name="connsiteY1041" fmla="*/ 2532763 h 5116136"/>
              <a:gd name="connsiteX1042" fmla="*/ 232827 w 13061856"/>
              <a:gd name="connsiteY1042" fmla="*/ 2526816 h 5116136"/>
              <a:gd name="connsiteX1043" fmla="*/ 243713 w 13061856"/>
              <a:gd name="connsiteY1043" fmla="*/ 2552264 h 5116136"/>
              <a:gd name="connsiteX1044" fmla="*/ 191100 w 13061856"/>
              <a:gd name="connsiteY1044" fmla="*/ 2575810 h 5116136"/>
              <a:gd name="connsiteX1045" fmla="*/ 199567 w 13061856"/>
              <a:gd name="connsiteY1045" fmla="*/ 2521583 h 5116136"/>
              <a:gd name="connsiteX1046" fmla="*/ 171143 w 13061856"/>
              <a:gd name="connsiteY1046" fmla="*/ 2508978 h 5116136"/>
              <a:gd name="connsiteX1047" fmla="*/ 185052 w 13061856"/>
              <a:gd name="connsiteY1047" fmla="*/ 2516351 h 5116136"/>
              <a:gd name="connsiteX1048" fmla="*/ 67732 w 13061856"/>
              <a:gd name="connsiteY1048" fmla="*/ 2541323 h 5116136"/>
              <a:gd name="connsiteX1049" fmla="*/ 66523 w 13061856"/>
              <a:gd name="connsiteY1049" fmla="*/ 2522773 h 5116136"/>
              <a:gd name="connsiteX1050" fmla="*/ 96761 w 13061856"/>
              <a:gd name="connsiteY1050" fmla="*/ 2504935 h 5116136"/>
              <a:gd name="connsiteX1051" fmla="*/ 81037 w 13061856"/>
              <a:gd name="connsiteY1051" fmla="*/ 2486860 h 5116136"/>
              <a:gd name="connsiteX1052" fmla="*/ 79827 w 13061856"/>
              <a:gd name="connsiteY1052" fmla="*/ 2493519 h 5116136"/>
              <a:gd name="connsiteX1053" fmla="*/ 0 w 13061856"/>
              <a:gd name="connsiteY1053" fmla="*/ 2504935 h 5116136"/>
              <a:gd name="connsiteX1054" fmla="*/ 4839 w 13061856"/>
              <a:gd name="connsiteY1054" fmla="*/ 2462125 h 5116136"/>
              <a:gd name="connsiteX1055" fmla="*/ 9072 w 13061856"/>
              <a:gd name="connsiteY1055" fmla="*/ 2458558 h 5116136"/>
              <a:gd name="connsiteX1056" fmla="*/ 916791 w 13061856"/>
              <a:gd name="connsiteY1056" fmla="*/ 2453802 h 5116136"/>
              <a:gd name="connsiteX1057" fmla="*/ 907116 w 13061856"/>
              <a:gd name="connsiteY1057" fmla="*/ 2456893 h 5116136"/>
              <a:gd name="connsiteX1058" fmla="*/ 944610 w 13061856"/>
              <a:gd name="connsiteY1058" fmla="*/ 2479963 h 5116136"/>
              <a:gd name="connsiteX1059" fmla="*/ 916791 w 13061856"/>
              <a:gd name="connsiteY1059" fmla="*/ 2453802 h 5116136"/>
              <a:gd name="connsiteX1060" fmla="*/ 1159295 w 13061856"/>
              <a:gd name="connsiteY1060" fmla="*/ 2436201 h 5116136"/>
              <a:gd name="connsiteX1061" fmla="*/ 1142966 w 13061856"/>
              <a:gd name="connsiteY1061" fmla="*/ 2449520 h 5116136"/>
              <a:gd name="connsiteX1062" fmla="*/ 1182275 w 13061856"/>
              <a:gd name="connsiteY1062" fmla="*/ 2444764 h 5116136"/>
              <a:gd name="connsiteX1063" fmla="*/ 1159295 w 13061856"/>
              <a:gd name="connsiteY1063" fmla="*/ 2436201 h 5116136"/>
              <a:gd name="connsiteX1064" fmla="*/ 1253030 w 13061856"/>
              <a:gd name="connsiteY1064" fmla="*/ 2435250 h 5116136"/>
              <a:gd name="connsiteX1065" fmla="*/ 1251819 w 13061856"/>
              <a:gd name="connsiteY1065" fmla="*/ 2438342 h 5116136"/>
              <a:gd name="connsiteX1066" fmla="*/ 1242143 w 13061856"/>
              <a:gd name="connsiteY1066" fmla="*/ 2449520 h 5116136"/>
              <a:gd name="connsiteX1067" fmla="*/ 1230049 w 13061856"/>
              <a:gd name="connsiteY1067" fmla="*/ 2454752 h 5116136"/>
              <a:gd name="connsiteX1068" fmla="*/ 1260285 w 13061856"/>
              <a:gd name="connsiteY1068" fmla="*/ 2460936 h 5116136"/>
              <a:gd name="connsiteX1069" fmla="*/ 1265124 w 13061856"/>
              <a:gd name="connsiteY1069" fmla="*/ 2455704 h 5116136"/>
              <a:gd name="connsiteX1070" fmla="*/ 1253030 w 13061856"/>
              <a:gd name="connsiteY1070" fmla="*/ 2435250 h 5116136"/>
              <a:gd name="connsiteX1071" fmla="*/ 1405425 w 13061856"/>
              <a:gd name="connsiteY1071" fmla="*/ 2420267 h 5116136"/>
              <a:gd name="connsiteX1072" fmla="*/ 1425381 w 13061856"/>
              <a:gd name="connsiteY1072" fmla="*/ 2421694 h 5116136"/>
              <a:gd name="connsiteX1073" fmla="*/ 1364302 w 13061856"/>
              <a:gd name="connsiteY1073" fmla="*/ 2443575 h 5116136"/>
              <a:gd name="connsiteX1074" fmla="*/ 1405425 w 13061856"/>
              <a:gd name="connsiteY1074" fmla="*/ 2420267 h 5116136"/>
              <a:gd name="connsiteX1075" fmla="*/ 12650625 w 13061856"/>
              <a:gd name="connsiteY1075" fmla="*/ 2393154 h 5116136"/>
              <a:gd name="connsiteX1076" fmla="*/ 12671790 w 13061856"/>
              <a:gd name="connsiteY1076" fmla="*/ 2423359 h 5116136"/>
              <a:gd name="connsiteX1077" fmla="*/ 12640949 w 13061856"/>
              <a:gd name="connsiteY1077" fmla="*/ 2397911 h 5116136"/>
              <a:gd name="connsiteX1078" fmla="*/ 12650625 w 13061856"/>
              <a:gd name="connsiteY1078" fmla="*/ 2393154 h 5116136"/>
              <a:gd name="connsiteX1079" fmla="*/ 427554 w 13061856"/>
              <a:gd name="connsiteY1079" fmla="*/ 2389825 h 5116136"/>
              <a:gd name="connsiteX1080" fmla="*/ 448720 w 13061856"/>
              <a:gd name="connsiteY1080" fmla="*/ 2389825 h 5116136"/>
              <a:gd name="connsiteX1081" fmla="*/ 428764 w 13061856"/>
              <a:gd name="connsiteY1081" fmla="*/ 2406472 h 5116136"/>
              <a:gd name="connsiteX1082" fmla="*/ 427554 w 13061856"/>
              <a:gd name="connsiteY1082" fmla="*/ 2389825 h 5116136"/>
              <a:gd name="connsiteX1083" fmla="*/ 140906 w 13061856"/>
              <a:gd name="connsiteY1083" fmla="*/ 2387446 h 5116136"/>
              <a:gd name="connsiteX1084" fmla="*/ 139697 w 13061856"/>
              <a:gd name="connsiteY1084" fmla="*/ 2403143 h 5116136"/>
              <a:gd name="connsiteX1085" fmla="*/ 189890 w 13061856"/>
              <a:gd name="connsiteY1085" fmla="*/ 2435012 h 5116136"/>
              <a:gd name="connsiteX1086" fmla="*/ 131835 w 13061856"/>
              <a:gd name="connsiteY1086" fmla="*/ 2413132 h 5116136"/>
              <a:gd name="connsiteX1087" fmla="*/ 132439 w 13061856"/>
              <a:gd name="connsiteY1087" fmla="*/ 2400765 h 5116136"/>
              <a:gd name="connsiteX1088" fmla="*/ 140906 w 13061856"/>
              <a:gd name="connsiteY1088" fmla="*/ 2387446 h 5116136"/>
              <a:gd name="connsiteX1089" fmla="*/ 1251214 w 13061856"/>
              <a:gd name="connsiteY1089" fmla="*/ 2383403 h 5116136"/>
              <a:gd name="connsiteX1090" fmla="*/ 1242749 w 13061856"/>
              <a:gd name="connsiteY1090" fmla="*/ 2386495 h 5116136"/>
              <a:gd name="connsiteX1091" fmla="*/ 1247586 w 13061856"/>
              <a:gd name="connsiteY1091" fmla="*/ 2396959 h 5116136"/>
              <a:gd name="connsiteX1092" fmla="*/ 1223397 w 13061856"/>
              <a:gd name="connsiteY1092" fmla="*/ 2402667 h 5116136"/>
              <a:gd name="connsiteX1093" fmla="*/ 1254239 w 13061856"/>
              <a:gd name="connsiteY1093" fmla="*/ 2385305 h 5116136"/>
              <a:gd name="connsiteX1094" fmla="*/ 1251214 w 13061856"/>
              <a:gd name="connsiteY1094" fmla="*/ 2383403 h 5116136"/>
              <a:gd name="connsiteX1095" fmla="*/ 2122045 w 13061856"/>
              <a:gd name="connsiteY1095" fmla="*/ 2378884 h 5116136"/>
              <a:gd name="connsiteX1096" fmla="*/ 2112369 w 13061856"/>
              <a:gd name="connsiteY1096" fmla="*/ 2391014 h 5116136"/>
              <a:gd name="connsiteX1097" fmla="*/ 2142002 w 13061856"/>
              <a:gd name="connsiteY1097" fmla="*/ 2380073 h 5116136"/>
              <a:gd name="connsiteX1098" fmla="*/ 2122045 w 13061856"/>
              <a:gd name="connsiteY1098" fmla="*/ 2378884 h 5116136"/>
              <a:gd name="connsiteX1099" fmla="*/ 793423 w 13061856"/>
              <a:gd name="connsiteY1099" fmla="*/ 2376030 h 5116136"/>
              <a:gd name="connsiteX1100" fmla="*/ 817009 w 13061856"/>
              <a:gd name="connsiteY1100" fmla="*/ 2400765 h 5116136"/>
              <a:gd name="connsiteX1101" fmla="*/ 801890 w 13061856"/>
              <a:gd name="connsiteY1101" fmla="*/ 2401241 h 5116136"/>
              <a:gd name="connsiteX1102" fmla="*/ 793423 w 13061856"/>
              <a:gd name="connsiteY1102" fmla="*/ 2376030 h 5116136"/>
              <a:gd name="connsiteX1103" fmla="*/ 1835396 w 13061856"/>
              <a:gd name="connsiteY1103" fmla="*/ 2362474 h 5116136"/>
              <a:gd name="connsiteX1104" fmla="*/ 1820278 w 13061856"/>
              <a:gd name="connsiteY1104" fmla="*/ 2374365 h 5116136"/>
              <a:gd name="connsiteX1105" fmla="*/ 1848702 w 13061856"/>
              <a:gd name="connsiteY1105" fmla="*/ 2380549 h 5116136"/>
              <a:gd name="connsiteX1106" fmla="*/ 1835396 w 13061856"/>
              <a:gd name="connsiteY1106" fmla="*/ 2362474 h 5116136"/>
              <a:gd name="connsiteX1107" fmla="*/ 2029519 w 13061856"/>
              <a:gd name="connsiteY1107" fmla="*/ 2361522 h 5116136"/>
              <a:gd name="connsiteX1108" fmla="*/ 2016820 w 13061856"/>
              <a:gd name="connsiteY1108" fmla="*/ 2372939 h 5116136"/>
              <a:gd name="connsiteX1109" fmla="*/ 2051894 w 13061856"/>
              <a:gd name="connsiteY1109" fmla="*/ 2361998 h 5116136"/>
              <a:gd name="connsiteX1110" fmla="*/ 2029519 w 13061856"/>
              <a:gd name="connsiteY1110" fmla="*/ 2361522 h 5116136"/>
              <a:gd name="connsiteX1111" fmla="*/ 1994444 w 13061856"/>
              <a:gd name="connsiteY1111" fmla="*/ 2357479 h 5116136"/>
              <a:gd name="connsiteX1112" fmla="*/ 1993840 w 13061856"/>
              <a:gd name="connsiteY1112" fmla="*/ 2403143 h 5116136"/>
              <a:gd name="connsiteX1113" fmla="*/ 1929131 w 13061856"/>
              <a:gd name="connsiteY1113" fmla="*/ 2408851 h 5116136"/>
              <a:gd name="connsiteX1114" fmla="*/ 1920060 w 13061856"/>
              <a:gd name="connsiteY1114" fmla="*/ 2390300 h 5116136"/>
              <a:gd name="connsiteX1115" fmla="*/ 1880148 w 13061856"/>
              <a:gd name="connsiteY1115" fmla="*/ 2421218 h 5116136"/>
              <a:gd name="connsiteX1116" fmla="*/ 1923690 w 13061856"/>
              <a:gd name="connsiteY1116" fmla="*/ 2454752 h 5116136"/>
              <a:gd name="connsiteX1117" fmla="*/ 1933365 w 13061856"/>
              <a:gd name="connsiteY1117" fmla="*/ 2419316 h 5116136"/>
              <a:gd name="connsiteX1118" fmla="*/ 1967231 w 13061856"/>
              <a:gd name="connsiteY1118" fmla="*/ 2449996 h 5116136"/>
              <a:gd name="connsiteX1119" fmla="*/ 1938203 w 13061856"/>
              <a:gd name="connsiteY1119" fmla="*/ 2449996 h 5116136"/>
              <a:gd name="connsiteX1120" fmla="*/ 1979930 w 13061856"/>
              <a:gd name="connsiteY1120" fmla="*/ 2473066 h 5116136"/>
              <a:gd name="connsiteX1121" fmla="*/ 2023471 w 13061856"/>
              <a:gd name="connsiteY1121" fmla="*/ 2437153 h 5116136"/>
              <a:gd name="connsiteX1122" fmla="*/ 2060362 w 13061856"/>
              <a:gd name="connsiteY1122" fmla="*/ 2460460 h 5116136"/>
              <a:gd name="connsiteX1123" fmla="*/ 2057338 w 13061856"/>
              <a:gd name="connsiteY1123" fmla="*/ 2477822 h 5116136"/>
              <a:gd name="connsiteX1124" fmla="*/ 2193405 w 13061856"/>
              <a:gd name="connsiteY1124" fmla="*/ 2483530 h 5116136"/>
              <a:gd name="connsiteX1125" fmla="*/ 2146840 w 13061856"/>
              <a:gd name="connsiteY1125" fmla="*/ 2501605 h 5116136"/>
              <a:gd name="connsiteX1126" fmla="*/ 1961787 w 13061856"/>
              <a:gd name="connsiteY1126" fmla="*/ 2495422 h 5116136"/>
              <a:gd name="connsiteX1127" fmla="*/ 1965416 w 13061856"/>
              <a:gd name="connsiteY1127" fmla="*/ 2483530 h 5116136"/>
              <a:gd name="connsiteX1128" fmla="*/ 1942436 w 13061856"/>
              <a:gd name="connsiteY1128" fmla="*/ 2501605 h 5116136"/>
              <a:gd name="connsiteX1129" fmla="*/ 1886195 w 13061856"/>
              <a:gd name="connsiteY1129" fmla="*/ 2484482 h 5116136"/>
              <a:gd name="connsiteX1130" fmla="*/ 1929131 w 13061856"/>
              <a:gd name="connsiteY1130" fmla="*/ 2530383 h 5116136"/>
              <a:gd name="connsiteX1131" fmla="*/ 1998677 w 13061856"/>
              <a:gd name="connsiteY1131" fmla="*/ 2530383 h 5116136"/>
              <a:gd name="connsiteX1132" fmla="*/ 2004119 w 13061856"/>
              <a:gd name="connsiteY1132" fmla="*/ 2554642 h 5116136"/>
              <a:gd name="connsiteX1133" fmla="*/ 2107532 w 13061856"/>
              <a:gd name="connsiteY1133" fmla="*/ 2559161 h 5116136"/>
              <a:gd name="connsiteX1134" fmla="*/ 2158934 w 13061856"/>
              <a:gd name="connsiteY1134" fmla="*/ 2583420 h 5116136"/>
              <a:gd name="connsiteX1135" fmla="*/ 2297421 w 13061856"/>
              <a:gd name="connsiteY1135" fmla="*/ 2605301 h 5116136"/>
              <a:gd name="connsiteX1136" fmla="*/ 2314958 w 13061856"/>
              <a:gd name="connsiteY1136" fmla="*/ 2589128 h 5116136"/>
              <a:gd name="connsiteX1137" fmla="*/ 2400832 w 13061856"/>
              <a:gd name="connsiteY1137" fmla="*/ 2588652 h 5116136"/>
              <a:gd name="connsiteX1138" fmla="*/ 2423812 w 13061856"/>
              <a:gd name="connsiteY1138" fmla="*/ 2612436 h 5116136"/>
              <a:gd name="connsiteX1139" fmla="*/ 2508476 w 13061856"/>
              <a:gd name="connsiteY1139" fmla="*/ 2593885 h 5116136"/>
              <a:gd name="connsiteX1140" fmla="*/ 2612492 w 13061856"/>
              <a:gd name="connsiteY1140" fmla="*/ 2543227 h 5116136"/>
              <a:gd name="connsiteX1141" fmla="*/ 2636681 w 13061856"/>
              <a:gd name="connsiteY1141" fmla="*/ 2549410 h 5116136"/>
              <a:gd name="connsiteX1142" fmla="*/ 2637891 w 13061856"/>
              <a:gd name="connsiteY1142" fmla="*/ 2564869 h 5116136"/>
              <a:gd name="connsiteX1143" fmla="*/ 2712880 w 13061856"/>
              <a:gd name="connsiteY1143" fmla="*/ 2559874 h 5116136"/>
              <a:gd name="connsiteX1144" fmla="*/ 2694132 w 13061856"/>
              <a:gd name="connsiteY1144" fmla="*/ 2548221 h 5116136"/>
              <a:gd name="connsiteX1145" fmla="*/ 2722556 w 13061856"/>
              <a:gd name="connsiteY1145" fmla="*/ 2554642 h 5116136"/>
              <a:gd name="connsiteX1146" fmla="*/ 2735860 w 13061856"/>
              <a:gd name="connsiteY1146" fmla="*/ 2532048 h 5116136"/>
              <a:gd name="connsiteX1147" fmla="*/ 2661476 w 13061856"/>
              <a:gd name="connsiteY1147" fmla="*/ 2531335 h 5116136"/>
              <a:gd name="connsiteX1148" fmla="*/ 2582255 w 13061856"/>
              <a:gd name="connsiteY1148" fmla="*/ 2536567 h 5116136"/>
              <a:gd name="connsiteX1149" fmla="*/ 2574997 w 13061856"/>
              <a:gd name="connsiteY1149" fmla="*/ 2523962 h 5116136"/>
              <a:gd name="connsiteX1150" fmla="*/ 2590722 w 13061856"/>
              <a:gd name="connsiteY1150" fmla="*/ 2513497 h 5116136"/>
              <a:gd name="connsiteX1151" fmla="*/ 2452840 w 13061856"/>
              <a:gd name="connsiteY1151" fmla="*/ 2484006 h 5116136"/>
              <a:gd name="connsiteX1152" fmla="*/ 2420183 w 13061856"/>
              <a:gd name="connsiteY1152" fmla="*/ 2500655 h 5116136"/>
              <a:gd name="connsiteX1153" fmla="*/ 2383294 w 13061856"/>
              <a:gd name="connsiteY1153" fmla="*/ 2489714 h 5116136"/>
              <a:gd name="connsiteX1154" fmla="*/ 2245413 w 13061856"/>
              <a:gd name="connsiteY1154" fmla="*/ 2456180 h 5116136"/>
              <a:gd name="connsiteX1155" fmla="*/ 2227270 w 13061856"/>
              <a:gd name="connsiteY1155" fmla="*/ 2478298 h 5116136"/>
              <a:gd name="connsiteX1156" fmla="*/ 2230899 w 13061856"/>
              <a:gd name="connsiteY1156" fmla="*/ 2455228 h 5116136"/>
              <a:gd name="connsiteX1157" fmla="*/ 2193405 w 13061856"/>
              <a:gd name="connsiteY1157" fmla="*/ 2437866 h 5116136"/>
              <a:gd name="connsiteX1158" fmla="*/ 2191591 w 13061856"/>
              <a:gd name="connsiteY1158" fmla="*/ 2467358 h 5116136"/>
              <a:gd name="connsiteX1159" fmla="*/ 2168610 w 13061856"/>
              <a:gd name="connsiteY1159" fmla="*/ 2461412 h 5116136"/>
              <a:gd name="connsiteX1160" fmla="*/ 2183729 w 13061856"/>
              <a:gd name="connsiteY1160" fmla="*/ 2442861 h 5116136"/>
              <a:gd name="connsiteX1161" fmla="*/ 2146234 w 13061856"/>
              <a:gd name="connsiteY1161" fmla="*/ 2425737 h 5116136"/>
              <a:gd name="connsiteX1162" fmla="*/ 2154701 w 13061856"/>
              <a:gd name="connsiteY1162" fmla="*/ 2448094 h 5116136"/>
              <a:gd name="connsiteX1163" fmla="*/ 2117207 w 13061856"/>
              <a:gd name="connsiteY1163" fmla="*/ 2431445 h 5116136"/>
              <a:gd name="connsiteX1164" fmla="*/ 2147444 w 13061856"/>
              <a:gd name="connsiteY1164" fmla="*/ 2414083 h 5116136"/>
              <a:gd name="connsiteX1165" fmla="*/ 2114183 w 13061856"/>
              <a:gd name="connsiteY1165" fmla="*/ 2408851 h 5116136"/>
              <a:gd name="connsiteX1166" fmla="*/ 2074270 w 13061856"/>
              <a:gd name="connsiteY1166" fmla="*/ 2419792 h 5116136"/>
              <a:gd name="connsiteX1167" fmla="*/ 2080922 w 13061856"/>
              <a:gd name="connsiteY1167" fmla="*/ 2437866 h 5116136"/>
              <a:gd name="connsiteX1168" fmla="*/ 2061570 w 13061856"/>
              <a:gd name="connsiteY1168" fmla="*/ 2444288 h 5116136"/>
              <a:gd name="connsiteX1169" fmla="*/ 2047058 w 13061856"/>
              <a:gd name="connsiteY1169" fmla="*/ 2403619 h 5116136"/>
              <a:gd name="connsiteX1170" fmla="*/ 2065803 w 13061856"/>
              <a:gd name="connsiteY1170" fmla="*/ 2403143 h 5116136"/>
              <a:gd name="connsiteX1171" fmla="*/ 1998677 w 13061856"/>
              <a:gd name="connsiteY1171" fmla="*/ 2403143 h 5116136"/>
              <a:gd name="connsiteX1172" fmla="*/ 2004119 w 13061856"/>
              <a:gd name="connsiteY1172" fmla="*/ 2391727 h 5116136"/>
              <a:gd name="connsiteX1173" fmla="*/ 2027705 w 13061856"/>
              <a:gd name="connsiteY1173" fmla="*/ 2403619 h 5116136"/>
              <a:gd name="connsiteX1174" fmla="*/ 1994444 w 13061856"/>
              <a:gd name="connsiteY1174" fmla="*/ 2357479 h 5116136"/>
              <a:gd name="connsiteX1175" fmla="*/ 1941832 w 13061856"/>
              <a:gd name="connsiteY1175" fmla="*/ 2356290 h 5116136"/>
              <a:gd name="connsiteX1176" fmla="*/ 1929131 w 13061856"/>
              <a:gd name="connsiteY1176" fmla="*/ 2367231 h 5116136"/>
              <a:gd name="connsiteX1177" fmla="*/ 1952111 w 13061856"/>
              <a:gd name="connsiteY1177" fmla="*/ 2379599 h 5116136"/>
              <a:gd name="connsiteX1178" fmla="*/ 1941832 w 13061856"/>
              <a:gd name="connsiteY1178" fmla="*/ 2356290 h 5116136"/>
              <a:gd name="connsiteX1179" fmla="*/ 1214930 w 13061856"/>
              <a:gd name="connsiteY1179" fmla="*/ 2349393 h 5116136"/>
              <a:gd name="connsiteX1180" fmla="*/ 1204045 w 13061856"/>
              <a:gd name="connsiteY1180" fmla="*/ 2351058 h 5116136"/>
              <a:gd name="connsiteX1181" fmla="*/ 1205255 w 13061856"/>
              <a:gd name="connsiteY1181" fmla="*/ 2369133 h 5116136"/>
              <a:gd name="connsiteX1182" fmla="*/ 1196183 w 13061856"/>
              <a:gd name="connsiteY1182" fmla="*/ 2368658 h 5116136"/>
              <a:gd name="connsiteX1183" fmla="*/ 1224001 w 13061856"/>
              <a:gd name="connsiteY1183" fmla="*/ 2380549 h 5116136"/>
              <a:gd name="connsiteX1184" fmla="*/ 1214930 w 13061856"/>
              <a:gd name="connsiteY1184" fmla="*/ 2349393 h 5116136"/>
              <a:gd name="connsiteX1185" fmla="*/ 1814835 w 13061856"/>
              <a:gd name="connsiteY1185" fmla="*/ 2343685 h 5116136"/>
              <a:gd name="connsiteX1186" fmla="*/ 1780969 w 13061856"/>
              <a:gd name="connsiteY1186" fmla="*/ 2351058 h 5116136"/>
              <a:gd name="connsiteX1187" fmla="*/ 1814835 w 13061856"/>
              <a:gd name="connsiteY1187" fmla="*/ 2343685 h 5116136"/>
              <a:gd name="connsiteX1188" fmla="*/ 1937598 w 13061856"/>
              <a:gd name="connsiteY1188" fmla="*/ 2338453 h 5116136"/>
              <a:gd name="connsiteX1189" fmla="*/ 1905547 w 13061856"/>
              <a:gd name="connsiteY1189" fmla="*/ 2351534 h 5116136"/>
              <a:gd name="connsiteX1190" fmla="*/ 1937598 w 13061856"/>
              <a:gd name="connsiteY1190" fmla="*/ 2338453 h 5116136"/>
              <a:gd name="connsiteX1191" fmla="*/ 1952584 w 13061856"/>
              <a:gd name="connsiteY1191" fmla="*/ 2333544 h 5116136"/>
              <a:gd name="connsiteX1192" fmla="*/ 1946670 w 13061856"/>
              <a:gd name="connsiteY1192" fmla="*/ 2333696 h 5116136"/>
              <a:gd name="connsiteX1193" fmla="*/ 1941832 w 13061856"/>
              <a:gd name="connsiteY1193" fmla="*/ 2344874 h 5116136"/>
              <a:gd name="connsiteX1194" fmla="*/ 1966021 w 13061856"/>
              <a:gd name="connsiteY1194" fmla="*/ 2378884 h 5116136"/>
              <a:gd name="connsiteX1195" fmla="*/ 1971464 w 13061856"/>
              <a:gd name="connsiteY1195" fmla="*/ 2345350 h 5116136"/>
              <a:gd name="connsiteX1196" fmla="*/ 1952584 w 13061856"/>
              <a:gd name="connsiteY1196" fmla="*/ 2333544 h 5116136"/>
              <a:gd name="connsiteX1197" fmla="*/ 12569589 w 13061856"/>
              <a:gd name="connsiteY1197" fmla="*/ 2319426 h 5116136"/>
              <a:gd name="connsiteX1198" fmla="*/ 12562332 w 13061856"/>
              <a:gd name="connsiteY1198" fmla="*/ 2379599 h 5116136"/>
              <a:gd name="connsiteX1199" fmla="*/ 12563542 w 13061856"/>
              <a:gd name="connsiteY1199" fmla="*/ 2322756 h 5116136"/>
              <a:gd name="connsiteX1200" fmla="*/ 12569589 w 13061856"/>
              <a:gd name="connsiteY1200" fmla="*/ 2319426 h 5116136"/>
              <a:gd name="connsiteX1201" fmla="*/ 1635226 w 13061856"/>
              <a:gd name="connsiteY1201" fmla="*/ 2286843 h 5116136"/>
              <a:gd name="connsiteX1202" fmla="*/ 1626760 w 13061856"/>
              <a:gd name="connsiteY1202" fmla="*/ 2316096 h 5116136"/>
              <a:gd name="connsiteX1203" fmla="*/ 1635226 w 13061856"/>
              <a:gd name="connsiteY1203" fmla="*/ 2286843 h 5116136"/>
              <a:gd name="connsiteX1204" fmla="*/ 1470736 w 13061856"/>
              <a:gd name="connsiteY1204" fmla="*/ 2274951 h 5116136"/>
              <a:gd name="connsiteX1205" fmla="*/ 1470131 w 13061856"/>
              <a:gd name="connsiteY1205" fmla="*/ 2286843 h 5116136"/>
              <a:gd name="connsiteX1206" fmla="*/ 1433243 w 13061856"/>
              <a:gd name="connsiteY1206" fmla="*/ 2281611 h 5116136"/>
              <a:gd name="connsiteX1207" fmla="*/ 1470736 w 13061856"/>
              <a:gd name="connsiteY1207" fmla="*/ 2274951 h 5116136"/>
              <a:gd name="connsiteX1208" fmla="*/ 1001455 w 13061856"/>
              <a:gd name="connsiteY1208" fmla="*/ 2246649 h 5116136"/>
              <a:gd name="connsiteX1209" fmla="*/ 988756 w 13061856"/>
              <a:gd name="connsiteY1209" fmla="*/ 2263298 h 5116136"/>
              <a:gd name="connsiteX1210" fmla="*/ 1025041 w 13061856"/>
              <a:gd name="connsiteY1210" fmla="*/ 2252357 h 5116136"/>
              <a:gd name="connsiteX1211" fmla="*/ 1001455 w 13061856"/>
              <a:gd name="connsiteY1211" fmla="*/ 2246649 h 5116136"/>
              <a:gd name="connsiteX1212" fmla="*/ 12530886 w 13061856"/>
              <a:gd name="connsiteY1212" fmla="*/ 2245936 h 5116136"/>
              <a:gd name="connsiteX1213" fmla="*/ 12536933 w 13061856"/>
              <a:gd name="connsiteY1213" fmla="*/ 2269719 h 5116136"/>
              <a:gd name="connsiteX1214" fmla="*/ 12510929 w 13061856"/>
              <a:gd name="connsiteY1214" fmla="*/ 2281135 h 5116136"/>
              <a:gd name="connsiteX1215" fmla="*/ 12507300 w 13061856"/>
              <a:gd name="connsiteY1215" fmla="*/ 2251644 h 5116136"/>
              <a:gd name="connsiteX1216" fmla="*/ 12530886 w 13061856"/>
              <a:gd name="connsiteY1216" fmla="*/ 2245936 h 5116136"/>
              <a:gd name="connsiteX1217" fmla="*/ 1776737 w 13061856"/>
              <a:gd name="connsiteY1217" fmla="*/ 2217633 h 5116136"/>
              <a:gd name="connsiteX1218" fmla="*/ 1777946 w 13061856"/>
              <a:gd name="connsiteY1218" fmla="*/ 2233806 h 5116136"/>
              <a:gd name="connsiteX1219" fmla="*/ 1776737 w 13061856"/>
              <a:gd name="connsiteY1219" fmla="*/ 2217633 h 5116136"/>
              <a:gd name="connsiteX1220" fmla="*/ 1818464 w 13061856"/>
              <a:gd name="connsiteY1220" fmla="*/ 2210022 h 5116136"/>
              <a:gd name="connsiteX1221" fmla="*/ 1820278 w 13061856"/>
              <a:gd name="connsiteY1221" fmla="*/ 2247125 h 5116136"/>
              <a:gd name="connsiteX1222" fmla="*/ 1824511 w 13061856"/>
              <a:gd name="connsiteY1222" fmla="*/ 2211926 h 5116136"/>
              <a:gd name="connsiteX1223" fmla="*/ 1818464 w 13061856"/>
              <a:gd name="connsiteY1223" fmla="*/ 2210022 h 5116136"/>
              <a:gd name="connsiteX1224" fmla="*/ 1724729 w 13061856"/>
              <a:gd name="connsiteY1224" fmla="*/ 2199082 h 5116136"/>
              <a:gd name="connsiteX1225" fmla="*/ 1693282 w 13061856"/>
              <a:gd name="connsiteY1225" fmla="*/ 2200272 h 5116136"/>
              <a:gd name="connsiteX1226" fmla="*/ 1622527 w 13061856"/>
              <a:gd name="connsiteY1226" fmla="*/ 2269719 h 5116136"/>
              <a:gd name="connsiteX1227" fmla="*/ 1663650 w 13061856"/>
              <a:gd name="connsiteY1227" fmla="*/ 2251644 h 5116136"/>
              <a:gd name="connsiteX1228" fmla="*/ 1705982 w 13061856"/>
              <a:gd name="connsiteY1228" fmla="*/ 2269243 h 5116136"/>
              <a:gd name="connsiteX1229" fmla="*/ 1761617 w 13061856"/>
              <a:gd name="connsiteY1229" fmla="*/ 2226195 h 5116136"/>
              <a:gd name="connsiteX1230" fmla="*/ 1772503 w 13061856"/>
              <a:gd name="connsiteY1230" fmla="*/ 2241417 h 5116136"/>
              <a:gd name="connsiteX1231" fmla="*/ 1767665 w 13061856"/>
              <a:gd name="connsiteY1231" fmla="*/ 2210735 h 5116136"/>
              <a:gd name="connsiteX1232" fmla="*/ 1687235 w 13061856"/>
              <a:gd name="connsiteY1232" fmla="*/ 2221677 h 5116136"/>
              <a:gd name="connsiteX1233" fmla="*/ 1724729 w 13061856"/>
              <a:gd name="connsiteY1233" fmla="*/ 2199082 h 5116136"/>
              <a:gd name="connsiteX1234" fmla="*/ 553340 w 13061856"/>
              <a:gd name="connsiteY1234" fmla="*/ 2189806 h 5116136"/>
              <a:gd name="connsiteX1235" fmla="*/ 627121 w 13061856"/>
              <a:gd name="connsiteY1235" fmla="*/ 2208358 h 5116136"/>
              <a:gd name="connsiteX1236" fmla="*/ 553340 w 13061856"/>
              <a:gd name="connsiteY1236" fmla="*/ 2208358 h 5116136"/>
              <a:gd name="connsiteX1237" fmla="*/ 553340 w 13061856"/>
              <a:gd name="connsiteY1237" fmla="*/ 2189806 h 5116136"/>
              <a:gd name="connsiteX1238" fmla="*/ 1740452 w 13061856"/>
              <a:gd name="connsiteY1238" fmla="*/ 2176488 h 5116136"/>
              <a:gd name="connsiteX1239" fmla="*/ 1738637 w 13061856"/>
              <a:gd name="connsiteY1239" fmla="*/ 2200272 h 5116136"/>
              <a:gd name="connsiteX1240" fmla="*/ 1823907 w 13061856"/>
              <a:gd name="connsiteY1240" fmla="*/ 2181720 h 5116136"/>
              <a:gd name="connsiteX1241" fmla="*/ 1740452 w 13061856"/>
              <a:gd name="connsiteY1241" fmla="*/ 2176488 h 5116136"/>
              <a:gd name="connsiteX1242" fmla="*/ 1677558 w 13061856"/>
              <a:gd name="connsiteY1242" fmla="*/ 2171256 h 5116136"/>
              <a:gd name="connsiteX1243" fmla="*/ 1656997 w 13061856"/>
              <a:gd name="connsiteY1243" fmla="*/ 2186952 h 5116136"/>
              <a:gd name="connsiteX1244" fmla="*/ 1677558 w 13061856"/>
              <a:gd name="connsiteY1244" fmla="*/ 2171256 h 5116136"/>
              <a:gd name="connsiteX1245" fmla="*/ 1011736 w 13061856"/>
              <a:gd name="connsiteY1245" fmla="*/ 2159839 h 5116136"/>
              <a:gd name="connsiteX1246" fmla="*/ 967590 w 13061856"/>
              <a:gd name="connsiteY1246" fmla="*/ 2166262 h 5116136"/>
              <a:gd name="connsiteX1247" fmla="*/ 962752 w 13061856"/>
              <a:gd name="connsiteY1247" fmla="*/ 2205504 h 5116136"/>
              <a:gd name="connsiteX1248" fmla="*/ 1016574 w 13061856"/>
              <a:gd name="connsiteY1248" fmla="*/ 2230001 h 5116136"/>
              <a:gd name="connsiteX1249" fmla="*/ 1011736 w 13061856"/>
              <a:gd name="connsiteY1249" fmla="*/ 2159839 h 5116136"/>
              <a:gd name="connsiteX1250" fmla="*/ 1869263 w 13061856"/>
              <a:gd name="connsiteY1250" fmla="*/ 2158174 h 5116136"/>
              <a:gd name="connsiteX1251" fmla="*/ 1863215 w 13061856"/>
              <a:gd name="connsiteY1251" fmla="*/ 2171256 h 5116136"/>
              <a:gd name="connsiteX1252" fmla="*/ 1885590 w 13061856"/>
              <a:gd name="connsiteY1252" fmla="*/ 2159363 h 5116136"/>
              <a:gd name="connsiteX1253" fmla="*/ 1869263 w 13061856"/>
              <a:gd name="connsiteY1253" fmla="*/ 2158174 h 5116136"/>
              <a:gd name="connsiteX1254" fmla="*/ 658566 w 13061856"/>
              <a:gd name="connsiteY1254" fmla="*/ 2155559 h 5116136"/>
              <a:gd name="connsiteX1255" fmla="*/ 654333 w 13061856"/>
              <a:gd name="connsiteY1255" fmla="*/ 2159839 h 5116136"/>
              <a:gd name="connsiteX1256" fmla="*/ 625305 w 13061856"/>
              <a:gd name="connsiteY1256" fmla="*/ 2189806 h 5116136"/>
              <a:gd name="connsiteX1257" fmla="*/ 658566 w 13061856"/>
              <a:gd name="connsiteY1257" fmla="*/ 2155559 h 5116136"/>
              <a:gd name="connsiteX1258" fmla="*/ 1513674 w 13061856"/>
              <a:gd name="connsiteY1258" fmla="*/ 2139148 h 5116136"/>
              <a:gd name="connsiteX1259" fmla="*/ 1500369 w 13061856"/>
              <a:gd name="connsiteY1259" fmla="*/ 2169115 h 5116136"/>
              <a:gd name="connsiteX1260" fmla="*/ 1528188 w 13061856"/>
              <a:gd name="connsiteY1260" fmla="*/ 2181245 h 5116136"/>
              <a:gd name="connsiteX1261" fmla="*/ 1513674 w 13061856"/>
              <a:gd name="connsiteY1261" fmla="*/ 2139148 h 5116136"/>
              <a:gd name="connsiteX1262" fmla="*/ 12554102 w 13061856"/>
              <a:gd name="connsiteY1262" fmla="*/ 2136792 h 5116136"/>
              <a:gd name="connsiteX1263" fmla="*/ 12547818 w 13061856"/>
              <a:gd name="connsiteY1263" fmla="*/ 2137245 h 5116136"/>
              <a:gd name="connsiteX1264" fmla="*/ 12539351 w 13061856"/>
              <a:gd name="connsiteY1264" fmla="*/ 2146521 h 5116136"/>
              <a:gd name="connsiteX1265" fmla="*/ 12579869 w 13061856"/>
              <a:gd name="connsiteY1265" fmla="*/ 2142478 h 5116136"/>
              <a:gd name="connsiteX1266" fmla="*/ 12554102 w 13061856"/>
              <a:gd name="connsiteY1266" fmla="*/ 2136792 h 5116136"/>
              <a:gd name="connsiteX1267" fmla="*/ 1946670 w 13061856"/>
              <a:gd name="connsiteY1267" fmla="*/ 2131063 h 5116136"/>
              <a:gd name="connsiteX1268" fmla="*/ 1920060 w 13061856"/>
              <a:gd name="connsiteY1268" fmla="*/ 2142478 h 5116136"/>
              <a:gd name="connsiteX1269" fmla="*/ 1972674 w 13061856"/>
              <a:gd name="connsiteY1269" fmla="*/ 2147235 h 5116136"/>
              <a:gd name="connsiteX1270" fmla="*/ 1946670 w 13061856"/>
              <a:gd name="connsiteY1270" fmla="*/ 2131063 h 5116136"/>
              <a:gd name="connsiteX1271" fmla="*/ 12480692 w 13061856"/>
              <a:gd name="connsiteY1271" fmla="*/ 2124165 h 5116136"/>
              <a:gd name="connsiteX1272" fmla="*/ 12470411 w 13061856"/>
              <a:gd name="connsiteY1272" fmla="*/ 2128683 h 5116136"/>
              <a:gd name="connsiteX1273" fmla="*/ 12464968 w 13061856"/>
              <a:gd name="connsiteY1273" fmla="*/ 2145808 h 5116136"/>
              <a:gd name="connsiteX1274" fmla="*/ 12399051 w 13061856"/>
              <a:gd name="connsiteY1274" fmla="*/ 2158650 h 5116136"/>
              <a:gd name="connsiteX1275" fmla="*/ 12471016 w 13061856"/>
              <a:gd name="connsiteY1275" fmla="*/ 2164596 h 5116136"/>
              <a:gd name="connsiteX1276" fmla="*/ 12440779 w 13061856"/>
              <a:gd name="connsiteY1276" fmla="*/ 2183624 h 5116136"/>
              <a:gd name="connsiteX1277" fmla="*/ 12415380 w 13061856"/>
              <a:gd name="connsiteY1277" fmla="*/ 2165547 h 5116136"/>
              <a:gd name="connsiteX1278" fmla="*/ 12440779 w 13061856"/>
              <a:gd name="connsiteY1278" fmla="*/ 2183624 h 5116136"/>
              <a:gd name="connsiteX1279" fmla="*/ 12533305 w 13061856"/>
              <a:gd name="connsiteY1279" fmla="*/ 2207883 h 5116136"/>
              <a:gd name="connsiteX1280" fmla="*/ 12479483 w 13061856"/>
              <a:gd name="connsiteY1280" fmla="*/ 2176964 h 5116136"/>
              <a:gd name="connsiteX1281" fmla="*/ 12474644 w 13061856"/>
              <a:gd name="connsiteY1281" fmla="*/ 2141527 h 5116136"/>
              <a:gd name="connsiteX1282" fmla="*/ 12515767 w 13061856"/>
              <a:gd name="connsiteY1282" fmla="*/ 2140575 h 5116136"/>
              <a:gd name="connsiteX1283" fmla="*/ 12493391 w 13061856"/>
              <a:gd name="connsiteY1283" fmla="*/ 2127494 h 5116136"/>
              <a:gd name="connsiteX1284" fmla="*/ 12480692 w 13061856"/>
              <a:gd name="connsiteY1284" fmla="*/ 2124165 h 5116136"/>
              <a:gd name="connsiteX1285" fmla="*/ 1677558 w 13061856"/>
              <a:gd name="connsiteY1285" fmla="*/ 2119884 h 5116136"/>
              <a:gd name="connsiteX1286" fmla="*/ 1658206 w 13061856"/>
              <a:gd name="connsiteY1286" fmla="*/ 2142002 h 5116136"/>
              <a:gd name="connsiteX1287" fmla="*/ 1634622 w 13061856"/>
              <a:gd name="connsiteY1287" fmla="*/ 2136295 h 5116136"/>
              <a:gd name="connsiteX1288" fmla="*/ 1626155 w 13061856"/>
              <a:gd name="connsiteY1288" fmla="*/ 2159363 h 5116136"/>
              <a:gd name="connsiteX1289" fmla="*/ 1677558 w 13061856"/>
              <a:gd name="connsiteY1289" fmla="*/ 2135343 h 5116136"/>
              <a:gd name="connsiteX1290" fmla="*/ 1634622 w 13061856"/>
              <a:gd name="connsiteY1290" fmla="*/ 2175537 h 5116136"/>
              <a:gd name="connsiteX1291" fmla="*/ 1659416 w 13061856"/>
              <a:gd name="connsiteY1291" fmla="*/ 2211211 h 5116136"/>
              <a:gd name="connsiteX1292" fmla="*/ 1701749 w 13061856"/>
              <a:gd name="connsiteY1292" fmla="*/ 2181245 h 5116136"/>
              <a:gd name="connsiteX1293" fmla="*/ 1725333 w 13061856"/>
              <a:gd name="connsiteY1293" fmla="*/ 2187428 h 5116136"/>
              <a:gd name="connsiteX1294" fmla="*/ 1712634 w 13061856"/>
              <a:gd name="connsiteY1294" fmla="*/ 2164596 h 5116136"/>
              <a:gd name="connsiteX1295" fmla="*/ 1684211 w 13061856"/>
              <a:gd name="connsiteY1295" fmla="*/ 2158174 h 5116136"/>
              <a:gd name="connsiteX1296" fmla="*/ 1692073 w 13061856"/>
              <a:gd name="connsiteY1296" fmla="*/ 2140575 h 5116136"/>
              <a:gd name="connsiteX1297" fmla="*/ 1721100 w 13061856"/>
              <a:gd name="connsiteY1297" fmla="*/ 2135343 h 5116136"/>
              <a:gd name="connsiteX1298" fmla="*/ 1677558 w 13061856"/>
              <a:gd name="connsiteY1298" fmla="*/ 2119884 h 5116136"/>
              <a:gd name="connsiteX1299" fmla="*/ 12809067 w 13061856"/>
              <a:gd name="connsiteY1299" fmla="*/ 2110132 h 5116136"/>
              <a:gd name="connsiteX1300" fmla="*/ 12784878 w 13061856"/>
              <a:gd name="connsiteY1300" fmla="*/ 2136769 h 5116136"/>
              <a:gd name="connsiteX1301" fmla="*/ 12809067 w 13061856"/>
              <a:gd name="connsiteY1301" fmla="*/ 2110132 h 5116136"/>
              <a:gd name="connsiteX1302" fmla="*/ 1736824 w 13061856"/>
              <a:gd name="connsiteY1302" fmla="*/ 2108943 h 5116136"/>
              <a:gd name="connsiteX1303" fmla="*/ 1702958 w 13061856"/>
              <a:gd name="connsiteY1303" fmla="*/ 2118219 h 5116136"/>
              <a:gd name="connsiteX1304" fmla="*/ 1744685 w 13061856"/>
              <a:gd name="connsiteY1304" fmla="*/ 2147710 h 5116136"/>
              <a:gd name="connsiteX1305" fmla="*/ 1736219 w 13061856"/>
              <a:gd name="connsiteY1305" fmla="*/ 2125116 h 5116136"/>
              <a:gd name="connsiteX1306" fmla="*/ 1744081 w 13061856"/>
              <a:gd name="connsiteY1306" fmla="*/ 2117743 h 5116136"/>
              <a:gd name="connsiteX1307" fmla="*/ 1801531 w 13061856"/>
              <a:gd name="connsiteY1307" fmla="*/ 2152466 h 5116136"/>
              <a:gd name="connsiteX1308" fmla="*/ 1834187 w 13061856"/>
              <a:gd name="connsiteY1308" fmla="*/ 2134867 h 5116136"/>
              <a:gd name="connsiteX1309" fmla="*/ 1845072 w 13061856"/>
              <a:gd name="connsiteY1309" fmla="*/ 2154132 h 5116136"/>
              <a:gd name="connsiteX1310" fmla="*/ 1863819 w 13061856"/>
              <a:gd name="connsiteY1310" fmla="*/ 2118219 h 5116136"/>
              <a:gd name="connsiteX1311" fmla="*/ 1854748 w 13061856"/>
              <a:gd name="connsiteY1311" fmla="*/ 2112986 h 5116136"/>
              <a:gd name="connsiteX1312" fmla="*/ 1736824 w 13061856"/>
              <a:gd name="connsiteY1312" fmla="*/ 2108943 h 5116136"/>
              <a:gd name="connsiteX1313" fmla="*/ 2515734 w 13061856"/>
              <a:gd name="connsiteY1313" fmla="*/ 2106089 h 5116136"/>
              <a:gd name="connsiteX1314" fmla="*/ 2506662 w 13061856"/>
              <a:gd name="connsiteY1314" fmla="*/ 2134867 h 5116136"/>
              <a:gd name="connsiteX1315" fmla="*/ 2515734 w 13061856"/>
              <a:gd name="connsiteY1315" fmla="*/ 2106089 h 5116136"/>
              <a:gd name="connsiteX1316" fmla="*/ 1437476 w 13061856"/>
              <a:gd name="connsiteY1316" fmla="*/ 2106089 h 5116136"/>
              <a:gd name="connsiteX1317" fmla="*/ 1465294 w 13061856"/>
              <a:gd name="connsiteY1317" fmla="*/ 2116554 h 5116136"/>
              <a:gd name="connsiteX1318" fmla="*/ 1436871 w 13061856"/>
              <a:gd name="connsiteY1318" fmla="*/ 2121549 h 5116136"/>
              <a:gd name="connsiteX1319" fmla="*/ 1441710 w 13061856"/>
              <a:gd name="connsiteY1319" fmla="*/ 2158174 h 5116136"/>
              <a:gd name="connsiteX1320" fmla="*/ 1423567 w 13061856"/>
              <a:gd name="connsiteY1320" fmla="*/ 2140575 h 5116136"/>
              <a:gd name="connsiteX1321" fmla="*/ 1437476 w 13061856"/>
              <a:gd name="connsiteY1321" fmla="*/ 2106089 h 5116136"/>
              <a:gd name="connsiteX1322" fmla="*/ 2544155 w 13061856"/>
              <a:gd name="connsiteY1322" fmla="*/ 2100857 h 5116136"/>
              <a:gd name="connsiteX1323" fmla="*/ 2526014 w 13061856"/>
              <a:gd name="connsiteY1323" fmla="*/ 2136769 h 5116136"/>
              <a:gd name="connsiteX1324" fmla="*/ 2590722 w 13061856"/>
              <a:gd name="connsiteY1324" fmla="*/ 2130348 h 5116136"/>
              <a:gd name="connsiteX1325" fmla="*/ 2587698 w 13061856"/>
              <a:gd name="connsiteY1325" fmla="*/ 2106565 h 5116136"/>
              <a:gd name="connsiteX1326" fmla="*/ 2529038 w 13061856"/>
              <a:gd name="connsiteY1326" fmla="*/ 2119408 h 5116136"/>
              <a:gd name="connsiteX1327" fmla="*/ 2544155 w 13061856"/>
              <a:gd name="connsiteY1327" fmla="*/ 2100857 h 5116136"/>
              <a:gd name="connsiteX1328" fmla="*/ 1419937 w 13061856"/>
              <a:gd name="connsiteY1328" fmla="*/ 2098003 h 5116136"/>
              <a:gd name="connsiteX1329" fmla="*/ 1428405 w 13061856"/>
              <a:gd name="connsiteY1329" fmla="*/ 2106089 h 5116136"/>
              <a:gd name="connsiteX1330" fmla="*/ 1423567 w 13061856"/>
              <a:gd name="connsiteY1330" fmla="*/ 2105613 h 5116136"/>
              <a:gd name="connsiteX1331" fmla="*/ 1399377 w 13061856"/>
              <a:gd name="connsiteY1331" fmla="*/ 2133915 h 5116136"/>
              <a:gd name="connsiteX1332" fmla="*/ 1399377 w 13061856"/>
              <a:gd name="connsiteY1332" fmla="*/ 2099905 h 5116136"/>
              <a:gd name="connsiteX1333" fmla="*/ 1419937 w 13061856"/>
              <a:gd name="connsiteY1333" fmla="*/ 2098003 h 5116136"/>
              <a:gd name="connsiteX1334" fmla="*/ 12838095 w 13061856"/>
              <a:gd name="connsiteY1334" fmla="*/ 2095863 h 5116136"/>
              <a:gd name="connsiteX1335" fmla="*/ 12844143 w 13061856"/>
              <a:gd name="connsiteY1335" fmla="*/ 2100381 h 5116136"/>
              <a:gd name="connsiteX1336" fmla="*/ 12813906 w 13061856"/>
              <a:gd name="connsiteY1336" fmla="*/ 2116554 h 5116136"/>
              <a:gd name="connsiteX1337" fmla="*/ 12814510 w 13061856"/>
              <a:gd name="connsiteY1337" fmla="*/ 2099905 h 5116136"/>
              <a:gd name="connsiteX1338" fmla="*/ 12832047 w 13061856"/>
              <a:gd name="connsiteY1338" fmla="*/ 2097527 h 5116136"/>
              <a:gd name="connsiteX1339" fmla="*/ 12838095 w 13061856"/>
              <a:gd name="connsiteY1339" fmla="*/ 2095863 h 5116136"/>
              <a:gd name="connsiteX1340" fmla="*/ 1877728 w 13061856"/>
              <a:gd name="connsiteY1340" fmla="*/ 2077787 h 5116136"/>
              <a:gd name="connsiteX1341" fmla="*/ 1910989 w 13061856"/>
              <a:gd name="connsiteY1341" fmla="*/ 2096101 h 5116136"/>
              <a:gd name="connsiteX1342" fmla="*/ 1877728 w 13061856"/>
              <a:gd name="connsiteY1342" fmla="*/ 2077787 h 5116136"/>
              <a:gd name="connsiteX1343" fmla="*/ 1844467 w 13061856"/>
              <a:gd name="connsiteY1343" fmla="*/ 2069701 h 5116136"/>
              <a:gd name="connsiteX1344" fmla="*/ 1814835 w 13061856"/>
              <a:gd name="connsiteY1344" fmla="*/ 2089917 h 5116136"/>
              <a:gd name="connsiteX1345" fmla="*/ 1868052 w 13061856"/>
              <a:gd name="connsiteY1345" fmla="*/ 2088966 h 5116136"/>
              <a:gd name="connsiteX1346" fmla="*/ 1844467 w 13061856"/>
              <a:gd name="connsiteY1346" fmla="*/ 2069701 h 5116136"/>
              <a:gd name="connsiteX1347" fmla="*/ 1348579 w 13061856"/>
              <a:gd name="connsiteY1347" fmla="*/ 2068036 h 5116136"/>
              <a:gd name="connsiteX1348" fmla="*/ 1329227 w 13061856"/>
              <a:gd name="connsiteY1348" fmla="*/ 2108943 h 5116136"/>
              <a:gd name="connsiteX1349" fmla="*/ 1295361 w 13061856"/>
              <a:gd name="connsiteY1349" fmla="*/ 2099192 h 5116136"/>
              <a:gd name="connsiteX1350" fmla="*/ 1348579 w 13061856"/>
              <a:gd name="connsiteY1350" fmla="*/ 2068036 h 5116136"/>
              <a:gd name="connsiteX1351" fmla="*/ 12394213 w 13061856"/>
              <a:gd name="connsiteY1351" fmla="*/ 2055906 h 5116136"/>
              <a:gd name="connsiteX1352" fmla="*/ 12380304 w 13061856"/>
              <a:gd name="connsiteY1352" fmla="*/ 2068036 h 5116136"/>
              <a:gd name="connsiteX1353" fmla="*/ 12406309 w 13061856"/>
              <a:gd name="connsiteY1353" fmla="*/ 2073744 h 5116136"/>
              <a:gd name="connsiteX1354" fmla="*/ 12394213 w 13061856"/>
              <a:gd name="connsiteY1354" fmla="*/ 2055906 h 5116136"/>
              <a:gd name="connsiteX1355" fmla="*/ 1915827 w 13061856"/>
              <a:gd name="connsiteY1355" fmla="*/ 2054479 h 5116136"/>
              <a:gd name="connsiteX1356" fmla="*/ 1915827 w 13061856"/>
              <a:gd name="connsiteY1356" fmla="*/ 2100381 h 5116136"/>
              <a:gd name="connsiteX1357" fmla="*/ 1980535 w 13061856"/>
              <a:gd name="connsiteY1357" fmla="*/ 2090392 h 5116136"/>
              <a:gd name="connsiteX1358" fmla="*/ 1949088 w 13061856"/>
              <a:gd name="connsiteY1358" fmla="*/ 2095625 h 5116136"/>
              <a:gd name="connsiteX1359" fmla="*/ 1957555 w 13061856"/>
              <a:gd name="connsiteY1359" fmla="*/ 2084208 h 5116136"/>
              <a:gd name="connsiteX1360" fmla="*/ 1933365 w 13061856"/>
              <a:gd name="connsiteY1360" fmla="*/ 2072555 h 5116136"/>
              <a:gd name="connsiteX1361" fmla="*/ 1935180 w 13061856"/>
              <a:gd name="connsiteY1361" fmla="*/ 2090392 h 5116136"/>
              <a:gd name="connsiteX1362" fmla="*/ 1925503 w 13061856"/>
              <a:gd name="connsiteY1362" fmla="*/ 2089441 h 5116136"/>
              <a:gd name="connsiteX1363" fmla="*/ 1915827 w 13061856"/>
              <a:gd name="connsiteY1363" fmla="*/ 2054479 h 5116136"/>
              <a:gd name="connsiteX1364" fmla="*/ 3094472 w 13061856"/>
              <a:gd name="connsiteY1364" fmla="*/ 2043064 h 5116136"/>
              <a:gd name="connsiteX1365" fmla="*/ 3089030 w 13061856"/>
              <a:gd name="connsiteY1365" fmla="*/ 2068036 h 5116136"/>
              <a:gd name="connsiteX1366" fmla="*/ 3102334 w 13061856"/>
              <a:gd name="connsiteY1366" fmla="*/ 2043540 h 5116136"/>
              <a:gd name="connsiteX1367" fmla="*/ 3094472 w 13061856"/>
              <a:gd name="connsiteY1367" fmla="*/ 2043064 h 5116136"/>
              <a:gd name="connsiteX1368" fmla="*/ 1635831 w 13061856"/>
              <a:gd name="connsiteY1368" fmla="*/ 2040685 h 5116136"/>
              <a:gd name="connsiteX1369" fmla="*/ 1623736 w 13061856"/>
              <a:gd name="connsiteY1369" fmla="*/ 2043540 h 5116136"/>
              <a:gd name="connsiteX1370" fmla="*/ 1603176 w 13061856"/>
              <a:gd name="connsiteY1370" fmla="*/ 2059712 h 5116136"/>
              <a:gd name="connsiteX1371" fmla="*/ 1644902 w 13061856"/>
              <a:gd name="connsiteY1371" fmla="*/ 2043540 h 5116136"/>
              <a:gd name="connsiteX1372" fmla="*/ 1635831 w 13061856"/>
              <a:gd name="connsiteY1372" fmla="*/ 2040685 h 5116136"/>
              <a:gd name="connsiteX1373" fmla="*/ 536409 w 13061856"/>
              <a:gd name="connsiteY1373" fmla="*/ 2039734 h 5116136"/>
              <a:gd name="connsiteX1374" fmla="*/ 576322 w 13061856"/>
              <a:gd name="connsiteY1374" fmla="*/ 2060425 h 5116136"/>
              <a:gd name="connsiteX1375" fmla="*/ 531570 w 13061856"/>
              <a:gd name="connsiteY1375" fmla="*/ 2048296 h 5116136"/>
              <a:gd name="connsiteX1376" fmla="*/ 536409 w 13061856"/>
              <a:gd name="connsiteY1376" fmla="*/ 2039734 h 5116136"/>
              <a:gd name="connsiteX1377" fmla="*/ 3018879 w 13061856"/>
              <a:gd name="connsiteY1377" fmla="*/ 2038307 h 5116136"/>
              <a:gd name="connsiteX1378" fmla="*/ 3050326 w 13061856"/>
              <a:gd name="connsiteY1378" fmla="*/ 2078976 h 5116136"/>
              <a:gd name="connsiteX1379" fmla="*/ 3018879 w 13061856"/>
              <a:gd name="connsiteY1379" fmla="*/ 2038307 h 5116136"/>
              <a:gd name="connsiteX1380" fmla="*/ 1597127 w 13061856"/>
              <a:gd name="connsiteY1380" fmla="*/ 2037356 h 5116136"/>
              <a:gd name="connsiteX1381" fmla="*/ 1565076 w 13061856"/>
              <a:gd name="connsiteY1381" fmla="*/ 2054479 h 5116136"/>
              <a:gd name="connsiteX1382" fmla="*/ 1578986 w 13061856"/>
              <a:gd name="connsiteY1382" fmla="*/ 2059712 h 5116136"/>
              <a:gd name="connsiteX1383" fmla="*/ 1597127 w 13061856"/>
              <a:gd name="connsiteY1383" fmla="*/ 2037356 h 5116136"/>
              <a:gd name="connsiteX1384" fmla="*/ 1514883 w 13061856"/>
              <a:gd name="connsiteY1384" fmla="*/ 2036166 h 5116136"/>
              <a:gd name="connsiteX1385" fmla="*/ 1498555 w 13061856"/>
              <a:gd name="connsiteY1385" fmla="*/ 2036880 h 5116136"/>
              <a:gd name="connsiteX1386" fmla="*/ 1483436 w 13061856"/>
              <a:gd name="connsiteY1386" fmla="*/ 2047820 h 5116136"/>
              <a:gd name="connsiteX1387" fmla="*/ 1560239 w 13061856"/>
              <a:gd name="connsiteY1387" fmla="*/ 2048296 h 5116136"/>
              <a:gd name="connsiteX1388" fmla="*/ 1514883 w 13061856"/>
              <a:gd name="connsiteY1388" fmla="*/ 2036166 h 5116136"/>
              <a:gd name="connsiteX1389" fmla="*/ 2532060 w 13061856"/>
              <a:gd name="connsiteY1389" fmla="*/ 2034501 h 5116136"/>
              <a:gd name="connsiteX1390" fmla="*/ 2555040 w 13061856"/>
              <a:gd name="connsiteY1390" fmla="*/ 2047820 h 5116136"/>
              <a:gd name="connsiteX1391" fmla="*/ 2545365 w 13061856"/>
              <a:gd name="connsiteY1391" fmla="*/ 2042588 h 5116136"/>
              <a:gd name="connsiteX1392" fmla="*/ 2535084 w 13061856"/>
              <a:gd name="connsiteY1392" fmla="*/ 2054479 h 5116136"/>
              <a:gd name="connsiteX1393" fmla="*/ 2525408 w 13061856"/>
              <a:gd name="connsiteY1393" fmla="*/ 2043064 h 5116136"/>
              <a:gd name="connsiteX1394" fmla="*/ 2532060 w 13061856"/>
              <a:gd name="connsiteY1394" fmla="*/ 2034501 h 5116136"/>
              <a:gd name="connsiteX1395" fmla="*/ 2985619 w 13061856"/>
              <a:gd name="connsiteY1395" fmla="*/ 2031647 h 5116136"/>
              <a:gd name="connsiteX1396" fmla="*/ 2984410 w 13061856"/>
              <a:gd name="connsiteY1396" fmla="*/ 2055430 h 5116136"/>
              <a:gd name="connsiteX1397" fmla="*/ 3014647 w 13061856"/>
              <a:gd name="connsiteY1397" fmla="*/ 2032123 h 5116136"/>
              <a:gd name="connsiteX1398" fmla="*/ 1360069 w 13061856"/>
              <a:gd name="connsiteY1398" fmla="*/ 2019518 h 5116136"/>
              <a:gd name="connsiteX1399" fmla="*/ 1356440 w 13061856"/>
              <a:gd name="connsiteY1399" fmla="*/ 2042588 h 5116136"/>
              <a:gd name="connsiteX1400" fmla="*/ 1384258 w 13061856"/>
              <a:gd name="connsiteY1400" fmla="*/ 2066847 h 5116136"/>
              <a:gd name="connsiteX1401" fmla="*/ 1408447 w 13061856"/>
              <a:gd name="connsiteY1401" fmla="*/ 2055430 h 5116136"/>
              <a:gd name="connsiteX1402" fmla="*/ 1408447 w 13061856"/>
              <a:gd name="connsiteY1402" fmla="*/ 2025226 h 5116136"/>
              <a:gd name="connsiteX1403" fmla="*/ 1360069 w 13061856"/>
              <a:gd name="connsiteY1403" fmla="*/ 2019518 h 5116136"/>
              <a:gd name="connsiteX1404" fmla="*/ 2321005 w 13061856"/>
              <a:gd name="connsiteY1404" fmla="*/ 2010005 h 5116136"/>
              <a:gd name="connsiteX1405" fmla="*/ 2339148 w 13061856"/>
              <a:gd name="connsiteY1405" fmla="*/ 2044253 h 5116136"/>
              <a:gd name="connsiteX1406" fmla="*/ 2321610 w 13061856"/>
              <a:gd name="connsiteY1406" fmla="*/ 2033312 h 5116136"/>
              <a:gd name="connsiteX1407" fmla="*/ 2321005 w 13061856"/>
              <a:gd name="connsiteY1407" fmla="*/ 2010005 h 5116136"/>
              <a:gd name="connsiteX1408" fmla="*/ 2874345 w 13061856"/>
              <a:gd name="connsiteY1408" fmla="*/ 2008578 h 5116136"/>
              <a:gd name="connsiteX1409" fmla="*/ 2850761 w 13061856"/>
              <a:gd name="connsiteY1409" fmla="*/ 2024513 h 5116136"/>
              <a:gd name="connsiteX1410" fmla="*/ 2874345 w 13061856"/>
              <a:gd name="connsiteY1410" fmla="*/ 2008578 h 5116136"/>
              <a:gd name="connsiteX1411" fmla="*/ 2732835 w 13061856"/>
              <a:gd name="connsiteY1411" fmla="*/ 2008578 h 5116136"/>
              <a:gd name="connsiteX1412" fmla="*/ 2737674 w 13061856"/>
              <a:gd name="connsiteY1412" fmla="*/ 2009053 h 5116136"/>
              <a:gd name="connsiteX1413" fmla="*/ 2756421 w 13061856"/>
              <a:gd name="connsiteY1413" fmla="*/ 2032599 h 5116136"/>
              <a:gd name="connsiteX1414" fmla="*/ 2762468 w 13061856"/>
              <a:gd name="connsiteY1414" fmla="*/ 2051626 h 5116136"/>
              <a:gd name="connsiteX1415" fmla="*/ 2733441 w 13061856"/>
              <a:gd name="connsiteY1415" fmla="*/ 2051150 h 5116136"/>
              <a:gd name="connsiteX1416" fmla="*/ 2732835 w 13061856"/>
              <a:gd name="connsiteY1416" fmla="*/ 2008578 h 5116136"/>
              <a:gd name="connsiteX1417" fmla="*/ 12207348 w 13061856"/>
              <a:gd name="connsiteY1417" fmla="*/ 2005723 h 5116136"/>
              <a:gd name="connsiteX1418" fmla="*/ 12193438 w 13061856"/>
              <a:gd name="connsiteY1418" fmla="*/ 2018329 h 5116136"/>
              <a:gd name="connsiteX1419" fmla="*/ 12217023 w 13061856"/>
              <a:gd name="connsiteY1419" fmla="*/ 2024037 h 5116136"/>
              <a:gd name="connsiteX1420" fmla="*/ 12207348 w 13061856"/>
              <a:gd name="connsiteY1420" fmla="*/ 2005723 h 5116136"/>
              <a:gd name="connsiteX1421" fmla="*/ 1404820 w 13061856"/>
              <a:gd name="connsiteY1421" fmla="*/ 2001443 h 5116136"/>
              <a:gd name="connsiteX1422" fmla="*/ 1427195 w 13061856"/>
              <a:gd name="connsiteY1422" fmla="*/ 2030934 h 5116136"/>
              <a:gd name="connsiteX1423" fmla="*/ 1414496 w 13061856"/>
              <a:gd name="connsiteY1423" fmla="*/ 2043540 h 5116136"/>
              <a:gd name="connsiteX1424" fmla="*/ 1450781 w 13061856"/>
              <a:gd name="connsiteY1424" fmla="*/ 2036880 h 5116136"/>
              <a:gd name="connsiteX1425" fmla="*/ 1465899 w 13061856"/>
              <a:gd name="connsiteY1425" fmla="*/ 2059712 h 5116136"/>
              <a:gd name="connsiteX1426" fmla="*/ 1432033 w 13061856"/>
              <a:gd name="connsiteY1426" fmla="*/ 2025226 h 5116136"/>
              <a:gd name="connsiteX1427" fmla="*/ 1442314 w 13061856"/>
              <a:gd name="connsiteY1427" fmla="*/ 2014286 h 5116136"/>
              <a:gd name="connsiteX1428" fmla="*/ 1404820 w 13061856"/>
              <a:gd name="connsiteY1428" fmla="*/ 2001443 h 5116136"/>
              <a:gd name="connsiteX1429" fmla="*/ 2823547 w 13061856"/>
              <a:gd name="connsiteY1429" fmla="*/ 1998113 h 5116136"/>
              <a:gd name="connsiteX1430" fmla="*/ 2829594 w 13061856"/>
              <a:gd name="connsiteY1430" fmla="*/ 2034976 h 5116136"/>
              <a:gd name="connsiteX1431" fmla="*/ 2818709 w 13061856"/>
              <a:gd name="connsiteY1431" fmla="*/ 2034501 h 5116136"/>
              <a:gd name="connsiteX1432" fmla="*/ 2823547 w 13061856"/>
              <a:gd name="connsiteY1432" fmla="*/ 1998113 h 5116136"/>
              <a:gd name="connsiteX1433" fmla="*/ 1375792 w 13061856"/>
              <a:gd name="connsiteY1433" fmla="*/ 1996687 h 5116136"/>
              <a:gd name="connsiteX1434" fmla="*/ 1370349 w 13061856"/>
              <a:gd name="connsiteY1434" fmla="*/ 2014286 h 5116136"/>
              <a:gd name="connsiteX1435" fmla="*/ 1398771 w 13061856"/>
              <a:gd name="connsiteY1435" fmla="*/ 2018805 h 5116136"/>
              <a:gd name="connsiteX1436" fmla="*/ 1375792 w 13061856"/>
              <a:gd name="connsiteY1436" fmla="*/ 1996687 h 5116136"/>
              <a:gd name="connsiteX1437" fmla="*/ 2951752 w 13061856"/>
              <a:gd name="connsiteY1437" fmla="*/ 1996209 h 5116136"/>
              <a:gd name="connsiteX1438" fmla="*/ 2973524 w 13061856"/>
              <a:gd name="connsiteY1438" fmla="*/ 2015236 h 5116136"/>
              <a:gd name="connsiteX1439" fmla="*/ 2951752 w 13061856"/>
              <a:gd name="connsiteY1439" fmla="*/ 1996209 h 5116136"/>
              <a:gd name="connsiteX1440" fmla="*/ 2238760 w 13061856"/>
              <a:gd name="connsiteY1440" fmla="*/ 1994070 h 5116136"/>
              <a:gd name="connsiteX1441" fmla="*/ 2242389 w 13061856"/>
              <a:gd name="connsiteY1441" fmla="*/ 1995259 h 5116136"/>
              <a:gd name="connsiteX1442" fmla="*/ 2251460 w 13061856"/>
              <a:gd name="connsiteY1442" fmla="*/ 2018329 h 5116136"/>
              <a:gd name="connsiteX1443" fmla="*/ 2229689 w 13061856"/>
              <a:gd name="connsiteY1443" fmla="*/ 2012383 h 5116136"/>
              <a:gd name="connsiteX1444" fmla="*/ 2234527 w 13061856"/>
              <a:gd name="connsiteY1444" fmla="*/ 2006675 h 5116136"/>
              <a:gd name="connsiteX1445" fmla="*/ 2238760 w 13061856"/>
              <a:gd name="connsiteY1445" fmla="*/ 1994070 h 5116136"/>
              <a:gd name="connsiteX1446" fmla="*/ 2299840 w 13061856"/>
              <a:gd name="connsiteY1446" fmla="*/ 1987886 h 5116136"/>
              <a:gd name="connsiteX1447" fmla="*/ 2319797 w 13061856"/>
              <a:gd name="connsiteY1447" fmla="*/ 1993833 h 5116136"/>
              <a:gd name="connsiteX1448" fmla="*/ 2304677 w 13061856"/>
              <a:gd name="connsiteY1448" fmla="*/ 2001443 h 5116136"/>
              <a:gd name="connsiteX1449" fmla="*/ 2301654 w 13061856"/>
              <a:gd name="connsiteY1449" fmla="*/ 2020470 h 5116136"/>
              <a:gd name="connsiteX1450" fmla="*/ 2290768 w 13061856"/>
              <a:gd name="connsiteY1450" fmla="*/ 1989312 h 5116136"/>
              <a:gd name="connsiteX1451" fmla="*/ 2299840 w 13061856"/>
              <a:gd name="connsiteY1451" fmla="*/ 1987886 h 5116136"/>
              <a:gd name="connsiteX1452" fmla="*/ 2374223 w 13061856"/>
              <a:gd name="connsiteY1452" fmla="*/ 1987649 h 5116136"/>
              <a:gd name="connsiteX1453" fmla="*/ 2392971 w 13061856"/>
              <a:gd name="connsiteY1453" fmla="*/ 2015949 h 5116136"/>
              <a:gd name="connsiteX1454" fmla="*/ 2364547 w 13061856"/>
              <a:gd name="connsiteY1454" fmla="*/ 1992405 h 5116136"/>
              <a:gd name="connsiteX1455" fmla="*/ 2374223 w 13061856"/>
              <a:gd name="connsiteY1455" fmla="*/ 1987649 h 5116136"/>
              <a:gd name="connsiteX1456" fmla="*/ 1854143 w 13061856"/>
              <a:gd name="connsiteY1456" fmla="*/ 1986935 h 5116136"/>
              <a:gd name="connsiteX1457" fmla="*/ 1866843 w 13061856"/>
              <a:gd name="connsiteY1457" fmla="*/ 1987173 h 5116136"/>
              <a:gd name="connsiteX1458" fmla="*/ 1856562 w 13061856"/>
              <a:gd name="connsiteY1458" fmla="*/ 2013097 h 5116136"/>
              <a:gd name="connsiteX1459" fmla="*/ 1836001 w 13061856"/>
              <a:gd name="connsiteY1459" fmla="*/ 2007864 h 5116136"/>
              <a:gd name="connsiteX1460" fmla="*/ 1854143 w 13061856"/>
              <a:gd name="connsiteY1460" fmla="*/ 1986935 h 5116136"/>
              <a:gd name="connsiteX1461" fmla="*/ 2994084 w 13061856"/>
              <a:gd name="connsiteY1461" fmla="*/ 1985746 h 5116136"/>
              <a:gd name="connsiteX1462" fmla="*/ 3033393 w 13061856"/>
              <a:gd name="connsiteY1462" fmla="*/ 2003345 h 5116136"/>
              <a:gd name="connsiteX1463" fmla="*/ 2981989 w 13061856"/>
              <a:gd name="connsiteY1463" fmla="*/ 1991692 h 5116136"/>
              <a:gd name="connsiteX1464" fmla="*/ 2994084 w 13061856"/>
              <a:gd name="connsiteY1464" fmla="*/ 1985746 h 5116136"/>
              <a:gd name="connsiteX1465" fmla="*/ 2788472 w 13061856"/>
              <a:gd name="connsiteY1465" fmla="*/ 1982415 h 5116136"/>
              <a:gd name="connsiteX1466" fmla="*/ 2784238 w 13061856"/>
              <a:gd name="connsiteY1466" fmla="*/ 2013097 h 5116136"/>
              <a:gd name="connsiteX1467" fmla="*/ 2771539 w 13061856"/>
              <a:gd name="connsiteY1467" fmla="*/ 2007864 h 5116136"/>
              <a:gd name="connsiteX1468" fmla="*/ 2788472 w 13061856"/>
              <a:gd name="connsiteY1468" fmla="*/ 1982415 h 5116136"/>
              <a:gd name="connsiteX1469" fmla="*/ 1432033 w 13061856"/>
              <a:gd name="connsiteY1469" fmla="*/ 1980038 h 5116136"/>
              <a:gd name="connsiteX1470" fmla="*/ 1421752 w 13061856"/>
              <a:gd name="connsiteY1470" fmla="*/ 1990979 h 5116136"/>
              <a:gd name="connsiteX1471" fmla="*/ 1461060 w 13061856"/>
              <a:gd name="connsiteY1471" fmla="*/ 2025702 h 5116136"/>
              <a:gd name="connsiteX1472" fmla="*/ 1476180 w 13061856"/>
              <a:gd name="connsiteY1472" fmla="*/ 2013097 h 5116136"/>
              <a:gd name="connsiteX1473" fmla="*/ 1432033 w 13061856"/>
              <a:gd name="connsiteY1473" fmla="*/ 1980038 h 5116136"/>
              <a:gd name="connsiteX1474" fmla="*/ 532174 w 13061856"/>
              <a:gd name="connsiteY1474" fmla="*/ 1978373 h 5116136"/>
              <a:gd name="connsiteX1475" fmla="*/ 550317 w 13061856"/>
              <a:gd name="connsiteY1475" fmla="*/ 1978373 h 5116136"/>
              <a:gd name="connsiteX1476" fmla="*/ 535199 w 13061856"/>
              <a:gd name="connsiteY1476" fmla="*/ 1990979 h 5116136"/>
              <a:gd name="connsiteX1477" fmla="*/ 601721 w 13061856"/>
              <a:gd name="connsiteY1477" fmla="*/ 1996687 h 5116136"/>
              <a:gd name="connsiteX1478" fmla="*/ 520684 w 13061856"/>
              <a:gd name="connsiteY1478" fmla="*/ 1985746 h 5116136"/>
              <a:gd name="connsiteX1479" fmla="*/ 532174 w 13061856"/>
              <a:gd name="connsiteY1479" fmla="*/ 1978373 h 5116136"/>
              <a:gd name="connsiteX1480" fmla="*/ 2223037 w 13061856"/>
              <a:gd name="connsiteY1480" fmla="*/ 1977183 h 5116136"/>
              <a:gd name="connsiteX1481" fmla="*/ 2218199 w 13061856"/>
              <a:gd name="connsiteY1481" fmla="*/ 2014762 h 5116136"/>
              <a:gd name="connsiteX1482" fmla="*/ 2223037 w 13061856"/>
              <a:gd name="connsiteY1482" fmla="*/ 1977183 h 5116136"/>
              <a:gd name="connsiteX1483" fmla="*/ 11767094 w 13061856"/>
              <a:gd name="connsiteY1483" fmla="*/ 1974091 h 5116136"/>
              <a:gd name="connsiteX1484" fmla="*/ 11758023 w 13061856"/>
              <a:gd name="connsiteY1484" fmla="*/ 1975519 h 5116136"/>
              <a:gd name="connsiteX1485" fmla="*/ 11743510 w 13061856"/>
              <a:gd name="connsiteY1485" fmla="*/ 1989312 h 5116136"/>
              <a:gd name="connsiteX1486" fmla="*/ 11773142 w 13061856"/>
              <a:gd name="connsiteY1486" fmla="*/ 1977897 h 5116136"/>
              <a:gd name="connsiteX1487" fmla="*/ 11767094 w 13061856"/>
              <a:gd name="connsiteY1487" fmla="*/ 1974091 h 5116136"/>
              <a:gd name="connsiteX1488" fmla="*/ 12201168 w 13061856"/>
              <a:gd name="connsiteY1488" fmla="*/ 1972995 h 5116136"/>
              <a:gd name="connsiteX1489" fmla="*/ 12194043 w 13061856"/>
              <a:gd name="connsiteY1489" fmla="*/ 1973141 h 5116136"/>
              <a:gd name="connsiteX1490" fmla="*/ 12187392 w 13061856"/>
              <a:gd name="connsiteY1490" fmla="*/ 1993833 h 5116136"/>
              <a:gd name="connsiteX1491" fmla="*/ 12201168 w 13061856"/>
              <a:gd name="connsiteY1491" fmla="*/ 1972995 h 5116136"/>
              <a:gd name="connsiteX1492" fmla="*/ 2168610 w 13061856"/>
              <a:gd name="connsiteY1492" fmla="*/ 1972665 h 5116136"/>
              <a:gd name="connsiteX1493" fmla="*/ 2178286 w 13061856"/>
              <a:gd name="connsiteY1493" fmla="*/ 1996687 h 5116136"/>
              <a:gd name="connsiteX1494" fmla="*/ 2189171 w 13061856"/>
              <a:gd name="connsiteY1494" fmla="*/ 1991692 h 5116136"/>
              <a:gd name="connsiteX1495" fmla="*/ 2164982 w 13061856"/>
              <a:gd name="connsiteY1495" fmla="*/ 1978849 h 5116136"/>
              <a:gd name="connsiteX1496" fmla="*/ 2168610 w 13061856"/>
              <a:gd name="connsiteY1496" fmla="*/ 1972665 h 5116136"/>
              <a:gd name="connsiteX1497" fmla="*/ 1024435 w 13061856"/>
              <a:gd name="connsiteY1497" fmla="*/ 1972665 h 5116136"/>
              <a:gd name="connsiteX1498" fmla="*/ 987546 w 13061856"/>
              <a:gd name="connsiteY1498" fmla="*/ 1983604 h 5116136"/>
              <a:gd name="connsiteX1499" fmla="*/ 1024435 w 13061856"/>
              <a:gd name="connsiteY1499" fmla="*/ 1972665 h 5116136"/>
              <a:gd name="connsiteX1500" fmla="*/ 2715298 w 13061856"/>
              <a:gd name="connsiteY1500" fmla="*/ 1970286 h 5116136"/>
              <a:gd name="connsiteX1501" fmla="*/ 2743722 w 13061856"/>
              <a:gd name="connsiteY1501" fmla="*/ 2001443 h 5116136"/>
              <a:gd name="connsiteX1502" fmla="*/ 2711669 w 13061856"/>
              <a:gd name="connsiteY1502" fmla="*/ 1991692 h 5116136"/>
              <a:gd name="connsiteX1503" fmla="*/ 2715298 w 13061856"/>
              <a:gd name="connsiteY1503" fmla="*/ 1970286 h 5116136"/>
              <a:gd name="connsiteX1504" fmla="*/ 3387167 w 13061856"/>
              <a:gd name="connsiteY1504" fmla="*/ 1970048 h 5116136"/>
              <a:gd name="connsiteX1505" fmla="*/ 3378096 w 13061856"/>
              <a:gd name="connsiteY1505" fmla="*/ 1970763 h 5116136"/>
              <a:gd name="connsiteX1506" fmla="*/ 3373259 w 13061856"/>
              <a:gd name="connsiteY1506" fmla="*/ 1981227 h 5116136"/>
              <a:gd name="connsiteX1507" fmla="*/ 3403496 w 13061856"/>
              <a:gd name="connsiteY1507" fmla="*/ 1991692 h 5116136"/>
              <a:gd name="connsiteX1508" fmla="*/ 3387167 w 13061856"/>
              <a:gd name="connsiteY1508" fmla="*/ 1970048 h 5116136"/>
              <a:gd name="connsiteX1509" fmla="*/ 11982383 w 13061856"/>
              <a:gd name="connsiteY1509" fmla="*/ 1967909 h 5116136"/>
              <a:gd name="connsiteX1510" fmla="*/ 11972707 w 13061856"/>
              <a:gd name="connsiteY1510" fmla="*/ 1973141 h 5116136"/>
              <a:gd name="connsiteX1511" fmla="*/ 11973312 w 13061856"/>
              <a:gd name="connsiteY1511" fmla="*/ 1997637 h 5116136"/>
              <a:gd name="connsiteX1512" fmla="*/ 11982383 w 13061856"/>
              <a:gd name="connsiteY1512" fmla="*/ 1967909 h 5116136"/>
              <a:gd name="connsiteX1513" fmla="*/ 1257263 w 13061856"/>
              <a:gd name="connsiteY1513" fmla="*/ 1967909 h 5116136"/>
              <a:gd name="connsiteX1514" fmla="*/ 1279638 w 13061856"/>
              <a:gd name="connsiteY1514" fmla="*/ 1973617 h 5116136"/>
              <a:gd name="connsiteX1515" fmla="*/ 1292941 w 13061856"/>
              <a:gd name="connsiteY1515" fmla="*/ 2011432 h 5116136"/>
              <a:gd name="connsiteX1516" fmla="*/ 1269962 w 13061856"/>
              <a:gd name="connsiteY1516" fmla="*/ 2016664 h 5116136"/>
              <a:gd name="connsiteX1517" fmla="*/ 1249400 w 13061856"/>
              <a:gd name="connsiteY1517" fmla="*/ 1994546 h 5116136"/>
              <a:gd name="connsiteX1518" fmla="*/ 1257263 w 13061856"/>
              <a:gd name="connsiteY1518" fmla="*/ 1967909 h 5116136"/>
              <a:gd name="connsiteX1519" fmla="*/ 2340962 w 13061856"/>
              <a:gd name="connsiteY1519" fmla="*/ 1965768 h 5116136"/>
              <a:gd name="connsiteX1520" fmla="*/ 2354871 w 13061856"/>
              <a:gd name="connsiteY1520" fmla="*/ 1992405 h 5116136"/>
              <a:gd name="connsiteX1521" fmla="*/ 2330077 w 13061856"/>
              <a:gd name="connsiteY1521" fmla="*/ 1992405 h 5116136"/>
              <a:gd name="connsiteX1522" fmla="*/ 2328868 w 13061856"/>
              <a:gd name="connsiteY1522" fmla="*/ 1966244 h 5116136"/>
              <a:gd name="connsiteX1523" fmla="*/ 2340962 w 13061856"/>
              <a:gd name="connsiteY1523" fmla="*/ 1965768 h 5116136"/>
              <a:gd name="connsiteX1524" fmla="*/ 12413565 w 13061856"/>
              <a:gd name="connsiteY1524" fmla="*/ 1962201 h 5116136"/>
              <a:gd name="connsiteX1525" fmla="*/ 12442593 w 13061856"/>
              <a:gd name="connsiteY1525" fmla="*/ 1975519 h 5116136"/>
              <a:gd name="connsiteX1526" fmla="*/ 12411751 w 13061856"/>
              <a:gd name="connsiteY1526" fmla="*/ 1990501 h 5116136"/>
              <a:gd name="connsiteX1527" fmla="*/ 2134140 w 13061856"/>
              <a:gd name="connsiteY1527" fmla="*/ 1956967 h 5116136"/>
              <a:gd name="connsiteX1528" fmla="*/ 2130512 w 13061856"/>
              <a:gd name="connsiteY1528" fmla="*/ 1976707 h 5116136"/>
              <a:gd name="connsiteX1529" fmla="*/ 2113578 w 13061856"/>
              <a:gd name="connsiteY1529" fmla="*/ 1966957 h 5116136"/>
              <a:gd name="connsiteX1530" fmla="*/ 2134140 w 13061856"/>
              <a:gd name="connsiteY1530" fmla="*/ 1956967 h 5116136"/>
              <a:gd name="connsiteX1531" fmla="*/ 3199093 w 13061856"/>
              <a:gd name="connsiteY1531" fmla="*/ 1956491 h 5116136"/>
              <a:gd name="connsiteX1532" fmla="*/ 3180345 w 13061856"/>
              <a:gd name="connsiteY1532" fmla="*/ 1986459 h 5116136"/>
              <a:gd name="connsiteX1533" fmla="*/ 3199697 w 13061856"/>
              <a:gd name="connsiteY1533" fmla="*/ 1986459 h 5116136"/>
              <a:gd name="connsiteX1534" fmla="*/ 3199093 w 13061856"/>
              <a:gd name="connsiteY1534" fmla="*/ 1956491 h 5116136"/>
              <a:gd name="connsiteX1535" fmla="*/ 2821733 w 13061856"/>
              <a:gd name="connsiteY1535" fmla="*/ 1956491 h 5116136"/>
              <a:gd name="connsiteX1536" fmla="*/ 2850156 w 13061856"/>
              <a:gd name="connsiteY1536" fmla="*/ 1956967 h 5116136"/>
              <a:gd name="connsiteX1537" fmla="*/ 2807219 w 13061856"/>
              <a:gd name="connsiteY1537" fmla="*/ 1970286 h 5116136"/>
              <a:gd name="connsiteX1538" fmla="*/ 2821733 w 13061856"/>
              <a:gd name="connsiteY1538" fmla="*/ 1956491 h 5116136"/>
              <a:gd name="connsiteX1539" fmla="*/ 1650951 w 13061856"/>
              <a:gd name="connsiteY1539" fmla="*/ 1952211 h 5116136"/>
              <a:gd name="connsiteX1540" fmla="*/ 1637041 w 13061856"/>
              <a:gd name="connsiteY1540" fmla="*/ 1972189 h 5116136"/>
              <a:gd name="connsiteX1541" fmla="*/ 1656392 w 13061856"/>
              <a:gd name="connsiteY1541" fmla="*/ 1983604 h 5116136"/>
              <a:gd name="connsiteX1542" fmla="*/ 1646112 w 13061856"/>
              <a:gd name="connsiteY1542" fmla="*/ 1995259 h 5116136"/>
              <a:gd name="connsiteX1543" fmla="*/ 1627364 w 13061856"/>
              <a:gd name="connsiteY1543" fmla="*/ 1970763 h 5116136"/>
              <a:gd name="connsiteX1544" fmla="*/ 1650951 w 13061856"/>
              <a:gd name="connsiteY1544" fmla="*/ 1952211 h 5116136"/>
              <a:gd name="connsiteX1545" fmla="*/ 885950 w 13061856"/>
              <a:gd name="connsiteY1545" fmla="*/ 1950784 h 5116136"/>
              <a:gd name="connsiteX1546" fmla="*/ 853293 w 13061856"/>
              <a:gd name="connsiteY1546" fmla="*/ 1959822 h 5116136"/>
              <a:gd name="connsiteX1547" fmla="*/ 916187 w 13061856"/>
              <a:gd name="connsiteY1547" fmla="*/ 1965055 h 5116136"/>
              <a:gd name="connsiteX1548" fmla="*/ 885950 w 13061856"/>
              <a:gd name="connsiteY1548" fmla="*/ 1950784 h 5116136"/>
              <a:gd name="connsiteX1549" fmla="*/ 3048512 w 13061856"/>
              <a:gd name="connsiteY1549" fmla="*/ 1949357 h 5116136"/>
              <a:gd name="connsiteX1550" fmla="*/ 3079353 w 13061856"/>
              <a:gd name="connsiteY1550" fmla="*/ 1984081 h 5116136"/>
              <a:gd name="connsiteX1551" fmla="*/ 3043673 w 13061856"/>
              <a:gd name="connsiteY1551" fmla="*/ 1990501 h 5116136"/>
              <a:gd name="connsiteX1552" fmla="*/ 3048512 w 13061856"/>
              <a:gd name="connsiteY1552" fmla="*/ 1949357 h 5116136"/>
              <a:gd name="connsiteX1553" fmla="*/ 2645148 w 13061856"/>
              <a:gd name="connsiteY1553" fmla="*/ 1948168 h 5116136"/>
              <a:gd name="connsiteX1554" fmla="*/ 2645753 w 13061856"/>
              <a:gd name="connsiteY1554" fmla="*/ 1950070 h 5116136"/>
              <a:gd name="connsiteX1555" fmla="*/ 2645753 w 13061856"/>
              <a:gd name="connsiteY1555" fmla="*/ 1950784 h 5116136"/>
              <a:gd name="connsiteX1556" fmla="*/ 2645148 w 13061856"/>
              <a:gd name="connsiteY1556" fmla="*/ 1948168 h 5116136"/>
              <a:gd name="connsiteX1557" fmla="*/ 12432312 w 13061856"/>
              <a:gd name="connsiteY1557" fmla="*/ 1947930 h 5116136"/>
              <a:gd name="connsiteX1558" fmla="*/ 12466177 w 13061856"/>
              <a:gd name="connsiteY1558" fmla="*/ 1952925 h 5116136"/>
              <a:gd name="connsiteX1559" fmla="*/ 12472225 w 13061856"/>
              <a:gd name="connsiteY1559" fmla="*/ 1977183 h 5116136"/>
              <a:gd name="connsiteX1560" fmla="*/ 12428079 w 13061856"/>
              <a:gd name="connsiteY1560" fmla="*/ 1959822 h 5116136"/>
              <a:gd name="connsiteX1561" fmla="*/ 12432312 w 13061856"/>
              <a:gd name="connsiteY1561" fmla="*/ 1947930 h 5116136"/>
              <a:gd name="connsiteX1562" fmla="*/ 2723765 w 13061856"/>
              <a:gd name="connsiteY1562" fmla="*/ 1941985 h 5116136"/>
              <a:gd name="connsiteX1563" fmla="*/ 2739488 w 13061856"/>
              <a:gd name="connsiteY1563" fmla="*/ 1944839 h 5116136"/>
              <a:gd name="connsiteX1564" fmla="*/ 2711669 w 13061856"/>
              <a:gd name="connsiteY1564" fmla="*/ 1958871 h 5116136"/>
              <a:gd name="connsiteX1565" fmla="*/ 2723765 w 13061856"/>
              <a:gd name="connsiteY1565" fmla="*/ 1941985 h 5116136"/>
              <a:gd name="connsiteX1566" fmla="*/ 12697190 w 13061856"/>
              <a:gd name="connsiteY1566" fmla="*/ 1940796 h 5116136"/>
              <a:gd name="connsiteX1567" fmla="*/ 12791530 w 13061856"/>
              <a:gd name="connsiteY1567" fmla="*/ 1982415 h 5116136"/>
              <a:gd name="connsiteX1568" fmla="*/ 12659696 w 13061856"/>
              <a:gd name="connsiteY1568" fmla="*/ 1945552 h 5116136"/>
              <a:gd name="connsiteX1569" fmla="*/ 12697190 w 13061856"/>
              <a:gd name="connsiteY1569" fmla="*/ 1940796 h 5116136"/>
              <a:gd name="connsiteX1570" fmla="*/ 966985 w 13061856"/>
              <a:gd name="connsiteY1570" fmla="*/ 1940796 h 5116136"/>
              <a:gd name="connsiteX1571" fmla="*/ 947634 w 13061856"/>
              <a:gd name="connsiteY1571" fmla="*/ 1954114 h 5116136"/>
              <a:gd name="connsiteX1572" fmla="*/ 981499 w 13061856"/>
              <a:gd name="connsiteY1572" fmla="*/ 1958871 h 5116136"/>
              <a:gd name="connsiteX1573" fmla="*/ 966985 w 13061856"/>
              <a:gd name="connsiteY1573" fmla="*/ 1940796 h 5116136"/>
              <a:gd name="connsiteX1574" fmla="*/ 2149863 w 13061856"/>
              <a:gd name="connsiteY1574" fmla="*/ 1940320 h 5116136"/>
              <a:gd name="connsiteX1575" fmla="*/ 2180100 w 13061856"/>
              <a:gd name="connsiteY1575" fmla="*/ 1967433 h 5116136"/>
              <a:gd name="connsiteX1576" fmla="*/ 2143211 w 13061856"/>
              <a:gd name="connsiteY1576" fmla="*/ 1962201 h 5116136"/>
              <a:gd name="connsiteX1577" fmla="*/ 2149863 w 13061856"/>
              <a:gd name="connsiteY1577" fmla="*/ 1940320 h 5116136"/>
              <a:gd name="connsiteX1578" fmla="*/ 2980780 w 13061856"/>
              <a:gd name="connsiteY1578" fmla="*/ 1939607 h 5116136"/>
              <a:gd name="connsiteX1579" fmla="*/ 2992270 w 13061856"/>
              <a:gd name="connsiteY1579" fmla="*/ 1950070 h 5116136"/>
              <a:gd name="connsiteX1580" fmla="*/ 2961429 w 13061856"/>
              <a:gd name="connsiteY1580" fmla="*/ 1960297 h 5116136"/>
              <a:gd name="connsiteX1581" fmla="*/ 2980780 w 13061856"/>
              <a:gd name="connsiteY1581" fmla="*/ 1939607 h 5116136"/>
              <a:gd name="connsiteX1582" fmla="*/ 2339148 w 13061856"/>
              <a:gd name="connsiteY1582" fmla="*/ 1937940 h 5116136"/>
              <a:gd name="connsiteX1583" fmla="*/ 2322820 w 13061856"/>
              <a:gd name="connsiteY1583" fmla="*/ 1958871 h 5116136"/>
              <a:gd name="connsiteX1584" fmla="*/ 2339148 w 13061856"/>
              <a:gd name="connsiteY1584" fmla="*/ 1937940 h 5116136"/>
              <a:gd name="connsiteX1585" fmla="*/ 2933611 w 13061856"/>
              <a:gd name="connsiteY1585" fmla="*/ 1933423 h 5116136"/>
              <a:gd name="connsiteX1586" fmla="*/ 2938448 w 13061856"/>
              <a:gd name="connsiteY1586" fmla="*/ 1977183 h 5116136"/>
              <a:gd name="connsiteX1587" fmla="*/ 2933611 w 13061856"/>
              <a:gd name="connsiteY1587" fmla="*/ 1933423 h 5116136"/>
              <a:gd name="connsiteX1588" fmla="*/ 2237551 w 13061856"/>
              <a:gd name="connsiteY1588" fmla="*/ 1932234 h 5116136"/>
              <a:gd name="connsiteX1589" fmla="*/ 2300444 w 13061856"/>
              <a:gd name="connsiteY1589" fmla="*/ 1944839 h 5116136"/>
              <a:gd name="connsiteX1590" fmla="*/ 2279883 w 13061856"/>
              <a:gd name="connsiteY1590" fmla="*/ 1963151 h 5116136"/>
              <a:gd name="connsiteX1591" fmla="*/ 2219409 w 13061856"/>
              <a:gd name="connsiteY1591" fmla="*/ 1937940 h 5116136"/>
              <a:gd name="connsiteX1592" fmla="*/ 2237551 w 13061856"/>
              <a:gd name="connsiteY1592" fmla="*/ 1932234 h 5116136"/>
              <a:gd name="connsiteX1593" fmla="*/ 2471586 w 13061856"/>
              <a:gd name="connsiteY1593" fmla="*/ 1924622 h 5116136"/>
              <a:gd name="connsiteX1594" fmla="*/ 2494567 w 13061856"/>
              <a:gd name="connsiteY1594" fmla="*/ 1934374 h 5116136"/>
              <a:gd name="connsiteX1595" fmla="*/ 2454050 w 13061856"/>
              <a:gd name="connsiteY1595" fmla="*/ 1941272 h 5116136"/>
              <a:gd name="connsiteX1596" fmla="*/ 2471586 w 13061856"/>
              <a:gd name="connsiteY1596" fmla="*/ 1924622 h 5116136"/>
              <a:gd name="connsiteX1597" fmla="*/ 1569310 w 13061856"/>
              <a:gd name="connsiteY1597" fmla="*/ 1921055 h 5116136"/>
              <a:gd name="connsiteX1598" fmla="*/ 1567496 w 13061856"/>
              <a:gd name="connsiteY1598" fmla="*/ 1943173 h 5116136"/>
              <a:gd name="connsiteX1599" fmla="*/ 1584428 w 13061856"/>
              <a:gd name="connsiteY1599" fmla="*/ 1922482 h 5116136"/>
              <a:gd name="connsiteX1600" fmla="*/ 1585033 w 13061856"/>
              <a:gd name="connsiteY1600" fmla="*/ 1959822 h 5116136"/>
              <a:gd name="connsiteX1601" fmla="*/ 1557215 w 13061856"/>
              <a:gd name="connsiteY1601" fmla="*/ 1938418 h 5116136"/>
              <a:gd name="connsiteX1602" fmla="*/ 1569310 w 13061856"/>
              <a:gd name="connsiteY1602" fmla="*/ 1921055 h 5116136"/>
              <a:gd name="connsiteX1603" fmla="*/ 2639100 w 13061856"/>
              <a:gd name="connsiteY1603" fmla="*/ 1920580 h 5116136"/>
              <a:gd name="connsiteX1604" fmla="*/ 2669942 w 13061856"/>
              <a:gd name="connsiteY1604" fmla="*/ 1927477 h 5116136"/>
              <a:gd name="connsiteX1605" fmla="*/ 2686875 w 13061856"/>
              <a:gd name="connsiteY1605" fmla="*/ 1956491 h 5116136"/>
              <a:gd name="connsiteX1606" fmla="*/ 2645753 w 13061856"/>
              <a:gd name="connsiteY1606" fmla="*/ 1950070 h 5116136"/>
              <a:gd name="connsiteX1607" fmla="*/ 2639100 w 13061856"/>
              <a:gd name="connsiteY1607" fmla="*/ 1920580 h 5116136"/>
              <a:gd name="connsiteX1608" fmla="*/ 764397 w 13061856"/>
              <a:gd name="connsiteY1608" fmla="*/ 1920104 h 5116136"/>
              <a:gd name="connsiteX1609" fmla="*/ 739601 w 13061856"/>
              <a:gd name="connsiteY1609" fmla="*/ 1959822 h 5116136"/>
              <a:gd name="connsiteX1610" fmla="*/ 787377 w 13061856"/>
              <a:gd name="connsiteY1610" fmla="*/ 1930330 h 5116136"/>
              <a:gd name="connsiteX1611" fmla="*/ 764397 w 13061856"/>
              <a:gd name="connsiteY1611" fmla="*/ 1920104 h 5116136"/>
              <a:gd name="connsiteX1612" fmla="*/ 2183125 w 13061856"/>
              <a:gd name="connsiteY1612" fmla="*/ 1917249 h 5116136"/>
              <a:gd name="connsiteX1613" fmla="*/ 2210337 w 13061856"/>
              <a:gd name="connsiteY1613" fmla="*/ 1921769 h 5116136"/>
              <a:gd name="connsiteX1614" fmla="*/ 2204290 w 13061856"/>
              <a:gd name="connsiteY1614" fmla="*/ 1938418 h 5116136"/>
              <a:gd name="connsiteX1615" fmla="*/ 2175867 w 13061856"/>
              <a:gd name="connsiteY1615" fmla="*/ 1920580 h 5116136"/>
              <a:gd name="connsiteX1616" fmla="*/ 2183125 w 13061856"/>
              <a:gd name="connsiteY1616" fmla="*/ 1917249 h 5116136"/>
              <a:gd name="connsiteX1617" fmla="*/ 3103543 w 13061856"/>
              <a:gd name="connsiteY1617" fmla="*/ 1915346 h 5116136"/>
              <a:gd name="connsiteX1618" fmla="*/ 3090844 w 13061856"/>
              <a:gd name="connsiteY1618" fmla="*/ 1921055 h 5116136"/>
              <a:gd name="connsiteX1619" fmla="*/ 3099310 w 13061856"/>
              <a:gd name="connsiteY1619" fmla="*/ 1940320 h 5116136"/>
              <a:gd name="connsiteX1620" fmla="*/ 3119267 w 13061856"/>
              <a:gd name="connsiteY1620" fmla="*/ 1921769 h 5116136"/>
              <a:gd name="connsiteX1621" fmla="*/ 3103543 w 13061856"/>
              <a:gd name="connsiteY1621" fmla="*/ 1915346 h 5116136"/>
              <a:gd name="connsiteX1622" fmla="*/ 1528792 w 13061856"/>
              <a:gd name="connsiteY1622" fmla="*/ 1911541 h 5116136"/>
              <a:gd name="connsiteX1623" fmla="*/ 1538468 w 13061856"/>
              <a:gd name="connsiteY1623" fmla="*/ 1969810 h 5116136"/>
              <a:gd name="connsiteX1624" fmla="*/ 1528792 w 13061856"/>
              <a:gd name="connsiteY1624" fmla="*/ 1911541 h 5116136"/>
              <a:gd name="connsiteX1625" fmla="*/ 3151318 w 13061856"/>
              <a:gd name="connsiteY1625" fmla="*/ 1910590 h 5116136"/>
              <a:gd name="connsiteX1626" fmla="*/ 3131362 w 13061856"/>
              <a:gd name="connsiteY1626" fmla="*/ 1917249 h 5116136"/>
              <a:gd name="connsiteX1627" fmla="*/ 3142246 w 13061856"/>
              <a:gd name="connsiteY1627" fmla="*/ 1945552 h 5116136"/>
              <a:gd name="connsiteX1628" fmla="*/ 3198488 w 13061856"/>
              <a:gd name="connsiteY1628" fmla="*/ 1922958 h 5116136"/>
              <a:gd name="connsiteX1629" fmla="*/ 3151318 w 13061856"/>
              <a:gd name="connsiteY1629" fmla="*/ 1910590 h 5116136"/>
              <a:gd name="connsiteX1630" fmla="*/ 12617364 w 13061856"/>
              <a:gd name="connsiteY1630" fmla="*/ 1909638 h 5116136"/>
              <a:gd name="connsiteX1631" fmla="*/ 12611316 w 13061856"/>
              <a:gd name="connsiteY1631" fmla="*/ 1933898 h 5116136"/>
              <a:gd name="connsiteX1632" fmla="*/ 12594384 w 13061856"/>
              <a:gd name="connsiteY1632" fmla="*/ 1922482 h 5116136"/>
              <a:gd name="connsiteX1633" fmla="*/ 12617364 w 13061856"/>
              <a:gd name="connsiteY1633" fmla="*/ 1909638 h 5116136"/>
              <a:gd name="connsiteX1634" fmla="*/ 12174691 w 13061856"/>
              <a:gd name="connsiteY1634" fmla="*/ 1906071 h 5116136"/>
              <a:gd name="connsiteX1635" fmla="*/ 12184367 w 13061856"/>
              <a:gd name="connsiteY1635" fmla="*/ 1908449 h 5116136"/>
              <a:gd name="connsiteX1636" fmla="*/ 12176506 w 13061856"/>
              <a:gd name="connsiteY1636" fmla="*/ 1936277 h 5116136"/>
              <a:gd name="connsiteX1637" fmla="*/ 12175296 w 13061856"/>
              <a:gd name="connsiteY1637" fmla="*/ 1912968 h 5116136"/>
              <a:gd name="connsiteX1638" fmla="*/ 12147478 w 13061856"/>
              <a:gd name="connsiteY1638" fmla="*/ 1924622 h 5116136"/>
              <a:gd name="connsiteX1639" fmla="*/ 12163806 w 13061856"/>
              <a:gd name="connsiteY1639" fmla="*/ 1907736 h 5116136"/>
              <a:gd name="connsiteX1640" fmla="*/ 12174691 w 13061856"/>
              <a:gd name="connsiteY1640" fmla="*/ 1906071 h 5116136"/>
              <a:gd name="connsiteX1641" fmla="*/ 2020448 w 13061856"/>
              <a:gd name="connsiteY1641" fmla="*/ 1900363 h 5116136"/>
              <a:gd name="connsiteX1642" fmla="*/ 2041009 w 13061856"/>
              <a:gd name="connsiteY1642" fmla="*/ 1900363 h 5116136"/>
              <a:gd name="connsiteX1643" fmla="*/ 2035567 w 13061856"/>
              <a:gd name="connsiteY1643" fmla="*/ 1923909 h 5116136"/>
              <a:gd name="connsiteX1644" fmla="*/ 2020448 w 13061856"/>
              <a:gd name="connsiteY1644" fmla="*/ 1900363 h 5116136"/>
              <a:gd name="connsiteX1645" fmla="*/ 1638854 w 13061856"/>
              <a:gd name="connsiteY1645" fmla="*/ 1900363 h 5116136"/>
              <a:gd name="connsiteX1646" fmla="*/ 1655788 w 13061856"/>
              <a:gd name="connsiteY1646" fmla="*/ 1902028 h 5116136"/>
              <a:gd name="connsiteX1647" fmla="*/ 1651555 w 13061856"/>
              <a:gd name="connsiteY1647" fmla="*/ 1944124 h 5116136"/>
              <a:gd name="connsiteX1648" fmla="*/ 1638854 w 13061856"/>
              <a:gd name="connsiteY1648" fmla="*/ 1945552 h 5116136"/>
              <a:gd name="connsiteX1649" fmla="*/ 1638854 w 13061856"/>
              <a:gd name="connsiteY1649" fmla="*/ 1939131 h 5116136"/>
              <a:gd name="connsiteX1650" fmla="*/ 1625551 w 13061856"/>
              <a:gd name="connsiteY1650" fmla="*/ 1914395 h 5116136"/>
              <a:gd name="connsiteX1651" fmla="*/ 1638854 w 13061856"/>
              <a:gd name="connsiteY1651" fmla="*/ 1900363 h 5116136"/>
              <a:gd name="connsiteX1652" fmla="*/ 2584069 w 13061856"/>
              <a:gd name="connsiteY1652" fmla="*/ 1894893 h 5116136"/>
              <a:gd name="connsiteX1653" fmla="*/ 2597373 w 13061856"/>
              <a:gd name="connsiteY1653" fmla="*/ 1913444 h 5116136"/>
              <a:gd name="connsiteX1654" fmla="*/ 2574997 w 13061856"/>
              <a:gd name="connsiteY1654" fmla="*/ 1907260 h 5116136"/>
              <a:gd name="connsiteX1655" fmla="*/ 2578022 w 13061856"/>
              <a:gd name="connsiteY1655" fmla="*/ 1895844 h 5116136"/>
              <a:gd name="connsiteX1656" fmla="*/ 2584069 w 13061856"/>
              <a:gd name="connsiteY1656" fmla="*/ 1894893 h 5116136"/>
              <a:gd name="connsiteX1657" fmla="*/ 2224851 w 13061856"/>
              <a:gd name="connsiteY1657" fmla="*/ 1891087 h 5116136"/>
              <a:gd name="connsiteX1658" fmla="*/ 2245413 w 13061856"/>
              <a:gd name="connsiteY1658" fmla="*/ 1898698 h 5116136"/>
              <a:gd name="connsiteX1659" fmla="*/ 2236341 w 13061856"/>
              <a:gd name="connsiteY1659" fmla="*/ 1919628 h 5116136"/>
              <a:gd name="connsiteX1660" fmla="*/ 2224851 w 13061856"/>
              <a:gd name="connsiteY1660" fmla="*/ 1891087 h 5116136"/>
              <a:gd name="connsiteX1661" fmla="*/ 2057943 w 13061856"/>
              <a:gd name="connsiteY1661" fmla="*/ 1891087 h 5116136"/>
              <a:gd name="connsiteX1662" fmla="*/ 2080922 w 13061856"/>
              <a:gd name="connsiteY1662" fmla="*/ 1891087 h 5116136"/>
              <a:gd name="connsiteX1663" fmla="*/ 2062175 w 13061856"/>
              <a:gd name="connsiteY1663" fmla="*/ 1895131 h 5116136"/>
              <a:gd name="connsiteX1664" fmla="*/ 2072456 w 13061856"/>
              <a:gd name="connsiteY1664" fmla="*/ 1919628 h 5116136"/>
              <a:gd name="connsiteX1665" fmla="*/ 2049476 w 13061856"/>
              <a:gd name="connsiteY1665" fmla="*/ 1913444 h 5116136"/>
              <a:gd name="connsiteX1666" fmla="*/ 2057943 w 13061856"/>
              <a:gd name="connsiteY1666" fmla="*/ 1891087 h 5116136"/>
              <a:gd name="connsiteX1667" fmla="*/ 1769479 w 13061856"/>
              <a:gd name="connsiteY1667" fmla="*/ 1891087 h 5116136"/>
              <a:gd name="connsiteX1668" fmla="*/ 1782179 w 13061856"/>
              <a:gd name="connsiteY1668" fmla="*/ 1892277 h 5116136"/>
              <a:gd name="connsiteX1669" fmla="*/ 1796693 w 13061856"/>
              <a:gd name="connsiteY1669" fmla="*/ 1910114 h 5116136"/>
              <a:gd name="connsiteX1670" fmla="*/ 1760408 w 13061856"/>
              <a:gd name="connsiteY1670" fmla="*/ 1896320 h 5116136"/>
              <a:gd name="connsiteX1671" fmla="*/ 1769479 w 13061856"/>
              <a:gd name="connsiteY1671" fmla="*/ 1891087 h 5116136"/>
              <a:gd name="connsiteX1672" fmla="*/ 2269603 w 13061856"/>
              <a:gd name="connsiteY1672" fmla="*/ 1887520 h 5116136"/>
              <a:gd name="connsiteX1673" fmla="*/ 2286534 w 13061856"/>
              <a:gd name="connsiteY1673" fmla="*/ 1888233 h 5116136"/>
              <a:gd name="connsiteX1674" fmla="*/ 2287140 w 13061856"/>
              <a:gd name="connsiteY1674" fmla="*/ 1921769 h 5116136"/>
              <a:gd name="connsiteX1675" fmla="*/ 2270207 w 13061856"/>
              <a:gd name="connsiteY1675" fmla="*/ 1925812 h 5116136"/>
              <a:gd name="connsiteX1676" fmla="*/ 2281093 w 13061856"/>
              <a:gd name="connsiteY1676" fmla="*/ 1921055 h 5116136"/>
              <a:gd name="connsiteX1677" fmla="*/ 2264160 w 13061856"/>
              <a:gd name="connsiteY1677" fmla="*/ 1899174 h 5116136"/>
              <a:gd name="connsiteX1678" fmla="*/ 2269603 w 13061856"/>
              <a:gd name="connsiteY1678" fmla="*/ 1887520 h 5116136"/>
              <a:gd name="connsiteX1679" fmla="*/ 563622 w 13061856"/>
              <a:gd name="connsiteY1679" fmla="*/ 1878482 h 5116136"/>
              <a:gd name="connsiteX1680" fmla="*/ 550317 w 13061856"/>
              <a:gd name="connsiteY1680" fmla="*/ 1895844 h 5116136"/>
              <a:gd name="connsiteX1681" fmla="*/ 587812 w 13061856"/>
              <a:gd name="connsiteY1681" fmla="*/ 1885379 h 5116136"/>
              <a:gd name="connsiteX1682" fmla="*/ 563622 w 13061856"/>
              <a:gd name="connsiteY1682" fmla="*/ 1878482 h 5116136"/>
              <a:gd name="connsiteX1683" fmla="*/ 11822731 w 13061856"/>
              <a:gd name="connsiteY1683" fmla="*/ 1876104 h 5116136"/>
              <a:gd name="connsiteX1684" fmla="*/ 11859620 w 13061856"/>
              <a:gd name="connsiteY1684" fmla="*/ 1892752 h 5116136"/>
              <a:gd name="connsiteX1685" fmla="*/ 11806403 w 13061856"/>
              <a:gd name="connsiteY1685" fmla="*/ 1920104 h 5116136"/>
              <a:gd name="connsiteX1686" fmla="*/ 11799750 w 13061856"/>
              <a:gd name="connsiteY1686" fmla="*/ 1897509 h 5116136"/>
              <a:gd name="connsiteX1687" fmla="*/ 11807008 w 13061856"/>
              <a:gd name="connsiteY1687" fmla="*/ 1909162 h 5116136"/>
              <a:gd name="connsiteX1688" fmla="*/ 11833617 w 13061856"/>
              <a:gd name="connsiteY1688" fmla="*/ 1892752 h 5116136"/>
              <a:gd name="connsiteX1689" fmla="*/ 11816079 w 13061856"/>
              <a:gd name="connsiteY1689" fmla="*/ 1885379 h 5116136"/>
              <a:gd name="connsiteX1690" fmla="*/ 11822731 w 13061856"/>
              <a:gd name="connsiteY1690" fmla="*/ 1876104 h 5116136"/>
              <a:gd name="connsiteX1691" fmla="*/ 1903128 w 13061856"/>
              <a:gd name="connsiteY1691" fmla="*/ 1876104 h 5116136"/>
              <a:gd name="connsiteX1692" fmla="*/ 1898289 w 13061856"/>
              <a:gd name="connsiteY1692" fmla="*/ 1910114 h 5116136"/>
              <a:gd name="connsiteX1693" fmla="*/ 1878333 w 13061856"/>
              <a:gd name="connsiteY1693" fmla="*/ 1910590 h 5116136"/>
              <a:gd name="connsiteX1694" fmla="*/ 1903128 w 13061856"/>
              <a:gd name="connsiteY1694" fmla="*/ 1876104 h 5116136"/>
              <a:gd name="connsiteX1695" fmla="*/ 2035567 w 13061856"/>
              <a:gd name="connsiteY1695" fmla="*/ 1875867 h 5116136"/>
              <a:gd name="connsiteX1696" fmla="*/ 2044033 w 13061856"/>
              <a:gd name="connsiteY1696" fmla="*/ 1881812 h 5116136"/>
              <a:gd name="connsiteX1697" fmla="*/ 2008353 w 13061856"/>
              <a:gd name="connsiteY1697" fmla="*/ 1893466 h 5116136"/>
              <a:gd name="connsiteX1698" fmla="*/ 2023471 w 13061856"/>
              <a:gd name="connsiteY1698" fmla="*/ 1876104 h 5116136"/>
              <a:gd name="connsiteX1699" fmla="*/ 2035567 w 13061856"/>
              <a:gd name="connsiteY1699" fmla="*/ 1875867 h 5116136"/>
              <a:gd name="connsiteX1700" fmla="*/ 12274474 w 13061856"/>
              <a:gd name="connsiteY1700" fmla="*/ 1874202 h 5116136"/>
              <a:gd name="connsiteX1701" fmla="*/ 12289592 w 13061856"/>
              <a:gd name="connsiteY1701" fmla="*/ 1912492 h 5116136"/>
              <a:gd name="connsiteX1702" fmla="*/ 12252704 w 13061856"/>
              <a:gd name="connsiteY1702" fmla="*/ 1911541 h 5116136"/>
              <a:gd name="connsiteX1703" fmla="*/ 12274474 w 13061856"/>
              <a:gd name="connsiteY1703" fmla="*/ 1874202 h 5116136"/>
              <a:gd name="connsiteX1704" fmla="*/ 1530606 w 13061856"/>
              <a:gd name="connsiteY1704" fmla="*/ 1873488 h 5116136"/>
              <a:gd name="connsiteX1705" fmla="*/ 1548749 w 13061856"/>
              <a:gd name="connsiteY1705" fmla="*/ 1885855 h 5116136"/>
              <a:gd name="connsiteX1706" fmla="*/ 1515488 w 13061856"/>
              <a:gd name="connsiteY1706" fmla="*/ 1885379 h 5116136"/>
              <a:gd name="connsiteX1707" fmla="*/ 1519721 w 13061856"/>
              <a:gd name="connsiteY1707" fmla="*/ 1873726 h 5116136"/>
              <a:gd name="connsiteX1708" fmla="*/ 1530606 w 13061856"/>
              <a:gd name="connsiteY1708" fmla="*/ 1873488 h 5116136"/>
              <a:gd name="connsiteX1709" fmla="*/ 1673930 w 13061856"/>
              <a:gd name="connsiteY1709" fmla="*/ 1873250 h 5116136"/>
              <a:gd name="connsiteX1710" fmla="*/ 1669696 w 13061856"/>
              <a:gd name="connsiteY1710" fmla="*/ 1898698 h 5116136"/>
              <a:gd name="connsiteX1711" fmla="*/ 1649741 w 13061856"/>
              <a:gd name="connsiteY1711" fmla="*/ 1885855 h 5116136"/>
              <a:gd name="connsiteX1712" fmla="*/ 1673930 w 13061856"/>
              <a:gd name="connsiteY1712" fmla="*/ 1873250 h 5116136"/>
              <a:gd name="connsiteX1713" fmla="*/ 1622610 w 13061856"/>
              <a:gd name="connsiteY1713" fmla="*/ 1868625 h 5116136"/>
              <a:gd name="connsiteX1714" fmla="*/ 1634622 w 13061856"/>
              <a:gd name="connsiteY1714" fmla="*/ 1887520 h 5116136"/>
              <a:gd name="connsiteX1715" fmla="*/ 1622905 w 13061856"/>
              <a:gd name="connsiteY1715" fmla="*/ 1882525 h 5116136"/>
              <a:gd name="connsiteX1716" fmla="*/ 1924898 w 13061856"/>
              <a:gd name="connsiteY1716" fmla="*/ 1865639 h 5116136"/>
              <a:gd name="connsiteX1717" fmla="*/ 1947274 w 13061856"/>
              <a:gd name="connsiteY1717" fmla="*/ 1880860 h 5116136"/>
              <a:gd name="connsiteX1718" fmla="*/ 1917037 w 13061856"/>
              <a:gd name="connsiteY1718" fmla="*/ 1889422 h 5116136"/>
              <a:gd name="connsiteX1719" fmla="*/ 1924898 w 13061856"/>
              <a:gd name="connsiteY1719" fmla="*/ 1865639 h 5116136"/>
              <a:gd name="connsiteX1720" fmla="*/ 1622527 w 13061856"/>
              <a:gd name="connsiteY1720" fmla="*/ 1864688 h 5116136"/>
              <a:gd name="connsiteX1721" fmla="*/ 1622610 w 13061856"/>
              <a:gd name="connsiteY1721" fmla="*/ 1868625 h 5116136"/>
              <a:gd name="connsiteX1722" fmla="*/ 1620554 w 13061856"/>
              <a:gd name="connsiteY1722" fmla="*/ 1865390 h 5116136"/>
              <a:gd name="connsiteX1723" fmla="*/ 2603421 w 13061856"/>
              <a:gd name="connsiteY1723" fmla="*/ 1856601 h 5116136"/>
              <a:gd name="connsiteX1724" fmla="*/ 2638496 w 13061856"/>
              <a:gd name="connsiteY1724" fmla="*/ 1891087 h 5116136"/>
              <a:gd name="connsiteX1725" fmla="*/ 2619144 w 13061856"/>
              <a:gd name="connsiteY1725" fmla="*/ 1925335 h 5116136"/>
              <a:gd name="connsiteX1726" fmla="*/ 2603421 w 13061856"/>
              <a:gd name="connsiteY1726" fmla="*/ 1856601 h 5116136"/>
              <a:gd name="connsiteX1727" fmla="*/ 2783634 w 13061856"/>
              <a:gd name="connsiteY1727" fmla="*/ 1853510 h 5116136"/>
              <a:gd name="connsiteX1728" fmla="*/ 2822338 w 13061856"/>
              <a:gd name="connsiteY1728" fmla="*/ 1931043 h 5116136"/>
              <a:gd name="connsiteX1729" fmla="*/ 2783634 w 13061856"/>
              <a:gd name="connsiteY1729" fmla="*/ 1935563 h 5116136"/>
              <a:gd name="connsiteX1730" fmla="*/ 2764886 w 13061856"/>
              <a:gd name="connsiteY1730" fmla="*/ 1923909 h 5116136"/>
              <a:gd name="connsiteX1731" fmla="*/ 2740092 w 13061856"/>
              <a:gd name="connsiteY1731" fmla="*/ 1905358 h 5116136"/>
              <a:gd name="connsiteX1732" fmla="*/ 2741302 w 13061856"/>
              <a:gd name="connsiteY1732" fmla="*/ 1923909 h 5116136"/>
              <a:gd name="connsiteX1733" fmla="*/ 2721345 w 13061856"/>
              <a:gd name="connsiteY1733" fmla="*/ 1893942 h 5116136"/>
              <a:gd name="connsiteX1734" fmla="*/ 2714089 w 13061856"/>
              <a:gd name="connsiteY1734" fmla="*/ 1901552 h 5116136"/>
              <a:gd name="connsiteX1735" fmla="*/ 2717112 w 13061856"/>
              <a:gd name="connsiteY1735" fmla="*/ 1929855 h 5116136"/>
              <a:gd name="connsiteX1736" fmla="*/ 2698365 w 13061856"/>
              <a:gd name="connsiteY1736" fmla="*/ 1923909 h 5116136"/>
              <a:gd name="connsiteX1737" fmla="*/ 2685666 w 13061856"/>
              <a:gd name="connsiteY1737" fmla="*/ 1895131 h 5116136"/>
              <a:gd name="connsiteX1738" fmla="*/ 2646962 w 13061856"/>
              <a:gd name="connsiteY1738" fmla="*/ 1905358 h 5116136"/>
              <a:gd name="connsiteX1739" fmla="*/ 2643334 w 13061856"/>
              <a:gd name="connsiteY1739" fmla="*/ 1889422 h 5116136"/>
              <a:gd name="connsiteX1740" fmla="*/ 2661476 w 13061856"/>
              <a:gd name="connsiteY1740" fmla="*/ 1865164 h 5116136"/>
              <a:gd name="connsiteX1741" fmla="*/ 2662081 w 13061856"/>
              <a:gd name="connsiteY1741" fmla="*/ 1888709 h 5116136"/>
              <a:gd name="connsiteX1742" fmla="*/ 2750373 w 13061856"/>
              <a:gd name="connsiteY1742" fmla="*/ 1894655 h 5116136"/>
              <a:gd name="connsiteX1743" fmla="*/ 2779401 w 13061856"/>
              <a:gd name="connsiteY1743" fmla="*/ 1883001 h 5116136"/>
              <a:gd name="connsiteX1744" fmla="*/ 2783634 w 13061856"/>
              <a:gd name="connsiteY1744" fmla="*/ 1853510 h 5116136"/>
              <a:gd name="connsiteX1745" fmla="*/ 1611642 w 13061856"/>
              <a:gd name="connsiteY1745" fmla="*/ 1851369 h 5116136"/>
              <a:gd name="connsiteX1746" fmla="*/ 1620554 w 13061856"/>
              <a:gd name="connsiteY1746" fmla="*/ 1865390 h 5116136"/>
              <a:gd name="connsiteX1747" fmla="*/ 1590476 w 13061856"/>
              <a:gd name="connsiteY1747" fmla="*/ 1876104 h 5116136"/>
              <a:gd name="connsiteX1748" fmla="*/ 1611642 w 13061856"/>
              <a:gd name="connsiteY1748" fmla="*/ 1851369 h 5116136"/>
              <a:gd name="connsiteX1749" fmla="*/ 468677 w 13061856"/>
              <a:gd name="connsiteY1749" fmla="*/ 1848991 h 5116136"/>
              <a:gd name="connsiteX1750" fmla="*/ 521289 w 13061856"/>
              <a:gd name="connsiteY1750" fmla="*/ 1855175 h 5116136"/>
              <a:gd name="connsiteX1751" fmla="*/ 512823 w 13061856"/>
              <a:gd name="connsiteY1751" fmla="*/ 1884666 h 5116136"/>
              <a:gd name="connsiteX1752" fmla="*/ 543664 w 13061856"/>
              <a:gd name="connsiteY1752" fmla="*/ 1885379 h 5116136"/>
              <a:gd name="connsiteX1753" fmla="*/ 541246 w 13061856"/>
              <a:gd name="connsiteY1753" fmla="*/ 1855175 h 5116136"/>
              <a:gd name="connsiteX1754" fmla="*/ 596278 w 13061856"/>
              <a:gd name="connsiteY1754" fmla="*/ 1862309 h 5116136"/>
              <a:gd name="connsiteX1755" fmla="*/ 630143 w 13061856"/>
              <a:gd name="connsiteY1755" fmla="*/ 1896796 h 5116136"/>
              <a:gd name="connsiteX1756" fmla="*/ 658566 w 13061856"/>
              <a:gd name="connsiteY1756" fmla="*/ 1873250 h 5116136"/>
              <a:gd name="connsiteX1757" fmla="*/ 748673 w 13061856"/>
              <a:gd name="connsiteY1757" fmla="*/ 1891087 h 5116136"/>
              <a:gd name="connsiteX1758" fmla="*/ 768025 w 13061856"/>
              <a:gd name="connsiteY1758" fmla="*/ 1884666 h 5116136"/>
              <a:gd name="connsiteX1759" fmla="*/ 791005 w 13061856"/>
              <a:gd name="connsiteY1759" fmla="*/ 1906784 h 5116136"/>
              <a:gd name="connsiteX1760" fmla="*/ 811567 w 13061856"/>
              <a:gd name="connsiteY1760" fmla="*/ 1890612 h 5116136"/>
              <a:gd name="connsiteX1761" fmla="*/ 849666 w 13061856"/>
              <a:gd name="connsiteY1761" fmla="*/ 1901552 h 5116136"/>
              <a:gd name="connsiteX1762" fmla="*/ 836362 w 13061856"/>
              <a:gd name="connsiteY1762" fmla="*/ 1884666 h 5116136"/>
              <a:gd name="connsiteX1763" fmla="*/ 863574 w 13061856"/>
              <a:gd name="connsiteY1763" fmla="*/ 1906784 h 5116136"/>
              <a:gd name="connsiteX1764" fmla="*/ 872646 w 13061856"/>
              <a:gd name="connsiteY1764" fmla="*/ 1883714 h 5116136"/>
              <a:gd name="connsiteX1765" fmla="*/ 977870 w 13061856"/>
              <a:gd name="connsiteY1765" fmla="*/ 1896320 h 5116136"/>
              <a:gd name="connsiteX1766" fmla="*/ 1002666 w 13061856"/>
              <a:gd name="connsiteY1766" fmla="*/ 1930330 h 5116136"/>
              <a:gd name="connsiteX1767" fmla="*/ 1035322 w 13061856"/>
              <a:gd name="connsiteY1767" fmla="*/ 1937464 h 5116136"/>
              <a:gd name="connsiteX1768" fmla="*/ 1101843 w 13061856"/>
              <a:gd name="connsiteY1768" fmla="*/ 1919628 h 5116136"/>
              <a:gd name="connsiteX1769" fmla="*/ 1126032 w 13061856"/>
              <a:gd name="connsiteY1769" fmla="*/ 1925335 h 5116136"/>
              <a:gd name="connsiteX1770" fmla="*/ 1176831 w 13061856"/>
              <a:gd name="connsiteY1770" fmla="*/ 1959346 h 5116136"/>
              <a:gd name="connsiteX1771" fmla="*/ 1106076 w 13061856"/>
              <a:gd name="connsiteY1771" fmla="*/ 1977183 h 5116136"/>
              <a:gd name="connsiteX1772" fmla="*/ 1109705 w 13061856"/>
              <a:gd name="connsiteY1772" fmla="*/ 1954114 h 5116136"/>
              <a:gd name="connsiteX1773" fmla="*/ 1024435 w 13061856"/>
              <a:gd name="connsiteY1773" fmla="*/ 1960297 h 5116136"/>
              <a:gd name="connsiteX1774" fmla="*/ 1119381 w 13061856"/>
              <a:gd name="connsiteY1774" fmla="*/ 1994546 h 5116136"/>
              <a:gd name="connsiteX1775" fmla="*/ 1096400 w 13061856"/>
              <a:gd name="connsiteY1775" fmla="*/ 2018805 h 5116136"/>
              <a:gd name="connsiteX1776" fmla="*/ 1034717 w 13061856"/>
              <a:gd name="connsiteY1776" fmla="*/ 1995259 h 5116136"/>
              <a:gd name="connsiteX1777" fmla="*/ 1015365 w 13061856"/>
              <a:gd name="connsiteY1777" fmla="*/ 2001443 h 5116136"/>
              <a:gd name="connsiteX1778" fmla="*/ 1024435 w 13061856"/>
              <a:gd name="connsiteY1778" fmla="*/ 2006675 h 5116136"/>
              <a:gd name="connsiteX1779" fmla="*/ 977266 w 13061856"/>
              <a:gd name="connsiteY1779" fmla="*/ 1988124 h 5116136"/>
              <a:gd name="connsiteX1780" fmla="*/ 910140 w 13061856"/>
              <a:gd name="connsiteY1780" fmla="*/ 2018805 h 5116136"/>
              <a:gd name="connsiteX1781" fmla="*/ 930095 w 13061856"/>
              <a:gd name="connsiteY1781" fmla="*/ 2006199 h 5116136"/>
              <a:gd name="connsiteX1782" fmla="*/ 902278 w 13061856"/>
              <a:gd name="connsiteY1782" fmla="*/ 1990027 h 5116136"/>
              <a:gd name="connsiteX1783" fmla="*/ 816403 w 13061856"/>
              <a:gd name="connsiteY1783" fmla="*/ 2018805 h 5116136"/>
              <a:gd name="connsiteX1784" fmla="*/ 797658 w 13061856"/>
              <a:gd name="connsiteY1784" fmla="*/ 2000967 h 5116136"/>
              <a:gd name="connsiteX1785" fmla="*/ 768025 w 13061856"/>
              <a:gd name="connsiteY1785" fmla="*/ 2018329 h 5116136"/>
              <a:gd name="connsiteX1786" fmla="*/ 791005 w 13061856"/>
              <a:gd name="connsiteY1786" fmla="*/ 1994546 h 5116136"/>
              <a:gd name="connsiteX1787" fmla="*/ 738393 w 13061856"/>
              <a:gd name="connsiteY1787" fmla="*/ 1984081 h 5116136"/>
              <a:gd name="connsiteX1788" fmla="*/ 729321 w 13061856"/>
              <a:gd name="connsiteY1788" fmla="*/ 2013097 h 5116136"/>
              <a:gd name="connsiteX1789" fmla="*/ 706945 w 13061856"/>
              <a:gd name="connsiteY1789" fmla="*/ 1983604 h 5116136"/>
              <a:gd name="connsiteX1790" fmla="*/ 673685 w 13061856"/>
              <a:gd name="connsiteY1790" fmla="*/ 1978373 h 5116136"/>
              <a:gd name="connsiteX1791" fmla="*/ 658566 w 13061856"/>
              <a:gd name="connsiteY1791" fmla="*/ 1995259 h 5116136"/>
              <a:gd name="connsiteX1792" fmla="*/ 702109 w 13061856"/>
              <a:gd name="connsiteY1792" fmla="*/ 1994546 h 5116136"/>
              <a:gd name="connsiteX1793" fmla="*/ 638611 w 13061856"/>
              <a:gd name="connsiteY1793" fmla="*/ 1995734 h 5116136"/>
              <a:gd name="connsiteX1794" fmla="*/ 664009 w 13061856"/>
              <a:gd name="connsiteY1794" fmla="*/ 1983604 h 5116136"/>
              <a:gd name="connsiteX1795" fmla="*/ 601721 w 13061856"/>
              <a:gd name="connsiteY1795" fmla="*/ 1978373 h 5116136"/>
              <a:gd name="connsiteX1796" fmla="*/ 539432 w 13061856"/>
              <a:gd name="connsiteY1796" fmla="*/ 1973141 h 5116136"/>
              <a:gd name="connsiteX1797" fmla="*/ 540642 w 13061856"/>
              <a:gd name="connsiteY1797" fmla="*/ 1948882 h 5116136"/>
              <a:gd name="connsiteX1798" fmla="*/ 634981 w 13061856"/>
              <a:gd name="connsiteY1798" fmla="*/ 1937464 h 5116136"/>
              <a:gd name="connsiteX1799" fmla="*/ 711783 w 13061856"/>
              <a:gd name="connsiteY1799" fmla="*/ 1943648 h 5116136"/>
              <a:gd name="connsiteX1800" fmla="*/ 705736 w 13061856"/>
              <a:gd name="connsiteY1800" fmla="*/ 1925335 h 5116136"/>
              <a:gd name="connsiteX1801" fmla="*/ 653728 w 13061856"/>
              <a:gd name="connsiteY1801" fmla="*/ 1942698 h 5116136"/>
              <a:gd name="connsiteX1802" fmla="*/ 654938 w 13061856"/>
              <a:gd name="connsiteY1802" fmla="*/ 1925335 h 5116136"/>
              <a:gd name="connsiteX1803" fmla="*/ 598697 w 13061856"/>
              <a:gd name="connsiteY1803" fmla="*/ 1947930 h 5116136"/>
              <a:gd name="connsiteX1804" fmla="*/ 554550 w 13061856"/>
              <a:gd name="connsiteY1804" fmla="*/ 1914395 h 5116136"/>
              <a:gd name="connsiteX1805" fmla="*/ 487424 w 13061856"/>
              <a:gd name="connsiteY1805" fmla="*/ 1942698 h 5116136"/>
              <a:gd name="connsiteX1806" fmla="*/ 491052 w 13061856"/>
              <a:gd name="connsiteY1806" fmla="*/ 1961249 h 5116136"/>
              <a:gd name="connsiteX1807" fmla="*/ 510404 w 13061856"/>
              <a:gd name="connsiteY1807" fmla="*/ 1960297 h 5116136"/>
              <a:gd name="connsiteX1808" fmla="*/ 431788 w 13061856"/>
              <a:gd name="connsiteY1808" fmla="*/ 1949357 h 5116136"/>
              <a:gd name="connsiteX1809" fmla="*/ 406388 w 13061856"/>
              <a:gd name="connsiteY1809" fmla="*/ 1973617 h 5116136"/>
              <a:gd name="connsiteX1810" fmla="*/ 402760 w 13061856"/>
              <a:gd name="connsiteY1810" fmla="*/ 1943173 h 5116136"/>
              <a:gd name="connsiteX1811" fmla="*/ 468677 w 13061856"/>
              <a:gd name="connsiteY1811" fmla="*/ 1943173 h 5116136"/>
              <a:gd name="connsiteX1812" fmla="*/ 416064 w 13061856"/>
              <a:gd name="connsiteY1812" fmla="*/ 1926288 h 5116136"/>
              <a:gd name="connsiteX1813" fmla="*/ 413041 w 13061856"/>
              <a:gd name="connsiteY1813" fmla="*/ 1902028 h 5116136"/>
              <a:gd name="connsiteX1814" fmla="*/ 364661 w 13061856"/>
              <a:gd name="connsiteY1814" fmla="*/ 1896320 h 5116136"/>
              <a:gd name="connsiteX1815" fmla="*/ 363452 w 13061856"/>
              <a:gd name="connsiteY1815" fmla="*/ 1873726 h 5116136"/>
              <a:gd name="connsiteX1816" fmla="*/ 406388 w 13061856"/>
              <a:gd name="connsiteY1816" fmla="*/ 1885855 h 5116136"/>
              <a:gd name="connsiteX1817" fmla="*/ 407597 w 13061856"/>
              <a:gd name="connsiteY1817" fmla="*/ 1861834 h 5116136"/>
              <a:gd name="connsiteX1818" fmla="*/ 448720 w 13061856"/>
              <a:gd name="connsiteY1818" fmla="*/ 1860883 h 5116136"/>
              <a:gd name="connsiteX1819" fmla="*/ 420902 w 13061856"/>
              <a:gd name="connsiteY1819" fmla="*/ 1884666 h 5116136"/>
              <a:gd name="connsiteX1820" fmla="*/ 439649 w 13061856"/>
              <a:gd name="connsiteY1820" fmla="*/ 1902504 h 5116136"/>
              <a:gd name="connsiteX1821" fmla="*/ 469281 w 13061856"/>
              <a:gd name="connsiteY1821" fmla="*/ 1878958 h 5116136"/>
              <a:gd name="connsiteX1822" fmla="*/ 468677 w 13061856"/>
              <a:gd name="connsiteY1822" fmla="*/ 1848991 h 5116136"/>
              <a:gd name="connsiteX1823" fmla="*/ 1712030 w 13061856"/>
              <a:gd name="connsiteY1823" fmla="*/ 1847089 h 5116136"/>
              <a:gd name="connsiteX1824" fmla="*/ 1712030 w 13061856"/>
              <a:gd name="connsiteY1824" fmla="*/ 1853034 h 5116136"/>
              <a:gd name="connsiteX1825" fmla="*/ 1717472 w 13061856"/>
              <a:gd name="connsiteY1825" fmla="*/ 1869920 h 5116136"/>
              <a:gd name="connsiteX1826" fmla="*/ 1699329 w 13061856"/>
              <a:gd name="connsiteY1826" fmla="*/ 1868018 h 5116136"/>
              <a:gd name="connsiteX1827" fmla="*/ 1712030 w 13061856"/>
              <a:gd name="connsiteY1827" fmla="*/ 1847089 h 5116136"/>
              <a:gd name="connsiteX1828" fmla="*/ 1536654 w 13061856"/>
              <a:gd name="connsiteY1828" fmla="*/ 1846137 h 5116136"/>
              <a:gd name="connsiteX1829" fmla="*/ 1554190 w 13061856"/>
              <a:gd name="connsiteY1829" fmla="*/ 1858742 h 5116136"/>
              <a:gd name="connsiteX1830" fmla="*/ 1536654 w 13061856"/>
              <a:gd name="connsiteY1830" fmla="*/ 1846137 h 5116136"/>
              <a:gd name="connsiteX1831" fmla="*/ 1681792 w 13061856"/>
              <a:gd name="connsiteY1831" fmla="*/ 1843046 h 5116136"/>
              <a:gd name="connsiteX1832" fmla="*/ 1678163 w 13061856"/>
              <a:gd name="connsiteY1832" fmla="*/ 1860883 h 5116136"/>
              <a:gd name="connsiteX1833" fmla="*/ 1650951 w 13061856"/>
              <a:gd name="connsiteY1833" fmla="*/ 1857077 h 5116136"/>
              <a:gd name="connsiteX1834" fmla="*/ 1681792 w 13061856"/>
              <a:gd name="connsiteY1834" fmla="*/ 1843046 h 5116136"/>
              <a:gd name="connsiteX1835" fmla="*/ 295720 w 13061856"/>
              <a:gd name="connsiteY1835" fmla="*/ 1843046 h 5116136"/>
              <a:gd name="connsiteX1836" fmla="*/ 313258 w 13061856"/>
              <a:gd name="connsiteY1836" fmla="*/ 1853510 h 5116136"/>
              <a:gd name="connsiteX1837" fmla="*/ 333819 w 13061856"/>
              <a:gd name="connsiteY1837" fmla="*/ 1883001 h 5116136"/>
              <a:gd name="connsiteX1838" fmla="*/ 307211 w 13061856"/>
              <a:gd name="connsiteY1838" fmla="*/ 1876580 h 5116136"/>
              <a:gd name="connsiteX1839" fmla="*/ 293905 w 13061856"/>
              <a:gd name="connsiteY1839" fmla="*/ 1910590 h 5116136"/>
              <a:gd name="connsiteX1840" fmla="*/ 273950 w 13061856"/>
              <a:gd name="connsiteY1840" fmla="*/ 1883714 h 5116136"/>
              <a:gd name="connsiteX1841" fmla="*/ 300558 w 13061856"/>
              <a:gd name="connsiteY1841" fmla="*/ 1878006 h 5116136"/>
              <a:gd name="connsiteX1842" fmla="*/ 287254 w 13061856"/>
              <a:gd name="connsiteY1842" fmla="*/ 1843759 h 5116136"/>
              <a:gd name="connsiteX1843" fmla="*/ 295720 w 13061856"/>
              <a:gd name="connsiteY1843" fmla="*/ 1843046 h 5116136"/>
              <a:gd name="connsiteX1844" fmla="*/ 1562658 w 13061856"/>
              <a:gd name="connsiteY1844" fmla="*/ 1842570 h 5116136"/>
              <a:gd name="connsiteX1845" fmla="*/ 1575963 w 13061856"/>
              <a:gd name="connsiteY1845" fmla="*/ 1853510 h 5116136"/>
              <a:gd name="connsiteX1846" fmla="*/ 1580195 w 13061856"/>
              <a:gd name="connsiteY1846" fmla="*/ 1842570 h 5116136"/>
              <a:gd name="connsiteX1847" fmla="*/ 1584428 w 13061856"/>
              <a:gd name="connsiteY1847" fmla="*/ 1858029 h 5116136"/>
              <a:gd name="connsiteX1848" fmla="*/ 1579590 w 13061856"/>
              <a:gd name="connsiteY1848" fmla="*/ 1863737 h 5116136"/>
              <a:gd name="connsiteX1849" fmla="*/ 1562658 w 13061856"/>
              <a:gd name="connsiteY1849" fmla="*/ 1842570 h 5116136"/>
              <a:gd name="connsiteX1850" fmla="*/ 2948729 w 13061856"/>
              <a:gd name="connsiteY1850" fmla="*/ 1839716 h 5116136"/>
              <a:gd name="connsiteX1851" fmla="*/ 2981385 w 13061856"/>
              <a:gd name="connsiteY1851" fmla="*/ 1864688 h 5116136"/>
              <a:gd name="connsiteX1852" fmla="*/ 2948729 w 13061856"/>
              <a:gd name="connsiteY1852" fmla="*/ 1839716 h 5116136"/>
              <a:gd name="connsiteX1853" fmla="*/ 1347369 w 13061856"/>
              <a:gd name="connsiteY1853" fmla="*/ 1834483 h 5116136"/>
              <a:gd name="connsiteX1854" fmla="*/ 1317132 w 13061856"/>
              <a:gd name="connsiteY1854" fmla="*/ 1845424 h 5116136"/>
              <a:gd name="connsiteX1855" fmla="*/ 1347369 w 13061856"/>
              <a:gd name="connsiteY1855" fmla="*/ 1834483 h 5116136"/>
              <a:gd name="connsiteX1856" fmla="*/ 12419008 w 13061856"/>
              <a:gd name="connsiteY1856" fmla="*/ 1818787 h 5116136"/>
              <a:gd name="connsiteX1857" fmla="*/ 12393004 w 13061856"/>
              <a:gd name="connsiteY1857" fmla="*/ 1866115 h 5116136"/>
              <a:gd name="connsiteX1858" fmla="*/ 12361557 w 13061856"/>
              <a:gd name="connsiteY1858" fmla="*/ 1833294 h 5116136"/>
              <a:gd name="connsiteX1859" fmla="*/ 12419008 w 13061856"/>
              <a:gd name="connsiteY1859" fmla="*/ 1818787 h 5116136"/>
              <a:gd name="connsiteX1860" fmla="*/ 83758 w 13061856"/>
              <a:gd name="connsiteY1860" fmla="*/ 1816883 h 5116136"/>
              <a:gd name="connsiteX1861" fmla="*/ 95551 w 13061856"/>
              <a:gd name="connsiteY1861" fmla="*/ 1817122 h 5116136"/>
              <a:gd name="connsiteX1862" fmla="*/ 110669 w 13061856"/>
              <a:gd name="connsiteY1862" fmla="*/ 1834483 h 5116136"/>
              <a:gd name="connsiteX1863" fmla="*/ 79222 w 13061856"/>
              <a:gd name="connsiteY1863" fmla="*/ 1818787 h 5116136"/>
              <a:gd name="connsiteX1864" fmla="*/ 83758 w 13061856"/>
              <a:gd name="connsiteY1864" fmla="*/ 1816883 h 5116136"/>
              <a:gd name="connsiteX1865" fmla="*/ 2647567 w 13061856"/>
              <a:gd name="connsiteY1865" fmla="*/ 1810700 h 5116136"/>
              <a:gd name="connsiteX1866" fmla="*/ 2629426 w 13061856"/>
              <a:gd name="connsiteY1866" fmla="*/ 1832105 h 5116136"/>
              <a:gd name="connsiteX1867" fmla="*/ 2647567 w 13061856"/>
              <a:gd name="connsiteY1867" fmla="*/ 1810700 h 5116136"/>
              <a:gd name="connsiteX1868" fmla="*/ 2997109 w 13061856"/>
              <a:gd name="connsiteY1868" fmla="*/ 1801425 h 5116136"/>
              <a:gd name="connsiteX1869" fmla="*/ 2986223 w 13061856"/>
              <a:gd name="connsiteY1869" fmla="*/ 1811413 h 5116136"/>
              <a:gd name="connsiteX1870" fmla="*/ 3010413 w 13061856"/>
              <a:gd name="connsiteY1870" fmla="*/ 1811413 h 5116136"/>
              <a:gd name="connsiteX1871" fmla="*/ 2997109 w 13061856"/>
              <a:gd name="connsiteY1871" fmla="*/ 1801425 h 5116136"/>
              <a:gd name="connsiteX1872" fmla="*/ 1335878 w 13061856"/>
              <a:gd name="connsiteY1872" fmla="*/ 1790484 h 5116136"/>
              <a:gd name="connsiteX1873" fmla="*/ 1341927 w 13061856"/>
              <a:gd name="connsiteY1873" fmla="*/ 1804992 h 5116136"/>
              <a:gd name="connsiteX1874" fmla="*/ 1335878 w 13061856"/>
              <a:gd name="connsiteY1874" fmla="*/ 1825445 h 5116136"/>
              <a:gd name="connsiteX1875" fmla="*/ 1283265 w 13061856"/>
              <a:gd name="connsiteY1875" fmla="*/ 1792863 h 5116136"/>
              <a:gd name="connsiteX1876" fmla="*/ 1322574 w 13061856"/>
              <a:gd name="connsiteY1876" fmla="*/ 1817122 h 5116136"/>
              <a:gd name="connsiteX1877" fmla="*/ 1335878 w 13061856"/>
              <a:gd name="connsiteY1877" fmla="*/ 1790484 h 5116136"/>
              <a:gd name="connsiteX1878" fmla="*/ 11930980 w 13061856"/>
              <a:gd name="connsiteY1878" fmla="*/ 1783825 h 5116136"/>
              <a:gd name="connsiteX1879" fmla="*/ 11950937 w 13061856"/>
              <a:gd name="connsiteY1879" fmla="*/ 1809035 h 5116136"/>
              <a:gd name="connsiteX1880" fmla="*/ 11949727 w 13061856"/>
              <a:gd name="connsiteY1880" fmla="*/ 1785252 h 5116136"/>
              <a:gd name="connsiteX1881" fmla="*/ 2678409 w 13061856"/>
              <a:gd name="connsiteY1881" fmla="*/ 1782873 h 5116136"/>
              <a:gd name="connsiteX1882" fmla="*/ 2689899 w 13061856"/>
              <a:gd name="connsiteY1882" fmla="*/ 1804516 h 5116136"/>
              <a:gd name="connsiteX1883" fmla="*/ 2653614 w 13061856"/>
              <a:gd name="connsiteY1883" fmla="*/ 1798095 h 5116136"/>
              <a:gd name="connsiteX1884" fmla="*/ 2678409 w 13061856"/>
              <a:gd name="connsiteY1884" fmla="*/ 1782873 h 5116136"/>
              <a:gd name="connsiteX1885" fmla="*/ 1530001 w 13061856"/>
              <a:gd name="connsiteY1885" fmla="*/ 1781922 h 5116136"/>
              <a:gd name="connsiteX1886" fmla="*/ 1478598 w 13061856"/>
              <a:gd name="connsiteY1886" fmla="*/ 1799284 h 5116136"/>
              <a:gd name="connsiteX1887" fmla="*/ 1530001 w 13061856"/>
              <a:gd name="connsiteY1887" fmla="*/ 1781922 h 5116136"/>
              <a:gd name="connsiteX1888" fmla="*/ 1568100 w 13061856"/>
              <a:gd name="connsiteY1888" fmla="*/ 1781446 h 5116136"/>
              <a:gd name="connsiteX1889" fmla="*/ 1596523 w 13061856"/>
              <a:gd name="connsiteY1889" fmla="*/ 1787630 h 5116136"/>
              <a:gd name="connsiteX1890" fmla="*/ 1568100 w 13061856"/>
              <a:gd name="connsiteY1890" fmla="*/ 1781446 h 5116136"/>
              <a:gd name="connsiteX1891" fmla="*/ 2070037 w 13061856"/>
              <a:gd name="connsiteY1891" fmla="*/ 1774312 h 5116136"/>
              <a:gd name="connsiteX1892" fmla="*/ 2102088 w 13061856"/>
              <a:gd name="connsiteY1892" fmla="*/ 1779544 h 5116136"/>
              <a:gd name="connsiteX1893" fmla="*/ 2034356 w 13061856"/>
              <a:gd name="connsiteY1893" fmla="*/ 1793339 h 5116136"/>
              <a:gd name="connsiteX1894" fmla="*/ 2070037 w 13061856"/>
              <a:gd name="connsiteY1894" fmla="*/ 1774312 h 5116136"/>
              <a:gd name="connsiteX1895" fmla="*/ 2697760 w 13061856"/>
              <a:gd name="connsiteY1895" fmla="*/ 1772884 h 5116136"/>
              <a:gd name="connsiteX1896" fmla="*/ 2705018 w 13061856"/>
              <a:gd name="connsiteY1896" fmla="*/ 1773836 h 5116136"/>
              <a:gd name="connsiteX1897" fmla="*/ 2708646 w 13061856"/>
              <a:gd name="connsiteY1897" fmla="*/ 1789533 h 5116136"/>
              <a:gd name="connsiteX1898" fmla="*/ 2693528 w 13061856"/>
              <a:gd name="connsiteY1898" fmla="*/ 1796193 h 5116136"/>
              <a:gd name="connsiteX1899" fmla="*/ 2697760 w 13061856"/>
              <a:gd name="connsiteY1899" fmla="*/ 1772884 h 5116136"/>
              <a:gd name="connsiteX1900" fmla="*/ 11838454 w 13061856"/>
              <a:gd name="connsiteY1900" fmla="*/ 1771458 h 5116136"/>
              <a:gd name="connsiteX1901" fmla="*/ 11832407 w 13061856"/>
              <a:gd name="connsiteY1901" fmla="*/ 1788820 h 5116136"/>
              <a:gd name="connsiteX1902" fmla="*/ 11791285 w 13061856"/>
              <a:gd name="connsiteY1902" fmla="*/ 1783825 h 5116136"/>
              <a:gd name="connsiteX1903" fmla="*/ 11790680 w 13061856"/>
              <a:gd name="connsiteY1903" fmla="*/ 1807370 h 5116136"/>
              <a:gd name="connsiteX1904" fmla="*/ 11810637 w 13061856"/>
              <a:gd name="connsiteY1904" fmla="*/ 1820689 h 5116136"/>
              <a:gd name="connsiteX1905" fmla="*/ 11779795 w 13061856"/>
              <a:gd name="connsiteY1905" fmla="*/ 1814268 h 5116136"/>
              <a:gd name="connsiteX1906" fmla="*/ 11749557 w 13061856"/>
              <a:gd name="connsiteY1906" fmla="*/ 1843046 h 5116136"/>
              <a:gd name="connsiteX1907" fmla="*/ 11775561 w 13061856"/>
              <a:gd name="connsiteY1907" fmla="*/ 1849467 h 5116136"/>
              <a:gd name="connsiteX1908" fmla="*/ 11764676 w 13061856"/>
              <a:gd name="connsiteY1908" fmla="*/ 1880147 h 5116136"/>
              <a:gd name="connsiteX1909" fmla="*/ 11785842 w 13061856"/>
              <a:gd name="connsiteY1909" fmla="*/ 1888233 h 5116136"/>
              <a:gd name="connsiteX1910" fmla="*/ 11784027 w 13061856"/>
              <a:gd name="connsiteY1910" fmla="*/ 1868018 h 5116136"/>
              <a:gd name="connsiteX1911" fmla="*/ 11794913 w 13061856"/>
              <a:gd name="connsiteY1911" fmla="*/ 1898698 h 5116136"/>
              <a:gd name="connsiteX1912" fmla="*/ 11774352 w 13061856"/>
              <a:gd name="connsiteY1912" fmla="*/ 1904882 h 5116136"/>
              <a:gd name="connsiteX1913" fmla="*/ 11741091 w 13061856"/>
              <a:gd name="connsiteY1913" fmla="*/ 1868494 h 5116136"/>
              <a:gd name="connsiteX1914" fmla="*/ 11750767 w 13061856"/>
              <a:gd name="connsiteY1914" fmla="*/ 1904882 h 5116136"/>
              <a:gd name="connsiteX1915" fmla="*/ 11788865 w 13061856"/>
              <a:gd name="connsiteY1915" fmla="*/ 1912016 h 5116136"/>
              <a:gd name="connsiteX1916" fmla="*/ 11789471 w 13061856"/>
              <a:gd name="connsiteY1916" fmla="*/ 1947930 h 5116136"/>
              <a:gd name="connsiteX1917" fmla="*/ 11889857 w 13061856"/>
              <a:gd name="connsiteY1917" fmla="*/ 1960297 h 5116136"/>
              <a:gd name="connsiteX1918" fmla="*/ 11878972 w 13061856"/>
              <a:gd name="connsiteY1918" fmla="*/ 1973141 h 5116136"/>
              <a:gd name="connsiteX1919" fmla="*/ 11900743 w 13061856"/>
              <a:gd name="connsiteY1919" fmla="*/ 1937464 h 5116136"/>
              <a:gd name="connsiteX1920" fmla="*/ 11885020 w 13061856"/>
              <a:gd name="connsiteY1920" fmla="*/ 1918200 h 5116136"/>
              <a:gd name="connsiteX1921" fmla="*/ 11823941 w 13061856"/>
              <a:gd name="connsiteY1921" fmla="*/ 1928666 h 5116136"/>
              <a:gd name="connsiteX1922" fmla="*/ 11888648 w 13061856"/>
              <a:gd name="connsiteY1922" fmla="*/ 1887044 h 5116136"/>
              <a:gd name="connsiteX1923" fmla="*/ 11889857 w 13061856"/>
              <a:gd name="connsiteY1923" fmla="*/ 1918676 h 5116136"/>
              <a:gd name="connsiteX1924" fmla="*/ 11934003 w 13061856"/>
              <a:gd name="connsiteY1924" fmla="*/ 1901076 h 5116136"/>
              <a:gd name="connsiteX1925" fmla="*/ 11904977 w 13061856"/>
              <a:gd name="connsiteY1925" fmla="*/ 1900363 h 5116136"/>
              <a:gd name="connsiteX1926" fmla="*/ 11914653 w 13061856"/>
              <a:gd name="connsiteY1926" fmla="*/ 1863261 h 5116136"/>
              <a:gd name="connsiteX1927" fmla="*/ 11840268 w 13061856"/>
              <a:gd name="connsiteY1927" fmla="*/ 1857077 h 5116136"/>
              <a:gd name="connsiteX1928" fmla="*/ 11901347 w 13061856"/>
              <a:gd name="connsiteY1928" fmla="*/ 1838526 h 5116136"/>
              <a:gd name="connsiteX1929" fmla="*/ 11885625 w 13061856"/>
              <a:gd name="connsiteY1929" fmla="*/ 1815457 h 5116136"/>
              <a:gd name="connsiteX1930" fmla="*/ 11846316 w 13061856"/>
              <a:gd name="connsiteY1930" fmla="*/ 1790009 h 5116136"/>
              <a:gd name="connsiteX1931" fmla="*/ 11926143 w 13061856"/>
              <a:gd name="connsiteY1931" fmla="*/ 1826873 h 5116136"/>
              <a:gd name="connsiteX1932" fmla="*/ 11909814 w 13061856"/>
              <a:gd name="connsiteY1932" fmla="*/ 1771932 h 5116136"/>
              <a:gd name="connsiteX1933" fmla="*/ 11906186 w 13061856"/>
              <a:gd name="connsiteY1933" fmla="*/ 1797619 h 5116136"/>
              <a:gd name="connsiteX1934" fmla="*/ 11838454 w 13061856"/>
              <a:gd name="connsiteY1934" fmla="*/ 1771458 h 5116136"/>
              <a:gd name="connsiteX1935" fmla="*/ 2440744 w 13061856"/>
              <a:gd name="connsiteY1935" fmla="*/ 1768604 h 5116136"/>
              <a:gd name="connsiteX1936" fmla="*/ 2458887 w 13061856"/>
              <a:gd name="connsiteY1936" fmla="*/ 1777641 h 5116136"/>
              <a:gd name="connsiteX1937" fmla="*/ 2429255 w 13061856"/>
              <a:gd name="connsiteY1937" fmla="*/ 1786679 h 5116136"/>
              <a:gd name="connsiteX1938" fmla="*/ 2428650 w 13061856"/>
              <a:gd name="connsiteY1938" fmla="*/ 1780970 h 5116136"/>
              <a:gd name="connsiteX1939" fmla="*/ 2383294 w 13061856"/>
              <a:gd name="connsiteY1939" fmla="*/ 1798571 h 5116136"/>
              <a:gd name="connsiteX1940" fmla="*/ 2393575 w 13061856"/>
              <a:gd name="connsiteY1940" fmla="*/ 1793339 h 5116136"/>
              <a:gd name="connsiteX1941" fmla="*/ 2389342 w 13061856"/>
              <a:gd name="connsiteY1941" fmla="*/ 1780970 h 5116136"/>
              <a:gd name="connsiteX1942" fmla="*/ 2428650 w 13061856"/>
              <a:gd name="connsiteY1942" fmla="*/ 1780019 h 5116136"/>
              <a:gd name="connsiteX1943" fmla="*/ 2440744 w 13061856"/>
              <a:gd name="connsiteY1943" fmla="*/ 1768604 h 5116136"/>
              <a:gd name="connsiteX1944" fmla="*/ 2879183 w 13061856"/>
              <a:gd name="connsiteY1944" fmla="*/ 1766226 h 5116136"/>
              <a:gd name="connsiteX1945" fmla="*/ 2895512 w 13061856"/>
              <a:gd name="connsiteY1945" fmla="*/ 1772647 h 5116136"/>
              <a:gd name="connsiteX1946" fmla="*/ 2874950 w 13061856"/>
              <a:gd name="connsiteY1946" fmla="*/ 1777166 h 5116136"/>
              <a:gd name="connsiteX1947" fmla="*/ 2879183 w 13061856"/>
              <a:gd name="connsiteY1947" fmla="*/ 1766226 h 5116136"/>
              <a:gd name="connsiteX1948" fmla="*/ 3114429 w 13061856"/>
              <a:gd name="connsiteY1948" fmla="*/ 1758852 h 5116136"/>
              <a:gd name="connsiteX1949" fmla="*/ 3078144 w 13061856"/>
              <a:gd name="connsiteY1949" fmla="*/ 1771458 h 5116136"/>
              <a:gd name="connsiteX1950" fmla="*/ 3114429 w 13061856"/>
              <a:gd name="connsiteY1950" fmla="*/ 1758852 h 5116136"/>
              <a:gd name="connsiteX1951" fmla="*/ 3048512 w 13061856"/>
              <a:gd name="connsiteY1951" fmla="*/ 1753620 h 5116136"/>
              <a:gd name="connsiteX1952" fmla="*/ 3038231 w 13061856"/>
              <a:gd name="connsiteY1952" fmla="*/ 1754096 h 5116136"/>
              <a:gd name="connsiteX1953" fmla="*/ 3038836 w 13061856"/>
              <a:gd name="connsiteY1953" fmla="*/ 1781922 h 5116136"/>
              <a:gd name="connsiteX1954" fmla="*/ 3063025 w 13061856"/>
              <a:gd name="connsiteY1954" fmla="*/ 1771932 h 5116136"/>
              <a:gd name="connsiteX1955" fmla="*/ 3048512 w 13061856"/>
              <a:gd name="connsiteY1955" fmla="*/ 1753620 h 5116136"/>
              <a:gd name="connsiteX1956" fmla="*/ 1924898 w 13061856"/>
              <a:gd name="connsiteY1956" fmla="*/ 1752906 h 5116136"/>
              <a:gd name="connsiteX1957" fmla="*/ 1886799 w 13061856"/>
              <a:gd name="connsiteY1957" fmla="*/ 1768604 h 5116136"/>
              <a:gd name="connsiteX1958" fmla="*/ 1924898 w 13061856"/>
              <a:gd name="connsiteY1958" fmla="*/ 1752906 h 5116136"/>
              <a:gd name="connsiteX1959" fmla="*/ 2351243 w 13061856"/>
              <a:gd name="connsiteY1959" fmla="*/ 1746484 h 5116136"/>
              <a:gd name="connsiteX1960" fmla="*/ 2385713 w 13061856"/>
              <a:gd name="connsiteY1960" fmla="*/ 1763846 h 5116136"/>
              <a:gd name="connsiteX1961" fmla="*/ 2351243 w 13061856"/>
              <a:gd name="connsiteY1961" fmla="*/ 1746484 h 5116136"/>
              <a:gd name="connsiteX1962" fmla="*/ 2767306 w 13061856"/>
              <a:gd name="connsiteY1962" fmla="*/ 1741252 h 5116136"/>
              <a:gd name="connsiteX1963" fmla="*/ 2766701 w 13061856"/>
              <a:gd name="connsiteY1963" fmla="*/ 1753620 h 5116136"/>
              <a:gd name="connsiteX1964" fmla="*/ 2786658 w 13061856"/>
              <a:gd name="connsiteY1964" fmla="*/ 1765750 h 5116136"/>
              <a:gd name="connsiteX1965" fmla="*/ 2778192 w 13061856"/>
              <a:gd name="connsiteY1965" fmla="*/ 1782873 h 5116136"/>
              <a:gd name="connsiteX1966" fmla="*/ 2752188 w 13061856"/>
              <a:gd name="connsiteY1966" fmla="*/ 1776690 h 5116136"/>
              <a:gd name="connsiteX1967" fmla="*/ 2767306 w 13061856"/>
              <a:gd name="connsiteY1967" fmla="*/ 1741252 h 5116136"/>
              <a:gd name="connsiteX1968" fmla="*/ 2928167 w 13061856"/>
              <a:gd name="connsiteY1968" fmla="*/ 1736972 h 5116136"/>
              <a:gd name="connsiteX1969" fmla="*/ 2937843 w 13061856"/>
              <a:gd name="connsiteY1969" fmla="*/ 1780970 h 5116136"/>
              <a:gd name="connsiteX1970" fmla="*/ 2928167 w 13061856"/>
              <a:gd name="connsiteY1970" fmla="*/ 1736972 h 5116136"/>
              <a:gd name="connsiteX1971" fmla="*/ 2585278 w 13061856"/>
              <a:gd name="connsiteY1971" fmla="*/ 1736972 h 5116136"/>
              <a:gd name="connsiteX1972" fmla="*/ 2564717 w 13061856"/>
              <a:gd name="connsiteY1972" fmla="*/ 1760042 h 5116136"/>
              <a:gd name="connsiteX1973" fmla="*/ 2603421 w 13061856"/>
              <a:gd name="connsiteY1973" fmla="*/ 1759328 h 5116136"/>
              <a:gd name="connsiteX1974" fmla="*/ 2585278 w 13061856"/>
              <a:gd name="connsiteY1974" fmla="*/ 1736972 h 5116136"/>
              <a:gd name="connsiteX1975" fmla="*/ 2164982 w 13061856"/>
              <a:gd name="connsiteY1975" fmla="*/ 1732690 h 5116136"/>
              <a:gd name="connsiteX1976" fmla="*/ 2176472 w 13061856"/>
              <a:gd name="connsiteY1976" fmla="*/ 1771932 h 5116136"/>
              <a:gd name="connsiteX1977" fmla="*/ 2163168 w 13061856"/>
              <a:gd name="connsiteY1977" fmla="*/ 1752906 h 5116136"/>
              <a:gd name="connsiteX1978" fmla="*/ 2155306 w 13061856"/>
              <a:gd name="connsiteY1978" fmla="*/ 1752431 h 5116136"/>
              <a:gd name="connsiteX1979" fmla="*/ 2155911 w 13061856"/>
              <a:gd name="connsiteY1979" fmla="*/ 1772647 h 5116136"/>
              <a:gd name="connsiteX1980" fmla="*/ 2139583 w 13061856"/>
              <a:gd name="connsiteY1980" fmla="*/ 1773836 h 5116136"/>
              <a:gd name="connsiteX1981" fmla="*/ 2147444 w 13061856"/>
              <a:gd name="connsiteY1981" fmla="*/ 1740302 h 5116136"/>
              <a:gd name="connsiteX1982" fmla="*/ 2164982 w 13061856"/>
              <a:gd name="connsiteY1982" fmla="*/ 1732690 h 5116136"/>
              <a:gd name="connsiteX1983" fmla="*/ 12657277 w 13061856"/>
              <a:gd name="connsiteY1983" fmla="*/ 1729361 h 5116136"/>
              <a:gd name="connsiteX1984" fmla="*/ 12626435 w 13061856"/>
              <a:gd name="connsiteY1984" fmla="*/ 1745058 h 5116136"/>
              <a:gd name="connsiteX1985" fmla="*/ 12657277 w 13061856"/>
              <a:gd name="connsiteY1985" fmla="*/ 1729361 h 5116136"/>
              <a:gd name="connsiteX1986" fmla="*/ 917396 w 13061856"/>
              <a:gd name="connsiteY1986" fmla="*/ 1727458 h 5116136"/>
              <a:gd name="connsiteX1987" fmla="*/ 886554 w 13061856"/>
              <a:gd name="connsiteY1987" fmla="*/ 1739350 h 5116136"/>
              <a:gd name="connsiteX1988" fmla="*/ 917396 w 13061856"/>
              <a:gd name="connsiteY1988" fmla="*/ 1727458 h 5116136"/>
              <a:gd name="connsiteX1989" fmla="*/ 521289 w 13061856"/>
              <a:gd name="connsiteY1989" fmla="*/ 1726983 h 5116136"/>
              <a:gd name="connsiteX1990" fmla="*/ 519475 w 13061856"/>
              <a:gd name="connsiteY1990" fmla="*/ 1747912 h 5116136"/>
              <a:gd name="connsiteX1991" fmla="*/ 2981989 w 13061856"/>
              <a:gd name="connsiteY1991" fmla="*/ 1725793 h 5116136"/>
              <a:gd name="connsiteX1992" fmla="*/ 2977757 w 13061856"/>
              <a:gd name="connsiteY1992" fmla="*/ 1752906 h 5116136"/>
              <a:gd name="connsiteX1993" fmla="*/ 2981989 w 13061856"/>
              <a:gd name="connsiteY1993" fmla="*/ 1725793 h 5116136"/>
              <a:gd name="connsiteX1994" fmla="*/ 1562053 w 13061856"/>
              <a:gd name="connsiteY1994" fmla="*/ 1724129 h 5116136"/>
              <a:gd name="connsiteX1995" fmla="*/ 1629784 w 13061856"/>
              <a:gd name="connsiteY1995" fmla="*/ 1753620 h 5116136"/>
              <a:gd name="connsiteX1996" fmla="*/ 1628575 w 13061856"/>
              <a:gd name="connsiteY1996" fmla="*/ 1780970 h 5116136"/>
              <a:gd name="connsiteX1997" fmla="*/ 1657602 w 13061856"/>
              <a:gd name="connsiteY1997" fmla="*/ 1781446 h 5116136"/>
              <a:gd name="connsiteX1998" fmla="*/ 1637645 w 13061856"/>
              <a:gd name="connsiteY1998" fmla="*/ 1748388 h 5116136"/>
              <a:gd name="connsiteX1999" fmla="*/ 1662440 w 13061856"/>
              <a:gd name="connsiteY1999" fmla="*/ 1769554 h 5116136"/>
              <a:gd name="connsiteX2000" fmla="*/ 1689048 w 13061856"/>
              <a:gd name="connsiteY2000" fmla="*/ 1764561 h 5116136"/>
              <a:gd name="connsiteX2001" fmla="*/ 1690258 w 13061856"/>
              <a:gd name="connsiteY2001" fmla="*/ 1794052 h 5116136"/>
              <a:gd name="connsiteX2002" fmla="*/ 1728357 w 13061856"/>
              <a:gd name="connsiteY2002" fmla="*/ 1790959 h 5116136"/>
              <a:gd name="connsiteX2003" fmla="*/ 1727752 w 13061856"/>
              <a:gd name="connsiteY2003" fmla="*/ 1769554 h 5116136"/>
              <a:gd name="connsiteX2004" fmla="*/ 1756780 w 13061856"/>
              <a:gd name="connsiteY2004" fmla="*/ 1770506 h 5116136"/>
              <a:gd name="connsiteX2005" fmla="*/ 1738033 w 13061856"/>
              <a:gd name="connsiteY2005" fmla="*/ 1794052 h 5116136"/>
              <a:gd name="connsiteX2006" fmla="*/ 1814835 w 13061856"/>
              <a:gd name="connsiteY2006" fmla="*/ 1798571 h 5116136"/>
              <a:gd name="connsiteX2007" fmla="*/ 1790041 w 13061856"/>
              <a:gd name="connsiteY2007" fmla="*/ 1815933 h 5116136"/>
              <a:gd name="connsiteX2008" fmla="*/ 1793669 w 13061856"/>
              <a:gd name="connsiteY2008" fmla="*/ 1834007 h 5116136"/>
              <a:gd name="connsiteX2009" fmla="*/ 1843258 w 13061856"/>
              <a:gd name="connsiteY2009" fmla="*/ 1804992 h 5116136"/>
              <a:gd name="connsiteX2010" fmla="*/ 1856562 w 13061856"/>
              <a:gd name="connsiteY2010" fmla="*/ 1821641 h 5116136"/>
              <a:gd name="connsiteX2011" fmla="*/ 1903128 w 13061856"/>
              <a:gd name="connsiteY2011" fmla="*/ 1810224 h 5116136"/>
              <a:gd name="connsiteX2012" fmla="*/ 2003515 w 13061856"/>
              <a:gd name="connsiteY2012" fmla="*/ 1775738 h 5116136"/>
              <a:gd name="connsiteX2013" fmla="*/ 2004119 w 13061856"/>
              <a:gd name="connsiteY2013" fmla="*/ 1804992 h 5116136"/>
              <a:gd name="connsiteX2014" fmla="*/ 2070037 w 13061856"/>
              <a:gd name="connsiteY2014" fmla="*/ 1834483 h 5116136"/>
              <a:gd name="connsiteX2015" fmla="*/ 2092412 w 13061856"/>
              <a:gd name="connsiteY2015" fmla="*/ 1816408 h 5116136"/>
              <a:gd name="connsiteX2016" fmla="*/ 2083946 w 13061856"/>
              <a:gd name="connsiteY2016" fmla="*/ 1839716 h 5116136"/>
              <a:gd name="connsiteX2017" fmla="*/ 2206105 w 13061856"/>
              <a:gd name="connsiteY2017" fmla="*/ 1846137 h 5116136"/>
              <a:gd name="connsiteX2018" fmla="*/ 2235737 w 13061856"/>
              <a:gd name="connsiteY2018" fmla="*/ 1828775 h 5116136"/>
              <a:gd name="connsiteX2019" fmla="*/ 2248436 w 13061856"/>
              <a:gd name="connsiteY2019" fmla="*/ 1857553 h 5116136"/>
              <a:gd name="connsiteX2020" fmla="*/ 2140791 w 13061856"/>
              <a:gd name="connsiteY2020" fmla="*/ 1897509 h 5116136"/>
              <a:gd name="connsiteX2021" fmla="*/ 2134744 w 13061856"/>
              <a:gd name="connsiteY2021" fmla="*/ 1875152 h 5116136"/>
              <a:gd name="connsiteX2022" fmla="*/ 2163168 w 13061856"/>
              <a:gd name="connsiteY2022" fmla="*/ 1879434 h 5116136"/>
              <a:gd name="connsiteX2023" fmla="*/ 2083342 w 13061856"/>
              <a:gd name="connsiteY2023" fmla="*/ 1851369 h 5116136"/>
              <a:gd name="connsiteX2024" fmla="*/ 2091808 w 13061856"/>
              <a:gd name="connsiteY2024" fmla="*/ 1861834 h 5116136"/>
              <a:gd name="connsiteX2025" fmla="*/ 2065803 w 13061856"/>
              <a:gd name="connsiteY2025" fmla="*/ 1868969 h 5116136"/>
              <a:gd name="connsiteX2026" fmla="*/ 2074270 w 13061856"/>
              <a:gd name="connsiteY2026" fmla="*/ 1846613 h 5116136"/>
              <a:gd name="connsiteX2027" fmla="*/ 2068828 w 13061856"/>
              <a:gd name="connsiteY2027" fmla="*/ 1851845 h 5116136"/>
              <a:gd name="connsiteX2028" fmla="*/ 1993234 w 13061856"/>
              <a:gd name="connsiteY2028" fmla="*/ 1868969 h 5116136"/>
              <a:gd name="connsiteX2029" fmla="*/ 1975697 w 13061856"/>
              <a:gd name="connsiteY2029" fmla="*/ 1839716 h 5116136"/>
              <a:gd name="connsiteX2030" fmla="*/ 1776132 w 13061856"/>
              <a:gd name="connsiteY2030" fmla="*/ 1844235 h 5116136"/>
              <a:gd name="connsiteX2031" fmla="*/ 1784598 w 13061856"/>
              <a:gd name="connsiteY2031" fmla="*/ 1821641 h 5116136"/>
              <a:gd name="connsiteX2032" fmla="*/ 1695096 w 13061856"/>
              <a:gd name="connsiteY2032" fmla="*/ 1833294 h 5116136"/>
              <a:gd name="connsiteX2033" fmla="*/ 1689654 w 13061856"/>
              <a:gd name="connsiteY2033" fmla="*/ 1805468 h 5116136"/>
              <a:gd name="connsiteX2034" fmla="*/ 1648530 w 13061856"/>
              <a:gd name="connsiteY2034" fmla="*/ 1798095 h 5116136"/>
              <a:gd name="connsiteX2035" fmla="*/ 1676349 w 13061856"/>
              <a:gd name="connsiteY2035" fmla="*/ 1828299 h 5116136"/>
              <a:gd name="connsiteX2036" fmla="*/ 1643693 w 13061856"/>
              <a:gd name="connsiteY2036" fmla="*/ 1805468 h 5116136"/>
              <a:gd name="connsiteX2037" fmla="*/ 1614061 w 13061856"/>
              <a:gd name="connsiteY2037" fmla="*/ 1816408 h 5116136"/>
              <a:gd name="connsiteX2038" fmla="*/ 1615270 w 13061856"/>
              <a:gd name="connsiteY2038" fmla="*/ 1840191 h 5116136"/>
              <a:gd name="connsiteX2039" fmla="*/ 1610432 w 13061856"/>
              <a:gd name="connsiteY2039" fmla="*/ 1834959 h 5116136"/>
              <a:gd name="connsiteX2040" fmla="*/ 1586242 w 13061856"/>
              <a:gd name="connsiteY2040" fmla="*/ 1828775 h 5116136"/>
              <a:gd name="connsiteX2041" fmla="*/ 1611642 w 13061856"/>
              <a:gd name="connsiteY2041" fmla="*/ 1815933 h 5116136"/>
              <a:gd name="connsiteX2042" fmla="*/ 1548749 w 13061856"/>
              <a:gd name="connsiteY2042" fmla="*/ 1826873 h 5116136"/>
              <a:gd name="connsiteX2043" fmla="*/ 1519721 w 13061856"/>
              <a:gd name="connsiteY2043" fmla="*/ 1834483 h 5116136"/>
              <a:gd name="connsiteX2044" fmla="*/ 1528792 w 13061856"/>
              <a:gd name="connsiteY2044" fmla="*/ 1844948 h 5116136"/>
              <a:gd name="connsiteX2045" fmla="*/ 1477994 w 13061856"/>
              <a:gd name="connsiteY2045" fmla="*/ 1849943 h 5116136"/>
              <a:gd name="connsiteX2046" fmla="*/ 1476784 w 13061856"/>
              <a:gd name="connsiteY2046" fmla="*/ 1832581 h 5116136"/>
              <a:gd name="connsiteX2047" fmla="*/ 1514883 w 13061856"/>
              <a:gd name="connsiteY2047" fmla="*/ 1834007 h 5116136"/>
              <a:gd name="connsiteX2048" fmla="*/ 1382444 w 13061856"/>
              <a:gd name="connsiteY2048" fmla="*/ 1792863 h 5116136"/>
              <a:gd name="connsiteX2049" fmla="*/ 1359464 w 13061856"/>
              <a:gd name="connsiteY2049" fmla="*/ 1775738 h 5116136"/>
              <a:gd name="connsiteX2050" fmla="*/ 1369140 w 13061856"/>
              <a:gd name="connsiteY2050" fmla="*/ 1781922 h 5116136"/>
              <a:gd name="connsiteX2051" fmla="*/ 1363092 w 13061856"/>
              <a:gd name="connsiteY2051" fmla="*/ 1799284 h 5116136"/>
              <a:gd name="connsiteX2052" fmla="*/ 1382444 w 13061856"/>
              <a:gd name="connsiteY2052" fmla="*/ 1792863 h 5116136"/>
              <a:gd name="connsiteX2053" fmla="*/ 1400587 w 13061856"/>
              <a:gd name="connsiteY2053" fmla="*/ 1810224 h 5116136"/>
              <a:gd name="connsiteX2054" fmla="*/ 1387886 w 13061856"/>
              <a:gd name="connsiteY2054" fmla="*/ 1826873 h 5116136"/>
              <a:gd name="connsiteX2055" fmla="*/ 1381839 w 13061856"/>
              <a:gd name="connsiteY2055" fmla="*/ 1810700 h 5116136"/>
              <a:gd name="connsiteX2056" fmla="*/ 1354626 w 13061856"/>
              <a:gd name="connsiteY2056" fmla="*/ 1821641 h 5116136"/>
              <a:gd name="connsiteX2057" fmla="*/ 1335274 w 13061856"/>
              <a:gd name="connsiteY2057" fmla="*/ 1781446 h 5116136"/>
              <a:gd name="connsiteX2058" fmla="*/ 1345554 w 13061856"/>
              <a:gd name="connsiteY2058" fmla="*/ 1770506 h 5116136"/>
              <a:gd name="connsiteX2059" fmla="*/ 1321365 w 13061856"/>
              <a:gd name="connsiteY2059" fmla="*/ 1763372 h 5116136"/>
              <a:gd name="connsiteX2060" fmla="*/ 1320155 w 13061856"/>
              <a:gd name="connsiteY2060" fmla="*/ 1752431 h 5116136"/>
              <a:gd name="connsiteX2061" fmla="*/ 1363092 w 13061856"/>
              <a:gd name="connsiteY2061" fmla="*/ 1752431 h 5116136"/>
              <a:gd name="connsiteX2062" fmla="*/ 1392725 w 13061856"/>
              <a:gd name="connsiteY2062" fmla="*/ 1776214 h 5116136"/>
              <a:gd name="connsiteX2063" fmla="*/ 1421148 w 13061856"/>
              <a:gd name="connsiteY2063" fmla="*/ 1752906 h 5116136"/>
              <a:gd name="connsiteX2064" fmla="*/ 1425381 w 13061856"/>
              <a:gd name="connsiteY2064" fmla="*/ 1763372 h 5116136"/>
              <a:gd name="connsiteX2065" fmla="*/ 1428405 w 13061856"/>
              <a:gd name="connsiteY2065" fmla="*/ 1742204 h 5116136"/>
              <a:gd name="connsiteX2066" fmla="*/ 1444732 w 13061856"/>
              <a:gd name="connsiteY2066" fmla="*/ 1753620 h 5116136"/>
              <a:gd name="connsiteX2067" fmla="*/ 1433847 w 13061856"/>
              <a:gd name="connsiteY2067" fmla="*/ 1776214 h 5116136"/>
              <a:gd name="connsiteX2068" fmla="*/ 1545119 w 13061856"/>
              <a:gd name="connsiteY2068" fmla="*/ 1730312 h 5116136"/>
              <a:gd name="connsiteX2069" fmla="*/ 1552982 w 13061856"/>
              <a:gd name="connsiteY2069" fmla="*/ 1752906 h 5116136"/>
              <a:gd name="connsiteX2070" fmla="*/ 1582009 w 13061856"/>
              <a:gd name="connsiteY2070" fmla="*/ 1753620 h 5116136"/>
              <a:gd name="connsiteX2071" fmla="*/ 1562053 w 13061856"/>
              <a:gd name="connsiteY2071" fmla="*/ 1724129 h 5116136"/>
              <a:gd name="connsiteX2072" fmla="*/ 1530001 w 13061856"/>
              <a:gd name="connsiteY2072" fmla="*/ 1724129 h 5116136"/>
              <a:gd name="connsiteX2073" fmla="*/ 1539678 w 13061856"/>
              <a:gd name="connsiteY2073" fmla="*/ 1727934 h 5116136"/>
              <a:gd name="connsiteX2074" fmla="*/ 1508835 w 13061856"/>
              <a:gd name="connsiteY2074" fmla="*/ 1746010 h 5116136"/>
              <a:gd name="connsiteX2075" fmla="*/ 1530001 w 13061856"/>
              <a:gd name="connsiteY2075" fmla="*/ 1724129 h 5116136"/>
              <a:gd name="connsiteX2076" fmla="*/ 11797332 w 13061856"/>
              <a:gd name="connsiteY2076" fmla="*/ 1722225 h 5116136"/>
              <a:gd name="connsiteX2077" fmla="*/ 11777375 w 13061856"/>
              <a:gd name="connsiteY2077" fmla="*/ 1740776 h 5116136"/>
              <a:gd name="connsiteX2078" fmla="*/ 11811241 w 13061856"/>
              <a:gd name="connsiteY2078" fmla="*/ 1771458 h 5116136"/>
              <a:gd name="connsiteX2079" fmla="*/ 11851154 w 13061856"/>
              <a:gd name="connsiteY2079" fmla="*/ 1752906 h 5116136"/>
              <a:gd name="connsiteX2080" fmla="*/ 11825755 w 13061856"/>
              <a:gd name="connsiteY2080" fmla="*/ 1729361 h 5116136"/>
              <a:gd name="connsiteX2081" fmla="*/ 11797332 w 13061856"/>
              <a:gd name="connsiteY2081" fmla="*/ 1722225 h 5116136"/>
              <a:gd name="connsiteX2082" fmla="*/ 1196183 w 13061856"/>
              <a:gd name="connsiteY2082" fmla="*/ 1721275 h 5116136"/>
              <a:gd name="connsiteX2083" fmla="*/ 1256053 w 13061856"/>
              <a:gd name="connsiteY2083" fmla="*/ 1732690 h 5116136"/>
              <a:gd name="connsiteX2084" fmla="*/ 1321365 w 13061856"/>
              <a:gd name="connsiteY2084" fmla="*/ 1763372 h 5116136"/>
              <a:gd name="connsiteX2085" fmla="*/ 1335878 w 13061856"/>
              <a:gd name="connsiteY2085" fmla="*/ 1779068 h 5116136"/>
              <a:gd name="connsiteX2086" fmla="*/ 1262100 w 13061856"/>
              <a:gd name="connsiteY2086" fmla="*/ 1756949 h 5116136"/>
              <a:gd name="connsiteX2087" fmla="*/ 1238515 w 13061856"/>
              <a:gd name="connsiteY2087" fmla="*/ 1762896 h 5116136"/>
              <a:gd name="connsiteX2088" fmla="*/ 1248796 w 13061856"/>
              <a:gd name="connsiteY2088" fmla="*/ 1785252 h 5116136"/>
              <a:gd name="connsiteX2089" fmla="*/ 1225211 w 13061856"/>
              <a:gd name="connsiteY2089" fmla="*/ 1791674 h 5116136"/>
              <a:gd name="connsiteX2090" fmla="*/ 1228839 w 13061856"/>
              <a:gd name="connsiteY2090" fmla="*/ 1768128 h 5116136"/>
              <a:gd name="connsiteX2091" fmla="*/ 1193160 w 13061856"/>
              <a:gd name="connsiteY2091" fmla="*/ 1774786 h 5116136"/>
              <a:gd name="connsiteX2092" fmla="*/ 1164736 w 13061856"/>
              <a:gd name="connsiteY2092" fmla="*/ 1774312 h 5116136"/>
              <a:gd name="connsiteX2093" fmla="*/ 1159295 w 13061856"/>
              <a:gd name="connsiteY2093" fmla="*/ 1750053 h 5116136"/>
              <a:gd name="connsiteX2094" fmla="*/ 1196183 w 13061856"/>
              <a:gd name="connsiteY2094" fmla="*/ 1721275 h 5116136"/>
              <a:gd name="connsiteX2095" fmla="*/ 2694132 w 13061856"/>
              <a:gd name="connsiteY2095" fmla="*/ 1720560 h 5116136"/>
              <a:gd name="connsiteX2096" fmla="*/ 2736464 w 13061856"/>
              <a:gd name="connsiteY2096" fmla="*/ 1731739 h 5116136"/>
              <a:gd name="connsiteX2097" fmla="*/ 2698365 w 13061856"/>
              <a:gd name="connsiteY2097" fmla="*/ 1730312 h 5116136"/>
              <a:gd name="connsiteX2098" fmla="*/ 2694737 w 13061856"/>
              <a:gd name="connsiteY2098" fmla="*/ 1758139 h 5116136"/>
              <a:gd name="connsiteX2099" fmla="*/ 2675990 w 13061856"/>
              <a:gd name="connsiteY2099" fmla="*/ 1758139 h 5116136"/>
              <a:gd name="connsiteX2100" fmla="*/ 2694132 w 13061856"/>
              <a:gd name="connsiteY2100" fmla="*/ 1720560 h 5116136"/>
              <a:gd name="connsiteX2101" fmla="*/ 791609 w 13061856"/>
              <a:gd name="connsiteY2101" fmla="*/ 1714854 h 5116136"/>
              <a:gd name="connsiteX2102" fmla="*/ 803099 w 13061856"/>
              <a:gd name="connsiteY2102" fmla="*/ 1731739 h 5116136"/>
              <a:gd name="connsiteX2103" fmla="*/ 778305 w 13061856"/>
              <a:gd name="connsiteY2103" fmla="*/ 1721750 h 5116136"/>
              <a:gd name="connsiteX2104" fmla="*/ 760163 w 13061856"/>
              <a:gd name="connsiteY2104" fmla="*/ 1743630 h 5116136"/>
              <a:gd name="connsiteX2105" fmla="*/ 765001 w 13061856"/>
              <a:gd name="connsiteY2105" fmla="*/ 1726507 h 5116136"/>
              <a:gd name="connsiteX2106" fmla="*/ 791609 w 13061856"/>
              <a:gd name="connsiteY2106" fmla="*/ 1714854 h 5116136"/>
              <a:gd name="connsiteX2107" fmla="*/ 2045242 w 13061856"/>
              <a:gd name="connsiteY2107" fmla="*/ 1710096 h 5116136"/>
              <a:gd name="connsiteX2108" fmla="*/ 2053709 w 13061856"/>
              <a:gd name="connsiteY2108" fmla="*/ 1710809 h 5116136"/>
              <a:gd name="connsiteX2109" fmla="*/ 2041614 w 13061856"/>
              <a:gd name="connsiteY2109" fmla="*/ 1767415 h 5116136"/>
              <a:gd name="connsiteX2110" fmla="*/ 1998677 w 13061856"/>
              <a:gd name="connsiteY2110" fmla="*/ 1767415 h 5116136"/>
              <a:gd name="connsiteX2111" fmla="*/ 2023471 w 13061856"/>
              <a:gd name="connsiteY2111" fmla="*/ 1750766 h 5116136"/>
              <a:gd name="connsiteX2112" fmla="*/ 2045242 w 13061856"/>
              <a:gd name="connsiteY2112" fmla="*/ 1710096 h 5116136"/>
              <a:gd name="connsiteX2113" fmla="*/ 899860 w 13061856"/>
              <a:gd name="connsiteY2113" fmla="*/ 1710096 h 5116136"/>
              <a:gd name="connsiteX2114" fmla="*/ 936748 w 13061856"/>
              <a:gd name="connsiteY2114" fmla="*/ 1715328 h 5116136"/>
              <a:gd name="connsiteX2115" fmla="*/ 949447 w 13061856"/>
              <a:gd name="connsiteY2115" fmla="*/ 1774312 h 5116136"/>
              <a:gd name="connsiteX2116" fmla="*/ 930701 w 13061856"/>
              <a:gd name="connsiteY2116" fmla="*/ 1780970 h 5116136"/>
              <a:gd name="connsiteX2117" fmla="*/ 927677 w 13061856"/>
              <a:gd name="connsiteY2117" fmla="*/ 1750766 h 5116136"/>
              <a:gd name="connsiteX2118" fmla="*/ 857526 w 13061856"/>
              <a:gd name="connsiteY2118" fmla="*/ 1756474 h 5116136"/>
              <a:gd name="connsiteX2119" fmla="*/ 876878 w 13061856"/>
              <a:gd name="connsiteY2119" fmla="*/ 1751717 h 5116136"/>
              <a:gd name="connsiteX2120" fmla="*/ 841199 w 13061856"/>
              <a:gd name="connsiteY2120" fmla="*/ 1723653 h 5116136"/>
              <a:gd name="connsiteX2121" fmla="*/ 899860 w 13061856"/>
              <a:gd name="connsiteY2121" fmla="*/ 1710096 h 5116136"/>
              <a:gd name="connsiteX2122" fmla="*/ 2638496 w 13061856"/>
              <a:gd name="connsiteY2122" fmla="*/ 1699870 h 5116136"/>
              <a:gd name="connsiteX2123" fmla="*/ 2648171 w 13061856"/>
              <a:gd name="connsiteY2123" fmla="*/ 1717706 h 5116136"/>
              <a:gd name="connsiteX2124" fmla="*/ 2625796 w 13061856"/>
              <a:gd name="connsiteY2124" fmla="*/ 1723653 h 5116136"/>
              <a:gd name="connsiteX2125" fmla="*/ 2638496 w 13061856"/>
              <a:gd name="connsiteY2125" fmla="*/ 1699870 h 5116136"/>
              <a:gd name="connsiteX2126" fmla="*/ 2681433 w 13061856"/>
              <a:gd name="connsiteY2126" fmla="*/ 1697491 h 5116136"/>
              <a:gd name="connsiteX2127" fmla="*/ 2682642 w 13061856"/>
              <a:gd name="connsiteY2127" fmla="*/ 1720086 h 5116136"/>
              <a:gd name="connsiteX2128" fmla="*/ 2650591 w 13061856"/>
              <a:gd name="connsiteY2128" fmla="*/ 1719371 h 5116136"/>
              <a:gd name="connsiteX2129" fmla="*/ 2681433 w 13061856"/>
              <a:gd name="connsiteY2129" fmla="*/ 1697491 h 5116136"/>
              <a:gd name="connsiteX2130" fmla="*/ 12383932 w 13061856"/>
              <a:gd name="connsiteY2130" fmla="*/ 1696302 h 5116136"/>
              <a:gd name="connsiteX2131" fmla="*/ 12346439 w 13061856"/>
              <a:gd name="connsiteY2131" fmla="*/ 1712000 h 5116136"/>
              <a:gd name="connsiteX2132" fmla="*/ 12383932 w 13061856"/>
              <a:gd name="connsiteY2132" fmla="*/ 1696302 h 5116136"/>
              <a:gd name="connsiteX2133" fmla="*/ 2278069 w 13061856"/>
              <a:gd name="connsiteY2133" fmla="*/ 1695827 h 5116136"/>
              <a:gd name="connsiteX2134" fmla="*/ 2286534 w 13061856"/>
              <a:gd name="connsiteY2134" fmla="*/ 1698205 h 5116136"/>
              <a:gd name="connsiteX2135" fmla="*/ 2261136 w 13061856"/>
              <a:gd name="connsiteY2135" fmla="*/ 1727458 h 5116136"/>
              <a:gd name="connsiteX2136" fmla="*/ 2276859 w 13061856"/>
              <a:gd name="connsiteY2136" fmla="*/ 1739350 h 5116136"/>
              <a:gd name="connsiteX2137" fmla="*/ 2280488 w 13061856"/>
              <a:gd name="connsiteY2137" fmla="*/ 1721275 h 5116136"/>
              <a:gd name="connsiteX2138" fmla="*/ 2288954 w 13061856"/>
              <a:gd name="connsiteY2138" fmla="*/ 1737922 h 5116136"/>
              <a:gd name="connsiteX2139" fmla="*/ 2322215 w 13061856"/>
              <a:gd name="connsiteY2139" fmla="*/ 1745058 h 5116136"/>
              <a:gd name="connsiteX2140" fmla="*/ 2309515 w 13061856"/>
              <a:gd name="connsiteY2140" fmla="*/ 1761707 h 5116136"/>
              <a:gd name="connsiteX2141" fmla="*/ 2333705 w 13061856"/>
              <a:gd name="connsiteY2141" fmla="*/ 1755998 h 5116136"/>
              <a:gd name="connsiteX2142" fmla="*/ 2265369 w 13061856"/>
              <a:gd name="connsiteY2142" fmla="*/ 1779544 h 5116136"/>
              <a:gd name="connsiteX2143" fmla="*/ 2271416 w 13061856"/>
              <a:gd name="connsiteY2143" fmla="*/ 1756474 h 5116136"/>
              <a:gd name="connsiteX2144" fmla="*/ 2285326 w 13061856"/>
              <a:gd name="connsiteY2144" fmla="*/ 1767415 h 5116136"/>
              <a:gd name="connsiteX2145" fmla="*/ 2286534 w 13061856"/>
              <a:gd name="connsiteY2145" fmla="*/ 1745534 h 5116136"/>
              <a:gd name="connsiteX2146" fmla="*/ 2261740 w 13061856"/>
              <a:gd name="connsiteY2146" fmla="*/ 1751242 h 5116136"/>
              <a:gd name="connsiteX2147" fmla="*/ 2256299 w 13061856"/>
              <a:gd name="connsiteY2147" fmla="*/ 1769080 h 5116136"/>
              <a:gd name="connsiteX2148" fmla="*/ 2238156 w 13061856"/>
              <a:gd name="connsiteY2148" fmla="*/ 1745534 h 5116136"/>
              <a:gd name="connsiteX2149" fmla="*/ 2220013 w 13061856"/>
              <a:gd name="connsiteY2149" fmla="*/ 1773836 h 5116136"/>
              <a:gd name="connsiteX2150" fmla="*/ 2248436 w 13061856"/>
              <a:gd name="connsiteY2150" fmla="*/ 1825921 h 5116136"/>
              <a:gd name="connsiteX2151" fmla="*/ 2200661 w 13061856"/>
              <a:gd name="connsiteY2151" fmla="*/ 1780019 h 5116136"/>
              <a:gd name="connsiteX2152" fmla="*/ 2218804 w 13061856"/>
              <a:gd name="connsiteY2152" fmla="*/ 1750053 h 5116136"/>
              <a:gd name="connsiteX2153" fmla="*/ 2210942 w 13061856"/>
              <a:gd name="connsiteY2153" fmla="*/ 1726983 h 5116136"/>
              <a:gd name="connsiteX2154" fmla="*/ 2196428 w 13061856"/>
              <a:gd name="connsiteY2154" fmla="*/ 1734118 h 5116136"/>
              <a:gd name="connsiteX2155" fmla="*/ 2190985 w 13061856"/>
              <a:gd name="connsiteY2155" fmla="*/ 1727458 h 5116136"/>
              <a:gd name="connsiteX2156" fmla="*/ 2186752 w 13061856"/>
              <a:gd name="connsiteY2156" fmla="*/ 1721275 h 5116136"/>
              <a:gd name="connsiteX2157" fmla="*/ 2228480 w 13061856"/>
              <a:gd name="connsiteY2157" fmla="*/ 1714854 h 5116136"/>
              <a:gd name="connsiteX2158" fmla="*/ 2239365 w 13061856"/>
              <a:gd name="connsiteY2158" fmla="*/ 1734118 h 5116136"/>
              <a:gd name="connsiteX2159" fmla="*/ 2261740 w 13061856"/>
              <a:gd name="connsiteY2159" fmla="*/ 1721750 h 5116136"/>
              <a:gd name="connsiteX2160" fmla="*/ 2278069 w 13061856"/>
              <a:gd name="connsiteY2160" fmla="*/ 1695827 h 5116136"/>
              <a:gd name="connsiteX2161" fmla="*/ 12463154 w 13061856"/>
              <a:gd name="connsiteY2161" fmla="*/ 1693924 h 5116136"/>
              <a:gd name="connsiteX2162" fmla="*/ 12445012 w 13061856"/>
              <a:gd name="connsiteY2162" fmla="*/ 1720560 h 5116136"/>
              <a:gd name="connsiteX2163" fmla="*/ 12443197 w 13061856"/>
              <a:gd name="connsiteY2163" fmla="*/ 1701059 h 5116136"/>
              <a:gd name="connsiteX2164" fmla="*/ 12463154 w 13061856"/>
              <a:gd name="connsiteY2164" fmla="*/ 1693924 h 5116136"/>
              <a:gd name="connsiteX2165" fmla="*/ 11876553 w 13061856"/>
              <a:gd name="connsiteY2165" fmla="*/ 1691545 h 5116136"/>
              <a:gd name="connsiteX2166" fmla="*/ 11852364 w 13061856"/>
              <a:gd name="connsiteY2166" fmla="*/ 1707242 h 5116136"/>
              <a:gd name="connsiteX2167" fmla="*/ 11842688 w 13061856"/>
              <a:gd name="connsiteY2167" fmla="*/ 1717706 h 5116136"/>
              <a:gd name="connsiteX2168" fmla="*/ 11921909 w 13061856"/>
              <a:gd name="connsiteY2168" fmla="*/ 1729361 h 5116136"/>
              <a:gd name="connsiteX2169" fmla="*/ 11860225 w 13061856"/>
              <a:gd name="connsiteY2169" fmla="*/ 1760042 h 5116136"/>
              <a:gd name="connsiteX2170" fmla="*/ 11940051 w 13061856"/>
              <a:gd name="connsiteY2170" fmla="*/ 1748863 h 5116136"/>
              <a:gd name="connsiteX2171" fmla="*/ 11926747 w 13061856"/>
              <a:gd name="connsiteY2171" fmla="*/ 1771458 h 5116136"/>
              <a:gd name="connsiteX2172" fmla="*/ 11955169 w 13061856"/>
              <a:gd name="connsiteY2172" fmla="*/ 1777641 h 5116136"/>
              <a:gd name="connsiteX2173" fmla="*/ 11971498 w 13061856"/>
              <a:gd name="connsiteY2173" fmla="*/ 1741252 h 5116136"/>
              <a:gd name="connsiteX2174" fmla="*/ 11923118 w 13061856"/>
              <a:gd name="connsiteY2174" fmla="*/ 1717706 h 5116136"/>
              <a:gd name="connsiteX2175" fmla="*/ 11943075 w 13061856"/>
              <a:gd name="connsiteY2175" fmla="*/ 1705577 h 5116136"/>
              <a:gd name="connsiteX2176" fmla="*/ 11894091 w 13061856"/>
              <a:gd name="connsiteY2176" fmla="*/ 1709620 h 5116136"/>
              <a:gd name="connsiteX2177" fmla="*/ 11900138 w 13061856"/>
              <a:gd name="connsiteY2177" fmla="*/ 1710809 h 5116136"/>
              <a:gd name="connsiteX2178" fmla="*/ 11862039 w 13061856"/>
              <a:gd name="connsiteY2178" fmla="*/ 1722940 h 5116136"/>
              <a:gd name="connsiteX2179" fmla="*/ 11885625 w 13061856"/>
              <a:gd name="connsiteY2179" fmla="*/ 1707956 h 5116136"/>
              <a:gd name="connsiteX2180" fmla="*/ 11876553 w 13061856"/>
              <a:gd name="connsiteY2180" fmla="*/ 1691545 h 5116136"/>
              <a:gd name="connsiteX2181" fmla="*/ 2209128 w 13061856"/>
              <a:gd name="connsiteY2181" fmla="*/ 1691069 h 5116136"/>
              <a:gd name="connsiteX2182" fmla="*/ 2192800 w 13061856"/>
              <a:gd name="connsiteY2182" fmla="*/ 1710809 h 5116136"/>
              <a:gd name="connsiteX2183" fmla="*/ 2209128 w 13061856"/>
              <a:gd name="connsiteY2183" fmla="*/ 1691069 h 5116136"/>
              <a:gd name="connsiteX2184" fmla="*/ 12410541 w 13061856"/>
              <a:gd name="connsiteY2184" fmla="*/ 1689643 h 5116136"/>
              <a:gd name="connsiteX2185" fmla="*/ 12420822 w 13061856"/>
              <a:gd name="connsiteY2185" fmla="*/ 1702723 h 5116136"/>
              <a:gd name="connsiteX2186" fmla="*/ 12393004 w 13061856"/>
              <a:gd name="connsiteY2186" fmla="*/ 1708431 h 5116136"/>
              <a:gd name="connsiteX2187" fmla="*/ 12410541 w 13061856"/>
              <a:gd name="connsiteY2187" fmla="*/ 1689643 h 5116136"/>
              <a:gd name="connsiteX2188" fmla="*/ 2508476 w 13061856"/>
              <a:gd name="connsiteY2188" fmla="*/ 1688691 h 5116136"/>
              <a:gd name="connsiteX2189" fmla="*/ 2542341 w 13061856"/>
              <a:gd name="connsiteY2189" fmla="*/ 1695827 h 5116136"/>
              <a:gd name="connsiteX2190" fmla="*/ 2617329 w 13061856"/>
              <a:gd name="connsiteY2190" fmla="*/ 1729836 h 5116136"/>
              <a:gd name="connsiteX2191" fmla="*/ 2608864 w 13061856"/>
              <a:gd name="connsiteY2191" fmla="*/ 1741252 h 5116136"/>
              <a:gd name="connsiteX2192" fmla="*/ 2668733 w 13061856"/>
              <a:gd name="connsiteY2192" fmla="*/ 1746484 h 5116136"/>
              <a:gd name="connsiteX2193" fmla="*/ 2625796 w 13061856"/>
              <a:gd name="connsiteY2193" fmla="*/ 1782873 h 5116136"/>
              <a:gd name="connsiteX2194" fmla="*/ 2580440 w 13061856"/>
              <a:gd name="connsiteY2194" fmla="*/ 1777166 h 5116136"/>
              <a:gd name="connsiteX2195" fmla="*/ 2640310 w 13061856"/>
              <a:gd name="connsiteY2195" fmla="*/ 1782398 h 5116136"/>
              <a:gd name="connsiteX2196" fmla="*/ 2574997 w 13061856"/>
              <a:gd name="connsiteY2196" fmla="*/ 1834959 h 5116136"/>
              <a:gd name="connsiteX2197" fmla="*/ 2593140 w 13061856"/>
              <a:gd name="connsiteY2197" fmla="*/ 1858742 h 5116136"/>
              <a:gd name="connsiteX2198" fmla="*/ 2597977 w 13061856"/>
              <a:gd name="connsiteY2198" fmla="*/ 1895131 h 5116136"/>
              <a:gd name="connsiteX2199" fmla="*/ 2568346 w 13061856"/>
              <a:gd name="connsiteY2199" fmla="*/ 1906784 h 5116136"/>
              <a:gd name="connsiteX2200" fmla="*/ 2484891 w 13061856"/>
              <a:gd name="connsiteY2200" fmla="*/ 1889898 h 5116136"/>
              <a:gd name="connsiteX2201" fmla="*/ 2479449 w 13061856"/>
              <a:gd name="connsiteY2201" fmla="*/ 1905358 h 5116136"/>
              <a:gd name="connsiteX2202" fmla="*/ 2428045 w 13061856"/>
              <a:gd name="connsiteY2202" fmla="*/ 1876580 h 5116136"/>
              <a:gd name="connsiteX2203" fmla="*/ 2451025 w 13061856"/>
              <a:gd name="connsiteY2203" fmla="*/ 1895131 h 5116136"/>
              <a:gd name="connsiteX2204" fmla="*/ 2407483 w 13061856"/>
              <a:gd name="connsiteY2204" fmla="*/ 1901552 h 5116136"/>
              <a:gd name="connsiteX2205" fmla="*/ 2399017 w 13061856"/>
              <a:gd name="connsiteY2205" fmla="*/ 1876580 h 5116136"/>
              <a:gd name="connsiteX2206" fmla="*/ 2371199 w 13061856"/>
              <a:gd name="connsiteY2206" fmla="*/ 1900363 h 5116136"/>
              <a:gd name="connsiteX2207" fmla="*/ 2374827 w 13061856"/>
              <a:gd name="connsiteY2207" fmla="*/ 1876104 h 5116136"/>
              <a:gd name="connsiteX2208" fmla="*/ 2327053 w 13061856"/>
              <a:gd name="connsiteY2208" fmla="*/ 1876104 h 5116136"/>
              <a:gd name="connsiteX2209" fmla="*/ 2313418 w 13061856"/>
              <a:gd name="connsiteY2209" fmla="*/ 1859063 h 5116136"/>
              <a:gd name="connsiteX2210" fmla="*/ 2313748 w 13061856"/>
              <a:gd name="connsiteY2210" fmla="*/ 1858742 h 5116136"/>
              <a:gd name="connsiteX2211" fmla="*/ 2312782 w 13061856"/>
              <a:gd name="connsiteY2211" fmla="*/ 1858269 h 5116136"/>
              <a:gd name="connsiteX2212" fmla="*/ 2299840 w 13061856"/>
              <a:gd name="connsiteY2212" fmla="*/ 1842094 h 5116136"/>
              <a:gd name="connsiteX2213" fmla="*/ 2303846 w 13061856"/>
              <a:gd name="connsiteY2213" fmla="*/ 1853897 h 5116136"/>
              <a:gd name="connsiteX2214" fmla="*/ 2312782 w 13061856"/>
              <a:gd name="connsiteY2214" fmla="*/ 1858269 h 5116136"/>
              <a:gd name="connsiteX2215" fmla="*/ 2313418 w 13061856"/>
              <a:gd name="connsiteY2215" fmla="*/ 1859063 h 5116136"/>
              <a:gd name="connsiteX2216" fmla="*/ 2303997 w 13061856"/>
              <a:gd name="connsiteY2216" fmla="*/ 1868192 h 5116136"/>
              <a:gd name="connsiteX2217" fmla="*/ 2266579 w 13061856"/>
              <a:gd name="connsiteY2217" fmla="*/ 1877056 h 5116136"/>
              <a:gd name="connsiteX2218" fmla="*/ 2267184 w 13061856"/>
              <a:gd name="connsiteY2218" fmla="*/ 1831153 h 5116136"/>
              <a:gd name="connsiteX2219" fmla="*/ 2284720 w 13061856"/>
              <a:gd name="connsiteY2219" fmla="*/ 1854699 h 5116136"/>
              <a:gd name="connsiteX2220" fmla="*/ 2310120 w 13061856"/>
              <a:gd name="connsiteY2220" fmla="*/ 1794765 h 5116136"/>
              <a:gd name="connsiteX2221" fmla="*/ 2318587 w 13061856"/>
              <a:gd name="connsiteY2221" fmla="*/ 1819262 h 5116136"/>
              <a:gd name="connsiteX2222" fmla="*/ 2304072 w 13061856"/>
              <a:gd name="connsiteY2222" fmla="*/ 1824019 h 5116136"/>
              <a:gd name="connsiteX2223" fmla="*/ 2478238 w 13061856"/>
              <a:gd name="connsiteY2223" fmla="*/ 1877056 h 5116136"/>
              <a:gd name="connsiteX2224" fmla="*/ 2484286 w 13061856"/>
              <a:gd name="connsiteY2224" fmla="*/ 1859455 h 5116136"/>
              <a:gd name="connsiteX2225" fmla="*/ 2522385 w 13061856"/>
              <a:gd name="connsiteY2225" fmla="*/ 1876580 h 5116136"/>
              <a:gd name="connsiteX2226" fmla="*/ 2544760 w 13061856"/>
              <a:gd name="connsiteY2226" fmla="*/ 1852321 h 5116136"/>
              <a:gd name="connsiteX2227" fmla="*/ 2540528 w 13061856"/>
              <a:gd name="connsiteY2227" fmla="*/ 1882288 h 5116136"/>
              <a:gd name="connsiteX2228" fmla="*/ 2564112 w 13061856"/>
              <a:gd name="connsiteY2228" fmla="*/ 1848278 h 5116136"/>
              <a:gd name="connsiteX2229" fmla="*/ 2546575 w 13061856"/>
              <a:gd name="connsiteY2229" fmla="*/ 1824495 h 5116136"/>
              <a:gd name="connsiteX2230" fmla="*/ 2512104 w 13061856"/>
              <a:gd name="connsiteY2230" fmla="*/ 1842094 h 5116136"/>
              <a:gd name="connsiteX2231" fmla="*/ 2526619 w 13061856"/>
              <a:gd name="connsiteY2231" fmla="*/ 1800949 h 5116136"/>
              <a:gd name="connsiteX2232" fmla="*/ 2512104 w 13061856"/>
              <a:gd name="connsiteY2232" fmla="*/ 1799760 h 5116136"/>
              <a:gd name="connsiteX2233" fmla="*/ 2503033 w 13061856"/>
              <a:gd name="connsiteY2233" fmla="*/ 1828775 h 5116136"/>
              <a:gd name="connsiteX2234" fmla="*/ 2460701 w 13061856"/>
              <a:gd name="connsiteY2234" fmla="*/ 1811413 h 5116136"/>
              <a:gd name="connsiteX2235" fmla="*/ 2531456 w 13061856"/>
              <a:gd name="connsiteY2235" fmla="*/ 1795241 h 5116136"/>
              <a:gd name="connsiteX2236" fmla="*/ 2542341 w 13061856"/>
              <a:gd name="connsiteY2236" fmla="*/ 1771932 h 5116136"/>
              <a:gd name="connsiteX2237" fmla="*/ 2507871 w 13061856"/>
              <a:gd name="connsiteY2237" fmla="*/ 1782873 h 5116136"/>
              <a:gd name="connsiteX2238" fmla="*/ 2518757 w 13061856"/>
              <a:gd name="connsiteY2238" fmla="*/ 1765750 h 5116136"/>
              <a:gd name="connsiteX2239" fmla="*/ 2493962 w 13061856"/>
              <a:gd name="connsiteY2239" fmla="*/ 1771932 h 5116136"/>
              <a:gd name="connsiteX2240" fmla="*/ 2497591 w 13061856"/>
              <a:gd name="connsiteY2240" fmla="*/ 1748388 h 5116136"/>
              <a:gd name="connsiteX2241" fmla="*/ 2523594 w 13061856"/>
              <a:gd name="connsiteY2241" fmla="*/ 1764561 h 5116136"/>
              <a:gd name="connsiteX2242" fmla="*/ 2536899 w 13061856"/>
              <a:gd name="connsiteY2242" fmla="*/ 1747199 h 5116136"/>
              <a:gd name="connsiteX2243" fmla="*/ 2508476 w 13061856"/>
              <a:gd name="connsiteY2243" fmla="*/ 1688691 h 5116136"/>
              <a:gd name="connsiteX2244" fmla="*/ 12242423 w 13061856"/>
              <a:gd name="connsiteY2244" fmla="*/ 1687265 h 5116136"/>
              <a:gd name="connsiteX2245" fmla="*/ 12264798 w 13061856"/>
              <a:gd name="connsiteY2245" fmla="*/ 1698205 h 5116136"/>
              <a:gd name="connsiteX2246" fmla="*/ 12212790 w 13061856"/>
              <a:gd name="connsiteY2246" fmla="*/ 1697491 h 5116136"/>
              <a:gd name="connsiteX2247" fmla="*/ 12242423 w 13061856"/>
              <a:gd name="connsiteY2247" fmla="*/ 1687265 h 5116136"/>
              <a:gd name="connsiteX2248" fmla="*/ 2467353 w 13061856"/>
              <a:gd name="connsiteY2248" fmla="*/ 1687265 h 5116136"/>
              <a:gd name="connsiteX2249" fmla="*/ 2473400 w 13061856"/>
              <a:gd name="connsiteY2249" fmla="*/ 1717232 h 5116136"/>
              <a:gd name="connsiteX2250" fmla="*/ 2513918 w 13061856"/>
              <a:gd name="connsiteY2250" fmla="*/ 1722940 h 5116136"/>
              <a:gd name="connsiteX2251" fmla="*/ 2447396 w 13061856"/>
              <a:gd name="connsiteY2251" fmla="*/ 1723653 h 5116136"/>
              <a:gd name="connsiteX2252" fmla="*/ 2467353 w 13061856"/>
              <a:gd name="connsiteY2252" fmla="*/ 1687265 h 5116136"/>
              <a:gd name="connsiteX2253" fmla="*/ 12511534 w 13061856"/>
              <a:gd name="connsiteY2253" fmla="*/ 1685837 h 5116136"/>
              <a:gd name="connsiteX2254" fmla="*/ 12480087 w 13061856"/>
              <a:gd name="connsiteY2254" fmla="*/ 1707956 h 5116136"/>
              <a:gd name="connsiteX2255" fmla="*/ 12511534 w 13061856"/>
              <a:gd name="connsiteY2255" fmla="*/ 1685837 h 5116136"/>
              <a:gd name="connsiteX2256" fmla="*/ 971824 w 13061856"/>
              <a:gd name="connsiteY2256" fmla="*/ 1685837 h 5116136"/>
              <a:gd name="connsiteX2257" fmla="*/ 1009922 w 13061856"/>
              <a:gd name="connsiteY2257" fmla="*/ 1703913 h 5116136"/>
              <a:gd name="connsiteX2258" fmla="*/ 996618 w 13061856"/>
              <a:gd name="connsiteY2258" fmla="*/ 1717232 h 5116136"/>
              <a:gd name="connsiteX2259" fmla="*/ 1000851 w 13061856"/>
              <a:gd name="connsiteY2259" fmla="*/ 1729836 h 5116136"/>
              <a:gd name="connsiteX2260" fmla="*/ 1014156 w 13061856"/>
              <a:gd name="connsiteY2260" fmla="*/ 1710096 h 5116136"/>
              <a:gd name="connsiteX2261" fmla="*/ 1064348 w 13061856"/>
              <a:gd name="connsiteY2261" fmla="*/ 1735544 h 5116136"/>
              <a:gd name="connsiteX2262" fmla="*/ 1092772 w 13061856"/>
              <a:gd name="connsiteY2262" fmla="*/ 1717232 h 5116136"/>
              <a:gd name="connsiteX2263" fmla="*/ 1121195 w 13061856"/>
              <a:gd name="connsiteY2263" fmla="*/ 1734118 h 5116136"/>
              <a:gd name="connsiteX2264" fmla="*/ 1097004 w 13061856"/>
              <a:gd name="connsiteY2264" fmla="*/ 1723653 h 5116136"/>
              <a:gd name="connsiteX2265" fmla="*/ 1071606 w 13061856"/>
              <a:gd name="connsiteY2265" fmla="*/ 1734118 h 5116136"/>
              <a:gd name="connsiteX2266" fmla="*/ 1073420 w 13061856"/>
              <a:gd name="connsiteY2266" fmla="*/ 1746484 h 5116136"/>
              <a:gd name="connsiteX2267" fmla="*/ 1145990 w 13061856"/>
              <a:gd name="connsiteY2267" fmla="*/ 1771458 h 5116136"/>
              <a:gd name="connsiteX2268" fmla="*/ 1071606 w 13061856"/>
              <a:gd name="connsiteY2268" fmla="*/ 1777641 h 5116136"/>
              <a:gd name="connsiteX2269" fmla="*/ 1091563 w 13061856"/>
              <a:gd name="connsiteY2269" fmla="*/ 1777166 h 5116136"/>
              <a:gd name="connsiteX2270" fmla="*/ 1073420 w 13061856"/>
              <a:gd name="connsiteY2270" fmla="*/ 1796906 h 5116136"/>
              <a:gd name="connsiteX2271" fmla="*/ 1067373 w 13061856"/>
              <a:gd name="connsiteY2271" fmla="*/ 1771458 h 5116136"/>
              <a:gd name="connsiteX2272" fmla="*/ 1024435 w 13061856"/>
              <a:gd name="connsiteY2272" fmla="*/ 1752906 h 5116136"/>
              <a:gd name="connsiteX2273" fmla="*/ 995409 w 13061856"/>
              <a:gd name="connsiteY2273" fmla="*/ 1790009 h 5116136"/>
              <a:gd name="connsiteX2274" fmla="*/ 989965 w 13061856"/>
              <a:gd name="connsiteY2274" fmla="*/ 1754096 h 5116136"/>
              <a:gd name="connsiteX2275" fmla="*/ 956705 w 13061856"/>
              <a:gd name="connsiteY2275" fmla="*/ 1771932 h 5116136"/>
              <a:gd name="connsiteX2276" fmla="*/ 966985 w 13061856"/>
              <a:gd name="connsiteY2276" fmla="*/ 1722940 h 5116136"/>
              <a:gd name="connsiteX2277" fmla="*/ 986338 w 13061856"/>
              <a:gd name="connsiteY2277" fmla="*/ 1728885 h 5116136"/>
              <a:gd name="connsiteX2278" fmla="*/ 956100 w 13061856"/>
              <a:gd name="connsiteY2278" fmla="*/ 1705577 h 5116136"/>
              <a:gd name="connsiteX2279" fmla="*/ 971824 w 13061856"/>
              <a:gd name="connsiteY2279" fmla="*/ 1685837 h 5116136"/>
              <a:gd name="connsiteX2280" fmla="*/ 12191020 w 13061856"/>
              <a:gd name="connsiteY2280" fmla="*/ 1685600 h 5116136"/>
              <a:gd name="connsiteX2281" fmla="*/ 12195857 w 13061856"/>
              <a:gd name="connsiteY2281" fmla="*/ 1699870 h 5116136"/>
              <a:gd name="connsiteX2282" fmla="*/ 12184367 w 13061856"/>
              <a:gd name="connsiteY2282" fmla="*/ 1719371 h 5116136"/>
              <a:gd name="connsiteX2283" fmla="*/ 12170458 w 13061856"/>
              <a:gd name="connsiteY2283" fmla="*/ 1699870 h 5116136"/>
              <a:gd name="connsiteX2284" fmla="*/ 12188601 w 13061856"/>
              <a:gd name="connsiteY2284" fmla="*/ 1688691 h 5116136"/>
              <a:gd name="connsiteX2285" fmla="*/ 12191020 w 13061856"/>
              <a:gd name="connsiteY2285" fmla="*/ 1685600 h 5116136"/>
              <a:gd name="connsiteX2286" fmla="*/ 1929131 w 13061856"/>
              <a:gd name="connsiteY2286" fmla="*/ 1682033 h 5116136"/>
              <a:gd name="connsiteX2287" fmla="*/ 1950902 w 13061856"/>
              <a:gd name="connsiteY2287" fmla="*/ 1699870 h 5116136"/>
              <a:gd name="connsiteX2288" fmla="*/ 1956345 w 13061856"/>
              <a:gd name="connsiteY2288" fmla="*/ 1727934 h 5116136"/>
              <a:gd name="connsiteX2289" fmla="*/ 1952717 w 13061856"/>
              <a:gd name="connsiteY2289" fmla="*/ 1751242 h 5116136"/>
              <a:gd name="connsiteX2290" fmla="*/ 1929131 w 13061856"/>
              <a:gd name="connsiteY2290" fmla="*/ 1682033 h 5116136"/>
              <a:gd name="connsiteX2291" fmla="*/ 2424417 w 13061856"/>
              <a:gd name="connsiteY2291" fmla="*/ 1681318 h 5116136"/>
              <a:gd name="connsiteX2292" fmla="*/ 2448001 w 13061856"/>
              <a:gd name="connsiteY2292" fmla="*/ 1711285 h 5116136"/>
              <a:gd name="connsiteX2293" fmla="*/ 2425626 w 13061856"/>
              <a:gd name="connsiteY2293" fmla="*/ 1698680 h 5116136"/>
              <a:gd name="connsiteX2294" fmla="*/ 2424417 w 13061856"/>
              <a:gd name="connsiteY2294" fmla="*/ 1681318 h 5116136"/>
              <a:gd name="connsiteX2295" fmla="*/ 2939053 w 13061856"/>
              <a:gd name="connsiteY2295" fmla="*/ 1678464 h 5116136"/>
              <a:gd name="connsiteX2296" fmla="*/ 2963848 w 13061856"/>
              <a:gd name="connsiteY2296" fmla="*/ 1707956 h 5116136"/>
              <a:gd name="connsiteX2297" fmla="*/ 2976547 w 13061856"/>
              <a:gd name="connsiteY2297" fmla="*/ 1689643 h 5116136"/>
              <a:gd name="connsiteX2298" fmla="*/ 2939053 w 13061856"/>
              <a:gd name="connsiteY2298" fmla="*/ 1678464 h 5116136"/>
              <a:gd name="connsiteX2299" fmla="*/ 12103937 w 13061856"/>
              <a:gd name="connsiteY2299" fmla="*/ 1675610 h 5116136"/>
              <a:gd name="connsiteX2300" fmla="*/ 12131755 w 13061856"/>
              <a:gd name="connsiteY2300" fmla="*/ 1687265 h 5116136"/>
              <a:gd name="connsiteX2301" fmla="*/ 12079142 w 13061856"/>
              <a:gd name="connsiteY2301" fmla="*/ 1703913 h 5116136"/>
              <a:gd name="connsiteX2302" fmla="*/ 12103937 w 13061856"/>
              <a:gd name="connsiteY2302" fmla="*/ 1675610 h 5116136"/>
              <a:gd name="connsiteX2303" fmla="*/ 12536328 w 13061856"/>
              <a:gd name="connsiteY2303" fmla="*/ 1669664 h 5116136"/>
              <a:gd name="connsiteX2304" fmla="*/ 12544795 w 13061856"/>
              <a:gd name="connsiteY2304" fmla="*/ 1670378 h 5116136"/>
              <a:gd name="connsiteX2305" fmla="*/ 12549027 w 13061856"/>
              <a:gd name="connsiteY2305" fmla="*/ 1674897 h 5116136"/>
              <a:gd name="connsiteX2306" fmla="*/ 12539351 w 13061856"/>
              <a:gd name="connsiteY2306" fmla="*/ 1725080 h 5116136"/>
              <a:gd name="connsiteX2307" fmla="*/ 12536328 w 13061856"/>
              <a:gd name="connsiteY2307" fmla="*/ 1669664 h 5116136"/>
              <a:gd name="connsiteX2308" fmla="*/ 2850761 w 13061856"/>
              <a:gd name="connsiteY2308" fmla="*/ 1666810 h 5116136"/>
              <a:gd name="connsiteX2309" fmla="*/ 2848947 w 13061856"/>
              <a:gd name="connsiteY2309" fmla="*/ 1696302 h 5116136"/>
              <a:gd name="connsiteX2310" fmla="*/ 2874345 w 13061856"/>
              <a:gd name="connsiteY2310" fmla="*/ 1678464 h 5116136"/>
              <a:gd name="connsiteX2311" fmla="*/ 2850761 w 13061856"/>
              <a:gd name="connsiteY2311" fmla="*/ 1666810 h 5116136"/>
              <a:gd name="connsiteX2312" fmla="*/ 2352452 w 13061856"/>
              <a:gd name="connsiteY2312" fmla="*/ 1662767 h 5116136"/>
              <a:gd name="connsiteX2313" fmla="*/ 2343381 w 13061856"/>
              <a:gd name="connsiteY2313" fmla="*/ 1673946 h 5116136"/>
              <a:gd name="connsiteX2314" fmla="*/ 2351847 w 13061856"/>
              <a:gd name="connsiteY2314" fmla="*/ 1702010 h 5116136"/>
              <a:gd name="connsiteX2315" fmla="*/ 2338542 w 13061856"/>
              <a:gd name="connsiteY2315" fmla="*/ 1669664 h 5116136"/>
              <a:gd name="connsiteX2316" fmla="*/ 2352452 w 13061856"/>
              <a:gd name="connsiteY2316" fmla="*/ 1662767 h 5116136"/>
              <a:gd name="connsiteX2317" fmla="*/ 2807824 w 13061856"/>
              <a:gd name="connsiteY2317" fmla="*/ 1661102 h 5116136"/>
              <a:gd name="connsiteX2318" fmla="*/ 2839875 w 13061856"/>
              <a:gd name="connsiteY2318" fmla="*/ 1689643 h 5116136"/>
              <a:gd name="connsiteX2319" fmla="*/ 2807824 w 13061856"/>
              <a:gd name="connsiteY2319" fmla="*/ 1661102 h 5116136"/>
              <a:gd name="connsiteX2320" fmla="*/ 2220013 w 13061856"/>
              <a:gd name="connsiteY2320" fmla="*/ 1657535 h 5116136"/>
              <a:gd name="connsiteX2321" fmla="*/ 2239970 w 13061856"/>
              <a:gd name="connsiteY2321" fmla="*/ 1702723 h 5116136"/>
              <a:gd name="connsiteX2322" fmla="*/ 2220013 w 13061856"/>
              <a:gd name="connsiteY2322" fmla="*/ 1657535 h 5116136"/>
              <a:gd name="connsiteX2323" fmla="*/ 642843 w 13061856"/>
              <a:gd name="connsiteY2323" fmla="*/ 1651827 h 5116136"/>
              <a:gd name="connsiteX2324" fmla="*/ 725693 w 13061856"/>
              <a:gd name="connsiteY2324" fmla="*/ 1658963 h 5116136"/>
              <a:gd name="connsiteX2325" fmla="*/ 693037 w 13061856"/>
              <a:gd name="connsiteY2325" fmla="*/ 1663956 h 5116136"/>
              <a:gd name="connsiteX2326" fmla="*/ 698479 w 13061856"/>
              <a:gd name="connsiteY2326" fmla="*/ 1693447 h 5116136"/>
              <a:gd name="connsiteX2327" fmla="*/ 639215 w 13061856"/>
              <a:gd name="connsiteY2327" fmla="*/ 1676086 h 5116136"/>
              <a:gd name="connsiteX2328" fmla="*/ 642843 w 13061856"/>
              <a:gd name="connsiteY2328" fmla="*/ 1651827 h 5116136"/>
              <a:gd name="connsiteX2329" fmla="*/ 2126278 w 13061856"/>
              <a:gd name="connsiteY2329" fmla="*/ 1649449 h 5116136"/>
              <a:gd name="connsiteX2330" fmla="*/ 2145025 w 13061856"/>
              <a:gd name="connsiteY2330" fmla="*/ 1673946 h 5116136"/>
              <a:gd name="connsiteX2331" fmla="*/ 2123254 w 13061856"/>
              <a:gd name="connsiteY2331" fmla="*/ 1667999 h 5116136"/>
              <a:gd name="connsiteX2332" fmla="*/ 2126278 w 13061856"/>
              <a:gd name="connsiteY2332" fmla="*/ 1649449 h 5116136"/>
              <a:gd name="connsiteX2333" fmla="*/ 2085155 w 13061856"/>
              <a:gd name="connsiteY2333" fmla="*/ 1646119 h 5116136"/>
              <a:gd name="connsiteX2334" fmla="*/ 2058547 w 13061856"/>
              <a:gd name="connsiteY2334" fmla="*/ 1668714 h 5116136"/>
              <a:gd name="connsiteX2335" fmla="*/ 2085155 w 13061856"/>
              <a:gd name="connsiteY2335" fmla="*/ 1646119 h 5116136"/>
              <a:gd name="connsiteX2336" fmla="*/ 1730171 w 13061856"/>
              <a:gd name="connsiteY2336" fmla="*/ 1640411 h 5116136"/>
              <a:gd name="connsiteX2337" fmla="*/ 1765247 w 13061856"/>
              <a:gd name="connsiteY2337" fmla="*/ 1688215 h 5116136"/>
              <a:gd name="connsiteX2338" fmla="*/ 1736824 w 13061856"/>
              <a:gd name="connsiteY2338" fmla="*/ 1659437 h 5116136"/>
              <a:gd name="connsiteX2339" fmla="*/ 1721704 w 13061856"/>
              <a:gd name="connsiteY2339" fmla="*/ 1670378 h 5116136"/>
              <a:gd name="connsiteX2340" fmla="*/ 1730171 w 13061856"/>
              <a:gd name="connsiteY2340" fmla="*/ 1640411 h 5116136"/>
              <a:gd name="connsiteX2341" fmla="*/ 2148653 w 13061856"/>
              <a:gd name="connsiteY2341" fmla="*/ 1618293 h 5116136"/>
              <a:gd name="connsiteX2342" fmla="*/ 2065803 w 13061856"/>
              <a:gd name="connsiteY2342" fmla="*/ 1629946 h 5116136"/>
              <a:gd name="connsiteX2343" fmla="*/ 2148653 w 13061856"/>
              <a:gd name="connsiteY2343" fmla="*/ 1618293 h 5116136"/>
              <a:gd name="connsiteX2344" fmla="*/ 2411113 w 13061856"/>
              <a:gd name="connsiteY2344" fmla="*/ 1606400 h 5116136"/>
              <a:gd name="connsiteX2345" fmla="*/ 2428650 w 13061856"/>
              <a:gd name="connsiteY2345" fmla="*/ 1623525 h 5116136"/>
              <a:gd name="connsiteX2346" fmla="*/ 2428045 w 13061856"/>
              <a:gd name="connsiteY2346" fmla="*/ 1667999 h 5116136"/>
              <a:gd name="connsiteX2347" fmla="*/ 2409298 w 13061856"/>
              <a:gd name="connsiteY2347" fmla="*/ 1667999 h 5116136"/>
              <a:gd name="connsiteX2348" fmla="*/ 2411113 w 13061856"/>
              <a:gd name="connsiteY2348" fmla="*/ 1606400 h 5116136"/>
              <a:gd name="connsiteX2349" fmla="*/ 1477389 w 13061856"/>
              <a:gd name="connsiteY2349" fmla="*/ 1604974 h 5116136"/>
              <a:gd name="connsiteX2350" fmla="*/ 1484041 w 13061856"/>
              <a:gd name="connsiteY2350" fmla="*/ 1604974 h 5116136"/>
              <a:gd name="connsiteX2351" fmla="*/ 1514883 w 13061856"/>
              <a:gd name="connsiteY2351" fmla="*/ 1644216 h 5116136"/>
              <a:gd name="connsiteX2352" fmla="*/ 1455618 w 13061856"/>
              <a:gd name="connsiteY2352" fmla="*/ 1638984 h 5116136"/>
              <a:gd name="connsiteX2353" fmla="*/ 1470131 w 13061856"/>
              <a:gd name="connsiteY2353" fmla="*/ 1609730 h 5116136"/>
              <a:gd name="connsiteX2354" fmla="*/ 1477389 w 13061856"/>
              <a:gd name="connsiteY2354" fmla="*/ 1604974 h 5116136"/>
              <a:gd name="connsiteX2355" fmla="*/ 12019878 w 13061856"/>
              <a:gd name="connsiteY2355" fmla="*/ 1603548 h 5116136"/>
              <a:gd name="connsiteX2356" fmla="*/ 12013225 w 13061856"/>
              <a:gd name="connsiteY2356" fmla="*/ 1604022 h 5116136"/>
              <a:gd name="connsiteX2357" fmla="*/ 12007782 w 13061856"/>
              <a:gd name="connsiteY2357" fmla="*/ 1613773 h 5116136"/>
              <a:gd name="connsiteX2358" fmla="*/ 12030763 w 13061856"/>
              <a:gd name="connsiteY2358" fmla="*/ 1625903 h 5116136"/>
              <a:gd name="connsiteX2359" fmla="*/ 12019878 w 13061856"/>
              <a:gd name="connsiteY2359" fmla="*/ 1603548 h 5116136"/>
              <a:gd name="connsiteX2360" fmla="*/ 2667523 w 13061856"/>
              <a:gd name="connsiteY2360" fmla="*/ 1602357 h 5116136"/>
              <a:gd name="connsiteX2361" fmla="*/ 2659661 w 13061856"/>
              <a:gd name="connsiteY2361" fmla="*/ 1602596 h 5116136"/>
              <a:gd name="connsiteX2362" fmla="*/ 2656638 w 13061856"/>
              <a:gd name="connsiteY2362" fmla="*/ 1620671 h 5116136"/>
              <a:gd name="connsiteX2363" fmla="*/ 2678409 w 13061856"/>
              <a:gd name="connsiteY2363" fmla="*/ 1614249 h 5116136"/>
              <a:gd name="connsiteX2364" fmla="*/ 2667523 w 13061856"/>
              <a:gd name="connsiteY2364" fmla="*/ 1602357 h 5116136"/>
              <a:gd name="connsiteX2365" fmla="*/ 2007144 w 13061856"/>
              <a:gd name="connsiteY2365" fmla="*/ 1595461 h 5116136"/>
              <a:gd name="connsiteX2366" fmla="*/ 2022262 w 13061856"/>
              <a:gd name="connsiteY2366" fmla="*/ 1607828 h 5116136"/>
              <a:gd name="connsiteX2367" fmla="*/ 1998677 w 13061856"/>
              <a:gd name="connsiteY2367" fmla="*/ 1595936 h 5116136"/>
              <a:gd name="connsiteX2368" fmla="*/ 2007144 w 13061856"/>
              <a:gd name="connsiteY2368" fmla="*/ 1595461 h 5116136"/>
              <a:gd name="connsiteX2369" fmla="*/ 12052534 w 13061856"/>
              <a:gd name="connsiteY2369" fmla="*/ 1589990 h 5116136"/>
              <a:gd name="connsiteX2370" fmla="*/ 12063419 w 13061856"/>
              <a:gd name="connsiteY2370" fmla="*/ 1614963 h 5116136"/>
              <a:gd name="connsiteX2371" fmla="*/ 12078537 w 13061856"/>
              <a:gd name="connsiteY2371" fmla="*/ 1596412 h 5116136"/>
              <a:gd name="connsiteX2372" fmla="*/ 12052534 w 13061856"/>
              <a:gd name="connsiteY2372" fmla="*/ 1589990 h 5116136"/>
              <a:gd name="connsiteX2373" fmla="*/ 2090598 w 13061856"/>
              <a:gd name="connsiteY2373" fmla="*/ 1585471 h 5116136"/>
              <a:gd name="connsiteX2374" fmla="*/ 2086969 w 13061856"/>
              <a:gd name="connsiteY2374" fmla="*/ 1607828 h 5116136"/>
              <a:gd name="connsiteX2375" fmla="*/ 2067014 w 13061856"/>
              <a:gd name="connsiteY2375" fmla="*/ 1614249 h 5116136"/>
              <a:gd name="connsiteX2376" fmla="*/ 2090598 w 13061856"/>
              <a:gd name="connsiteY2376" fmla="*/ 1585471 h 5116136"/>
              <a:gd name="connsiteX2377" fmla="*/ 120345 w 13061856"/>
              <a:gd name="connsiteY2377" fmla="*/ 1582617 h 5116136"/>
              <a:gd name="connsiteX2378" fmla="*/ 104016 w 13061856"/>
              <a:gd name="connsiteY2378" fmla="*/ 1594509 h 5116136"/>
              <a:gd name="connsiteX2379" fmla="*/ 107041 w 13061856"/>
              <a:gd name="connsiteY2379" fmla="*/ 1622336 h 5116136"/>
              <a:gd name="connsiteX2380" fmla="*/ 88293 w 13061856"/>
              <a:gd name="connsiteY2380" fmla="*/ 1622336 h 5116136"/>
              <a:gd name="connsiteX2381" fmla="*/ 93736 w 13061856"/>
              <a:gd name="connsiteY2381" fmla="*/ 1599742 h 5116136"/>
              <a:gd name="connsiteX2382" fmla="*/ 120345 w 13061856"/>
              <a:gd name="connsiteY2382" fmla="*/ 1582617 h 5116136"/>
              <a:gd name="connsiteX2383" fmla="*/ 2773353 w 13061856"/>
              <a:gd name="connsiteY2383" fmla="*/ 1581904 h 5116136"/>
              <a:gd name="connsiteX2384" fmla="*/ 2769120 w 13061856"/>
              <a:gd name="connsiteY2384" fmla="*/ 1584282 h 5116136"/>
              <a:gd name="connsiteX2385" fmla="*/ 2792100 w 13061856"/>
              <a:gd name="connsiteY2385" fmla="*/ 1602120 h 5116136"/>
              <a:gd name="connsiteX2386" fmla="*/ 2773353 w 13061856"/>
              <a:gd name="connsiteY2386" fmla="*/ 1581904 h 5116136"/>
              <a:gd name="connsiteX2387" fmla="*/ 12620387 w 13061856"/>
              <a:gd name="connsiteY2387" fmla="*/ 1577385 h 5116136"/>
              <a:gd name="connsiteX2388" fmla="*/ 12642158 w 13061856"/>
              <a:gd name="connsiteY2388" fmla="*/ 1606400 h 5116136"/>
              <a:gd name="connsiteX2389" fmla="*/ 12599826 w 13061856"/>
              <a:gd name="connsiteY2389" fmla="*/ 1606876 h 5116136"/>
              <a:gd name="connsiteX2390" fmla="*/ 12620387 w 13061856"/>
              <a:gd name="connsiteY2390" fmla="*/ 1577385 h 5116136"/>
              <a:gd name="connsiteX2391" fmla="*/ 2940262 w 13061856"/>
              <a:gd name="connsiteY2391" fmla="*/ 1574294 h 5116136"/>
              <a:gd name="connsiteX2392" fmla="*/ 2934820 w 13061856"/>
              <a:gd name="connsiteY2392" fmla="*/ 1584758 h 5116136"/>
              <a:gd name="connsiteX2393" fmla="*/ 2954172 w 13061856"/>
              <a:gd name="connsiteY2393" fmla="*/ 1614249 h 5116136"/>
              <a:gd name="connsiteX2394" fmla="*/ 2940262 w 13061856"/>
              <a:gd name="connsiteY2394" fmla="*/ 1574294 h 5116136"/>
              <a:gd name="connsiteX2395" fmla="*/ 1634017 w 13061856"/>
              <a:gd name="connsiteY2395" fmla="*/ 1572153 h 5116136"/>
              <a:gd name="connsiteX2396" fmla="*/ 1659416 w 13061856"/>
              <a:gd name="connsiteY2396" fmla="*/ 1585471 h 5116136"/>
              <a:gd name="connsiteX2397" fmla="*/ 1629784 w 13061856"/>
              <a:gd name="connsiteY2397" fmla="*/ 1584758 h 5116136"/>
              <a:gd name="connsiteX2398" fmla="*/ 1634017 w 13061856"/>
              <a:gd name="connsiteY2398" fmla="*/ 1572153 h 5116136"/>
              <a:gd name="connsiteX2399" fmla="*/ 1119985 w 13061856"/>
              <a:gd name="connsiteY2399" fmla="*/ 1542186 h 5116136"/>
              <a:gd name="connsiteX2400" fmla="*/ 1124823 w 13061856"/>
              <a:gd name="connsiteY2400" fmla="*/ 1572153 h 5116136"/>
              <a:gd name="connsiteX2401" fmla="*/ 1086725 w 13061856"/>
              <a:gd name="connsiteY2401" fmla="*/ 1573342 h 5116136"/>
              <a:gd name="connsiteX2402" fmla="*/ 1118172 w 13061856"/>
              <a:gd name="connsiteY2402" fmla="*/ 1543375 h 5116136"/>
              <a:gd name="connsiteX2403" fmla="*/ 1119985 w 13061856"/>
              <a:gd name="connsiteY2403" fmla="*/ 1542186 h 5116136"/>
              <a:gd name="connsiteX2404" fmla="*/ 2380271 w 13061856"/>
              <a:gd name="connsiteY2404" fmla="*/ 1537429 h 5116136"/>
              <a:gd name="connsiteX2405" fmla="*/ 2357290 w 13061856"/>
              <a:gd name="connsiteY2405" fmla="*/ 1566921 h 5116136"/>
              <a:gd name="connsiteX2406" fmla="*/ 2385713 w 13061856"/>
              <a:gd name="connsiteY2406" fmla="*/ 1567634 h 5116136"/>
              <a:gd name="connsiteX2407" fmla="*/ 2380271 w 13061856"/>
              <a:gd name="connsiteY2407" fmla="*/ 1537429 h 5116136"/>
              <a:gd name="connsiteX2408" fmla="*/ 2584673 w 13061856"/>
              <a:gd name="connsiteY2408" fmla="*/ 1532910 h 5116136"/>
              <a:gd name="connsiteX2409" fmla="*/ 2581045 w 13061856"/>
              <a:gd name="connsiteY2409" fmla="*/ 1556693 h 5116136"/>
              <a:gd name="connsiteX2410" fmla="*/ 2565928 w 13061856"/>
              <a:gd name="connsiteY2410" fmla="*/ 1560975 h 5116136"/>
              <a:gd name="connsiteX2411" fmla="*/ 2599792 w 13061856"/>
              <a:gd name="connsiteY2411" fmla="*/ 1561688 h 5116136"/>
              <a:gd name="connsiteX2412" fmla="*/ 2584673 w 13061856"/>
              <a:gd name="connsiteY2412" fmla="*/ 1532910 h 5116136"/>
              <a:gd name="connsiteX2413" fmla="*/ 2453443 w 13061856"/>
              <a:gd name="connsiteY2413" fmla="*/ 1530532 h 5116136"/>
              <a:gd name="connsiteX2414" fmla="*/ 2475820 w 13061856"/>
              <a:gd name="connsiteY2414" fmla="*/ 1569061 h 5116136"/>
              <a:gd name="connsiteX2415" fmla="*/ 2453443 w 13061856"/>
              <a:gd name="connsiteY2415" fmla="*/ 1530532 h 5116136"/>
              <a:gd name="connsiteX2416" fmla="*/ 11918281 w 13061856"/>
              <a:gd name="connsiteY2416" fmla="*/ 1527678 h 5116136"/>
              <a:gd name="connsiteX2417" fmla="*/ 11909209 w 13061856"/>
              <a:gd name="connsiteY2417" fmla="*/ 1528154 h 5116136"/>
              <a:gd name="connsiteX2418" fmla="*/ 11932794 w 13061856"/>
              <a:gd name="connsiteY2418" fmla="*/ 1540284 h 5116136"/>
              <a:gd name="connsiteX2419" fmla="*/ 11918281 w 13061856"/>
              <a:gd name="connsiteY2419" fmla="*/ 1527678 h 5116136"/>
              <a:gd name="connsiteX2420" fmla="*/ 2617329 w 13061856"/>
              <a:gd name="connsiteY2420" fmla="*/ 1527441 h 5116136"/>
              <a:gd name="connsiteX2421" fmla="*/ 2610073 w 13061856"/>
              <a:gd name="connsiteY2421" fmla="*/ 1529343 h 5116136"/>
              <a:gd name="connsiteX2422" fmla="*/ 2608258 w 13061856"/>
              <a:gd name="connsiteY2422" fmla="*/ 1538619 h 5116136"/>
              <a:gd name="connsiteX2423" fmla="*/ 2604025 w 13061856"/>
              <a:gd name="connsiteY2423" fmla="*/ 1566207 h 5116136"/>
              <a:gd name="connsiteX2424" fmla="*/ 2669942 w 13061856"/>
              <a:gd name="connsiteY2424" fmla="*/ 1589990 h 5116136"/>
              <a:gd name="connsiteX2425" fmla="*/ 2680222 w 13061856"/>
              <a:gd name="connsiteY2425" fmla="*/ 1544803 h 5116136"/>
              <a:gd name="connsiteX2426" fmla="*/ 2665710 w 13061856"/>
              <a:gd name="connsiteY2426" fmla="*/ 1538143 h 5116136"/>
              <a:gd name="connsiteX2427" fmla="*/ 2645753 w 13061856"/>
              <a:gd name="connsiteY2427" fmla="*/ 1555743 h 5116136"/>
              <a:gd name="connsiteX2428" fmla="*/ 2627006 w 13061856"/>
              <a:gd name="connsiteY2428" fmla="*/ 1544327 h 5116136"/>
              <a:gd name="connsiteX2429" fmla="*/ 2631239 w 13061856"/>
              <a:gd name="connsiteY2429" fmla="*/ 1560499 h 5116136"/>
              <a:gd name="connsiteX2430" fmla="*/ 2612492 w 13061856"/>
              <a:gd name="connsiteY2430" fmla="*/ 1555267 h 5116136"/>
              <a:gd name="connsiteX2431" fmla="*/ 2623377 w 13061856"/>
              <a:gd name="connsiteY2431" fmla="*/ 1532197 h 5116136"/>
              <a:gd name="connsiteX2432" fmla="*/ 2617329 w 13061856"/>
              <a:gd name="connsiteY2432" fmla="*/ 1527441 h 5116136"/>
              <a:gd name="connsiteX2433" fmla="*/ 2405065 w 13061856"/>
              <a:gd name="connsiteY2433" fmla="*/ 1521257 h 5116136"/>
              <a:gd name="connsiteX2434" fmla="*/ 2390551 w 13061856"/>
              <a:gd name="connsiteY2434" fmla="*/ 1526489 h 5116136"/>
              <a:gd name="connsiteX2435" fmla="*/ 2405065 w 13061856"/>
              <a:gd name="connsiteY2435" fmla="*/ 1521257 h 5116136"/>
              <a:gd name="connsiteX2436" fmla="*/ 1690862 w 13061856"/>
              <a:gd name="connsiteY2436" fmla="*/ 1520781 h 5116136"/>
              <a:gd name="connsiteX2437" fmla="*/ 1714449 w 13061856"/>
              <a:gd name="connsiteY2437" fmla="*/ 1538619 h 5116136"/>
              <a:gd name="connsiteX2438" fmla="*/ 1693887 w 13061856"/>
              <a:gd name="connsiteY2438" fmla="*/ 1551461 h 5116136"/>
              <a:gd name="connsiteX2439" fmla="*/ 1684211 w 13061856"/>
              <a:gd name="connsiteY2439" fmla="*/ 1538619 h 5116136"/>
              <a:gd name="connsiteX2440" fmla="*/ 1690862 w 13061856"/>
              <a:gd name="connsiteY2440" fmla="*/ 1520781 h 5116136"/>
              <a:gd name="connsiteX2441" fmla="*/ 2105112 w 13061856"/>
              <a:gd name="connsiteY2441" fmla="*/ 1513646 h 5116136"/>
              <a:gd name="connsiteX2442" fmla="*/ 2106926 w 13061856"/>
              <a:gd name="connsiteY2442" fmla="*/ 1531721 h 5116136"/>
              <a:gd name="connsiteX2443" fmla="*/ 2129302 w 13061856"/>
              <a:gd name="connsiteY2443" fmla="*/ 1519355 h 5116136"/>
              <a:gd name="connsiteX2444" fmla="*/ 2119627 w 13061856"/>
              <a:gd name="connsiteY2444" fmla="*/ 1515073 h 5116136"/>
              <a:gd name="connsiteX2445" fmla="*/ 1574752 w 13061856"/>
              <a:gd name="connsiteY2445" fmla="*/ 1506036 h 5116136"/>
              <a:gd name="connsiteX2446" fmla="*/ 1655788 w 13061856"/>
              <a:gd name="connsiteY2446" fmla="*/ 1519355 h 5116136"/>
              <a:gd name="connsiteX2447" fmla="*/ 1655183 w 13061856"/>
              <a:gd name="connsiteY2447" fmla="*/ 1529819 h 5116136"/>
              <a:gd name="connsiteX2448" fmla="*/ 1609223 w 13061856"/>
              <a:gd name="connsiteY2448" fmla="*/ 1519355 h 5116136"/>
              <a:gd name="connsiteX2449" fmla="*/ 1605594 w 13061856"/>
              <a:gd name="connsiteY2449" fmla="*/ 1538143 h 5116136"/>
              <a:gd name="connsiteX2450" fmla="*/ 1574752 w 13061856"/>
              <a:gd name="connsiteY2450" fmla="*/ 1506036 h 5116136"/>
              <a:gd name="connsiteX2451" fmla="*/ 2314958 w 13061856"/>
              <a:gd name="connsiteY2451" fmla="*/ 1503895 h 5116136"/>
              <a:gd name="connsiteX2452" fmla="*/ 2267788 w 13061856"/>
              <a:gd name="connsiteY2452" fmla="*/ 1531721 h 5116136"/>
              <a:gd name="connsiteX2453" fmla="*/ 2286534 w 13061856"/>
              <a:gd name="connsiteY2453" fmla="*/ 1543375 h 5116136"/>
              <a:gd name="connsiteX2454" fmla="*/ 2309515 w 13061856"/>
              <a:gd name="connsiteY2454" fmla="*/ 1554791 h 5116136"/>
              <a:gd name="connsiteX2455" fmla="*/ 2337334 w 13061856"/>
              <a:gd name="connsiteY2455" fmla="*/ 1531721 h 5116136"/>
              <a:gd name="connsiteX2456" fmla="*/ 2362733 w 13061856"/>
              <a:gd name="connsiteY2456" fmla="*/ 1543851 h 5116136"/>
              <a:gd name="connsiteX2457" fmla="*/ 2366361 w 13061856"/>
              <a:gd name="connsiteY2457" fmla="*/ 1526013 h 5116136"/>
              <a:gd name="connsiteX2458" fmla="*/ 2314958 w 13061856"/>
              <a:gd name="connsiteY2458" fmla="*/ 1503895 h 5116136"/>
              <a:gd name="connsiteX2459" fmla="*/ 1551772 w 13061856"/>
              <a:gd name="connsiteY2459" fmla="*/ 1502230 h 5116136"/>
              <a:gd name="connsiteX2460" fmla="*/ 1522139 w 13061856"/>
              <a:gd name="connsiteY2460" fmla="*/ 1516025 h 5116136"/>
              <a:gd name="connsiteX2461" fmla="*/ 1551772 w 13061856"/>
              <a:gd name="connsiteY2461" fmla="*/ 1502230 h 5116136"/>
              <a:gd name="connsiteX2462" fmla="*/ 2190985 w 13061856"/>
              <a:gd name="connsiteY2462" fmla="*/ 1491290 h 5116136"/>
              <a:gd name="connsiteX2463" fmla="*/ 2167400 w 13061856"/>
              <a:gd name="connsiteY2463" fmla="*/ 1515073 h 5116136"/>
              <a:gd name="connsiteX2464" fmla="*/ 2242389 w 13061856"/>
              <a:gd name="connsiteY2464" fmla="*/ 1509841 h 5116136"/>
              <a:gd name="connsiteX2465" fmla="*/ 2201266 w 13061856"/>
              <a:gd name="connsiteY2465" fmla="*/ 1513646 h 5116136"/>
              <a:gd name="connsiteX2466" fmla="*/ 2190985 w 13061856"/>
              <a:gd name="connsiteY2466" fmla="*/ 1491290 h 5116136"/>
              <a:gd name="connsiteX2467" fmla="*/ 1428405 w 13061856"/>
              <a:gd name="connsiteY2467" fmla="*/ 1486058 h 5116136"/>
              <a:gd name="connsiteX2468" fmla="*/ 1455618 w 13061856"/>
              <a:gd name="connsiteY2468" fmla="*/ 1512695 h 5116136"/>
              <a:gd name="connsiteX2469" fmla="*/ 1404215 w 13061856"/>
              <a:gd name="connsiteY2469" fmla="*/ 1502706 h 5116136"/>
              <a:gd name="connsiteX2470" fmla="*/ 1428405 w 13061856"/>
              <a:gd name="connsiteY2470" fmla="*/ 1486058 h 5116136"/>
              <a:gd name="connsiteX2471" fmla="*/ 2202476 w 13061856"/>
              <a:gd name="connsiteY2471" fmla="*/ 1474404 h 5116136"/>
              <a:gd name="connsiteX2472" fmla="*/ 2186752 w 13061856"/>
              <a:gd name="connsiteY2472" fmla="*/ 1479160 h 5116136"/>
              <a:gd name="connsiteX2473" fmla="*/ 2253878 w 13061856"/>
              <a:gd name="connsiteY2473" fmla="*/ 1480825 h 5116136"/>
              <a:gd name="connsiteX2474" fmla="*/ 2202476 w 13061856"/>
              <a:gd name="connsiteY2474" fmla="*/ 1474404 h 5116136"/>
              <a:gd name="connsiteX2475" fmla="*/ 2105112 w 13061856"/>
              <a:gd name="connsiteY2475" fmla="*/ 1473928 h 5116136"/>
              <a:gd name="connsiteX2476" fmla="*/ 2091808 w 13061856"/>
              <a:gd name="connsiteY2476" fmla="*/ 1496522 h 5116136"/>
              <a:gd name="connsiteX2477" fmla="*/ 2135349 w 13061856"/>
              <a:gd name="connsiteY2477" fmla="*/ 1492242 h 5116136"/>
              <a:gd name="connsiteX2478" fmla="*/ 2125673 w 13061856"/>
              <a:gd name="connsiteY2478" fmla="*/ 1491766 h 5116136"/>
              <a:gd name="connsiteX2479" fmla="*/ 2105112 w 13061856"/>
              <a:gd name="connsiteY2479" fmla="*/ 1473928 h 5116136"/>
              <a:gd name="connsiteX2480" fmla="*/ 1195579 w 13061856"/>
              <a:gd name="connsiteY2480" fmla="*/ 1469646 h 5116136"/>
              <a:gd name="connsiteX2481" fmla="*/ 1178041 w 13061856"/>
              <a:gd name="connsiteY2481" fmla="*/ 1492955 h 5116136"/>
              <a:gd name="connsiteX2482" fmla="*/ 1195579 w 13061856"/>
              <a:gd name="connsiteY2482" fmla="*/ 1469646 h 5116136"/>
              <a:gd name="connsiteX2483" fmla="*/ 2069433 w 13061856"/>
              <a:gd name="connsiteY2483" fmla="*/ 1467268 h 5116136"/>
              <a:gd name="connsiteX2484" fmla="*/ 2059756 w 13061856"/>
              <a:gd name="connsiteY2484" fmla="*/ 1468220 h 5116136"/>
              <a:gd name="connsiteX2485" fmla="*/ 2050685 w 13061856"/>
              <a:gd name="connsiteY2485" fmla="*/ 1508889 h 5116136"/>
              <a:gd name="connsiteX2486" fmla="*/ 2067618 w 13061856"/>
              <a:gd name="connsiteY2486" fmla="*/ 1502706 h 5116136"/>
              <a:gd name="connsiteX2487" fmla="*/ 2083342 w 13061856"/>
              <a:gd name="connsiteY2487" fmla="*/ 1486058 h 5116136"/>
              <a:gd name="connsiteX2488" fmla="*/ 2069433 w 13061856"/>
              <a:gd name="connsiteY2488" fmla="*/ 1467268 h 5116136"/>
              <a:gd name="connsiteX2489" fmla="*/ 1889824 w 13061856"/>
              <a:gd name="connsiteY2489" fmla="*/ 1467268 h 5116136"/>
              <a:gd name="connsiteX2490" fmla="*/ 1860192 w 13061856"/>
              <a:gd name="connsiteY2490" fmla="*/ 1479160 h 5116136"/>
              <a:gd name="connsiteX2491" fmla="*/ 1889824 w 13061856"/>
              <a:gd name="connsiteY2491" fmla="*/ 1467268 h 5116136"/>
              <a:gd name="connsiteX2492" fmla="*/ 1989606 w 13061856"/>
              <a:gd name="connsiteY2492" fmla="*/ 1461085 h 5116136"/>
              <a:gd name="connsiteX2493" fmla="*/ 1978116 w 13061856"/>
              <a:gd name="connsiteY2493" fmla="*/ 1469172 h 5116136"/>
              <a:gd name="connsiteX2494" fmla="*/ 2012586 w 13061856"/>
              <a:gd name="connsiteY2494" fmla="*/ 1503895 h 5116136"/>
              <a:gd name="connsiteX2495" fmla="*/ 1987187 w 13061856"/>
              <a:gd name="connsiteY2495" fmla="*/ 1519355 h 5116136"/>
              <a:gd name="connsiteX2496" fmla="*/ 2026496 w 13061856"/>
              <a:gd name="connsiteY2496" fmla="*/ 1502706 h 5116136"/>
              <a:gd name="connsiteX2497" fmla="*/ 2020448 w 13061856"/>
              <a:gd name="connsiteY2497" fmla="*/ 1526489 h 5116136"/>
              <a:gd name="connsiteX2498" fmla="*/ 2045242 w 13061856"/>
              <a:gd name="connsiteY2498" fmla="*/ 1520781 h 5116136"/>
              <a:gd name="connsiteX2499" fmla="*/ 2050685 w 13061856"/>
              <a:gd name="connsiteY2499" fmla="*/ 1467268 h 5116136"/>
              <a:gd name="connsiteX2500" fmla="*/ 2015006 w 13061856"/>
              <a:gd name="connsiteY2500" fmla="*/ 1497948 h 5116136"/>
              <a:gd name="connsiteX2501" fmla="*/ 2007749 w 13061856"/>
              <a:gd name="connsiteY2501" fmla="*/ 1461560 h 5116136"/>
              <a:gd name="connsiteX2502" fmla="*/ 1989606 w 13061856"/>
              <a:gd name="connsiteY2502" fmla="*/ 1461085 h 5116136"/>
              <a:gd name="connsiteX2503" fmla="*/ 1165341 w 13061856"/>
              <a:gd name="connsiteY2503" fmla="*/ 1426599 h 5116136"/>
              <a:gd name="connsiteX2504" fmla="*/ 1196183 w 13061856"/>
              <a:gd name="connsiteY2504" fmla="*/ 1450620 h 5116136"/>
              <a:gd name="connsiteX2505" fmla="*/ 1172598 w 13061856"/>
              <a:gd name="connsiteY2505" fmla="*/ 1457280 h 5116136"/>
              <a:gd name="connsiteX2506" fmla="*/ 1165341 w 13061856"/>
              <a:gd name="connsiteY2506" fmla="*/ 1426599 h 5116136"/>
              <a:gd name="connsiteX2507" fmla="*/ 12383932 w 13061856"/>
              <a:gd name="connsiteY2507" fmla="*/ 1411377 h 5116136"/>
              <a:gd name="connsiteX2508" fmla="*/ 12363977 w 13061856"/>
              <a:gd name="connsiteY2508" fmla="*/ 1433972 h 5116136"/>
              <a:gd name="connsiteX2509" fmla="*/ 12383932 w 13061856"/>
              <a:gd name="connsiteY2509" fmla="*/ 1411377 h 5116136"/>
              <a:gd name="connsiteX2510" fmla="*/ 1638250 w 13061856"/>
              <a:gd name="connsiteY2510" fmla="*/ 1410427 h 5116136"/>
              <a:gd name="connsiteX2511" fmla="*/ 1608618 w 13061856"/>
              <a:gd name="connsiteY2511" fmla="*/ 1421367 h 5116136"/>
              <a:gd name="connsiteX2512" fmla="*/ 1638250 w 13061856"/>
              <a:gd name="connsiteY2512" fmla="*/ 1410427 h 5116136"/>
              <a:gd name="connsiteX2513" fmla="*/ 12223071 w 13061856"/>
              <a:gd name="connsiteY2513" fmla="*/ 1395205 h 5116136"/>
              <a:gd name="connsiteX2514" fmla="*/ 12228514 w 13061856"/>
              <a:gd name="connsiteY2514" fmla="*/ 1429453 h 5116136"/>
              <a:gd name="connsiteX2515" fmla="*/ 12139616 w 13061856"/>
              <a:gd name="connsiteY2515" fmla="*/ 1423745 h 5116136"/>
              <a:gd name="connsiteX2516" fmla="*/ 12223071 w 13061856"/>
              <a:gd name="connsiteY2516" fmla="*/ 1395205 h 5116136"/>
              <a:gd name="connsiteX2517" fmla="*/ 12467993 w 13061856"/>
              <a:gd name="connsiteY2517" fmla="*/ 1394015 h 5116136"/>
              <a:gd name="connsiteX2518" fmla="*/ 12497624 w 13061856"/>
              <a:gd name="connsiteY2518" fmla="*/ 1402816 h 5116136"/>
              <a:gd name="connsiteX2519" fmla="*/ 12460735 w 13061856"/>
              <a:gd name="connsiteY2519" fmla="*/ 1402816 h 5116136"/>
              <a:gd name="connsiteX2520" fmla="*/ 12467993 w 13061856"/>
              <a:gd name="connsiteY2520" fmla="*/ 1394015 h 5116136"/>
              <a:gd name="connsiteX2521" fmla="*/ 12513348 w 13061856"/>
              <a:gd name="connsiteY2521" fmla="*/ 1391637 h 5116136"/>
              <a:gd name="connsiteX2522" fmla="*/ 12518790 w 13061856"/>
              <a:gd name="connsiteY2522" fmla="*/ 1435161 h 5116136"/>
              <a:gd name="connsiteX2523" fmla="*/ 12513348 w 13061856"/>
              <a:gd name="connsiteY2523" fmla="*/ 1391637 h 5116136"/>
              <a:gd name="connsiteX2524" fmla="*/ 1551772 w 13061856"/>
              <a:gd name="connsiteY2524" fmla="*/ 1387357 h 5116136"/>
              <a:gd name="connsiteX2525" fmla="*/ 1518511 w 13061856"/>
              <a:gd name="connsiteY2525" fmla="*/ 1404005 h 5116136"/>
              <a:gd name="connsiteX2526" fmla="*/ 1586242 w 13061856"/>
              <a:gd name="connsiteY2526" fmla="*/ 1397583 h 5116136"/>
              <a:gd name="connsiteX2527" fmla="*/ 1551772 w 13061856"/>
              <a:gd name="connsiteY2527" fmla="*/ 1387357 h 5116136"/>
              <a:gd name="connsiteX2528" fmla="*/ 2407483 w 13061856"/>
              <a:gd name="connsiteY2528" fmla="*/ 1383075 h 5116136"/>
              <a:gd name="connsiteX2529" fmla="*/ 2400832 w 13061856"/>
              <a:gd name="connsiteY2529" fmla="*/ 1385929 h 5116136"/>
              <a:gd name="connsiteX2530" fmla="*/ 2423207 w 13061856"/>
              <a:gd name="connsiteY2530" fmla="*/ 1409713 h 5116136"/>
              <a:gd name="connsiteX2531" fmla="*/ 2407483 w 13061856"/>
              <a:gd name="connsiteY2531" fmla="*/ 1383075 h 5116136"/>
              <a:gd name="connsiteX2532" fmla="*/ 2441955 w 13061856"/>
              <a:gd name="connsiteY2532" fmla="*/ 1382124 h 5116136"/>
              <a:gd name="connsiteX2533" fmla="*/ 2443164 w 13061856"/>
              <a:gd name="connsiteY2533" fmla="*/ 1409713 h 5116136"/>
              <a:gd name="connsiteX2534" fmla="*/ 2461910 w 13061856"/>
              <a:gd name="connsiteY2534" fmla="*/ 1411377 h 5116136"/>
              <a:gd name="connsiteX2535" fmla="*/ 2441955 w 13061856"/>
              <a:gd name="connsiteY2535" fmla="*/ 1382124 h 5116136"/>
              <a:gd name="connsiteX2536" fmla="*/ 2560484 w 13061856"/>
              <a:gd name="connsiteY2536" fmla="*/ 1364048 h 5116136"/>
              <a:gd name="connsiteX2537" fmla="*/ 2567136 w 13061856"/>
              <a:gd name="connsiteY2537" fmla="*/ 1380697 h 5116136"/>
              <a:gd name="connsiteX2538" fmla="*/ 2584069 w 13061856"/>
              <a:gd name="connsiteY2538" fmla="*/ 1370232 h 5116136"/>
              <a:gd name="connsiteX2539" fmla="*/ 2560484 w 13061856"/>
              <a:gd name="connsiteY2539" fmla="*/ 1364048 h 5116136"/>
              <a:gd name="connsiteX2540" fmla="*/ 2510290 w 13061856"/>
              <a:gd name="connsiteY2540" fmla="*/ 1364048 h 5116136"/>
              <a:gd name="connsiteX2541" fmla="*/ 2510290 w 13061856"/>
              <a:gd name="connsiteY2541" fmla="*/ 1405670 h 5116136"/>
              <a:gd name="connsiteX2542" fmla="*/ 2534479 w 13061856"/>
              <a:gd name="connsiteY2542" fmla="*/ 1405670 h 5116136"/>
              <a:gd name="connsiteX2543" fmla="*/ 2543551 w 13061856"/>
              <a:gd name="connsiteY2543" fmla="*/ 1370232 h 5116136"/>
              <a:gd name="connsiteX2544" fmla="*/ 2510290 w 13061856"/>
              <a:gd name="connsiteY2544" fmla="*/ 1364048 h 5116136"/>
              <a:gd name="connsiteX2545" fmla="*/ 2316773 w 13061856"/>
              <a:gd name="connsiteY2545" fmla="*/ 1359292 h 5116136"/>
              <a:gd name="connsiteX2546" fmla="*/ 2371199 w 13061856"/>
              <a:gd name="connsiteY2546" fmla="*/ 1365952 h 5116136"/>
              <a:gd name="connsiteX2547" fmla="*/ 2304677 w 13061856"/>
              <a:gd name="connsiteY2547" fmla="*/ 1395205 h 5116136"/>
              <a:gd name="connsiteX2548" fmla="*/ 2316773 w 13061856"/>
              <a:gd name="connsiteY2548" fmla="*/ 1359292 h 5116136"/>
              <a:gd name="connsiteX2549" fmla="*/ 11936423 w 13061856"/>
              <a:gd name="connsiteY2549" fmla="*/ 1358340 h 5116136"/>
              <a:gd name="connsiteX2550" fmla="*/ 11930375 w 13061856"/>
              <a:gd name="connsiteY2550" fmla="*/ 1375465 h 5116136"/>
              <a:gd name="connsiteX2551" fmla="*/ 11904977 w 13061856"/>
              <a:gd name="connsiteY2551" fmla="*/ 1363574 h 5116136"/>
              <a:gd name="connsiteX2552" fmla="*/ 11925538 w 13061856"/>
              <a:gd name="connsiteY2552" fmla="*/ 1383075 h 5116136"/>
              <a:gd name="connsiteX2553" fmla="*/ 11959403 w 13061856"/>
              <a:gd name="connsiteY2553" fmla="*/ 1369757 h 5116136"/>
              <a:gd name="connsiteX2554" fmla="*/ 11936423 w 13061856"/>
              <a:gd name="connsiteY2554" fmla="*/ 1358340 h 5116136"/>
              <a:gd name="connsiteX2555" fmla="*/ 1461666 w 13061856"/>
              <a:gd name="connsiteY2555" fmla="*/ 1351443 h 5116136"/>
              <a:gd name="connsiteX2556" fmla="*/ 1451990 w 13061856"/>
              <a:gd name="connsiteY2556" fmla="*/ 1352395 h 5116136"/>
              <a:gd name="connsiteX2557" fmla="*/ 1447756 w 13061856"/>
              <a:gd name="connsiteY2557" fmla="*/ 1380221 h 5116136"/>
              <a:gd name="connsiteX2558" fmla="*/ 1465899 w 13061856"/>
              <a:gd name="connsiteY2558" fmla="*/ 1357627 h 5116136"/>
              <a:gd name="connsiteX2559" fmla="*/ 1461666 w 13061856"/>
              <a:gd name="connsiteY2559" fmla="*/ 1351443 h 5116136"/>
              <a:gd name="connsiteX2560" fmla="*/ 11396387 w 13061856"/>
              <a:gd name="connsiteY2560" fmla="*/ 1335270 h 5116136"/>
              <a:gd name="connsiteX2561" fmla="*/ 11372197 w 13061856"/>
              <a:gd name="connsiteY2561" fmla="*/ 1349541 h 5116136"/>
              <a:gd name="connsiteX2562" fmla="*/ 11370987 w 13061856"/>
              <a:gd name="connsiteY2562" fmla="*/ 1366902 h 5116136"/>
              <a:gd name="connsiteX2563" fmla="*/ 11400620 w 13061856"/>
              <a:gd name="connsiteY2563" fmla="*/ 1397583 h 5116136"/>
              <a:gd name="connsiteX2564" fmla="*/ 11401225 w 13061856"/>
              <a:gd name="connsiteY2564" fmla="*/ 1385453 h 5116136"/>
              <a:gd name="connsiteX2565" fmla="*/ 11406668 w 13061856"/>
              <a:gd name="connsiteY2565" fmla="*/ 1380221 h 5116136"/>
              <a:gd name="connsiteX2566" fmla="*/ 11396387 w 13061856"/>
              <a:gd name="connsiteY2566" fmla="*/ 1335270 h 5116136"/>
              <a:gd name="connsiteX2567" fmla="*/ 1017784 w 13061856"/>
              <a:gd name="connsiteY2567" fmla="*/ 1326471 h 5116136"/>
              <a:gd name="connsiteX2568" fmla="*/ 1034113 w 13061856"/>
              <a:gd name="connsiteY2568" fmla="*/ 1327184 h 5116136"/>
              <a:gd name="connsiteX2569" fmla="*/ 1044392 w 13061856"/>
              <a:gd name="connsiteY2569" fmla="*/ 1373086 h 5116136"/>
              <a:gd name="connsiteX2570" fmla="*/ 999641 w 13061856"/>
              <a:gd name="connsiteY2570" fmla="*/ 1343833 h 5116136"/>
              <a:gd name="connsiteX2571" fmla="*/ 1007504 w 13061856"/>
              <a:gd name="connsiteY2571" fmla="*/ 1338600 h 5116136"/>
              <a:gd name="connsiteX2572" fmla="*/ 1007504 w 13061856"/>
              <a:gd name="connsiteY2572" fmla="*/ 1332892 h 5116136"/>
              <a:gd name="connsiteX2573" fmla="*/ 1017784 w 13061856"/>
              <a:gd name="connsiteY2573" fmla="*/ 1326471 h 5116136"/>
              <a:gd name="connsiteX2574" fmla="*/ 2011981 w 13061856"/>
              <a:gd name="connsiteY2574" fmla="*/ 1322904 h 5116136"/>
              <a:gd name="connsiteX2575" fmla="*/ 1985374 w 13061856"/>
              <a:gd name="connsiteY2575" fmla="*/ 1349541 h 5116136"/>
              <a:gd name="connsiteX2576" fmla="*/ 2011981 w 13061856"/>
              <a:gd name="connsiteY2576" fmla="*/ 1322904 h 5116136"/>
              <a:gd name="connsiteX2577" fmla="*/ 1494322 w 13061856"/>
              <a:gd name="connsiteY2577" fmla="*/ 1319098 h 5116136"/>
              <a:gd name="connsiteX2578" fmla="*/ 1495531 w 13061856"/>
              <a:gd name="connsiteY2578" fmla="*/ 1336698 h 5116136"/>
              <a:gd name="connsiteX2579" fmla="*/ 1488879 w 13061856"/>
              <a:gd name="connsiteY2579" fmla="*/ 1324330 h 5116136"/>
              <a:gd name="connsiteX2580" fmla="*/ 1485250 w 13061856"/>
              <a:gd name="connsiteY2580" fmla="*/ 1336222 h 5116136"/>
              <a:gd name="connsiteX2581" fmla="*/ 1465899 w 13061856"/>
              <a:gd name="connsiteY2581" fmla="*/ 1330514 h 5116136"/>
              <a:gd name="connsiteX2582" fmla="*/ 1494322 w 13061856"/>
              <a:gd name="connsiteY2582" fmla="*/ 1319098 h 5116136"/>
              <a:gd name="connsiteX2583" fmla="*/ 1527583 w 13061856"/>
              <a:gd name="connsiteY2583" fmla="*/ 1316006 h 5116136"/>
              <a:gd name="connsiteX2584" fmla="*/ 1534234 w 13061856"/>
              <a:gd name="connsiteY2584" fmla="*/ 1345498 h 5116136"/>
              <a:gd name="connsiteX2585" fmla="*/ 1526373 w 13061856"/>
              <a:gd name="connsiteY2585" fmla="*/ 1334796 h 5116136"/>
              <a:gd name="connsiteX2586" fmla="*/ 1510649 w 13061856"/>
              <a:gd name="connsiteY2586" fmla="*/ 1327184 h 5116136"/>
              <a:gd name="connsiteX2587" fmla="*/ 1527583 w 13061856"/>
              <a:gd name="connsiteY2587" fmla="*/ 1316006 h 5116136"/>
              <a:gd name="connsiteX2588" fmla="*/ 1939913 w 13061856"/>
              <a:gd name="connsiteY2588" fmla="*/ 1315646 h 5116136"/>
              <a:gd name="connsiteX2589" fmla="*/ 1947879 w 13061856"/>
              <a:gd name="connsiteY2589" fmla="*/ 1316006 h 5116136"/>
              <a:gd name="connsiteX2590" fmla="*/ 1938807 w 13061856"/>
              <a:gd name="connsiteY2590" fmla="*/ 1327184 h 5116136"/>
              <a:gd name="connsiteX2591" fmla="*/ 1939913 w 13061856"/>
              <a:gd name="connsiteY2591" fmla="*/ 1315646 h 5116136"/>
              <a:gd name="connsiteX2592" fmla="*/ 11921909 w 13061856"/>
              <a:gd name="connsiteY2592" fmla="*/ 1315531 h 5116136"/>
              <a:gd name="connsiteX2593" fmla="*/ 11900743 w 13061856"/>
              <a:gd name="connsiteY2593" fmla="*/ 1345022 h 5116136"/>
              <a:gd name="connsiteX2594" fmla="*/ 11925538 w 13061856"/>
              <a:gd name="connsiteY2594" fmla="*/ 1339076 h 5116136"/>
              <a:gd name="connsiteX2595" fmla="*/ 11911628 w 13061856"/>
              <a:gd name="connsiteY2595" fmla="*/ 1328136 h 5116136"/>
              <a:gd name="connsiteX2596" fmla="*/ 11921909 w 13061856"/>
              <a:gd name="connsiteY2596" fmla="*/ 1315531 h 5116136"/>
              <a:gd name="connsiteX2597" fmla="*/ 1948483 w 13061856"/>
              <a:gd name="connsiteY2597" fmla="*/ 1315531 h 5116136"/>
              <a:gd name="connsiteX2598" fmla="*/ 1949693 w 13061856"/>
              <a:gd name="connsiteY2598" fmla="*/ 1316006 h 5116136"/>
              <a:gd name="connsiteX2599" fmla="*/ 1947879 w 13061856"/>
              <a:gd name="connsiteY2599" fmla="*/ 1316006 h 5116136"/>
              <a:gd name="connsiteX2600" fmla="*/ 1948483 w 13061856"/>
              <a:gd name="connsiteY2600" fmla="*/ 1315531 h 5116136"/>
              <a:gd name="connsiteX2601" fmla="*/ 1903128 w 13061856"/>
              <a:gd name="connsiteY2601" fmla="*/ 1312676 h 5116136"/>
              <a:gd name="connsiteX2602" fmla="*/ 1920060 w 13061856"/>
              <a:gd name="connsiteY2602" fmla="*/ 1320525 h 5116136"/>
              <a:gd name="connsiteX2603" fmla="*/ 1889824 w 13061856"/>
              <a:gd name="connsiteY2603" fmla="*/ 1329564 h 5116136"/>
              <a:gd name="connsiteX2604" fmla="*/ 1903128 w 13061856"/>
              <a:gd name="connsiteY2604" fmla="*/ 1312676 h 5116136"/>
              <a:gd name="connsiteX2605" fmla="*/ 2075479 w 13061856"/>
              <a:gd name="connsiteY2605" fmla="*/ 1311963 h 5116136"/>
              <a:gd name="connsiteX2606" fmla="*/ 2090598 w 13061856"/>
              <a:gd name="connsiteY2606" fmla="*/ 1332892 h 5116136"/>
              <a:gd name="connsiteX2607" fmla="*/ 2087575 w 13061856"/>
              <a:gd name="connsiteY2607" fmla="*/ 1343833 h 5116136"/>
              <a:gd name="connsiteX2608" fmla="*/ 2079108 w 13061856"/>
              <a:gd name="connsiteY2608" fmla="*/ 1345022 h 5116136"/>
              <a:gd name="connsiteX2609" fmla="*/ 2083342 w 13061856"/>
              <a:gd name="connsiteY2609" fmla="*/ 1339789 h 5116136"/>
              <a:gd name="connsiteX2610" fmla="*/ 2068223 w 13061856"/>
              <a:gd name="connsiteY2610" fmla="*/ 1327184 h 5116136"/>
              <a:gd name="connsiteX2611" fmla="*/ 2068828 w 13061856"/>
              <a:gd name="connsiteY2611" fmla="*/ 1317671 h 5116136"/>
              <a:gd name="connsiteX2612" fmla="*/ 2075479 w 13061856"/>
              <a:gd name="connsiteY2612" fmla="*/ 1311963 h 5116136"/>
              <a:gd name="connsiteX2613" fmla="*/ 2311330 w 13061856"/>
              <a:gd name="connsiteY2613" fmla="*/ 1310774 h 5116136"/>
              <a:gd name="connsiteX2614" fmla="*/ 2292583 w 13061856"/>
              <a:gd name="connsiteY2614" fmla="*/ 1311487 h 5116136"/>
              <a:gd name="connsiteX2615" fmla="*/ 2311330 w 13061856"/>
              <a:gd name="connsiteY2615" fmla="*/ 1310774 h 5116136"/>
              <a:gd name="connsiteX2616" fmla="*/ 2337938 w 13061856"/>
              <a:gd name="connsiteY2616" fmla="*/ 1305066 h 5116136"/>
              <a:gd name="connsiteX2617" fmla="*/ 2330077 w 13061856"/>
              <a:gd name="connsiteY2617" fmla="*/ 1316719 h 5116136"/>
              <a:gd name="connsiteX2618" fmla="*/ 2357290 w 13061856"/>
              <a:gd name="connsiteY2618" fmla="*/ 1305066 h 5116136"/>
              <a:gd name="connsiteX2619" fmla="*/ 2337938 w 13061856"/>
              <a:gd name="connsiteY2619" fmla="*/ 1305066 h 5116136"/>
              <a:gd name="connsiteX2620" fmla="*/ 11945493 w 13061856"/>
              <a:gd name="connsiteY2620" fmla="*/ 1298882 h 5116136"/>
              <a:gd name="connsiteX2621" fmla="*/ 11936423 w 13061856"/>
              <a:gd name="connsiteY2621" fmla="*/ 1308633 h 5116136"/>
              <a:gd name="connsiteX2622" fmla="*/ 11966659 w 13061856"/>
              <a:gd name="connsiteY2622" fmla="*/ 1332892 h 5116136"/>
              <a:gd name="connsiteX2623" fmla="*/ 11945493 w 13061856"/>
              <a:gd name="connsiteY2623" fmla="*/ 1298882 h 5116136"/>
              <a:gd name="connsiteX2624" fmla="*/ 1103657 w 13061856"/>
              <a:gd name="connsiteY2624" fmla="*/ 1297456 h 5116136"/>
              <a:gd name="connsiteX2625" fmla="*/ 1119985 w 13061856"/>
              <a:gd name="connsiteY2625" fmla="*/ 1307920 h 5116136"/>
              <a:gd name="connsiteX2626" fmla="*/ 1170178 w 13061856"/>
              <a:gd name="connsiteY2626" fmla="*/ 1303401 h 5116136"/>
              <a:gd name="connsiteX2627" fmla="*/ 1153246 w 13061856"/>
              <a:gd name="connsiteY2627" fmla="*/ 1334796 h 5116136"/>
              <a:gd name="connsiteX2628" fmla="*/ 1116357 w 13061856"/>
              <a:gd name="connsiteY2628" fmla="*/ 1335270 h 5116136"/>
              <a:gd name="connsiteX2629" fmla="*/ 1103657 w 13061856"/>
              <a:gd name="connsiteY2629" fmla="*/ 1297456 h 5116136"/>
              <a:gd name="connsiteX2630" fmla="*/ 1958764 w 13061856"/>
              <a:gd name="connsiteY2630" fmla="*/ 1293650 h 5116136"/>
              <a:gd name="connsiteX2631" fmla="*/ 1948483 w 13061856"/>
              <a:gd name="connsiteY2631" fmla="*/ 1315531 h 5116136"/>
              <a:gd name="connsiteX2632" fmla="*/ 1929131 w 13061856"/>
              <a:gd name="connsiteY2632" fmla="*/ 1310774 h 5116136"/>
              <a:gd name="connsiteX2633" fmla="*/ 1958764 w 13061856"/>
              <a:gd name="connsiteY2633" fmla="*/ 1293650 h 5116136"/>
              <a:gd name="connsiteX2634" fmla="*/ 11843897 w 13061856"/>
              <a:gd name="connsiteY2634" fmla="*/ 1291271 h 5116136"/>
              <a:gd name="connsiteX2635" fmla="*/ 11811241 w 13061856"/>
              <a:gd name="connsiteY2635" fmla="*/ 1313866 h 5116136"/>
              <a:gd name="connsiteX2636" fmla="*/ 11843897 w 13061856"/>
              <a:gd name="connsiteY2636" fmla="*/ 1291271 h 5116136"/>
              <a:gd name="connsiteX2637" fmla="*/ 1832977 w 13061856"/>
              <a:gd name="connsiteY2637" fmla="*/ 1286991 h 5116136"/>
              <a:gd name="connsiteX2638" fmla="*/ 1809393 w 13061856"/>
              <a:gd name="connsiteY2638" fmla="*/ 1309822 h 5116136"/>
              <a:gd name="connsiteX2639" fmla="*/ 1832977 w 13061856"/>
              <a:gd name="connsiteY2639" fmla="*/ 1286991 h 5116136"/>
              <a:gd name="connsiteX2640" fmla="*/ 1170178 w 13061856"/>
              <a:gd name="connsiteY2640" fmla="*/ 1286991 h 5116136"/>
              <a:gd name="connsiteX2641" fmla="*/ 1231258 w 13061856"/>
              <a:gd name="connsiteY2641" fmla="*/ 1292223 h 5116136"/>
              <a:gd name="connsiteX2642" fmla="*/ 1213721 w 13061856"/>
              <a:gd name="connsiteY2642" fmla="*/ 1310774 h 5116136"/>
              <a:gd name="connsiteX2643" fmla="*/ 1222186 w 13061856"/>
              <a:gd name="connsiteY2643" fmla="*/ 1321239 h 5116136"/>
              <a:gd name="connsiteX2644" fmla="*/ 1262704 w 13061856"/>
              <a:gd name="connsiteY2644" fmla="*/ 1314817 h 5116136"/>
              <a:gd name="connsiteX2645" fmla="*/ 1282057 w 13061856"/>
              <a:gd name="connsiteY2645" fmla="*/ 1293174 h 5116136"/>
              <a:gd name="connsiteX2646" fmla="*/ 1253634 w 13061856"/>
              <a:gd name="connsiteY2646" fmla="*/ 1337650 h 5116136"/>
              <a:gd name="connsiteX2647" fmla="*/ 1240934 w 13061856"/>
              <a:gd name="connsiteY2647" fmla="*/ 1314817 h 5116136"/>
              <a:gd name="connsiteX2648" fmla="*/ 1235491 w 13061856"/>
              <a:gd name="connsiteY2648" fmla="*/ 1338124 h 5116136"/>
              <a:gd name="connsiteX2649" fmla="*/ 1204045 w 13061856"/>
              <a:gd name="connsiteY2649" fmla="*/ 1349065 h 5116136"/>
              <a:gd name="connsiteX2650" fmla="*/ 1170178 w 13061856"/>
              <a:gd name="connsiteY2650" fmla="*/ 1338124 h 5116136"/>
              <a:gd name="connsiteX2651" fmla="*/ 1170178 w 13061856"/>
              <a:gd name="connsiteY2651" fmla="*/ 1286991 h 5116136"/>
              <a:gd name="connsiteX2652" fmla="*/ 2151678 w 13061856"/>
              <a:gd name="connsiteY2652" fmla="*/ 1271056 h 5116136"/>
              <a:gd name="connsiteX2653" fmla="*/ 2140791 w 13061856"/>
              <a:gd name="connsiteY2653" fmla="*/ 1276764 h 5116136"/>
              <a:gd name="connsiteX2654" fmla="*/ 2139583 w 13061856"/>
              <a:gd name="connsiteY2654" fmla="*/ 1294126 h 5116136"/>
              <a:gd name="connsiteX2655" fmla="*/ 2163168 w 13061856"/>
              <a:gd name="connsiteY2655" fmla="*/ 1300547 h 5116136"/>
              <a:gd name="connsiteX2656" fmla="*/ 2151678 w 13061856"/>
              <a:gd name="connsiteY2656" fmla="*/ 1271056 h 5116136"/>
              <a:gd name="connsiteX2657" fmla="*/ 11348612 w 13061856"/>
              <a:gd name="connsiteY2657" fmla="*/ 1262256 h 5116136"/>
              <a:gd name="connsiteX2658" fmla="*/ 11342565 w 13061856"/>
              <a:gd name="connsiteY2658" fmla="*/ 1286991 h 5116136"/>
              <a:gd name="connsiteX2659" fmla="*/ 11368569 w 13061856"/>
              <a:gd name="connsiteY2659" fmla="*/ 1293650 h 5116136"/>
              <a:gd name="connsiteX2660" fmla="*/ 11348612 w 13061856"/>
              <a:gd name="connsiteY2660" fmla="*/ 1262256 h 5116136"/>
              <a:gd name="connsiteX2661" fmla="*/ 11878972 w 13061856"/>
              <a:gd name="connsiteY2661" fmla="*/ 1259878 h 5116136"/>
              <a:gd name="connsiteX2662" fmla="*/ 11872320 w 13061856"/>
              <a:gd name="connsiteY2662" fmla="*/ 1265110 h 5116136"/>
              <a:gd name="connsiteX2663" fmla="*/ 11900138 w 13061856"/>
              <a:gd name="connsiteY2663" fmla="*/ 1277953 h 5116136"/>
              <a:gd name="connsiteX2664" fmla="*/ 11889857 w 13061856"/>
              <a:gd name="connsiteY2664" fmla="*/ 1260115 h 5116136"/>
              <a:gd name="connsiteX2665" fmla="*/ 11878972 w 13061856"/>
              <a:gd name="connsiteY2665" fmla="*/ 1259878 h 5116136"/>
              <a:gd name="connsiteX2666" fmla="*/ 11401225 w 13061856"/>
              <a:gd name="connsiteY2666" fmla="*/ 1235143 h 5116136"/>
              <a:gd name="connsiteX2667" fmla="*/ 11420577 w 13061856"/>
              <a:gd name="connsiteY2667" fmla="*/ 1255835 h 5116136"/>
              <a:gd name="connsiteX2668" fmla="*/ 11390944 w 13061856"/>
              <a:gd name="connsiteY2668" fmla="*/ 1255835 h 5116136"/>
              <a:gd name="connsiteX2669" fmla="*/ 11401225 w 13061856"/>
              <a:gd name="connsiteY2669" fmla="*/ 1235143 h 5116136"/>
              <a:gd name="connsiteX2670" fmla="*/ 1771209 w 13061856"/>
              <a:gd name="connsiteY2670" fmla="*/ 1232658 h 5116136"/>
              <a:gd name="connsiteX2671" fmla="*/ 1798508 w 13061856"/>
              <a:gd name="connsiteY2671" fmla="*/ 1247273 h 5116136"/>
              <a:gd name="connsiteX2672" fmla="*/ 1761013 w 13061856"/>
              <a:gd name="connsiteY2672" fmla="*/ 1242040 h 5116136"/>
              <a:gd name="connsiteX2673" fmla="*/ 1771209 w 13061856"/>
              <a:gd name="connsiteY2673" fmla="*/ 1232658 h 5116136"/>
              <a:gd name="connsiteX2674" fmla="*/ 2343986 w 13061856"/>
              <a:gd name="connsiteY2674" fmla="*/ 1231576 h 5116136"/>
              <a:gd name="connsiteX2675" fmla="*/ 2325238 w 13061856"/>
              <a:gd name="connsiteY2675" fmla="*/ 1246797 h 5116136"/>
              <a:gd name="connsiteX2676" fmla="*/ 2367571 w 13061856"/>
              <a:gd name="connsiteY2676" fmla="*/ 1241089 h 5116136"/>
              <a:gd name="connsiteX2677" fmla="*/ 2359105 w 13061856"/>
              <a:gd name="connsiteY2677" fmla="*/ 1238711 h 5116136"/>
              <a:gd name="connsiteX2678" fmla="*/ 2359709 w 13061856"/>
              <a:gd name="connsiteY2678" fmla="*/ 1233478 h 5116136"/>
              <a:gd name="connsiteX2679" fmla="*/ 2343986 w 13061856"/>
              <a:gd name="connsiteY2679" fmla="*/ 1231576 h 5116136"/>
              <a:gd name="connsiteX2680" fmla="*/ 11475608 w 13061856"/>
              <a:gd name="connsiteY2680" fmla="*/ 1225392 h 5116136"/>
              <a:gd name="connsiteX2681" fmla="*/ 11484075 w 13061856"/>
              <a:gd name="connsiteY2681" fmla="*/ 1238711 h 5116136"/>
              <a:gd name="connsiteX2682" fmla="*/ 11470771 w 13061856"/>
              <a:gd name="connsiteY2682" fmla="*/ 1271532 h 5116136"/>
              <a:gd name="connsiteX2683" fmla="*/ 11455651 w 13061856"/>
              <a:gd name="connsiteY2683" fmla="*/ 1238711 h 5116136"/>
              <a:gd name="connsiteX2684" fmla="*/ 11475608 w 13061856"/>
              <a:gd name="connsiteY2684" fmla="*/ 1225392 h 5116136"/>
              <a:gd name="connsiteX2685" fmla="*/ 12025925 w 13061856"/>
              <a:gd name="connsiteY2685" fmla="*/ 1221825 h 5116136"/>
              <a:gd name="connsiteX2686" fmla="*/ 12045881 w 13061856"/>
              <a:gd name="connsiteY2686" fmla="*/ 1242040 h 5116136"/>
              <a:gd name="connsiteX2687" fmla="*/ 12001735 w 13061856"/>
              <a:gd name="connsiteY2687" fmla="*/ 1235856 h 5116136"/>
              <a:gd name="connsiteX2688" fmla="*/ 12025925 w 13061856"/>
              <a:gd name="connsiteY2688" fmla="*/ 1221825 h 5116136"/>
              <a:gd name="connsiteX2689" fmla="*/ 11733229 w 13061856"/>
              <a:gd name="connsiteY2689" fmla="*/ 1221111 h 5116136"/>
              <a:gd name="connsiteX2690" fmla="*/ 11728996 w 13061856"/>
              <a:gd name="connsiteY2690" fmla="*/ 1244895 h 5116136"/>
              <a:gd name="connsiteX2691" fmla="*/ 11744114 w 13061856"/>
              <a:gd name="connsiteY2691" fmla="*/ 1221349 h 5116136"/>
              <a:gd name="connsiteX2692" fmla="*/ 11733229 w 13061856"/>
              <a:gd name="connsiteY2692" fmla="*/ 1221111 h 5116136"/>
              <a:gd name="connsiteX2693" fmla="*/ 2293187 w 13061856"/>
              <a:gd name="connsiteY2693" fmla="*/ 1218495 h 5116136"/>
              <a:gd name="connsiteX2694" fmla="*/ 2287140 w 13061856"/>
              <a:gd name="connsiteY2694" fmla="*/ 1235856 h 5116136"/>
              <a:gd name="connsiteX2695" fmla="*/ 2259321 w 13061856"/>
              <a:gd name="connsiteY2695" fmla="*/ 1231100 h 5116136"/>
              <a:gd name="connsiteX2696" fmla="*/ 2297421 w 13061856"/>
              <a:gd name="connsiteY2696" fmla="*/ 1270343 h 5116136"/>
              <a:gd name="connsiteX2697" fmla="*/ 2253274 w 13061856"/>
              <a:gd name="connsiteY2697" fmla="*/ 1236808 h 5116136"/>
              <a:gd name="connsiteX2698" fmla="*/ 2177076 w 13061856"/>
              <a:gd name="connsiteY2698" fmla="*/ 1269867 h 5116136"/>
              <a:gd name="connsiteX2699" fmla="*/ 2206105 w 13061856"/>
              <a:gd name="connsiteY2699" fmla="*/ 1311963 h 5116136"/>
              <a:gd name="connsiteX2700" fmla="*/ 2281093 w 13061856"/>
              <a:gd name="connsiteY2700" fmla="*/ 1334796 h 5116136"/>
              <a:gd name="connsiteX2701" fmla="*/ 2234527 w 13061856"/>
              <a:gd name="connsiteY2701" fmla="*/ 1312676 h 5116136"/>
              <a:gd name="connsiteX2702" fmla="*/ 2252669 w 13061856"/>
              <a:gd name="connsiteY2702" fmla="*/ 1333844 h 5116136"/>
              <a:gd name="connsiteX2703" fmla="*/ 2206105 w 13061856"/>
              <a:gd name="connsiteY2703" fmla="*/ 1351919 h 5116136"/>
              <a:gd name="connsiteX2704" fmla="*/ 2190985 w 13061856"/>
              <a:gd name="connsiteY2704" fmla="*/ 1316719 h 5116136"/>
              <a:gd name="connsiteX2705" fmla="*/ 2155306 w 13061856"/>
              <a:gd name="connsiteY2705" fmla="*/ 1357151 h 5116136"/>
              <a:gd name="connsiteX2706" fmla="*/ 2158329 w 13061856"/>
              <a:gd name="connsiteY2706" fmla="*/ 1393065 h 5116136"/>
              <a:gd name="connsiteX2707" fmla="*/ 2138372 w 13061856"/>
              <a:gd name="connsiteY2707" fmla="*/ 1393540 h 5116136"/>
              <a:gd name="connsiteX2708" fmla="*/ 2140188 w 13061856"/>
              <a:gd name="connsiteY2708" fmla="*/ 1409713 h 5116136"/>
              <a:gd name="connsiteX2709" fmla="*/ 2169215 w 13061856"/>
              <a:gd name="connsiteY2709" fmla="*/ 1404005 h 5116136"/>
              <a:gd name="connsiteX2710" fmla="*/ 2178286 w 13061856"/>
              <a:gd name="connsiteY2710" fmla="*/ 1369281 h 5116136"/>
              <a:gd name="connsiteX2711" fmla="*/ 2171634 w 13061856"/>
              <a:gd name="connsiteY2711" fmla="*/ 1404480 h 5116136"/>
              <a:gd name="connsiteX2712" fmla="*/ 2195219 w 13061856"/>
              <a:gd name="connsiteY2712" fmla="*/ 1410427 h 5116136"/>
              <a:gd name="connsiteX2713" fmla="*/ 2182519 w 13061856"/>
              <a:gd name="connsiteY2713" fmla="*/ 1387357 h 5116136"/>
              <a:gd name="connsiteX2714" fmla="*/ 2206105 w 13061856"/>
              <a:gd name="connsiteY2714" fmla="*/ 1393540 h 5116136"/>
              <a:gd name="connsiteX2715" fmla="*/ 2187962 w 13061856"/>
              <a:gd name="connsiteY2715" fmla="*/ 1375465 h 5116136"/>
              <a:gd name="connsiteX2716" fmla="*/ 2239970 w 13061856"/>
              <a:gd name="connsiteY2716" fmla="*/ 1340979 h 5116136"/>
              <a:gd name="connsiteX2717" fmla="*/ 2248436 w 13061856"/>
              <a:gd name="connsiteY2717" fmla="*/ 1369281 h 5116136"/>
              <a:gd name="connsiteX2718" fmla="*/ 2216385 w 13061856"/>
              <a:gd name="connsiteY2718" fmla="*/ 1380221 h 5116136"/>
              <a:gd name="connsiteX2719" fmla="*/ 2220618 w 13061856"/>
              <a:gd name="connsiteY2719" fmla="*/ 1386405 h 5116136"/>
              <a:gd name="connsiteX2720" fmla="*/ 2224851 w 13061856"/>
              <a:gd name="connsiteY2720" fmla="*/ 1393065 h 5116136"/>
              <a:gd name="connsiteX2721" fmla="*/ 2249646 w 13061856"/>
              <a:gd name="connsiteY2721" fmla="*/ 1387357 h 5116136"/>
              <a:gd name="connsiteX2722" fmla="*/ 2200661 w 13061856"/>
              <a:gd name="connsiteY2722" fmla="*/ 1404480 h 5116136"/>
              <a:gd name="connsiteX2723" fmla="*/ 2267788 w 13061856"/>
              <a:gd name="connsiteY2723" fmla="*/ 1404480 h 5116136"/>
              <a:gd name="connsiteX2724" fmla="*/ 2257507 w 13061856"/>
              <a:gd name="connsiteY2724" fmla="*/ 1376416 h 5116136"/>
              <a:gd name="connsiteX2725" fmla="*/ 2263554 w 13061856"/>
              <a:gd name="connsiteY2725" fmla="*/ 1358340 h 5116136"/>
              <a:gd name="connsiteX2726" fmla="*/ 2310725 w 13061856"/>
              <a:gd name="connsiteY2726" fmla="*/ 1364524 h 5116136"/>
              <a:gd name="connsiteX2727" fmla="*/ 2268393 w 13061856"/>
              <a:gd name="connsiteY2727" fmla="*/ 1398773 h 5116136"/>
              <a:gd name="connsiteX2728" fmla="*/ 2297421 w 13061856"/>
              <a:gd name="connsiteY2728" fmla="*/ 1393065 h 5116136"/>
              <a:gd name="connsiteX2729" fmla="*/ 2286534 w 13061856"/>
              <a:gd name="connsiteY2729" fmla="*/ 1410427 h 5116136"/>
              <a:gd name="connsiteX2730" fmla="*/ 2314353 w 13061856"/>
              <a:gd name="connsiteY2730" fmla="*/ 1428026 h 5116136"/>
              <a:gd name="connsiteX2731" fmla="*/ 2306492 w 13061856"/>
              <a:gd name="connsiteY2731" fmla="*/ 1398059 h 5116136"/>
              <a:gd name="connsiteX2732" fmla="*/ 2357894 w 13061856"/>
              <a:gd name="connsiteY2732" fmla="*/ 1428026 h 5116136"/>
              <a:gd name="connsiteX2733" fmla="*/ 2361523 w 13061856"/>
              <a:gd name="connsiteY2733" fmla="*/ 1404480 h 5116136"/>
              <a:gd name="connsiteX2734" fmla="*/ 2400227 w 13061856"/>
              <a:gd name="connsiteY2734" fmla="*/ 1404005 h 5116136"/>
              <a:gd name="connsiteX2735" fmla="*/ 2377246 w 13061856"/>
              <a:gd name="connsiteY2735" fmla="*/ 1376416 h 5116136"/>
              <a:gd name="connsiteX2736" fmla="*/ 2429255 w 13061856"/>
              <a:gd name="connsiteY2736" fmla="*/ 1392350 h 5116136"/>
              <a:gd name="connsiteX2737" fmla="*/ 2428650 w 13061856"/>
              <a:gd name="connsiteY2737" fmla="*/ 1368806 h 5116136"/>
              <a:gd name="connsiteX2738" fmla="*/ 2452840 w 13061856"/>
              <a:gd name="connsiteY2738" fmla="*/ 1364524 h 5116136"/>
              <a:gd name="connsiteX2739" fmla="*/ 2489729 w 13061856"/>
              <a:gd name="connsiteY2739" fmla="*/ 1387833 h 5116136"/>
              <a:gd name="connsiteX2740" fmla="*/ 2471586 w 13061856"/>
              <a:gd name="connsiteY2740" fmla="*/ 1410427 h 5116136"/>
              <a:gd name="connsiteX2741" fmla="*/ 2495172 w 13061856"/>
              <a:gd name="connsiteY2741" fmla="*/ 1376416 h 5116136"/>
              <a:gd name="connsiteX2742" fmla="*/ 2382085 w 13061856"/>
              <a:gd name="connsiteY2742" fmla="*/ 1340979 h 5116136"/>
              <a:gd name="connsiteX2743" fmla="*/ 2376037 w 13061856"/>
              <a:gd name="connsiteY2743" fmla="*/ 1358340 h 5116136"/>
              <a:gd name="connsiteX2744" fmla="*/ 2295003 w 13061856"/>
              <a:gd name="connsiteY2744" fmla="*/ 1341454 h 5116136"/>
              <a:gd name="connsiteX2745" fmla="*/ 2287745 w 13061856"/>
              <a:gd name="connsiteY2745" fmla="*/ 1310774 h 5116136"/>
              <a:gd name="connsiteX2746" fmla="*/ 2276859 w 13061856"/>
              <a:gd name="connsiteY2746" fmla="*/ 1324330 h 5116136"/>
              <a:gd name="connsiteX2747" fmla="*/ 2310725 w 13061856"/>
              <a:gd name="connsiteY2747" fmla="*/ 1283185 h 5116136"/>
              <a:gd name="connsiteX2748" fmla="*/ 2334310 w 13061856"/>
              <a:gd name="connsiteY2748" fmla="*/ 1283185 h 5116136"/>
              <a:gd name="connsiteX2749" fmla="*/ 2380875 w 13061856"/>
              <a:gd name="connsiteY2749" fmla="*/ 1277477 h 5116136"/>
              <a:gd name="connsiteX2750" fmla="*/ 2353057 w 13061856"/>
              <a:gd name="connsiteY2750" fmla="*/ 1258926 h 5116136"/>
              <a:gd name="connsiteX2751" fmla="*/ 2349429 w 13061856"/>
              <a:gd name="connsiteY2751" fmla="*/ 1282709 h 5116136"/>
              <a:gd name="connsiteX2752" fmla="*/ 2300444 w 13061856"/>
              <a:gd name="connsiteY2752" fmla="*/ 1258213 h 5116136"/>
              <a:gd name="connsiteX2753" fmla="*/ 2319191 w 13061856"/>
              <a:gd name="connsiteY2753" fmla="*/ 1218495 h 5116136"/>
              <a:gd name="connsiteX2754" fmla="*/ 2293187 w 13061856"/>
              <a:gd name="connsiteY2754" fmla="*/ 1218495 h 5116136"/>
              <a:gd name="connsiteX2755" fmla="*/ 2253878 w 13061856"/>
              <a:gd name="connsiteY2755" fmla="*/ 1217782 h 5116136"/>
              <a:gd name="connsiteX2756" fmla="*/ 2249041 w 13061856"/>
              <a:gd name="connsiteY2756" fmla="*/ 1224203 h 5116136"/>
              <a:gd name="connsiteX2757" fmla="*/ 2258717 w 13061856"/>
              <a:gd name="connsiteY2757" fmla="*/ 1230624 h 5116136"/>
              <a:gd name="connsiteX2758" fmla="*/ 2259926 w 13061856"/>
              <a:gd name="connsiteY2758" fmla="*/ 1218495 h 5116136"/>
              <a:gd name="connsiteX2759" fmla="*/ 2253878 w 13061856"/>
              <a:gd name="connsiteY2759" fmla="*/ 1217782 h 5116136"/>
              <a:gd name="connsiteX2760" fmla="*/ 1888613 w 13061856"/>
              <a:gd name="connsiteY2760" fmla="*/ 1212073 h 5116136"/>
              <a:gd name="connsiteX2761" fmla="*/ 1884381 w 13061856"/>
              <a:gd name="connsiteY2761" fmla="*/ 1218971 h 5116136"/>
              <a:gd name="connsiteX2762" fmla="*/ 1888613 w 13061856"/>
              <a:gd name="connsiteY2762" fmla="*/ 1229435 h 5116136"/>
              <a:gd name="connsiteX2763" fmla="*/ 1878937 w 13061856"/>
              <a:gd name="connsiteY2763" fmla="*/ 1236332 h 5116136"/>
              <a:gd name="connsiteX2764" fmla="*/ 1903733 w 13061856"/>
              <a:gd name="connsiteY2764" fmla="*/ 1224679 h 5116136"/>
              <a:gd name="connsiteX2765" fmla="*/ 1888613 w 13061856"/>
              <a:gd name="connsiteY2765" fmla="*/ 1212073 h 5116136"/>
              <a:gd name="connsiteX2766" fmla="*/ 537618 w 13061856"/>
              <a:gd name="connsiteY2766" fmla="*/ 1194712 h 5116136"/>
              <a:gd name="connsiteX2767" fmla="*/ 553340 w 13061856"/>
              <a:gd name="connsiteY2767" fmla="*/ 1208030 h 5116136"/>
              <a:gd name="connsiteX2768" fmla="*/ 556970 w 13061856"/>
              <a:gd name="connsiteY2768" fmla="*/ 1224203 h 5116136"/>
              <a:gd name="connsiteX2769" fmla="*/ 520080 w 13061856"/>
              <a:gd name="connsiteY2769" fmla="*/ 1213263 h 5116136"/>
              <a:gd name="connsiteX2770" fmla="*/ 444487 w 13061856"/>
              <a:gd name="connsiteY2770" fmla="*/ 1254407 h 5116136"/>
              <a:gd name="connsiteX2771" fmla="*/ 471700 w 13061856"/>
              <a:gd name="connsiteY2771" fmla="*/ 1224679 h 5116136"/>
              <a:gd name="connsiteX2772" fmla="*/ 509799 w 13061856"/>
              <a:gd name="connsiteY2772" fmla="*/ 1224203 h 5116136"/>
              <a:gd name="connsiteX2773" fmla="*/ 496495 w 13061856"/>
              <a:gd name="connsiteY2773" fmla="*/ 1206841 h 5116136"/>
              <a:gd name="connsiteX2774" fmla="*/ 529756 w 13061856"/>
              <a:gd name="connsiteY2774" fmla="*/ 1213738 h 5116136"/>
              <a:gd name="connsiteX2775" fmla="*/ 537618 w 13061856"/>
              <a:gd name="connsiteY2775" fmla="*/ 1194712 h 5116136"/>
              <a:gd name="connsiteX2776" fmla="*/ 2115997 w 13061856"/>
              <a:gd name="connsiteY2776" fmla="*/ 1190669 h 5116136"/>
              <a:gd name="connsiteX2777" fmla="*/ 2120231 w 13061856"/>
              <a:gd name="connsiteY2777" fmla="*/ 1197090 h 5116136"/>
              <a:gd name="connsiteX2778" fmla="*/ 2120231 w 13061856"/>
              <a:gd name="connsiteY2778" fmla="*/ 1208030 h 5116136"/>
              <a:gd name="connsiteX2779" fmla="*/ 2111764 w 13061856"/>
              <a:gd name="connsiteY2779" fmla="*/ 1218971 h 5116136"/>
              <a:gd name="connsiteX2780" fmla="*/ 2076690 w 13061856"/>
              <a:gd name="connsiteY2780" fmla="*/ 1191382 h 5116136"/>
              <a:gd name="connsiteX2781" fmla="*/ 2115997 w 13061856"/>
              <a:gd name="connsiteY2781" fmla="*/ 1190669 h 5116136"/>
              <a:gd name="connsiteX2782" fmla="*/ 600511 w 13061856"/>
              <a:gd name="connsiteY2782" fmla="*/ 1187815 h 5116136"/>
              <a:gd name="connsiteX2783" fmla="*/ 622887 w 13061856"/>
              <a:gd name="connsiteY2783" fmla="*/ 1216117 h 5116136"/>
              <a:gd name="connsiteX2784" fmla="*/ 604140 w 13061856"/>
              <a:gd name="connsiteY2784" fmla="*/ 1210884 h 5116136"/>
              <a:gd name="connsiteX2785" fmla="*/ 596278 w 13061856"/>
              <a:gd name="connsiteY2785" fmla="*/ 1227057 h 5116136"/>
              <a:gd name="connsiteX2786" fmla="*/ 637400 w 13061856"/>
              <a:gd name="connsiteY2786" fmla="*/ 1215641 h 5116136"/>
              <a:gd name="connsiteX2787" fmla="*/ 722065 w 13061856"/>
              <a:gd name="connsiteY2787" fmla="*/ 1232289 h 5116136"/>
              <a:gd name="connsiteX2788" fmla="*/ 718436 w 13061856"/>
              <a:gd name="connsiteY2788" fmla="*/ 1249175 h 5116136"/>
              <a:gd name="connsiteX2789" fmla="*/ 760163 w 13061856"/>
              <a:gd name="connsiteY2789" fmla="*/ 1260591 h 5116136"/>
              <a:gd name="connsiteX2790" fmla="*/ 769234 w 13061856"/>
              <a:gd name="connsiteY2790" fmla="*/ 1238235 h 5116136"/>
              <a:gd name="connsiteX2791" fmla="*/ 817009 w 13061856"/>
              <a:gd name="connsiteY2791" fmla="*/ 1233002 h 5116136"/>
              <a:gd name="connsiteX2792" fmla="*/ 824872 w 13061856"/>
              <a:gd name="connsiteY2792" fmla="*/ 1260115 h 5116136"/>
              <a:gd name="connsiteX2793" fmla="*/ 844222 w 13061856"/>
              <a:gd name="connsiteY2793" fmla="*/ 1254407 h 5116136"/>
              <a:gd name="connsiteX2794" fmla="*/ 830918 w 13061856"/>
              <a:gd name="connsiteY2794" fmla="*/ 1243943 h 5116136"/>
              <a:gd name="connsiteX2795" fmla="*/ 859342 w 13061856"/>
              <a:gd name="connsiteY2795" fmla="*/ 1243943 h 5116136"/>
              <a:gd name="connsiteX2796" fmla="*/ 853293 w 13061856"/>
              <a:gd name="connsiteY2796" fmla="*/ 1254883 h 5116136"/>
              <a:gd name="connsiteX2797" fmla="*/ 867808 w 13061856"/>
              <a:gd name="connsiteY2797" fmla="*/ 1248462 h 5116136"/>
              <a:gd name="connsiteX2798" fmla="*/ 862365 w 13061856"/>
              <a:gd name="connsiteY2798" fmla="*/ 1265110 h 5116136"/>
              <a:gd name="connsiteX2799" fmla="*/ 887159 w 13061856"/>
              <a:gd name="connsiteY2799" fmla="*/ 1250127 h 5116136"/>
              <a:gd name="connsiteX2800" fmla="*/ 947029 w 13061856"/>
              <a:gd name="connsiteY2800" fmla="*/ 1243943 h 5116136"/>
              <a:gd name="connsiteX2801" fmla="*/ 947634 w 13061856"/>
              <a:gd name="connsiteY2801" fmla="*/ 1272721 h 5116136"/>
              <a:gd name="connsiteX2802" fmla="*/ 1089144 w 13061856"/>
              <a:gd name="connsiteY2802" fmla="*/ 1288418 h 5116136"/>
              <a:gd name="connsiteX2803" fmla="*/ 1041973 w 13061856"/>
              <a:gd name="connsiteY2803" fmla="*/ 1288418 h 5116136"/>
              <a:gd name="connsiteX2804" fmla="*/ 1035926 w 13061856"/>
              <a:gd name="connsiteY2804" fmla="*/ 1304590 h 5116136"/>
              <a:gd name="connsiteX2805" fmla="*/ 937957 w 13061856"/>
              <a:gd name="connsiteY2805" fmla="*/ 1277477 h 5116136"/>
              <a:gd name="connsiteX2806" fmla="*/ 933725 w 13061856"/>
              <a:gd name="connsiteY2806" fmla="*/ 1305542 h 5116136"/>
              <a:gd name="connsiteX2807" fmla="*/ 783748 w 13061856"/>
              <a:gd name="connsiteY2807" fmla="*/ 1271532 h 5116136"/>
              <a:gd name="connsiteX2808" fmla="*/ 793423 w 13061856"/>
              <a:gd name="connsiteY2808" fmla="*/ 1267013 h 5116136"/>
              <a:gd name="connsiteX2809" fmla="*/ 773467 w 13061856"/>
              <a:gd name="connsiteY2809" fmla="*/ 1282709 h 5116136"/>
              <a:gd name="connsiteX2810" fmla="*/ 740811 w 13061856"/>
              <a:gd name="connsiteY2810" fmla="*/ 1272245 h 5116136"/>
              <a:gd name="connsiteX2811" fmla="*/ 713598 w 13061856"/>
              <a:gd name="connsiteY2811" fmla="*/ 1288418 h 5116136"/>
              <a:gd name="connsiteX2812" fmla="*/ 702713 w 13061856"/>
              <a:gd name="connsiteY2812" fmla="*/ 1270343 h 5116136"/>
              <a:gd name="connsiteX2813" fmla="*/ 746254 w 13061856"/>
              <a:gd name="connsiteY2813" fmla="*/ 1267013 h 5116136"/>
              <a:gd name="connsiteX2814" fmla="*/ 657961 w 13061856"/>
              <a:gd name="connsiteY2814" fmla="*/ 1272245 h 5116136"/>
              <a:gd name="connsiteX2815" fmla="*/ 590231 w 13061856"/>
              <a:gd name="connsiteY2815" fmla="*/ 1287942 h 5116136"/>
              <a:gd name="connsiteX2816" fmla="*/ 576927 w 13061856"/>
              <a:gd name="connsiteY2816" fmla="*/ 1271056 h 5116136"/>
              <a:gd name="connsiteX2817" fmla="*/ 587812 w 13061856"/>
              <a:gd name="connsiteY2817" fmla="*/ 1254883 h 5116136"/>
              <a:gd name="connsiteX2818" fmla="*/ 625305 w 13061856"/>
              <a:gd name="connsiteY2818" fmla="*/ 1260115 h 5116136"/>
              <a:gd name="connsiteX2819" fmla="*/ 637400 w 13061856"/>
              <a:gd name="connsiteY2819" fmla="*/ 1255359 h 5116136"/>
              <a:gd name="connsiteX2820" fmla="*/ 590231 w 13061856"/>
              <a:gd name="connsiteY2820" fmla="*/ 1243943 h 5116136"/>
              <a:gd name="connsiteX2821" fmla="*/ 600511 w 13061856"/>
              <a:gd name="connsiteY2821" fmla="*/ 1187815 h 5116136"/>
              <a:gd name="connsiteX2822" fmla="*/ 11410296 w 13061856"/>
              <a:gd name="connsiteY2822" fmla="*/ 1177350 h 5116136"/>
              <a:gd name="connsiteX2823" fmla="*/ 11393968 w 13061856"/>
              <a:gd name="connsiteY2823" fmla="*/ 1190669 h 5116136"/>
              <a:gd name="connsiteX2824" fmla="*/ 11422391 w 13061856"/>
              <a:gd name="connsiteY2824" fmla="*/ 1197090 h 5116136"/>
              <a:gd name="connsiteX2825" fmla="*/ 11410296 w 13061856"/>
              <a:gd name="connsiteY2825" fmla="*/ 1177350 h 5116136"/>
              <a:gd name="connsiteX2826" fmla="*/ 11982383 w 13061856"/>
              <a:gd name="connsiteY2826" fmla="*/ 1176874 h 5116136"/>
              <a:gd name="connsiteX2827" fmla="*/ 12019273 w 13061856"/>
              <a:gd name="connsiteY2827" fmla="*/ 1192808 h 5116136"/>
              <a:gd name="connsiteX2828" fmla="*/ 11952146 w 13061856"/>
              <a:gd name="connsiteY2828" fmla="*/ 1191858 h 5116136"/>
              <a:gd name="connsiteX2829" fmla="*/ 11982383 w 13061856"/>
              <a:gd name="connsiteY2829" fmla="*/ 1176874 h 5116136"/>
              <a:gd name="connsiteX2830" fmla="*/ 1475575 w 13061856"/>
              <a:gd name="connsiteY2830" fmla="*/ 1176874 h 5116136"/>
              <a:gd name="connsiteX2831" fmla="*/ 1480413 w 13061856"/>
              <a:gd name="connsiteY2831" fmla="*/ 1213263 h 5116136"/>
              <a:gd name="connsiteX2832" fmla="*/ 1457432 w 13061856"/>
              <a:gd name="connsiteY2832" fmla="*/ 1200420 h 5116136"/>
              <a:gd name="connsiteX2833" fmla="*/ 1331645 w 13061856"/>
              <a:gd name="connsiteY2833" fmla="*/ 1208506 h 5116136"/>
              <a:gd name="connsiteX2834" fmla="*/ 1409052 w 13061856"/>
              <a:gd name="connsiteY2834" fmla="*/ 1177350 h 5116136"/>
              <a:gd name="connsiteX2835" fmla="*/ 1415100 w 13061856"/>
              <a:gd name="connsiteY2835" fmla="*/ 1207554 h 5116136"/>
              <a:gd name="connsiteX2836" fmla="*/ 1475575 w 13061856"/>
              <a:gd name="connsiteY2836" fmla="*/ 1176874 h 5116136"/>
              <a:gd name="connsiteX2837" fmla="*/ 1714449 w 13061856"/>
              <a:gd name="connsiteY2837" fmla="*/ 1172831 h 5116136"/>
              <a:gd name="connsiteX2838" fmla="*/ 1704167 w 13061856"/>
              <a:gd name="connsiteY2838" fmla="*/ 1183771 h 5116136"/>
              <a:gd name="connsiteX2839" fmla="*/ 1708400 w 13061856"/>
              <a:gd name="connsiteY2839" fmla="*/ 1195662 h 5116136"/>
              <a:gd name="connsiteX2840" fmla="*/ 1714449 w 13061856"/>
              <a:gd name="connsiteY2840" fmla="*/ 1172831 h 5116136"/>
              <a:gd name="connsiteX2841" fmla="*/ 2478238 w 13061856"/>
              <a:gd name="connsiteY2841" fmla="*/ 1168788 h 5116136"/>
              <a:gd name="connsiteX2842" fmla="*/ 2453443 w 13061856"/>
              <a:gd name="connsiteY2842" fmla="*/ 1184247 h 5116136"/>
              <a:gd name="connsiteX2843" fmla="*/ 2496381 w 13061856"/>
              <a:gd name="connsiteY2843" fmla="*/ 1184247 h 5116136"/>
              <a:gd name="connsiteX2844" fmla="*/ 2478238 w 13061856"/>
              <a:gd name="connsiteY2844" fmla="*/ 1168788 h 5116136"/>
              <a:gd name="connsiteX2845" fmla="*/ 1272985 w 13061856"/>
              <a:gd name="connsiteY2845" fmla="*/ 1161652 h 5116136"/>
              <a:gd name="connsiteX2846" fmla="*/ 1281451 w 13061856"/>
              <a:gd name="connsiteY2846" fmla="*/ 1178063 h 5116136"/>
              <a:gd name="connsiteX2847" fmla="*/ 1272985 w 13061856"/>
              <a:gd name="connsiteY2847" fmla="*/ 1161652 h 5116136"/>
              <a:gd name="connsiteX2848" fmla="*/ 1272985 w 13061856"/>
              <a:gd name="connsiteY2848" fmla="*/ 1160702 h 5116136"/>
              <a:gd name="connsiteX2849" fmla="*/ 1272985 w 13061856"/>
              <a:gd name="connsiteY2849" fmla="*/ 1161652 h 5116136"/>
              <a:gd name="connsiteX2850" fmla="*/ 1272380 w 13061856"/>
              <a:gd name="connsiteY2850" fmla="*/ 1161177 h 5116136"/>
              <a:gd name="connsiteX2851" fmla="*/ 1272985 w 13061856"/>
              <a:gd name="connsiteY2851" fmla="*/ 1160702 h 5116136"/>
              <a:gd name="connsiteX2852" fmla="*/ 11697549 w 13061856"/>
              <a:gd name="connsiteY2852" fmla="*/ 1155945 h 5116136"/>
              <a:gd name="connsiteX2853" fmla="*/ 11738672 w 13061856"/>
              <a:gd name="connsiteY2853" fmla="*/ 1198042 h 5116136"/>
              <a:gd name="connsiteX2854" fmla="*/ 11734438 w 13061856"/>
              <a:gd name="connsiteY2854" fmla="*/ 1186150 h 5116136"/>
              <a:gd name="connsiteX2855" fmla="*/ 11767699 w 13061856"/>
              <a:gd name="connsiteY2855" fmla="*/ 1210408 h 5116136"/>
              <a:gd name="connsiteX2856" fmla="*/ 11768908 w 13061856"/>
              <a:gd name="connsiteY2856" fmla="*/ 1233002 h 5116136"/>
              <a:gd name="connsiteX2857" fmla="*/ 11733229 w 13061856"/>
              <a:gd name="connsiteY2857" fmla="*/ 1245371 h 5116136"/>
              <a:gd name="connsiteX2858" fmla="*/ 11739277 w 13061856"/>
              <a:gd name="connsiteY2858" fmla="*/ 1263445 h 5116136"/>
              <a:gd name="connsiteX2859" fmla="*/ 11756814 w 13061856"/>
              <a:gd name="connsiteY2859" fmla="*/ 1274623 h 5116136"/>
              <a:gd name="connsiteX2860" fmla="*/ 11775561 w 13061856"/>
              <a:gd name="connsiteY2860" fmla="*/ 1268202 h 5116136"/>
              <a:gd name="connsiteX2861" fmla="*/ 11789471 w 13061856"/>
              <a:gd name="connsiteY2861" fmla="*/ 1303877 h 5116136"/>
              <a:gd name="connsiteX2862" fmla="*/ 11761652 w 13061856"/>
              <a:gd name="connsiteY2862" fmla="*/ 1303401 h 5116136"/>
              <a:gd name="connsiteX2863" fmla="*/ 11747138 w 13061856"/>
              <a:gd name="connsiteY2863" fmla="*/ 1281283 h 5116136"/>
              <a:gd name="connsiteX2864" fmla="*/ 11752581 w 13061856"/>
              <a:gd name="connsiteY2864" fmla="*/ 1310298 h 5116136"/>
              <a:gd name="connsiteX2865" fmla="*/ 11728391 w 13061856"/>
              <a:gd name="connsiteY2865" fmla="*/ 1293174 h 5116136"/>
              <a:gd name="connsiteX2866" fmla="*/ 11742905 w 13061856"/>
              <a:gd name="connsiteY2866" fmla="*/ 1280807 h 5116136"/>
              <a:gd name="connsiteX2867" fmla="*/ 11710854 w 13061856"/>
              <a:gd name="connsiteY2867" fmla="*/ 1245371 h 5116136"/>
              <a:gd name="connsiteX2868" fmla="*/ 11686664 w 13061856"/>
              <a:gd name="connsiteY2868" fmla="*/ 1256548 h 5116136"/>
              <a:gd name="connsiteX2869" fmla="*/ 11704806 w 13061856"/>
              <a:gd name="connsiteY2869" fmla="*/ 1221825 h 5116136"/>
              <a:gd name="connsiteX2870" fmla="*/ 11720530 w 13061856"/>
              <a:gd name="connsiteY2870" fmla="*/ 1227057 h 5116136"/>
              <a:gd name="connsiteX2871" fmla="*/ 11724762 w 13061856"/>
              <a:gd name="connsiteY2871" fmla="*/ 1198992 h 5116136"/>
              <a:gd name="connsiteX2872" fmla="*/ 11690897 w 13061856"/>
              <a:gd name="connsiteY2872" fmla="*/ 1220636 h 5116136"/>
              <a:gd name="connsiteX2873" fmla="*/ 11681221 w 13061856"/>
              <a:gd name="connsiteY2873" fmla="*/ 1197090 h 5116136"/>
              <a:gd name="connsiteX2874" fmla="*/ 11697549 w 13061856"/>
              <a:gd name="connsiteY2874" fmla="*/ 1192334 h 5116136"/>
              <a:gd name="connsiteX2875" fmla="*/ 11677593 w 13061856"/>
              <a:gd name="connsiteY2875" fmla="*/ 1179015 h 5116136"/>
              <a:gd name="connsiteX2876" fmla="*/ 11697549 w 13061856"/>
              <a:gd name="connsiteY2876" fmla="*/ 1155945 h 5116136"/>
              <a:gd name="connsiteX2877" fmla="*/ 11612886 w 13061856"/>
              <a:gd name="connsiteY2877" fmla="*/ 1154993 h 5116136"/>
              <a:gd name="connsiteX2878" fmla="*/ 11648565 w 13061856"/>
              <a:gd name="connsiteY2878" fmla="*/ 1191382 h 5116136"/>
              <a:gd name="connsiteX2879" fmla="*/ 11683640 w 13061856"/>
              <a:gd name="connsiteY2879" fmla="*/ 1210408 h 5116136"/>
              <a:gd name="connsiteX2880" fmla="*/ 11603814 w 13061856"/>
              <a:gd name="connsiteY2880" fmla="*/ 1171642 h 5116136"/>
              <a:gd name="connsiteX2881" fmla="*/ 11612886 w 13061856"/>
              <a:gd name="connsiteY2881" fmla="*/ 1154993 h 5116136"/>
              <a:gd name="connsiteX2882" fmla="*/ 11542130 w 13061856"/>
              <a:gd name="connsiteY2882" fmla="*/ 1154993 h 5116136"/>
              <a:gd name="connsiteX2883" fmla="*/ 11538501 w 13061856"/>
              <a:gd name="connsiteY2883" fmla="*/ 1181869 h 5116136"/>
              <a:gd name="connsiteX2884" fmla="*/ 11491936 w 13061856"/>
              <a:gd name="connsiteY2884" fmla="*/ 1181393 h 5116136"/>
              <a:gd name="connsiteX2885" fmla="*/ 11542130 w 13061856"/>
              <a:gd name="connsiteY2885" fmla="*/ 1154993 h 5116136"/>
              <a:gd name="connsiteX2886" fmla="*/ 2471586 w 13061856"/>
              <a:gd name="connsiteY2886" fmla="*/ 1154042 h 5116136"/>
              <a:gd name="connsiteX2887" fmla="*/ 2406275 w 13061856"/>
              <a:gd name="connsiteY2887" fmla="*/ 1172118 h 5116136"/>
              <a:gd name="connsiteX2888" fmla="*/ 2443769 w 13061856"/>
              <a:gd name="connsiteY2888" fmla="*/ 1183771 h 5116136"/>
              <a:gd name="connsiteX2889" fmla="*/ 2471586 w 13061856"/>
              <a:gd name="connsiteY2889" fmla="*/ 1154042 h 5116136"/>
              <a:gd name="connsiteX2890" fmla="*/ 984524 w 13061856"/>
              <a:gd name="connsiteY2890" fmla="*/ 1149048 h 5116136"/>
              <a:gd name="connsiteX2891" fmla="*/ 1022622 w 13061856"/>
              <a:gd name="connsiteY2891" fmla="*/ 1155945 h 5116136"/>
              <a:gd name="connsiteX2892" fmla="*/ 987546 w 13061856"/>
              <a:gd name="connsiteY2892" fmla="*/ 1165221 h 5116136"/>
              <a:gd name="connsiteX2893" fmla="*/ 947634 w 13061856"/>
              <a:gd name="connsiteY2893" fmla="*/ 1160226 h 5116136"/>
              <a:gd name="connsiteX2894" fmla="*/ 984524 w 13061856"/>
              <a:gd name="connsiteY2894" fmla="*/ 1149048 h 5116136"/>
              <a:gd name="connsiteX2895" fmla="*/ 1244563 w 13061856"/>
              <a:gd name="connsiteY2895" fmla="*/ 1147859 h 5116136"/>
              <a:gd name="connsiteX2896" fmla="*/ 1272380 w 13061856"/>
              <a:gd name="connsiteY2896" fmla="*/ 1161177 h 5116136"/>
              <a:gd name="connsiteX2897" fmla="*/ 1220977 w 13061856"/>
              <a:gd name="connsiteY2897" fmla="*/ 1203987 h 5116136"/>
              <a:gd name="connsiteX2898" fmla="*/ 1224606 w 13061856"/>
              <a:gd name="connsiteY2898" fmla="*/ 1179015 h 5116136"/>
              <a:gd name="connsiteX2899" fmla="*/ 1196183 w 13061856"/>
              <a:gd name="connsiteY2899" fmla="*/ 1172831 h 5116136"/>
              <a:gd name="connsiteX2900" fmla="*/ 1118172 w 13061856"/>
              <a:gd name="connsiteY2900" fmla="*/ 1174496 h 5116136"/>
              <a:gd name="connsiteX2901" fmla="*/ 1191951 w 13061856"/>
              <a:gd name="connsiteY2901" fmla="*/ 1165934 h 5116136"/>
              <a:gd name="connsiteX2902" fmla="*/ 1188321 w 13061856"/>
              <a:gd name="connsiteY2902" fmla="*/ 1149048 h 5116136"/>
              <a:gd name="connsiteX2903" fmla="*/ 1244563 w 13061856"/>
              <a:gd name="connsiteY2903" fmla="*/ 1147859 h 5116136"/>
              <a:gd name="connsiteX2904" fmla="*/ 11650379 w 13061856"/>
              <a:gd name="connsiteY2904" fmla="*/ 1135729 h 5116136"/>
              <a:gd name="connsiteX2905" fmla="*/ 11644332 w 13061856"/>
              <a:gd name="connsiteY2905" fmla="*/ 1159274 h 5116136"/>
              <a:gd name="connsiteX2906" fmla="*/ 11650379 w 13061856"/>
              <a:gd name="connsiteY2906" fmla="*/ 1135729 h 5116136"/>
              <a:gd name="connsiteX2907" fmla="*/ 766211 w 13061856"/>
              <a:gd name="connsiteY2907" fmla="*/ 1118605 h 5116136"/>
              <a:gd name="connsiteX2908" fmla="*/ 771653 w 13061856"/>
              <a:gd name="connsiteY2908" fmla="*/ 1136919 h 5116136"/>
              <a:gd name="connsiteX2909" fmla="*/ 740206 w 13061856"/>
              <a:gd name="connsiteY2909" fmla="*/ 1148334 h 5116136"/>
              <a:gd name="connsiteX2910" fmla="*/ 741416 w 13061856"/>
              <a:gd name="connsiteY2910" fmla="*/ 1126453 h 5116136"/>
              <a:gd name="connsiteX2911" fmla="*/ 766211 w 13061856"/>
              <a:gd name="connsiteY2911" fmla="*/ 1118605 h 5116136"/>
              <a:gd name="connsiteX2912" fmla="*/ 2248436 w 13061856"/>
              <a:gd name="connsiteY2912" fmla="*/ 1113373 h 5116136"/>
              <a:gd name="connsiteX2913" fmla="*/ 2291978 w 13061856"/>
              <a:gd name="connsiteY2913" fmla="*/ 1154993 h 5116136"/>
              <a:gd name="connsiteX2914" fmla="*/ 2248436 w 13061856"/>
              <a:gd name="connsiteY2914" fmla="*/ 1113373 h 5116136"/>
              <a:gd name="connsiteX2915" fmla="*/ 1672721 w 13061856"/>
              <a:gd name="connsiteY2915" fmla="*/ 1101481 h 5116136"/>
              <a:gd name="connsiteX2916" fmla="*/ 1641879 w 13061856"/>
              <a:gd name="connsiteY2916" fmla="*/ 1119555 h 5116136"/>
              <a:gd name="connsiteX2917" fmla="*/ 1672721 w 13061856"/>
              <a:gd name="connsiteY2917" fmla="*/ 1101481 h 5116136"/>
              <a:gd name="connsiteX2918" fmla="*/ 794633 w 13061856"/>
              <a:gd name="connsiteY2918" fmla="*/ 1100054 h 5116136"/>
              <a:gd name="connsiteX2919" fmla="*/ 809148 w 13061856"/>
              <a:gd name="connsiteY2919" fmla="*/ 1110519 h 5116136"/>
              <a:gd name="connsiteX2920" fmla="*/ 783144 w 13061856"/>
              <a:gd name="connsiteY2920" fmla="*/ 1126453 h 5116136"/>
              <a:gd name="connsiteX2921" fmla="*/ 727507 w 13061856"/>
              <a:gd name="connsiteY2921" fmla="*/ 1108616 h 5116136"/>
              <a:gd name="connsiteX2922" fmla="*/ 794633 w 13061856"/>
              <a:gd name="connsiteY2922" fmla="*/ 1100054 h 5116136"/>
              <a:gd name="connsiteX2923" fmla="*/ 11644332 w 13061856"/>
              <a:gd name="connsiteY2923" fmla="*/ 1095535 h 5116136"/>
              <a:gd name="connsiteX2924" fmla="*/ 11658241 w 13061856"/>
              <a:gd name="connsiteY2924" fmla="*/ 1099340 h 5116136"/>
              <a:gd name="connsiteX2925" fmla="*/ 11642517 w 13061856"/>
              <a:gd name="connsiteY2925" fmla="*/ 1124789 h 5116136"/>
              <a:gd name="connsiteX2926" fmla="*/ 11628608 w 13061856"/>
              <a:gd name="connsiteY2926" fmla="*/ 1125978 h 5116136"/>
              <a:gd name="connsiteX2927" fmla="*/ 11634052 w 13061856"/>
              <a:gd name="connsiteY2927" fmla="*/ 1117892 h 5116136"/>
              <a:gd name="connsiteX2928" fmla="*/ 11638889 w 13061856"/>
              <a:gd name="connsiteY2928" fmla="*/ 1098626 h 5116136"/>
              <a:gd name="connsiteX2929" fmla="*/ 11644332 w 13061856"/>
              <a:gd name="connsiteY2929" fmla="*/ 1095535 h 5116136"/>
              <a:gd name="connsiteX2930" fmla="*/ 1556610 w 13061856"/>
              <a:gd name="connsiteY2930" fmla="*/ 1085547 h 5116136"/>
              <a:gd name="connsiteX2931" fmla="*/ 1531210 w 13061856"/>
              <a:gd name="connsiteY2931" fmla="*/ 1101481 h 5116136"/>
              <a:gd name="connsiteX2932" fmla="*/ 1556610 w 13061856"/>
              <a:gd name="connsiteY2932" fmla="*/ 1085547 h 5116136"/>
              <a:gd name="connsiteX2933" fmla="*/ 1383890 w 13061856"/>
              <a:gd name="connsiteY2933" fmla="*/ 1076531 h 5116136"/>
              <a:gd name="connsiteX2934" fmla="*/ 1392725 w 13061856"/>
              <a:gd name="connsiteY2934" fmla="*/ 1077935 h 5116136"/>
              <a:gd name="connsiteX2935" fmla="*/ 1390911 w 13061856"/>
              <a:gd name="connsiteY2935" fmla="*/ 1085547 h 5116136"/>
              <a:gd name="connsiteX2936" fmla="*/ 1388491 w 13061856"/>
              <a:gd name="connsiteY2936" fmla="*/ 1095772 h 5116136"/>
              <a:gd name="connsiteX2937" fmla="*/ 1377001 w 13061856"/>
              <a:gd name="connsiteY2937" fmla="*/ 1090779 h 5116136"/>
              <a:gd name="connsiteX2938" fmla="*/ 1383890 w 13061856"/>
              <a:gd name="connsiteY2938" fmla="*/ 1076531 h 5116136"/>
              <a:gd name="connsiteX2939" fmla="*/ 2043428 w 13061856"/>
              <a:gd name="connsiteY2939" fmla="*/ 1059860 h 5116136"/>
              <a:gd name="connsiteX2940" fmla="*/ 2022867 w 13061856"/>
              <a:gd name="connsiteY2940" fmla="*/ 1084832 h 5116136"/>
              <a:gd name="connsiteX2941" fmla="*/ 2036172 w 13061856"/>
              <a:gd name="connsiteY2941" fmla="*/ 1077460 h 5116136"/>
              <a:gd name="connsiteX2942" fmla="*/ 2043428 w 13061856"/>
              <a:gd name="connsiteY2942" fmla="*/ 1059860 h 5116136"/>
              <a:gd name="connsiteX2943" fmla="*/ 1756780 w 13061856"/>
              <a:gd name="connsiteY2943" fmla="*/ 1059860 h 5116136"/>
              <a:gd name="connsiteX2944" fmla="*/ 1800926 w 13061856"/>
              <a:gd name="connsiteY2944" fmla="*/ 1065092 h 5116136"/>
              <a:gd name="connsiteX2945" fmla="*/ 1756780 w 13061856"/>
              <a:gd name="connsiteY2945" fmla="*/ 1059860 h 5116136"/>
              <a:gd name="connsiteX2946" fmla="*/ 1173807 w 13061856"/>
              <a:gd name="connsiteY2946" fmla="*/ 1056054 h 5116136"/>
              <a:gd name="connsiteX2947" fmla="*/ 1182275 w 13061856"/>
              <a:gd name="connsiteY2947" fmla="*/ 1057006 h 5116136"/>
              <a:gd name="connsiteX2948" fmla="*/ 1180460 w 13061856"/>
              <a:gd name="connsiteY2948" fmla="*/ 1087210 h 5116136"/>
              <a:gd name="connsiteX2949" fmla="*/ 1173807 w 13061856"/>
              <a:gd name="connsiteY2949" fmla="*/ 1056054 h 5116136"/>
              <a:gd name="connsiteX2950" fmla="*/ 11640703 w 13061856"/>
              <a:gd name="connsiteY2950" fmla="*/ 1052725 h 5116136"/>
              <a:gd name="connsiteX2951" fmla="*/ 11653402 w 13061856"/>
              <a:gd name="connsiteY2951" fmla="*/ 1076271 h 5116136"/>
              <a:gd name="connsiteX2952" fmla="*/ 11643122 w 13061856"/>
              <a:gd name="connsiteY2952" fmla="*/ 1061762 h 5116136"/>
              <a:gd name="connsiteX2953" fmla="*/ 11633522 w 13061856"/>
              <a:gd name="connsiteY2953" fmla="*/ 1068125 h 5116136"/>
              <a:gd name="connsiteX2954" fmla="*/ 11624783 w 13061856"/>
              <a:gd name="connsiteY2954" fmla="*/ 1062955 h 5116136"/>
              <a:gd name="connsiteX2955" fmla="*/ 11624996 w 13061856"/>
              <a:gd name="connsiteY2955" fmla="*/ 1062335 h 5116136"/>
              <a:gd name="connsiteX2956" fmla="*/ 11523988 w 13061856"/>
              <a:gd name="connsiteY2956" fmla="*/ 1051298 h 5116136"/>
              <a:gd name="connsiteX2957" fmla="*/ 11523988 w 13061856"/>
              <a:gd name="connsiteY2957" fmla="*/ 1092918 h 5116136"/>
              <a:gd name="connsiteX2958" fmla="*/ 11548782 w 13061856"/>
              <a:gd name="connsiteY2958" fmla="*/ 1075557 h 5116136"/>
              <a:gd name="connsiteX2959" fmla="*/ 11523988 w 13061856"/>
              <a:gd name="connsiteY2959" fmla="*/ 1051298 h 5116136"/>
              <a:gd name="connsiteX2960" fmla="*/ 1929208 w 13061856"/>
              <a:gd name="connsiteY2960" fmla="*/ 1047879 h 5116136"/>
              <a:gd name="connsiteX2961" fmla="*/ 1911595 w 13061856"/>
              <a:gd name="connsiteY2961" fmla="*/ 1048444 h 5116136"/>
              <a:gd name="connsiteX2962" fmla="*/ 1888009 w 13061856"/>
              <a:gd name="connsiteY2962" fmla="*/ 1072227 h 5116136"/>
              <a:gd name="connsiteX2963" fmla="*/ 1926713 w 13061856"/>
              <a:gd name="connsiteY2963" fmla="*/ 1073892 h 5116136"/>
              <a:gd name="connsiteX2964" fmla="*/ 1947274 w 13061856"/>
              <a:gd name="connsiteY2964" fmla="*/ 1049633 h 5116136"/>
              <a:gd name="connsiteX2965" fmla="*/ 1929208 w 13061856"/>
              <a:gd name="connsiteY2965" fmla="*/ 1047879 h 5116136"/>
              <a:gd name="connsiteX2966" fmla="*/ 1380026 w 13061856"/>
              <a:gd name="connsiteY2966" fmla="*/ 1039882 h 5116136"/>
              <a:gd name="connsiteX2967" fmla="*/ 1400587 w 13061856"/>
              <a:gd name="connsiteY2967" fmla="*/ 1048920 h 5116136"/>
              <a:gd name="connsiteX2968" fmla="*/ 1352207 w 13061856"/>
              <a:gd name="connsiteY2968" fmla="*/ 1061762 h 5116136"/>
              <a:gd name="connsiteX2969" fmla="*/ 1383653 w 13061856"/>
              <a:gd name="connsiteY2969" fmla="*/ 1066520 h 5116136"/>
              <a:gd name="connsiteX2970" fmla="*/ 1370349 w 13061856"/>
              <a:gd name="connsiteY2970" fmla="*/ 1088399 h 5116136"/>
              <a:gd name="connsiteX2971" fmla="*/ 1367929 w 13061856"/>
              <a:gd name="connsiteY2971" fmla="*/ 1087686 h 5116136"/>
              <a:gd name="connsiteX2972" fmla="*/ 1378816 w 13061856"/>
              <a:gd name="connsiteY2972" fmla="*/ 1101005 h 5116136"/>
              <a:gd name="connsiteX2973" fmla="*/ 1366116 w 13061856"/>
              <a:gd name="connsiteY2973" fmla="*/ 1087210 h 5116136"/>
              <a:gd name="connsiteX2974" fmla="*/ 1315923 w 13061856"/>
              <a:gd name="connsiteY2974" fmla="*/ 1089590 h 5116136"/>
              <a:gd name="connsiteX2975" fmla="*/ 1352812 w 13061856"/>
              <a:gd name="connsiteY2975" fmla="*/ 1045114 h 5116136"/>
              <a:gd name="connsiteX2976" fmla="*/ 1380026 w 13061856"/>
              <a:gd name="connsiteY2976" fmla="*/ 1039882 h 5116136"/>
              <a:gd name="connsiteX2977" fmla="*/ 1507021 w 13061856"/>
              <a:gd name="connsiteY2977" fmla="*/ 1031082 h 5116136"/>
              <a:gd name="connsiteX2978" fmla="*/ 1516092 w 13061856"/>
              <a:gd name="connsiteY2978" fmla="*/ 1037503 h 5116136"/>
              <a:gd name="connsiteX2979" fmla="*/ 1500974 w 13061856"/>
              <a:gd name="connsiteY2979" fmla="*/ 1048444 h 5116136"/>
              <a:gd name="connsiteX2980" fmla="*/ 1505208 w 13061856"/>
              <a:gd name="connsiteY2980" fmla="*/ 1061762 h 5116136"/>
              <a:gd name="connsiteX2981" fmla="*/ 1530001 w 13061856"/>
              <a:gd name="connsiteY2981" fmla="*/ 1042736 h 5116136"/>
              <a:gd name="connsiteX2982" fmla="*/ 1548749 w 13061856"/>
              <a:gd name="connsiteY2982" fmla="*/ 1061286 h 5116136"/>
              <a:gd name="connsiteX2983" fmla="*/ 1524559 w 13061856"/>
              <a:gd name="connsiteY2983" fmla="*/ 1098626 h 5116136"/>
              <a:gd name="connsiteX2984" fmla="*/ 1506416 w 13061856"/>
              <a:gd name="connsiteY2984" fmla="*/ 1080313 h 5116136"/>
              <a:gd name="connsiteX2985" fmla="*/ 1500369 w 13061856"/>
              <a:gd name="connsiteY2985" fmla="*/ 1105287 h 5116136"/>
              <a:gd name="connsiteX2986" fmla="*/ 1462875 w 13061856"/>
              <a:gd name="connsiteY2986" fmla="*/ 1085547 h 5116136"/>
              <a:gd name="connsiteX2987" fmla="*/ 1444732 w 13061856"/>
              <a:gd name="connsiteY2987" fmla="*/ 1110995 h 5116136"/>
              <a:gd name="connsiteX2988" fmla="*/ 1453200 w 13061856"/>
              <a:gd name="connsiteY2988" fmla="*/ 1086736 h 5116136"/>
              <a:gd name="connsiteX2989" fmla="*/ 1390911 w 13061856"/>
              <a:gd name="connsiteY2989" fmla="*/ 1085547 h 5116136"/>
              <a:gd name="connsiteX2990" fmla="*/ 1412077 w 13061856"/>
              <a:gd name="connsiteY2990" fmla="*/ 1056054 h 5116136"/>
              <a:gd name="connsiteX2991" fmla="*/ 1491298 w 13061856"/>
              <a:gd name="connsiteY2991" fmla="*/ 1054152 h 5116136"/>
              <a:gd name="connsiteX2992" fmla="*/ 1507021 w 13061856"/>
              <a:gd name="connsiteY2992" fmla="*/ 1031082 h 5116136"/>
              <a:gd name="connsiteX2993" fmla="*/ 1668487 w 13061856"/>
              <a:gd name="connsiteY2993" fmla="*/ 1027752 h 5116136"/>
              <a:gd name="connsiteX2994" fmla="*/ 1669092 w 13061856"/>
              <a:gd name="connsiteY2994" fmla="*/ 1057006 h 5116136"/>
              <a:gd name="connsiteX2995" fmla="*/ 1692073 w 13061856"/>
              <a:gd name="connsiteY2995" fmla="*/ 1069373 h 5116136"/>
              <a:gd name="connsiteX2996" fmla="*/ 1703563 w 13061856"/>
              <a:gd name="connsiteY2996" fmla="*/ 1080313 h 5116136"/>
              <a:gd name="connsiteX2997" fmla="*/ 1693282 w 13061856"/>
              <a:gd name="connsiteY2997" fmla="*/ 1097200 h 5116136"/>
              <a:gd name="connsiteX2998" fmla="*/ 1650951 w 13061856"/>
              <a:gd name="connsiteY2998" fmla="*/ 1079838 h 5116136"/>
              <a:gd name="connsiteX2999" fmla="*/ 1588057 w 13061856"/>
              <a:gd name="connsiteY2999" fmla="*/ 1086021 h 5116136"/>
              <a:gd name="connsiteX3000" fmla="*/ 1597733 w 13061856"/>
              <a:gd name="connsiteY3000" fmla="*/ 1132399 h 5116136"/>
              <a:gd name="connsiteX3001" fmla="*/ 1560239 w 13061856"/>
              <a:gd name="connsiteY3001" fmla="*/ 1073892 h 5116136"/>
              <a:gd name="connsiteX3002" fmla="*/ 1565682 w 13061856"/>
              <a:gd name="connsiteY3002" fmla="*/ 1052725 h 5116136"/>
              <a:gd name="connsiteX3003" fmla="*/ 1607408 w 13061856"/>
              <a:gd name="connsiteY3003" fmla="*/ 1040357 h 5116136"/>
              <a:gd name="connsiteX3004" fmla="*/ 1658811 w 13061856"/>
              <a:gd name="connsiteY3004" fmla="*/ 1067946 h 5116136"/>
              <a:gd name="connsiteX3005" fmla="*/ 1644902 w 13061856"/>
              <a:gd name="connsiteY3005" fmla="*/ 1057006 h 5116136"/>
              <a:gd name="connsiteX3006" fmla="*/ 1650951 w 13061856"/>
              <a:gd name="connsiteY3006" fmla="*/ 1033936 h 5116136"/>
              <a:gd name="connsiteX3007" fmla="*/ 1668487 w 13061856"/>
              <a:gd name="connsiteY3007" fmla="*/ 1027752 h 5116136"/>
              <a:gd name="connsiteX3008" fmla="*/ 1920060 w 13061856"/>
              <a:gd name="connsiteY3008" fmla="*/ 1018001 h 5116136"/>
              <a:gd name="connsiteX3009" fmla="*/ 1907965 w 13061856"/>
              <a:gd name="connsiteY3009" fmla="*/ 1019666 h 5116136"/>
              <a:gd name="connsiteX3010" fmla="*/ 1912199 w 13061856"/>
              <a:gd name="connsiteY3010" fmla="*/ 1032984 h 5116136"/>
              <a:gd name="connsiteX3011" fmla="*/ 1880753 w 13061856"/>
              <a:gd name="connsiteY3011" fmla="*/ 1032271 h 5116136"/>
              <a:gd name="connsiteX3012" fmla="*/ 1913409 w 13061856"/>
              <a:gd name="connsiteY3012" fmla="*/ 1045114 h 5116136"/>
              <a:gd name="connsiteX3013" fmla="*/ 1932156 w 13061856"/>
              <a:gd name="connsiteY3013" fmla="*/ 1020618 h 5116136"/>
              <a:gd name="connsiteX3014" fmla="*/ 1920060 w 13061856"/>
              <a:gd name="connsiteY3014" fmla="*/ 1018001 h 5116136"/>
              <a:gd name="connsiteX3015" fmla="*/ 7298042 w 13061856"/>
              <a:gd name="connsiteY3015" fmla="*/ 1017764 h 5116136"/>
              <a:gd name="connsiteX3016" fmla="*/ 7296833 w 13061856"/>
              <a:gd name="connsiteY3016" fmla="*/ 1031795 h 5116136"/>
              <a:gd name="connsiteX3017" fmla="*/ 7313160 w 13061856"/>
              <a:gd name="connsiteY3017" fmla="*/ 1052725 h 5116136"/>
              <a:gd name="connsiteX3018" fmla="*/ 7344608 w 13061856"/>
              <a:gd name="connsiteY3018" fmla="*/ 1041547 h 5116136"/>
              <a:gd name="connsiteX3019" fmla="*/ 7342793 w 13061856"/>
              <a:gd name="connsiteY3019" fmla="*/ 1030131 h 5116136"/>
              <a:gd name="connsiteX3020" fmla="*/ 7321022 w 13061856"/>
              <a:gd name="connsiteY3020" fmla="*/ 1028228 h 5116136"/>
              <a:gd name="connsiteX3021" fmla="*/ 7322231 w 13061856"/>
              <a:gd name="connsiteY3021" fmla="*/ 1027039 h 5116136"/>
              <a:gd name="connsiteX3022" fmla="*/ 7331303 w 13061856"/>
              <a:gd name="connsiteY3022" fmla="*/ 1022283 h 5116136"/>
              <a:gd name="connsiteX3023" fmla="*/ 7336746 w 13061856"/>
              <a:gd name="connsiteY3023" fmla="*/ 1021569 h 5116136"/>
              <a:gd name="connsiteX3024" fmla="*/ 7334932 w 13061856"/>
              <a:gd name="connsiteY3024" fmla="*/ 1019666 h 5116136"/>
              <a:gd name="connsiteX3025" fmla="*/ 7331303 w 13061856"/>
              <a:gd name="connsiteY3025" fmla="*/ 1022283 h 5116136"/>
              <a:gd name="connsiteX3026" fmla="*/ 7328884 w 13061856"/>
              <a:gd name="connsiteY3026" fmla="*/ 1020142 h 5116136"/>
              <a:gd name="connsiteX3027" fmla="*/ 7322231 w 13061856"/>
              <a:gd name="connsiteY3027" fmla="*/ 1027039 h 5116136"/>
              <a:gd name="connsiteX3028" fmla="*/ 7298042 w 13061856"/>
              <a:gd name="connsiteY3028" fmla="*/ 1017764 h 5116136"/>
              <a:gd name="connsiteX3029" fmla="*/ 7448622 w 13061856"/>
              <a:gd name="connsiteY3029" fmla="*/ 1013244 h 5116136"/>
              <a:gd name="connsiteX3030" fmla="*/ 7431691 w 13061856"/>
              <a:gd name="connsiteY3030" fmla="*/ 1036314 h 5116136"/>
              <a:gd name="connsiteX3031" fmla="*/ 7448622 w 13061856"/>
              <a:gd name="connsiteY3031" fmla="*/ 1013244 h 5116136"/>
              <a:gd name="connsiteX3032" fmla="*/ 1224606 w 13061856"/>
              <a:gd name="connsiteY3032" fmla="*/ 1005871 h 5116136"/>
              <a:gd name="connsiteX3033" fmla="*/ 1253634 w 13061856"/>
              <a:gd name="connsiteY3033" fmla="*/ 1006347 h 5116136"/>
              <a:gd name="connsiteX3034" fmla="*/ 1253634 w 13061856"/>
              <a:gd name="connsiteY3034" fmla="*/ 1009677 h 5116136"/>
              <a:gd name="connsiteX3035" fmla="*/ 1265124 w 13061856"/>
              <a:gd name="connsiteY3035" fmla="*/ 1027277 h 5116136"/>
              <a:gd name="connsiteX3036" fmla="*/ 1254239 w 13061856"/>
              <a:gd name="connsiteY3036" fmla="*/ 1047493 h 5116136"/>
              <a:gd name="connsiteX3037" fmla="*/ 1224606 w 13061856"/>
              <a:gd name="connsiteY3037" fmla="*/ 1005871 h 5116136"/>
              <a:gd name="connsiteX3038" fmla="*/ 1718681 w 13061856"/>
              <a:gd name="connsiteY3038" fmla="*/ 1003969 h 5116136"/>
              <a:gd name="connsiteX3039" fmla="*/ 1730171 w 13061856"/>
              <a:gd name="connsiteY3039" fmla="*/ 1008725 h 5116136"/>
              <a:gd name="connsiteX3040" fmla="*/ 1684211 w 13061856"/>
              <a:gd name="connsiteY3040" fmla="*/ 1020618 h 5116136"/>
              <a:gd name="connsiteX3041" fmla="*/ 1718681 w 13061856"/>
              <a:gd name="connsiteY3041" fmla="*/ 1003969 h 5116136"/>
              <a:gd name="connsiteX3042" fmla="*/ 1656997 w 13061856"/>
              <a:gd name="connsiteY3042" fmla="*/ 990175 h 5116136"/>
              <a:gd name="connsiteX3043" fmla="*/ 1635831 w 13061856"/>
              <a:gd name="connsiteY3043" fmla="*/ 1025374 h 5116136"/>
              <a:gd name="connsiteX3044" fmla="*/ 1620108 w 13061856"/>
              <a:gd name="connsiteY3044" fmla="*/ 1029417 h 5116136"/>
              <a:gd name="connsiteX3045" fmla="*/ 1656997 w 13061856"/>
              <a:gd name="connsiteY3045" fmla="*/ 990175 h 5116136"/>
              <a:gd name="connsiteX3046" fmla="*/ 7273248 w 13061856"/>
              <a:gd name="connsiteY3046" fmla="*/ 989461 h 5116136"/>
              <a:gd name="connsiteX3047" fmla="*/ 7266596 w 13061856"/>
              <a:gd name="connsiteY3047" fmla="*/ 990651 h 5116136"/>
              <a:gd name="connsiteX3048" fmla="*/ 7259943 w 13061856"/>
              <a:gd name="connsiteY3048" fmla="*/ 1006347 h 5116136"/>
              <a:gd name="connsiteX3049" fmla="*/ 7274458 w 13061856"/>
              <a:gd name="connsiteY3049" fmla="*/ 1008012 h 5116136"/>
              <a:gd name="connsiteX3050" fmla="*/ 7280504 w 13061856"/>
              <a:gd name="connsiteY3050" fmla="*/ 994218 h 5116136"/>
              <a:gd name="connsiteX3051" fmla="*/ 7273248 w 13061856"/>
              <a:gd name="connsiteY3051" fmla="*/ 989461 h 5116136"/>
              <a:gd name="connsiteX3052" fmla="*/ 7365168 w 13061856"/>
              <a:gd name="connsiteY3052" fmla="*/ 975667 h 5116136"/>
              <a:gd name="connsiteX3053" fmla="*/ 7371820 w 13061856"/>
              <a:gd name="connsiteY3053" fmla="*/ 998737 h 5116136"/>
              <a:gd name="connsiteX3054" fmla="*/ 7345817 w 13061856"/>
              <a:gd name="connsiteY3054" fmla="*/ 988510 h 5116136"/>
              <a:gd name="connsiteX3055" fmla="*/ 7366983 w 13061856"/>
              <a:gd name="connsiteY3055" fmla="*/ 985656 h 5116136"/>
              <a:gd name="connsiteX3056" fmla="*/ 2034356 w 13061856"/>
              <a:gd name="connsiteY3056" fmla="*/ 973289 h 5116136"/>
              <a:gd name="connsiteX3057" fmla="*/ 2015610 w 13061856"/>
              <a:gd name="connsiteY3057" fmla="*/ 996596 h 5116136"/>
              <a:gd name="connsiteX3058" fmla="*/ 2034356 w 13061856"/>
              <a:gd name="connsiteY3058" fmla="*/ 973289 h 5116136"/>
              <a:gd name="connsiteX3059" fmla="*/ 897440 w 13061856"/>
              <a:gd name="connsiteY3059" fmla="*/ 972337 h 5116136"/>
              <a:gd name="connsiteX3060" fmla="*/ 950658 w 13061856"/>
              <a:gd name="connsiteY3060" fmla="*/ 981375 h 5116136"/>
              <a:gd name="connsiteX3061" fmla="*/ 914373 w 13061856"/>
              <a:gd name="connsiteY3061" fmla="*/ 1004445 h 5116136"/>
              <a:gd name="connsiteX3062" fmla="*/ 904092 w 13061856"/>
              <a:gd name="connsiteY3062" fmla="*/ 981375 h 5116136"/>
              <a:gd name="connsiteX3063" fmla="*/ 900464 w 13061856"/>
              <a:gd name="connsiteY3063" fmla="*/ 1009201 h 5116136"/>
              <a:gd name="connsiteX3064" fmla="*/ 876878 w 13061856"/>
              <a:gd name="connsiteY3064" fmla="*/ 1009201 h 5116136"/>
              <a:gd name="connsiteX3065" fmla="*/ 876878 w 13061856"/>
              <a:gd name="connsiteY3065" fmla="*/ 976856 h 5116136"/>
              <a:gd name="connsiteX3066" fmla="*/ 897440 w 13061856"/>
              <a:gd name="connsiteY3066" fmla="*/ 972337 h 5116136"/>
              <a:gd name="connsiteX3067" fmla="*/ 1849911 w 13061856"/>
              <a:gd name="connsiteY3067" fmla="*/ 964964 h 5116136"/>
              <a:gd name="connsiteX3068" fmla="*/ 1838421 w 13061856"/>
              <a:gd name="connsiteY3068" fmla="*/ 965202 h 5116136"/>
              <a:gd name="connsiteX3069" fmla="*/ 1807579 w 13061856"/>
              <a:gd name="connsiteY3069" fmla="*/ 968057 h 5116136"/>
              <a:gd name="connsiteX3070" fmla="*/ 1851725 w 13061856"/>
              <a:gd name="connsiteY3070" fmla="*/ 997548 h 5116136"/>
              <a:gd name="connsiteX3071" fmla="*/ 1860192 w 13061856"/>
              <a:gd name="connsiteY3071" fmla="*/ 968532 h 5116136"/>
              <a:gd name="connsiteX3072" fmla="*/ 1849911 w 13061856"/>
              <a:gd name="connsiteY3072" fmla="*/ 964964 h 5116136"/>
              <a:gd name="connsiteX3073" fmla="*/ 1185298 w 13061856"/>
              <a:gd name="connsiteY3073" fmla="*/ 961397 h 5116136"/>
              <a:gd name="connsiteX3074" fmla="*/ 1211907 w 13061856"/>
              <a:gd name="connsiteY3074" fmla="*/ 970435 h 5116136"/>
              <a:gd name="connsiteX3075" fmla="*/ 1194369 w 13061856"/>
              <a:gd name="connsiteY3075" fmla="*/ 976143 h 5116136"/>
              <a:gd name="connsiteX3076" fmla="*/ 1193160 w 13061856"/>
              <a:gd name="connsiteY3076" fmla="*/ 987083 h 5116136"/>
              <a:gd name="connsiteX3077" fmla="*/ 1187112 w 13061856"/>
              <a:gd name="connsiteY3077" fmla="*/ 964727 h 5116136"/>
              <a:gd name="connsiteX3078" fmla="*/ 1185298 w 13061856"/>
              <a:gd name="connsiteY3078" fmla="*/ 961397 h 5116136"/>
              <a:gd name="connsiteX3079" fmla="*/ 1650951 w 13061856"/>
              <a:gd name="connsiteY3079" fmla="*/ 959018 h 5116136"/>
              <a:gd name="connsiteX3080" fmla="*/ 1637645 w 13061856"/>
              <a:gd name="connsiteY3080" fmla="*/ 994218 h 5116136"/>
              <a:gd name="connsiteX3081" fmla="*/ 1604989 w 13061856"/>
              <a:gd name="connsiteY3081" fmla="*/ 983277 h 5116136"/>
              <a:gd name="connsiteX3082" fmla="*/ 1650951 w 13061856"/>
              <a:gd name="connsiteY3082" fmla="*/ 959018 h 5116136"/>
              <a:gd name="connsiteX3083" fmla="*/ 2005330 w 13061856"/>
              <a:gd name="connsiteY3083" fmla="*/ 939754 h 5116136"/>
              <a:gd name="connsiteX3084" fmla="*/ 2007749 w 13061856"/>
              <a:gd name="connsiteY3084" fmla="*/ 964727 h 5116136"/>
              <a:gd name="connsiteX3085" fmla="*/ 1985978 w 13061856"/>
              <a:gd name="connsiteY3085" fmla="*/ 953786 h 5116136"/>
              <a:gd name="connsiteX3086" fmla="*/ 2005330 w 13061856"/>
              <a:gd name="connsiteY3086" fmla="*/ 939754 h 5116136"/>
              <a:gd name="connsiteX3087" fmla="*/ 1759199 w 13061856"/>
              <a:gd name="connsiteY3087" fmla="*/ 931192 h 5116136"/>
              <a:gd name="connsiteX3088" fmla="*/ 1757385 w 13061856"/>
              <a:gd name="connsiteY3088" fmla="*/ 958305 h 5116136"/>
              <a:gd name="connsiteX3089" fmla="*/ 1733195 w 13061856"/>
              <a:gd name="connsiteY3089" fmla="*/ 954262 h 5116136"/>
              <a:gd name="connsiteX3090" fmla="*/ 1759199 w 13061856"/>
              <a:gd name="connsiteY3090" fmla="*/ 931192 h 5116136"/>
              <a:gd name="connsiteX3091" fmla="*/ 1488274 w 13061856"/>
              <a:gd name="connsiteY3091" fmla="*/ 928338 h 5116136"/>
              <a:gd name="connsiteX3092" fmla="*/ 1485250 w 13061856"/>
              <a:gd name="connsiteY3092" fmla="*/ 950932 h 5116136"/>
              <a:gd name="connsiteX3093" fmla="*/ 1487670 w 13061856"/>
              <a:gd name="connsiteY3093" fmla="*/ 934046 h 5116136"/>
              <a:gd name="connsiteX3094" fmla="*/ 1471945 w 13061856"/>
              <a:gd name="connsiteY3094" fmla="*/ 945700 h 5116136"/>
              <a:gd name="connsiteX3095" fmla="*/ 1488274 w 13061856"/>
              <a:gd name="connsiteY3095" fmla="*/ 928338 h 5116136"/>
              <a:gd name="connsiteX3096" fmla="*/ 1613456 w 13061856"/>
              <a:gd name="connsiteY3096" fmla="*/ 925008 h 5116136"/>
              <a:gd name="connsiteX3097" fmla="*/ 1582009 w 13061856"/>
              <a:gd name="connsiteY3097" fmla="*/ 941181 h 5116136"/>
              <a:gd name="connsiteX3098" fmla="*/ 1599547 w 13061856"/>
              <a:gd name="connsiteY3098" fmla="*/ 952597 h 5116136"/>
              <a:gd name="connsiteX3099" fmla="*/ 1582009 w 13061856"/>
              <a:gd name="connsiteY3099" fmla="*/ 1019191 h 5116136"/>
              <a:gd name="connsiteX3100" fmla="*/ 1562658 w 13061856"/>
              <a:gd name="connsiteY3100" fmla="*/ 1031082 h 5116136"/>
              <a:gd name="connsiteX3101" fmla="*/ 1559029 w 13061856"/>
              <a:gd name="connsiteY3101" fmla="*/ 1008012 h 5116136"/>
              <a:gd name="connsiteX3102" fmla="*/ 1563262 w 13061856"/>
              <a:gd name="connsiteY3102" fmla="*/ 1019666 h 5116136"/>
              <a:gd name="connsiteX3103" fmla="*/ 1568705 w 13061856"/>
              <a:gd name="connsiteY3103" fmla="*/ 968532 h 5116136"/>
              <a:gd name="connsiteX3104" fmla="*/ 1516698 w 13061856"/>
              <a:gd name="connsiteY3104" fmla="*/ 964251 h 5116136"/>
              <a:gd name="connsiteX3105" fmla="*/ 1520325 w 13061856"/>
              <a:gd name="connsiteY3105" fmla="*/ 935949 h 5116136"/>
              <a:gd name="connsiteX3106" fmla="*/ 1613456 w 13061856"/>
              <a:gd name="connsiteY3106" fmla="*/ 925008 h 5116136"/>
              <a:gd name="connsiteX3107" fmla="*/ 1048021 w 13061856"/>
              <a:gd name="connsiteY3107" fmla="*/ 921204 h 5116136"/>
              <a:gd name="connsiteX3108" fmla="*/ 1088539 w 13061856"/>
              <a:gd name="connsiteY3108" fmla="*/ 939278 h 5116136"/>
              <a:gd name="connsiteX3109" fmla="*/ 1108496 w 13061856"/>
              <a:gd name="connsiteY3109" fmla="*/ 961397 h 5116136"/>
              <a:gd name="connsiteX3110" fmla="*/ 1075234 w 13061856"/>
              <a:gd name="connsiteY3110" fmla="*/ 962348 h 5116136"/>
              <a:gd name="connsiteX3111" fmla="*/ 1061325 w 13061856"/>
              <a:gd name="connsiteY3111" fmla="*/ 973765 h 5116136"/>
              <a:gd name="connsiteX3112" fmla="*/ 1072210 w 13061856"/>
              <a:gd name="connsiteY3112" fmla="*/ 944035 h 5116136"/>
              <a:gd name="connsiteX3113" fmla="*/ 1012945 w 13061856"/>
              <a:gd name="connsiteY3113" fmla="*/ 938803 h 5116136"/>
              <a:gd name="connsiteX3114" fmla="*/ 1048021 w 13061856"/>
              <a:gd name="connsiteY3114" fmla="*/ 921204 h 5116136"/>
              <a:gd name="connsiteX3115" fmla="*/ 1400587 w 13061856"/>
              <a:gd name="connsiteY3115" fmla="*/ 919063 h 5116136"/>
              <a:gd name="connsiteX3116" fmla="*/ 1346159 w 13061856"/>
              <a:gd name="connsiteY3116" fmla="*/ 957116 h 5116136"/>
              <a:gd name="connsiteX3117" fmla="*/ 1400587 w 13061856"/>
              <a:gd name="connsiteY3117" fmla="*/ 919063 h 5116136"/>
              <a:gd name="connsiteX3118" fmla="*/ 1425381 w 13061856"/>
              <a:gd name="connsiteY3118" fmla="*/ 916209 h 5116136"/>
              <a:gd name="connsiteX3119" fmla="*/ 1452595 w 13061856"/>
              <a:gd name="connsiteY3119" fmla="*/ 916685 h 5116136"/>
              <a:gd name="connsiteX3120" fmla="*/ 1421752 w 13061856"/>
              <a:gd name="connsiteY3120" fmla="*/ 932144 h 5116136"/>
              <a:gd name="connsiteX3121" fmla="*/ 1425381 w 13061856"/>
              <a:gd name="connsiteY3121" fmla="*/ 916209 h 5116136"/>
              <a:gd name="connsiteX3122" fmla="*/ 1981139 w 13061856"/>
              <a:gd name="connsiteY3122" fmla="*/ 915496 h 5116136"/>
              <a:gd name="connsiteX3123" fmla="*/ 1967835 w 13061856"/>
              <a:gd name="connsiteY3123" fmla="*/ 952597 h 5116136"/>
              <a:gd name="connsiteX3124" fmla="*/ 1928527 w 13061856"/>
              <a:gd name="connsiteY3124" fmla="*/ 917398 h 5116136"/>
              <a:gd name="connsiteX3125" fmla="*/ 1963602 w 13061856"/>
              <a:gd name="connsiteY3125" fmla="*/ 941657 h 5116136"/>
              <a:gd name="connsiteX3126" fmla="*/ 1981139 w 13061856"/>
              <a:gd name="connsiteY3126" fmla="*/ 915496 h 5116136"/>
              <a:gd name="connsiteX3127" fmla="*/ 1684211 w 13061856"/>
              <a:gd name="connsiteY3127" fmla="*/ 912641 h 5116136"/>
              <a:gd name="connsiteX3128" fmla="*/ 1683001 w 13061856"/>
              <a:gd name="connsiteY3128" fmla="*/ 935949 h 5116136"/>
              <a:gd name="connsiteX3129" fmla="*/ 1729566 w 13061856"/>
              <a:gd name="connsiteY3129" fmla="*/ 970911 h 5116136"/>
              <a:gd name="connsiteX3130" fmla="*/ 1704167 w 13061856"/>
              <a:gd name="connsiteY3130" fmla="*/ 964727 h 5116136"/>
              <a:gd name="connsiteX3131" fmla="*/ 1733195 w 13061856"/>
              <a:gd name="connsiteY3131" fmla="*/ 993029 h 5116136"/>
              <a:gd name="connsiteX3132" fmla="*/ 1689654 w 13061856"/>
              <a:gd name="connsiteY3132" fmla="*/ 998737 h 5116136"/>
              <a:gd name="connsiteX3133" fmla="*/ 1689654 w 13061856"/>
              <a:gd name="connsiteY3133" fmla="*/ 957829 h 5116136"/>
              <a:gd name="connsiteX3134" fmla="*/ 1663650 w 13061856"/>
              <a:gd name="connsiteY3134" fmla="*/ 963537 h 5116136"/>
              <a:gd name="connsiteX3135" fmla="*/ 1644298 w 13061856"/>
              <a:gd name="connsiteY3135" fmla="*/ 951884 h 5116136"/>
              <a:gd name="connsiteX3136" fmla="*/ 1677558 w 13061856"/>
              <a:gd name="connsiteY3136" fmla="*/ 941181 h 5116136"/>
              <a:gd name="connsiteX3137" fmla="*/ 1669092 w 13061856"/>
              <a:gd name="connsiteY3137" fmla="*/ 919063 h 5116136"/>
              <a:gd name="connsiteX3138" fmla="*/ 1673930 w 13061856"/>
              <a:gd name="connsiteY3138" fmla="*/ 913830 h 5116136"/>
              <a:gd name="connsiteX3139" fmla="*/ 1646112 w 13061856"/>
              <a:gd name="connsiteY3139" fmla="*/ 909311 h 5116136"/>
              <a:gd name="connsiteX3140" fmla="*/ 1622527 w 13061856"/>
              <a:gd name="connsiteY3140" fmla="*/ 938327 h 5116136"/>
              <a:gd name="connsiteX3141" fmla="*/ 1646112 w 13061856"/>
              <a:gd name="connsiteY3141" fmla="*/ 909311 h 5116136"/>
              <a:gd name="connsiteX3142" fmla="*/ 1545725 w 13061856"/>
              <a:gd name="connsiteY3142" fmla="*/ 900036 h 5116136"/>
              <a:gd name="connsiteX3143" fmla="*/ 1560843 w 13061856"/>
              <a:gd name="connsiteY3143" fmla="*/ 900988 h 5116136"/>
              <a:gd name="connsiteX3144" fmla="*/ 1564472 w 13061856"/>
              <a:gd name="connsiteY3144" fmla="*/ 911452 h 5116136"/>
              <a:gd name="connsiteX3145" fmla="*/ 1534840 w 13061856"/>
              <a:gd name="connsiteY3145" fmla="*/ 906933 h 5116136"/>
              <a:gd name="connsiteX3146" fmla="*/ 1545725 w 13061856"/>
              <a:gd name="connsiteY3146" fmla="*/ 900036 h 5116136"/>
              <a:gd name="connsiteX3147" fmla="*/ 12467993 w 13061856"/>
              <a:gd name="connsiteY3147" fmla="*/ 897182 h 5116136"/>
              <a:gd name="connsiteX3148" fmla="*/ 12487948 w 13061856"/>
              <a:gd name="connsiteY3148" fmla="*/ 922630 h 5116136"/>
              <a:gd name="connsiteX3149" fmla="*/ 12486134 w 13061856"/>
              <a:gd name="connsiteY3149" fmla="*/ 957829 h 5116136"/>
              <a:gd name="connsiteX3150" fmla="*/ 12466177 w 13061856"/>
              <a:gd name="connsiteY3150" fmla="*/ 958305 h 5116136"/>
              <a:gd name="connsiteX3151" fmla="*/ 12439569 w 13061856"/>
              <a:gd name="connsiteY3151" fmla="*/ 951884 h 5116136"/>
              <a:gd name="connsiteX3152" fmla="*/ 12435940 w 13061856"/>
              <a:gd name="connsiteY3152" fmla="*/ 927862 h 5116136"/>
              <a:gd name="connsiteX3153" fmla="*/ 12467993 w 13061856"/>
              <a:gd name="connsiteY3153" fmla="*/ 897182 h 5116136"/>
              <a:gd name="connsiteX3154" fmla="*/ 7210354 w 13061856"/>
              <a:gd name="connsiteY3154" fmla="*/ 888620 h 5116136"/>
              <a:gd name="connsiteX3155" fmla="*/ 7220636 w 13061856"/>
              <a:gd name="connsiteY3155" fmla="*/ 905268 h 5116136"/>
              <a:gd name="connsiteX3156" fmla="*/ 7234544 w 13061856"/>
              <a:gd name="connsiteY3156" fmla="*/ 899560 h 5116136"/>
              <a:gd name="connsiteX3157" fmla="*/ 7216402 w 13061856"/>
              <a:gd name="connsiteY3157" fmla="*/ 910263 h 5116136"/>
              <a:gd name="connsiteX3158" fmla="*/ 7210354 w 13061856"/>
              <a:gd name="connsiteY3158" fmla="*/ 888620 h 5116136"/>
              <a:gd name="connsiteX3159" fmla="*/ 1668487 w 13061856"/>
              <a:gd name="connsiteY3159" fmla="*/ 885766 h 5116136"/>
              <a:gd name="connsiteX3160" fmla="*/ 1677558 w 13061856"/>
              <a:gd name="connsiteY3160" fmla="*/ 893615 h 5116136"/>
              <a:gd name="connsiteX3161" fmla="*/ 1639461 w 13061856"/>
              <a:gd name="connsiteY3161" fmla="*/ 901701 h 5116136"/>
              <a:gd name="connsiteX3162" fmla="*/ 1656997 w 13061856"/>
              <a:gd name="connsiteY3162" fmla="*/ 886242 h 5116136"/>
              <a:gd name="connsiteX3163" fmla="*/ 1668487 w 13061856"/>
              <a:gd name="connsiteY3163" fmla="*/ 885766 h 5116136"/>
              <a:gd name="connsiteX3164" fmla="*/ 1692677 w 13061856"/>
              <a:gd name="connsiteY3164" fmla="*/ 882436 h 5116136"/>
              <a:gd name="connsiteX3165" fmla="*/ 1705982 w 13061856"/>
              <a:gd name="connsiteY3165" fmla="*/ 908122 h 5116136"/>
              <a:gd name="connsiteX3166" fmla="*/ 1692677 w 13061856"/>
              <a:gd name="connsiteY3166" fmla="*/ 882436 h 5116136"/>
              <a:gd name="connsiteX3167" fmla="*/ 1872286 w 13061856"/>
              <a:gd name="connsiteY3167" fmla="*/ 871258 h 5116136"/>
              <a:gd name="connsiteX3168" fmla="*/ 1878937 w 13061856"/>
              <a:gd name="connsiteY3168" fmla="*/ 874588 h 5116136"/>
              <a:gd name="connsiteX3169" fmla="*/ 1848096 w 13061856"/>
              <a:gd name="connsiteY3169" fmla="*/ 889572 h 5116136"/>
              <a:gd name="connsiteX3170" fmla="*/ 1862610 w 13061856"/>
              <a:gd name="connsiteY3170" fmla="*/ 872923 h 5116136"/>
              <a:gd name="connsiteX3171" fmla="*/ 1872286 w 13061856"/>
              <a:gd name="connsiteY3171" fmla="*/ 871258 h 5116136"/>
              <a:gd name="connsiteX3172" fmla="*/ 1192555 w 13061856"/>
              <a:gd name="connsiteY3172" fmla="*/ 870545 h 5116136"/>
              <a:gd name="connsiteX3173" fmla="*/ 1198602 w 13061856"/>
              <a:gd name="connsiteY3173" fmla="*/ 944511 h 5116136"/>
              <a:gd name="connsiteX3174" fmla="*/ 1155061 w 13061856"/>
              <a:gd name="connsiteY3174" fmla="*/ 921204 h 5116136"/>
              <a:gd name="connsiteX3175" fmla="*/ 1192555 w 13061856"/>
              <a:gd name="connsiteY3175" fmla="*/ 870545 h 5116136"/>
              <a:gd name="connsiteX3176" fmla="*/ 1423567 w 13061856"/>
              <a:gd name="connsiteY3176" fmla="*/ 865313 h 5116136"/>
              <a:gd name="connsiteX3177" fmla="*/ 1436871 w 13061856"/>
              <a:gd name="connsiteY3177" fmla="*/ 887669 h 5116136"/>
              <a:gd name="connsiteX3178" fmla="*/ 1462270 w 13061856"/>
              <a:gd name="connsiteY3178" fmla="*/ 881961 h 5116136"/>
              <a:gd name="connsiteX3179" fmla="*/ 1453804 w 13061856"/>
              <a:gd name="connsiteY3179" fmla="*/ 898847 h 5116136"/>
              <a:gd name="connsiteX3180" fmla="*/ 1427195 w 13061856"/>
              <a:gd name="connsiteY3180" fmla="*/ 889096 h 5116136"/>
              <a:gd name="connsiteX3181" fmla="*/ 1418123 w 13061856"/>
              <a:gd name="connsiteY3181" fmla="*/ 870545 h 5116136"/>
              <a:gd name="connsiteX3182" fmla="*/ 1423567 w 13061856"/>
              <a:gd name="connsiteY3182" fmla="*/ 865313 h 5116136"/>
              <a:gd name="connsiteX3183" fmla="*/ 322329 w 13061856"/>
              <a:gd name="connsiteY3183" fmla="*/ 856275 h 5116136"/>
              <a:gd name="connsiteX3184" fmla="*/ 324143 w 13061856"/>
              <a:gd name="connsiteY3184" fmla="*/ 856512 h 5116136"/>
              <a:gd name="connsiteX3185" fmla="*/ 353776 w 13061856"/>
              <a:gd name="connsiteY3185" fmla="*/ 865789 h 5116136"/>
              <a:gd name="connsiteX3186" fmla="*/ 332005 w 13061856"/>
              <a:gd name="connsiteY3186" fmla="*/ 882436 h 5116136"/>
              <a:gd name="connsiteX3187" fmla="*/ 322933 w 13061856"/>
              <a:gd name="connsiteY3187" fmla="*/ 859605 h 5116136"/>
              <a:gd name="connsiteX3188" fmla="*/ 322329 w 13061856"/>
              <a:gd name="connsiteY3188" fmla="*/ 856275 h 5116136"/>
              <a:gd name="connsiteX3189" fmla="*/ 11487098 w 13061856"/>
              <a:gd name="connsiteY3189" fmla="*/ 856037 h 5116136"/>
              <a:gd name="connsiteX3190" fmla="*/ 11467142 w 13061856"/>
              <a:gd name="connsiteY3190" fmla="*/ 868167 h 5116136"/>
              <a:gd name="connsiteX3191" fmla="*/ 11485889 w 13061856"/>
              <a:gd name="connsiteY3191" fmla="*/ 879583 h 5116136"/>
              <a:gd name="connsiteX3192" fmla="*/ 1794274 w 13061856"/>
              <a:gd name="connsiteY3192" fmla="*/ 855561 h 5116136"/>
              <a:gd name="connsiteX3193" fmla="*/ 1835396 w 13061856"/>
              <a:gd name="connsiteY3193" fmla="*/ 856037 h 5116136"/>
              <a:gd name="connsiteX3194" fmla="*/ 1777341 w 13061856"/>
              <a:gd name="connsiteY3194" fmla="*/ 869356 h 5116136"/>
              <a:gd name="connsiteX3195" fmla="*/ 1783388 w 13061856"/>
              <a:gd name="connsiteY3195" fmla="*/ 856037 h 5116136"/>
              <a:gd name="connsiteX3196" fmla="*/ 1794274 w 13061856"/>
              <a:gd name="connsiteY3196" fmla="*/ 855561 h 5116136"/>
              <a:gd name="connsiteX3197" fmla="*/ 7246639 w 13061856"/>
              <a:gd name="connsiteY3197" fmla="*/ 854848 h 5116136"/>
              <a:gd name="connsiteX3198" fmla="*/ 7292600 w 13061856"/>
              <a:gd name="connsiteY3198" fmla="*/ 881485 h 5116136"/>
              <a:gd name="connsiteX3199" fmla="*/ 7275062 w 13061856"/>
              <a:gd name="connsiteY3199" fmla="*/ 900512 h 5116136"/>
              <a:gd name="connsiteX3200" fmla="*/ 7256919 w 13061856"/>
              <a:gd name="connsiteY3200" fmla="*/ 868167 h 5116136"/>
              <a:gd name="connsiteX3201" fmla="*/ 7250873 w 13061856"/>
              <a:gd name="connsiteY3201" fmla="*/ 887669 h 5116136"/>
              <a:gd name="connsiteX3202" fmla="*/ 7246639 w 13061856"/>
              <a:gd name="connsiteY3202" fmla="*/ 854848 h 5116136"/>
              <a:gd name="connsiteX3203" fmla="*/ 1182879 w 13061856"/>
              <a:gd name="connsiteY3203" fmla="*/ 847951 h 5116136"/>
              <a:gd name="connsiteX3204" fmla="*/ 1196183 w 13061856"/>
              <a:gd name="connsiteY3204" fmla="*/ 853183 h 5116136"/>
              <a:gd name="connsiteX3205" fmla="*/ 1158689 w 13061856"/>
              <a:gd name="connsiteY3205" fmla="*/ 863648 h 5116136"/>
              <a:gd name="connsiteX3206" fmla="*/ 1182879 w 13061856"/>
              <a:gd name="connsiteY3206" fmla="*/ 847951 h 5116136"/>
              <a:gd name="connsiteX3207" fmla="*/ 7106339 w 13061856"/>
              <a:gd name="connsiteY3207" fmla="*/ 837011 h 5116136"/>
              <a:gd name="connsiteX3208" fmla="*/ 7123271 w 13061856"/>
              <a:gd name="connsiteY3208" fmla="*/ 857226 h 5116136"/>
              <a:gd name="connsiteX3209" fmla="*/ 7085778 w 13061856"/>
              <a:gd name="connsiteY3209" fmla="*/ 849853 h 5116136"/>
              <a:gd name="connsiteX3210" fmla="*/ 7106339 w 13061856"/>
              <a:gd name="connsiteY3210" fmla="*/ 837011 h 5116136"/>
              <a:gd name="connsiteX3211" fmla="*/ 1911595 w 13061856"/>
              <a:gd name="connsiteY3211" fmla="*/ 827735 h 5116136"/>
              <a:gd name="connsiteX3212" fmla="*/ 1929131 w 13061856"/>
              <a:gd name="connsiteY3212" fmla="*/ 864124 h 5116136"/>
              <a:gd name="connsiteX3213" fmla="*/ 1901918 w 13061856"/>
              <a:gd name="connsiteY3213" fmla="*/ 863648 h 5116136"/>
              <a:gd name="connsiteX3214" fmla="*/ 1911595 w 13061856"/>
              <a:gd name="connsiteY3214" fmla="*/ 827735 h 5116136"/>
              <a:gd name="connsiteX3215" fmla="*/ 11693920 w 13061856"/>
              <a:gd name="connsiteY3215" fmla="*/ 823692 h 5116136"/>
              <a:gd name="connsiteX3216" fmla="*/ 11712668 w 13061856"/>
              <a:gd name="connsiteY3216" fmla="*/ 829399 h 5116136"/>
              <a:gd name="connsiteX3217" fmla="*/ 11711481 w 13061856"/>
              <a:gd name="connsiteY3217" fmla="*/ 832279 h 5116136"/>
              <a:gd name="connsiteX3218" fmla="*/ 11711458 w 13061856"/>
              <a:gd name="connsiteY3218" fmla="*/ 832253 h 5116136"/>
              <a:gd name="connsiteX3219" fmla="*/ 11709040 w 13061856"/>
              <a:gd name="connsiteY3219" fmla="*/ 838200 h 5116136"/>
              <a:gd name="connsiteX3220" fmla="*/ 11711481 w 13061856"/>
              <a:gd name="connsiteY3220" fmla="*/ 832279 h 5116136"/>
              <a:gd name="connsiteX3221" fmla="*/ 11724234 w 13061856"/>
              <a:gd name="connsiteY3221" fmla="*/ 846940 h 5116136"/>
              <a:gd name="connsiteX3222" fmla="*/ 11726576 w 13061856"/>
              <a:gd name="connsiteY3222" fmla="*/ 864837 h 5116136"/>
              <a:gd name="connsiteX3223" fmla="*/ 11701178 w 13061856"/>
              <a:gd name="connsiteY3223" fmla="*/ 853183 h 5116136"/>
              <a:gd name="connsiteX3224" fmla="*/ 11707225 w 13061856"/>
              <a:gd name="connsiteY3224" fmla="*/ 839389 h 5116136"/>
              <a:gd name="connsiteX3225" fmla="*/ 11682430 w 13061856"/>
              <a:gd name="connsiteY3225" fmla="*/ 835821 h 5116136"/>
              <a:gd name="connsiteX3226" fmla="*/ 11693920 w 13061856"/>
              <a:gd name="connsiteY3226" fmla="*/ 823692 h 5116136"/>
              <a:gd name="connsiteX3227" fmla="*/ 1667278 w 13061856"/>
              <a:gd name="connsiteY3227" fmla="*/ 806805 h 5116136"/>
              <a:gd name="connsiteX3228" fmla="*/ 1628575 w 13061856"/>
              <a:gd name="connsiteY3228" fmla="*/ 834157 h 5116136"/>
              <a:gd name="connsiteX3229" fmla="*/ 1667278 w 13061856"/>
              <a:gd name="connsiteY3229" fmla="*/ 806805 h 5116136"/>
              <a:gd name="connsiteX3230" fmla="*/ 11360102 w 13061856"/>
              <a:gd name="connsiteY3230" fmla="*/ 780881 h 5116136"/>
              <a:gd name="connsiteX3231" fmla="*/ 11370987 w 13061856"/>
              <a:gd name="connsiteY3231" fmla="*/ 788254 h 5116136"/>
              <a:gd name="connsiteX3232" fmla="*/ 11358893 w 13061856"/>
              <a:gd name="connsiteY3232" fmla="*/ 805854 h 5116136"/>
              <a:gd name="connsiteX3233" fmla="*/ 11363731 w 13061856"/>
              <a:gd name="connsiteY3233" fmla="*/ 800622 h 5116136"/>
              <a:gd name="connsiteX3234" fmla="*/ 11339541 w 13061856"/>
              <a:gd name="connsiteY3234" fmla="*/ 806329 h 5116136"/>
              <a:gd name="connsiteX3235" fmla="*/ 11360102 w 13061856"/>
              <a:gd name="connsiteY3235" fmla="*/ 780881 h 5116136"/>
              <a:gd name="connsiteX3236" fmla="*/ 11534268 w 13061856"/>
              <a:gd name="connsiteY3236" fmla="*/ 759952 h 5116136"/>
              <a:gd name="connsiteX3237" fmla="*/ 11537897 w 13061856"/>
              <a:gd name="connsiteY3237" fmla="*/ 765184 h 5116136"/>
              <a:gd name="connsiteX3238" fmla="*/ 11533059 w 13061856"/>
              <a:gd name="connsiteY3238" fmla="*/ 776838 h 5116136"/>
              <a:gd name="connsiteX3239" fmla="*/ 11486493 w 13061856"/>
              <a:gd name="connsiteY3239" fmla="*/ 782546 h 5116136"/>
              <a:gd name="connsiteX3240" fmla="*/ 11530640 w 13061856"/>
              <a:gd name="connsiteY3240" fmla="*/ 850329 h 5116136"/>
              <a:gd name="connsiteX3241" fmla="*/ 11556644 w 13061856"/>
              <a:gd name="connsiteY3241" fmla="*/ 771130 h 5116136"/>
              <a:gd name="connsiteX3242" fmla="*/ 11534268 w 13061856"/>
              <a:gd name="connsiteY3242" fmla="*/ 759952 h 5116136"/>
              <a:gd name="connsiteX3243" fmla="*/ 1956950 w 13061856"/>
              <a:gd name="connsiteY3243" fmla="*/ 751866 h 5116136"/>
              <a:gd name="connsiteX3244" fmla="*/ 1946670 w 13061856"/>
              <a:gd name="connsiteY3244" fmla="*/ 771605 h 5116136"/>
              <a:gd name="connsiteX3245" fmla="*/ 1931551 w 13061856"/>
              <a:gd name="connsiteY3245" fmla="*/ 776838 h 5116136"/>
              <a:gd name="connsiteX3246" fmla="*/ 1950902 w 13061856"/>
              <a:gd name="connsiteY3246" fmla="*/ 782070 h 5116136"/>
              <a:gd name="connsiteX3247" fmla="*/ 1966021 w 13061856"/>
              <a:gd name="connsiteY3247" fmla="*/ 771605 h 5116136"/>
              <a:gd name="connsiteX3248" fmla="*/ 1966626 w 13061856"/>
              <a:gd name="connsiteY3248" fmla="*/ 753768 h 5116136"/>
              <a:gd name="connsiteX3249" fmla="*/ 1956950 w 13061856"/>
              <a:gd name="connsiteY3249" fmla="*/ 751866 h 5116136"/>
              <a:gd name="connsiteX3250" fmla="*/ 1666673 w 13061856"/>
              <a:gd name="connsiteY3250" fmla="*/ 745682 h 5116136"/>
              <a:gd name="connsiteX3251" fmla="*/ 1708400 w 13061856"/>
              <a:gd name="connsiteY3251" fmla="*/ 767088 h 5116136"/>
              <a:gd name="connsiteX3252" fmla="*/ 1704772 w 13061856"/>
              <a:gd name="connsiteY3252" fmla="*/ 756147 h 5116136"/>
              <a:gd name="connsiteX3253" fmla="*/ 1765851 w 13061856"/>
              <a:gd name="connsiteY3253" fmla="*/ 768277 h 5116136"/>
              <a:gd name="connsiteX3254" fmla="*/ 1756175 w 13061856"/>
              <a:gd name="connsiteY3254" fmla="*/ 778027 h 5116136"/>
              <a:gd name="connsiteX3255" fmla="*/ 1632808 w 13061856"/>
              <a:gd name="connsiteY3255" fmla="*/ 760665 h 5116136"/>
              <a:gd name="connsiteX3256" fmla="*/ 1666673 w 13061856"/>
              <a:gd name="connsiteY3256" fmla="*/ 745682 h 5116136"/>
              <a:gd name="connsiteX3257" fmla="*/ 11461699 w 13061856"/>
              <a:gd name="connsiteY3257" fmla="*/ 739975 h 5116136"/>
              <a:gd name="connsiteX3258" fmla="*/ 11447790 w 13061856"/>
              <a:gd name="connsiteY3258" fmla="*/ 789682 h 5116136"/>
              <a:gd name="connsiteX3259" fmla="*/ 11472585 w 13061856"/>
              <a:gd name="connsiteY3259" fmla="*/ 739975 h 5116136"/>
              <a:gd name="connsiteX3260" fmla="*/ 11461699 w 13061856"/>
              <a:gd name="connsiteY3260" fmla="*/ 739975 h 5116136"/>
              <a:gd name="connsiteX3261" fmla="*/ 1582009 w 13061856"/>
              <a:gd name="connsiteY3261" fmla="*/ 739975 h 5116136"/>
              <a:gd name="connsiteX3262" fmla="*/ 1536654 w 13061856"/>
              <a:gd name="connsiteY3262" fmla="*/ 754720 h 5116136"/>
              <a:gd name="connsiteX3263" fmla="*/ 1582009 w 13061856"/>
              <a:gd name="connsiteY3263" fmla="*/ 739975 h 5116136"/>
              <a:gd name="connsiteX3264" fmla="*/ 11412715 w 13061856"/>
              <a:gd name="connsiteY3264" fmla="*/ 732839 h 5116136"/>
              <a:gd name="connsiteX3265" fmla="*/ 11277857 w 13061856"/>
              <a:gd name="connsiteY3265" fmla="*/ 780881 h 5116136"/>
              <a:gd name="connsiteX3266" fmla="*/ 11326841 w 13061856"/>
              <a:gd name="connsiteY3266" fmla="*/ 806805 h 5116136"/>
              <a:gd name="connsiteX3267" fmla="*/ 11296604 w 13061856"/>
              <a:gd name="connsiteY3267" fmla="*/ 824167 h 5116136"/>
              <a:gd name="connsiteX3268" fmla="*/ 11337122 w 13061856"/>
              <a:gd name="connsiteY3268" fmla="*/ 837485 h 5116136"/>
              <a:gd name="connsiteX3269" fmla="*/ 11407877 w 13061856"/>
              <a:gd name="connsiteY3269" fmla="*/ 819649 h 5116136"/>
              <a:gd name="connsiteX3270" fmla="*/ 11433276 w 13061856"/>
              <a:gd name="connsiteY3270" fmla="*/ 746633 h 5116136"/>
              <a:gd name="connsiteX3271" fmla="*/ 11412715 w 13061856"/>
              <a:gd name="connsiteY3271" fmla="*/ 732839 h 5116136"/>
              <a:gd name="connsiteX3272" fmla="*/ 12148688 w 13061856"/>
              <a:gd name="connsiteY3272" fmla="*/ 729748 h 5116136"/>
              <a:gd name="connsiteX3273" fmla="*/ 12157154 w 13061856"/>
              <a:gd name="connsiteY3273" fmla="*/ 734741 h 5116136"/>
              <a:gd name="connsiteX3274" fmla="*/ 12119055 w 13061856"/>
              <a:gd name="connsiteY3274" fmla="*/ 746633 h 5116136"/>
              <a:gd name="connsiteX3275" fmla="*/ 12136593 w 13061856"/>
              <a:gd name="connsiteY3275" fmla="*/ 731887 h 5116136"/>
              <a:gd name="connsiteX3276" fmla="*/ 12148688 w 13061856"/>
              <a:gd name="connsiteY3276" fmla="*/ 729748 h 5116136"/>
              <a:gd name="connsiteX3277" fmla="*/ 1894057 w 13061856"/>
              <a:gd name="connsiteY3277" fmla="*/ 725942 h 5116136"/>
              <a:gd name="connsiteX3278" fmla="*/ 1890429 w 13061856"/>
              <a:gd name="connsiteY3278" fmla="*/ 743303 h 5116136"/>
              <a:gd name="connsiteX3279" fmla="*/ 1871681 w 13061856"/>
              <a:gd name="connsiteY3279" fmla="*/ 729985 h 5116136"/>
              <a:gd name="connsiteX3280" fmla="*/ 1847492 w 13061856"/>
              <a:gd name="connsiteY3280" fmla="*/ 741638 h 5116136"/>
              <a:gd name="connsiteX3281" fmla="*/ 1851120 w 13061856"/>
              <a:gd name="connsiteY3281" fmla="*/ 759476 h 5116136"/>
              <a:gd name="connsiteX3282" fmla="*/ 1879543 w 13061856"/>
              <a:gd name="connsiteY3282" fmla="*/ 766612 h 5116136"/>
              <a:gd name="connsiteX3283" fmla="*/ 1922480 w 13061856"/>
              <a:gd name="connsiteY3283" fmla="*/ 771605 h 5116136"/>
              <a:gd name="connsiteX3284" fmla="*/ 1908570 w 13061856"/>
              <a:gd name="connsiteY3284" fmla="*/ 760665 h 5116136"/>
              <a:gd name="connsiteX3285" fmla="*/ 1938203 w 13061856"/>
              <a:gd name="connsiteY3285" fmla="*/ 747585 h 5116136"/>
              <a:gd name="connsiteX3286" fmla="*/ 1904337 w 13061856"/>
              <a:gd name="connsiteY3286" fmla="*/ 754244 h 5116136"/>
              <a:gd name="connsiteX3287" fmla="*/ 1907965 w 13061856"/>
              <a:gd name="connsiteY3287" fmla="*/ 731174 h 5116136"/>
              <a:gd name="connsiteX3288" fmla="*/ 1894057 w 13061856"/>
              <a:gd name="connsiteY3288" fmla="*/ 725942 h 5116136"/>
              <a:gd name="connsiteX3289" fmla="*/ 1829349 w 13061856"/>
              <a:gd name="connsiteY3289" fmla="*/ 724277 h 5116136"/>
              <a:gd name="connsiteX3290" fmla="*/ 1800926 w 13061856"/>
              <a:gd name="connsiteY3290" fmla="*/ 759476 h 5116136"/>
              <a:gd name="connsiteX3291" fmla="*/ 1826931 w 13061856"/>
              <a:gd name="connsiteY3291" fmla="*/ 759476 h 5116136"/>
              <a:gd name="connsiteX3292" fmla="*/ 1829349 w 13061856"/>
              <a:gd name="connsiteY3292" fmla="*/ 724277 h 5116136"/>
              <a:gd name="connsiteX3293" fmla="*/ 1589872 w 13061856"/>
              <a:gd name="connsiteY3293" fmla="*/ 705013 h 5116136"/>
              <a:gd name="connsiteX3294" fmla="*/ 1620108 w 13061856"/>
              <a:gd name="connsiteY3294" fmla="*/ 714051 h 5116136"/>
              <a:gd name="connsiteX3295" fmla="*/ 1568100 w 13061856"/>
              <a:gd name="connsiteY3295" fmla="*/ 721423 h 5116136"/>
              <a:gd name="connsiteX3296" fmla="*/ 1589872 w 13061856"/>
              <a:gd name="connsiteY3296" fmla="*/ 705013 h 5116136"/>
              <a:gd name="connsiteX3297" fmla="*/ 2197638 w 13061856"/>
              <a:gd name="connsiteY3297" fmla="*/ 702159 h 5116136"/>
              <a:gd name="connsiteX3298" fmla="*/ 2218199 w 13061856"/>
              <a:gd name="connsiteY3298" fmla="*/ 725942 h 5116136"/>
              <a:gd name="connsiteX3299" fmla="*/ 2197638 w 13061856"/>
              <a:gd name="connsiteY3299" fmla="*/ 702159 h 5116136"/>
              <a:gd name="connsiteX3300" fmla="*/ 2132931 w 13061856"/>
              <a:gd name="connsiteY3300" fmla="*/ 702159 h 5116136"/>
              <a:gd name="connsiteX3301" fmla="*/ 2128092 w 13061856"/>
              <a:gd name="connsiteY3301" fmla="*/ 741638 h 5116136"/>
              <a:gd name="connsiteX3302" fmla="*/ 2175262 w 13061856"/>
              <a:gd name="connsiteY3302" fmla="*/ 720234 h 5116136"/>
              <a:gd name="connsiteX3303" fmla="*/ 2132931 w 13061856"/>
              <a:gd name="connsiteY3303" fmla="*/ 702159 h 5116136"/>
              <a:gd name="connsiteX3304" fmla="*/ 1666068 w 13061856"/>
              <a:gd name="connsiteY3304" fmla="*/ 702159 h 5116136"/>
              <a:gd name="connsiteX3305" fmla="*/ 1669696 w 13061856"/>
              <a:gd name="connsiteY3305" fmla="*/ 724277 h 5116136"/>
              <a:gd name="connsiteX3306" fmla="*/ 1626760 w 13061856"/>
              <a:gd name="connsiteY3306" fmla="*/ 754244 h 5116136"/>
              <a:gd name="connsiteX3307" fmla="*/ 1595918 w 13061856"/>
              <a:gd name="connsiteY3307" fmla="*/ 753768 h 5116136"/>
              <a:gd name="connsiteX3308" fmla="*/ 1599547 w 13061856"/>
              <a:gd name="connsiteY3308" fmla="*/ 736406 h 5116136"/>
              <a:gd name="connsiteX3309" fmla="*/ 1618899 w 13061856"/>
              <a:gd name="connsiteY3309" fmla="*/ 729985 h 5116136"/>
              <a:gd name="connsiteX3310" fmla="*/ 1666068 w 13061856"/>
              <a:gd name="connsiteY3310" fmla="*/ 702159 h 5116136"/>
              <a:gd name="connsiteX3311" fmla="*/ 10984557 w 13061856"/>
              <a:gd name="connsiteY3311" fmla="*/ 700018 h 5116136"/>
              <a:gd name="connsiteX3312" fmla="*/ 10887798 w 13061856"/>
              <a:gd name="connsiteY3312" fmla="*/ 717855 h 5116136"/>
              <a:gd name="connsiteX3313" fmla="*/ 10984557 w 13061856"/>
              <a:gd name="connsiteY3313" fmla="*/ 700018 h 5116136"/>
              <a:gd name="connsiteX3314" fmla="*/ 1558424 w 13061856"/>
              <a:gd name="connsiteY3314" fmla="*/ 699305 h 5116136"/>
              <a:gd name="connsiteX3315" fmla="*/ 1537864 w 13061856"/>
              <a:gd name="connsiteY3315" fmla="*/ 733552 h 5116136"/>
              <a:gd name="connsiteX3316" fmla="*/ 1558424 w 13061856"/>
              <a:gd name="connsiteY3316" fmla="*/ 699305 h 5116136"/>
              <a:gd name="connsiteX3317" fmla="*/ 11536687 w 13061856"/>
              <a:gd name="connsiteY3317" fmla="*/ 696213 h 5116136"/>
              <a:gd name="connsiteX3318" fmla="*/ 11527616 w 13061856"/>
              <a:gd name="connsiteY3318" fmla="*/ 696927 h 5116136"/>
              <a:gd name="connsiteX3319" fmla="*/ 11522778 w 13061856"/>
              <a:gd name="connsiteY3319" fmla="*/ 740449 h 5116136"/>
              <a:gd name="connsiteX3320" fmla="*/ 11558458 w 13061856"/>
              <a:gd name="connsiteY3320" fmla="*/ 704061 h 5116136"/>
              <a:gd name="connsiteX3321" fmla="*/ 11536687 w 13061856"/>
              <a:gd name="connsiteY3321" fmla="*/ 696213 h 5116136"/>
              <a:gd name="connsiteX3322" fmla="*/ 1727752 w 13061856"/>
              <a:gd name="connsiteY3322" fmla="*/ 689553 h 5116136"/>
              <a:gd name="connsiteX3323" fmla="*/ 1700539 w 13061856"/>
              <a:gd name="connsiteY3323" fmla="*/ 701207 h 5116136"/>
              <a:gd name="connsiteX3324" fmla="*/ 1695096 w 13061856"/>
              <a:gd name="connsiteY3324" fmla="*/ 712623 h 5116136"/>
              <a:gd name="connsiteX3325" fmla="*/ 1714449 w 13061856"/>
              <a:gd name="connsiteY3325" fmla="*/ 712147 h 5116136"/>
              <a:gd name="connsiteX3326" fmla="*/ 1727752 w 13061856"/>
              <a:gd name="connsiteY3326" fmla="*/ 689553 h 5116136"/>
              <a:gd name="connsiteX3327" fmla="*/ 7458905 w 13061856"/>
              <a:gd name="connsiteY3327" fmla="*/ 682180 h 5116136"/>
              <a:gd name="connsiteX3328" fmla="*/ 7413548 w 13061856"/>
              <a:gd name="connsiteY3328" fmla="*/ 682656 h 5116136"/>
              <a:gd name="connsiteX3329" fmla="*/ 7397825 w 13061856"/>
              <a:gd name="connsiteY3329" fmla="*/ 687888 h 5116136"/>
              <a:gd name="connsiteX3330" fmla="*/ 7458905 w 13061856"/>
              <a:gd name="connsiteY3330" fmla="*/ 682180 h 5116136"/>
              <a:gd name="connsiteX3331" fmla="*/ 7521796 w 13061856"/>
              <a:gd name="connsiteY3331" fmla="*/ 681467 h 5116136"/>
              <a:gd name="connsiteX3332" fmla="*/ 7474023 w 13061856"/>
              <a:gd name="connsiteY3332" fmla="*/ 682180 h 5116136"/>
              <a:gd name="connsiteX3333" fmla="*/ 7548405 w 13061856"/>
              <a:gd name="connsiteY3333" fmla="*/ 687413 h 5116136"/>
              <a:gd name="connsiteX3334" fmla="*/ 7547801 w 13061856"/>
              <a:gd name="connsiteY3334" fmla="*/ 684321 h 5116136"/>
              <a:gd name="connsiteX3335" fmla="*/ 7521796 w 13061856"/>
              <a:gd name="connsiteY3335" fmla="*/ 681467 h 5116136"/>
              <a:gd name="connsiteX3336" fmla="*/ 11422995 w 13061856"/>
              <a:gd name="connsiteY3336" fmla="*/ 678137 h 5116136"/>
              <a:gd name="connsiteX3337" fmla="*/ 11387921 w 13061856"/>
              <a:gd name="connsiteY3337" fmla="*/ 703111 h 5116136"/>
              <a:gd name="connsiteX3338" fmla="*/ 11422995 w 13061856"/>
              <a:gd name="connsiteY3338" fmla="*/ 678137 h 5116136"/>
              <a:gd name="connsiteX3339" fmla="*/ 2357063 w 13061856"/>
              <a:gd name="connsiteY3339" fmla="*/ 677843 h 5116136"/>
              <a:gd name="connsiteX3340" fmla="*/ 2369991 w 13061856"/>
              <a:gd name="connsiteY3340" fmla="*/ 697877 h 5116136"/>
              <a:gd name="connsiteX3341" fmla="*/ 2343381 w 13061856"/>
              <a:gd name="connsiteY3341" fmla="*/ 686223 h 5116136"/>
              <a:gd name="connsiteX3342" fmla="*/ 2350033 w 13061856"/>
              <a:gd name="connsiteY3342" fmla="*/ 678137 h 5116136"/>
              <a:gd name="connsiteX3343" fmla="*/ 2357063 w 13061856"/>
              <a:gd name="connsiteY3343" fmla="*/ 677843 h 5116136"/>
              <a:gd name="connsiteX3344" fmla="*/ 6989018 w 13061856"/>
              <a:gd name="connsiteY3344" fmla="*/ 677424 h 5116136"/>
              <a:gd name="connsiteX3345" fmla="*/ 6983575 w 13061856"/>
              <a:gd name="connsiteY3345" fmla="*/ 692645 h 5116136"/>
              <a:gd name="connsiteX3346" fmla="*/ 7033769 w 13061856"/>
              <a:gd name="connsiteY3346" fmla="*/ 698829 h 5116136"/>
              <a:gd name="connsiteX3347" fmla="*/ 7041630 w 13061856"/>
              <a:gd name="connsiteY3347" fmla="*/ 686223 h 5116136"/>
              <a:gd name="connsiteX3348" fmla="*/ 6989018 w 13061856"/>
              <a:gd name="connsiteY3348" fmla="*/ 677424 h 5116136"/>
              <a:gd name="connsiteX3349" fmla="*/ 11340750 w 13061856"/>
              <a:gd name="connsiteY3349" fmla="*/ 675759 h 5116136"/>
              <a:gd name="connsiteX3350" fmla="*/ 11328655 w 13061856"/>
              <a:gd name="connsiteY3350" fmla="*/ 690267 h 5116136"/>
              <a:gd name="connsiteX3351" fmla="*/ 11358288 w 13061856"/>
              <a:gd name="connsiteY3351" fmla="*/ 678613 h 5116136"/>
              <a:gd name="connsiteX3352" fmla="*/ 11340750 w 13061856"/>
              <a:gd name="connsiteY3352" fmla="*/ 675759 h 5116136"/>
              <a:gd name="connsiteX3353" fmla="*/ 6951525 w 13061856"/>
              <a:gd name="connsiteY3353" fmla="*/ 675283 h 5116136"/>
              <a:gd name="connsiteX3354" fmla="*/ 6799128 w 13061856"/>
              <a:gd name="connsiteY3354" fmla="*/ 709293 h 5116136"/>
              <a:gd name="connsiteX3355" fmla="*/ 6822713 w 13061856"/>
              <a:gd name="connsiteY3355" fmla="*/ 760665 h 5116136"/>
              <a:gd name="connsiteX3356" fmla="*/ 6748935 w 13061856"/>
              <a:gd name="connsiteY3356" fmla="*/ 754244 h 5116136"/>
              <a:gd name="connsiteX3357" fmla="*/ 6745306 w 13061856"/>
              <a:gd name="connsiteY3357" fmla="*/ 775649 h 5116136"/>
              <a:gd name="connsiteX3358" fmla="*/ 6739259 w 13061856"/>
              <a:gd name="connsiteY3358" fmla="*/ 755672 h 5116136"/>
              <a:gd name="connsiteX3359" fmla="*/ 6666691 w 13061856"/>
              <a:gd name="connsiteY3359" fmla="*/ 767088 h 5116136"/>
              <a:gd name="connsiteX3360" fmla="*/ 6679390 w 13061856"/>
              <a:gd name="connsiteY3360" fmla="*/ 784449 h 5116136"/>
              <a:gd name="connsiteX3361" fmla="*/ 6706603 w 13061856"/>
              <a:gd name="connsiteY3361" fmla="*/ 774460 h 5116136"/>
              <a:gd name="connsiteX3362" fmla="*/ 6732608 w 13061856"/>
              <a:gd name="connsiteY3362" fmla="*/ 784924 h 5116136"/>
              <a:gd name="connsiteX3363" fmla="*/ 6737445 w 13061856"/>
              <a:gd name="connsiteY3363" fmla="*/ 779216 h 5116136"/>
              <a:gd name="connsiteX3364" fmla="*/ 6777358 w 13061856"/>
              <a:gd name="connsiteY3364" fmla="*/ 796340 h 5116136"/>
              <a:gd name="connsiteX3365" fmla="*/ 6773125 w 13061856"/>
              <a:gd name="connsiteY3365" fmla="*/ 792536 h 5116136"/>
              <a:gd name="connsiteX3366" fmla="*/ 6793687 w 13061856"/>
              <a:gd name="connsiteY3366" fmla="*/ 769941 h 5116136"/>
              <a:gd name="connsiteX3367" fmla="*/ 6806386 w 13061856"/>
              <a:gd name="connsiteY3367" fmla="*/ 798719 h 5116136"/>
              <a:gd name="connsiteX3368" fmla="*/ 6834809 w 13061856"/>
              <a:gd name="connsiteY3368" fmla="*/ 801573 h 5116136"/>
              <a:gd name="connsiteX3369" fmla="*/ 6830575 w 13061856"/>
              <a:gd name="connsiteY3369" fmla="*/ 798719 h 5116136"/>
              <a:gd name="connsiteX3370" fmla="*/ 6849322 w 13061856"/>
              <a:gd name="connsiteY3370" fmla="*/ 804665 h 5116136"/>
              <a:gd name="connsiteX3371" fmla="*/ 6888631 w 13061856"/>
              <a:gd name="connsiteY3371" fmla="*/ 831778 h 5116136"/>
              <a:gd name="connsiteX3372" fmla="*/ 6897703 w 13061856"/>
              <a:gd name="connsiteY3372" fmla="*/ 803000 h 5116136"/>
              <a:gd name="connsiteX3373" fmla="*/ 6954548 w 13061856"/>
              <a:gd name="connsiteY3373" fmla="*/ 807519 h 5116136"/>
              <a:gd name="connsiteX3374" fmla="*/ 7019860 w 13061856"/>
              <a:gd name="connsiteY3374" fmla="*/ 849140 h 5116136"/>
              <a:gd name="connsiteX3375" fmla="*/ 7011999 w 13061856"/>
              <a:gd name="connsiteY3375" fmla="*/ 860080 h 5116136"/>
              <a:gd name="connsiteX3376" fmla="*/ 7048283 w 13061856"/>
              <a:gd name="connsiteY3376" fmla="*/ 849853 h 5116136"/>
              <a:gd name="connsiteX3377" fmla="*/ 7053726 w 13061856"/>
              <a:gd name="connsiteY3377" fmla="*/ 878155 h 5116136"/>
              <a:gd name="connsiteX3378" fmla="*/ 7175279 w 13061856"/>
              <a:gd name="connsiteY3378" fmla="*/ 902414 h 5116136"/>
              <a:gd name="connsiteX3379" fmla="*/ 7178304 w 13061856"/>
              <a:gd name="connsiteY3379" fmla="*/ 925960 h 5116136"/>
              <a:gd name="connsiteX3380" fmla="*/ 7193422 w 13061856"/>
              <a:gd name="connsiteY3380" fmla="*/ 927862 h 5116136"/>
              <a:gd name="connsiteX3381" fmla="*/ 7184350 w 13061856"/>
              <a:gd name="connsiteY3381" fmla="*/ 936424 h 5116136"/>
              <a:gd name="connsiteX3382" fmla="*/ 7208541 w 13061856"/>
              <a:gd name="connsiteY3382" fmla="*/ 948554 h 5116136"/>
              <a:gd name="connsiteX3383" fmla="*/ 7213983 w 13061856"/>
              <a:gd name="connsiteY3383" fmla="*/ 931192 h 5116136"/>
              <a:gd name="connsiteX3384" fmla="*/ 7238172 w 13061856"/>
              <a:gd name="connsiteY3384" fmla="*/ 936900 h 5116136"/>
              <a:gd name="connsiteX3385" fmla="*/ 7241196 w 13061856"/>
              <a:gd name="connsiteY3385" fmla="*/ 959494 h 5116136"/>
              <a:gd name="connsiteX3386" fmla="*/ 7298042 w 13061856"/>
              <a:gd name="connsiteY3386" fmla="*/ 942133 h 5116136"/>
              <a:gd name="connsiteX3387" fmla="*/ 7298646 w 13061856"/>
              <a:gd name="connsiteY3387" fmla="*/ 946176 h 5116136"/>
              <a:gd name="connsiteX3388" fmla="*/ 7326465 w 13061856"/>
              <a:gd name="connsiteY3388" fmla="*/ 934522 h 5116136"/>
              <a:gd name="connsiteX3389" fmla="*/ 7299251 w 13061856"/>
              <a:gd name="connsiteY3389" fmla="*/ 946889 h 5116136"/>
              <a:gd name="connsiteX3390" fmla="*/ 7313160 w 13061856"/>
              <a:gd name="connsiteY3390" fmla="*/ 972337 h 5116136"/>
              <a:gd name="connsiteX3391" fmla="*/ 7417780 w 13061856"/>
              <a:gd name="connsiteY3391" fmla="*/ 965678 h 5116136"/>
              <a:gd name="connsiteX3392" fmla="*/ 7437737 w 13061856"/>
              <a:gd name="connsiteY3392" fmla="*/ 944987 h 5116136"/>
              <a:gd name="connsiteX3393" fmla="*/ 7428667 w 13061856"/>
              <a:gd name="connsiteY3393" fmla="*/ 979947 h 5116136"/>
              <a:gd name="connsiteX3394" fmla="*/ 7384520 w 13061856"/>
              <a:gd name="connsiteY3394" fmla="*/ 987083 h 5116136"/>
              <a:gd name="connsiteX3395" fmla="*/ 7330698 w 13061856"/>
              <a:gd name="connsiteY3395" fmla="*/ 978997 h 5116136"/>
              <a:gd name="connsiteX3396" fmla="*/ 7345817 w 13061856"/>
              <a:gd name="connsiteY3396" fmla="*/ 984229 h 5116136"/>
              <a:gd name="connsiteX3397" fmla="*/ 7307113 w 13061856"/>
              <a:gd name="connsiteY3397" fmla="*/ 988985 h 5116136"/>
              <a:gd name="connsiteX3398" fmla="*/ 7317394 w 13061856"/>
              <a:gd name="connsiteY3398" fmla="*/ 1013244 h 5116136"/>
              <a:gd name="connsiteX3399" fmla="*/ 7337350 w 13061856"/>
              <a:gd name="connsiteY3399" fmla="*/ 1005158 h 5116136"/>
              <a:gd name="connsiteX3400" fmla="*/ 7336746 w 13061856"/>
              <a:gd name="connsiteY3400" fmla="*/ 1017288 h 5116136"/>
              <a:gd name="connsiteX3401" fmla="*/ 7371820 w 13061856"/>
              <a:gd name="connsiteY3401" fmla="*/ 1002780 h 5116136"/>
              <a:gd name="connsiteX3402" fmla="*/ 7384520 w 13061856"/>
              <a:gd name="connsiteY3402" fmla="*/ 1001591 h 5116136"/>
              <a:gd name="connsiteX3403" fmla="*/ 7388149 w 13061856"/>
              <a:gd name="connsiteY3403" fmla="*/ 1021569 h 5116136"/>
              <a:gd name="connsiteX3404" fmla="*/ 7351260 w 13061856"/>
              <a:gd name="connsiteY3404" fmla="*/ 1030606 h 5116136"/>
              <a:gd name="connsiteX3405" fmla="*/ 7377264 w 13061856"/>
              <a:gd name="connsiteY3405" fmla="*/ 1064140 h 5116136"/>
              <a:gd name="connsiteX3406" fmla="*/ 7366379 w 13061856"/>
              <a:gd name="connsiteY3406" fmla="*/ 1066520 h 5116136"/>
              <a:gd name="connsiteX3407" fmla="*/ 7402058 w 13061856"/>
              <a:gd name="connsiteY3407" fmla="*/ 1058908 h 5116136"/>
              <a:gd name="connsiteX3408" fmla="*/ 7391777 w 13061856"/>
              <a:gd name="connsiteY3408" fmla="*/ 1028228 h 5116136"/>
              <a:gd name="connsiteX3409" fmla="*/ 7498212 w 13061856"/>
              <a:gd name="connsiteY3409" fmla="*/ 1017764 h 5116136"/>
              <a:gd name="connsiteX3410" fmla="*/ 7438343 w 13061856"/>
              <a:gd name="connsiteY3410" fmla="*/ 962824 h 5116136"/>
              <a:gd name="connsiteX3411" fmla="*/ 7457694 w 13061856"/>
              <a:gd name="connsiteY3411" fmla="*/ 962824 h 5116136"/>
              <a:gd name="connsiteX3412" fmla="*/ 7431691 w 13061856"/>
              <a:gd name="connsiteY3412" fmla="*/ 913117 h 5116136"/>
              <a:gd name="connsiteX3413" fmla="*/ 7428063 w 13061856"/>
              <a:gd name="connsiteY3413" fmla="*/ 933094 h 5116136"/>
              <a:gd name="connsiteX3414" fmla="*/ 7308928 w 13061856"/>
              <a:gd name="connsiteY3414" fmla="*/ 918350 h 5116136"/>
              <a:gd name="connsiteX3415" fmla="*/ 7342793 w 13061856"/>
              <a:gd name="connsiteY3415" fmla="*/ 875777 h 5116136"/>
              <a:gd name="connsiteX3416" fmla="*/ 7302275 w 13061856"/>
              <a:gd name="connsiteY3416" fmla="*/ 826546 h 5116136"/>
              <a:gd name="connsiteX3417" fmla="*/ 7279295 w 13061856"/>
              <a:gd name="connsiteY3417" fmla="*/ 852707 h 5116136"/>
              <a:gd name="connsiteX3418" fmla="*/ 7269014 w 13061856"/>
              <a:gd name="connsiteY3418" fmla="*/ 816080 h 5116136"/>
              <a:gd name="connsiteX3419" fmla="*/ 7244824 w 13061856"/>
              <a:gd name="connsiteY3419" fmla="*/ 833681 h 5116136"/>
              <a:gd name="connsiteX3420" fmla="*/ 7189189 w 13061856"/>
              <a:gd name="connsiteY3420" fmla="*/ 832729 h 5116136"/>
              <a:gd name="connsiteX3421" fmla="*/ 7088196 w 13061856"/>
              <a:gd name="connsiteY3421" fmla="*/ 790632 h 5116136"/>
              <a:gd name="connsiteX3422" fmla="*/ 7077916 w 13061856"/>
              <a:gd name="connsiteY3422" fmla="*/ 798243 h 5116136"/>
              <a:gd name="connsiteX3423" fmla="*/ 7096058 w 13061856"/>
              <a:gd name="connsiteY3423" fmla="*/ 807519 h 5116136"/>
              <a:gd name="connsiteX3424" fmla="*/ 7065216 w 13061856"/>
              <a:gd name="connsiteY3424" fmla="*/ 806329 h 5116136"/>
              <a:gd name="connsiteX3425" fmla="*/ 7064007 w 13061856"/>
              <a:gd name="connsiteY3425" fmla="*/ 807519 h 5116136"/>
              <a:gd name="connsiteX3426" fmla="*/ 7067031 w 13061856"/>
              <a:gd name="connsiteY3426" fmla="*/ 810372 h 5116136"/>
              <a:gd name="connsiteX3427" fmla="*/ 7028327 w 13061856"/>
              <a:gd name="connsiteY3427" fmla="*/ 814415 h 5116136"/>
              <a:gd name="connsiteX3428" fmla="*/ 7041630 w 13061856"/>
              <a:gd name="connsiteY3428" fmla="*/ 804665 h 5116136"/>
              <a:gd name="connsiteX3429" fmla="*/ 7033165 w 13061856"/>
              <a:gd name="connsiteY3429" fmla="*/ 783974 h 5116136"/>
              <a:gd name="connsiteX3430" fmla="*/ 6934591 w 13061856"/>
              <a:gd name="connsiteY3430" fmla="*/ 791108 h 5116136"/>
              <a:gd name="connsiteX3431" fmla="*/ 6964224 w 13061856"/>
              <a:gd name="connsiteY3431" fmla="*/ 778027 h 5116136"/>
              <a:gd name="connsiteX3432" fmla="*/ 6914030 w 13061856"/>
              <a:gd name="connsiteY3432" fmla="*/ 735693 h 5116136"/>
              <a:gd name="connsiteX3433" fmla="*/ 6902540 w 13061856"/>
              <a:gd name="connsiteY3433" fmla="*/ 754720 h 5116136"/>
              <a:gd name="connsiteX3434" fmla="*/ 6883188 w 13061856"/>
              <a:gd name="connsiteY3434" fmla="*/ 723801 h 5116136"/>
              <a:gd name="connsiteX3435" fmla="*/ 6907983 w 13061856"/>
              <a:gd name="connsiteY3435" fmla="*/ 711671 h 5116136"/>
              <a:gd name="connsiteX3436" fmla="*/ 6983575 w 13061856"/>
              <a:gd name="connsiteY3436" fmla="*/ 677424 h 5116136"/>
              <a:gd name="connsiteX3437" fmla="*/ 6951525 w 13061856"/>
              <a:gd name="connsiteY3437" fmla="*/ 675283 h 5116136"/>
              <a:gd name="connsiteX3438" fmla="*/ 1610432 w 13061856"/>
              <a:gd name="connsiteY3438" fmla="*/ 672905 h 5116136"/>
              <a:gd name="connsiteX3439" fmla="*/ 1609223 w 13061856"/>
              <a:gd name="connsiteY3439" fmla="*/ 690742 h 5116136"/>
              <a:gd name="connsiteX3440" fmla="*/ 1621318 w 13061856"/>
              <a:gd name="connsiteY3440" fmla="*/ 701683 h 5116136"/>
              <a:gd name="connsiteX3441" fmla="*/ 1591686 w 13061856"/>
              <a:gd name="connsiteY3441" fmla="*/ 696927 h 5116136"/>
              <a:gd name="connsiteX3442" fmla="*/ 1610432 w 13061856"/>
              <a:gd name="connsiteY3442" fmla="*/ 672905 h 5116136"/>
              <a:gd name="connsiteX3443" fmla="*/ 11572972 w 13061856"/>
              <a:gd name="connsiteY3443" fmla="*/ 661489 h 5116136"/>
              <a:gd name="connsiteX3444" fmla="*/ 11558458 w 13061856"/>
              <a:gd name="connsiteY3444" fmla="*/ 662440 h 5116136"/>
              <a:gd name="connsiteX3445" fmla="*/ 11556644 w 13061856"/>
              <a:gd name="connsiteY3445" fmla="*/ 691932 h 5116136"/>
              <a:gd name="connsiteX3446" fmla="*/ 11578414 w 13061856"/>
              <a:gd name="connsiteY3446" fmla="*/ 685510 h 5116136"/>
              <a:gd name="connsiteX3447" fmla="*/ 11572972 w 13061856"/>
              <a:gd name="connsiteY3447" fmla="*/ 661489 h 5116136"/>
              <a:gd name="connsiteX3448" fmla="*/ 1522744 w 13061856"/>
              <a:gd name="connsiteY3448" fmla="*/ 653402 h 5116136"/>
              <a:gd name="connsiteX3449" fmla="*/ 1578986 w 13061856"/>
              <a:gd name="connsiteY3449" fmla="*/ 660062 h 5116136"/>
              <a:gd name="connsiteX3450" fmla="*/ 1506416 w 13061856"/>
              <a:gd name="connsiteY3450" fmla="*/ 673857 h 5116136"/>
              <a:gd name="connsiteX3451" fmla="*/ 1522744 w 13061856"/>
              <a:gd name="connsiteY3451" fmla="*/ 653402 h 5116136"/>
              <a:gd name="connsiteX3452" fmla="*/ 11064383 w 13061856"/>
              <a:gd name="connsiteY3452" fmla="*/ 645792 h 5116136"/>
              <a:gd name="connsiteX3453" fmla="*/ 11083735 w 13061856"/>
              <a:gd name="connsiteY3453" fmla="*/ 647457 h 5116136"/>
              <a:gd name="connsiteX3454" fmla="*/ 1654578 w 13061856"/>
              <a:gd name="connsiteY3454" fmla="*/ 639846 h 5116136"/>
              <a:gd name="connsiteX3455" fmla="*/ 1601361 w 13061856"/>
              <a:gd name="connsiteY3455" fmla="*/ 662440 h 5116136"/>
              <a:gd name="connsiteX3456" fmla="*/ 1654578 w 13061856"/>
              <a:gd name="connsiteY3456" fmla="*/ 639846 h 5116136"/>
              <a:gd name="connsiteX3457" fmla="*/ 1972674 w 13061856"/>
              <a:gd name="connsiteY3457" fmla="*/ 633662 h 5116136"/>
              <a:gd name="connsiteX3458" fmla="*/ 2010772 w 13061856"/>
              <a:gd name="connsiteY3458" fmla="*/ 658397 h 5116136"/>
              <a:gd name="connsiteX3459" fmla="*/ 1979325 w 13061856"/>
              <a:gd name="connsiteY3459" fmla="*/ 663392 h 5116136"/>
              <a:gd name="connsiteX3460" fmla="*/ 1959369 w 13061856"/>
              <a:gd name="connsiteY3460" fmla="*/ 639371 h 5116136"/>
              <a:gd name="connsiteX3461" fmla="*/ 1972674 w 13061856"/>
              <a:gd name="connsiteY3461" fmla="*/ 633662 h 5116136"/>
              <a:gd name="connsiteX3462" fmla="*/ 2013795 w 13061856"/>
              <a:gd name="connsiteY3462" fmla="*/ 630808 h 5116136"/>
              <a:gd name="connsiteX3463" fmla="*/ 2027100 w 13061856"/>
              <a:gd name="connsiteY3463" fmla="*/ 631284 h 5116136"/>
              <a:gd name="connsiteX3464" fmla="*/ 2005934 w 13061856"/>
              <a:gd name="connsiteY3464" fmla="*/ 638181 h 5116136"/>
              <a:gd name="connsiteX3465" fmla="*/ 2013795 w 13061856"/>
              <a:gd name="connsiteY3465" fmla="*/ 630808 h 5116136"/>
              <a:gd name="connsiteX3466" fmla="*/ 11031727 w 13061856"/>
              <a:gd name="connsiteY3466" fmla="*/ 630095 h 5116136"/>
              <a:gd name="connsiteX3467" fmla="*/ 11019028 w 13061856"/>
              <a:gd name="connsiteY3467" fmla="*/ 645792 h 5116136"/>
              <a:gd name="connsiteX3468" fmla="*/ 11052893 w 13061856"/>
              <a:gd name="connsiteY3468" fmla="*/ 640560 h 5116136"/>
              <a:gd name="connsiteX3469" fmla="*/ 11031727 w 13061856"/>
              <a:gd name="connsiteY3469" fmla="*/ 630095 h 5116136"/>
              <a:gd name="connsiteX3470" fmla="*/ 2680222 w 13061856"/>
              <a:gd name="connsiteY3470" fmla="*/ 629382 h 5116136"/>
              <a:gd name="connsiteX3471" fmla="*/ 2689294 w 13061856"/>
              <a:gd name="connsiteY3471" fmla="*/ 630808 h 5116136"/>
              <a:gd name="connsiteX3472" fmla="*/ 2695341 w 13061856"/>
              <a:gd name="connsiteY3472" fmla="*/ 644603 h 5116136"/>
              <a:gd name="connsiteX3473" fmla="*/ 2635472 w 13061856"/>
              <a:gd name="connsiteY3473" fmla="*/ 649598 h 5116136"/>
              <a:gd name="connsiteX3474" fmla="*/ 2649985 w 13061856"/>
              <a:gd name="connsiteY3474" fmla="*/ 643890 h 5116136"/>
              <a:gd name="connsiteX3475" fmla="*/ 2645753 w 13061856"/>
              <a:gd name="connsiteY3475" fmla="*/ 640560 h 5116136"/>
              <a:gd name="connsiteX3476" fmla="*/ 2680222 w 13061856"/>
              <a:gd name="connsiteY3476" fmla="*/ 629382 h 5116136"/>
              <a:gd name="connsiteX3477" fmla="*/ 1767061 w 13061856"/>
              <a:gd name="connsiteY3477" fmla="*/ 627241 h 5116136"/>
              <a:gd name="connsiteX3478" fmla="*/ 1714449 w 13061856"/>
              <a:gd name="connsiteY3478" fmla="*/ 638657 h 5116136"/>
              <a:gd name="connsiteX3479" fmla="*/ 1767061 w 13061856"/>
              <a:gd name="connsiteY3479" fmla="*/ 627241 h 5116136"/>
              <a:gd name="connsiteX3480" fmla="*/ 11512498 w 13061856"/>
              <a:gd name="connsiteY3480" fmla="*/ 624150 h 5116136"/>
              <a:gd name="connsiteX3481" fmla="*/ 11503427 w 13061856"/>
              <a:gd name="connsiteY3481" fmla="*/ 655306 h 5116136"/>
              <a:gd name="connsiteX3482" fmla="*/ 11533664 w 13061856"/>
              <a:gd name="connsiteY3482" fmla="*/ 636517 h 5116136"/>
              <a:gd name="connsiteX3483" fmla="*/ 11512498 w 13061856"/>
              <a:gd name="connsiteY3483" fmla="*/ 624150 h 5116136"/>
              <a:gd name="connsiteX3484" fmla="*/ 11257900 w 13061856"/>
              <a:gd name="connsiteY3484" fmla="*/ 617014 h 5116136"/>
              <a:gd name="connsiteX3485" fmla="*/ 11242782 w 13061856"/>
              <a:gd name="connsiteY3485" fmla="*/ 629382 h 5116136"/>
              <a:gd name="connsiteX3486" fmla="*/ 11269391 w 13061856"/>
              <a:gd name="connsiteY3486" fmla="*/ 635327 h 5116136"/>
              <a:gd name="connsiteX3487" fmla="*/ 11257900 w 13061856"/>
              <a:gd name="connsiteY3487" fmla="*/ 617014 h 5116136"/>
              <a:gd name="connsiteX3488" fmla="*/ 11323213 w 13061856"/>
              <a:gd name="connsiteY3488" fmla="*/ 616063 h 5116136"/>
              <a:gd name="connsiteX3489" fmla="*/ 11334099 w 13061856"/>
              <a:gd name="connsiteY3489" fmla="*/ 641036 h 5116136"/>
              <a:gd name="connsiteX3490" fmla="*/ 11324423 w 13061856"/>
              <a:gd name="connsiteY3490" fmla="*/ 642225 h 5116136"/>
              <a:gd name="connsiteX3491" fmla="*/ 11323213 w 13061856"/>
              <a:gd name="connsiteY3491" fmla="*/ 616063 h 5116136"/>
              <a:gd name="connsiteX3492" fmla="*/ 11662474 w 13061856"/>
              <a:gd name="connsiteY3492" fmla="*/ 607025 h 5116136"/>
              <a:gd name="connsiteX3493" fmla="*/ 11672150 w 13061856"/>
              <a:gd name="connsiteY3493" fmla="*/ 636992 h 5116136"/>
              <a:gd name="connsiteX3494" fmla="*/ 11657032 w 13061856"/>
              <a:gd name="connsiteY3494" fmla="*/ 655306 h 5116136"/>
              <a:gd name="connsiteX3495" fmla="*/ 11628608 w 13061856"/>
              <a:gd name="connsiteY3495" fmla="*/ 611782 h 5116136"/>
              <a:gd name="connsiteX3496" fmla="*/ 11662474 w 13061856"/>
              <a:gd name="connsiteY3496" fmla="*/ 607025 h 5116136"/>
              <a:gd name="connsiteX3497" fmla="*/ 11509474 w 13061856"/>
              <a:gd name="connsiteY3497" fmla="*/ 594896 h 5116136"/>
              <a:gd name="connsiteX3498" fmla="*/ 11509474 w 13061856"/>
              <a:gd name="connsiteY3498" fmla="*/ 600604 h 5116136"/>
              <a:gd name="connsiteX3499" fmla="*/ 11507659 w 13061856"/>
              <a:gd name="connsiteY3499" fmla="*/ 597037 h 5116136"/>
              <a:gd name="connsiteX3500" fmla="*/ 11509474 w 13061856"/>
              <a:gd name="connsiteY3500" fmla="*/ 594896 h 5116136"/>
              <a:gd name="connsiteX3501" fmla="*/ 11499798 w 13061856"/>
              <a:gd name="connsiteY3501" fmla="*/ 593707 h 5116136"/>
              <a:gd name="connsiteX3502" fmla="*/ 11453233 w 13061856"/>
              <a:gd name="connsiteY3502" fmla="*/ 611782 h 5116136"/>
              <a:gd name="connsiteX3503" fmla="*/ 11441743 w 13061856"/>
              <a:gd name="connsiteY3503" fmla="*/ 636517 h 5116136"/>
              <a:gd name="connsiteX3504" fmla="*/ 11499798 w 13061856"/>
              <a:gd name="connsiteY3504" fmla="*/ 593707 h 5116136"/>
              <a:gd name="connsiteX3505" fmla="*/ 2731626 w 13061856"/>
              <a:gd name="connsiteY3505" fmla="*/ 570637 h 5116136"/>
              <a:gd name="connsiteX3506" fmla="*/ 2744326 w 13061856"/>
              <a:gd name="connsiteY3506" fmla="*/ 573967 h 5116136"/>
              <a:gd name="connsiteX3507" fmla="*/ 2735255 w 13061856"/>
              <a:gd name="connsiteY3507" fmla="*/ 603458 h 5116136"/>
              <a:gd name="connsiteX3508" fmla="*/ 2692318 w 13061856"/>
              <a:gd name="connsiteY3508" fmla="*/ 610355 h 5116136"/>
              <a:gd name="connsiteX3509" fmla="*/ 2634867 w 13061856"/>
              <a:gd name="connsiteY3509" fmla="*/ 603458 h 5116136"/>
              <a:gd name="connsiteX3510" fmla="*/ 2616725 w 13061856"/>
              <a:gd name="connsiteY3510" fmla="*/ 597750 h 5116136"/>
              <a:gd name="connsiteX3511" fmla="*/ 2723765 w 13061856"/>
              <a:gd name="connsiteY3511" fmla="*/ 592518 h 5116136"/>
              <a:gd name="connsiteX3512" fmla="*/ 2722556 w 13061856"/>
              <a:gd name="connsiteY3512" fmla="*/ 572539 h 5116136"/>
              <a:gd name="connsiteX3513" fmla="*/ 2731626 w 13061856"/>
              <a:gd name="connsiteY3513" fmla="*/ 570637 h 5116136"/>
              <a:gd name="connsiteX3514" fmla="*/ 10548536 w 13061856"/>
              <a:gd name="connsiteY3514" fmla="*/ 567307 h 5116136"/>
              <a:gd name="connsiteX3515" fmla="*/ 10474758 w 13061856"/>
              <a:gd name="connsiteY3515" fmla="*/ 583242 h 5116136"/>
              <a:gd name="connsiteX3516" fmla="*/ 10569098 w 13061856"/>
              <a:gd name="connsiteY3516" fmla="*/ 571589 h 5116136"/>
              <a:gd name="connsiteX3517" fmla="*/ 10548536 w 13061856"/>
              <a:gd name="connsiteY3517" fmla="*/ 567307 h 5116136"/>
              <a:gd name="connsiteX3518" fmla="*/ 2627006 w 13061856"/>
              <a:gd name="connsiteY3518" fmla="*/ 559221 h 5116136"/>
              <a:gd name="connsiteX3519" fmla="*/ 2633053 w 13061856"/>
              <a:gd name="connsiteY3519" fmla="*/ 563502 h 5116136"/>
              <a:gd name="connsiteX3520" fmla="*/ 2612492 w 13061856"/>
              <a:gd name="connsiteY3520" fmla="*/ 576345 h 5116136"/>
              <a:gd name="connsiteX3521" fmla="*/ 2619749 w 13061856"/>
              <a:gd name="connsiteY3521" fmla="*/ 559696 h 5116136"/>
              <a:gd name="connsiteX3522" fmla="*/ 2627006 w 13061856"/>
              <a:gd name="connsiteY3522" fmla="*/ 559221 h 5116136"/>
              <a:gd name="connsiteX3523" fmla="*/ 11530036 w 13061856"/>
              <a:gd name="connsiteY3523" fmla="*/ 557556 h 5116136"/>
              <a:gd name="connsiteX3524" fmla="*/ 11549388 w 13061856"/>
              <a:gd name="connsiteY3524" fmla="*/ 563502 h 5116136"/>
              <a:gd name="connsiteX3525" fmla="*/ 11540921 w 13061856"/>
              <a:gd name="connsiteY3525" fmla="*/ 568259 h 5116136"/>
              <a:gd name="connsiteX3526" fmla="*/ 11545154 w 13061856"/>
              <a:gd name="connsiteY3526" fmla="*/ 573967 h 5116136"/>
              <a:gd name="connsiteX3527" fmla="*/ 11540921 w 13061856"/>
              <a:gd name="connsiteY3527" fmla="*/ 573967 h 5116136"/>
              <a:gd name="connsiteX3528" fmla="*/ 11519150 w 13061856"/>
              <a:gd name="connsiteY3528" fmla="*/ 584907 h 5116136"/>
              <a:gd name="connsiteX3529" fmla="*/ 11522174 w 13061856"/>
              <a:gd name="connsiteY3529" fmla="*/ 557794 h 5116136"/>
              <a:gd name="connsiteX3530" fmla="*/ 11530036 w 13061856"/>
              <a:gd name="connsiteY3530" fmla="*/ 557556 h 5116136"/>
              <a:gd name="connsiteX3531" fmla="*/ 10393723 w 13061856"/>
              <a:gd name="connsiteY3531" fmla="*/ 555891 h 5116136"/>
              <a:gd name="connsiteX3532" fmla="*/ 10370742 w 13061856"/>
              <a:gd name="connsiteY3532" fmla="*/ 594183 h 5116136"/>
              <a:gd name="connsiteX3533" fmla="*/ 10419122 w 13061856"/>
              <a:gd name="connsiteY3533" fmla="*/ 588475 h 5116136"/>
              <a:gd name="connsiteX3534" fmla="*/ 10416098 w 13061856"/>
              <a:gd name="connsiteY3534" fmla="*/ 564216 h 5116136"/>
              <a:gd name="connsiteX3535" fmla="*/ 10411260 w 13061856"/>
              <a:gd name="connsiteY3535" fmla="*/ 557794 h 5116136"/>
              <a:gd name="connsiteX3536" fmla="*/ 10393723 w 13061856"/>
              <a:gd name="connsiteY3536" fmla="*/ 555891 h 5116136"/>
              <a:gd name="connsiteX3537" fmla="*/ 2505453 w 13061856"/>
              <a:gd name="connsiteY3537" fmla="*/ 554464 h 5116136"/>
              <a:gd name="connsiteX3538" fmla="*/ 2514524 w 13061856"/>
              <a:gd name="connsiteY3538" fmla="*/ 557794 h 5116136"/>
              <a:gd name="connsiteX3539" fmla="*/ 2476425 w 13061856"/>
              <a:gd name="connsiteY3539" fmla="*/ 570637 h 5116136"/>
              <a:gd name="connsiteX3540" fmla="*/ 2493358 w 13061856"/>
              <a:gd name="connsiteY3540" fmla="*/ 554940 h 5116136"/>
              <a:gd name="connsiteX3541" fmla="*/ 2505453 w 13061856"/>
              <a:gd name="connsiteY3541" fmla="*/ 554464 h 5116136"/>
              <a:gd name="connsiteX3542" fmla="*/ 10625339 w 13061856"/>
              <a:gd name="connsiteY3542" fmla="*/ 546854 h 5116136"/>
              <a:gd name="connsiteX3543" fmla="*/ 10615664 w 13061856"/>
              <a:gd name="connsiteY3543" fmla="*/ 559696 h 5116136"/>
              <a:gd name="connsiteX3544" fmla="*/ 10639853 w 13061856"/>
              <a:gd name="connsiteY3544" fmla="*/ 552086 h 5116136"/>
              <a:gd name="connsiteX3545" fmla="*/ 10625339 w 13061856"/>
              <a:gd name="connsiteY3545" fmla="*/ 546854 h 5116136"/>
              <a:gd name="connsiteX3546" fmla="*/ 9253781 w 13061856"/>
              <a:gd name="connsiteY3546" fmla="*/ 539957 h 5116136"/>
              <a:gd name="connsiteX3547" fmla="*/ 9287648 w 13061856"/>
              <a:gd name="connsiteY3547" fmla="*/ 554464 h 5116136"/>
              <a:gd name="connsiteX3548" fmla="*/ 9388034 w 13061856"/>
              <a:gd name="connsiteY3548" fmla="*/ 542811 h 5116136"/>
              <a:gd name="connsiteX3549" fmla="*/ 9418876 w 13061856"/>
              <a:gd name="connsiteY3549" fmla="*/ 561123 h 5116136"/>
              <a:gd name="connsiteX3550" fmla="*/ 9596066 w 13061856"/>
              <a:gd name="connsiteY3550" fmla="*/ 556842 h 5116136"/>
              <a:gd name="connsiteX3551" fmla="*/ 9570063 w 13061856"/>
              <a:gd name="connsiteY3551" fmla="*/ 542335 h 5116136"/>
              <a:gd name="connsiteX3552" fmla="*/ 9676497 w 13061856"/>
              <a:gd name="connsiteY3552" fmla="*/ 549708 h 5116136"/>
              <a:gd name="connsiteX3553" fmla="*/ 9640817 w 13061856"/>
              <a:gd name="connsiteY3553" fmla="*/ 580388 h 5116136"/>
              <a:gd name="connsiteX3554" fmla="*/ 9392873 w 13061856"/>
              <a:gd name="connsiteY3554" fmla="*/ 584907 h 5116136"/>
              <a:gd name="connsiteX3555" fmla="*/ 9338445 w 13061856"/>
              <a:gd name="connsiteY3555" fmla="*/ 598226 h 5116136"/>
              <a:gd name="connsiteX3556" fmla="*/ 9359611 w 13061856"/>
              <a:gd name="connsiteY3556" fmla="*/ 580388 h 5116136"/>
              <a:gd name="connsiteX3557" fmla="*/ 9232011 w 13061856"/>
              <a:gd name="connsiteY3557" fmla="*/ 553275 h 5116136"/>
              <a:gd name="connsiteX3558" fmla="*/ 9253781 w 13061856"/>
              <a:gd name="connsiteY3558" fmla="*/ 539957 h 5116136"/>
              <a:gd name="connsiteX3559" fmla="*/ 9721248 w 13061856"/>
              <a:gd name="connsiteY3559" fmla="*/ 538053 h 5116136"/>
              <a:gd name="connsiteX3560" fmla="*/ 9740600 w 13061856"/>
              <a:gd name="connsiteY3560" fmla="*/ 558983 h 5116136"/>
              <a:gd name="connsiteX3561" fmla="*/ 9701291 w 13061856"/>
              <a:gd name="connsiteY3561" fmla="*/ 578247 h 5116136"/>
              <a:gd name="connsiteX3562" fmla="*/ 9675893 w 13061856"/>
              <a:gd name="connsiteY3562" fmla="*/ 559696 h 5116136"/>
              <a:gd name="connsiteX3563" fmla="*/ 9716410 w 13061856"/>
              <a:gd name="connsiteY3563" fmla="*/ 565405 h 5116136"/>
              <a:gd name="connsiteX3564" fmla="*/ 9715201 w 13061856"/>
              <a:gd name="connsiteY3564" fmla="*/ 540433 h 5116136"/>
              <a:gd name="connsiteX3565" fmla="*/ 9721248 w 13061856"/>
              <a:gd name="connsiteY3565" fmla="*/ 538053 h 5116136"/>
              <a:gd name="connsiteX3566" fmla="*/ 9094734 w 13061856"/>
              <a:gd name="connsiteY3566" fmla="*/ 531870 h 5116136"/>
              <a:gd name="connsiteX3567" fmla="*/ 9222939 w 13061856"/>
              <a:gd name="connsiteY3567" fmla="*/ 545189 h 5116136"/>
              <a:gd name="connsiteX3568" fmla="*/ 9091106 w 13061856"/>
              <a:gd name="connsiteY3568" fmla="*/ 552562 h 5116136"/>
              <a:gd name="connsiteX3569" fmla="*/ 9094734 w 13061856"/>
              <a:gd name="connsiteY3569" fmla="*/ 531870 h 5116136"/>
              <a:gd name="connsiteX3570" fmla="*/ 7528449 w 13061856"/>
              <a:gd name="connsiteY3570" fmla="*/ 529492 h 5116136"/>
              <a:gd name="connsiteX3571" fmla="*/ 7546592 w 13061856"/>
              <a:gd name="connsiteY3571" fmla="*/ 552086 h 5116136"/>
              <a:gd name="connsiteX3572" fmla="*/ 7547801 w 13061856"/>
              <a:gd name="connsiteY3572" fmla="*/ 584431 h 5116136"/>
              <a:gd name="connsiteX3573" fmla="*/ 7527845 w 13061856"/>
              <a:gd name="connsiteY3573" fmla="*/ 584431 h 5116136"/>
              <a:gd name="connsiteX3574" fmla="*/ 7503050 w 13061856"/>
              <a:gd name="connsiteY3574" fmla="*/ 578723 h 5116136"/>
              <a:gd name="connsiteX3575" fmla="*/ 7497003 w 13061856"/>
              <a:gd name="connsiteY3575" fmla="*/ 557318 h 5116136"/>
              <a:gd name="connsiteX3576" fmla="*/ 7528449 w 13061856"/>
              <a:gd name="connsiteY3576" fmla="*/ 529492 h 5116136"/>
              <a:gd name="connsiteX3577" fmla="*/ 10012130 w 13061856"/>
              <a:gd name="connsiteY3577" fmla="*/ 529016 h 5116136"/>
              <a:gd name="connsiteX3578" fmla="*/ 10035110 w 13061856"/>
              <a:gd name="connsiteY3578" fmla="*/ 529016 h 5116136"/>
              <a:gd name="connsiteX3579" fmla="*/ 10010920 w 13061856"/>
              <a:gd name="connsiteY3579" fmla="*/ 551610 h 5116136"/>
              <a:gd name="connsiteX3580" fmla="*/ 10081071 w 13061856"/>
              <a:gd name="connsiteY3580" fmla="*/ 527113 h 5116136"/>
              <a:gd name="connsiteX3581" fmla="*/ 10107679 w 13061856"/>
              <a:gd name="connsiteY3581" fmla="*/ 557794 h 5116136"/>
              <a:gd name="connsiteX3582" fmla="*/ 10081071 w 13061856"/>
              <a:gd name="connsiteY3582" fmla="*/ 527113 h 5116136"/>
              <a:gd name="connsiteX3583" fmla="*/ 2524803 w 13061856"/>
              <a:gd name="connsiteY3583" fmla="*/ 518076 h 5116136"/>
              <a:gd name="connsiteX3584" fmla="*/ 2533270 w 13061856"/>
              <a:gd name="connsiteY3584" fmla="*/ 532821 h 5116136"/>
              <a:gd name="connsiteX3585" fmla="*/ 2548389 w 13061856"/>
              <a:gd name="connsiteY3585" fmla="*/ 529016 h 5116136"/>
              <a:gd name="connsiteX3586" fmla="*/ 2527828 w 13061856"/>
              <a:gd name="connsiteY3586" fmla="*/ 539481 h 5116136"/>
              <a:gd name="connsiteX3587" fmla="*/ 2524803 w 13061856"/>
              <a:gd name="connsiteY3587" fmla="*/ 518076 h 5116136"/>
              <a:gd name="connsiteX3588" fmla="*/ 9082035 w 13061856"/>
              <a:gd name="connsiteY3588" fmla="*/ 515222 h 5116136"/>
              <a:gd name="connsiteX3589" fmla="*/ 9086267 w 13061856"/>
              <a:gd name="connsiteY3589" fmla="*/ 556842 h 5116136"/>
              <a:gd name="connsiteX3590" fmla="*/ 9051797 w 13061856"/>
              <a:gd name="connsiteY3590" fmla="*/ 544000 h 5116136"/>
              <a:gd name="connsiteX3591" fmla="*/ 9080825 w 13061856"/>
              <a:gd name="connsiteY3591" fmla="*/ 531870 h 5116136"/>
              <a:gd name="connsiteX3592" fmla="*/ 9859734 w 13061856"/>
              <a:gd name="connsiteY3592" fmla="*/ 513794 h 5116136"/>
              <a:gd name="connsiteX3593" fmla="*/ 9876062 w 13061856"/>
              <a:gd name="connsiteY3593" fmla="*/ 576821 h 5116136"/>
              <a:gd name="connsiteX3594" fmla="*/ 9849453 w 13061856"/>
              <a:gd name="connsiteY3594" fmla="*/ 570637 h 5116136"/>
              <a:gd name="connsiteX3595" fmla="*/ 9868805 w 13061856"/>
              <a:gd name="connsiteY3595" fmla="*/ 564216 h 5116136"/>
              <a:gd name="connsiteX3596" fmla="*/ 9850664 w 13061856"/>
              <a:gd name="connsiteY3596" fmla="*/ 546378 h 5116136"/>
              <a:gd name="connsiteX3597" fmla="*/ 9747857 w 13061856"/>
              <a:gd name="connsiteY3597" fmla="*/ 596561 h 5116136"/>
              <a:gd name="connsiteX3598" fmla="*/ 9753299 w 13061856"/>
              <a:gd name="connsiteY3598" fmla="*/ 545665 h 5116136"/>
              <a:gd name="connsiteX3599" fmla="*/ 9859734 w 13061856"/>
              <a:gd name="connsiteY3599" fmla="*/ 513794 h 5116136"/>
              <a:gd name="connsiteX3600" fmla="*/ 8890936 w 13061856"/>
              <a:gd name="connsiteY3600" fmla="*/ 504757 h 5116136"/>
              <a:gd name="connsiteX3601" fmla="*/ 8897587 w 13061856"/>
              <a:gd name="connsiteY3601" fmla="*/ 510940 h 5116136"/>
              <a:gd name="connsiteX3602" fmla="*/ 8971366 w 13061856"/>
              <a:gd name="connsiteY3602" fmla="*/ 529492 h 5116136"/>
              <a:gd name="connsiteX3603" fmla="*/ 8926616 w 13061856"/>
              <a:gd name="connsiteY3603" fmla="*/ 547567 h 5116136"/>
              <a:gd name="connsiteX3604" fmla="*/ 8891541 w 13061856"/>
              <a:gd name="connsiteY3604" fmla="*/ 534248 h 5116136"/>
              <a:gd name="connsiteX3605" fmla="*/ 8890936 w 13061856"/>
              <a:gd name="connsiteY3605" fmla="*/ 504757 h 5116136"/>
              <a:gd name="connsiteX3606" fmla="*/ 2070037 w 13061856"/>
              <a:gd name="connsiteY3606" fmla="*/ 497860 h 5116136"/>
              <a:gd name="connsiteX3607" fmla="*/ 2032543 w 13061856"/>
              <a:gd name="connsiteY3607" fmla="*/ 531394 h 5116136"/>
              <a:gd name="connsiteX3608" fmla="*/ 2070037 w 13061856"/>
              <a:gd name="connsiteY3608" fmla="*/ 497860 h 5116136"/>
              <a:gd name="connsiteX3609" fmla="*/ 2562298 w 13061856"/>
              <a:gd name="connsiteY3609" fmla="*/ 490724 h 5116136"/>
              <a:gd name="connsiteX3610" fmla="*/ 2605839 w 13061856"/>
              <a:gd name="connsiteY3610" fmla="*/ 513794 h 5116136"/>
              <a:gd name="connsiteX3611" fmla="*/ 2589512 w 13061856"/>
              <a:gd name="connsiteY3611" fmla="*/ 529967 h 5116136"/>
              <a:gd name="connsiteX3612" fmla="*/ 2570764 w 13061856"/>
              <a:gd name="connsiteY3612" fmla="*/ 501190 h 5116136"/>
              <a:gd name="connsiteX3613" fmla="*/ 2565322 w 13061856"/>
              <a:gd name="connsiteY3613" fmla="*/ 520454 h 5116136"/>
              <a:gd name="connsiteX3614" fmla="*/ 2562298 w 13061856"/>
              <a:gd name="connsiteY3614" fmla="*/ 490724 h 5116136"/>
              <a:gd name="connsiteX3615" fmla="*/ 8498457 w 13061856"/>
              <a:gd name="connsiteY3615" fmla="*/ 489059 h 5116136"/>
              <a:gd name="connsiteX3616" fmla="*/ 8504504 w 13061856"/>
              <a:gd name="connsiteY3616" fmla="*/ 492628 h 5116136"/>
              <a:gd name="connsiteX3617" fmla="*/ 8474872 w 13061856"/>
              <a:gd name="connsiteY3617" fmla="*/ 499525 h 5116136"/>
              <a:gd name="connsiteX3618" fmla="*/ 8489990 w 13061856"/>
              <a:gd name="connsiteY3618" fmla="*/ 489774 h 5116136"/>
              <a:gd name="connsiteX3619" fmla="*/ 8498457 w 13061856"/>
              <a:gd name="connsiteY3619" fmla="*/ 489059 h 5116136"/>
              <a:gd name="connsiteX3620" fmla="*/ 8599450 w 13061856"/>
              <a:gd name="connsiteY3620" fmla="*/ 488346 h 5116136"/>
              <a:gd name="connsiteX3621" fmla="*/ 8568608 w 13061856"/>
              <a:gd name="connsiteY3621" fmla="*/ 490250 h 5116136"/>
              <a:gd name="connsiteX3622" fmla="*/ 8635734 w 13061856"/>
              <a:gd name="connsiteY3622" fmla="*/ 495957 h 5116136"/>
              <a:gd name="connsiteX3623" fmla="*/ 8599450 w 13061856"/>
              <a:gd name="connsiteY3623" fmla="*/ 488346 h 5116136"/>
              <a:gd name="connsiteX3624" fmla="*/ 8601264 w 13061856"/>
              <a:gd name="connsiteY3624" fmla="*/ 475028 h 5116136"/>
              <a:gd name="connsiteX3625" fmla="*/ 8636943 w 13061856"/>
              <a:gd name="connsiteY3625" fmla="*/ 495006 h 5116136"/>
              <a:gd name="connsiteX3626" fmla="*/ 8652062 w 13061856"/>
              <a:gd name="connsiteY3626" fmla="*/ 486207 h 5116136"/>
              <a:gd name="connsiteX3627" fmla="*/ 8811715 w 13061856"/>
              <a:gd name="connsiteY3627" fmla="*/ 504043 h 5116136"/>
              <a:gd name="connsiteX3628" fmla="*/ 8881865 w 13061856"/>
              <a:gd name="connsiteY3628" fmla="*/ 530919 h 5116136"/>
              <a:gd name="connsiteX3629" fmla="*/ 8772406 w 13061856"/>
              <a:gd name="connsiteY3629" fmla="*/ 523308 h 5116136"/>
              <a:gd name="connsiteX3630" fmla="*/ 8776035 w 13061856"/>
              <a:gd name="connsiteY3630" fmla="*/ 535914 h 5116136"/>
              <a:gd name="connsiteX3631" fmla="*/ 8673229 w 13061856"/>
              <a:gd name="connsiteY3631" fmla="*/ 537103 h 5116136"/>
              <a:gd name="connsiteX3632" fmla="*/ 8682904 w 13061856"/>
              <a:gd name="connsiteY3632" fmla="*/ 542335 h 5116136"/>
              <a:gd name="connsiteX3633" fmla="*/ 8547442 w 13061856"/>
              <a:gd name="connsiteY3633" fmla="*/ 561123 h 5116136"/>
              <a:gd name="connsiteX3634" fmla="*/ 8542604 w 13061856"/>
              <a:gd name="connsiteY3634" fmla="*/ 479309 h 5116136"/>
              <a:gd name="connsiteX3635" fmla="*/ 8565584 w 13061856"/>
              <a:gd name="connsiteY3635" fmla="*/ 489059 h 5116136"/>
              <a:gd name="connsiteX3636" fmla="*/ 8601264 w 13061856"/>
              <a:gd name="connsiteY3636" fmla="*/ 475028 h 5116136"/>
              <a:gd name="connsiteX3637" fmla="*/ 2160748 w 13061856"/>
              <a:gd name="connsiteY3637" fmla="*/ 474552 h 5116136"/>
              <a:gd name="connsiteX3638" fmla="*/ 2157120 w 13061856"/>
              <a:gd name="connsiteY3638" fmla="*/ 502854 h 5116136"/>
              <a:gd name="connsiteX3639" fmla="*/ 2160748 w 13061856"/>
              <a:gd name="connsiteY3639" fmla="*/ 474552 h 5116136"/>
              <a:gd name="connsiteX3640" fmla="*/ 8458544 w 13061856"/>
              <a:gd name="connsiteY3640" fmla="*/ 474077 h 5116136"/>
              <a:gd name="connsiteX3641" fmla="*/ 8359971 w 13061856"/>
              <a:gd name="connsiteY3641" fmla="*/ 504043 h 5116136"/>
              <a:gd name="connsiteX3642" fmla="*/ 8349085 w 13061856"/>
              <a:gd name="connsiteY3642" fmla="*/ 485016 h 5116136"/>
              <a:gd name="connsiteX3643" fmla="*/ 8458544 w 13061856"/>
              <a:gd name="connsiteY3643" fmla="*/ 474077 h 5116136"/>
              <a:gd name="connsiteX3644" fmla="*/ 1651555 w 13061856"/>
              <a:gd name="connsiteY3644" fmla="*/ 473601 h 5116136"/>
              <a:gd name="connsiteX3645" fmla="*/ 1678768 w 13061856"/>
              <a:gd name="connsiteY3645" fmla="*/ 481212 h 5116136"/>
              <a:gd name="connsiteX3646" fmla="*/ 1651555 w 13061856"/>
              <a:gd name="connsiteY3646" fmla="*/ 473601 h 5116136"/>
              <a:gd name="connsiteX3647" fmla="*/ 1999887 w 13061856"/>
              <a:gd name="connsiteY3647" fmla="*/ 452671 h 5116136"/>
              <a:gd name="connsiteX3648" fmla="*/ 1973278 w 13061856"/>
              <a:gd name="connsiteY3648" fmla="*/ 524260 h 5116136"/>
              <a:gd name="connsiteX3649" fmla="*/ 1999887 w 13061856"/>
              <a:gd name="connsiteY3649" fmla="*/ 452671 h 5116136"/>
              <a:gd name="connsiteX3650" fmla="*/ 6476066 w 13061856"/>
              <a:gd name="connsiteY3650" fmla="*/ 431777 h 5116136"/>
              <a:gd name="connsiteX3651" fmla="*/ 6476801 w 13061856"/>
              <a:gd name="connsiteY3651" fmla="*/ 431981 h 5116136"/>
              <a:gd name="connsiteX3652" fmla="*/ 6471963 w 13061856"/>
              <a:gd name="connsiteY3652" fmla="*/ 437213 h 5116136"/>
              <a:gd name="connsiteX3653" fmla="*/ 7714105 w 13061856"/>
              <a:gd name="connsiteY3653" fmla="*/ 421515 h 5116136"/>
              <a:gd name="connsiteX3654" fmla="*/ 7744343 w 13061856"/>
              <a:gd name="connsiteY3654" fmla="*/ 436261 h 5116136"/>
              <a:gd name="connsiteX3655" fmla="*/ 7772766 w 13061856"/>
              <a:gd name="connsiteY3655" fmla="*/ 436261 h 5116136"/>
              <a:gd name="connsiteX3656" fmla="*/ 7734062 w 13061856"/>
              <a:gd name="connsiteY3656" fmla="*/ 450531 h 5116136"/>
              <a:gd name="connsiteX3657" fmla="*/ 7723177 w 13061856"/>
              <a:gd name="connsiteY3657" fmla="*/ 430077 h 5116136"/>
              <a:gd name="connsiteX3658" fmla="*/ 7690521 w 13061856"/>
              <a:gd name="connsiteY3658" fmla="*/ 431981 h 5116136"/>
              <a:gd name="connsiteX3659" fmla="*/ 7704430 w 13061856"/>
              <a:gd name="connsiteY3659" fmla="*/ 421991 h 5116136"/>
              <a:gd name="connsiteX3660" fmla="*/ 7714105 w 13061856"/>
              <a:gd name="connsiteY3660" fmla="*/ 421515 h 5116136"/>
              <a:gd name="connsiteX3661" fmla="*/ 7662098 w 13061856"/>
              <a:gd name="connsiteY3661" fmla="*/ 417472 h 5116136"/>
              <a:gd name="connsiteX3662" fmla="*/ 7683868 w 13061856"/>
              <a:gd name="connsiteY3662" fmla="*/ 419137 h 5116136"/>
              <a:gd name="connsiteX3663" fmla="*/ 7645769 w 13061856"/>
              <a:gd name="connsiteY3663" fmla="*/ 424845 h 5116136"/>
              <a:gd name="connsiteX3664" fmla="*/ 7662098 w 13061856"/>
              <a:gd name="connsiteY3664" fmla="*/ 417472 h 5116136"/>
              <a:gd name="connsiteX3665" fmla="*/ 6473172 w 13061856"/>
              <a:gd name="connsiteY3665" fmla="*/ 416045 h 5116136"/>
              <a:gd name="connsiteX3666" fmla="*/ 6483453 w 13061856"/>
              <a:gd name="connsiteY3666" fmla="*/ 421991 h 5116136"/>
              <a:gd name="connsiteX3667" fmla="*/ 6476066 w 13061856"/>
              <a:gd name="connsiteY3667" fmla="*/ 431777 h 5116136"/>
              <a:gd name="connsiteX3668" fmla="*/ 6463648 w 13061856"/>
              <a:gd name="connsiteY3668" fmla="*/ 428353 h 5116136"/>
              <a:gd name="connsiteX3669" fmla="*/ 6453215 w 13061856"/>
              <a:gd name="connsiteY3669" fmla="*/ 437213 h 5116136"/>
              <a:gd name="connsiteX3670" fmla="*/ 6458659 w 13061856"/>
              <a:gd name="connsiteY3670" fmla="*/ 417472 h 5116136"/>
              <a:gd name="connsiteX3671" fmla="*/ 6473172 w 13061856"/>
              <a:gd name="connsiteY3671" fmla="*/ 416045 h 5116136"/>
              <a:gd name="connsiteX3672" fmla="*/ 7600414 w 13061856"/>
              <a:gd name="connsiteY3672" fmla="*/ 404153 h 5116136"/>
              <a:gd name="connsiteX3673" fmla="*/ 7624603 w 13061856"/>
              <a:gd name="connsiteY3673" fmla="*/ 411763 h 5116136"/>
              <a:gd name="connsiteX3674" fmla="*/ 7594970 w 13061856"/>
              <a:gd name="connsiteY3674" fmla="*/ 411050 h 5116136"/>
              <a:gd name="connsiteX3675" fmla="*/ 7600414 w 13061856"/>
              <a:gd name="connsiteY3675" fmla="*/ 404153 h 5116136"/>
              <a:gd name="connsiteX3676" fmla="*/ 8652062 w 13061856"/>
              <a:gd name="connsiteY3676" fmla="*/ 386078 h 5116136"/>
              <a:gd name="connsiteX3677" fmla="*/ 8658109 w 13061856"/>
              <a:gd name="connsiteY3677" fmla="*/ 419137 h 5116136"/>
              <a:gd name="connsiteX3678" fmla="*/ 8628476 w 13061856"/>
              <a:gd name="connsiteY3678" fmla="*/ 412239 h 5116136"/>
              <a:gd name="connsiteX3679" fmla="*/ 8652062 w 13061856"/>
              <a:gd name="connsiteY3679" fmla="*/ 386078 h 5116136"/>
              <a:gd name="connsiteX3680" fmla="*/ 7502445 w 13061856"/>
              <a:gd name="connsiteY3680" fmla="*/ 379894 h 5116136"/>
              <a:gd name="connsiteX3681" fmla="*/ 7587714 w 13061856"/>
              <a:gd name="connsiteY3681" fmla="*/ 402251 h 5116136"/>
              <a:gd name="connsiteX3682" fmla="*/ 7532683 w 13061856"/>
              <a:gd name="connsiteY3682" fmla="*/ 415093 h 5116136"/>
              <a:gd name="connsiteX3683" fmla="*/ 7491560 w 13061856"/>
              <a:gd name="connsiteY3683" fmla="*/ 390834 h 5116136"/>
              <a:gd name="connsiteX3684" fmla="*/ 7502445 w 13061856"/>
              <a:gd name="connsiteY3684" fmla="*/ 379894 h 5116136"/>
              <a:gd name="connsiteX3685" fmla="*/ 6583236 w 13061856"/>
              <a:gd name="connsiteY3685" fmla="*/ 373473 h 5116136"/>
              <a:gd name="connsiteX3686" fmla="*/ 6567512 w 13061856"/>
              <a:gd name="connsiteY3686" fmla="*/ 397970 h 5116136"/>
              <a:gd name="connsiteX3687" fmla="*/ 6574165 w 13061856"/>
              <a:gd name="connsiteY3687" fmla="*/ 406531 h 5116136"/>
              <a:gd name="connsiteX3688" fmla="*/ 6575979 w 13061856"/>
              <a:gd name="connsiteY3688" fmla="*/ 382748 h 5116136"/>
              <a:gd name="connsiteX3689" fmla="*/ 6582632 w 13061856"/>
              <a:gd name="connsiteY3689" fmla="*/ 383224 h 5116136"/>
              <a:gd name="connsiteX3690" fmla="*/ 6583236 w 13061856"/>
              <a:gd name="connsiteY3690" fmla="*/ 373473 h 5116136"/>
              <a:gd name="connsiteX3691" fmla="*/ 7385125 w 13061856"/>
              <a:gd name="connsiteY3691" fmla="*/ 370143 h 5116136"/>
              <a:gd name="connsiteX3692" fmla="*/ 7400244 w 13061856"/>
              <a:gd name="connsiteY3692" fmla="*/ 398921 h 5116136"/>
              <a:gd name="connsiteX3693" fmla="*/ 7434714 w 13061856"/>
              <a:gd name="connsiteY3693" fmla="*/ 375851 h 5116136"/>
              <a:gd name="connsiteX3694" fmla="*/ 7452252 w 13061856"/>
              <a:gd name="connsiteY3694" fmla="*/ 377516 h 5116136"/>
              <a:gd name="connsiteX3695" fmla="*/ 7490351 w 13061856"/>
              <a:gd name="connsiteY3695" fmla="*/ 417472 h 5116136"/>
              <a:gd name="connsiteX3696" fmla="*/ 7336141 w 13061856"/>
              <a:gd name="connsiteY3696" fmla="*/ 420802 h 5116136"/>
              <a:gd name="connsiteX3697" fmla="*/ 7335537 w 13061856"/>
              <a:gd name="connsiteY3697" fmla="*/ 387980 h 5116136"/>
              <a:gd name="connsiteX3698" fmla="*/ 7385125 w 13061856"/>
              <a:gd name="connsiteY3698" fmla="*/ 370143 h 5116136"/>
              <a:gd name="connsiteX3699" fmla="*/ 6532966 w 13061856"/>
              <a:gd name="connsiteY3699" fmla="*/ 368188 h 5116136"/>
              <a:gd name="connsiteX3700" fmla="*/ 6525785 w 13061856"/>
              <a:gd name="connsiteY3700" fmla="*/ 368241 h 5116136"/>
              <a:gd name="connsiteX3701" fmla="*/ 6398789 w 13061856"/>
              <a:gd name="connsiteY3701" fmla="*/ 412715 h 5116136"/>
              <a:gd name="connsiteX3702" fmla="*/ 6445354 w 13061856"/>
              <a:gd name="connsiteY3702" fmla="*/ 437213 h 5116136"/>
              <a:gd name="connsiteX3703" fmla="*/ 6415116 w 13061856"/>
              <a:gd name="connsiteY3703" fmla="*/ 454336 h 5116136"/>
              <a:gd name="connsiteX3704" fmla="*/ 6450797 w 13061856"/>
              <a:gd name="connsiteY3704" fmla="*/ 464800 h 5116136"/>
              <a:gd name="connsiteX3705" fmla="*/ 6518528 w 13061856"/>
              <a:gd name="connsiteY3705" fmla="*/ 411763 h 5116136"/>
              <a:gd name="connsiteX3706" fmla="*/ 6535461 w 13061856"/>
              <a:gd name="connsiteY3706" fmla="*/ 412715 h 5116136"/>
              <a:gd name="connsiteX3707" fmla="*/ 6544532 w 13061856"/>
              <a:gd name="connsiteY3707" fmla="*/ 379894 h 5116136"/>
              <a:gd name="connsiteX3708" fmla="*/ 6532966 w 13061856"/>
              <a:gd name="connsiteY3708" fmla="*/ 368188 h 5116136"/>
              <a:gd name="connsiteX3709" fmla="*/ 7224868 w 13061856"/>
              <a:gd name="connsiteY3709" fmla="*/ 364911 h 5116136"/>
              <a:gd name="connsiteX3710" fmla="*/ 7235149 w 13061856"/>
              <a:gd name="connsiteY3710" fmla="*/ 387505 h 5116136"/>
              <a:gd name="connsiteX3711" fmla="*/ 7220636 w 13061856"/>
              <a:gd name="connsiteY3711" fmla="*/ 383700 h 5116136"/>
              <a:gd name="connsiteX3712" fmla="*/ 7201888 w 13061856"/>
              <a:gd name="connsiteY3712" fmla="*/ 387505 h 5116136"/>
              <a:gd name="connsiteX3713" fmla="*/ 7212169 w 13061856"/>
              <a:gd name="connsiteY3713" fmla="*/ 375851 h 5116136"/>
              <a:gd name="connsiteX3714" fmla="*/ 7224868 w 13061856"/>
              <a:gd name="connsiteY3714" fmla="*/ 364911 h 5116136"/>
              <a:gd name="connsiteX3715" fmla="*/ 7050097 w 13061856"/>
              <a:gd name="connsiteY3715" fmla="*/ 353257 h 5116136"/>
              <a:gd name="connsiteX3716" fmla="*/ 7143833 w 13061856"/>
              <a:gd name="connsiteY3716" fmla="*/ 365386 h 5116136"/>
              <a:gd name="connsiteX3717" fmla="*/ 7123876 w 13061856"/>
              <a:gd name="connsiteY3717" fmla="*/ 388456 h 5116136"/>
              <a:gd name="connsiteX3718" fmla="*/ 7045864 w 13061856"/>
              <a:gd name="connsiteY3718" fmla="*/ 382272 h 5116136"/>
              <a:gd name="connsiteX3719" fmla="*/ 7050097 w 13061856"/>
              <a:gd name="connsiteY3719" fmla="*/ 353257 h 5116136"/>
              <a:gd name="connsiteX3720" fmla="*/ 2018634 w 13061856"/>
              <a:gd name="connsiteY3720" fmla="*/ 348262 h 5116136"/>
              <a:gd name="connsiteX3721" fmla="*/ 2053104 w 13061856"/>
              <a:gd name="connsiteY3721" fmla="*/ 349214 h 5116136"/>
              <a:gd name="connsiteX3722" fmla="*/ 2012586 w 13061856"/>
              <a:gd name="connsiteY3722" fmla="*/ 367765 h 5116136"/>
              <a:gd name="connsiteX3723" fmla="*/ 2018634 w 13061856"/>
              <a:gd name="connsiteY3723" fmla="*/ 348262 h 5116136"/>
              <a:gd name="connsiteX3724" fmla="*/ 6119398 w 13061856"/>
              <a:gd name="connsiteY3724" fmla="*/ 337798 h 5116136"/>
              <a:gd name="connsiteX3725" fmla="*/ 6027476 w 13061856"/>
              <a:gd name="connsiteY3725" fmla="*/ 353257 h 5116136"/>
              <a:gd name="connsiteX3726" fmla="*/ 6119398 w 13061856"/>
              <a:gd name="connsiteY3726" fmla="*/ 337798 h 5116136"/>
              <a:gd name="connsiteX3727" fmla="*/ 6644920 w 13061856"/>
              <a:gd name="connsiteY3727" fmla="*/ 333041 h 5116136"/>
              <a:gd name="connsiteX3728" fmla="*/ 6635849 w 13061856"/>
              <a:gd name="connsiteY3728" fmla="*/ 334230 h 5116136"/>
              <a:gd name="connsiteX3729" fmla="*/ 6629801 w 13061856"/>
              <a:gd name="connsiteY3729" fmla="*/ 357300 h 5116136"/>
              <a:gd name="connsiteX3730" fmla="*/ 6646734 w 13061856"/>
              <a:gd name="connsiteY3730" fmla="*/ 354922 h 5116136"/>
              <a:gd name="connsiteX3731" fmla="*/ 6664271 w 13061856"/>
              <a:gd name="connsiteY3731" fmla="*/ 340652 h 5116136"/>
              <a:gd name="connsiteX3732" fmla="*/ 6644920 w 13061856"/>
              <a:gd name="connsiteY3732" fmla="*/ 333041 h 5116136"/>
              <a:gd name="connsiteX3733" fmla="*/ 6536672 w 13061856"/>
              <a:gd name="connsiteY3733" fmla="*/ 315680 h 5116136"/>
              <a:gd name="connsiteX3734" fmla="*/ 6503409 w 13061856"/>
              <a:gd name="connsiteY3734" fmla="*/ 338749 h 5116136"/>
              <a:gd name="connsiteX3735" fmla="*/ 6536672 w 13061856"/>
              <a:gd name="connsiteY3735" fmla="*/ 315680 h 5116136"/>
              <a:gd name="connsiteX3736" fmla="*/ 6458054 w 13061856"/>
              <a:gd name="connsiteY3736" fmla="*/ 313301 h 5116136"/>
              <a:gd name="connsiteX3737" fmla="*/ 6446563 w 13061856"/>
              <a:gd name="connsiteY3737" fmla="*/ 327809 h 5116136"/>
              <a:gd name="connsiteX3738" fmla="*/ 6473777 w 13061856"/>
              <a:gd name="connsiteY3738" fmla="*/ 316155 h 5116136"/>
              <a:gd name="connsiteX3739" fmla="*/ 6458054 w 13061856"/>
              <a:gd name="connsiteY3739" fmla="*/ 313301 h 5116136"/>
              <a:gd name="connsiteX3740" fmla="*/ 6664271 w 13061856"/>
              <a:gd name="connsiteY3740" fmla="*/ 299031 h 5116136"/>
              <a:gd name="connsiteX3741" fmla="*/ 6665480 w 13061856"/>
              <a:gd name="connsiteY3741" fmla="*/ 328285 h 5116136"/>
              <a:gd name="connsiteX3742" fmla="*/ 6684832 w 13061856"/>
              <a:gd name="connsiteY3742" fmla="*/ 322577 h 5116136"/>
              <a:gd name="connsiteX3743" fmla="*/ 6678786 w 13061856"/>
              <a:gd name="connsiteY3743" fmla="*/ 299983 h 5116136"/>
              <a:gd name="connsiteX3744" fmla="*/ 6194387 w 13061856"/>
              <a:gd name="connsiteY3744" fmla="*/ 284523 h 5116136"/>
              <a:gd name="connsiteX3745" fmla="*/ 6213738 w 13061856"/>
              <a:gd name="connsiteY3745" fmla="*/ 286188 h 5116136"/>
              <a:gd name="connsiteX3746" fmla="*/ 6164149 w 13061856"/>
              <a:gd name="connsiteY3746" fmla="*/ 270016 h 5116136"/>
              <a:gd name="connsiteX3747" fmla="*/ 6151449 w 13061856"/>
              <a:gd name="connsiteY3747" fmla="*/ 284523 h 5116136"/>
              <a:gd name="connsiteX3748" fmla="*/ 6185315 w 13061856"/>
              <a:gd name="connsiteY3748" fmla="*/ 279767 h 5116136"/>
              <a:gd name="connsiteX3749" fmla="*/ 6164149 w 13061856"/>
              <a:gd name="connsiteY3749" fmla="*/ 270016 h 5116136"/>
              <a:gd name="connsiteX3750" fmla="*/ 6623148 w 13061856"/>
              <a:gd name="connsiteY3750" fmla="*/ 263594 h 5116136"/>
              <a:gd name="connsiteX3751" fmla="*/ 6612263 w 13061856"/>
              <a:gd name="connsiteY3751" fmla="*/ 292610 h 5116136"/>
              <a:gd name="connsiteX3752" fmla="*/ 6641895 w 13061856"/>
              <a:gd name="connsiteY3752" fmla="*/ 275248 h 5116136"/>
              <a:gd name="connsiteX3753" fmla="*/ 6623148 w 13061856"/>
              <a:gd name="connsiteY3753" fmla="*/ 263594 h 5116136"/>
              <a:gd name="connsiteX3754" fmla="*/ 6441121 w 13061856"/>
              <a:gd name="connsiteY3754" fmla="*/ 257886 h 5116136"/>
              <a:gd name="connsiteX3755" fmla="*/ 6452007 w 13061856"/>
              <a:gd name="connsiteY3755" fmla="*/ 280480 h 5116136"/>
              <a:gd name="connsiteX3756" fmla="*/ 6442330 w 13061856"/>
              <a:gd name="connsiteY3756" fmla="*/ 279767 h 5116136"/>
              <a:gd name="connsiteX3757" fmla="*/ 6441121 w 13061856"/>
              <a:gd name="connsiteY3757" fmla="*/ 257886 h 5116136"/>
              <a:gd name="connsiteX3758" fmla="*/ 6378228 w 13061856"/>
              <a:gd name="connsiteY3758" fmla="*/ 257410 h 5116136"/>
              <a:gd name="connsiteX3759" fmla="*/ 6366133 w 13061856"/>
              <a:gd name="connsiteY3759" fmla="*/ 269301 h 5116136"/>
              <a:gd name="connsiteX3760" fmla="*/ 6384879 w 13061856"/>
              <a:gd name="connsiteY3760" fmla="*/ 278815 h 5116136"/>
              <a:gd name="connsiteX3761" fmla="*/ 6390323 w 13061856"/>
              <a:gd name="connsiteY3761" fmla="*/ 269301 h 5116136"/>
              <a:gd name="connsiteX3762" fmla="*/ 6378228 w 13061856"/>
              <a:gd name="connsiteY3762" fmla="*/ 257410 h 5116136"/>
              <a:gd name="connsiteX3763" fmla="*/ 6761030 w 13061856"/>
              <a:gd name="connsiteY3763" fmla="*/ 248848 h 5116136"/>
              <a:gd name="connsiteX3764" fmla="*/ 6769496 w 13061856"/>
              <a:gd name="connsiteY3764" fmla="*/ 278102 h 5116136"/>
              <a:gd name="connsiteX3765" fmla="*/ 6756192 w 13061856"/>
              <a:gd name="connsiteY3765" fmla="*/ 297605 h 5116136"/>
              <a:gd name="connsiteX3766" fmla="*/ 6725955 w 13061856"/>
              <a:gd name="connsiteY3766" fmla="*/ 253843 h 5116136"/>
              <a:gd name="connsiteX3767" fmla="*/ 6761030 w 13061856"/>
              <a:gd name="connsiteY3767" fmla="*/ 248848 h 5116136"/>
              <a:gd name="connsiteX3768" fmla="*/ 6608635 w 13061856"/>
              <a:gd name="connsiteY3768" fmla="*/ 234817 h 5116136"/>
              <a:gd name="connsiteX3769" fmla="*/ 6566303 w 13061856"/>
              <a:gd name="connsiteY3769" fmla="*/ 252654 h 5116136"/>
              <a:gd name="connsiteX3770" fmla="*/ 6555418 w 13061856"/>
              <a:gd name="connsiteY3770" fmla="*/ 275961 h 5116136"/>
              <a:gd name="connsiteX3771" fmla="*/ 6608635 w 13061856"/>
              <a:gd name="connsiteY3771" fmla="*/ 234817 h 5116136"/>
              <a:gd name="connsiteX3772" fmla="*/ 1190135 w 13061856"/>
              <a:gd name="connsiteY3772" fmla="*/ 210082 h 5116136"/>
              <a:gd name="connsiteX3773" fmla="*/ 1232468 w 13061856"/>
              <a:gd name="connsiteY3773" fmla="*/ 226730 h 5116136"/>
              <a:gd name="connsiteX3774" fmla="*/ 1200416 w 13061856"/>
              <a:gd name="connsiteY3774" fmla="*/ 229584 h 5116136"/>
              <a:gd name="connsiteX3775" fmla="*/ 1187716 w 13061856"/>
              <a:gd name="connsiteY3775" fmla="*/ 213886 h 5116136"/>
              <a:gd name="connsiteX3776" fmla="*/ 1190135 w 13061856"/>
              <a:gd name="connsiteY3776" fmla="*/ 210082 h 5116136"/>
              <a:gd name="connsiteX3777" fmla="*/ 5705148 w 13061856"/>
              <a:gd name="connsiteY3777" fmla="*/ 208654 h 5116136"/>
              <a:gd name="connsiteX3778" fmla="*/ 5636208 w 13061856"/>
              <a:gd name="connsiteY3778" fmla="*/ 224827 h 5116136"/>
              <a:gd name="connsiteX3779" fmla="*/ 5725711 w 13061856"/>
              <a:gd name="connsiteY3779" fmla="*/ 212460 h 5116136"/>
              <a:gd name="connsiteX3780" fmla="*/ 5705148 w 13061856"/>
              <a:gd name="connsiteY3780" fmla="*/ 208654 h 5116136"/>
              <a:gd name="connsiteX3781" fmla="*/ 6635849 w 13061856"/>
              <a:gd name="connsiteY3781" fmla="*/ 199617 h 5116136"/>
              <a:gd name="connsiteX3782" fmla="*/ 6654595 w 13061856"/>
              <a:gd name="connsiteY3782" fmla="*/ 206276 h 5116136"/>
              <a:gd name="connsiteX3783" fmla="*/ 6647339 w 13061856"/>
              <a:gd name="connsiteY3783" fmla="*/ 211508 h 5116136"/>
              <a:gd name="connsiteX3784" fmla="*/ 6651573 w 13061856"/>
              <a:gd name="connsiteY3784" fmla="*/ 218168 h 5116136"/>
              <a:gd name="connsiteX3785" fmla="*/ 6646734 w 13061856"/>
              <a:gd name="connsiteY3785" fmla="*/ 217455 h 5116136"/>
              <a:gd name="connsiteX3786" fmla="*/ 6623753 w 13061856"/>
              <a:gd name="connsiteY3786" fmla="*/ 229108 h 5116136"/>
              <a:gd name="connsiteX3787" fmla="*/ 6627382 w 13061856"/>
              <a:gd name="connsiteY3787" fmla="*/ 200093 h 5116136"/>
              <a:gd name="connsiteX3788" fmla="*/ 6635849 w 13061856"/>
              <a:gd name="connsiteY3788" fmla="*/ 199617 h 5116136"/>
              <a:gd name="connsiteX3789" fmla="*/ 5556383 w 13061856"/>
              <a:gd name="connsiteY3789" fmla="*/ 199141 h 5116136"/>
              <a:gd name="connsiteX3790" fmla="*/ 5534611 w 13061856"/>
              <a:gd name="connsiteY3790" fmla="*/ 236006 h 5116136"/>
              <a:gd name="connsiteX3791" fmla="*/ 5582991 w 13061856"/>
              <a:gd name="connsiteY3791" fmla="*/ 230060 h 5116136"/>
              <a:gd name="connsiteX3792" fmla="*/ 5576943 w 13061856"/>
              <a:gd name="connsiteY3792" fmla="*/ 205800 h 5116136"/>
              <a:gd name="connsiteX3793" fmla="*/ 5572711 w 13061856"/>
              <a:gd name="connsiteY3793" fmla="*/ 201282 h 5116136"/>
              <a:gd name="connsiteX3794" fmla="*/ 5556383 w 13061856"/>
              <a:gd name="connsiteY3794" fmla="*/ 199141 h 5116136"/>
              <a:gd name="connsiteX3795" fmla="*/ 5778323 w 13061856"/>
              <a:gd name="connsiteY3795" fmla="*/ 190342 h 5116136"/>
              <a:gd name="connsiteX3796" fmla="*/ 5767438 w 13061856"/>
              <a:gd name="connsiteY3796" fmla="*/ 202471 h 5116136"/>
              <a:gd name="connsiteX3797" fmla="*/ 5791023 w 13061856"/>
              <a:gd name="connsiteY3797" fmla="*/ 196050 h 5116136"/>
              <a:gd name="connsiteX3798" fmla="*/ 5778323 w 13061856"/>
              <a:gd name="connsiteY3798" fmla="*/ 190342 h 5116136"/>
              <a:gd name="connsiteX3799" fmla="*/ 4467845 w 13061856"/>
              <a:gd name="connsiteY3799" fmla="*/ 189153 h 5116136"/>
              <a:gd name="connsiteX3800" fmla="*/ 4499291 w 13061856"/>
              <a:gd name="connsiteY3800" fmla="*/ 201282 h 5116136"/>
              <a:gd name="connsiteX3801" fmla="*/ 4596655 w 13061856"/>
              <a:gd name="connsiteY3801" fmla="*/ 192007 h 5116136"/>
              <a:gd name="connsiteX3802" fmla="*/ 4625078 w 13061856"/>
              <a:gd name="connsiteY3802" fmla="*/ 208179 h 5116136"/>
              <a:gd name="connsiteX3803" fmla="*/ 4792591 w 13061856"/>
              <a:gd name="connsiteY3803" fmla="*/ 202947 h 5116136"/>
              <a:gd name="connsiteX3804" fmla="*/ 4778077 w 13061856"/>
              <a:gd name="connsiteY3804" fmla="*/ 191531 h 5116136"/>
              <a:gd name="connsiteX3805" fmla="*/ 4870602 w 13061856"/>
              <a:gd name="connsiteY3805" fmla="*/ 197239 h 5116136"/>
              <a:gd name="connsiteX3806" fmla="*/ 4834924 w 13061856"/>
              <a:gd name="connsiteY3806" fmla="*/ 226254 h 5116136"/>
              <a:gd name="connsiteX3807" fmla="*/ 4602098 w 13061856"/>
              <a:gd name="connsiteY3807" fmla="*/ 231962 h 5116136"/>
              <a:gd name="connsiteX3808" fmla="*/ 4547670 w 13061856"/>
              <a:gd name="connsiteY3808" fmla="*/ 243616 h 5116136"/>
              <a:gd name="connsiteX3809" fmla="*/ 4568232 w 13061856"/>
              <a:gd name="connsiteY3809" fmla="*/ 225541 h 5116136"/>
              <a:gd name="connsiteX3810" fmla="*/ 4447888 w 13061856"/>
              <a:gd name="connsiteY3810" fmla="*/ 202947 h 5116136"/>
              <a:gd name="connsiteX3811" fmla="*/ 4467845 w 13061856"/>
              <a:gd name="connsiteY3811" fmla="*/ 189153 h 5116136"/>
              <a:gd name="connsiteX3812" fmla="*/ 4914750 w 13061856"/>
              <a:gd name="connsiteY3812" fmla="*/ 187249 h 5116136"/>
              <a:gd name="connsiteX3813" fmla="*/ 4934101 w 13061856"/>
              <a:gd name="connsiteY3813" fmla="*/ 206276 h 5116136"/>
              <a:gd name="connsiteX3814" fmla="*/ 4896003 w 13061856"/>
              <a:gd name="connsiteY3814" fmla="*/ 221974 h 5116136"/>
              <a:gd name="connsiteX3815" fmla="*/ 4872418 w 13061856"/>
              <a:gd name="connsiteY3815" fmla="*/ 205325 h 5116136"/>
              <a:gd name="connsiteX3816" fmla="*/ 4911726 w 13061856"/>
              <a:gd name="connsiteY3816" fmla="*/ 210558 h 5116136"/>
              <a:gd name="connsiteX3817" fmla="*/ 4910516 w 13061856"/>
              <a:gd name="connsiteY3817" fmla="*/ 189627 h 5116136"/>
              <a:gd name="connsiteX3818" fmla="*/ 4914750 w 13061856"/>
              <a:gd name="connsiteY3818" fmla="*/ 187249 h 5116136"/>
              <a:gd name="connsiteX3819" fmla="*/ 4320288 w 13061856"/>
              <a:gd name="connsiteY3819" fmla="*/ 181066 h 5116136"/>
              <a:gd name="connsiteX3820" fmla="*/ 4439422 w 13061856"/>
              <a:gd name="connsiteY3820" fmla="*/ 193196 h 5116136"/>
              <a:gd name="connsiteX3821" fmla="*/ 4314844 w 13061856"/>
              <a:gd name="connsiteY3821" fmla="*/ 198903 h 5116136"/>
              <a:gd name="connsiteX3822" fmla="*/ 4320288 w 13061856"/>
              <a:gd name="connsiteY3822" fmla="*/ 181066 h 5116136"/>
              <a:gd name="connsiteX3823" fmla="*/ 5191117 w 13061856"/>
              <a:gd name="connsiteY3823" fmla="*/ 175833 h 5116136"/>
              <a:gd name="connsiteX3824" fmla="*/ 5213493 w 13061856"/>
              <a:gd name="connsiteY3824" fmla="*/ 177498 h 5116136"/>
              <a:gd name="connsiteX3825" fmla="*/ 5189907 w 13061856"/>
              <a:gd name="connsiteY3825" fmla="*/ 200093 h 5116136"/>
              <a:gd name="connsiteX3826" fmla="*/ 5250987 w 13061856"/>
              <a:gd name="connsiteY3826" fmla="*/ 174644 h 5116136"/>
              <a:gd name="connsiteX3827" fmla="*/ 5279410 w 13061856"/>
              <a:gd name="connsiteY3827" fmla="*/ 205325 h 5116136"/>
              <a:gd name="connsiteX3828" fmla="*/ 5250987 w 13061856"/>
              <a:gd name="connsiteY3828" fmla="*/ 174644 h 5116136"/>
              <a:gd name="connsiteX3829" fmla="*/ 5042351 w 13061856"/>
              <a:gd name="connsiteY3829" fmla="*/ 163229 h 5116136"/>
              <a:gd name="connsiteX3830" fmla="*/ 5055050 w 13061856"/>
              <a:gd name="connsiteY3830" fmla="*/ 221498 h 5116136"/>
              <a:gd name="connsiteX3831" fmla="*/ 5032674 w 13061856"/>
              <a:gd name="connsiteY3831" fmla="*/ 215790 h 5116136"/>
              <a:gd name="connsiteX3832" fmla="*/ 5050817 w 13061856"/>
              <a:gd name="connsiteY3832" fmla="*/ 211033 h 5116136"/>
              <a:gd name="connsiteX3833" fmla="*/ 5033884 w 13061856"/>
              <a:gd name="connsiteY3833" fmla="*/ 193196 h 5116136"/>
              <a:gd name="connsiteX3834" fmla="*/ 4941964 w 13061856"/>
              <a:gd name="connsiteY3834" fmla="*/ 240525 h 5116136"/>
              <a:gd name="connsiteX3835" fmla="*/ 4947405 w 13061856"/>
              <a:gd name="connsiteY3835" fmla="*/ 192007 h 5116136"/>
              <a:gd name="connsiteX3836" fmla="*/ 5042351 w 13061856"/>
              <a:gd name="connsiteY3836" fmla="*/ 163229 h 5116136"/>
              <a:gd name="connsiteX3837" fmla="*/ 4303354 w 13061856"/>
              <a:gd name="connsiteY3837" fmla="*/ 161325 h 5116136"/>
              <a:gd name="connsiteX3838" fmla="*/ 4307586 w 13061856"/>
              <a:gd name="connsiteY3838" fmla="*/ 200568 h 5116136"/>
              <a:gd name="connsiteX3839" fmla="*/ 4276140 w 13061856"/>
              <a:gd name="connsiteY3839" fmla="*/ 190342 h 5116136"/>
              <a:gd name="connsiteX3840" fmla="*/ 4303960 w 13061856"/>
              <a:gd name="connsiteY3840" fmla="*/ 178925 h 5116136"/>
              <a:gd name="connsiteX3841" fmla="*/ 4121325 w 13061856"/>
              <a:gd name="connsiteY3841" fmla="*/ 157521 h 5116136"/>
              <a:gd name="connsiteX3842" fmla="*/ 4126164 w 13061856"/>
              <a:gd name="connsiteY3842" fmla="*/ 161325 h 5116136"/>
              <a:gd name="connsiteX3843" fmla="*/ 4202362 w 13061856"/>
              <a:gd name="connsiteY3843" fmla="*/ 178925 h 5116136"/>
              <a:gd name="connsiteX3844" fmla="*/ 4157611 w 13061856"/>
              <a:gd name="connsiteY3844" fmla="*/ 195574 h 5116136"/>
              <a:gd name="connsiteX3845" fmla="*/ 4122535 w 13061856"/>
              <a:gd name="connsiteY3845" fmla="*/ 183206 h 5116136"/>
              <a:gd name="connsiteX3846" fmla="*/ 4121325 w 13061856"/>
              <a:gd name="connsiteY3846" fmla="*/ 157521 h 5116136"/>
              <a:gd name="connsiteX3847" fmla="*/ 6072228 w 13061856"/>
              <a:gd name="connsiteY3847" fmla="*/ 156806 h 5116136"/>
              <a:gd name="connsiteX3848" fmla="*/ 6106094 w 13061856"/>
              <a:gd name="connsiteY3848" fmla="*/ 161801 h 5116136"/>
              <a:gd name="connsiteX3849" fmla="*/ 6306263 w 13061856"/>
              <a:gd name="connsiteY3849" fmla="*/ 181066 h 5116136"/>
              <a:gd name="connsiteX3850" fmla="*/ 6286307 w 13061856"/>
              <a:gd name="connsiteY3850" fmla="*/ 193196 h 5116136"/>
              <a:gd name="connsiteX3851" fmla="*/ 6280863 w 13061856"/>
              <a:gd name="connsiteY3851" fmla="*/ 204849 h 5116136"/>
              <a:gd name="connsiteX3852" fmla="*/ 6290541 w 13061856"/>
              <a:gd name="connsiteY3852" fmla="*/ 203422 h 5116136"/>
              <a:gd name="connsiteX3853" fmla="*/ 6295982 w 13061856"/>
              <a:gd name="connsiteY3853" fmla="*/ 227919 h 5116136"/>
              <a:gd name="connsiteX3854" fmla="*/ 6418745 w 13061856"/>
              <a:gd name="connsiteY3854" fmla="*/ 228395 h 5116136"/>
              <a:gd name="connsiteX3855" fmla="*/ 6409675 w 13061856"/>
              <a:gd name="connsiteY3855" fmla="*/ 221498 h 5116136"/>
              <a:gd name="connsiteX3856" fmla="*/ 6551790 w 13061856"/>
              <a:gd name="connsiteY3856" fmla="*/ 218168 h 5116136"/>
              <a:gd name="connsiteX3857" fmla="*/ 6572349 w 13061856"/>
              <a:gd name="connsiteY3857" fmla="*/ 193670 h 5116136"/>
              <a:gd name="connsiteX3858" fmla="*/ 6585050 w 13061856"/>
              <a:gd name="connsiteY3858" fmla="*/ 228395 h 5116136"/>
              <a:gd name="connsiteX3859" fmla="*/ 6618311 w 13061856"/>
              <a:gd name="connsiteY3859" fmla="*/ 235292 h 5116136"/>
              <a:gd name="connsiteX3860" fmla="*/ 6616497 w 13061856"/>
              <a:gd name="connsiteY3860" fmla="*/ 237671 h 5116136"/>
              <a:gd name="connsiteX3861" fmla="*/ 6626172 w 13061856"/>
              <a:gd name="connsiteY3861" fmla="*/ 251702 h 5116136"/>
              <a:gd name="connsiteX3862" fmla="*/ 6618555 w 13061856"/>
              <a:gd name="connsiteY3862" fmla="*/ 249603 h 5116136"/>
              <a:gd name="connsiteX3863" fmla="*/ 6614681 w 13061856"/>
              <a:gd name="connsiteY3863" fmla="*/ 240525 h 5116136"/>
              <a:gd name="connsiteX3864" fmla="*/ 6616572 w 13061856"/>
              <a:gd name="connsiteY3864" fmla="*/ 249057 h 5116136"/>
              <a:gd name="connsiteX3865" fmla="*/ 6618555 w 13061856"/>
              <a:gd name="connsiteY3865" fmla="*/ 249603 h 5116136"/>
              <a:gd name="connsiteX3866" fmla="*/ 6620427 w 13061856"/>
              <a:gd name="connsiteY3866" fmla="*/ 253991 h 5116136"/>
              <a:gd name="connsiteX3867" fmla="*/ 6633429 w 13061856"/>
              <a:gd name="connsiteY3867" fmla="*/ 264069 h 5116136"/>
              <a:gd name="connsiteX3868" fmla="*/ 6679994 w 13061856"/>
              <a:gd name="connsiteY3868" fmla="*/ 240525 h 5116136"/>
              <a:gd name="connsiteX3869" fmla="*/ 6660038 w 13061856"/>
              <a:gd name="connsiteY3869" fmla="*/ 246946 h 5116136"/>
              <a:gd name="connsiteX3870" fmla="*/ 6660038 w 13061856"/>
              <a:gd name="connsiteY3870" fmla="*/ 292610 h 5116136"/>
              <a:gd name="connsiteX3871" fmla="*/ 6693904 w 13061856"/>
              <a:gd name="connsiteY3871" fmla="*/ 287378 h 5116136"/>
              <a:gd name="connsiteX3872" fmla="*/ 6698137 w 13061856"/>
              <a:gd name="connsiteY3872" fmla="*/ 299507 h 5116136"/>
              <a:gd name="connsiteX3873" fmla="*/ 6668504 w 13061856"/>
              <a:gd name="connsiteY3873" fmla="*/ 351116 h 5116136"/>
              <a:gd name="connsiteX3874" fmla="*/ 6670924 w 13061856"/>
              <a:gd name="connsiteY3874" fmla="*/ 354922 h 5116136"/>
              <a:gd name="connsiteX3875" fmla="*/ 6736840 w 13061856"/>
              <a:gd name="connsiteY3875" fmla="*/ 343030 h 5116136"/>
              <a:gd name="connsiteX3876" fmla="*/ 6750145 w 13061856"/>
              <a:gd name="connsiteY3876" fmla="*/ 362057 h 5116136"/>
              <a:gd name="connsiteX3877" fmla="*/ 6981762 w 13061856"/>
              <a:gd name="connsiteY3877" fmla="*/ 373473 h 5116136"/>
              <a:gd name="connsiteX3878" fmla="*/ 7034374 w 13061856"/>
              <a:gd name="connsiteY3878" fmla="*/ 390359 h 5116136"/>
              <a:gd name="connsiteX3879" fmla="*/ 7037397 w 13061856"/>
              <a:gd name="connsiteY3879" fmla="*/ 413904 h 5116136"/>
              <a:gd name="connsiteX3880" fmla="*/ 7175279 w 13061856"/>
              <a:gd name="connsiteY3880" fmla="*/ 443871 h 5116136"/>
              <a:gd name="connsiteX3881" fmla="*/ 7174070 w 13061856"/>
              <a:gd name="connsiteY3881" fmla="*/ 461233 h 5116136"/>
              <a:gd name="connsiteX3882" fmla="*/ 7232126 w 13061856"/>
              <a:gd name="connsiteY3882" fmla="*/ 454336 h 5116136"/>
              <a:gd name="connsiteX3883" fmla="*/ 7267200 w 13061856"/>
              <a:gd name="connsiteY3883" fmla="*/ 467654 h 5116136"/>
              <a:gd name="connsiteX3884" fmla="*/ 7273248 w 13061856"/>
              <a:gd name="connsiteY3884" fmla="*/ 495957 h 5116136"/>
              <a:gd name="connsiteX3885" fmla="*/ 7298042 w 13061856"/>
              <a:gd name="connsiteY3885" fmla="*/ 484066 h 5116136"/>
              <a:gd name="connsiteX3886" fmla="*/ 7438343 w 13061856"/>
              <a:gd name="connsiteY3886" fmla="*/ 547567 h 5116136"/>
              <a:gd name="connsiteX3887" fmla="*/ 7504260 w 13061856"/>
              <a:gd name="connsiteY3887" fmla="*/ 612733 h 5116136"/>
              <a:gd name="connsiteX3888" fmla="*/ 7494584 w 13061856"/>
              <a:gd name="connsiteY3888" fmla="*/ 653878 h 5116136"/>
              <a:gd name="connsiteX3889" fmla="*/ 7544777 w 13061856"/>
              <a:gd name="connsiteY3889" fmla="*/ 671716 h 5116136"/>
              <a:gd name="connsiteX3890" fmla="*/ 7544777 w 13061856"/>
              <a:gd name="connsiteY3890" fmla="*/ 669575 h 5116136"/>
              <a:gd name="connsiteX3891" fmla="*/ 7683868 w 13061856"/>
              <a:gd name="connsiteY3891" fmla="*/ 622009 h 5116136"/>
              <a:gd name="connsiteX3892" fmla="*/ 7642746 w 13061856"/>
              <a:gd name="connsiteY3892" fmla="*/ 634138 h 5116136"/>
              <a:gd name="connsiteX3893" fmla="*/ 7848963 w 13061856"/>
              <a:gd name="connsiteY3893" fmla="*/ 592518 h 5116136"/>
              <a:gd name="connsiteX3894" fmla="*/ 7933021 w 13061856"/>
              <a:gd name="connsiteY3894" fmla="*/ 603458 h 5116136"/>
              <a:gd name="connsiteX3895" fmla="*/ 7952373 w 13061856"/>
              <a:gd name="connsiteY3895" fmla="*/ 591329 h 5116136"/>
              <a:gd name="connsiteX3896" fmla="*/ 7977169 w 13061856"/>
              <a:gd name="connsiteY3896" fmla="*/ 615112 h 5116136"/>
              <a:gd name="connsiteX3897" fmla="*/ 7983215 w 13061856"/>
              <a:gd name="connsiteY3897" fmla="*/ 603458 h 5116136"/>
              <a:gd name="connsiteX3898" fmla="*/ 8018291 w 13061856"/>
              <a:gd name="connsiteY3898" fmla="*/ 617014 h 5116136"/>
              <a:gd name="connsiteX3899" fmla="*/ 8179153 w 13061856"/>
              <a:gd name="connsiteY3899" fmla="*/ 617014 h 5116136"/>
              <a:gd name="connsiteX3900" fmla="*/ 8332153 w 13061856"/>
              <a:gd name="connsiteY3900" fmla="*/ 623674 h 5116136"/>
              <a:gd name="connsiteX3901" fmla="*/ 8612149 w 13061856"/>
              <a:gd name="connsiteY3901" fmla="*/ 612258 h 5116136"/>
              <a:gd name="connsiteX3902" fmla="*/ 8616986 w 13061856"/>
              <a:gd name="connsiteY3902" fmla="*/ 642225 h 5116136"/>
              <a:gd name="connsiteX3903" fmla="*/ 8633315 w 13061856"/>
              <a:gd name="connsiteY3903" fmla="*/ 612258 h 5116136"/>
              <a:gd name="connsiteX3904" fmla="*/ 8648433 w 13061856"/>
              <a:gd name="connsiteY3904" fmla="*/ 642938 h 5116136"/>
              <a:gd name="connsiteX3905" fmla="*/ 8678066 w 13061856"/>
              <a:gd name="connsiteY3905" fmla="*/ 635327 h 5116136"/>
              <a:gd name="connsiteX3906" fmla="*/ 8658109 w 13061856"/>
              <a:gd name="connsiteY3906" fmla="*/ 605836 h 5116136"/>
              <a:gd name="connsiteX3907" fmla="*/ 8713140 w 13061856"/>
              <a:gd name="connsiteY3907" fmla="*/ 648646 h 5116136"/>
              <a:gd name="connsiteX3908" fmla="*/ 8726446 w 13061856"/>
              <a:gd name="connsiteY3908" fmla="*/ 623674 h 5116136"/>
              <a:gd name="connsiteX3909" fmla="*/ 8861908 w 13061856"/>
              <a:gd name="connsiteY3909" fmla="*/ 643414 h 5116136"/>
              <a:gd name="connsiteX3910" fmla="*/ 8861304 w 13061856"/>
              <a:gd name="connsiteY3910" fmla="*/ 661489 h 5116136"/>
              <a:gd name="connsiteX3911" fmla="*/ 8890936 w 13061856"/>
              <a:gd name="connsiteY3911" fmla="*/ 643890 h 5116136"/>
              <a:gd name="connsiteX3912" fmla="*/ 8916335 w 13061856"/>
              <a:gd name="connsiteY3912" fmla="*/ 661965 h 5116136"/>
              <a:gd name="connsiteX3913" fmla="*/ 8966528 w 13061856"/>
              <a:gd name="connsiteY3913" fmla="*/ 630808 h 5116136"/>
              <a:gd name="connsiteX3914" fmla="*/ 9012489 w 13061856"/>
              <a:gd name="connsiteY3914" fmla="*/ 661965 h 5116136"/>
              <a:gd name="connsiteX3915" fmla="*/ 9047565 w 13061856"/>
              <a:gd name="connsiteY3915" fmla="*/ 637706 h 5116136"/>
              <a:gd name="connsiteX3916" fmla="*/ 9031841 w 13061856"/>
              <a:gd name="connsiteY3916" fmla="*/ 656256 h 5116136"/>
              <a:gd name="connsiteX3917" fmla="*/ 9151580 w 13061856"/>
              <a:gd name="connsiteY3917" fmla="*/ 662440 h 5116136"/>
              <a:gd name="connsiteX3918" fmla="*/ 9221125 w 13061856"/>
              <a:gd name="connsiteY3918" fmla="*/ 662440 h 5116136"/>
              <a:gd name="connsiteX3919" fmla="*/ 9255595 w 13061856"/>
              <a:gd name="connsiteY3919" fmla="*/ 693121 h 5116136"/>
              <a:gd name="connsiteX3920" fmla="*/ 9336631 w 13061856"/>
              <a:gd name="connsiteY3920" fmla="*/ 705963 h 5116136"/>
              <a:gd name="connsiteX3921" fmla="*/ 9495075 w 13061856"/>
              <a:gd name="connsiteY3921" fmla="*/ 705013 h 5116136"/>
              <a:gd name="connsiteX3922" fmla="*/ 9567038 w 13061856"/>
              <a:gd name="connsiteY3922" fmla="*/ 711671 h 5116136"/>
              <a:gd name="connsiteX3923" fmla="*/ 9570667 w 13061856"/>
              <a:gd name="connsiteY3923" fmla="*/ 687888 h 5116136"/>
              <a:gd name="connsiteX3924" fmla="*/ 9615418 w 13061856"/>
              <a:gd name="connsiteY3924" fmla="*/ 705963 h 5116136"/>
              <a:gd name="connsiteX3925" fmla="*/ 9622071 w 13061856"/>
              <a:gd name="connsiteY3925" fmla="*/ 676948 h 5116136"/>
              <a:gd name="connsiteX3926" fmla="*/ 9630536 w 13061856"/>
              <a:gd name="connsiteY3926" fmla="*/ 695499 h 5116136"/>
              <a:gd name="connsiteX3927" fmla="*/ 9776279 w 13061856"/>
              <a:gd name="connsiteY3927" fmla="*/ 701683 h 5116136"/>
              <a:gd name="connsiteX3928" fmla="*/ 9859734 w 13061856"/>
              <a:gd name="connsiteY3928" fmla="*/ 677424 h 5116136"/>
              <a:gd name="connsiteX3929" fmla="*/ 9879691 w 13061856"/>
              <a:gd name="connsiteY3929" fmla="*/ 700731 h 5116136"/>
              <a:gd name="connsiteX3930" fmla="*/ 9900252 w 13061856"/>
              <a:gd name="connsiteY3930" fmla="*/ 676948 h 5116136"/>
              <a:gd name="connsiteX3931" fmla="*/ 9979474 w 13061856"/>
              <a:gd name="connsiteY3931" fmla="*/ 683369 h 5116136"/>
              <a:gd name="connsiteX3932" fmla="*/ 10039343 w 13061856"/>
              <a:gd name="connsiteY3932" fmla="*/ 684321 h 5116136"/>
              <a:gd name="connsiteX3933" fmla="*/ 10139730 w 13061856"/>
              <a:gd name="connsiteY3933" fmla="*/ 691218 h 5116136"/>
              <a:gd name="connsiteX3934" fmla="*/ 10145173 w 13061856"/>
              <a:gd name="connsiteY3934" fmla="*/ 672429 h 5116136"/>
              <a:gd name="connsiteX3935" fmla="*/ 10280636 w 13061856"/>
              <a:gd name="connsiteY3935" fmla="*/ 661965 h 5116136"/>
              <a:gd name="connsiteX3936" fmla="*/ 10310268 w 13061856"/>
              <a:gd name="connsiteY3936" fmla="*/ 691932 h 5116136"/>
              <a:gd name="connsiteX3937" fmla="*/ 10354414 w 13061856"/>
              <a:gd name="connsiteY3937" fmla="*/ 673857 h 5116136"/>
              <a:gd name="connsiteX3938" fmla="*/ 10393723 w 13061856"/>
              <a:gd name="connsiteY3938" fmla="*/ 696927 h 5116136"/>
              <a:gd name="connsiteX3939" fmla="*/ 10463873 w 13061856"/>
              <a:gd name="connsiteY3939" fmla="*/ 691218 h 5116136"/>
              <a:gd name="connsiteX3940" fmla="*/ 10498948 w 13061856"/>
              <a:gd name="connsiteY3940" fmla="*/ 710245 h 5116136"/>
              <a:gd name="connsiteX3941" fmla="*/ 10540071 w 13061856"/>
              <a:gd name="connsiteY3941" fmla="*/ 697877 h 5116136"/>
              <a:gd name="connsiteX3942" fmla="*/ 10589054 w 13061856"/>
              <a:gd name="connsiteY3942" fmla="*/ 723801 h 5116136"/>
              <a:gd name="connsiteX3943" fmla="*/ 10704560 w 13061856"/>
              <a:gd name="connsiteY3943" fmla="*/ 729509 h 5116136"/>
              <a:gd name="connsiteX3944" fmla="*/ 10706980 w 13061856"/>
              <a:gd name="connsiteY3944" fmla="*/ 759476 h 5116136"/>
              <a:gd name="connsiteX3945" fmla="*/ 10808576 w 13061856"/>
              <a:gd name="connsiteY3945" fmla="*/ 759952 h 5116136"/>
              <a:gd name="connsiteX3946" fmla="*/ 10788621 w 13061856"/>
              <a:gd name="connsiteY3946" fmla="*/ 724990 h 5116136"/>
              <a:gd name="connsiteX3947" fmla="*/ 10919245 w 13061856"/>
              <a:gd name="connsiteY3947" fmla="*/ 750439 h 5116136"/>
              <a:gd name="connsiteX3948" fmla="*/ 10878727 w 13061856"/>
              <a:gd name="connsiteY3948" fmla="*/ 706915 h 5116136"/>
              <a:gd name="connsiteX3949" fmla="*/ 10798295 w 13061856"/>
              <a:gd name="connsiteY3949" fmla="*/ 717855 h 5116136"/>
              <a:gd name="connsiteX3950" fmla="*/ 11048659 w 13061856"/>
              <a:gd name="connsiteY3950" fmla="*/ 675759 h 5116136"/>
              <a:gd name="connsiteX3951" fmla="*/ 10904731 w 13061856"/>
              <a:gd name="connsiteY3951" fmla="*/ 627954 h 5116136"/>
              <a:gd name="connsiteX3952" fmla="*/ 10843652 w 13061856"/>
              <a:gd name="connsiteY3952" fmla="*/ 650311 h 5116136"/>
              <a:gd name="connsiteX3953" fmla="*/ 10833371 w 13061856"/>
              <a:gd name="connsiteY3953" fmla="*/ 613685 h 5116136"/>
              <a:gd name="connsiteX3954" fmla="*/ 10718470 w 13061856"/>
              <a:gd name="connsiteY3954" fmla="*/ 649598 h 5116136"/>
              <a:gd name="connsiteX3955" fmla="*/ 10668881 w 13061856"/>
              <a:gd name="connsiteY3955" fmla="*/ 637706 h 5116136"/>
              <a:gd name="connsiteX3956" fmla="*/ 10683394 w 13061856"/>
              <a:gd name="connsiteY3956" fmla="*/ 627241 h 5116136"/>
              <a:gd name="connsiteX3957" fmla="*/ 10618687 w 13061856"/>
              <a:gd name="connsiteY3957" fmla="*/ 631284 h 5116136"/>
              <a:gd name="connsiteX3958" fmla="*/ 10524347 w 13061856"/>
              <a:gd name="connsiteY3958" fmla="*/ 636992 h 5116136"/>
              <a:gd name="connsiteX3959" fmla="*/ 10390094 w 13061856"/>
              <a:gd name="connsiteY3959" fmla="*/ 631760 h 5116136"/>
              <a:gd name="connsiteX3960" fmla="*/ 10379813 w 13061856"/>
              <a:gd name="connsiteY3960" fmla="*/ 607025 h 5116136"/>
              <a:gd name="connsiteX3961" fmla="*/ 10241327 w 13061856"/>
              <a:gd name="connsiteY3961" fmla="*/ 592994 h 5116136"/>
              <a:gd name="connsiteX3962" fmla="*/ 10355624 w 13061856"/>
              <a:gd name="connsiteY3962" fmla="*/ 569209 h 5116136"/>
              <a:gd name="connsiteX3963" fmla="*/ 10344739 w 13061856"/>
              <a:gd name="connsiteY3963" fmla="*/ 550421 h 5116136"/>
              <a:gd name="connsiteX3964" fmla="*/ 10311478 w 13061856"/>
              <a:gd name="connsiteY3964" fmla="*/ 545665 h 5116136"/>
              <a:gd name="connsiteX3965" fmla="*/ 10246166 w 13061856"/>
              <a:gd name="connsiteY3965" fmla="*/ 552086 h 5116136"/>
              <a:gd name="connsiteX3966" fmla="*/ 10181457 w 13061856"/>
              <a:gd name="connsiteY3966" fmla="*/ 593707 h 5116136"/>
              <a:gd name="connsiteX3967" fmla="*/ 10156059 w 13061856"/>
              <a:gd name="connsiteY3967" fmla="*/ 567783 h 5116136"/>
              <a:gd name="connsiteX3968" fmla="*/ 10391908 w 13061856"/>
              <a:gd name="connsiteY3968" fmla="*/ 526638 h 5116136"/>
              <a:gd name="connsiteX3969" fmla="*/ 10429402 w 13061856"/>
              <a:gd name="connsiteY3969" fmla="*/ 534248 h 5116136"/>
              <a:gd name="connsiteX3970" fmla="*/ 10461454 w 13061856"/>
              <a:gd name="connsiteY3970" fmla="*/ 564216 h 5116136"/>
              <a:gd name="connsiteX3971" fmla="*/ 10479596 w 13061856"/>
              <a:gd name="connsiteY3971" fmla="*/ 539957 h 5116136"/>
              <a:gd name="connsiteX3972" fmla="*/ 10495924 w 13061856"/>
              <a:gd name="connsiteY3972" fmla="*/ 557318 h 5116136"/>
              <a:gd name="connsiteX3973" fmla="*/ 10526161 w 13061856"/>
              <a:gd name="connsiteY3973" fmla="*/ 534248 h 5116136"/>
              <a:gd name="connsiteX3974" fmla="*/ 10534628 w 13061856"/>
              <a:gd name="connsiteY3974" fmla="*/ 546854 h 5116136"/>
              <a:gd name="connsiteX3975" fmla="*/ 10705771 w 13061856"/>
              <a:gd name="connsiteY3975" fmla="*/ 535914 h 5116136"/>
              <a:gd name="connsiteX3976" fmla="*/ 10849094 w 13061856"/>
              <a:gd name="connsiteY3976" fmla="*/ 548043 h 5116136"/>
              <a:gd name="connsiteX3977" fmla="*/ 10919245 w 13061856"/>
              <a:gd name="connsiteY3977" fmla="*/ 548043 h 5116136"/>
              <a:gd name="connsiteX3978" fmla="*/ 10944039 w 13061856"/>
              <a:gd name="connsiteY3978" fmla="*/ 529967 h 5116136"/>
              <a:gd name="connsiteX3979" fmla="*/ 10935573 w 13061856"/>
              <a:gd name="connsiteY3979" fmla="*/ 511655 h 5116136"/>
              <a:gd name="connsiteX3980" fmla="*/ 10971252 w 13061856"/>
              <a:gd name="connsiteY3980" fmla="*/ 518552 h 5116136"/>
              <a:gd name="connsiteX3981" fmla="*/ 11179284 w 13061856"/>
              <a:gd name="connsiteY3981" fmla="*/ 536627 h 5116136"/>
              <a:gd name="connsiteX3982" fmla="*/ 11159328 w 13061856"/>
              <a:gd name="connsiteY3982" fmla="*/ 548519 h 5116136"/>
              <a:gd name="connsiteX3983" fmla="*/ 11153281 w 13061856"/>
              <a:gd name="connsiteY3983" fmla="*/ 562075 h 5116136"/>
              <a:gd name="connsiteX3984" fmla="*/ 11165375 w 13061856"/>
              <a:gd name="connsiteY3984" fmla="*/ 561123 h 5116136"/>
              <a:gd name="connsiteX3985" fmla="*/ 11169004 w 13061856"/>
              <a:gd name="connsiteY3985" fmla="*/ 584907 h 5116136"/>
              <a:gd name="connsiteX3986" fmla="*/ 11298418 w 13061856"/>
              <a:gd name="connsiteY3986" fmla="*/ 586810 h 5116136"/>
              <a:gd name="connsiteX3987" fmla="*/ 11289348 w 13061856"/>
              <a:gd name="connsiteY3987" fmla="*/ 579675 h 5116136"/>
              <a:gd name="connsiteX3988" fmla="*/ 11438719 w 13061856"/>
              <a:gd name="connsiteY3988" fmla="*/ 574443 h 5116136"/>
              <a:gd name="connsiteX3989" fmla="*/ 11459280 w 13061856"/>
              <a:gd name="connsiteY3989" fmla="*/ 550897 h 5116136"/>
              <a:gd name="connsiteX3990" fmla="*/ 11473794 w 13061856"/>
              <a:gd name="connsiteY3990" fmla="*/ 587285 h 5116136"/>
              <a:gd name="connsiteX3991" fmla="*/ 11507659 w 13061856"/>
              <a:gd name="connsiteY3991" fmla="*/ 597037 h 5116136"/>
              <a:gd name="connsiteX3992" fmla="*/ 11524593 w 13061856"/>
              <a:gd name="connsiteY3992" fmla="*/ 625576 h 5116136"/>
              <a:gd name="connsiteX3993" fmla="*/ 11574182 w 13061856"/>
              <a:gd name="connsiteY3993" fmla="*/ 599891 h 5116136"/>
              <a:gd name="connsiteX3994" fmla="*/ 11554830 w 13061856"/>
              <a:gd name="connsiteY3994" fmla="*/ 606549 h 5116136"/>
              <a:gd name="connsiteX3995" fmla="*/ 11554225 w 13061856"/>
              <a:gd name="connsiteY3995" fmla="*/ 656256 h 5116136"/>
              <a:gd name="connsiteX3996" fmla="*/ 11588090 w 13061856"/>
              <a:gd name="connsiteY3996" fmla="*/ 649122 h 5116136"/>
              <a:gd name="connsiteX3997" fmla="*/ 11591720 w 13061856"/>
              <a:gd name="connsiteY3997" fmla="*/ 661489 h 5116136"/>
              <a:gd name="connsiteX3998" fmla="*/ 11562692 w 13061856"/>
              <a:gd name="connsiteY3998" fmla="*/ 716190 h 5116136"/>
              <a:gd name="connsiteX3999" fmla="*/ 11568134 w 13061856"/>
              <a:gd name="connsiteY3999" fmla="*/ 740449 h 5116136"/>
              <a:gd name="connsiteX4000" fmla="*/ 11587486 w 13061856"/>
              <a:gd name="connsiteY4000" fmla="*/ 734267 h 5116136"/>
              <a:gd name="connsiteX4001" fmla="*/ 11606233 w 13061856"/>
              <a:gd name="connsiteY4001" fmla="*/ 753293 h 5116136"/>
              <a:gd name="connsiteX4002" fmla="*/ 11605628 w 13061856"/>
              <a:gd name="connsiteY4002" fmla="*/ 801097 h 5116136"/>
              <a:gd name="connsiteX4003" fmla="*/ 11586276 w 13061856"/>
              <a:gd name="connsiteY4003" fmla="*/ 801097 h 5116136"/>
              <a:gd name="connsiteX4004" fmla="*/ 11571763 w 13061856"/>
              <a:gd name="connsiteY4004" fmla="*/ 849853 h 5116136"/>
              <a:gd name="connsiteX4005" fmla="*/ 11595952 w 13061856"/>
              <a:gd name="connsiteY4005" fmla="*/ 849853 h 5116136"/>
              <a:gd name="connsiteX4006" fmla="*/ 11595348 w 13061856"/>
              <a:gd name="connsiteY4006" fmla="*/ 892902 h 5116136"/>
              <a:gd name="connsiteX4007" fmla="*/ 11549388 w 13061856"/>
              <a:gd name="connsiteY4007" fmla="*/ 892902 h 5116136"/>
              <a:gd name="connsiteX4008" fmla="*/ 11530640 w 13061856"/>
              <a:gd name="connsiteY4008" fmla="*/ 929290 h 5116136"/>
              <a:gd name="connsiteX4009" fmla="*/ 11504636 w 13061856"/>
              <a:gd name="connsiteY4009" fmla="*/ 928814 h 5116136"/>
              <a:gd name="connsiteX4010" fmla="*/ 11464118 w 13061856"/>
              <a:gd name="connsiteY4010" fmla="*/ 915496 h 5116136"/>
              <a:gd name="connsiteX4011" fmla="*/ 11485284 w 13061856"/>
              <a:gd name="connsiteY4011" fmla="*/ 935235 h 5116136"/>
              <a:gd name="connsiteX4012" fmla="*/ 11511288 w 13061856"/>
              <a:gd name="connsiteY4012" fmla="*/ 983277 h 5116136"/>
              <a:gd name="connsiteX4013" fmla="*/ 11524593 w 13061856"/>
              <a:gd name="connsiteY4013" fmla="*/ 960683 h 5116136"/>
              <a:gd name="connsiteX4014" fmla="*/ 11588695 w 13061856"/>
              <a:gd name="connsiteY4014" fmla="*/ 1009201 h 5116136"/>
              <a:gd name="connsiteX4015" fmla="*/ 11598976 w 13061856"/>
              <a:gd name="connsiteY4015" fmla="*/ 953073 h 5116136"/>
              <a:gd name="connsiteX4016" fmla="*/ 11640098 w 13061856"/>
              <a:gd name="connsiteY4016" fmla="*/ 954262 h 5116136"/>
              <a:gd name="connsiteX4017" fmla="*/ 11620142 w 13061856"/>
              <a:gd name="connsiteY4017" fmla="*/ 972337 h 5116136"/>
              <a:gd name="connsiteX4018" fmla="*/ 11625585 w 13061856"/>
              <a:gd name="connsiteY4018" fmla="*/ 1002780 h 5116136"/>
              <a:gd name="connsiteX4019" fmla="*/ 11647960 w 13061856"/>
              <a:gd name="connsiteY4019" fmla="*/ 1020618 h 5116136"/>
              <a:gd name="connsiteX4020" fmla="*/ 11649774 w 13061856"/>
              <a:gd name="connsiteY4020" fmla="*/ 1032271 h 5116136"/>
              <a:gd name="connsiteX4021" fmla="*/ 11629818 w 13061856"/>
              <a:gd name="connsiteY4021" fmla="*/ 1048296 h 5116136"/>
              <a:gd name="connsiteX4022" fmla="*/ 11624996 w 13061856"/>
              <a:gd name="connsiteY4022" fmla="*/ 1062335 h 5116136"/>
              <a:gd name="connsiteX4023" fmla="*/ 11624376 w 13061856"/>
              <a:gd name="connsiteY4023" fmla="*/ 1062714 h 5116136"/>
              <a:gd name="connsiteX4024" fmla="*/ 11624783 w 13061856"/>
              <a:gd name="connsiteY4024" fmla="*/ 1062955 h 5116136"/>
              <a:gd name="connsiteX4025" fmla="*/ 11624376 w 13061856"/>
              <a:gd name="connsiteY4025" fmla="*/ 1064140 h 5116136"/>
              <a:gd name="connsiteX4026" fmla="*/ 11554225 w 13061856"/>
              <a:gd name="connsiteY4026" fmla="*/ 1069849 h 5116136"/>
              <a:gd name="connsiteX4027" fmla="*/ 11585067 w 13061856"/>
              <a:gd name="connsiteY4027" fmla="*/ 1076271 h 5116136"/>
              <a:gd name="connsiteX4028" fmla="*/ 11594138 w 13061856"/>
              <a:gd name="connsiteY4028" fmla="*/ 1119081 h 5116136"/>
              <a:gd name="connsiteX4029" fmla="*/ 11562087 w 13061856"/>
              <a:gd name="connsiteY4029" fmla="*/ 1135729 h 5116136"/>
              <a:gd name="connsiteX4030" fmla="*/ 11508265 w 13061856"/>
              <a:gd name="connsiteY4030" fmla="*/ 1123599 h 5116136"/>
              <a:gd name="connsiteX4031" fmla="*/ 11432671 w 13061856"/>
              <a:gd name="connsiteY4031" fmla="*/ 1178539 h 5116136"/>
              <a:gd name="connsiteX4032" fmla="*/ 11482865 w 13061856"/>
              <a:gd name="connsiteY4032" fmla="*/ 1178539 h 5116136"/>
              <a:gd name="connsiteX4033" fmla="*/ 11462304 w 13061856"/>
              <a:gd name="connsiteY4033" fmla="*/ 1202798 h 5116136"/>
              <a:gd name="connsiteX4034" fmla="*/ 11456257 w 13061856"/>
              <a:gd name="connsiteY4034" fmla="*/ 1221825 h 5116136"/>
              <a:gd name="connsiteX4035" fmla="*/ 11448395 w 13061856"/>
              <a:gd name="connsiteY4035" fmla="*/ 1197566 h 5116136"/>
              <a:gd name="connsiteX4036" fmla="*/ 11413319 w 13061856"/>
              <a:gd name="connsiteY4036" fmla="*/ 1225868 h 5116136"/>
              <a:gd name="connsiteX4037" fmla="*/ 11351637 w 13061856"/>
              <a:gd name="connsiteY4037" fmla="*/ 1244895 h 5116136"/>
              <a:gd name="connsiteX4038" fmla="*/ 11421786 w 13061856"/>
              <a:gd name="connsiteY4038" fmla="*/ 1288418 h 5116136"/>
              <a:gd name="connsiteX4039" fmla="*/ 11411505 w 13061856"/>
              <a:gd name="connsiteY4039" fmla="*/ 1330990 h 5116136"/>
              <a:gd name="connsiteX4040" fmla="*/ 11439929 w 13061856"/>
              <a:gd name="connsiteY4040" fmla="*/ 1379271 h 5116136"/>
              <a:gd name="connsiteX4041" fmla="*/ 11440533 w 13061856"/>
              <a:gd name="connsiteY4041" fmla="*/ 1373086 h 5116136"/>
              <a:gd name="connsiteX4042" fmla="*/ 11466538 w 13061856"/>
              <a:gd name="connsiteY4042" fmla="*/ 1373086 h 5116136"/>
              <a:gd name="connsiteX4043" fmla="*/ 11461095 w 13061856"/>
              <a:gd name="connsiteY4043" fmla="*/ 1354773 h 5116136"/>
              <a:gd name="connsiteX4044" fmla="*/ 11500403 w 13061856"/>
              <a:gd name="connsiteY4044" fmla="*/ 1374514 h 5116136"/>
              <a:gd name="connsiteX4045" fmla="*/ 11620746 w 13061856"/>
              <a:gd name="connsiteY4045" fmla="*/ 1325282 h 5116136"/>
              <a:gd name="connsiteX4046" fmla="*/ 11646146 w 13061856"/>
              <a:gd name="connsiteY4046" fmla="*/ 1351443 h 5116136"/>
              <a:gd name="connsiteX4047" fmla="*/ 11655822 w 13061856"/>
              <a:gd name="connsiteY4047" fmla="*/ 1343833 h 5116136"/>
              <a:gd name="connsiteX4048" fmla="*/ 11652193 w 13061856"/>
              <a:gd name="connsiteY4048" fmla="*/ 1325758 h 5116136"/>
              <a:gd name="connsiteX4049" fmla="*/ 11666708 w 13061856"/>
              <a:gd name="connsiteY4049" fmla="*/ 1319098 h 5116136"/>
              <a:gd name="connsiteX4050" fmla="*/ 11779795 w 13061856"/>
              <a:gd name="connsiteY4050" fmla="*/ 1320525 h 5116136"/>
              <a:gd name="connsiteX4051" fmla="*/ 11842083 w 13061856"/>
              <a:gd name="connsiteY4051" fmla="*/ 1326471 h 5116136"/>
              <a:gd name="connsiteX4052" fmla="*/ 11845711 w 13061856"/>
              <a:gd name="connsiteY4052" fmla="*/ 1344309 h 5116136"/>
              <a:gd name="connsiteX4053" fmla="*/ 11880181 w 13061856"/>
              <a:gd name="connsiteY4053" fmla="*/ 1333368 h 5116136"/>
              <a:gd name="connsiteX4054" fmla="*/ 11852364 w 13061856"/>
              <a:gd name="connsiteY4054" fmla="*/ 1271532 h 5116136"/>
              <a:gd name="connsiteX4055" fmla="*/ 11820916 w 13061856"/>
              <a:gd name="connsiteY4055" fmla="*/ 1272721 h 5116136"/>
              <a:gd name="connsiteX4056" fmla="*/ 11906186 w 13061856"/>
              <a:gd name="connsiteY4056" fmla="*/ 1254407 h 5116136"/>
              <a:gd name="connsiteX4057" fmla="*/ 11911023 w 13061856"/>
              <a:gd name="connsiteY4057" fmla="*/ 1296504 h 5116136"/>
              <a:gd name="connsiteX4058" fmla="*/ 11915257 w 13061856"/>
              <a:gd name="connsiteY4058" fmla="*/ 1267013 h 5116136"/>
              <a:gd name="connsiteX4059" fmla="*/ 11936423 w 13061856"/>
              <a:gd name="connsiteY4059" fmla="*/ 1278905 h 5116136"/>
              <a:gd name="connsiteX4060" fmla="*/ 11966659 w 13061856"/>
              <a:gd name="connsiteY4060" fmla="*/ 1279855 h 5116136"/>
              <a:gd name="connsiteX4061" fmla="*/ 12020482 w 13061856"/>
              <a:gd name="connsiteY4061" fmla="*/ 1351443 h 5116136"/>
              <a:gd name="connsiteX4062" fmla="*/ 11934608 w 13061856"/>
              <a:gd name="connsiteY4062" fmla="*/ 1340504 h 5116136"/>
              <a:gd name="connsiteX4063" fmla="*/ 11985407 w 13061856"/>
              <a:gd name="connsiteY4063" fmla="*/ 1376416 h 5116136"/>
              <a:gd name="connsiteX4064" fmla="*/ 11943679 w 13061856"/>
              <a:gd name="connsiteY4064" fmla="*/ 1394730 h 5116136"/>
              <a:gd name="connsiteX4065" fmla="*/ 11989640 w 13061856"/>
              <a:gd name="connsiteY4065" fmla="*/ 1425886 h 5116136"/>
              <a:gd name="connsiteX4066" fmla="*/ 11944889 w 13061856"/>
              <a:gd name="connsiteY4066" fmla="*/ 1412566 h 5116136"/>
              <a:gd name="connsiteX4067" fmla="*/ 11900743 w 13061856"/>
              <a:gd name="connsiteY4067" fmla="*/ 1436351 h 5116136"/>
              <a:gd name="connsiteX4068" fmla="*/ 11938842 w 13061856"/>
              <a:gd name="connsiteY4068" fmla="*/ 1473452 h 5116136"/>
              <a:gd name="connsiteX4069" fmla="*/ 11938237 w 13061856"/>
              <a:gd name="connsiteY4069" fmla="*/ 1484868 h 5116136"/>
              <a:gd name="connsiteX4070" fmla="*/ 11918281 w 13061856"/>
              <a:gd name="connsiteY4070" fmla="*/ 1503182 h 5116136"/>
              <a:gd name="connsiteX4071" fmla="*/ 11944284 w 13061856"/>
              <a:gd name="connsiteY4071" fmla="*/ 1552889 h 5116136"/>
              <a:gd name="connsiteX4072" fmla="*/ 12068861 w 13061856"/>
              <a:gd name="connsiteY4072" fmla="*/ 1559547 h 5116136"/>
              <a:gd name="connsiteX4073" fmla="*/ 12080956 w 13061856"/>
              <a:gd name="connsiteY4073" fmla="*/ 1590704 h 5116136"/>
              <a:gd name="connsiteX4074" fmla="*/ 12083980 w 13061856"/>
              <a:gd name="connsiteY4074" fmla="*/ 1547181 h 5116136"/>
              <a:gd name="connsiteX4075" fmla="*/ 12118450 w 13061856"/>
              <a:gd name="connsiteY4075" fmla="*/ 1572153 h 5116136"/>
              <a:gd name="connsiteX4076" fmla="*/ 12116636 w 13061856"/>
              <a:gd name="connsiteY4076" fmla="*/ 1603548 h 5116136"/>
              <a:gd name="connsiteX4077" fmla="*/ 12101517 w 13061856"/>
              <a:gd name="connsiteY4077" fmla="*/ 1613773 h 5116136"/>
              <a:gd name="connsiteX4078" fmla="*/ 12122079 w 13061856"/>
              <a:gd name="connsiteY4078" fmla="*/ 1633276 h 5116136"/>
              <a:gd name="connsiteX4079" fmla="*/ 12097284 w 13061856"/>
              <a:gd name="connsiteY4079" fmla="*/ 1638984 h 5116136"/>
              <a:gd name="connsiteX4080" fmla="*/ 12070071 w 13061856"/>
              <a:gd name="connsiteY4080" fmla="*/ 1694637 h 5116136"/>
              <a:gd name="connsiteX4081" fmla="*/ 12071886 w 13061856"/>
              <a:gd name="connsiteY4081" fmla="*/ 1668714 h 5116136"/>
              <a:gd name="connsiteX4082" fmla="*/ 12050114 w 13061856"/>
              <a:gd name="connsiteY4082" fmla="*/ 1712474 h 5116136"/>
              <a:gd name="connsiteX4083" fmla="*/ 12072490 w 13061856"/>
              <a:gd name="connsiteY4083" fmla="*/ 1706766 h 5116136"/>
              <a:gd name="connsiteX4084" fmla="*/ 12036205 w 13061856"/>
              <a:gd name="connsiteY4084" fmla="*/ 1743156 h 5116136"/>
              <a:gd name="connsiteX4085" fmla="*/ 12065838 w 13061856"/>
              <a:gd name="connsiteY4085" fmla="*/ 1767415 h 5116136"/>
              <a:gd name="connsiteX4086" fmla="*/ 12119660 w 13061856"/>
              <a:gd name="connsiteY4086" fmla="*/ 1841381 h 5116136"/>
              <a:gd name="connsiteX4087" fmla="*/ 12094866 w 13061856"/>
              <a:gd name="connsiteY4087" fmla="*/ 1821165 h 5116136"/>
              <a:gd name="connsiteX4088" fmla="*/ 12144455 w 13061856"/>
              <a:gd name="connsiteY4088" fmla="*/ 1827349 h 5116136"/>
              <a:gd name="connsiteX4089" fmla="*/ 12133570 w 13061856"/>
              <a:gd name="connsiteY4089" fmla="*/ 1895844 h 5116136"/>
              <a:gd name="connsiteX4090" fmla="*/ 12103332 w 13061856"/>
              <a:gd name="connsiteY4090" fmla="*/ 1878006 h 5116136"/>
              <a:gd name="connsiteX4091" fmla="*/ 12073095 w 13061856"/>
              <a:gd name="connsiteY4091" fmla="*/ 1894655 h 5116136"/>
              <a:gd name="connsiteX4092" fmla="*/ 12128126 w 13061856"/>
              <a:gd name="connsiteY4092" fmla="*/ 1901552 h 5116136"/>
              <a:gd name="connsiteX4093" fmla="*/ 12062814 w 13061856"/>
              <a:gd name="connsiteY4093" fmla="*/ 1907736 h 5116136"/>
              <a:gd name="connsiteX4094" fmla="*/ 12069466 w 13061856"/>
              <a:gd name="connsiteY4094" fmla="*/ 1918200 h 5116136"/>
              <a:gd name="connsiteX4095" fmla="*/ 12034996 w 13061856"/>
              <a:gd name="connsiteY4095" fmla="*/ 1889422 h 5116136"/>
              <a:gd name="connsiteX4096" fmla="*/ 12004154 w 13061856"/>
              <a:gd name="connsiteY4096" fmla="*/ 1930330 h 5116136"/>
              <a:gd name="connsiteX4097" fmla="*/ 12043462 w 13061856"/>
              <a:gd name="connsiteY4097" fmla="*/ 1956017 h 5116136"/>
              <a:gd name="connsiteX4098" fmla="*/ 12009597 w 13061856"/>
              <a:gd name="connsiteY4098" fmla="*/ 1954590 h 5116136"/>
              <a:gd name="connsiteX4099" fmla="*/ 11988431 w 13061856"/>
              <a:gd name="connsiteY4099" fmla="*/ 1992405 h 5116136"/>
              <a:gd name="connsiteX4100" fmla="*/ 11992664 w 13061856"/>
              <a:gd name="connsiteY4100" fmla="*/ 2004773 h 5116136"/>
              <a:gd name="connsiteX4101" fmla="*/ 12063419 w 13061856"/>
              <a:gd name="connsiteY4101" fmla="*/ 1973141 h 5116136"/>
              <a:gd name="connsiteX4102" fmla="*/ 12067652 w 13061856"/>
              <a:gd name="connsiteY4102" fmla="*/ 1991692 h 5116136"/>
              <a:gd name="connsiteX4103" fmla="*/ 12114218 w 13061856"/>
              <a:gd name="connsiteY4103" fmla="*/ 1979562 h 5116136"/>
              <a:gd name="connsiteX4104" fmla="*/ 12106960 w 13061856"/>
              <a:gd name="connsiteY4104" fmla="*/ 2016664 h 5116136"/>
              <a:gd name="connsiteX4105" fmla="*/ 12112403 w 13061856"/>
              <a:gd name="connsiteY4105" fmla="*/ 2004773 h 5116136"/>
              <a:gd name="connsiteX4106" fmla="*/ 12172272 w 13061856"/>
              <a:gd name="connsiteY4106" fmla="*/ 2004297 h 5116136"/>
              <a:gd name="connsiteX4107" fmla="*/ 12152316 w 13061856"/>
              <a:gd name="connsiteY4107" fmla="*/ 1980751 h 5116136"/>
              <a:gd name="connsiteX4108" fmla="*/ 12153525 w 13061856"/>
              <a:gd name="connsiteY4108" fmla="*/ 2004297 h 5116136"/>
              <a:gd name="connsiteX4109" fmla="*/ 12148083 w 13061856"/>
              <a:gd name="connsiteY4109" fmla="*/ 1968385 h 5116136"/>
              <a:gd name="connsiteX4110" fmla="*/ 12163201 w 13061856"/>
              <a:gd name="connsiteY4110" fmla="*/ 1962201 h 5116136"/>
              <a:gd name="connsiteX4111" fmla="*/ 12178925 w 13061856"/>
              <a:gd name="connsiteY4111" fmla="*/ 1981227 h 5116136"/>
              <a:gd name="connsiteX4112" fmla="*/ 12188601 w 13061856"/>
              <a:gd name="connsiteY4112" fmla="*/ 1938418 h 5116136"/>
              <a:gd name="connsiteX4113" fmla="*/ 12191624 w 13061856"/>
              <a:gd name="connsiteY4113" fmla="*/ 1962201 h 5116136"/>
              <a:gd name="connsiteX4114" fmla="*/ 12218234 w 13061856"/>
              <a:gd name="connsiteY4114" fmla="*/ 1962675 h 5116136"/>
              <a:gd name="connsiteX4115" fmla="*/ 12253913 w 13061856"/>
              <a:gd name="connsiteY4115" fmla="*/ 1937940 h 5116136"/>
              <a:gd name="connsiteX4116" fmla="*/ 12238190 w 13061856"/>
              <a:gd name="connsiteY4116" fmla="*/ 1950784 h 5116136"/>
              <a:gd name="connsiteX4117" fmla="*/ 12267822 w 13061856"/>
              <a:gd name="connsiteY4117" fmla="*/ 1975043 h 5116136"/>
              <a:gd name="connsiteX4118" fmla="*/ 12233352 w 13061856"/>
              <a:gd name="connsiteY4118" fmla="*/ 1993357 h 5116136"/>
              <a:gd name="connsiteX4119" fmla="*/ 12232142 w 13061856"/>
              <a:gd name="connsiteY4119" fmla="*/ 1967909 h 5116136"/>
              <a:gd name="connsiteX4120" fmla="*/ 12222466 w 13061856"/>
              <a:gd name="connsiteY4120" fmla="*/ 1969096 h 5116136"/>
              <a:gd name="connsiteX4121" fmla="*/ 12217629 w 13061856"/>
              <a:gd name="connsiteY4121" fmla="*/ 1974330 h 5116136"/>
              <a:gd name="connsiteX4122" fmla="*/ 12222466 w 13061856"/>
              <a:gd name="connsiteY4122" fmla="*/ 1980751 h 5116136"/>
              <a:gd name="connsiteX4123" fmla="*/ 12207348 w 13061856"/>
              <a:gd name="connsiteY4123" fmla="*/ 1993357 h 5116136"/>
              <a:gd name="connsiteX4124" fmla="*/ 12233352 w 13061856"/>
              <a:gd name="connsiteY4124" fmla="*/ 1993357 h 5116136"/>
              <a:gd name="connsiteX4125" fmla="*/ 12262380 w 13061856"/>
              <a:gd name="connsiteY4125" fmla="*/ 2024037 h 5116136"/>
              <a:gd name="connsiteX4126" fmla="*/ 12272660 w 13061856"/>
              <a:gd name="connsiteY4126" fmla="*/ 2024513 h 5116136"/>
              <a:gd name="connsiteX4127" fmla="*/ 12326482 w 13061856"/>
              <a:gd name="connsiteY4127" fmla="*/ 2005723 h 5116136"/>
              <a:gd name="connsiteX4128" fmla="*/ 12311364 w 13061856"/>
              <a:gd name="connsiteY4128" fmla="*/ 2018329 h 5116136"/>
              <a:gd name="connsiteX4129" fmla="*/ 12322249 w 13061856"/>
              <a:gd name="connsiteY4129" fmla="*/ 2036880 h 5116136"/>
              <a:gd name="connsiteX4130" fmla="*/ 12427475 w 13061856"/>
              <a:gd name="connsiteY4130" fmla="*/ 2000491 h 5116136"/>
              <a:gd name="connsiteX4131" fmla="*/ 12457712 w 13061856"/>
              <a:gd name="connsiteY4131" fmla="*/ 2018805 h 5116136"/>
              <a:gd name="connsiteX4132" fmla="*/ 12432312 w 13061856"/>
              <a:gd name="connsiteY4132" fmla="*/ 2036880 h 5116136"/>
              <a:gd name="connsiteX4133" fmla="*/ 12446221 w 13061856"/>
              <a:gd name="connsiteY4133" fmla="*/ 2055430 h 5116136"/>
              <a:gd name="connsiteX4134" fmla="*/ 12426265 w 13061856"/>
              <a:gd name="connsiteY4134" fmla="*/ 2061614 h 5116136"/>
              <a:gd name="connsiteX4135" fmla="*/ 12486739 w 13061856"/>
              <a:gd name="connsiteY4135" fmla="*/ 2019518 h 5116136"/>
              <a:gd name="connsiteX4136" fmla="*/ 12500649 w 13061856"/>
              <a:gd name="connsiteY4136" fmla="*/ 2018805 h 5116136"/>
              <a:gd name="connsiteX4137" fmla="*/ 12487343 w 13061856"/>
              <a:gd name="connsiteY4137" fmla="*/ 2007151 h 5116136"/>
              <a:gd name="connsiteX4138" fmla="*/ 12541166 w 13061856"/>
              <a:gd name="connsiteY4138" fmla="*/ 1982415 h 5116136"/>
              <a:gd name="connsiteX4139" fmla="*/ 12565961 w 13061856"/>
              <a:gd name="connsiteY4139" fmla="*/ 2014286 h 5116136"/>
              <a:gd name="connsiteX4140" fmla="*/ 12582289 w 13061856"/>
              <a:gd name="connsiteY4140" fmla="*/ 1984081 h 5116136"/>
              <a:gd name="connsiteX4141" fmla="*/ 12615550 w 13061856"/>
              <a:gd name="connsiteY4141" fmla="*/ 1982891 h 5116136"/>
              <a:gd name="connsiteX4142" fmla="*/ 12642158 w 13061856"/>
              <a:gd name="connsiteY4142" fmla="*/ 2026891 h 5116136"/>
              <a:gd name="connsiteX4143" fmla="*/ 12616154 w 13061856"/>
              <a:gd name="connsiteY4143" fmla="*/ 2062089 h 5116136"/>
              <a:gd name="connsiteX4144" fmla="*/ 12699609 w 13061856"/>
              <a:gd name="connsiteY4144" fmla="*/ 2160315 h 5116136"/>
              <a:gd name="connsiteX4145" fmla="*/ 12740127 w 13061856"/>
              <a:gd name="connsiteY4145" fmla="*/ 2161504 h 5116136"/>
              <a:gd name="connsiteX4146" fmla="*/ 12692956 w 13061856"/>
              <a:gd name="connsiteY4146" fmla="*/ 2233331 h 5116136"/>
              <a:gd name="connsiteX4147" fmla="*/ 12712913 w 13061856"/>
              <a:gd name="connsiteY4147" fmla="*/ 2214780 h 5116136"/>
              <a:gd name="connsiteX4148" fmla="*/ 12703842 w 13061856"/>
              <a:gd name="connsiteY4148" fmla="*/ 2204314 h 5116136"/>
              <a:gd name="connsiteX4149" fmla="*/ 12723194 w 13061856"/>
              <a:gd name="connsiteY4149" fmla="*/ 2245460 h 5116136"/>
              <a:gd name="connsiteX4150" fmla="*/ 12749198 w 13061856"/>
              <a:gd name="connsiteY4150" fmla="*/ 2251644 h 5116136"/>
              <a:gd name="connsiteX4151" fmla="*/ 12712308 w 13061856"/>
              <a:gd name="connsiteY4151" fmla="*/ 2264487 h 5116136"/>
              <a:gd name="connsiteX4152" fmla="*/ 12723194 w 13061856"/>
              <a:gd name="connsiteY4152" fmla="*/ 2283513 h 5116136"/>
              <a:gd name="connsiteX4153" fmla="*/ 12673605 w 13061856"/>
              <a:gd name="connsiteY4153" fmla="*/ 2270671 h 5116136"/>
              <a:gd name="connsiteX4154" fmla="*/ 12686910 w 13061856"/>
              <a:gd name="connsiteY4154" fmla="*/ 2288270 h 5116136"/>
              <a:gd name="connsiteX4155" fmla="*/ 12663929 w 13061856"/>
              <a:gd name="connsiteY4155" fmla="*/ 2270195 h 5116136"/>
              <a:gd name="connsiteX4156" fmla="*/ 12637320 w 13061856"/>
              <a:gd name="connsiteY4156" fmla="*/ 2281611 h 5116136"/>
              <a:gd name="connsiteX4157" fmla="*/ 12642763 w 13061856"/>
              <a:gd name="connsiteY4157" fmla="*/ 2306107 h 5116136"/>
              <a:gd name="connsiteX4158" fmla="*/ 12617968 w 13061856"/>
              <a:gd name="connsiteY4158" fmla="*/ 2288270 h 5116136"/>
              <a:gd name="connsiteX4159" fmla="*/ 12598012 w 13061856"/>
              <a:gd name="connsiteY4159" fmla="*/ 2250691 h 5116136"/>
              <a:gd name="connsiteX4160" fmla="*/ 12608293 w 13061856"/>
              <a:gd name="connsiteY4160" fmla="*/ 2233806 h 5116136"/>
              <a:gd name="connsiteX4161" fmla="*/ 12589545 w 13061856"/>
              <a:gd name="connsiteY4161" fmla="*/ 2226195 h 5116136"/>
              <a:gd name="connsiteX4162" fmla="*/ 12573822 w 13061856"/>
              <a:gd name="connsiteY4162" fmla="*/ 2250691 h 5116136"/>
              <a:gd name="connsiteX4163" fmla="*/ 12578055 w 13061856"/>
              <a:gd name="connsiteY4163" fmla="*/ 2215254 h 5116136"/>
              <a:gd name="connsiteX4164" fmla="*/ 12614945 w 13061856"/>
              <a:gd name="connsiteY4164" fmla="*/ 2208358 h 5116136"/>
              <a:gd name="connsiteX4165" fmla="*/ 12579869 w 13061856"/>
              <a:gd name="connsiteY4165" fmla="*/ 2195514 h 5116136"/>
              <a:gd name="connsiteX4166" fmla="*/ 12563542 w 13061856"/>
              <a:gd name="connsiteY4166" fmla="*/ 2225720 h 5116136"/>
              <a:gd name="connsiteX4167" fmla="*/ 12450455 w 13061856"/>
              <a:gd name="connsiteY4167" fmla="*/ 2226195 h 5116136"/>
              <a:gd name="connsiteX4168" fmla="*/ 12444407 w 13061856"/>
              <a:gd name="connsiteY4168" fmla="*/ 2251168 h 5116136"/>
              <a:gd name="connsiteX4169" fmla="*/ 12399051 w 13061856"/>
              <a:gd name="connsiteY4169" fmla="*/ 2249502 h 5116136"/>
              <a:gd name="connsiteX4170" fmla="*/ 12413565 w 13061856"/>
              <a:gd name="connsiteY4170" fmla="*/ 2286367 h 5116136"/>
              <a:gd name="connsiteX4171" fmla="*/ 12383932 w 13061856"/>
              <a:gd name="connsiteY4171" fmla="*/ 2299686 h 5116136"/>
              <a:gd name="connsiteX4172" fmla="*/ 12419613 w 13061856"/>
              <a:gd name="connsiteY4172" fmla="*/ 2304918 h 5116136"/>
              <a:gd name="connsiteX4173" fmla="*/ 12428079 w 13061856"/>
              <a:gd name="connsiteY4173" fmla="*/ 2323232 h 5116136"/>
              <a:gd name="connsiteX4174" fmla="*/ 12393004 w 13061856"/>
              <a:gd name="connsiteY4174" fmla="*/ 2353912 h 5116136"/>
              <a:gd name="connsiteX4175" fmla="*/ 12397237 w 13061856"/>
              <a:gd name="connsiteY4175" fmla="*/ 2366279 h 5116136"/>
              <a:gd name="connsiteX4176" fmla="*/ 12443802 w 13061856"/>
              <a:gd name="connsiteY4176" fmla="*/ 2342496 h 5116136"/>
              <a:gd name="connsiteX4177" fmla="*/ 12507905 w 13061856"/>
              <a:gd name="connsiteY4177" fmla="*/ 2353912 h 5116136"/>
              <a:gd name="connsiteX4178" fmla="*/ 12541166 w 13061856"/>
              <a:gd name="connsiteY4178" fmla="*/ 2404094 h 5116136"/>
              <a:gd name="connsiteX4179" fmla="*/ 12604060 w 13061856"/>
              <a:gd name="connsiteY4179" fmla="*/ 2389587 h 5116136"/>
              <a:gd name="connsiteX4180" fmla="*/ 12575637 w 13061856"/>
              <a:gd name="connsiteY4180" fmla="*/ 2476633 h 5116136"/>
              <a:gd name="connsiteX4181" fmla="*/ 12576241 w 13061856"/>
              <a:gd name="connsiteY4181" fmla="*/ 2544177 h 5116136"/>
              <a:gd name="connsiteX4182" fmla="*/ 12524838 w 13061856"/>
              <a:gd name="connsiteY4182" fmla="*/ 2525627 h 5116136"/>
              <a:gd name="connsiteX4183" fmla="*/ 12521210 w 13061856"/>
              <a:gd name="connsiteY4183" fmla="*/ 2543227 h 5116136"/>
              <a:gd name="connsiteX4184" fmla="*/ 12460735 w 13061856"/>
              <a:gd name="connsiteY4184" fmla="*/ 2506600 h 5116136"/>
              <a:gd name="connsiteX4185" fmla="*/ 12421427 w 13061856"/>
              <a:gd name="connsiteY4185" fmla="*/ 2530859 h 5116136"/>
              <a:gd name="connsiteX4186" fmla="*/ 12421427 w 13061856"/>
              <a:gd name="connsiteY4186" fmla="*/ 2560350 h 5116136"/>
              <a:gd name="connsiteX4187" fmla="*/ 12465573 w 13061856"/>
              <a:gd name="connsiteY4187" fmla="*/ 2585798 h 5116136"/>
              <a:gd name="connsiteX4188" fmla="*/ 12460131 w 13061856"/>
              <a:gd name="connsiteY4188" fmla="*/ 2646921 h 5116136"/>
              <a:gd name="connsiteX4189" fmla="*/ 12529675 w 13061856"/>
              <a:gd name="connsiteY4189" fmla="*/ 2641213 h 5116136"/>
              <a:gd name="connsiteX4190" fmla="*/ 12468597 w 13061856"/>
              <a:gd name="connsiteY4190" fmla="*/ 2665711 h 5116136"/>
              <a:gd name="connsiteX4191" fmla="*/ 12425661 w 13061856"/>
              <a:gd name="connsiteY4191" fmla="*/ 2658100 h 5116136"/>
              <a:gd name="connsiteX4192" fmla="*/ 12497624 w 13061856"/>
              <a:gd name="connsiteY4192" fmla="*/ 2786768 h 5116136"/>
              <a:gd name="connsiteX4193" fmla="*/ 12516976 w 13061856"/>
              <a:gd name="connsiteY4193" fmla="*/ 2780584 h 5116136"/>
              <a:gd name="connsiteX4194" fmla="*/ 12523629 w 13061856"/>
              <a:gd name="connsiteY4194" fmla="*/ 2793189 h 5116136"/>
              <a:gd name="connsiteX4195" fmla="*/ 12512139 w 13061856"/>
              <a:gd name="connsiteY4195" fmla="*/ 2818162 h 5116136"/>
              <a:gd name="connsiteX4196" fmla="*/ 12527257 w 13061856"/>
              <a:gd name="connsiteY4196" fmla="*/ 2848842 h 5116136"/>
              <a:gd name="connsiteX4197" fmla="*/ 12617364 w 13061856"/>
              <a:gd name="connsiteY4197" fmla="*/ 2878095 h 5116136"/>
              <a:gd name="connsiteX4198" fmla="*/ 12636716 w 13061856"/>
              <a:gd name="connsiteY4198" fmla="*/ 2874052 h 5116136"/>
              <a:gd name="connsiteX4199" fmla="*/ 12660300 w 13061856"/>
              <a:gd name="connsiteY4199" fmla="*/ 2915673 h 5116136"/>
              <a:gd name="connsiteX4200" fmla="*/ 12604664 w 13061856"/>
              <a:gd name="connsiteY4200" fmla="*/ 3049812 h 5116136"/>
              <a:gd name="connsiteX4201" fmla="*/ 12718356 w 13061856"/>
              <a:gd name="connsiteY4201" fmla="*/ 3037682 h 5116136"/>
              <a:gd name="connsiteX4202" fmla="*/ 12694771 w 13061856"/>
              <a:gd name="connsiteY4202" fmla="*/ 2989877 h 5116136"/>
              <a:gd name="connsiteX4203" fmla="*/ 12714122 w 13061856"/>
              <a:gd name="connsiteY4203" fmla="*/ 2989877 h 5116136"/>
              <a:gd name="connsiteX4204" fmla="*/ 12783668 w 13061856"/>
              <a:gd name="connsiteY4204" fmla="*/ 3025553 h 5116136"/>
              <a:gd name="connsiteX4205" fmla="*/ 12789110 w 13061856"/>
              <a:gd name="connsiteY4205" fmla="*/ 3063130 h 5116136"/>
              <a:gd name="connsiteX4206" fmla="*/ 12966905 w 13061856"/>
              <a:gd name="connsiteY4206" fmla="*/ 3138285 h 5116136"/>
              <a:gd name="connsiteX4207" fmla="*/ 13061849 w 13061856"/>
              <a:gd name="connsiteY4207" fmla="*/ 3279558 h 5116136"/>
              <a:gd name="connsiteX4208" fmla="*/ 13022542 w 13061856"/>
              <a:gd name="connsiteY4208" fmla="*/ 3386345 h 5116136"/>
              <a:gd name="connsiteX4209" fmla="*/ 13015285 w 13061856"/>
              <a:gd name="connsiteY4209" fmla="*/ 3343773 h 5116136"/>
              <a:gd name="connsiteX4210" fmla="*/ 12959044 w 13061856"/>
              <a:gd name="connsiteY4210" fmla="*/ 3325461 h 5116136"/>
              <a:gd name="connsiteX4211" fmla="*/ 12809067 w 13061856"/>
              <a:gd name="connsiteY4211" fmla="*/ 3336638 h 5116136"/>
              <a:gd name="connsiteX4212" fmla="*/ 12814510 w 13061856"/>
              <a:gd name="connsiteY4212" fmla="*/ 3324985 h 5116136"/>
              <a:gd name="connsiteX4213" fmla="*/ 12721380 w 13061856"/>
              <a:gd name="connsiteY4213" fmla="*/ 3313331 h 5116136"/>
              <a:gd name="connsiteX4214" fmla="*/ 12696586 w 13061856"/>
              <a:gd name="connsiteY4214" fmla="*/ 3330693 h 5116136"/>
              <a:gd name="connsiteX4215" fmla="*/ 12676629 w 13061856"/>
              <a:gd name="connsiteY4215" fmla="*/ 3305482 h 5116136"/>
              <a:gd name="connsiteX4216" fmla="*/ 12594988 w 13061856"/>
              <a:gd name="connsiteY4216" fmla="*/ 3335925 h 5116136"/>
              <a:gd name="connsiteX4217" fmla="*/ 12550237 w 13061856"/>
              <a:gd name="connsiteY4217" fmla="*/ 3329978 h 5116136"/>
              <a:gd name="connsiteX4218" fmla="*/ 12594988 w 13061856"/>
              <a:gd name="connsiteY4218" fmla="*/ 3292639 h 5116136"/>
              <a:gd name="connsiteX4219" fmla="*/ 12584103 w 13061856"/>
              <a:gd name="connsiteY4219" fmla="*/ 3110935 h 5116136"/>
              <a:gd name="connsiteX4220" fmla="*/ 12530281 w 13061856"/>
              <a:gd name="connsiteY4220" fmla="*/ 3090719 h 5116136"/>
              <a:gd name="connsiteX4221" fmla="*/ 12513953 w 13061856"/>
              <a:gd name="connsiteY4221" fmla="*/ 3129010 h 5116136"/>
              <a:gd name="connsiteX4222" fmla="*/ 12561728 w 13061856"/>
              <a:gd name="connsiteY4222" fmla="*/ 3214630 h 5116136"/>
              <a:gd name="connsiteX4223" fmla="*/ 12538142 w 13061856"/>
              <a:gd name="connsiteY4223" fmla="*/ 3207970 h 5116136"/>
              <a:gd name="connsiteX4224" fmla="*/ 12522419 w 13061856"/>
              <a:gd name="connsiteY4224" fmla="*/ 3218435 h 5116136"/>
              <a:gd name="connsiteX4225" fmla="*/ 12536933 w 13061856"/>
              <a:gd name="connsiteY4225" fmla="*/ 3267666 h 5116136"/>
              <a:gd name="connsiteX4226" fmla="*/ 12517581 w 13061856"/>
              <a:gd name="connsiteY4226" fmla="*/ 3274089 h 5116136"/>
              <a:gd name="connsiteX4227" fmla="*/ 12491577 w 13061856"/>
              <a:gd name="connsiteY4227" fmla="*/ 3378735 h 5116136"/>
              <a:gd name="connsiteX4228" fmla="*/ 12464968 w 13061856"/>
              <a:gd name="connsiteY4228" fmla="*/ 3390151 h 5116136"/>
              <a:gd name="connsiteX4229" fmla="*/ 12500649 w 13061856"/>
              <a:gd name="connsiteY4229" fmla="*/ 3389199 h 5116136"/>
              <a:gd name="connsiteX4230" fmla="*/ 12494601 w 13061856"/>
              <a:gd name="connsiteY4230" fmla="*/ 3414410 h 5116136"/>
              <a:gd name="connsiteX4231" fmla="*/ 12457106 w 13061856"/>
              <a:gd name="connsiteY4231" fmla="*/ 3407513 h 5116136"/>
              <a:gd name="connsiteX4232" fmla="*/ 12466177 w 13061856"/>
              <a:gd name="connsiteY4232" fmla="*/ 3449847 h 5116136"/>
              <a:gd name="connsiteX4233" fmla="*/ 12444407 w 13061856"/>
              <a:gd name="connsiteY4233" fmla="*/ 3455555 h 5116136"/>
              <a:gd name="connsiteX4234" fmla="*/ 12439569 w 13061856"/>
              <a:gd name="connsiteY4234" fmla="*/ 3493132 h 5116136"/>
              <a:gd name="connsiteX4235" fmla="*/ 12469807 w 13061856"/>
              <a:gd name="connsiteY4235" fmla="*/ 3517391 h 5116136"/>
              <a:gd name="connsiteX4236" fmla="*/ 12468597 w 13061856"/>
              <a:gd name="connsiteY4236" fmla="*/ 3620136 h 5116136"/>
              <a:gd name="connsiteX4237" fmla="*/ 12443197 w 13061856"/>
              <a:gd name="connsiteY4237" fmla="*/ 3634168 h 5116136"/>
              <a:gd name="connsiteX4238" fmla="*/ 12462549 w 13061856"/>
              <a:gd name="connsiteY4238" fmla="*/ 3645584 h 5116136"/>
              <a:gd name="connsiteX4239" fmla="*/ 12448641 w 13061856"/>
              <a:gd name="connsiteY4239" fmla="*/ 3669843 h 5116136"/>
              <a:gd name="connsiteX4240" fmla="*/ 12417194 w 13061856"/>
              <a:gd name="connsiteY4240" fmla="*/ 3675075 h 5116136"/>
              <a:gd name="connsiteX4241" fmla="*/ 12406309 w 13061856"/>
              <a:gd name="connsiteY4241" fmla="*/ 3735960 h 5116136"/>
              <a:gd name="connsiteX4242" fmla="*/ 12407518 w 13061856"/>
              <a:gd name="connsiteY4242" fmla="*/ 3676264 h 5116136"/>
              <a:gd name="connsiteX4243" fmla="*/ 12373047 w 13061856"/>
              <a:gd name="connsiteY4243" fmla="*/ 3731204 h 5116136"/>
              <a:gd name="connsiteX4244" fmla="*/ 12367605 w 13061856"/>
              <a:gd name="connsiteY4244" fmla="*/ 3786143 h 5116136"/>
              <a:gd name="connsiteX4245" fmla="*/ 12386957 w 13061856"/>
              <a:gd name="connsiteY4245" fmla="*/ 3827289 h 5116136"/>
              <a:gd name="connsiteX4246" fmla="*/ 12372442 w 13061856"/>
              <a:gd name="connsiteY4246" fmla="*/ 3833948 h 5116136"/>
              <a:gd name="connsiteX4247" fmla="*/ 12385747 w 13061856"/>
              <a:gd name="connsiteY4247" fmla="*/ 3846791 h 5116136"/>
              <a:gd name="connsiteX4248" fmla="*/ 12369419 w 13061856"/>
              <a:gd name="connsiteY4248" fmla="*/ 3877472 h 5116136"/>
              <a:gd name="connsiteX4249" fmla="*/ 12401470 w 13061856"/>
              <a:gd name="connsiteY4249" fmla="*/ 3864153 h 5116136"/>
              <a:gd name="connsiteX4250" fmla="*/ 12365791 w 13061856"/>
              <a:gd name="connsiteY4250" fmla="*/ 3985924 h 5116136"/>
              <a:gd name="connsiteX4251" fmla="*/ 12334344 w 13061856"/>
              <a:gd name="connsiteY4251" fmla="*/ 3991156 h 5116136"/>
              <a:gd name="connsiteX4252" fmla="*/ 12348858 w 13061856"/>
              <a:gd name="connsiteY4252" fmla="*/ 4021836 h 5116136"/>
              <a:gd name="connsiteX4253" fmla="*/ 12324063 w 13061856"/>
              <a:gd name="connsiteY4253" fmla="*/ 4089381 h 5116136"/>
              <a:gd name="connsiteX4254" fmla="*/ 12323459 w 13061856"/>
              <a:gd name="connsiteY4254" fmla="*/ 4053707 h 5116136"/>
              <a:gd name="connsiteX4255" fmla="*/ 12298059 w 13061856"/>
              <a:gd name="connsiteY4255" fmla="*/ 4071069 h 5116136"/>
              <a:gd name="connsiteX4256" fmla="*/ 12330715 w 13061856"/>
              <a:gd name="connsiteY4256" fmla="*/ 4016604 h 5116136"/>
              <a:gd name="connsiteX4257" fmla="*/ 12309549 w 13061856"/>
              <a:gd name="connsiteY4257" fmla="*/ 3917903 h 5116136"/>
              <a:gd name="connsiteX4258" fmla="*/ 12260565 w 13061856"/>
              <a:gd name="connsiteY4258" fmla="*/ 3899352 h 5116136"/>
              <a:gd name="connsiteX4259" fmla="*/ 12271451 w 13061856"/>
              <a:gd name="connsiteY4259" fmla="*/ 3906250 h 5116136"/>
              <a:gd name="connsiteX4260" fmla="*/ 12249680 w 13061856"/>
              <a:gd name="connsiteY4260" fmla="*/ 3954292 h 5116136"/>
              <a:gd name="connsiteX4261" fmla="*/ 12235770 w 13061856"/>
              <a:gd name="connsiteY4261" fmla="*/ 3949059 h 5116136"/>
              <a:gd name="connsiteX4262" fmla="*/ 12235770 w 13061856"/>
              <a:gd name="connsiteY4262" fmla="*/ 3990680 h 5116136"/>
              <a:gd name="connsiteX4263" fmla="*/ 12216418 w 13061856"/>
              <a:gd name="connsiteY4263" fmla="*/ 3990680 h 5116136"/>
              <a:gd name="connsiteX4264" fmla="*/ 12125708 w 13061856"/>
              <a:gd name="connsiteY4264" fmla="*/ 3984972 h 5116136"/>
              <a:gd name="connsiteX4265" fmla="*/ 12105751 w 13061856"/>
              <a:gd name="connsiteY4265" fmla="*/ 3953578 h 5116136"/>
              <a:gd name="connsiteX4266" fmla="*/ 12108170 w 13061856"/>
              <a:gd name="connsiteY4266" fmla="*/ 3918616 h 5116136"/>
              <a:gd name="connsiteX4267" fmla="*/ 12146874 w 13061856"/>
              <a:gd name="connsiteY4267" fmla="*/ 3911482 h 5116136"/>
              <a:gd name="connsiteX4268" fmla="*/ 12116636 w 13061856"/>
              <a:gd name="connsiteY4268" fmla="*/ 3887460 h 5116136"/>
              <a:gd name="connsiteX4269" fmla="*/ 12073095 w 13061856"/>
              <a:gd name="connsiteY4269" fmla="*/ 3905061 h 5116136"/>
              <a:gd name="connsiteX4270" fmla="*/ 12091841 w 13061856"/>
              <a:gd name="connsiteY4270" fmla="*/ 3948584 h 5116136"/>
              <a:gd name="connsiteX4271" fmla="*/ 12046486 w 13061856"/>
              <a:gd name="connsiteY4271" fmla="*/ 3946681 h 5116136"/>
              <a:gd name="connsiteX4272" fmla="*/ 12072490 w 13061856"/>
              <a:gd name="connsiteY4272" fmla="*/ 3952627 h 5116136"/>
              <a:gd name="connsiteX4273" fmla="*/ 12082166 w 13061856"/>
              <a:gd name="connsiteY4273" fmla="*/ 3991156 h 5116136"/>
              <a:gd name="connsiteX4274" fmla="*/ 12061605 w 13061856"/>
              <a:gd name="connsiteY4274" fmla="*/ 3965945 h 5116136"/>
              <a:gd name="connsiteX4275" fmla="*/ 12050720 w 13061856"/>
              <a:gd name="connsiteY4275" fmla="*/ 3990680 h 5116136"/>
              <a:gd name="connsiteX4276" fmla="*/ 12079747 w 13061856"/>
              <a:gd name="connsiteY4276" fmla="*/ 4026594 h 5116136"/>
              <a:gd name="connsiteX4277" fmla="*/ 12050114 w 13061856"/>
              <a:gd name="connsiteY4277" fmla="*/ 4043956 h 5116136"/>
              <a:gd name="connsiteX4278" fmla="*/ 12045881 w 13061856"/>
              <a:gd name="connsiteY4278" fmla="*/ 4075825 h 5116136"/>
              <a:gd name="connsiteX4279" fmla="*/ 12070071 w 13061856"/>
              <a:gd name="connsiteY4279" fmla="*/ 4075825 h 5116136"/>
              <a:gd name="connsiteX4280" fmla="*/ 12015644 w 13061856"/>
              <a:gd name="connsiteY4280" fmla="*/ 4062982 h 5116136"/>
              <a:gd name="connsiteX4281" fmla="*/ 12035601 w 13061856"/>
              <a:gd name="connsiteY4281" fmla="*/ 4088430 h 5116136"/>
              <a:gd name="connsiteX4282" fmla="*/ 12028948 w 13061856"/>
              <a:gd name="connsiteY4282" fmla="*/ 4117446 h 5116136"/>
              <a:gd name="connsiteX4283" fmla="*/ 12021087 w 13061856"/>
              <a:gd name="connsiteY4283" fmla="*/ 4092949 h 5116136"/>
              <a:gd name="connsiteX4284" fmla="*/ 11995687 w 13061856"/>
              <a:gd name="connsiteY4284" fmla="*/ 4112689 h 5116136"/>
              <a:gd name="connsiteX4285" fmla="*/ 11990245 w 13061856"/>
              <a:gd name="connsiteY4285" fmla="*/ 4080344 h 5116136"/>
              <a:gd name="connsiteX4286" fmla="*/ 11932189 w 13061856"/>
              <a:gd name="connsiteY4286" fmla="*/ 4049664 h 5116136"/>
              <a:gd name="connsiteX4287" fmla="*/ 11960008 w 13061856"/>
              <a:gd name="connsiteY4287" fmla="*/ 4111500 h 5116136"/>
              <a:gd name="connsiteX4288" fmla="*/ 11966055 w 13061856"/>
              <a:gd name="connsiteY4288" fmla="*/ 4086528 h 5116136"/>
              <a:gd name="connsiteX4289" fmla="*/ 11984197 w 13061856"/>
              <a:gd name="connsiteY4289" fmla="*/ 4099847 h 5116136"/>
              <a:gd name="connsiteX4290" fmla="*/ 11964241 w 13061856"/>
              <a:gd name="connsiteY4290" fmla="*/ 4117921 h 5116136"/>
              <a:gd name="connsiteX4291" fmla="*/ 11990850 w 13061856"/>
              <a:gd name="connsiteY4291" fmla="*/ 4153834 h 5116136"/>
              <a:gd name="connsiteX4292" fmla="*/ 11985407 w 13061856"/>
              <a:gd name="connsiteY4292" fmla="*/ 4209249 h 5116136"/>
              <a:gd name="connsiteX4293" fmla="*/ 11955774 w 13061856"/>
              <a:gd name="connsiteY4293" fmla="*/ 4184277 h 5116136"/>
              <a:gd name="connsiteX4294" fmla="*/ 11973312 w 13061856"/>
              <a:gd name="connsiteY4294" fmla="*/ 4160494 h 5116136"/>
              <a:gd name="connsiteX4295" fmla="*/ 11970289 w 13061856"/>
              <a:gd name="connsiteY4295" fmla="*/ 4136235 h 5116136"/>
              <a:gd name="connsiteX4296" fmla="*/ 11950332 w 13061856"/>
              <a:gd name="connsiteY4296" fmla="*/ 4110787 h 5116136"/>
              <a:gd name="connsiteX4297" fmla="*/ 11909209 w 13061856"/>
              <a:gd name="connsiteY4297" fmla="*/ 4105079 h 5116136"/>
              <a:gd name="connsiteX4298" fmla="*/ 11891671 w 13061856"/>
              <a:gd name="connsiteY4298" fmla="*/ 4006853 h 5116136"/>
              <a:gd name="connsiteX4299" fmla="*/ 11931585 w 13061856"/>
              <a:gd name="connsiteY4299" fmla="*/ 3976411 h 5116136"/>
              <a:gd name="connsiteX4300" fmla="*/ 11917676 w 13061856"/>
              <a:gd name="connsiteY4300" fmla="*/ 3971179 h 5116136"/>
              <a:gd name="connsiteX4301" fmla="*/ 11921909 w 13061856"/>
              <a:gd name="connsiteY4301" fmla="*/ 3940023 h 5116136"/>
              <a:gd name="connsiteX4302" fmla="*/ 11962427 w 13061856"/>
              <a:gd name="connsiteY4302" fmla="*/ 3947394 h 5116136"/>
              <a:gd name="connsiteX4303" fmla="*/ 11950937 w 13061856"/>
              <a:gd name="connsiteY4303" fmla="*/ 3972129 h 5116136"/>
              <a:gd name="connsiteX4304" fmla="*/ 12022296 w 13061856"/>
              <a:gd name="connsiteY4304" fmla="*/ 3952627 h 5116136"/>
              <a:gd name="connsiteX4305" fmla="*/ 11968475 w 13061856"/>
              <a:gd name="connsiteY4305" fmla="*/ 3921946 h 5116136"/>
              <a:gd name="connsiteX4306" fmla="*/ 11987825 w 13061856"/>
              <a:gd name="connsiteY4306" fmla="*/ 3916238 h 5116136"/>
              <a:gd name="connsiteX4307" fmla="*/ 11967870 w 13061856"/>
              <a:gd name="connsiteY4307" fmla="*/ 3886510 h 5116136"/>
              <a:gd name="connsiteX4308" fmla="*/ 11956984 w 13061856"/>
              <a:gd name="connsiteY4308" fmla="*/ 3909104 h 5116136"/>
              <a:gd name="connsiteX4309" fmla="*/ 11918281 w 13061856"/>
              <a:gd name="connsiteY4309" fmla="*/ 3836326 h 5116136"/>
              <a:gd name="connsiteX4310" fmla="*/ 11879577 w 13061856"/>
              <a:gd name="connsiteY4310" fmla="*/ 3837753 h 5116136"/>
              <a:gd name="connsiteX4311" fmla="*/ 11878972 w 13061856"/>
              <a:gd name="connsiteY4311" fmla="*/ 3769970 h 5116136"/>
              <a:gd name="connsiteX4312" fmla="*/ 11848130 w 13061856"/>
              <a:gd name="connsiteY4312" fmla="*/ 3793279 h 5116136"/>
              <a:gd name="connsiteX4313" fmla="*/ 11854783 w 13061856"/>
              <a:gd name="connsiteY4313" fmla="*/ 3849170 h 5116136"/>
              <a:gd name="connsiteX4314" fmla="*/ 11834826 w 13061856"/>
              <a:gd name="connsiteY4314" fmla="*/ 3861299 h 5116136"/>
              <a:gd name="connsiteX4315" fmla="*/ 11823336 w 13061856"/>
              <a:gd name="connsiteY4315" fmla="*/ 3812780 h 5116136"/>
              <a:gd name="connsiteX4316" fmla="*/ 11770119 w 13061856"/>
              <a:gd name="connsiteY4316" fmla="*/ 3817775 h 5116136"/>
              <a:gd name="connsiteX4317" fmla="*/ 11795518 w 13061856"/>
              <a:gd name="connsiteY4317" fmla="*/ 3835850 h 5116136"/>
              <a:gd name="connsiteX4318" fmla="*/ 11793703 w 13061856"/>
              <a:gd name="connsiteY4318" fmla="*/ 3867483 h 5116136"/>
              <a:gd name="connsiteX4319" fmla="*/ 11734438 w 13061856"/>
              <a:gd name="connsiteY4319" fmla="*/ 3854402 h 5116136"/>
              <a:gd name="connsiteX4320" fmla="*/ 11739881 w 13061856"/>
              <a:gd name="connsiteY4320" fmla="*/ 3890790 h 5116136"/>
              <a:gd name="connsiteX4321" fmla="*/ 11695130 w 13061856"/>
              <a:gd name="connsiteY4321" fmla="*/ 3914336 h 5116136"/>
              <a:gd name="connsiteX4322" fmla="*/ 11702992 w 13061856"/>
              <a:gd name="connsiteY4322" fmla="*/ 3939308 h 5116136"/>
              <a:gd name="connsiteX4323" fmla="*/ 11664893 w 13061856"/>
              <a:gd name="connsiteY4323" fmla="*/ 3934076 h 5116136"/>
              <a:gd name="connsiteX4324" fmla="*/ 11678198 w 13061856"/>
              <a:gd name="connsiteY4324" fmla="*/ 3994249 h 5116136"/>
              <a:gd name="connsiteX4325" fmla="*/ 11707830 w 13061856"/>
              <a:gd name="connsiteY4325" fmla="*/ 3980691 h 5116136"/>
              <a:gd name="connsiteX4326" fmla="*/ 11703596 w 13061856"/>
              <a:gd name="connsiteY4326" fmla="*/ 4012799 h 5116136"/>
              <a:gd name="connsiteX4327" fmla="*/ 11678802 w 13061856"/>
              <a:gd name="connsiteY4327" fmla="*/ 4029923 h 5116136"/>
              <a:gd name="connsiteX4328" fmla="*/ 11701782 w 13061856"/>
              <a:gd name="connsiteY4328" fmla="*/ 4049664 h 5116136"/>
              <a:gd name="connsiteX4329" fmla="*/ 11687269 w 13061856"/>
              <a:gd name="connsiteY4329" fmla="*/ 4086052 h 5116136"/>
              <a:gd name="connsiteX4330" fmla="*/ 11727182 w 13061856"/>
              <a:gd name="connsiteY4330" fmla="*/ 4061555 h 5116136"/>
              <a:gd name="connsiteX4331" fmla="*/ 11717506 w 13061856"/>
              <a:gd name="connsiteY4331" fmla="*/ 4104603 h 5116136"/>
              <a:gd name="connsiteX4332" fmla="*/ 11787656 w 13061856"/>
              <a:gd name="connsiteY4332" fmla="*/ 4098895 h 5116136"/>
              <a:gd name="connsiteX4333" fmla="*/ 11811846 w 13061856"/>
              <a:gd name="connsiteY4333" fmla="*/ 4140515 h 5116136"/>
              <a:gd name="connsiteX4334" fmla="*/ 11775561 w 13061856"/>
              <a:gd name="connsiteY4334" fmla="*/ 4141467 h 5116136"/>
              <a:gd name="connsiteX4335" fmla="*/ 11776770 w 13061856"/>
              <a:gd name="connsiteY4335" fmla="*/ 4121965 h 5116136"/>
              <a:gd name="connsiteX4336" fmla="*/ 11730810 w 13061856"/>
              <a:gd name="connsiteY4336" fmla="*/ 4121965 h 5116136"/>
              <a:gd name="connsiteX4337" fmla="*/ 11801565 w 13061856"/>
              <a:gd name="connsiteY4337" fmla="*/ 4147175 h 5116136"/>
              <a:gd name="connsiteX4338" fmla="*/ 11805798 w 13061856"/>
              <a:gd name="connsiteY4338" fmla="*/ 4160018 h 5116136"/>
              <a:gd name="connsiteX4339" fmla="*/ 11805193 w 13061856"/>
              <a:gd name="connsiteY4339" fmla="*/ 4171672 h 5116136"/>
              <a:gd name="connsiteX4340" fmla="*/ 11790680 w 13061856"/>
              <a:gd name="connsiteY4340" fmla="*/ 4164774 h 5116136"/>
              <a:gd name="connsiteX4341" fmla="*/ 11806403 w 13061856"/>
              <a:gd name="connsiteY4341" fmla="*/ 4189509 h 5116136"/>
              <a:gd name="connsiteX4342" fmla="*/ 11790680 w 13061856"/>
              <a:gd name="connsiteY4342" fmla="*/ 4208060 h 5116136"/>
              <a:gd name="connsiteX4343" fmla="*/ 11745928 w 13061856"/>
              <a:gd name="connsiteY4343" fmla="*/ 4188320 h 5116136"/>
              <a:gd name="connsiteX4344" fmla="*/ 11771328 w 13061856"/>
              <a:gd name="connsiteY4344" fmla="*/ 4170958 h 5116136"/>
              <a:gd name="connsiteX4345" fmla="*/ 11715691 w 13061856"/>
              <a:gd name="connsiteY4345" fmla="*/ 4177856 h 5116136"/>
              <a:gd name="connsiteX4346" fmla="*/ 11716296 w 13061856"/>
              <a:gd name="connsiteY4346" fmla="*/ 4207347 h 5116136"/>
              <a:gd name="connsiteX4347" fmla="*/ 11719925 w 13061856"/>
              <a:gd name="connsiteY4347" fmla="*/ 4231843 h 5116136"/>
              <a:gd name="connsiteX4348" fmla="*/ 11745928 w 13061856"/>
              <a:gd name="connsiteY4348" fmla="*/ 4231843 h 5116136"/>
              <a:gd name="connsiteX4349" fmla="*/ 11739881 w 13061856"/>
              <a:gd name="connsiteY4349" fmla="*/ 4262999 h 5116136"/>
              <a:gd name="connsiteX4350" fmla="*/ 11785237 w 13061856"/>
              <a:gd name="connsiteY4350" fmla="*/ 4219476 h 5116136"/>
              <a:gd name="connsiteX4351" fmla="*/ 11810637 w 13061856"/>
              <a:gd name="connsiteY4351" fmla="*/ 4238979 h 5116136"/>
              <a:gd name="connsiteX4352" fmla="*/ 11786446 w 13061856"/>
              <a:gd name="connsiteY4352" fmla="*/ 4251346 h 5116136"/>
              <a:gd name="connsiteX4353" fmla="*/ 11799146 w 13061856"/>
              <a:gd name="connsiteY4353" fmla="*/ 4280124 h 5116136"/>
              <a:gd name="connsiteX4354" fmla="*/ 11793099 w 13061856"/>
              <a:gd name="connsiteY4354" fmla="*/ 4378587 h 5116136"/>
              <a:gd name="connsiteX4355" fmla="*/ 11768908 w 13061856"/>
              <a:gd name="connsiteY4355" fmla="*/ 4340771 h 5116136"/>
              <a:gd name="connsiteX4356" fmla="*/ 11764676 w 13061856"/>
              <a:gd name="connsiteY4356" fmla="*/ 4378111 h 5116136"/>
              <a:gd name="connsiteX4357" fmla="*/ 11728996 w 13061856"/>
              <a:gd name="connsiteY4357" fmla="*/ 4359560 h 5116136"/>
              <a:gd name="connsiteX4358" fmla="*/ 11754395 w 13061856"/>
              <a:gd name="connsiteY4358" fmla="*/ 4341485 h 5116136"/>
              <a:gd name="connsiteX4359" fmla="*/ 11743510 w 13061856"/>
              <a:gd name="connsiteY4359" fmla="*/ 4323172 h 5116136"/>
              <a:gd name="connsiteX4360" fmla="*/ 11719925 w 13061856"/>
              <a:gd name="connsiteY4360" fmla="*/ 4360511 h 5116136"/>
              <a:gd name="connsiteX4361" fmla="*/ 11719925 w 13061856"/>
              <a:gd name="connsiteY4361" fmla="*/ 4310804 h 5116136"/>
              <a:gd name="connsiteX4362" fmla="*/ 11695130 w 13061856"/>
              <a:gd name="connsiteY4362" fmla="*/ 4322220 h 5116136"/>
              <a:gd name="connsiteX4363" fmla="*/ 11651588 w 13061856"/>
              <a:gd name="connsiteY4363" fmla="*/ 4255389 h 5116136"/>
              <a:gd name="connsiteX4364" fmla="*/ 11666708 w 13061856"/>
              <a:gd name="connsiteY4364" fmla="*/ 4231130 h 5116136"/>
              <a:gd name="connsiteX4365" fmla="*/ 11631027 w 13061856"/>
              <a:gd name="connsiteY4365" fmla="*/ 4188320 h 5116136"/>
              <a:gd name="connsiteX4366" fmla="*/ 11655822 w 13061856"/>
              <a:gd name="connsiteY4366" fmla="*/ 4176904 h 5116136"/>
              <a:gd name="connsiteX4367" fmla="*/ 11685455 w 13061856"/>
              <a:gd name="connsiteY4367" fmla="*/ 4201163 h 5116136"/>
              <a:gd name="connsiteX4368" fmla="*/ 11623166 w 13061856"/>
              <a:gd name="connsiteY4368" fmla="*/ 4116732 h 5116136"/>
              <a:gd name="connsiteX4369" fmla="*/ 11677593 w 13061856"/>
              <a:gd name="connsiteY4369" fmla="*/ 4085576 h 5116136"/>
              <a:gd name="connsiteX4370" fmla="*/ 11688478 w 13061856"/>
              <a:gd name="connsiteY4370" fmla="*/ 4072734 h 5116136"/>
              <a:gd name="connsiteX4371" fmla="*/ 11661264 w 13061856"/>
              <a:gd name="connsiteY4371" fmla="*/ 4080344 h 5116136"/>
              <a:gd name="connsiteX4372" fmla="*/ 11627399 w 13061856"/>
              <a:gd name="connsiteY4372" fmla="*/ 4049664 h 5116136"/>
              <a:gd name="connsiteX4373" fmla="*/ 11642517 w 13061856"/>
              <a:gd name="connsiteY4373" fmla="*/ 4037058 h 5116136"/>
              <a:gd name="connsiteX4374" fmla="*/ 11628608 w 13061856"/>
              <a:gd name="connsiteY4374" fmla="*/ 4023740 h 5116136"/>
              <a:gd name="connsiteX4375" fmla="*/ 11622562 w 13061856"/>
              <a:gd name="connsiteY4375" fmla="*/ 4049188 h 5116136"/>
              <a:gd name="connsiteX4376" fmla="*/ 11542735 w 13061856"/>
              <a:gd name="connsiteY4376" fmla="*/ 4047760 h 5116136"/>
              <a:gd name="connsiteX4377" fmla="*/ 11533059 w 13061856"/>
              <a:gd name="connsiteY4377" fmla="*/ 4011372 h 5116136"/>
              <a:gd name="connsiteX4378" fmla="*/ 11473189 w 13061856"/>
              <a:gd name="connsiteY4378" fmla="*/ 4010421 h 5116136"/>
              <a:gd name="connsiteX4379" fmla="*/ 11550597 w 13061856"/>
              <a:gd name="connsiteY4379" fmla="*/ 3969275 h 5116136"/>
              <a:gd name="connsiteX4380" fmla="*/ 11594138 w 13061856"/>
              <a:gd name="connsiteY4380" fmla="*/ 3951438 h 5116136"/>
              <a:gd name="connsiteX4381" fmla="*/ 11578414 w 13061856"/>
              <a:gd name="connsiteY4381" fmla="*/ 3926703 h 5116136"/>
              <a:gd name="connsiteX4382" fmla="*/ 11534268 w 13061856"/>
              <a:gd name="connsiteY4382" fmla="*/ 3944540 h 5116136"/>
              <a:gd name="connsiteX4383" fmla="*/ 11514917 w 13061856"/>
              <a:gd name="connsiteY4383" fmla="*/ 3906963 h 5116136"/>
              <a:gd name="connsiteX4384" fmla="*/ 11530036 w 13061856"/>
              <a:gd name="connsiteY4384" fmla="*/ 3896498 h 5116136"/>
              <a:gd name="connsiteX4385" fmla="*/ 11505845 w 13061856"/>
              <a:gd name="connsiteY4385" fmla="*/ 3858921 h 5116136"/>
              <a:gd name="connsiteX4386" fmla="*/ 11453837 w 13061856"/>
              <a:gd name="connsiteY4386" fmla="*/ 3925752 h 5116136"/>
              <a:gd name="connsiteX4387" fmla="*/ 11445976 w 13061856"/>
              <a:gd name="connsiteY4387" fmla="*/ 3901255 h 5116136"/>
              <a:gd name="connsiteX4388" fmla="*/ 11375826 w 13061856"/>
              <a:gd name="connsiteY4388" fmla="*/ 3950724 h 5116136"/>
              <a:gd name="connsiteX4389" fmla="*/ 11389735 w 13061856"/>
              <a:gd name="connsiteY4389" fmla="*/ 3955957 h 5116136"/>
              <a:gd name="connsiteX4390" fmla="*/ 11363731 w 13061856"/>
              <a:gd name="connsiteY4390" fmla="*/ 4034680 h 5116136"/>
              <a:gd name="connsiteX4391" fmla="*/ 11335308 w 13061856"/>
              <a:gd name="connsiteY4391" fmla="*/ 3986637 h 5116136"/>
              <a:gd name="connsiteX4392" fmla="*/ 11354660 w 13061856"/>
              <a:gd name="connsiteY4392" fmla="*/ 3980216 h 5116136"/>
              <a:gd name="connsiteX4393" fmla="*/ 11340145 w 13061856"/>
              <a:gd name="connsiteY4393" fmla="*/ 3943827 h 5116136"/>
              <a:gd name="connsiteX4394" fmla="*/ 11360102 w 13061856"/>
              <a:gd name="connsiteY4394" fmla="*/ 3937643 h 5116136"/>
              <a:gd name="connsiteX4395" fmla="*/ 11355265 w 13061856"/>
              <a:gd name="connsiteY4395" fmla="*/ 3889601 h 5116136"/>
              <a:gd name="connsiteX4396" fmla="*/ 11331680 w 13061856"/>
              <a:gd name="connsiteY4396" fmla="*/ 3845840 h 5116136"/>
              <a:gd name="connsiteX4397" fmla="*/ 11257900 w 13061856"/>
              <a:gd name="connsiteY4397" fmla="*/ 3833472 h 5116136"/>
              <a:gd name="connsiteX4398" fmla="*/ 11263343 w 13061856"/>
              <a:gd name="connsiteY4398" fmla="*/ 3863677 h 5116136"/>
              <a:gd name="connsiteX4399" fmla="*/ 11237340 w 13061856"/>
              <a:gd name="connsiteY4399" fmla="*/ 3808024 h 5116136"/>
              <a:gd name="connsiteX4400" fmla="*/ 11226455 w 13061856"/>
              <a:gd name="connsiteY4400" fmla="*/ 3832997 h 5116136"/>
              <a:gd name="connsiteX4401" fmla="*/ 11218593 w 13061856"/>
              <a:gd name="connsiteY4401" fmla="*/ 3802315 h 5116136"/>
              <a:gd name="connsiteX4402" fmla="*/ 11207707 w 13061856"/>
              <a:gd name="connsiteY4402" fmla="*/ 3831569 h 5116136"/>
              <a:gd name="connsiteX4403" fmla="*/ 11215568 w 13061856"/>
              <a:gd name="connsiteY4403" fmla="*/ 3832997 h 5116136"/>
              <a:gd name="connsiteX4404" fmla="*/ 11173236 w 13061856"/>
              <a:gd name="connsiteY4404" fmla="*/ 3832521 h 5116136"/>
              <a:gd name="connsiteX4405" fmla="*/ 11121228 w 13061856"/>
              <a:gd name="connsiteY4405" fmla="*/ 3948584 h 5116136"/>
              <a:gd name="connsiteX4406" fmla="*/ 11101273 w 13061856"/>
              <a:gd name="connsiteY4406" fmla="*/ 3960713 h 5116136"/>
              <a:gd name="connsiteX4407" fmla="*/ 11077687 w 13061856"/>
              <a:gd name="connsiteY4407" fmla="*/ 3949059 h 5116136"/>
              <a:gd name="connsiteX4408" fmla="*/ 11066802 w 13061856"/>
              <a:gd name="connsiteY4408" fmla="*/ 3971653 h 5116136"/>
              <a:gd name="connsiteX4409" fmla="*/ 11042612 w 13061856"/>
              <a:gd name="connsiteY4409" fmla="*/ 3942162 h 5116136"/>
              <a:gd name="connsiteX4410" fmla="*/ 11046240 w 13061856"/>
              <a:gd name="connsiteY4410" fmla="*/ 3960238 h 5116136"/>
              <a:gd name="connsiteX4411" fmla="*/ 11007538 w 13061856"/>
              <a:gd name="connsiteY4411" fmla="*/ 3960713 h 5116136"/>
              <a:gd name="connsiteX4412" fmla="*/ 10998466 w 13061856"/>
              <a:gd name="connsiteY4412" fmla="*/ 3960238 h 5116136"/>
              <a:gd name="connsiteX4413" fmla="*/ 10973671 w 13061856"/>
              <a:gd name="connsiteY4413" fmla="*/ 3971653 h 5116136"/>
              <a:gd name="connsiteX4414" fmla="*/ 11011166 w 13061856"/>
              <a:gd name="connsiteY4414" fmla="*/ 3979265 h 5116136"/>
              <a:gd name="connsiteX4415" fmla="*/ 11026889 w 13061856"/>
              <a:gd name="connsiteY4415" fmla="*/ 4002335 h 5116136"/>
              <a:gd name="connsiteX4416" fmla="*/ 11011166 w 13061856"/>
              <a:gd name="connsiteY4416" fmla="*/ 4020886 h 5116136"/>
              <a:gd name="connsiteX4417" fmla="*/ 10985766 w 13061856"/>
              <a:gd name="connsiteY4417" fmla="*/ 4002335 h 5116136"/>
              <a:gd name="connsiteX4418" fmla="*/ 10967624 w 13061856"/>
              <a:gd name="connsiteY4418" fmla="*/ 4038723 h 5116136"/>
              <a:gd name="connsiteX4419" fmla="*/ 10971252 w 13061856"/>
              <a:gd name="connsiteY4419" fmla="*/ 4050614 h 5116136"/>
              <a:gd name="connsiteX4420" fmla="*/ 11046845 w 13061856"/>
              <a:gd name="connsiteY4420" fmla="*/ 4027544 h 5116136"/>
              <a:gd name="connsiteX4421" fmla="*/ 11041403 w 13061856"/>
              <a:gd name="connsiteY4421" fmla="*/ 4038723 h 5116136"/>
              <a:gd name="connsiteX4422" fmla="*/ 11110343 w 13061856"/>
              <a:gd name="connsiteY4422" fmla="*/ 4015178 h 5116136"/>
              <a:gd name="connsiteX4423" fmla="*/ 11139976 w 13061856"/>
              <a:gd name="connsiteY4423" fmla="*/ 4039198 h 5116136"/>
              <a:gd name="connsiteX4424" fmla="*/ 11131509 w 13061856"/>
              <a:gd name="connsiteY4424" fmla="*/ 4064885 h 5116136"/>
              <a:gd name="connsiteX4425" fmla="*/ 11104901 w 13061856"/>
              <a:gd name="connsiteY4425" fmla="*/ 4063933 h 5116136"/>
              <a:gd name="connsiteX4426" fmla="*/ 11141185 w 13061856"/>
              <a:gd name="connsiteY4426" fmla="*/ 4063458 h 5116136"/>
              <a:gd name="connsiteX4427" fmla="*/ 11144814 w 13061856"/>
              <a:gd name="connsiteY4427" fmla="*/ 4081533 h 5116136"/>
              <a:gd name="connsiteX4428" fmla="*/ 11113368 w 13061856"/>
              <a:gd name="connsiteY4428" fmla="*/ 4161920 h 5116136"/>
              <a:gd name="connsiteX4429" fmla="*/ 11100062 w 13061856"/>
              <a:gd name="connsiteY4429" fmla="*/ 4198309 h 5116136"/>
              <a:gd name="connsiteX4430" fmla="*/ 11059546 w 13061856"/>
              <a:gd name="connsiteY4430" fmla="*/ 4191174 h 5116136"/>
              <a:gd name="connsiteX4431" fmla="*/ 11019632 w 13061856"/>
              <a:gd name="connsiteY4431" fmla="*/ 4253249 h 5116136"/>
              <a:gd name="connsiteX4432" fmla="*/ 10990604 w 13061856"/>
              <a:gd name="connsiteY4432" fmla="*/ 4258243 h 5116136"/>
              <a:gd name="connsiteX4433" fmla="*/ 11005723 w 13061856"/>
              <a:gd name="connsiteY4433" fmla="*/ 4251822 h 5116136"/>
              <a:gd name="connsiteX4434" fmla="*/ 10989395 w 13061856"/>
              <a:gd name="connsiteY4434" fmla="*/ 4234697 h 5116136"/>
              <a:gd name="connsiteX4435" fmla="*/ 11015398 w 13061856"/>
              <a:gd name="connsiteY4435" fmla="*/ 4203541 h 5116136"/>
              <a:gd name="connsiteX4436" fmla="*/ 10956134 w 13061856"/>
              <a:gd name="connsiteY4436" fmla="*/ 4191650 h 5116136"/>
              <a:gd name="connsiteX4437" fmla="*/ 10925292 w 13061856"/>
              <a:gd name="connsiteY4437" fmla="*/ 4179758 h 5116136"/>
              <a:gd name="connsiteX4438" fmla="*/ 10917430 w 13061856"/>
              <a:gd name="connsiteY4438" fmla="*/ 4161920 h 5116136"/>
              <a:gd name="connsiteX4439" fmla="*/ 10887193 w 13061856"/>
              <a:gd name="connsiteY4439" fmla="*/ 4172861 h 5116136"/>
              <a:gd name="connsiteX4440" fmla="*/ 10839418 w 13061856"/>
              <a:gd name="connsiteY4440" fmla="*/ 4110787 h 5116136"/>
              <a:gd name="connsiteX4441" fmla="*/ 10870260 w 13061856"/>
              <a:gd name="connsiteY4441" fmla="*/ 4099371 h 5116136"/>
              <a:gd name="connsiteX4442" fmla="*/ 10888403 w 13061856"/>
              <a:gd name="connsiteY4442" fmla="*/ 4116732 h 5116136"/>
              <a:gd name="connsiteX4443" fmla="*/ 10917430 w 13061856"/>
              <a:gd name="connsiteY4443" fmla="*/ 4160494 h 5116136"/>
              <a:gd name="connsiteX4444" fmla="*/ 10935573 w 13061856"/>
              <a:gd name="connsiteY4444" fmla="*/ 4166439 h 5116136"/>
              <a:gd name="connsiteX4445" fmla="*/ 10905940 w 13061856"/>
              <a:gd name="connsiteY4445" fmla="*/ 4136235 h 5116136"/>
              <a:gd name="connsiteX4446" fmla="*/ 10912592 w 13061856"/>
              <a:gd name="connsiteY4446" fmla="*/ 4110787 h 5116136"/>
              <a:gd name="connsiteX4447" fmla="*/ 10832767 w 13061856"/>
              <a:gd name="connsiteY4447" fmla="*/ 4080344 h 5116136"/>
              <a:gd name="connsiteX4448" fmla="*/ 10821881 w 13061856"/>
              <a:gd name="connsiteY4448" fmla="*/ 4099371 h 5116136"/>
              <a:gd name="connsiteX4449" fmla="*/ 10787410 w 13061856"/>
              <a:gd name="connsiteY4449" fmla="*/ 4074397 h 5116136"/>
              <a:gd name="connsiteX4450" fmla="*/ 10777734 w 13061856"/>
              <a:gd name="connsiteY4450" fmla="*/ 4032302 h 5116136"/>
              <a:gd name="connsiteX4451" fmla="*/ 10756568 w 13061856"/>
              <a:gd name="connsiteY4451" fmla="*/ 4062506 h 5116136"/>
              <a:gd name="connsiteX4452" fmla="*/ 10727541 w 13061856"/>
              <a:gd name="connsiteY4452" fmla="*/ 4037534 h 5116136"/>
              <a:gd name="connsiteX4453" fmla="*/ 10752335 w 13061856"/>
              <a:gd name="connsiteY4453" fmla="*/ 4055846 h 5116136"/>
              <a:gd name="connsiteX4454" fmla="*/ 10726568 w 13061856"/>
              <a:gd name="connsiteY4454" fmla="*/ 4032436 h 5116136"/>
              <a:gd name="connsiteX4455" fmla="*/ 10717555 w 13061856"/>
              <a:gd name="connsiteY4455" fmla="*/ 4036913 h 5116136"/>
              <a:gd name="connsiteX4456" fmla="*/ 10717639 w 13061856"/>
              <a:gd name="connsiteY4456" fmla="*/ 4034620 h 5116136"/>
              <a:gd name="connsiteX4457" fmla="*/ 10732983 w 13061856"/>
              <a:gd name="connsiteY4457" fmla="*/ 4020410 h 5116136"/>
              <a:gd name="connsiteX4458" fmla="*/ 10645296 w 13061856"/>
              <a:gd name="connsiteY4458" fmla="*/ 3957859 h 5116136"/>
              <a:gd name="connsiteX4459" fmla="*/ 10615664 w 13061856"/>
              <a:gd name="connsiteY4459" fmla="*/ 3971179 h 5116136"/>
              <a:gd name="connsiteX4460" fmla="*/ 10624735 w 13061856"/>
              <a:gd name="connsiteY4460" fmla="*/ 3983070 h 5116136"/>
              <a:gd name="connsiteX4461" fmla="*/ 10559423 w 13061856"/>
              <a:gd name="connsiteY4461" fmla="*/ 3987826 h 5116136"/>
              <a:gd name="connsiteX4462" fmla="*/ 10560027 w 13061856"/>
              <a:gd name="connsiteY4462" fmla="*/ 4013750 h 5116136"/>
              <a:gd name="connsiteX4463" fmla="*/ 10568493 w 13061856"/>
              <a:gd name="connsiteY4463" fmla="*/ 3994723 h 5116136"/>
              <a:gd name="connsiteX4464" fmla="*/ 10599335 w 13061856"/>
              <a:gd name="connsiteY4464" fmla="*/ 4006853 h 5116136"/>
              <a:gd name="connsiteX4465" fmla="*/ 10598730 w 13061856"/>
              <a:gd name="connsiteY4465" fmla="*/ 4054420 h 5116136"/>
              <a:gd name="connsiteX4466" fmla="*/ 10688233 w 13061856"/>
              <a:gd name="connsiteY4466" fmla="*/ 4044431 h 5116136"/>
              <a:gd name="connsiteX4467" fmla="*/ 10583008 w 13061856"/>
              <a:gd name="connsiteY4467" fmla="*/ 4079155 h 5116136"/>
              <a:gd name="connsiteX4468" fmla="*/ 10588450 w 13061856"/>
              <a:gd name="connsiteY4468" fmla="*/ 4103175 h 5116136"/>
              <a:gd name="connsiteX4469" fmla="*/ 10578169 w 13061856"/>
              <a:gd name="connsiteY4469" fmla="*/ 4121965 h 5116136"/>
              <a:gd name="connsiteX4470" fmla="*/ 10553980 w 13061856"/>
              <a:gd name="connsiteY4470" fmla="*/ 4121965 h 5116136"/>
              <a:gd name="connsiteX4471" fmla="*/ 10592079 w 13061856"/>
              <a:gd name="connsiteY4471" fmla="*/ 4170958 h 5116136"/>
              <a:gd name="connsiteX4472" fmla="*/ 10631992 w 13061856"/>
              <a:gd name="connsiteY4472" fmla="*/ 4184277 h 5116136"/>
              <a:gd name="connsiteX4473" fmla="*/ 10587845 w 13061856"/>
              <a:gd name="connsiteY4473" fmla="*/ 4123154 h 5116136"/>
              <a:gd name="connsiteX4474" fmla="*/ 10612640 w 13061856"/>
              <a:gd name="connsiteY4474" fmla="*/ 4140991 h 5116136"/>
              <a:gd name="connsiteX4475" fmla="*/ 10603569 w 13061856"/>
              <a:gd name="connsiteY4475" fmla="*/ 4098895 h 5116136"/>
              <a:gd name="connsiteX4476" fmla="*/ 10643482 w 13061856"/>
              <a:gd name="connsiteY4476" fmla="*/ 4159542 h 5116136"/>
              <a:gd name="connsiteX4477" fmla="*/ 10667671 w 13061856"/>
              <a:gd name="connsiteY4477" fmla="*/ 4153834 h 5116136"/>
              <a:gd name="connsiteX4478" fmla="*/ 10677952 w 13061856"/>
              <a:gd name="connsiteY4478" fmla="*/ 4177856 h 5116136"/>
              <a:gd name="connsiteX4479" fmla="*/ 10666462 w 13061856"/>
              <a:gd name="connsiteY4479" fmla="*/ 4209249 h 5116136"/>
              <a:gd name="connsiteX4480" fmla="*/ 10685209 w 13061856"/>
              <a:gd name="connsiteY4480" fmla="*/ 4261810 h 5116136"/>
              <a:gd name="connsiteX4481" fmla="*/ 10750521 w 13061856"/>
              <a:gd name="connsiteY4481" fmla="*/ 4257767 h 5116136"/>
              <a:gd name="connsiteX4482" fmla="*/ 10746893 w 13061856"/>
              <a:gd name="connsiteY4482" fmla="*/ 4227563 h 5116136"/>
              <a:gd name="connsiteX4483" fmla="*/ 10766849 w 13061856"/>
              <a:gd name="connsiteY4483" fmla="*/ 4262999 h 5116136"/>
              <a:gd name="connsiteX4484" fmla="*/ 10700327 w 13061856"/>
              <a:gd name="connsiteY4484" fmla="*/ 4292966 h 5116136"/>
              <a:gd name="connsiteX4485" fmla="*/ 10725726 w 13061856"/>
              <a:gd name="connsiteY4485" fmla="*/ 4305096 h 5116136"/>
              <a:gd name="connsiteX4486" fmla="*/ 10691861 w 13061856"/>
              <a:gd name="connsiteY4486" fmla="*/ 4280124 h 5116136"/>
              <a:gd name="connsiteX4487" fmla="*/ 10635620 w 13061856"/>
              <a:gd name="connsiteY4487" fmla="*/ 4293442 h 5116136"/>
              <a:gd name="connsiteX4488" fmla="*/ 10656786 w 13061856"/>
              <a:gd name="connsiteY4488" fmla="*/ 4299389 h 5116136"/>
              <a:gd name="connsiteX4489" fmla="*/ 10641062 w 13061856"/>
              <a:gd name="connsiteY4489" fmla="*/ 4323648 h 5116136"/>
              <a:gd name="connsiteX4490" fmla="*/ 10635620 w 13061856"/>
              <a:gd name="connsiteY4490" fmla="*/ 4287734 h 5116136"/>
              <a:gd name="connsiteX4491" fmla="*/ 10626549 w 13061856"/>
              <a:gd name="connsiteY4491" fmla="*/ 4286784 h 5116136"/>
              <a:gd name="connsiteX4492" fmla="*/ 10620501 w 13061856"/>
              <a:gd name="connsiteY4492" fmla="*/ 4305572 h 5116136"/>
              <a:gd name="connsiteX4493" fmla="*/ 10612035 w 13061856"/>
              <a:gd name="connsiteY4493" fmla="*/ 4281551 h 5116136"/>
              <a:gd name="connsiteX4494" fmla="*/ 10566679 w 13061856"/>
              <a:gd name="connsiteY4494" fmla="*/ 4281551 h 5116136"/>
              <a:gd name="connsiteX4495" fmla="*/ 10607802 w 13061856"/>
              <a:gd name="connsiteY4495" fmla="*/ 4274891 h 5116136"/>
              <a:gd name="connsiteX4496" fmla="*/ 10527976 w 13061856"/>
              <a:gd name="connsiteY4496" fmla="*/ 4238503 h 5116136"/>
              <a:gd name="connsiteX4497" fmla="*/ 10552770 w 13061856"/>
              <a:gd name="connsiteY4497" fmla="*/ 4268707 h 5116136"/>
              <a:gd name="connsiteX4498" fmla="*/ 10462663 w 13061856"/>
              <a:gd name="connsiteY4498" fmla="*/ 4298199 h 5116136"/>
              <a:gd name="connsiteX4499" fmla="*/ 10468106 w 13061856"/>
              <a:gd name="connsiteY4499" fmla="*/ 4322220 h 5116136"/>
              <a:gd name="connsiteX4500" fmla="*/ 10422750 w 13061856"/>
              <a:gd name="connsiteY4500" fmla="*/ 4322220 h 5116136"/>
              <a:gd name="connsiteX4501" fmla="*/ 10446940 w 13061856"/>
              <a:gd name="connsiteY4501" fmla="*/ 4352425 h 5116136"/>
              <a:gd name="connsiteX4502" fmla="*/ 10396746 w 13061856"/>
              <a:gd name="connsiteY4502" fmla="*/ 4346003 h 5116136"/>
              <a:gd name="connsiteX4503" fmla="*/ 10416703 w 13061856"/>
              <a:gd name="connsiteY4503" fmla="*/ 4346003 h 5116136"/>
              <a:gd name="connsiteX4504" fmla="*/ 10376185 w 13061856"/>
              <a:gd name="connsiteY4504" fmla="*/ 4370501 h 5116136"/>
              <a:gd name="connsiteX4505" fmla="*/ 10376185 w 13061856"/>
              <a:gd name="connsiteY4505" fmla="*/ 4328880 h 5116136"/>
              <a:gd name="connsiteX4506" fmla="*/ 10351996 w 13061856"/>
              <a:gd name="connsiteY4506" fmla="*/ 4340295 h 5116136"/>
              <a:gd name="connsiteX4507" fmla="*/ 10303616 w 13061856"/>
              <a:gd name="connsiteY4507" fmla="*/ 4298674 h 5116136"/>
              <a:gd name="connsiteX4508" fmla="*/ 10442707 w 13061856"/>
              <a:gd name="connsiteY4508" fmla="*/ 4298674 h 5116136"/>
              <a:gd name="connsiteX4509" fmla="*/ 10373162 w 13061856"/>
              <a:gd name="connsiteY4509" fmla="*/ 4304383 h 5116136"/>
              <a:gd name="connsiteX4510" fmla="*/ 10357438 w 13061856"/>
              <a:gd name="connsiteY4510" fmla="*/ 4279648 h 5116136"/>
              <a:gd name="connsiteX4511" fmla="*/ 10253422 w 13061856"/>
              <a:gd name="connsiteY4511" fmla="*/ 4290588 h 5116136"/>
              <a:gd name="connsiteX4512" fmla="*/ 10249794 w 13061856"/>
              <a:gd name="connsiteY4512" fmla="*/ 4272037 h 5116136"/>
              <a:gd name="connsiteX4513" fmla="*/ 10189319 w 13061856"/>
              <a:gd name="connsiteY4513" fmla="*/ 4290588 h 5116136"/>
              <a:gd name="connsiteX4514" fmla="*/ 10204439 w 13061856"/>
              <a:gd name="connsiteY4514" fmla="*/ 4316036 h 5116136"/>
              <a:gd name="connsiteX4515" fmla="*/ 10173597 w 13061856"/>
              <a:gd name="connsiteY4515" fmla="*/ 4309139 h 5116136"/>
              <a:gd name="connsiteX4516" fmla="*/ 10172991 w 13061856"/>
              <a:gd name="connsiteY4516" fmla="*/ 4334112 h 5116136"/>
              <a:gd name="connsiteX4517" fmla="*/ 10182062 w 13061856"/>
              <a:gd name="connsiteY4517" fmla="*/ 4335063 h 5116136"/>
              <a:gd name="connsiteX4518" fmla="*/ 10151220 w 13061856"/>
              <a:gd name="connsiteY4518" fmla="*/ 4339820 h 5116136"/>
              <a:gd name="connsiteX4519" fmla="*/ 10134288 w 13061856"/>
              <a:gd name="connsiteY4519" fmla="*/ 4321744 h 5116136"/>
              <a:gd name="connsiteX4520" fmla="*/ 10084094 w 13061856"/>
              <a:gd name="connsiteY4520" fmla="*/ 4394760 h 5116136"/>
              <a:gd name="connsiteX4521" fmla="*/ 10114936 w 13061856"/>
              <a:gd name="connsiteY4521" fmla="*/ 4363365 h 5116136"/>
              <a:gd name="connsiteX4522" fmla="*/ 10088327 w 13061856"/>
              <a:gd name="connsiteY4522" fmla="*/ 4363365 h 5116136"/>
              <a:gd name="connsiteX4523" fmla="*/ 10113727 w 13061856"/>
              <a:gd name="connsiteY4523" fmla="*/ 4345529 h 5116136"/>
              <a:gd name="connsiteX4524" fmla="*/ 10134288 w 13061856"/>
              <a:gd name="connsiteY4524" fmla="*/ 4363365 h 5116136"/>
              <a:gd name="connsiteX4525" fmla="*/ 10114331 w 13061856"/>
              <a:gd name="connsiteY4525" fmla="*/ 4370025 h 5116136"/>
              <a:gd name="connsiteX4526" fmla="*/ 10108888 w 13061856"/>
              <a:gd name="connsiteY4526" fmla="*/ 4383106 h 5116136"/>
              <a:gd name="connsiteX4527" fmla="*/ 10142755 w 13061856"/>
              <a:gd name="connsiteY4527" fmla="*/ 4376209 h 5116136"/>
              <a:gd name="connsiteX4528" fmla="*/ 10179643 w 13061856"/>
              <a:gd name="connsiteY4528" fmla="*/ 4370977 h 5116136"/>
              <a:gd name="connsiteX4529" fmla="*/ 10228628 w 13061856"/>
              <a:gd name="connsiteY4529" fmla="*/ 4395236 h 5116136"/>
              <a:gd name="connsiteX4530" fmla="*/ 10213509 w 13061856"/>
              <a:gd name="connsiteY4530" fmla="*/ 4370501 h 5116136"/>
              <a:gd name="connsiteX4531" fmla="*/ 10281845 w 13061856"/>
              <a:gd name="connsiteY4531" fmla="*/ 4381917 h 5116136"/>
              <a:gd name="connsiteX4532" fmla="*/ 10445126 w 13061856"/>
              <a:gd name="connsiteY4532" fmla="*/ 4463256 h 5116136"/>
              <a:gd name="connsiteX4533" fmla="*/ 10419726 w 13061856"/>
              <a:gd name="connsiteY4533" fmla="*/ 4492984 h 5116136"/>
              <a:gd name="connsiteX4534" fmla="*/ 10486249 w 13061856"/>
              <a:gd name="connsiteY4534" fmla="*/ 4468488 h 5116136"/>
              <a:gd name="connsiteX4535" fmla="*/ 10485038 w 13061856"/>
              <a:gd name="connsiteY4535" fmla="*/ 4494649 h 5116136"/>
              <a:gd name="connsiteX4536" fmla="*/ 10435450 w 13061856"/>
              <a:gd name="connsiteY4536" fmla="*/ 4512011 h 5116136"/>
              <a:gd name="connsiteX4537" fmla="*/ 10450568 w 13061856"/>
              <a:gd name="connsiteY4537" fmla="*/ 4543167 h 5116136"/>
              <a:gd name="connsiteX4538" fmla="*/ 10464477 w 13061856"/>
              <a:gd name="connsiteY4538" fmla="*/ 4504401 h 5116136"/>
              <a:gd name="connsiteX4539" fmla="*/ 10505600 w 13061856"/>
              <a:gd name="connsiteY4539" fmla="*/ 4500595 h 5116136"/>
              <a:gd name="connsiteX4540" fmla="*/ 10519510 w 13061856"/>
              <a:gd name="connsiteY4540" fmla="*/ 4554584 h 5116136"/>
              <a:gd name="connsiteX4541" fmla="*/ 10514066 w 13061856"/>
              <a:gd name="connsiteY4541" fmla="*/ 4566476 h 5116136"/>
              <a:gd name="connsiteX4542" fmla="*/ 10509229 w 13061856"/>
              <a:gd name="connsiteY4542" fmla="*/ 4529849 h 5116136"/>
              <a:gd name="connsiteX4543" fmla="*/ 10474153 w 13061856"/>
              <a:gd name="connsiteY4543" fmla="*/ 4548875 h 5116136"/>
              <a:gd name="connsiteX4544" fmla="*/ 10494714 w 13061856"/>
              <a:gd name="connsiteY4544" fmla="*/ 4566476 h 5116136"/>
              <a:gd name="connsiteX4545" fmla="*/ 10514066 w 13061856"/>
              <a:gd name="connsiteY4545" fmla="*/ 4566476 h 5116136"/>
              <a:gd name="connsiteX4546" fmla="*/ 10484434 w 13061856"/>
              <a:gd name="connsiteY4546" fmla="*/ 4585264 h 5116136"/>
              <a:gd name="connsiteX4547" fmla="*/ 10484434 w 13061856"/>
              <a:gd name="connsiteY4547" fmla="*/ 4621176 h 5116136"/>
              <a:gd name="connsiteX4548" fmla="*/ 10457826 w 13061856"/>
              <a:gd name="connsiteY4548" fmla="*/ 4614755 h 5116136"/>
              <a:gd name="connsiteX4549" fmla="*/ 10433635 w 13061856"/>
              <a:gd name="connsiteY4549" fmla="*/ 4670409 h 5116136"/>
              <a:gd name="connsiteX4550" fmla="*/ 10444522 w 13061856"/>
              <a:gd name="connsiteY4550" fmla="*/ 4645435 h 5116136"/>
              <a:gd name="connsiteX4551" fmla="*/ 10212299 w 13061856"/>
              <a:gd name="connsiteY4551" fmla="*/ 4590020 h 5116136"/>
              <a:gd name="connsiteX4552" fmla="*/ 10165735 w 13061856"/>
              <a:gd name="connsiteY4552" fmla="*/ 4608096 h 5116136"/>
              <a:gd name="connsiteX4553" fmla="*/ 10157268 w 13061856"/>
              <a:gd name="connsiteY4553" fmla="*/ 4589546 h 5116136"/>
              <a:gd name="connsiteX4554" fmla="*/ 10171782 w 13061856"/>
              <a:gd name="connsiteY4554" fmla="*/ 4582410 h 5116136"/>
              <a:gd name="connsiteX4555" fmla="*/ 10077442 w 13061856"/>
              <a:gd name="connsiteY4555" fmla="*/ 4552205 h 5116136"/>
              <a:gd name="connsiteX4556" fmla="*/ 10092561 w 13061856"/>
              <a:gd name="connsiteY4556" fmla="*/ 4583599 h 5116136"/>
              <a:gd name="connsiteX4557" fmla="*/ 10066556 w 13061856"/>
              <a:gd name="connsiteY4557" fmla="*/ 4577177 h 5116136"/>
              <a:gd name="connsiteX4558" fmla="*/ 10071999 w 13061856"/>
              <a:gd name="connsiteY4558" fmla="*/ 4558389 h 5116136"/>
              <a:gd name="connsiteX4559" fmla="*/ 10017573 w 13061856"/>
              <a:gd name="connsiteY4559" fmla="*/ 4551254 h 5116136"/>
              <a:gd name="connsiteX4560" fmla="*/ 10018782 w 13061856"/>
              <a:gd name="connsiteY4560" fmla="*/ 4527708 h 5116136"/>
              <a:gd name="connsiteX4561" fmla="*/ 10052648 w 13061856"/>
              <a:gd name="connsiteY4561" fmla="*/ 4522951 h 5116136"/>
              <a:gd name="connsiteX4562" fmla="*/ 10007897 w 13061856"/>
              <a:gd name="connsiteY4562" fmla="*/ 4503449 h 5116136"/>
              <a:gd name="connsiteX4563" fmla="*/ 10007897 w 13061856"/>
              <a:gd name="connsiteY4563" fmla="*/ 4467536 h 5116136"/>
              <a:gd name="connsiteX4564" fmla="*/ 9957703 w 13061856"/>
              <a:gd name="connsiteY4564" fmla="*/ 4461352 h 5116136"/>
              <a:gd name="connsiteX4565" fmla="*/ 9940165 w 13061856"/>
              <a:gd name="connsiteY4565" fmla="*/ 4479666 h 5116136"/>
              <a:gd name="connsiteX4566" fmla="*/ 9963750 w 13061856"/>
              <a:gd name="connsiteY4566" fmla="*/ 4485374 h 5116136"/>
              <a:gd name="connsiteX4567" fmla="*/ 9874853 w 13061856"/>
              <a:gd name="connsiteY4567" fmla="*/ 4448510 h 5116136"/>
              <a:gd name="connsiteX4568" fmla="*/ 9983706 w 13061856"/>
              <a:gd name="connsiteY4568" fmla="*/ 4429959 h 5116136"/>
              <a:gd name="connsiteX4569" fmla="*/ 10039343 w 13061856"/>
              <a:gd name="connsiteY4569" fmla="*/ 4430672 h 5116136"/>
              <a:gd name="connsiteX4570" fmla="*/ 10034505 w 13061856"/>
              <a:gd name="connsiteY4570" fmla="*/ 4439472 h 5116136"/>
              <a:gd name="connsiteX4571" fmla="*/ 10058090 w 13061856"/>
              <a:gd name="connsiteY4571" fmla="*/ 4441375 h 5116136"/>
              <a:gd name="connsiteX4572" fmla="*/ 10018782 w 13061856"/>
              <a:gd name="connsiteY4572" fmla="*/ 4400944 h 5116136"/>
              <a:gd name="connsiteX4573" fmla="*/ 9994592 w 13061856"/>
              <a:gd name="connsiteY4573" fmla="*/ 4412597 h 5116136"/>
              <a:gd name="connsiteX4574" fmla="*/ 9995196 w 13061856"/>
              <a:gd name="connsiteY4574" fmla="*/ 4392857 h 5116136"/>
              <a:gd name="connsiteX4575" fmla="*/ 9954075 w 13061856"/>
              <a:gd name="connsiteY4575" fmla="*/ 4405700 h 5116136"/>
              <a:gd name="connsiteX4576" fmla="*/ 9954075 w 13061856"/>
              <a:gd name="connsiteY4576" fmla="*/ 4364079 h 5116136"/>
              <a:gd name="connsiteX4577" fmla="*/ 9935328 w 13061856"/>
              <a:gd name="connsiteY4577" fmla="*/ 4394046 h 5116136"/>
              <a:gd name="connsiteX4578" fmla="*/ 9840383 w 13061856"/>
              <a:gd name="connsiteY4578" fmla="*/ 4381917 h 5116136"/>
              <a:gd name="connsiteX4579" fmla="*/ 9836149 w 13061856"/>
              <a:gd name="connsiteY4579" fmla="*/ 4404987 h 5116136"/>
              <a:gd name="connsiteX4580" fmla="*/ 9884529 w 13061856"/>
              <a:gd name="connsiteY4580" fmla="*/ 4405700 h 5116136"/>
              <a:gd name="connsiteX4581" fmla="*/ 9853687 w 13061856"/>
              <a:gd name="connsiteY4581" fmla="*/ 4436380 h 5116136"/>
              <a:gd name="connsiteX4582" fmla="*/ 9816193 w 13061856"/>
              <a:gd name="connsiteY4582" fmla="*/ 4467061 h 5116136"/>
              <a:gd name="connsiteX4583" fmla="*/ 9819822 w 13061856"/>
              <a:gd name="connsiteY4583" fmla="*/ 4441375 h 5116136"/>
              <a:gd name="connsiteX4584" fmla="*/ 9805307 w 13061856"/>
              <a:gd name="connsiteY4584" fmla="*/ 4448510 h 5116136"/>
              <a:gd name="connsiteX4585" fmla="*/ 9818611 w 13061856"/>
              <a:gd name="connsiteY4585" fmla="*/ 4502736 h 5116136"/>
              <a:gd name="connsiteX4586" fmla="*/ 9795027 w 13061856"/>
              <a:gd name="connsiteY4586" fmla="*/ 4496790 h 5116136"/>
              <a:gd name="connsiteX4587" fmla="*/ 9655331 w 13061856"/>
              <a:gd name="connsiteY4587" fmla="*/ 4587642 h 5116136"/>
              <a:gd name="connsiteX4588" fmla="*/ 9549501 w 13061856"/>
              <a:gd name="connsiteY4588" fmla="*/ 4678019 h 5116136"/>
              <a:gd name="connsiteX4589" fmla="*/ 9510193 w 13061856"/>
              <a:gd name="connsiteY4589" fmla="*/ 4696333 h 5116136"/>
              <a:gd name="connsiteX4590" fmla="*/ 9491446 w 13061856"/>
              <a:gd name="connsiteY4590" fmla="*/ 4684678 h 5116136"/>
              <a:gd name="connsiteX4591" fmla="*/ 9489632 w 13061856"/>
              <a:gd name="connsiteY4591" fmla="*/ 4708462 h 5116136"/>
              <a:gd name="connsiteX4592" fmla="*/ 9480560 w 13061856"/>
              <a:gd name="connsiteY4592" fmla="*/ 4695618 h 5116136"/>
              <a:gd name="connsiteX4593" fmla="*/ 9459394 w 13061856"/>
              <a:gd name="connsiteY4593" fmla="*/ 4733434 h 5116136"/>
              <a:gd name="connsiteX4594" fmla="*/ 9321513 w 13061856"/>
              <a:gd name="connsiteY4594" fmla="*/ 4751272 h 5116136"/>
              <a:gd name="connsiteX4595" fmla="*/ 9305789 w 13061856"/>
              <a:gd name="connsiteY4595" fmla="*/ 4732008 h 5116136"/>
              <a:gd name="connsiteX4596" fmla="*/ 9064497 w 13061856"/>
              <a:gd name="connsiteY4596" fmla="*/ 4719402 h 5116136"/>
              <a:gd name="connsiteX4597" fmla="*/ 9009465 w 13061856"/>
              <a:gd name="connsiteY4597" fmla="*/ 4700850 h 5116136"/>
              <a:gd name="connsiteX4598" fmla="*/ 9004022 w 13061856"/>
              <a:gd name="connsiteY4598" fmla="*/ 4676591 h 5116136"/>
              <a:gd name="connsiteX4599" fmla="*/ 8858884 w 13061856"/>
              <a:gd name="connsiteY4599" fmla="*/ 4646863 h 5116136"/>
              <a:gd name="connsiteX4600" fmla="*/ 8860699 w 13061856"/>
              <a:gd name="connsiteY4600" fmla="*/ 4626884 h 5116136"/>
              <a:gd name="connsiteX4601" fmla="*/ 8800225 w 13061856"/>
              <a:gd name="connsiteY4601" fmla="*/ 4633306 h 5116136"/>
              <a:gd name="connsiteX4602" fmla="*/ 8762125 w 13061856"/>
              <a:gd name="connsiteY4602" fmla="*/ 4619987 h 5116136"/>
              <a:gd name="connsiteX4603" fmla="*/ 8756683 w 13061856"/>
              <a:gd name="connsiteY4603" fmla="*/ 4590020 h 5116136"/>
              <a:gd name="connsiteX4604" fmla="*/ 8731888 w 13061856"/>
              <a:gd name="connsiteY4604" fmla="*/ 4602150 h 5116136"/>
              <a:gd name="connsiteX4605" fmla="*/ 8582516 w 13061856"/>
              <a:gd name="connsiteY4605" fmla="*/ 4535557 h 5116136"/>
              <a:gd name="connsiteX4606" fmla="*/ 8544417 w 13061856"/>
              <a:gd name="connsiteY4606" fmla="*/ 4488228 h 5116136"/>
              <a:gd name="connsiteX4607" fmla="*/ 8528694 w 13061856"/>
              <a:gd name="connsiteY4607" fmla="*/ 4509157 h 5116136"/>
              <a:gd name="connsiteX4608" fmla="*/ 8514785 w 13061856"/>
              <a:gd name="connsiteY4608" fmla="*/ 4509633 h 5116136"/>
              <a:gd name="connsiteX4609" fmla="*/ 8476082 w 13061856"/>
              <a:gd name="connsiteY4609" fmla="*/ 4468488 h 5116136"/>
              <a:gd name="connsiteX4610" fmla="*/ 8523856 w 13061856"/>
              <a:gd name="connsiteY4610" fmla="*/ 4475147 h 5116136"/>
              <a:gd name="connsiteX4611" fmla="*/ 8514180 w 13061856"/>
              <a:gd name="connsiteY4611" fmla="*/ 4468488 h 5116136"/>
              <a:gd name="connsiteX4612" fmla="*/ 8523856 w 13061856"/>
              <a:gd name="connsiteY4612" fmla="*/ 4425916 h 5116136"/>
              <a:gd name="connsiteX4613" fmla="*/ 8375089 w 13061856"/>
              <a:gd name="connsiteY4613" fmla="*/ 4383106 h 5116136"/>
              <a:gd name="connsiteX4614" fmla="*/ 8609730 w 13061856"/>
              <a:gd name="connsiteY4614" fmla="*/ 4395236 h 5116136"/>
              <a:gd name="connsiteX4615" fmla="*/ 8947177 w 13061856"/>
              <a:gd name="connsiteY4615" fmla="*/ 4372879 h 5116136"/>
              <a:gd name="connsiteX4616" fmla="*/ 9254991 w 13061856"/>
              <a:gd name="connsiteY4616" fmla="*/ 4367647 h 5116136"/>
              <a:gd name="connsiteX4617" fmla="*/ 9229592 w 13061856"/>
              <a:gd name="connsiteY4617" fmla="*/ 4311518 h 5116136"/>
              <a:gd name="connsiteX4618" fmla="*/ 9392873 w 13061856"/>
              <a:gd name="connsiteY4618" fmla="*/ 4305572 h 5116136"/>
              <a:gd name="connsiteX4619" fmla="*/ 9379568 w 13061856"/>
              <a:gd name="connsiteY4619" fmla="*/ 4287259 h 5116136"/>
              <a:gd name="connsiteX4620" fmla="*/ 9319094 w 13061856"/>
              <a:gd name="connsiteY4620" fmla="*/ 4293442 h 5116136"/>
              <a:gd name="connsiteX4621" fmla="*/ 9161255 w 13061856"/>
              <a:gd name="connsiteY4621" fmla="*/ 4238503 h 5116136"/>
              <a:gd name="connsiteX4622" fmla="*/ 9150370 w 13061856"/>
              <a:gd name="connsiteY4622" fmla="*/ 4269183 h 5116136"/>
              <a:gd name="connsiteX4623" fmla="*/ 9090501 w 13061856"/>
              <a:gd name="connsiteY4623" fmla="*/ 4262286 h 5116136"/>
              <a:gd name="connsiteX4624" fmla="*/ 9023374 w 13061856"/>
              <a:gd name="connsiteY4624" fmla="*/ 4220665 h 5116136"/>
              <a:gd name="connsiteX4625" fmla="*/ 9030632 w 13061856"/>
              <a:gd name="connsiteY4625" fmla="*/ 4207347 h 5116136"/>
              <a:gd name="connsiteX4626" fmla="*/ 8991928 w 13061856"/>
              <a:gd name="connsiteY4626" fmla="*/ 4220189 h 5116136"/>
              <a:gd name="connsiteX4627" fmla="*/ 8986485 w 13061856"/>
              <a:gd name="connsiteY4627" fmla="*/ 4190222 h 5116136"/>
              <a:gd name="connsiteX4628" fmla="*/ 8984672 w 13061856"/>
              <a:gd name="connsiteY4628" fmla="*/ 4190222 h 5116136"/>
              <a:gd name="connsiteX4629" fmla="*/ 8959876 w 13061856"/>
              <a:gd name="connsiteY4629" fmla="*/ 4225184 h 5116136"/>
              <a:gd name="connsiteX4630" fmla="*/ 8958062 w 13061856"/>
              <a:gd name="connsiteY4630" fmla="*/ 4209249 h 5116136"/>
              <a:gd name="connsiteX4631" fmla="*/ 8910892 w 13061856"/>
              <a:gd name="connsiteY4631" fmla="*/ 4203541 h 5116136"/>
              <a:gd name="connsiteX4632" fmla="*/ 8892750 w 13061856"/>
              <a:gd name="connsiteY4632" fmla="*/ 4219476 h 5116136"/>
              <a:gd name="connsiteX4633" fmla="*/ 8896983 w 13061856"/>
              <a:gd name="connsiteY4633" fmla="*/ 4243735 h 5116136"/>
              <a:gd name="connsiteX4634" fmla="*/ 8826228 w 13061856"/>
              <a:gd name="connsiteY4634" fmla="*/ 4261097 h 5116136"/>
              <a:gd name="connsiteX4635" fmla="*/ 8740959 w 13061856"/>
              <a:gd name="connsiteY4635" fmla="*/ 4232319 h 5116136"/>
              <a:gd name="connsiteX4636" fmla="*/ 8659923 w 13061856"/>
              <a:gd name="connsiteY4636" fmla="*/ 4255389 h 5116136"/>
              <a:gd name="connsiteX4637" fmla="*/ 8650249 w 13061856"/>
              <a:gd name="connsiteY4637" fmla="*/ 4220665 h 5116136"/>
              <a:gd name="connsiteX4638" fmla="*/ 8636338 w 13061856"/>
              <a:gd name="connsiteY4638" fmla="*/ 4219476 h 5116136"/>
              <a:gd name="connsiteX4639" fmla="*/ 8499062 w 13061856"/>
              <a:gd name="connsiteY4639" fmla="*/ 4225184 h 5116136"/>
              <a:gd name="connsiteX4640" fmla="*/ 8422260 w 13061856"/>
              <a:gd name="connsiteY4640" fmla="*/ 4213292 h 5116136"/>
              <a:gd name="connsiteX4641" fmla="*/ 8426493 w 13061856"/>
              <a:gd name="connsiteY4641" fmla="*/ 4231130 h 5116136"/>
              <a:gd name="connsiteX4642" fmla="*/ 8294053 w 13061856"/>
              <a:gd name="connsiteY4642" fmla="*/ 4277270 h 5116136"/>
              <a:gd name="connsiteX4643" fmla="*/ 8330944 w 13061856"/>
              <a:gd name="connsiteY4643" fmla="*/ 4266805 h 5116136"/>
              <a:gd name="connsiteX4644" fmla="*/ 8136216 w 13061856"/>
              <a:gd name="connsiteY4644" fmla="*/ 4305572 h 5116136"/>
              <a:gd name="connsiteX4645" fmla="*/ 8055181 w 13061856"/>
              <a:gd name="connsiteY4645" fmla="*/ 4294870 h 5116136"/>
              <a:gd name="connsiteX4646" fmla="*/ 8037643 w 13061856"/>
              <a:gd name="connsiteY4646" fmla="*/ 4305096 h 5116136"/>
              <a:gd name="connsiteX4647" fmla="*/ 8012245 w 13061856"/>
              <a:gd name="connsiteY4647" fmla="*/ 4282978 h 5116136"/>
              <a:gd name="connsiteX4648" fmla="*/ 8007406 w 13061856"/>
              <a:gd name="connsiteY4648" fmla="*/ 4294870 h 5116136"/>
              <a:gd name="connsiteX4649" fmla="*/ 7974145 w 13061856"/>
              <a:gd name="connsiteY4649" fmla="*/ 4282026 h 5116136"/>
              <a:gd name="connsiteX4650" fmla="*/ 7822959 w 13061856"/>
              <a:gd name="connsiteY4650" fmla="*/ 4282502 h 5116136"/>
              <a:gd name="connsiteX4651" fmla="*/ 7677216 w 13061856"/>
              <a:gd name="connsiteY4651" fmla="*/ 4276319 h 5116136"/>
              <a:gd name="connsiteX4652" fmla="*/ 7409920 w 13061856"/>
              <a:gd name="connsiteY4652" fmla="*/ 4287259 h 5116136"/>
              <a:gd name="connsiteX4653" fmla="*/ 7403872 w 13061856"/>
              <a:gd name="connsiteY4653" fmla="*/ 4256578 h 5116136"/>
              <a:gd name="connsiteX4654" fmla="*/ 7389963 w 13061856"/>
              <a:gd name="connsiteY4654" fmla="*/ 4287259 h 5116136"/>
              <a:gd name="connsiteX4655" fmla="*/ 7377264 w 13061856"/>
              <a:gd name="connsiteY4655" fmla="*/ 4258243 h 5116136"/>
              <a:gd name="connsiteX4656" fmla="*/ 7348236 w 13061856"/>
              <a:gd name="connsiteY4656" fmla="*/ 4263951 h 5116136"/>
              <a:gd name="connsiteX4657" fmla="*/ 7366379 w 13061856"/>
              <a:gd name="connsiteY4657" fmla="*/ 4292966 h 5116136"/>
              <a:gd name="connsiteX4658" fmla="*/ 7315580 w 13061856"/>
              <a:gd name="connsiteY4658" fmla="*/ 4251346 h 5116136"/>
              <a:gd name="connsiteX4659" fmla="*/ 7299856 w 13061856"/>
              <a:gd name="connsiteY4659" fmla="*/ 4275605 h 5116136"/>
              <a:gd name="connsiteX4660" fmla="*/ 7171046 w 13061856"/>
              <a:gd name="connsiteY4660" fmla="*/ 4256578 h 5116136"/>
              <a:gd name="connsiteX4661" fmla="*/ 7172255 w 13061856"/>
              <a:gd name="connsiteY4661" fmla="*/ 4238979 h 5116136"/>
              <a:gd name="connsiteX4662" fmla="*/ 7145041 w 13061856"/>
              <a:gd name="connsiteY4662" fmla="*/ 4256578 h 5116136"/>
              <a:gd name="connsiteX4663" fmla="*/ 7119038 w 13061856"/>
              <a:gd name="connsiteY4663" fmla="*/ 4240405 h 5116136"/>
              <a:gd name="connsiteX4664" fmla="*/ 7072472 w 13061856"/>
              <a:gd name="connsiteY4664" fmla="*/ 4268233 h 5116136"/>
              <a:gd name="connsiteX4665" fmla="*/ 7030745 w 13061856"/>
              <a:gd name="connsiteY4665" fmla="*/ 4238503 h 5116136"/>
              <a:gd name="connsiteX4666" fmla="*/ 6995670 w 13061856"/>
              <a:gd name="connsiteY4666" fmla="*/ 4261810 h 5116136"/>
              <a:gd name="connsiteX4667" fmla="*/ 7010788 w 13061856"/>
              <a:gd name="connsiteY4667" fmla="*/ 4245163 h 5116136"/>
              <a:gd name="connsiteX4668" fmla="*/ 6895887 w 13061856"/>
              <a:gd name="connsiteY4668" fmla="*/ 4238979 h 5116136"/>
              <a:gd name="connsiteX4669" fmla="*/ 6831180 w 13061856"/>
              <a:gd name="connsiteY4669" fmla="*/ 4238979 h 5116136"/>
              <a:gd name="connsiteX4670" fmla="*/ 6796710 w 13061856"/>
              <a:gd name="connsiteY4670" fmla="*/ 4208536 h 5116136"/>
              <a:gd name="connsiteX4671" fmla="*/ 6720513 w 13061856"/>
              <a:gd name="connsiteY4671" fmla="*/ 4198309 h 5116136"/>
              <a:gd name="connsiteX4672" fmla="*/ 6569326 w 13061856"/>
              <a:gd name="connsiteY4672" fmla="*/ 4196882 h 5116136"/>
              <a:gd name="connsiteX4673" fmla="*/ 6502201 w 13061856"/>
              <a:gd name="connsiteY4673" fmla="*/ 4191174 h 5116136"/>
              <a:gd name="connsiteX4674" fmla="*/ 6498571 w 13061856"/>
              <a:gd name="connsiteY4674" fmla="*/ 4214957 h 5116136"/>
              <a:gd name="connsiteX4675" fmla="*/ 6456239 w 13061856"/>
              <a:gd name="connsiteY4675" fmla="*/ 4197833 h 5116136"/>
              <a:gd name="connsiteX4676" fmla="*/ 6450192 w 13061856"/>
              <a:gd name="connsiteY4676" fmla="*/ 4224709 h 5116136"/>
              <a:gd name="connsiteX4677" fmla="*/ 6441725 w 13061856"/>
              <a:gd name="connsiteY4677" fmla="*/ 4208060 h 5116136"/>
              <a:gd name="connsiteX4678" fmla="*/ 6302635 w 13061856"/>
              <a:gd name="connsiteY4678" fmla="*/ 4202115 h 5116136"/>
              <a:gd name="connsiteX4679" fmla="*/ 6221600 w 13061856"/>
              <a:gd name="connsiteY4679" fmla="*/ 4224709 h 5116136"/>
              <a:gd name="connsiteX4680" fmla="*/ 6204061 w 13061856"/>
              <a:gd name="connsiteY4680" fmla="*/ 4201639 h 5116136"/>
              <a:gd name="connsiteX4681" fmla="*/ 6183500 w 13061856"/>
              <a:gd name="connsiteY4681" fmla="*/ 4223519 h 5116136"/>
              <a:gd name="connsiteX4682" fmla="*/ 6109117 w 13061856"/>
              <a:gd name="connsiteY4682" fmla="*/ 4217335 h 5116136"/>
              <a:gd name="connsiteX4683" fmla="*/ 6051667 w 13061856"/>
              <a:gd name="connsiteY4683" fmla="*/ 4218525 h 5116136"/>
              <a:gd name="connsiteX4684" fmla="*/ 5956117 w 13061856"/>
              <a:gd name="connsiteY4684" fmla="*/ 4212103 h 5116136"/>
              <a:gd name="connsiteX4685" fmla="*/ 5952489 w 13061856"/>
              <a:gd name="connsiteY4685" fmla="*/ 4229941 h 5116136"/>
              <a:gd name="connsiteX4686" fmla="*/ 5824283 w 13061856"/>
              <a:gd name="connsiteY4686" fmla="*/ 4240405 h 5116136"/>
              <a:gd name="connsiteX4687" fmla="*/ 5795257 w 13061856"/>
              <a:gd name="connsiteY4687" fmla="*/ 4210201 h 5116136"/>
              <a:gd name="connsiteX4688" fmla="*/ 5753529 w 13061856"/>
              <a:gd name="connsiteY4688" fmla="*/ 4228752 h 5116136"/>
              <a:gd name="connsiteX4689" fmla="*/ 5714220 w 13061856"/>
              <a:gd name="connsiteY4689" fmla="*/ 4204969 h 5116136"/>
              <a:gd name="connsiteX4690" fmla="*/ 5648908 w 13061856"/>
              <a:gd name="connsiteY4690" fmla="*/ 4209725 h 5116136"/>
              <a:gd name="connsiteX4691" fmla="*/ 5616251 w 13061856"/>
              <a:gd name="connsiteY4691" fmla="*/ 4193076 h 5116136"/>
              <a:gd name="connsiteX4692" fmla="*/ 5576943 w 13061856"/>
              <a:gd name="connsiteY4692" fmla="*/ 4203541 h 5116136"/>
              <a:gd name="connsiteX4693" fmla="*/ 5530378 w 13061856"/>
              <a:gd name="connsiteY4693" fmla="*/ 4181423 h 5116136"/>
              <a:gd name="connsiteX4694" fmla="*/ 5420314 w 13061856"/>
              <a:gd name="connsiteY4694" fmla="*/ 4174526 h 5116136"/>
              <a:gd name="connsiteX4695" fmla="*/ 5416686 w 13061856"/>
              <a:gd name="connsiteY4695" fmla="*/ 4146224 h 5116136"/>
              <a:gd name="connsiteX4696" fmla="*/ 5320531 w 13061856"/>
              <a:gd name="connsiteY4696" fmla="*/ 4143845 h 5116136"/>
              <a:gd name="connsiteX4697" fmla="*/ 5340488 w 13061856"/>
              <a:gd name="connsiteY4697" fmla="*/ 4179045 h 5116136"/>
              <a:gd name="connsiteX4698" fmla="*/ 5217121 w 13061856"/>
              <a:gd name="connsiteY4698" fmla="*/ 4157164 h 5116136"/>
              <a:gd name="connsiteX4699" fmla="*/ 5252801 w 13061856"/>
              <a:gd name="connsiteY4699" fmla="*/ 4197833 h 5116136"/>
              <a:gd name="connsiteX4700" fmla="*/ 5330209 w 13061856"/>
              <a:gd name="connsiteY4700" fmla="*/ 4186418 h 5116136"/>
              <a:gd name="connsiteX4701" fmla="*/ 5093149 w 13061856"/>
              <a:gd name="connsiteY4701" fmla="*/ 4225184 h 5116136"/>
              <a:gd name="connsiteX4702" fmla="*/ 5229216 w 13061856"/>
              <a:gd name="connsiteY4702" fmla="*/ 4272750 h 5116136"/>
              <a:gd name="connsiteX4703" fmla="*/ 5286061 w 13061856"/>
              <a:gd name="connsiteY4703" fmla="*/ 4250157 h 5116136"/>
              <a:gd name="connsiteX4704" fmla="*/ 5296343 w 13061856"/>
              <a:gd name="connsiteY4704" fmla="*/ 4284880 h 5116136"/>
              <a:gd name="connsiteX4705" fmla="*/ 5405801 w 13061856"/>
              <a:gd name="connsiteY4705" fmla="*/ 4250157 h 5116136"/>
              <a:gd name="connsiteX4706" fmla="*/ 5453576 w 13061856"/>
              <a:gd name="connsiteY4706" fmla="*/ 4262286 h 5116136"/>
              <a:gd name="connsiteX4707" fmla="*/ 5438458 w 13061856"/>
              <a:gd name="connsiteY4707" fmla="*/ 4273465 h 5116136"/>
              <a:gd name="connsiteX4708" fmla="*/ 5501350 w 13061856"/>
              <a:gd name="connsiteY4708" fmla="*/ 4268707 h 5116136"/>
              <a:gd name="connsiteX4709" fmla="*/ 5590247 w 13061856"/>
              <a:gd name="connsiteY4709" fmla="*/ 4262286 h 5116136"/>
              <a:gd name="connsiteX4710" fmla="*/ 5719663 w 13061856"/>
              <a:gd name="connsiteY4710" fmla="*/ 4269183 h 5116136"/>
              <a:gd name="connsiteX4711" fmla="*/ 5728129 w 13061856"/>
              <a:gd name="connsiteY4711" fmla="*/ 4292016 h 5116136"/>
              <a:gd name="connsiteX4712" fmla="*/ 5861776 w 13061856"/>
              <a:gd name="connsiteY4712" fmla="*/ 4303432 h 5116136"/>
              <a:gd name="connsiteX4713" fmla="*/ 5752319 w 13061856"/>
              <a:gd name="connsiteY4713" fmla="*/ 4327452 h 5116136"/>
              <a:gd name="connsiteX4714" fmla="*/ 5760786 w 13061856"/>
              <a:gd name="connsiteY4714" fmla="*/ 4344338 h 5116136"/>
              <a:gd name="connsiteX4715" fmla="*/ 5794046 w 13061856"/>
              <a:gd name="connsiteY4715" fmla="*/ 4351235 h 5116136"/>
              <a:gd name="connsiteX4716" fmla="*/ 5857543 w 13061856"/>
              <a:gd name="connsiteY4716" fmla="*/ 4344338 h 5116136"/>
              <a:gd name="connsiteX4717" fmla="*/ 5917414 w 13061856"/>
              <a:gd name="connsiteY4717" fmla="*/ 4303907 h 5116136"/>
              <a:gd name="connsiteX4718" fmla="*/ 5942208 w 13061856"/>
              <a:gd name="connsiteY4718" fmla="*/ 4328404 h 5116136"/>
              <a:gd name="connsiteX4719" fmla="*/ 5718453 w 13061856"/>
              <a:gd name="connsiteY4719" fmla="*/ 4368598 h 5116136"/>
              <a:gd name="connsiteX4720" fmla="*/ 5680354 w 13061856"/>
              <a:gd name="connsiteY4720" fmla="*/ 4360987 h 5116136"/>
              <a:gd name="connsiteX4721" fmla="*/ 5651327 w 13061856"/>
              <a:gd name="connsiteY4721" fmla="*/ 4332685 h 5116136"/>
              <a:gd name="connsiteX4722" fmla="*/ 5633184 w 13061856"/>
              <a:gd name="connsiteY4722" fmla="*/ 4355279 h 5116136"/>
              <a:gd name="connsiteX4723" fmla="*/ 5616856 w 13061856"/>
              <a:gd name="connsiteY4723" fmla="*/ 4337917 h 5116136"/>
              <a:gd name="connsiteX4724" fmla="*/ 5589642 w 13061856"/>
              <a:gd name="connsiteY4724" fmla="*/ 4360987 h 5116136"/>
              <a:gd name="connsiteX4725" fmla="*/ 5580572 w 13061856"/>
              <a:gd name="connsiteY4725" fmla="*/ 4348381 h 5116136"/>
              <a:gd name="connsiteX4726" fmla="*/ 5419106 w 13061856"/>
              <a:gd name="connsiteY4726" fmla="*/ 4360511 h 5116136"/>
              <a:gd name="connsiteX4727" fmla="*/ 5280015 w 13061856"/>
              <a:gd name="connsiteY4727" fmla="*/ 4349096 h 5116136"/>
              <a:gd name="connsiteX4728" fmla="*/ 5215308 w 13061856"/>
              <a:gd name="connsiteY4728" fmla="*/ 4347192 h 5116136"/>
              <a:gd name="connsiteX4729" fmla="*/ 5190512 w 13061856"/>
              <a:gd name="connsiteY4729" fmla="*/ 4365268 h 5116136"/>
              <a:gd name="connsiteX4730" fmla="*/ 5199583 w 13061856"/>
              <a:gd name="connsiteY4730" fmla="*/ 4381441 h 5116136"/>
              <a:gd name="connsiteX4731" fmla="*/ 5165717 w 13061856"/>
              <a:gd name="connsiteY4731" fmla="*/ 4376685 h 5116136"/>
              <a:gd name="connsiteX4732" fmla="*/ 4967967 w 13061856"/>
              <a:gd name="connsiteY4732" fmla="*/ 4357658 h 5116136"/>
              <a:gd name="connsiteX4733" fmla="*/ 4987319 w 13061856"/>
              <a:gd name="connsiteY4733" fmla="*/ 4345529 h 5116136"/>
              <a:gd name="connsiteX4734" fmla="*/ 4990342 w 13061856"/>
              <a:gd name="connsiteY4734" fmla="*/ 4334112 h 5116136"/>
              <a:gd name="connsiteX4735" fmla="*/ 4981270 w 13061856"/>
              <a:gd name="connsiteY4735" fmla="*/ 4335063 h 5116136"/>
              <a:gd name="connsiteX4736" fmla="*/ 4977038 w 13061856"/>
              <a:gd name="connsiteY4736" fmla="*/ 4310804 h 5116136"/>
              <a:gd name="connsiteX4737" fmla="*/ 4854880 w 13061856"/>
              <a:gd name="connsiteY4737" fmla="*/ 4310329 h 5116136"/>
              <a:gd name="connsiteX4738" fmla="*/ 4863951 w 13061856"/>
              <a:gd name="connsiteY4738" fmla="*/ 4317225 h 5116136"/>
              <a:gd name="connsiteX4739" fmla="*/ 4720021 w 13061856"/>
              <a:gd name="connsiteY4739" fmla="*/ 4320794 h 5116136"/>
              <a:gd name="connsiteX4740" fmla="*/ 4701274 w 13061856"/>
              <a:gd name="connsiteY4740" fmla="*/ 4345053 h 5116136"/>
              <a:gd name="connsiteX4741" fmla="*/ 4686762 w 13061856"/>
              <a:gd name="connsiteY4741" fmla="*/ 4309615 h 5116136"/>
              <a:gd name="connsiteX4742" fmla="*/ 4653501 w 13061856"/>
              <a:gd name="connsiteY4742" fmla="*/ 4303432 h 5116136"/>
              <a:gd name="connsiteX4743" fmla="*/ 4640801 w 13061856"/>
              <a:gd name="connsiteY4743" fmla="*/ 4274415 h 5116136"/>
              <a:gd name="connsiteX4744" fmla="*/ 4593631 w 13061856"/>
              <a:gd name="connsiteY4744" fmla="*/ 4298199 h 5116136"/>
              <a:gd name="connsiteX4745" fmla="*/ 4610563 w 13061856"/>
              <a:gd name="connsiteY4745" fmla="*/ 4291064 h 5116136"/>
              <a:gd name="connsiteX4746" fmla="*/ 4611168 w 13061856"/>
              <a:gd name="connsiteY4746" fmla="*/ 4246113 h 5116136"/>
              <a:gd name="connsiteX4747" fmla="*/ 4580327 w 13061856"/>
              <a:gd name="connsiteY4747" fmla="*/ 4251346 h 5116136"/>
              <a:gd name="connsiteX4748" fmla="*/ 4573675 w 13061856"/>
              <a:gd name="connsiteY4748" fmla="*/ 4238503 h 5116136"/>
              <a:gd name="connsiteX4749" fmla="*/ 4602702 w 13061856"/>
              <a:gd name="connsiteY4749" fmla="*/ 4187844 h 5116136"/>
              <a:gd name="connsiteX4750" fmla="*/ 4602702 w 13061856"/>
              <a:gd name="connsiteY4750" fmla="*/ 4183564 h 5116136"/>
              <a:gd name="connsiteX4751" fmla="*/ 4537390 w 13061856"/>
              <a:gd name="connsiteY4751" fmla="*/ 4195931 h 5116136"/>
              <a:gd name="connsiteX4752" fmla="*/ 4521666 w 13061856"/>
              <a:gd name="connsiteY4752" fmla="*/ 4178569 h 5116136"/>
              <a:gd name="connsiteX4753" fmla="*/ 4291260 w 13061856"/>
              <a:gd name="connsiteY4753" fmla="*/ 4166915 h 5116136"/>
              <a:gd name="connsiteX4754" fmla="*/ 4239856 w 13061856"/>
              <a:gd name="connsiteY4754" fmla="*/ 4148602 h 5116136"/>
              <a:gd name="connsiteX4755" fmla="*/ 4233810 w 13061856"/>
              <a:gd name="connsiteY4755" fmla="*/ 4124105 h 5116136"/>
              <a:gd name="connsiteX4756" fmla="*/ 4098950 w 13061856"/>
              <a:gd name="connsiteY4756" fmla="*/ 4094614 h 5116136"/>
              <a:gd name="connsiteX4757" fmla="*/ 4097137 w 13061856"/>
              <a:gd name="connsiteY4757" fmla="*/ 4079155 h 5116136"/>
              <a:gd name="connsiteX4758" fmla="*/ 4042106 w 13061856"/>
              <a:gd name="connsiteY4758" fmla="*/ 4084387 h 5116136"/>
              <a:gd name="connsiteX4759" fmla="*/ 4004006 w 13061856"/>
              <a:gd name="connsiteY4759" fmla="*/ 4072734 h 5116136"/>
              <a:gd name="connsiteX4760" fmla="*/ 3998563 w 13061856"/>
              <a:gd name="connsiteY4760" fmla="*/ 4042766 h 5116136"/>
              <a:gd name="connsiteX4761" fmla="*/ 3976187 w 13061856"/>
              <a:gd name="connsiteY4761" fmla="*/ 4054896 h 5116136"/>
              <a:gd name="connsiteX4762" fmla="*/ 3835887 w 13061856"/>
              <a:gd name="connsiteY4762" fmla="*/ 3991156 h 5116136"/>
              <a:gd name="connsiteX4763" fmla="*/ 3769970 w 13061856"/>
              <a:gd name="connsiteY4763" fmla="*/ 3925752 h 5116136"/>
              <a:gd name="connsiteX4764" fmla="*/ 3779042 w 13061856"/>
              <a:gd name="connsiteY4764" fmla="*/ 3885082 h 5116136"/>
              <a:gd name="connsiteX4765" fmla="*/ 3637532 w 13061856"/>
              <a:gd name="connsiteY4765" fmla="*/ 3844889 h 5116136"/>
              <a:gd name="connsiteX4766" fmla="*/ 3858263 w 13061856"/>
              <a:gd name="connsiteY4766" fmla="*/ 3856067 h 5116136"/>
              <a:gd name="connsiteX4767" fmla="*/ 4181196 w 13061856"/>
              <a:gd name="connsiteY4767" fmla="*/ 3833948 h 5116136"/>
              <a:gd name="connsiteX4768" fmla="*/ 4474497 w 13061856"/>
              <a:gd name="connsiteY4768" fmla="*/ 3829428 h 5116136"/>
              <a:gd name="connsiteX4769" fmla="*/ 4450912 w 13061856"/>
              <a:gd name="connsiteY4769" fmla="*/ 3778057 h 5116136"/>
              <a:gd name="connsiteX4770" fmla="*/ 4522877 w 13061856"/>
              <a:gd name="connsiteY4770" fmla="*/ 3783765 h 5116136"/>
              <a:gd name="connsiteX4771" fmla="*/ 4526505 w 13061856"/>
              <a:gd name="connsiteY4771" fmla="*/ 3762360 h 5116136"/>
              <a:gd name="connsiteX4772" fmla="*/ 4534366 w 13061856"/>
              <a:gd name="connsiteY4772" fmla="*/ 3784954 h 5116136"/>
              <a:gd name="connsiteX4773" fmla="*/ 4605121 w 13061856"/>
              <a:gd name="connsiteY4773" fmla="*/ 3771159 h 5116136"/>
              <a:gd name="connsiteX4774" fmla="*/ 4591817 w 13061856"/>
              <a:gd name="connsiteY4774" fmla="*/ 3754511 h 5116136"/>
              <a:gd name="connsiteX4775" fmla="*/ 4565208 w 13061856"/>
              <a:gd name="connsiteY4775" fmla="*/ 3763549 h 5116136"/>
              <a:gd name="connsiteX4776" fmla="*/ 4538600 w 13061856"/>
              <a:gd name="connsiteY4776" fmla="*/ 3753560 h 5116136"/>
              <a:gd name="connsiteX4777" fmla="*/ 4535575 w 13061856"/>
              <a:gd name="connsiteY4777" fmla="*/ 3761171 h 5116136"/>
              <a:gd name="connsiteX4778" fmla="*/ 4496267 w 13061856"/>
              <a:gd name="connsiteY4778" fmla="*/ 3742144 h 5116136"/>
              <a:gd name="connsiteX4779" fmla="*/ 4498687 w 13061856"/>
              <a:gd name="connsiteY4779" fmla="*/ 3746424 h 5116136"/>
              <a:gd name="connsiteX4780" fmla="*/ 4480543 w 13061856"/>
              <a:gd name="connsiteY4780" fmla="*/ 3768305 h 5116136"/>
              <a:gd name="connsiteX4781" fmla="*/ 4467239 w 13061856"/>
              <a:gd name="connsiteY4781" fmla="*/ 3739290 h 5116136"/>
              <a:gd name="connsiteX4782" fmla="*/ 4437003 w 13061856"/>
              <a:gd name="connsiteY4782" fmla="*/ 3736912 h 5116136"/>
              <a:gd name="connsiteX4783" fmla="*/ 4441236 w 13061856"/>
              <a:gd name="connsiteY4783" fmla="*/ 3739290 h 5116136"/>
              <a:gd name="connsiteX4784" fmla="*/ 4424908 w 13061856"/>
              <a:gd name="connsiteY4784" fmla="*/ 3734058 h 5116136"/>
              <a:gd name="connsiteX4785" fmla="*/ 4385599 w 13061856"/>
              <a:gd name="connsiteY4785" fmla="*/ 3706945 h 5116136"/>
              <a:gd name="connsiteX4786" fmla="*/ 4374109 w 13061856"/>
              <a:gd name="connsiteY4786" fmla="*/ 3737388 h 5116136"/>
              <a:gd name="connsiteX4787" fmla="*/ 4319076 w 13061856"/>
              <a:gd name="connsiteY4787" fmla="*/ 3730728 h 5116136"/>
              <a:gd name="connsiteX4788" fmla="*/ 4251951 w 13061856"/>
              <a:gd name="connsiteY4788" fmla="*/ 3689583 h 5116136"/>
              <a:gd name="connsiteX4789" fmla="*/ 4262231 w 13061856"/>
              <a:gd name="connsiteY4789" fmla="*/ 3678643 h 5116136"/>
              <a:gd name="connsiteX4790" fmla="*/ 4222923 w 13061856"/>
              <a:gd name="connsiteY4790" fmla="*/ 3689107 h 5116136"/>
              <a:gd name="connsiteX4791" fmla="*/ 4219900 w 13061856"/>
              <a:gd name="connsiteY4791" fmla="*/ 3660805 h 5116136"/>
              <a:gd name="connsiteX4792" fmla="*/ 4172730 w 13061856"/>
              <a:gd name="connsiteY4792" fmla="*/ 3650341 h 5116136"/>
              <a:gd name="connsiteX4793" fmla="*/ 4061457 w 13061856"/>
              <a:gd name="connsiteY4793" fmla="*/ 3641778 h 5116136"/>
              <a:gd name="connsiteX4794" fmla="*/ 4166078 w 13061856"/>
              <a:gd name="connsiteY4794" fmla="*/ 3647487 h 5116136"/>
              <a:gd name="connsiteX4795" fmla="*/ 4096531 w 13061856"/>
              <a:gd name="connsiteY4795" fmla="*/ 3636546 h 5116136"/>
              <a:gd name="connsiteX4796" fmla="*/ 4091089 w 13061856"/>
              <a:gd name="connsiteY4796" fmla="*/ 3602299 h 5116136"/>
              <a:gd name="connsiteX4797" fmla="*/ 4063271 w 13061856"/>
              <a:gd name="connsiteY4797" fmla="*/ 3589693 h 5116136"/>
              <a:gd name="connsiteX4798" fmla="*/ 4059642 w 13061856"/>
              <a:gd name="connsiteY4798" fmla="*/ 3607531 h 5116136"/>
              <a:gd name="connsiteX4799" fmla="*/ 4036059 w 13061856"/>
              <a:gd name="connsiteY4799" fmla="*/ 3601110 h 5116136"/>
              <a:gd name="connsiteX4800" fmla="*/ 4030011 w 13061856"/>
              <a:gd name="connsiteY4800" fmla="*/ 3579229 h 5116136"/>
              <a:gd name="connsiteX4801" fmla="*/ 3973770 w 13061856"/>
              <a:gd name="connsiteY4801" fmla="*/ 3595876 h 5116136"/>
              <a:gd name="connsiteX4802" fmla="*/ 3928413 w 13061856"/>
              <a:gd name="connsiteY4802" fmla="*/ 3554255 h 5116136"/>
              <a:gd name="connsiteX4803" fmla="*/ 3964698 w 13061856"/>
              <a:gd name="connsiteY4803" fmla="*/ 3549736 h 5116136"/>
              <a:gd name="connsiteX4804" fmla="*/ 3956232 w 13061856"/>
              <a:gd name="connsiteY4804" fmla="*/ 3525477 h 5116136"/>
              <a:gd name="connsiteX4805" fmla="*/ 3936275 w 13061856"/>
              <a:gd name="connsiteY4805" fmla="*/ 3533564 h 5116136"/>
              <a:gd name="connsiteX4806" fmla="*/ 3939903 w 13061856"/>
              <a:gd name="connsiteY4806" fmla="*/ 3515489 h 5116136"/>
              <a:gd name="connsiteX4807" fmla="*/ 3942322 w 13061856"/>
              <a:gd name="connsiteY4807" fmla="*/ 3517867 h 5116136"/>
              <a:gd name="connsiteX4808" fmla="*/ 3973770 w 13061856"/>
              <a:gd name="connsiteY4808" fmla="*/ 3520721 h 5116136"/>
              <a:gd name="connsiteX4809" fmla="*/ 3974374 w 13061856"/>
              <a:gd name="connsiteY4809" fmla="*/ 3506927 h 5116136"/>
              <a:gd name="connsiteX4810" fmla="*/ 3961070 w 13061856"/>
              <a:gd name="connsiteY4810" fmla="*/ 3486235 h 5116136"/>
              <a:gd name="connsiteX4811" fmla="*/ 3927203 w 13061856"/>
              <a:gd name="connsiteY4811" fmla="*/ 3496701 h 5116136"/>
              <a:gd name="connsiteX4812" fmla="*/ 3932646 w 13061856"/>
              <a:gd name="connsiteY4812" fmla="*/ 3521197 h 5116136"/>
              <a:gd name="connsiteX4813" fmla="*/ 3894548 w 13061856"/>
              <a:gd name="connsiteY4813" fmla="*/ 3473868 h 5116136"/>
              <a:gd name="connsiteX4814" fmla="*/ 3914503 w 13061856"/>
              <a:gd name="connsiteY4814" fmla="*/ 3461976 h 5116136"/>
              <a:gd name="connsiteX4815" fmla="*/ 3907852 w 13061856"/>
              <a:gd name="connsiteY4815" fmla="*/ 3445566 h 5116136"/>
              <a:gd name="connsiteX4816" fmla="*/ 3867335 w 13061856"/>
              <a:gd name="connsiteY4816" fmla="*/ 3450322 h 5116136"/>
              <a:gd name="connsiteX4817" fmla="*/ 3852216 w 13061856"/>
              <a:gd name="connsiteY4817" fmla="*/ 3420831 h 5116136"/>
              <a:gd name="connsiteX4818" fmla="*/ 3885477 w 13061856"/>
              <a:gd name="connsiteY4818" fmla="*/ 3416312 h 5116136"/>
              <a:gd name="connsiteX4819" fmla="*/ 3810488 w 13061856"/>
              <a:gd name="connsiteY4819" fmla="*/ 3397761 h 5116136"/>
              <a:gd name="connsiteX4820" fmla="*/ 3818955 w 13061856"/>
              <a:gd name="connsiteY4820" fmla="*/ 3368746 h 5116136"/>
              <a:gd name="connsiteX4821" fmla="*/ 3763924 w 13061856"/>
              <a:gd name="connsiteY4821" fmla="*/ 3403470 h 5116136"/>
              <a:gd name="connsiteX4822" fmla="*/ 3720986 w 13061856"/>
              <a:gd name="connsiteY4822" fmla="*/ 3397761 h 5116136"/>
              <a:gd name="connsiteX4823" fmla="*/ 3734895 w 13061856"/>
              <a:gd name="connsiteY4823" fmla="*/ 3415123 h 5116136"/>
              <a:gd name="connsiteX4824" fmla="*/ 3696192 w 13061856"/>
              <a:gd name="connsiteY4824" fmla="*/ 3373978 h 5116136"/>
              <a:gd name="connsiteX4825" fmla="*/ 3692563 w 13061856"/>
              <a:gd name="connsiteY4825" fmla="*/ 3391577 h 5116136"/>
              <a:gd name="connsiteX4826" fmla="*/ 3686516 w 13061856"/>
              <a:gd name="connsiteY4826" fmla="*/ 3369459 h 5116136"/>
              <a:gd name="connsiteX4827" fmla="*/ 3659302 w 13061856"/>
              <a:gd name="connsiteY4827" fmla="*/ 3345200 h 5116136"/>
              <a:gd name="connsiteX4828" fmla="*/ 3645393 w 13061856"/>
              <a:gd name="connsiteY4828" fmla="*/ 3381589 h 5116136"/>
              <a:gd name="connsiteX4829" fmla="*/ 3587943 w 13061856"/>
              <a:gd name="connsiteY4829" fmla="*/ 3368746 h 5116136"/>
              <a:gd name="connsiteX4830" fmla="*/ 3596409 w 13061856"/>
              <a:gd name="connsiteY4830" fmla="*/ 3361373 h 5116136"/>
              <a:gd name="connsiteX4831" fmla="*/ 3578268 w 13061856"/>
              <a:gd name="connsiteY4831" fmla="*/ 3339968 h 5116136"/>
              <a:gd name="connsiteX4832" fmla="*/ 3621204 w 13061856"/>
              <a:gd name="connsiteY4832" fmla="*/ 3339968 h 5116136"/>
              <a:gd name="connsiteX4833" fmla="*/ 3618179 w 13061856"/>
              <a:gd name="connsiteY4833" fmla="*/ 3349005 h 5116136"/>
              <a:gd name="connsiteX4834" fmla="*/ 3634508 w 13061856"/>
              <a:gd name="connsiteY4834" fmla="*/ 3356617 h 5116136"/>
              <a:gd name="connsiteX4835" fmla="*/ 3650231 w 13061856"/>
              <a:gd name="connsiteY4835" fmla="*/ 3334260 h 5116136"/>
              <a:gd name="connsiteX4836" fmla="*/ 3357536 w 13061856"/>
              <a:gd name="connsiteY4836" fmla="*/ 3287407 h 5116136"/>
              <a:gd name="connsiteX4837" fmla="*/ 3272266 w 13061856"/>
              <a:gd name="connsiteY4837" fmla="*/ 3264337 h 5116136"/>
              <a:gd name="connsiteX4838" fmla="*/ 3256544 w 13061856"/>
              <a:gd name="connsiteY4838" fmla="*/ 3241029 h 5116136"/>
              <a:gd name="connsiteX4839" fmla="*/ 3225702 w 13061856"/>
              <a:gd name="connsiteY4839" fmla="*/ 3246261 h 5116136"/>
              <a:gd name="connsiteX4840" fmla="*/ 3233564 w 13061856"/>
              <a:gd name="connsiteY4840" fmla="*/ 3228899 h 5116136"/>
              <a:gd name="connsiteX4841" fmla="*/ 3197883 w 13061856"/>
              <a:gd name="connsiteY4841" fmla="*/ 3227949 h 5116136"/>
              <a:gd name="connsiteX4842" fmla="*/ 3205745 w 13061856"/>
              <a:gd name="connsiteY4842" fmla="*/ 3217009 h 5116136"/>
              <a:gd name="connsiteX4843" fmla="*/ 3154342 w 13061856"/>
              <a:gd name="connsiteY4843" fmla="*/ 3228424 h 5116136"/>
              <a:gd name="connsiteX4844" fmla="*/ 3122290 w 13061856"/>
              <a:gd name="connsiteY4844" fmla="*/ 3157788 h 5116136"/>
              <a:gd name="connsiteX4845" fmla="*/ 3097495 w 13061856"/>
              <a:gd name="connsiteY4845" fmla="*/ 3170154 h 5116136"/>
              <a:gd name="connsiteX4846" fmla="*/ 3055768 w 13061856"/>
              <a:gd name="connsiteY4846" fmla="*/ 3152555 h 5116136"/>
              <a:gd name="connsiteX4847" fmla="*/ 2972314 w 13061856"/>
              <a:gd name="connsiteY4847" fmla="*/ 3105227 h 5116136"/>
              <a:gd name="connsiteX4848" fmla="*/ 2847738 w 13061856"/>
              <a:gd name="connsiteY4848" fmla="*/ 3089291 h 5116136"/>
              <a:gd name="connsiteX4849" fmla="*/ 2871322 w 13061856"/>
              <a:gd name="connsiteY4849" fmla="*/ 3094999 h 5116136"/>
              <a:gd name="connsiteX4850" fmla="*/ 2885231 w 13061856"/>
              <a:gd name="connsiteY4850" fmla="*/ 3070740 h 5116136"/>
              <a:gd name="connsiteX4851" fmla="*/ 2885836 w 13061856"/>
              <a:gd name="connsiteY4851" fmla="*/ 3100232 h 5116136"/>
              <a:gd name="connsiteX4852" fmla="*/ 2928772 w 13061856"/>
              <a:gd name="connsiteY4852" fmla="*/ 3100232 h 5116136"/>
              <a:gd name="connsiteX4853" fmla="*/ 2936634 w 13061856"/>
              <a:gd name="connsiteY4853" fmla="*/ 3088578 h 5116136"/>
              <a:gd name="connsiteX4854" fmla="*/ 2870717 w 13061856"/>
              <a:gd name="connsiteY4854" fmla="*/ 3071216 h 5116136"/>
              <a:gd name="connsiteX4855" fmla="*/ 2835037 w 13061856"/>
              <a:gd name="connsiteY4855" fmla="*/ 3065984 h 5116136"/>
              <a:gd name="connsiteX4856" fmla="*/ 2861647 w 13061856"/>
              <a:gd name="connsiteY4856" fmla="*/ 3054568 h 5116136"/>
              <a:gd name="connsiteX4857" fmla="*/ 2863460 w 13061856"/>
              <a:gd name="connsiteY4857" fmla="*/ 3030546 h 5116136"/>
              <a:gd name="connsiteX4858" fmla="*/ 2838060 w 13061856"/>
              <a:gd name="connsiteY4858" fmla="*/ 3048622 h 5116136"/>
              <a:gd name="connsiteX4859" fmla="*/ 2805404 w 13061856"/>
              <a:gd name="connsiteY4859" fmla="*/ 3029596 h 5116136"/>
              <a:gd name="connsiteX4860" fmla="*/ 2856808 w 13061856"/>
              <a:gd name="connsiteY4860" fmla="*/ 3018655 h 5116136"/>
              <a:gd name="connsiteX4861" fmla="*/ 2844108 w 13061856"/>
              <a:gd name="connsiteY4861" fmla="*/ 2989877 h 5116136"/>
              <a:gd name="connsiteX4862" fmla="*/ 2743116 w 13061856"/>
              <a:gd name="connsiteY4862" fmla="*/ 2988450 h 5116136"/>
              <a:gd name="connsiteX4863" fmla="*/ 2622168 w 13061856"/>
              <a:gd name="connsiteY4863" fmla="*/ 3002483 h 5116136"/>
              <a:gd name="connsiteX4864" fmla="*/ 2650591 w 13061856"/>
              <a:gd name="connsiteY4864" fmla="*/ 3006526 h 5116136"/>
              <a:gd name="connsiteX4865" fmla="*/ 2630634 w 13061856"/>
              <a:gd name="connsiteY4865" fmla="*/ 3018655 h 5116136"/>
              <a:gd name="connsiteX4866" fmla="*/ 2643938 w 13061856"/>
              <a:gd name="connsiteY4866" fmla="*/ 3041725 h 5116136"/>
              <a:gd name="connsiteX4867" fmla="*/ 2664499 w 13061856"/>
              <a:gd name="connsiteY4867" fmla="*/ 3023888 h 5116136"/>
              <a:gd name="connsiteX4868" fmla="*/ 2672361 w 13061856"/>
              <a:gd name="connsiteY4868" fmla="*/ 3048147 h 5116136"/>
              <a:gd name="connsiteX4869" fmla="*/ 2648171 w 13061856"/>
              <a:gd name="connsiteY4869" fmla="*/ 3048147 h 5116136"/>
              <a:gd name="connsiteX4870" fmla="*/ 2673571 w 13061856"/>
              <a:gd name="connsiteY4870" fmla="*/ 3070265 h 5116136"/>
              <a:gd name="connsiteX4871" fmla="*/ 2568346 w 13061856"/>
              <a:gd name="connsiteY4871" fmla="*/ 3059087 h 5116136"/>
              <a:gd name="connsiteX4872" fmla="*/ 2578022 w 13061856"/>
              <a:gd name="connsiteY4872" fmla="*/ 3024364 h 5116136"/>
              <a:gd name="connsiteX4873" fmla="*/ 2612492 w 13061856"/>
              <a:gd name="connsiteY4873" fmla="*/ 3013423 h 5116136"/>
              <a:gd name="connsiteX4874" fmla="*/ 2601607 w 13061856"/>
              <a:gd name="connsiteY4874" fmla="*/ 2978937 h 5116136"/>
              <a:gd name="connsiteX4875" fmla="*/ 2601607 w 13061856"/>
              <a:gd name="connsiteY4875" fmla="*/ 2984645 h 5116136"/>
              <a:gd name="connsiteX4876" fmla="*/ 2559879 w 13061856"/>
              <a:gd name="connsiteY4876" fmla="*/ 2995110 h 5116136"/>
              <a:gd name="connsiteX4877" fmla="*/ 2536899 w 13061856"/>
              <a:gd name="connsiteY4877" fmla="*/ 2989402 h 5116136"/>
              <a:gd name="connsiteX4878" fmla="*/ 2535690 w 13061856"/>
              <a:gd name="connsiteY4878" fmla="*/ 2967284 h 5116136"/>
              <a:gd name="connsiteX4879" fmla="*/ 2441955 w 13061856"/>
              <a:gd name="connsiteY4879" fmla="*/ 2967284 h 5116136"/>
              <a:gd name="connsiteX4880" fmla="*/ 2313144 w 13061856"/>
              <a:gd name="connsiteY4880" fmla="*/ 2948257 h 5116136"/>
              <a:gd name="connsiteX4881" fmla="*/ 2181915 w 13061856"/>
              <a:gd name="connsiteY4881" fmla="*/ 2936365 h 5116136"/>
              <a:gd name="connsiteX4882" fmla="*/ 2149863 w 13061856"/>
              <a:gd name="connsiteY4882" fmla="*/ 2914008 h 5116136"/>
              <a:gd name="connsiteX4883" fmla="*/ 2152282 w 13061856"/>
              <a:gd name="connsiteY4883" fmla="*/ 2942549 h 5116136"/>
              <a:gd name="connsiteX4884" fmla="*/ 2125068 w 13061856"/>
              <a:gd name="connsiteY4884" fmla="*/ 2926137 h 5116136"/>
              <a:gd name="connsiteX4885" fmla="*/ 2130512 w 13061856"/>
              <a:gd name="connsiteY4885" fmla="*/ 2909015 h 5116136"/>
              <a:gd name="connsiteX4886" fmla="*/ 2078504 w 13061856"/>
              <a:gd name="connsiteY4886" fmla="*/ 2896170 h 5116136"/>
              <a:gd name="connsiteX4887" fmla="*/ 1941832 w 13061856"/>
              <a:gd name="connsiteY4887" fmla="*/ 2890464 h 5116136"/>
              <a:gd name="connsiteX4888" fmla="*/ 1917641 w 13061856"/>
              <a:gd name="connsiteY4888" fmla="*/ 2896170 h 5116136"/>
              <a:gd name="connsiteX4889" fmla="*/ 1907361 w 13061856"/>
              <a:gd name="connsiteY4889" fmla="*/ 2867868 h 5116136"/>
              <a:gd name="connsiteX4890" fmla="*/ 1832977 w 13061856"/>
              <a:gd name="connsiteY4890" fmla="*/ 2861447 h 5116136"/>
              <a:gd name="connsiteX4891" fmla="*/ 1875914 w 13061856"/>
              <a:gd name="connsiteY4891" fmla="*/ 2873101 h 5116136"/>
              <a:gd name="connsiteX4892" fmla="*/ 1838421 w 13061856"/>
              <a:gd name="connsiteY4892" fmla="*/ 2895696 h 5116136"/>
              <a:gd name="connsiteX4893" fmla="*/ 1836606 w 13061856"/>
              <a:gd name="connsiteY4893" fmla="*/ 2879285 h 5116136"/>
              <a:gd name="connsiteX4894" fmla="*/ 1776132 w 13061856"/>
              <a:gd name="connsiteY4894" fmla="*/ 2890464 h 5116136"/>
              <a:gd name="connsiteX4895" fmla="*/ 1666673 w 13061856"/>
              <a:gd name="connsiteY4895" fmla="*/ 2867394 h 5116136"/>
              <a:gd name="connsiteX4896" fmla="*/ 1677558 w 13061856"/>
              <a:gd name="connsiteY4896" fmla="*/ 2895696 h 5116136"/>
              <a:gd name="connsiteX4897" fmla="*/ 1699934 w 13061856"/>
              <a:gd name="connsiteY4897" fmla="*/ 2873576 h 5116136"/>
              <a:gd name="connsiteX4898" fmla="*/ 1727752 w 13061856"/>
              <a:gd name="connsiteY4898" fmla="*/ 2889749 h 5116136"/>
              <a:gd name="connsiteX4899" fmla="*/ 1813625 w 13061856"/>
              <a:gd name="connsiteY4899" fmla="*/ 2901404 h 5116136"/>
              <a:gd name="connsiteX4900" fmla="*/ 1807579 w 13061856"/>
              <a:gd name="connsiteY4900" fmla="*/ 2924474 h 5116136"/>
              <a:gd name="connsiteX4901" fmla="*/ 1842653 w 13061856"/>
              <a:gd name="connsiteY4901" fmla="*/ 2943501 h 5116136"/>
              <a:gd name="connsiteX4902" fmla="*/ 1865029 w 13061856"/>
              <a:gd name="connsiteY4902" fmla="*/ 2931370 h 5116136"/>
              <a:gd name="connsiteX4903" fmla="*/ 1852329 w 13061856"/>
              <a:gd name="connsiteY4903" fmla="*/ 2942549 h 5116136"/>
              <a:gd name="connsiteX4904" fmla="*/ 1895266 w 13061856"/>
              <a:gd name="connsiteY4904" fmla="*/ 2953965 h 5116136"/>
              <a:gd name="connsiteX4905" fmla="*/ 1869263 w 13061856"/>
              <a:gd name="connsiteY4905" fmla="*/ 2977510 h 5116136"/>
              <a:gd name="connsiteX4906" fmla="*/ 1814835 w 13061856"/>
              <a:gd name="connsiteY4906" fmla="*/ 2977035 h 5116136"/>
              <a:gd name="connsiteX4907" fmla="*/ 1793669 w 13061856"/>
              <a:gd name="connsiteY4907" fmla="*/ 2960862 h 5116136"/>
              <a:gd name="connsiteX4908" fmla="*/ 1770689 w 13061856"/>
              <a:gd name="connsiteY4908" fmla="*/ 2982743 h 5116136"/>
              <a:gd name="connsiteX4909" fmla="*/ 1732591 w 13061856"/>
              <a:gd name="connsiteY4909" fmla="*/ 2977510 h 5116136"/>
              <a:gd name="connsiteX4910" fmla="*/ 1748314 w 13061856"/>
              <a:gd name="connsiteY4910" fmla="*/ 2954916 h 5116136"/>
              <a:gd name="connsiteX4911" fmla="*/ 1732591 w 13061856"/>
              <a:gd name="connsiteY4911" fmla="*/ 2930181 h 5116136"/>
              <a:gd name="connsiteX4912" fmla="*/ 1718076 w 13061856"/>
              <a:gd name="connsiteY4912" fmla="*/ 2936365 h 5116136"/>
              <a:gd name="connsiteX4913" fmla="*/ 1724124 w 13061856"/>
              <a:gd name="connsiteY4913" fmla="*/ 2954916 h 5116136"/>
              <a:gd name="connsiteX4914" fmla="*/ 1675745 w 13061856"/>
              <a:gd name="connsiteY4914" fmla="*/ 2924949 h 5116136"/>
              <a:gd name="connsiteX4915" fmla="*/ 1668487 w 13061856"/>
              <a:gd name="connsiteY4915" fmla="*/ 2930656 h 5116136"/>
              <a:gd name="connsiteX4916" fmla="*/ 1676349 w 13061856"/>
              <a:gd name="connsiteY4916" fmla="*/ 2954916 h 5116136"/>
              <a:gd name="connsiteX4917" fmla="*/ 1629179 w 13061856"/>
              <a:gd name="connsiteY4917" fmla="*/ 2943025 h 5116136"/>
              <a:gd name="connsiteX4918" fmla="*/ 1657602 w 13061856"/>
              <a:gd name="connsiteY4918" fmla="*/ 2943501 h 5116136"/>
              <a:gd name="connsiteX4919" fmla="*/ 1635226 w 13061856"/>
              <a:gd name="connsiteY4919" fmla="*/ 2965380 h 5116136"/>
              <a:gd name="connsiteX4920" fmla="*/ 1586848 w 13061856"/>
              <a:gd name="connsiteY4920" fmla="*/ 2959197 h 5116136"/>
              <a:gd name="connsiteX4921" fmla="*/ 1609828 w 13061856"/>
              <a:gd name="connsiteY4921" fmla="*/ 2937792 h 5116136"/>
              <a:gd name="connsiteX4922" fmla="*/ 1568705 w 13061856"/>
              <a:gd name="connsiteY4922" fmla="*/ 2902354 h 5116136"/>
              <a:gd name="connsiteX4923" fmla="*/ 1599547 w 13061856"/>
              <a:gd name="connsiteY4923" fmla="*/ 2903068 h 5116136"/>
              <a:gd name="connsiteX4924" fmla="*/ 1615270 w 13061856"/>
              <a:gd name="connsiteY4924" fmla="*/ 2932084 h 5116136"/>
              <a:gd name="connsiteX4925" fmla="*/ 1658206 w 13061856"/>
              <a:gd name="connsiteY4925" fmla="*/ 2932084 h 5116136"/>
              <a:gd name="connsiteX4926" fmla="*/ 1666673 w 13061856"/>
              <a:gd name="connsiteY4926" fmla="*/ 2909015 h 5116136"/>
              <a:gd name="connsiteX4927" fmla="*/ 1633412 w 13061856"/>
              <a:gd name="connsiteY4927" fmla="*/ 2907587 h 5116136"/>
              <a:gd name="connsiteX4928" fmla="*/ 1633412 w 13061856"/>
              <a:gd name="connsiteY4928" fmla="*/ 2867868 h 5116136"/>
              <a:gd name="connsiteX4929" fmla="*/ 1614665 w 13061856"/>
              <a:gd name="connsiteY4929" fmla="*/ 2860258 h 5116136"/>
              <a:gd name="connsiteX4930" fmla="*/ 1591080 w 13061856"/>
              <a:gd name="connsiteY4930" fmla="*/ 2890464 h 5116136"/>
              <a:gd name="connsiteX4931" fmla="*/ 1599547 w 13061856"/>
              <a:gd name="connsiteY4931" fmla="*/ 2861447 h 5116136"/>
              <a:gd name="connsiteX4932" fmla="*/ 1578381 w 13061856"/>
              <a:gd name="connsiteY4932" fmla="*/ 2861447 h 5116136"/>
              <a:gd name="connsiteX4933" fmla="*/ 1516092 w 13061856"/>
              <a:gd name="connsiteY4933" fmla="*/ 2862161 h 5116136"/>
              <a:gd name="connsiteX4934" fmla="*/ 1530001 w 13061856"/>
              <a:gd name="connsiteY4934" fmla="*/ 2903068 h 5116136"/>
              <a:gd name="connsiteX4935" fmla="*/ 1552377 w 13061856"/>
              <a:gd name="connsiteY4935" fmla="*/ 2890938 h 5116136"/>
              <a:gd name="connsiteX4936" fmla="*/ 1557820 w 13061856"/>
              <a:gd name="connsiteY4936" fmla="*/ 2924949 h 5116136"/>
              <a:gd name="connsiteX4937" fmla="*/ 1545119 w 13061856"/>
              <a:gd name="connsiteY4937" fmla="*/ 2943501 h 5116136"/>
              <a:gd name="connsiteX4938" fmla="*/ 1453804 w 13061856"/>
              <a:gd name="connsiteY4938" fmla="*/ 2902354 h 5116136"/>
              <a:gd name="connsiteX4939" fmla="*/ 1346763 w 13061856"/>
              <a:gd name="connsiteY4939" fmla="*/ 2873101 h 5116136"/>
              <a:gd name="connsiteX4940" fmla="*/ 1425986 w 13061856"/>
              <a:gd name="connsiteY4940" fmla="*/ 2872387 h 5116136"/>
              <a:gd name="connsiteX4941" fmla="*/ 1492507 w 13061856"/>
              <a:gd name="connsiteY4941" fmla="*/ 2889749 h 5116136"/>
              <a:gd name="connsiteX4942" fmla="*/ 1482832 w 13061856"/>
              <a:gd name="connsiteY4942" fmla="*/ 2855026 h 5116136"/>
              <a:gd name="connsiteX4943" fmla="*/ 1469527 w 13061856"/>
              <a:gd name="connsiteY4943" fmla="*/ 2873576 h 5116136"/>
              <a:gd name="connsiteX4944" fmla="*/ 1445337 w 13061856"/>
              <a:gd name="connsiteY4944" fmla="*/ 2873576 h 5116136"/>
              <a:gd name="connsiteX4945" fmla="*/ 1449570 w 13061856"/>
              <a:gd name="connsiteY4945" fmla="*/ 2850270 h 5116136"/>
              <a:gd name="connsiteX4946" fmla="*/ 1298385 w 13061856"/>
              <a:gd name="connsiteY4946" fmla="*/ 2843609 h 5116136"/>
              <a:gd name="connsiteX4947" fmla="*/ 1294151 w 13061856"/>
              <a:gd name="connsiteY4947" fmla="*/ 2878809 h 5116136"/>
              <a:gd name="connsiteX4948" fmla="*/ 1274194 w 13061856"/>
              <a:gd name="connsiteY4948" fmla="*/ 2885230 h 5116136"/>
              <a:gd name="connsiteX4949" fmla="*/ 1279033 w 13061856"/>
              <a:gd name="connsiteY4949" fmla="*/ 2843609 h 5116136"/>
              <a:gd name="connsiteX4950" fmla="*/ 1228235 w 13061856"/>
              <a:gd name="connsiteY4950" fmla="*/ 2849318 h 5116136"/>
              <a:gd name="connsiteX4951" fmla="*/ 1213721 w 13061856"/>
              <a:gd name="connsiteY4951" fmla="*/ 2810551 h 5116136"/>
              <a:gd name="connsiteX4952" fmla="*/ 1153246 w 13061856"/>
              <a:gd name="connsiteY4952" fmla="*/ 2815307 h 5116136"/>
              <a:gd name="connsiteX4953" fmla="*/ 1142361 w 13061856"/>
              <a:gd name="connsiteY4953" fmla="*/ 2844085 h 5116136"/>
              <a:gd name="connsiteX4954" fmla="*/ 1124218 w 13061856"/>
              <a:gd name="connsiteY4954" fmla="*/ 2820540 h 5116136"/>
              <a:gd name="connsiteX4955" fmla="*/ 1124823 w 13061856"/>
              <a:gd name="connsiteY4955" fmla="*/ 2850270 h 5116136"/>
              <a:gd name="connsiteX4956" fmla="*/ 1067978 w 13061856"/>
              <a:gd name="connsiteY4956" fmla="*/ 2839329 h 5116136"/>
              <a:gd name="connsiteX4957" fmla="*/ 1076444 w 13061856"/>
              <a:gd name="connsiteY4957" fmla="*/ 2816259 h 5116136"/>
              <a:gd name="connsiteX4958" fmla="*/ 1014760 w 13061856"/>
              <a:gd name="connsiteY4958" fmla="*/ 2808649 h 5116136"/>
              <a:gd name="connsiteX4959" fmla="*/ 1025646 w 13061856"/>
              <a:gd name="connsiteY4959" fmla="*/ 2822205 h 5116136"/>
              <a:gd name="connsiteX4960" fmla="*/ 996014 w 13061856"/>
              <a:gd name="connsiteY4960" fmla="*/ 2833145 h 5116136"/>
              <a:gd name="connsiteX4961" fmla="*/ 1002060 w 13061856"/>
              <a:gd name="connsiteY4961" fmla="*/ 2822205 h 5116136"/>
              <a:gd name="connsiteX4962" fmla="*/ 830313 w 13061856"/>
              <a:gd name="connsiteY4962" fmla="*/ 2799135 h 5116136"/>
              <a:gd name="connsiteX4963" fmla="*/ 755325 w 13061856"/>
              <a:gd name="connsiteY4963" fmla="*/ 2768930 h 5116136"/>
              <a:gd name="connsiteX4964" fmla="*/ 637400 w 13061856"/>
              <a:gd name="connsiteY4964" fmla="*/ 2765124 h 5116136"/>
              <a:gd name="connsiteX4965" fmla="*/ 741416 w 13061856"/>
              <a:gd name="connsiteY4965" fmla="*/ 2757990 h 5116136"/>
              <a:gd name="connsiteX4966" fmla="*/ 751696 w 13061856"/>
              <a:gd name="connsiteY4966" fmla="*/ 2747050 h 5116136"/>
              <a:gd name="connsiteX4967" fmla="*/ 679732 w 13061856"/>
              <a:gd name="connsiteY4967" fmla="*/ 2746574 h 5116136"/>
              <a:gd name="connsiteX4968" fmla="*/ 690617 w 13061856"/>
              <a:gd name="connsiteY4968" fmla="*/ 2718272 h 5116136"/>
              <a:gd name="connsiteX4969" fmla="*/ 651309 w 13061856"/>
              <a:gd name="connsiteY4969" fmla="*/ 2740153 h 5116136"/>
              <a:gd name="connsiteX4970" fmla="*/ 671266 w 13061856"/>
              <a:gd name="connsiteY4970" fmla="*/ 2718272 h 5116136"/>
              <a:gd name="connsiteX4971" fmla="*/ 575113 w 13061856"/>
              <a:gd name="connsiteY4971" fmla="*/ 2723980 h 5116136"/>
              <a:gd name="connsiteX4972" fmla="*/ 590231 w 13061856"/>
              <a:gd name="connsiteY4972" fmla="*/ 2752758 h 5116136"/>
              <a:gd name="connsiteX4973" fmla="*/ 567250 w 13061856"/>
              <a:gd name="connsiteY4973" fmla="*/ 2734920 h 5116136"/>
              <a:gd name="connsiteX4974" fmla="*/ 561203 w 13061856"/>
              <a:gd name="connsiteY4974" fmla="*/ 2752282 h 5116136"/>
              <a:gd name="connsiteX4975" fmla="*/ 472306 w 13061856"/>
              <a:gd name="connsiteY4975" fmla="*/ 2677127 h 5116136"/>
              <a:gd name="connsiteX4976" fmla="*/ 405179 w 13061856"/>
              <a:gd name="connsiteY4976" fmla="*/ 2665711 h 5116136"/>
              <a:gd name="connsiteX4977" fmla="*/ 391874 w 13061856"/>
              <a:gd name="connsiteY4977" fmla="*/ 2688542 h 5116136"/>
              <a:gd name="connsiteX4978" fmla="*/ 329586 w 13061856"/>
              <a:gd name="connsiteY4978" fmla="*/ 2689257 h 5116136"/>
              <a:gd name="connsiteX4979" fmla="*/ 325958 w 13061856"/>
              <a:gd name="connsiteY4979" fmla="*/ 2666662 h 5116136"/>
              <a:gd name="connsiteX4980" fmla="*/ 306606 w 13061856"/>
              <a:gd name="connsiteY4980" fmla="*/ 2671419 h 5116136"/>
              <a:gd name="connsiteX4981" fmla="*/ 283625 w 13061856"/>
              <a:gd name="connsiteY4981" fmla="*/ 2694964 h 5116136"/>
              <a:gd name="connsiteX4982" fmla="*/ 273950 w 13061856"/>
              <a:gd name="connsiteY4982" fmla="*/ 2660478 h 5116136"/>
              <a:gd name="connsiteX4983" fmla="*/ 241898 w 13061856"/>
              <a:gd name="connsiteY4983" fmla="*/ 2677602 h 5116136"/>
              <a:gd name="connsiteX4984" fmla="*/ 231013 w 13061856"/>
              <a:gd name="connsiteY4984" fmla="*/ 2654533 h 5116136"/>
              <a:gd name="connsiteX4985" fmla="*/ 171143 w 13061856"/>
              <a:gd name="connsiteY4985" fmla="*/ 2649300 h 5116136"/>
              <a:gd name="connsiteX4986" fmla="*/ 179609 w 13061856"/>
              <a:gd name="connsiteY4986" fmla="*/ 2666186 h 5116136"/>
              <a:gd name="connsiteX4987" fmla="*/ 141511 w 13061856"/>
              <a:gd name="connsiteY4987" fmla="*/ 2625040 h 5116136"/>
              <a:gd name="connsiteX4988" fmla="*/ 71361 w 13061856"/>
              <a:gd name="connsiteY4988" fmla="*/ 2620998 h 5116136"/>
              <a:gd name="connsiteX4989" fmla="*/ 91317 w 13061856"/>
              <a:gd name="connsiteY4989" fmla="*/ 2620998 h 5116136"/>
              <a:gd name="connsiteX4990" fmla="*/ 89503 w 13061856"/>
              <a:gd name="connsiteY4990" fmla="*/ 2603160 h 5116136"/>
              <a:gd name="connsiteX4991" fmla="*/ 66523 w 13061856"/>
              <a:gd name="connsiteY4991" fmla="*/ 2591030 h 5116136"/>
              <a:gd name="connsiteX4992" fmla="*/ 47171 w 13061856"/>
              <a:gd name="connsiteY4992" fmla="*/ 2591506 h 5116136"/>
              <a:gd name="connsiteX4993" fmla="*/ 131231 w 13061856"/>
              <a:gd name="connsiteY4993" fmla="*/ 2590556 h 5116136"/>
              <a:gd name="connsiteX4994" fmla="*/ 151187 w 13061856"/>
              <a:gd name="connsiteY4994" fmla="*/ 2619808 h 5116136"/>
              <a:gd name="connsiteX4995" fmla="*/ 154815 w 13061856"/>
              <a:gd name="connsiteY4995" fmla="*/ 2596739 h 5116136"/>
              <a:gd name="connsiteX4996" fmla="*/ 249155 w 13061856"/>
              <a:gd name="connsiteY4996" fmla="*/ 2624566 h 5116136"/>
              <a:gd name="connsiteX4997" fmla="*/ 255203 w 13061856"/>
              <a:gd name="connsiteY4997" fmla="*/ 2603160 h 5116136"/>
              <a:gd name="connsiteX4998" fmla="*/ 382803 w 13061856"/>
              <a:gd name="connsiteY4998" fmla="*/ 2635981 h 5116136"/>
              <a:gd name="connsiteX4999" fmla="*/ 538223 w 13061856"/>
              <a:gd name="connsiteY4999" fmla="*/ 2653342 h 5116136"/>
              <a:gd name="connsiteX5000" fmla="*/ 575716 w 13061856"/>
              <a:gd name="connsiteY5000" fmla="*/ 2669991 h 5116136"/>
              <a:gd name="connsiteX5001" fmla="*/ 581159 w 13061856"/>
              <a:gd name="connsiteY5001" fmla="*/ 2700671 h 5116136"/>
              <a:gd name="connsiteX5002" fmla="*/ 595672 w 13061856"/>
              <a:gd name="connsiteY5002" fmla="*/ 2699721 h 5116136"/>
              <a:gd name="connsiteX5003" fmla="*/ 596278 w 13061856"/>
              <a:gd name="connsiteY5003" fmla="*/ 2688067 h 5116136"/>
              <a:gd name="connsiteX5004" fmla="*/ 769234 w 13061856"/>
              <a:gd name="connsiteY5004" fmla="*/ 2688542 h 5116136"/>
              <a:gd name="connsiteX5005" fmla="*/ 676709 w 13061856"/>
              <a:gd name="connsiteY5005" fmla="*/ 2631225 h 5116136"/>
              <a:gd name="connsiteX5006" fmla="*/ 660381 w 13061856"/>
              <a:gd name="connsiteY5006" fmla="*/ 2654057 h 5116136"/>
              <a:gd name="connsiteX5007" fmla="*/ 648286 w 13061856"/>
              <a:gd name="connsiteY5007" fmla="*/ 2625040 h 5116136"/>
              <a:gd name="connsiteX5008" fmla="*/ 613815 w 13061856"/>
              <a:gd name="connsiteY5008" fmla="*/ 2635981 h 5116136"/>
              <a:gd name="connsiteX5009" fmla="*/ 633772 w 13061856"/>
              <a:gd name="connsiteY5009" fmla="*/ 2624090 h 5116136"/>
              <a:gd name="connsiteX5010" fmla="*/ 595672 w 13061856"/>
              <a:gd name="connsiteY5010" fmla="*/ 2618858 h 5116136"/>
              <a:gd name="connsiteX5011" fmla="*/ 589625 w 13061856"/>
              <a:gd name="connsiteY5011" fmla="*/ 2590556 h 5116136"/>
              <a:gd name="connsiteX5012" fmla="*/ 627724 w 13061856"/>
              <a:gd name="connsiteY5012" fmla="*/ 2607203 h 5116136"/>
              <a:gd name="connsiteX5013" fmla="*/ 708760 w 13061856"/>
              <a:gd name="connsiteY5013" fmla="*/ 2618143 h 5116136"/>
              <a:gd name="connsiteX5014" fmla="*/ 714203 w 13061856"/>
              <a:gd name="connsiteY5014" fmla="*/ 2600781 h 5116136"/>
              <a:gd name="connsiteX5015" fmla="*/ 638006 w 13061856"/>
              <a:gd name="connsiteY5015" fmla="*/ 2548935 h 5116136"/>
              <a:gd name="connsiteX5016" fmla="*/ 647681 w 13061856"/>
              <a:gd name="connsiteY5016" fmla="*/ 2543702 h 5116136"/>
              <a:gd name="connsiteX5017" fmla="*/ 690013 w 13061856"/>
              <a:gd name="connsiteY5017" fmla="*/ 2567247 h 5116136"/>
              <a:gd name="connsiteX5018" fmla="*/ 726903 w 13061856"/>
              <a:gd name="connsiteY5018" fmla="*/ 2554642 h 5116136"/>
              <a:gd name="connsiteX5019" fmla="*/ 784958 w 13061856"/>
              <a:gd name="connsiteY5019" fmla="*/ 2582944 h 5116136"/>
              <a:gd name="connsiteX5020" fmla="*/ 783748 w 13061856"/>
              <a:gd name="connsiteY5020" fmla="*/ 2567247 h 5116136"/>
              <a:gd name="connsiteX5021" fmla="*/ 821242 w 13061856"/>
              <a:gd name="connsiteY5021" fmla="*/ 2618143 h 5116136"/>
              <a:gd name="connsiteX5022" fmla="*/ 832128 w 13061856"/>
              <a:gd name="connsiteY5022" fmla="*/ 2595073 h 5116136"/>
              <a:gd name="connsiteX5023" fmla="*/ 850875 w 13061856"/>
              <a:gd name="connsiteY5023" fmla="*/ 2606490 h 5116136"/>
              <a:gd name="connsiteX5024" fmla="*/ 840594 w 13061856"/>
              <a:gd name="connsiteY5024" fmla="*/ 2617430 h 5116136"/>
              <a:gd name="connsiteX5025" fmla="*/ 877483 w 13061856"/>
              <a:gd name="connsiteY5025" fmla="*/ 2600781 h 5116136"/>
              <a:gd name="connsiteX5026" fmla="*/ 912559 w 13061856"/>
              <a:gd name="connsiteY5026" fmla="*/ 2629798 h 5116136"/>
              <a:gd name="connsiteX5027" fmla="*/ 898649 w 13061856"/>
              <a:gd name="connsiteY5027" fmla="*/ 2577237 h 5116136"/>
              <a:gd name="connsiteX5028" fmla="*/ 882322 w 13061856"/>
              <a:gd name="connsiteY5028" fmla="*/ 2559874 h 5116136"/>
              <a:gd name="connsiteX5029" fmla="*/ 878693 w 13061856"/>
              <a:gd name="connsiteY5029" fmla="*/ 2589128 h 5116136"/>
              <a:gd name="connsiteX5030" fmla="*/ 746254 w 13061856"/>
              <a:gd name="connsiteY5030" fmla="*/ 2553929 h 5116136"/>
              <a:gd name="connsiteX5031" fmla="*/ 794028 w 13061856"/>
              <a:gd name="connsiteY5031" fmla="*/ 2508265 h 5116136"/>
              <a:gd name="connsiteX5032" fmla="*/ 827290 w 13061856"/>
              <a:gd name="connsiteY5032" fmla="*/ 2519205 h 5116136"/>
              <a:gd name="connsiteX5033" fmla="*/ 825475 w 13061856"/>
              <a:gd name="connsiteY5033" fmla="*/ 2503033 h 5116136"/>
              <a:gd name="connsiteX5034" fmla="*/ 870227 w 13061856"/>
              <a:gd name="connsiteY5034" fmla="*/ 2525151 h 5116136"/>
              <a:gd name="connsiteX5035" fmla="*/ 911350 w 13061856"/>
              <a:gd name="connsiteY5035" fmla="*/ 2520394 h 5116136"/>
              <a:gd name="connsiteX5036" fmla="*/ 817009 w 13061856"/>
              <a:gd name="connsiteY5036" fmla="*/ 2526102 h 5116136"/>
              <a:gd name="connsiteX5037" fmla="*/ 987546 w 13061856"/>
              <a:gd name="connsiteY5037" fmla="*/ 2566772 h 5116136"/>
              <a:gd name="connsiteX5038" fmla="*/ 977870 w 13061856"/>
              <a:gd name="connsiteY5038" fmla="*/ 2526102 h 5116136"/>
              <a:gd name="connsiteX5039" fmla="*/ 953076 w 13061856"/>
              <a:gd name="connsiteY5039" fmla="*/ 2541799 h 5116136"/>
              <a:gd name="connsiteX5040" fmla="*/ 963357 w 13061856"/>
              <a:gd name="connsiteY5040" fmla="*/ 2530859 h 5116136"/>
              <a:gd name="connsiteX5041" fmla="*/ 910744 w 13061856"/>
              <a:gd name="connsiteY5041" fmla="*/ 2530383 h 5116136"/>
              <a:gd name="connsiteX5042" fmla="*/ 940982 w 13061856"/>
              <a:gd name="connsiteY5042" fmla="*/ 2503033 h 5116136"/>
              <a:gd name="connsiteX5043" fmla="*/ 864783 w 13061856"/>
              <a:gd name="connsiteY5043" fmla="*/ 2491141 h 5116136"/>
              <a:gd name="connsiteX5044" fmla="*/ 790400 w 13061856"/>
              <a:gd name="connsiteY5044" fmla="*/ 2496373 h 5116136"/>
              <a:gd name="connsiteX5045" fmla="*/ 817009 w 13061856"/>
              <a:gd name="connsiteY5045" fmla="*/ 2439056 h 5116136"/>
              <a:gd name="connsiteX5046" fmla="*/ 859342 w 13061856"/>
              <a:gd name="connsiteY5046" fmla="*/ 2466644 h 5116136"/>
              <a:gd name="connsiteX5047" fmla="*/ 894416 w 13061856"/>
              <a:gd name="connsiteY5047" fmla="*/ 2443575 h 5116136"/>
              <a:gd name="connsiteX5048" fmla="*/ 856317 w 13061856"/>
              <a:gd name="connsiteY5048" fmla="*/ 2432634 h 5116136"/>
              <a:gd name="connsiteX5049" fmla="*/ 869017 w 13061856"/>
              <a:gd name="connsiteY5049" fmla="*/ 2421694 h 5116136"/>
              <a:gd name="connsiteX5050" fmla="*/ 841803 w 13061856"/>
              <a:gd name="connsiteY5050" fmla="*/ 2397435 h 5116136"/>
              <a:gd name="connsiteX5051" fmla="*/ 908325 w 13061856"/>
              <a:gd name="connsiteY5051" fmla="*/ 2408851 h 5116136"/>
              <a:gd name="connsiteX5052" fmla="*/ 897440 w 13061856"/>
              <a:gd name="connsiteY5052" fmla="*/ 2380549 h 5116136"/>
              <a:gd name="connsiteX5053" fmla="*/ 874459 w 13061856"/>
              <a:gd name="connsiteY5053" fmla="*/ 2362474 h 5116136"/>
              <a:gd name="connsiteX5054" fmla="*/ 859342 w 13061856"/>
              <a:gd name="connsiteY5054" fmla="*/ 2381262 h 5116136"/>
              <a:gd name="connsiteX5055" fmla="*/ 835757 w 13061856"/>
              <a:gd name="connsiteY5055" fmla="*/ 2369133 h 5116136"/>
              <a:gd name="connsiteX5056" fmla="*/ 910744 w 13061856"/>
              <a:gd name="connsiteY5056" fmla="*/ 2363901 h 5116136"/>
              <a:gd name="connsiteX5057" fmla="*/ 855107 w 13061856"/>
              <a:gd name="connsiteY5057" fmla="*/ 2333220 h 5116136"/>
              <a:gd name="connsiteX5058" fmla="*/ 812171 w 13061856"/>
              <a:gd name="connsiteY5058" fmla="*/ 2321804 h 5116136"/>
              <a:gd name="connsiteX5059" fmla="*/ 788587 w 13061856"/>
              <a:gd name="connsiteY5059" fmla="*/ 2321804 h 5116136"/>
              <a:gd name="connsiteX5060" fmla="*/ 735369 w 13061856"/>
              <a:gd name="connsiteY5060" fmla="*/ 2311340 h 5116136"/>
              <a:gd name="connsiteX5061" fmla="*/ 764397 w 13061856"/>
              <a:gd name="connsiteY5061" fmla="*/ 2281611 h 5116136"/>
              <a:gd name="connsiteX5062" fmla="*/ 740811 w 13061856"/>
              <a:gd name="connsiteY5062" fmla="*/ 2269719 h 5116136"/>
              <a:gd name="connsiteX5063" fmla="*/ 732344 w 13061856"/>
              <a:gd name="connsiteY5063" fmla="*/ 2292789 h 5116136"/>
              <a:gd name="connsiteX5064" fmla="*/ 628934 w 13061856"/>
              <a:gd name="connsiteY5064" fmla="*/ 2293978 h 5116136"/>
              <a:gd name="connsiteX5065" fmla="*/ 623491 w 13061856"/>
              <a:gd name="connsiteY5065" fmla="*/ 2269719 h 5116136"/>
              <a:gd name="connsiteX5066" fmla="*/ 667032 w 13061856"/>
              <a:gd name="connsiteY5066" fmla="*/ 2259254 h 5116136"/>
              <a:gd name="connsiteX5067" fmla="*/ 679127 w 13061856"/>
              <a:gd name="connsiteY5067" fmla="*/ 2212876 h 5116136"/>
              <a:gd name="connsiteX5068" fmla="*/ 646471 w 13061856"/>
              <a:gd name="connsiteY5068" fmla="*/ 2194564 h 5116136"/>
              <a:gd name="connsiteX5069" fmla="*/ 746859 w 13061856"/>
              <a:gd name="connsiteY5069" fmla="*/ 2200747 h 5116136"/>
              <a:gd name="connsiteX5070" fmla="*/ 780119 w 13061856"/>
              <a:gd name="connsiteY5070" fmla="*/ 2171969 h 5116136"/>
              <a:gd name="connsiteX5071" fmla="*/ 764397 w 13061856"/>
              <a:gd name="connsiteY5071" fmla="*/ 2142953 h 5116136"/>
              <a:gd name="connsiteX5072" fmla="*/ 817614 w 13061856"/>
              <a:gd name="connsiteY5072" fmla="*/ 2137245 h 5116136"/>
              <a:gd name="connsiteX5073" fmla="*/ 817009 w 13061856"/>
              <a:gd name="connsiteY5073" fmla="*/ 2159363 h 5116136"/>
              <a:gd name="connsiteX5074" fmla="*/ 925863 w 13061856"/>
              <a:gd name="connsiteY5074" fmla="*/ 2182196 h 5116136"/>
              <a:gd name="connsiteX5075" fmla="*/ 922235 w 13061856"/>
              <a:gd name="connsiteY5075" fmla="*/ 2160315 h 5116136"/>
              <a:gd name="connsiteX5076" fmla="*/ 958519 w 13061856"/>
              <a:gd name="connsiteY5076" fmla="*/ 2119884 h 5116136"/>
              <a:gd name="connsiteX5077" fmla="*/ 973638 w 13061856"/>
              <a:gd name="connsiteY5077" fmla="*/ 2142953 h 5116136"/>
              <a:gd name="connsiteX5078" fmla="*/ 1029274 w 13061856"/>
              <a:gd name="connsiteY5078" fmla="*/ 2089917 h 5116136"/>
              <a:gd name="connsiteX5079" fmla="*/ 1006899 w 13061856"/>
              <a:gd name="connsiteY5079" fmla="*/ 2102046 h 5116136"/>
              <a:gd name="connsiteX5080" fmla="*/ 1006294 w 13061856"/>
              <a:gd name="connsiteY5080" fmla="*/ 2118219 h 5116136"/>
              <a:gd name="connsiteX5081" fmla="*/ 1069187 w 13061856"/>
              <a:gd name="connsiteY5081" fmla="*/ 2119408 h 5116136"/>
              <a:gd name="connsiteX5082" fmla="*/ 1081887 w 13061856"/>
              <a:gd name="connsiteY5082" fmla="*/ 2136295 h 5116136"/>
              <a:gd name="connsiteX5083" fmla="*/ 1062534 w 13061856"/>
              <a:gd name="connsiteY5083" fmla="*/ 2142478 h 5116136"/>
              <a:gd name="connsiteX5084" fmla="*/ 1095191 w 13061856"/>
              <a:gd name="connsiteY5084" fmla="*/ 2153418 h 5116136"/>
              <a:gd name="connsiteX5085" fmla="*/ 1101843 w 13061856"/>
              <a:gd name="connsiteY5085" fmla="*/ 2130348 h 5116136"/>
              <a:gd name="connsiteX5086" fmla="*/ 1083096 w 13061856"/>
              <a:gd name="connsiteY5086" fmla="*/ 2124640 h 5116136"/>
              <a:gd name="connsiteX5087" fmla="*/ 1105472 w 13061856"/>
              <a:gd name="connsiteY5087" fmla="*/ 2154132 h 5116136"/>
              <a:gd name="connsiteX5088" fmla="*/ 1180460 w 13061856"/>
              <a:gd name="connsiteY5088" fmla="*/ 2140575 h 5116136"/>
              <a:gd name="connsiteX5089" fmla="*/ 1165946 w 13061856"/>
              <a:gd name="connsiteY5089" fmla="*/ 2183148 h 5116136"/>
              <a:gd name="connsiteX5090" fmla="*/ 1106682 w 13061856"/>
              <a:gd name="connsiteY5090" fmla="*/ 2170305 h 5116136"/>
              <a:gd name="connsiteX5091" fmla="*/ 1110310 w 13061856"/>
              <a:gd name="connsiteY5091" fmla="*/ 2194564 h 5116136"/>
              <a:gd name="connsiteX5092" fmla="*/ 1097004 w 13061856"/>
              <a:gd name="connsiteY5092" fmla="*/ 2171256 h 5116136"/>
              <a:gd name="connsiteX5093" fmla="*/ 1073420 w 13061856"/>
              <a:gd name="connsiteY5093" fmla="*/ 2171256 h 5116136"/>
              <a:gd name="connsiteX5094" fmla="*/ 1038950 w 13061856"/>
              <a:gd name="connsiteY5094" fmla="*/ 2223817 h 5116136"/>
              <a:gd name="connsiteX5095" fmla="*/ 1058302 w 13061856"/>
              <a:gd name="connsiteY5095" fmla="*/ 2257351 h 5116136"/>
              <a:gd name="connsiteX5096" fmla="*/ 1253030 w 13061856"/>
              <a:gd name="connsiteY5096" fmla="*/ 2298021 h 5116136"/>
              <a:gd name="connsiteX5097" fmla="*/ 1213116 w 13061856"/>
              <a:gd name="connsiteY5097" fmla="*/ 2322280 h 5116136"/>
              <a:gd name="connsiteX5098" fmla="*/ 1251214 w 13061856"/>
              <a:gd name="connsiteY5098" fmla="*/ 2333220 h 5116136"/>
              <a:gd name="connsiteX5099" fmla="*/ 1276009 w 13061856"/>
              <a:gd name="connsiteY5099" fmla="*/ 2363425 h 5116136"/>
              <a:gd name="connsiteX5100" fmla="*/ 1262704 w 13061856"/>
              <a:gd name="connsiteY5100" fmla="*/ 2380073 h 5116136"/>
              <a:gd name="connsiteX5101" fmla="*/ 1285685 w 13061856"/>
              <a:gd name="connsiteY5101" fmla="*/ 2437153 h 5116136"/>
              <a:gd name="connsiteX5102" fmla="*/ 1262704 w 13061856"/>
              <a:gd name="connsiteY5102" fmla="*/ 2425737 h 5116136"/>
              <a:gd name="connsiteX5103" fmla="*/ 1303223 w 13061856"/>
              <a:gd name="connsiteY5103" fmla="*/ 2466644 h 5116136"/>
              <a:gd name="connsiteX5104" fmla="*/ 1237910 w 13061856"/>
              <a:gd name="connsiteY5104" fmla="*/ 2478774 h 5116136"/>
              <a:gd name="connsiteX5105" fmla="*/ 1219768 w 13061856"/>
              <a:gd name="connsiteY5105" fmla="*/ 2501605 h 5116136"/>
              <a:gd name="connsiteX5106" fmla="*/ 1280243 w 13061856"/>
              <a:gd name="connsiteY5106" fmla="*/ 2496849 h 5116136"/>
              <a:gd name="connsiteX5107" fmla="*/ 1269962 w 13061856"/>
              <a:gd name="connsiteY5107" fmla="*/ 2501605 h 5116136"/>
              <a:gd name="connsiteX5108" fmla="*/ 1279638 w 13061856"/>
              <a:gd name="connsiteY5108" fmla="*/ 2506600 h 5116136"/>
              <a:gd name="connsiteX5109" fmla="*/ 1266334 w 13061856"/>
              <a:gd name="connsiteY5109" fmla="*/ 2525151 h 5116136"/>
              <a:gd name="connsiteX5110" fmla="*/ 1295967 w 13061856"/>
              <a:gd name="connsiteY5110" fmla="*/ 2519918 h 5116136"/>
              <a:gd name="connsiteX5111" fmla="*/ 1318342 w 13061856"/>
              <a:gd name="connsiteY5111" fmla="*/ 2535615 h 5116136"/>
              <a:gd name="connsiteX5112" fmla="*/ 1299594 w 13061856"/>
              <a:gd name="connsiteY5112" fmla="*/ 2565582 h 5116136"/>
              <a:gd name="connsiteX5113" fmla="*/ 1289314 w 13061856"/>
              <a:gd name="connsiteY5113" fmla="*/ 2543227 h 5116136"/>
              <a:gd name="connsiteX5114" fmla="*/ 1142966 w 13061856"/>
              <a:gd name="connsiteY5114" fmla="*/ 2572004 h 5116136"/>
              <a:gd name="connsiteX5115" fmla="*/ 1152037 w 13061856"/>
              <a:gd name="connsiteY5115" fmla="*/ 2555118 h 5116136"/>
              <a:gd name="connsiteX5116" fmla="*/ 1133894 w 13061856"/>
              <a:gd name="connsiteY5116" fmla="*/ 2571291 h 5116136"/>
              <a:gd name="connsiteX5117" fmla="*/ 1066768 w 13061856"/>
              <a:gd name="connsiteY5117" fmla="*/ 2565582 h 5116136"/>
              <a:gd name="connsiteX5118" fmla="*/ 1024435 w 13061856"/>
              <a:gd name="connsiteY5118" fmla="*/ 2508265 h 5116136"/>
              <a:gd name="connsiteX5119" fmla="*/ 1002060 w 13061856"/>
              <a:gd name="connsiteY5119" fmla="*/ 2530383 h 5116136"/>
              <a:gd name="connsiteX5120" fmla="*/ 1067978 w 13061856"/>
              <a:gd name="connsiteY5120" fmla="*/ 2553929 h 5116136"/>
              <a:gd name="connsiteX5121" fmla="*/ 1021412 w 13061856"/>
              <a:gd name="connsiteY5121" fmla="*/ 2565582 h 5116136"/>
              <a:gd name="connsiteX5122" fmla="*/ 1203440 w 13061856"/>
              <a:gd name="connsiteY5122" fmla="*/ 2612911 h 5116136"/>
              <a:gd name="connsiteX5123" fmla="*/ 1185902 w 13061856"/>
              <a:gd name="connsiteY5123" fmla="*/ 2623138 h 5116136"/>
              <a:gd name="connsiteX5124" fmla="*/ 1228235 w 13061856"/>
              <a:gd name="connsiteY5124" fmla="*/ 2640738 h 5116136"/>
              <a:gd name="connsiteX5125" fmla="*/ 1266334 w 13061856"/>
              <a:gd name="connsiteY5125" fmla="*/ 2606490 h 5116136"/>
              <a:gd name="connsiteX5126" fmla="*/ 1236701 w 13061856"/>
              <a:gd name="connsiteY5126" fmla="*/ 2578188 h 5116136"/>
              <a:gd name="connsiteX5127" fmla="*/ 1289918 w 13061856"/>
              <a:gd name="connsiteY5127" fmla="*/ 2570577 h 5116136"/>
              <a:gd name="connsiteX5128" fmla="*/ 1398771 w 13061856"/>
              <a:gd name="connsiteY5128" fmla="*/ 2566058 h 5116136"/>
              <a:gd name="connsiteX5129" fmla="*/ 1392725 w 13061856"/>
              <a:gd name="connsiteY5129" fmla="*/ 2541799 h 5116136"/>
              <a:gd name="connsiteX5130" fmla="*/ 1470131 w 13061856"/>
              <a:gd name="connsiteY5130" fmla="*/ 2489238 h 5116136"/>
              <a:gd name="connsiteX5131" fmla="*/ 1449570 w 13061856"/>
              <a:gd name="connsiteY5131" fmla="*/ 2507313 h 5116136"/>
              <a:gd name="connsiteX5132" fmla="*/ 1493717 w 13061856"/>
              <a:gd name="connsiteY5132" fmla="*/ 2500655 h 5116136"/>
              <a:gd name="connsiteX5133" fmla="*/ 1487670 w 13061856"/>
              <a:gd name="connsiteY5133" fmla="*/ 2523962 h 5116136"/>
              <a:gd name="connsiteX5134" fmla="*/ 1525769 w 13061856"/>
              <a:gd name="connsiteY5134" fmla="*/ 2484006 h 5116136"/>
              <a:gd name="connsiteX5135" fmla="*/ 1564472 w 13061856"/>
              <a:gd name="connsiteY5135" fmla="*/ 2479487 h 5116136"/>
              <a:gd name="connsiteX5136" fmla="*/ 1474365 w 13061856"/>
              <a:gd name="connsiteY5136" fmla="*/ 2461412 h 5116136"/>
              <a:gd name="connsiteX5137" fmla="*/ 1440499 w 13061856"/>
              <a:gd name="connsiteY5137" fmla="*/ 2466644 h 5116136"/>
              <a:gd name="connsiteX5138" fmla="*/ 1427195 w 13061856"/>
              <a:gd name="connsiteY5138" fmla="*/ 2483530 h 5116136"/>
              <a:gd name="connsiteX5139" fmla="*/ 1412077 w 13061856"/>
              <a:gd name="connsiteY5139" fmla="*/ 2453802 h 5116136"/>
              <a:gd name="connsiteX5140" fmla="*/ 1436871 w 13061856"/>
              <a:gd name="connsiteY5140" fmla="*/ 2438342 h 5116136"/>
              <a:gd name="connsiteX5141" fmla="*/ 1449570 w 13061856"/>
              <a:gd name="connsiteY5141" fmla="*/ 2473066 h 5116136"/>
              <a:gd name="connsiteX5142" fmla="*/ 1449570 w 13061856"/>
              <a:gd name="connsiteY5142" fmla="*/ 2431445 h 5116136"/>
              <a:gd name="connsiteX5143" fmla="*/ 1469527 w 13061856"/>
              <a:gd name="connsiteY5143" fmla="*/ 2419316 h 5116136"/>
              <a:gd name="connsiteX5144" fmla="*/ 1525769 w 13061856"/>
              <a:gd name="connsiteY5144" fmla="*/ 2396959 h 5116136"/>
              <a:gd name="connsiteX5145" fmla="*/ 1402401 w 13061856"/>
              <a:gd name="connsiteY5145" fmla="*/ 2367706 h 5116136"/>
              <a:gd name="connsiteX5146" fmla="*/ 1399377 w 13061856"/>
              <a:gd name="connsiteY5146" fmla="*/ 2344161 h 5116136"/>
              <a:gd name="connsiteX5147" fmla="*/ 1361883 w 13061856"/>
              <a:gd name="connsiteY5147" fmla="*/ 2332744 h 5116136"/>
              <a:gd name="connsiteX5148" fmla="*/ 1384258 w 13061856"/>
              <a:gd name="connsiteY5148" fmla="*/ 2308961 h 5116136"/>
              <a:gd name="connsiteX5149" fmla="*/ 1341927 w 13061856"/>
              <a:gd name="connsiteY5149" fmla="*/ 2303253 h 5116136"/>
              <a:gd name="connsiteX5150" fmla="*/ 1304432 w 13061856"/>
              <a:gd name="connsiteY5150" fmla="*/ 2240704 h 5116136"/>
              <a:gd name="connsiteX5151" fmla="*/ 1190741 w 13061856"/>
              <a:gd name="connsiteY5151" fmla="*/ 2252833 h 5116136"/>
              <a:gd name="connsiteX5152" fmla="*/ 1133290 w 13061856"/>
              <a:gd name="connsiteY5152" fmla="*/ 2245936 h 5116136"/>
              <a:gd name="connsiteX5153" fmla="*/ 1126032 w 13061856"/>
              <a:gd name="connsiteY5153" fmla="*/ 2217633 h 5116136"/>
              <a:gd name="connsiteX5154" fmla="*/ 1290523 w 13061856"/>
              <a:gd name="connsiteY5154" fmla="*/ 2230001 h 5116136"/>
              <a:gd name="connsiteX5155" fmla="*/ 1294151 w 13061856"/>
              <a:gd name="connsiteY5155" fmla="*/ 2205979 h 5116136"/>
              <a:gd name="connsiteX5156" fmla="*/ 1332855 w 13061856"/>
              <a:gd name="connsiteY5156" fmla="*/ 2211211 h 5116136"/>
              <a:gd name="connsiteX5157" fmla="*/ 1256657 w 13061856"/>
              <a:gd name="connsiteY5157" fmla="*/ 2188856 h 5116136"/>
              <a:gd name="connsiteX5158" fmla="*/ 1242749 w 13061856"/>
              <a:gd name="connsiteY5158" fmla="*/ 2136295 h 5116136"/>
              <a:gd name="connsiteX5159" fmla="*/ 1265729 w 13061856"/>
              <a:gd name="connsiteY5159" fmla="*/ 2159839 h 5116136"/>
              <a:gd name="connsiteX5160" fmla="*/ 1393329 w 13061856"/>
              <a:gd name="connsiteY5160" fmla="*/ 2152942 h 5116136"/>
              <a:gd name="connsiteX5161" fmla="*/ 1399377 w 13061856"/>
              <a:gd name="connsiteY5161" fmla="*/ 2175537 h 5116136"/>
              <a:gd name="connsiteX5162" fmla="*/ 1416914 w 13061856"/>
              <a:gd name="connsiteY5162" fmla="*/ 2159363 h 5116136"/>
              <a:gd name="connsiteX5163" fmla="*/ 1428405 w 13061856"/>
              <a:gd name="connsiteY5163" fmla="*/ 2170305 h 5116136"/>
              <a:gd name="connsiteX5164" fmla="*/ 1441104 w 13061856"/>
              <a:gd name="connsiteY5164" fmla="*/ 2198606 h 5116136"/>
              <a:gd name="connsiteX5165" fmla="*/ 1456222 w 13061856"/>
              <a:gd name="connsiteY5165" fmla="*/ 2188380 h 5116136"/>
              <a:gd name="connsiteX5166" fmla="*/ 1440499 w 13061856"/>
              <a:gd name="connsiteY5166" fmla="*/ 2170780 h 5116136"/>
              <a:gd name="connsiteX5167" fmla="*/ 1488879 w 13061856"/>
              <a:gd name="connsiteY5167" fmla="*/ 2205027 h 5116136"/>
              <a:gd name="connsiteX5168" fmla="*/ 1470131 w 13061856"/>
              <a:gd name="connsiteY5168" fmla="*/ 2205504 h 5116136"/>
              <a:gd name="connsiteX5169" fmla="*/ 1493111 w 13061856"/>
              <a:gd name="connsiteY5169" fmla="*/ 2217157 h 5116136"/>
              <a:gd name="connsiteX5170" fmla="*/ 1493717 w 13061856"/>
              <a:gd name="connsiteY5170" fmla="*/ 2247125 h 5116136"/>
              <a:gd name="connsiteX5171" fmla="*/ 1507021 w 13061856"/>
              <a:gd name="connsiteY5171" fmla="*/ 2228098 h 5116136"/>
              <a:gd name="connsiteX5172" fmla="*/ 1517302 w 13061856"/>
              <a:gd name="connsiteY5172" fmla="*/ 2251168 h 5116136"/>
              <a:gd name="connsiteX5173" fmla="*/ 1418729 w 13061856"/>
              <a:gd name="connsiteY5173" fmla="*/ 2258779 h 5116136"/>
              <a:gd name="connsiteX5174" fmla="*/ 1412077 w 13061856"/>
              <a:gd name="connsiteY5174" fmla="*/ 2291600 h 5116136"/>
              <a:gd name="connsiteX5175" fmla="*/ 1479807 w 13061856"/>
              <a:gd name="connsiteY5175" fmla="*/ 2321091 h 5116136"/>
              <a:gd name="connsiteX5176" fmla="*/ 1490088 w 13061856"/>
              <a:gd name="connsiteY5176" fmla="*/ 2316096 h 5116136"/>
              <a:gd name="connsiteX5177" fmla="*/ 1494322 w 13061856"/>
              <a:gd name="connsiteY5177" fmla="*/ 2286367 h 5116136"/>
              <a:gd name="connsiteX5178" fmla="*/ 1517302 w 13061856"/>
              <a:gd name="connsiteY5178" fmla="*/ 2256875 h 5116136"/>
              <a:gd name="connsiteX5179" fmla="*/ 1574752 w 13061856"/>
              <a:gd name="connsiteY5179" fmla="*/ 2297308 h 5116136"/>
              <a:gd name="connsiteX5180" fmla="*/ 1569310 w 13061856"/>
              <a:gd name="connsiteY5180" fmla="*/ 2314670 h 5116136"/>
              <a:gd name="connsiteX5181" fmla="*/ 1611642 w 13061856"/>
              <a:gd name="connsiteY5181" fmla="*/ 2322756 h 5116136"/>
              <a:gd name="connsiteX5182" fmla="*/ 1606803 w 13061856"/>
              <a:gd name="connsiteY5182" fmla="*/ 2280659 h 5116136"/>
              <a:gd name="connsiteX5183" fmla="*/ 1518511 w 13061856"/>
              <a:gd name="connsiteY5183" fmla="*/ 2241417 h 5116136"/>
              <a:gd name="connsiteX5184" fmla="*/ 1573543 w 13061856"/>
              <a:gd name="connsiteY5184" fmla="*/ 2200272 h 5116136"/>
              <a:gd name="connsiteX5185" fmla="*/ 1574148 w 13061856"/>
              <a:gd name="connsiteY5185" fmla="*/ 2228098 h 5116136"/>
              <a:gd name="connsiteX5186" fmla="*/ 1603780 w 13061856"/>
              <a:gd name="connsiteY5186" fmla="*/ 2216443 h 5116136"/>
              <a:gd name="connsiteX5187" fmla="*/ 1598338 w 13061856"/>
              <a:gd name="connsiteY5187" fmla="*/ 2233806 h 5116136"/>
              <a:gd name="connsiteX5188" fmla="*/ 1630994 w 13061856"/>
              <a:gd name="connsiteY5188" fmla="*/ 2240704 h 5116136"/>
              <a:gd name="connsiteX5189" fmla="*/ 1648530 w 13061856"/>
              <a:gd name="connsiteY5189" fmla="*/ 2222866 h 5116136"/>
              <a:gd name="connsiteX5190" fmla="*/ 1597733 w 13061856"/>
              <a:gd name="connsiteY5190" fmla="*/ 2200272 h 5116136"/>
              <a:gd name="connsiteX5191" fmla="*/ 1622527 w 13061856"/>
              <a:gd name="connsiteY5191" fmla="*/ 2188856 h 5116136"/>
              <a:gd name="connsiteX5192" fmla="*/ 1625551 w 13061856"/>
              <a:gd name="connsiteY5192" fmla="*/ 2170780 h 5116136"/>
              <a:gd name="connsiteX5193" fmla="*/ 1622527 w 13061856"/>
              <a:gd name="connsiteY5193" fmla="*/ 2188856 h 5116136"/>
              <a:gd name="connsiteX5194" fmla="*/ 1545119 w 13061856"/>
              <a:gd name="connsiteY5194" fmla="*/ 2194088 h 5116136"/>
              <a:gd name="connsiteX5195" fmla="*/ 1537259 w 13061856"/>
              <a:gd name="connsiteY5195" fmla="*/ 2159363 h 5116136"/>
              <a:gd name="connsiteX5196" fmla="*/ 1626760 w 13061856"/>
              <a:gd name="connsiteY5196" fmla="*/ 2141527 h 5116136"/>
              <a:gd name="connsiteX5197" fmla="*/ 1626155 w 13061856"/>
              <a:gd name="connsiteY5197" fmla="*/ 2123451 h 5116136"/>
              <a:gd name="connsiteX5198" fmla="*/ 1655183 w 13061856"/>
              <a:gd name="connsiteY5198" fmla="*/ 2106089 h 5116136"/>
              <a:gd name="connsiteX5199" fmla="*/ 1691468 w 13061856"/>
              <a:gd name="connsiteY5199" fmla="*/ 2107278 h 5116136"/>
              <a:gd name="connsiteX5200" fmla="*/ 1436266 w 13061856"/>
              <a:gd name="connsiteY5200" fmla="*/ 2077074 h 5116136"/>
              <a:gd name="connsiteX5201" fmla="*/ 1399982 w 13061856"/>
              <a:gd name="connsiteY5201" fmla="*/ 2084208 h 5116136"/>
              <a:gd name="connsiteX5202" fmla="*/ 1395143 w 13061856"/>
              <a:gd name="connsiteY5202" fmla="*/ 2117743 h 5116136"/>
              <a:gd name="connsiteX5203" fmla="*/ 1380026 w 13061856"/>
              <a:gd name="connsiteY5203" fmla="*/ 2136295 h 5116136"/>
              <a:gd name="connsiteX5204" fmla="*/ 1362487 w 13061856"/>
              <a:gd name="connsiteY5204" fmla="*/ 2112511 h 5116136"/>
              <a:gd name="connsiteX5205" fmla="*/ 1326808 w 13061856"/>
              <a:gd name="connsiteY5205" fmla="*/ 2054004 h 5116136"/>
              <a:gd name="connsiteX5206" fmla="*/ 1342531 w 13061856"/>
              <a:gd name="connsiteY5206" fmla="*/ 2031647 h 5116136"/>
              <a:gd name="connsiteX5207" fmla="*/ 1277219 w 13061856"/>
              <a:gd name="connsiteY5207" fmla="*/ 2043540 h 5116136"/>
              <a:gd name="connsiteX5208" fmla="*/ 1299594 w 13061856"/>
              <a:gd name="connsiteY5208" fmla="*/ 2037831 h 5116136"/>
              <a:gd name="connsiteX5209" fmla="*/ 1300804 w 13061856"/>
              <a:gd name="connsiteY5209" fmla="*/ 2018805 h 5116136"/>
              <a:gd name="connsiteX5210" fmla="*/ 1289314 w 13061856"/>
              <a:gd name="connsiteY5210" fmla="*/ 2004297 h 5116136"/>
              <a:gd name="connsiteX5211" fmla="*/ 1304432 w 13061856"/>
              <a:gd name="connsiteY5211" fmla="*/ 2005723 h 5116136"/>
              <a:gd name="connsiteX5212" fmla="*/ 1303827 w 13061856"/>
              <a:gd name="connsiteY5212" fmla="*/ 2015949 h 5116136"/>
              <a:gd name="connsiteX5213" fmla="*/ 1366116 w 13061856"/>
              <a:gd name="connsiteY5213" fmla="*/ 2001918 h 5116136"/>
              <a:gd name="connsiteX5214" fmla="*/ 1317737 w 13061856"/>
              <a:gd name="connsiteY5214" fmla="*/ 2007864 h 5116136"/>
              <a:gd name="connsiteX5215" fmla="*/ 1281451 w 13061856"/>
              <a:gd name="connsiteY5215" fmla="*/ 1972665 h 5116136"/>
              <a:gd name="connsiteX5216" fmla="*/ 1290523 w 13061856"/>
              <a:gd name="connsiteY5216" fmla="*/ 1943648 h 5116136"/>
              <a:gd name="connsiteX5217" fmla="*/ 1310479 w 13061856"/>
              <a:gd name="connsiteY5217" fmla="*/ 1973141 h 5116136"/>
              <a:gd name="connsiteX5218" fmla="*/ 1337693 w 13061856"/>
              <a:gd name="connsiteY5218" fmla="*/ 1961725 h 5116136"/>
              <a:gd name="connsiteX5219" fmla="*/ 1343741 w 13061856"/>
              <a:gd name="connsiteY5219" fmla="*/ 1978373 h 5116136"/>
              <a:gd name="connsiteX5220" fmla="*/ 1384258 w 13061856"/>
              <a:gd name="connsiteY5220" fmla="*/ 1979562 h 5116136"/>
              <a:gd name="connsiteX5221" fmla="*/ 1386072 w 13061856"/>
              <a:gd name="connsiteY5221" fmla="*/ 1956017 h 5116136"/>
              <a:gd name="connsiteX5222" fmla="*/ 1513674 w 13061856"/>
              <a:gd name="connsiteY5222" fmla="*/ 1978849 h 5116136"/>
              <a:gd name="connsiteX5223" fmla="*/ 1565076 w 13061856"/>
              <a:gd name="connsiteY5223" fmla="*/ 2013097 h 5116136"/>
              <a:gd name="connsiteX5224" fmla="*/ 1551772 w 13061856"/>
              <a:gd name="connsiteY5224" fmla="*/ 1990027 h 5116136"/>
              <a:gd name="connsiteX5225" fmla="*/ 1527583 w 13061856"/>
              <a:gd name="connsiteY5225" fmla="*/ 1990027 h 5116136"/>
              <a:gd name="connsiteX5226" fmla="*/ 1578381 w 13061856"/>
              <a:gd name="connsiteY5226" fmla="*/ 1984081 h 5116136"/>
              <a:gd name="connsiteX5227" fmla="*/ 1575357 w 13061856"/>
              <a:gd name="connsiteY5227" fmla="*/ 2001918 h 5116136"/>
              <a:gd name="connsiteX5228" fmla="*/ 1632203 w 13061856"/>
              <a:gd name="connsiteY5228" fmla="*/ 2014762 h 5116136"/>
              <a:gd name="connsiteX5229" fmla="*/ 1679372 w 13061856"/>
              <a:gd name="connsiteY5229" fmla="*/ 1949357 h 5116136"/>
              <a:gd name="connsiteX5230" fmla="*/ 1663650 w 13061856"/>
              <a:gd name="connsiteY5230" fmla="*/ 1926288 h 5116136"/>
              <a:gd name="connsiteX5231" fmla="*/ 1669092 w 13061856"/>
              <a:gd name="connsiteY5231" fmla="*/ 1914871 h 5116136"/>
              <a:gd name="connsiteX5232" fmla="*/ 1692677 w 13061856"/>
              <a:gd name="connsiteY5232" fmla="*/ 1927001 h 5116136"/>
              <a:gd name="connsiteX5233" fmla="*/ 1702353 w 13061856"/>
              <a:gd name="connsiteY5233" fmla="*/ 1915822 h 5116136"/>
              <a:gd name="connsiteX5234" fmla="*/ 1679372 w 13061856"/>
              <a:gd name="connsiteY5234" fmla="*/ 1903930 h 5116136"/>
              <a:gd name="connsiteX5235" fmla="*/ 1697515 w 13061856"/>
              <a:gd name="connsiteY5235" fmla="*/ 1879434 h 5116136"/>
              <a:gd name="connsiteX5236" fmla="*/ 1699329 w 13061856"/>
              <a:gd name="connsiteY5236" fmla="*/ 1897509 h 5116136"/>
              <a:gd name="connsiteX5237" fmla="*/ 1740452 w 13061856"/>
              <a:gd name="connsiteY5237" fmla="*/ 1885379 h 5116136"/>
              <a:gd name="connsiteX5238" fmla="*/ 1698120 w 13061856"/>
              <a:gd name="connsiteY5238" fmla="*/ 1951259 h 5116136"/>
              <a:gd name="connsiteX5239" fmla="*/ 1684211 w 13061856"/>
              <a:gd name="connsiteY5239" fmla="*/ 1943648 h 5116136"/>
              <a:gd name="connsiteX5240" fmla="*/ 1677558 w 13061856"/>
              <a:gd name="connsiteY5240" fmla="*/ 2018805 h 5116136"/>
              <a:gd name="connsiteX5241" fmla="*/ 1715657 w 13061856"/>
              <a:gd name="connsiteY5241" fmla="*/ 2019994 h 5116136"/>
              <a:gd name="connsiteX5242" fmla="*/ 1712634 w 13061856"/>
              <a:gd name="connsiteY5242" fmla="*/ 1995734 h 5116136"/>
              <a:gd name="connsiteX5243" fmla="*/ 1725333 w 13061856"/>
              <a:gd name="connsiteY5243" fmla="*/ 2024513 h 5116136"/>
              <a:gd name="connsiteX5244" fmla="*/ 1688444 w 13061856"/>
              <a:gd name="connsiteY5244" fmla="*/ 2031647 h 5116136"/>
              <a:gd name="connsiteX5245" fmla="*/ 1692677 w 13061856"/>
              <a:gd name="connsiteY5245" fmla="*/ 2047820 h 5116136"/>
              <a:gd name="connsiteX5246" fmla="*/ 1777341 w 13061856"/>
              <a:gd name="connsiteY5246" fmla="*/ 2037356 h 5116136"/>
              <a:gd name="connsiteX5247" fmla="*/ 1754966 w 13061856"/>
              <a:gd name="connsiteY5247" fmla="*/ 2055430 h 5116136"/>
              <a:gd name="connsiteX5248" fmla="*/ 1648530 w 13061856"/>
              <a:gd name="connsiteY5248" fmla="*/ 2054004 h 5116136"/>
              <a:gd name="connsiteX5249" fmla="*/ 1725939 w 13061856"/>
              <a:gd name="connsiteY5249" fmla="*/ 2090392 h 5116136"/>
              <a:gd name="connsiteX5250" fmla="*/ 1816044 w 13061856"/>
              <a:gd name="connsiteY5250" fmla="*/ 2078500 h 5116136"/>
              <a:gd name="connsiteX5251" fmla="*/ 1802135 w 13061856"/>
              <a:gd name="connsiteY5251" fmla="*/ 2066847 h 5116136"/>
              <a:gd name="connsiteX5252" fmla="*/ 1840839 w 13061856"/>
              <a:gd name="connsiteY5252" fmla="*/ 2066133 h 5116136"/>
              <a:gd name="connsiteX5253" fmla="*/ 1834187 w 13061856"/>
              <a:gd name="connsiteY5253" fmla="*/ 2054004 h 5116136"/>
              <a:gd name="connsiteX5254" fmla="*/ 1875914 w 13061856"/>
              <a:gd name="connsiteY5254" fmla="*/ 2071366 h 5116136"/>
              <a:gd name="connsiteX5255" fmla="*/ 1906151 w 13061856"/>
              <a:gd name="connsiteY5255" fmla="*/ 2054004 h 5116136"/>
              <a:gd name="connsiteX5256" fmla="*/ 1796693 w 13061856"/>
              <a:gd name="connsiteY5256" fmla="*/ 2042588 h 5116136"/>
              <a:gd name="connsiteX5257" fmla="*/ 1777946 w 13061856"/>
              <a:gd name="connsiteY5257" fmla="*/ 2025226 h 5116136"/>
              <a:gd name="connsiteX5258" fmla="*/ 1830559 w 13061856"/>
              <a:gd name="connsiteY5258" fmla="*/ 2025702 h 5116136"/>
              <a:gd name="connsiteX5259" fmla="*/ 1797903 w 13061856"/>
              <a:gd name="connsiteY5259" fmla="*/ 1973141 h 5116136"/>
              <a:gd name="connsiteX5260" fmla="*/ 1849911 w 13061856"/>
              <a:gd name="connsiteY5260" fmla="*/ 2025702 h 5116136"/>
              <a:gd name="connsiteX5261" fmla="*/ 1857773 w 13061856"/>
              <a:gd name="connsiteY5261" fmla="*/ 2014286 h 5116136"/>
              <a:gd name="connsiteX5262" fmla="*/ 1933970 w 13061856"/>
              <a:gd name="connsiteY5262" fmla="*/ 2024513 h 5116136"/>
              <a:gd name="connsiteX5263" fmla="*/ 1910989 w 13061856"/>
              <a:gd name="connsiteY5263" fmla="*/ 2009053 h 5116136"/>
              <a:gd name="connsiteX5264" fmla="*/ 2004119 w 13061856"/>
              <a:gd name="connsiteY5264" fmla="*/ 2018805 h 5116136"/>
              <a:gd name="connsiteX5265" fmla="*/ 1981139 w 13061856"/>
              <a:gd name="connsiteY5265" fmla="*/ 1996687 h 5116136"/>
              <a:gd name="connsiteX5266" fmla="*/ 2061570 w 13061856"/>
              <a:gd name="connsiteY5266" fmla="*/ 1990027 h 5116136"/>
              <a:gd name="connsiteX5267" fmla="*/ 2067618 w 13061856"/>
              <a:gd name="connsiteY5267" fmla="*/ 1966957 h 5116136"/>
              <a:gd name="connsiteX5268" fmla="*/ 2105112 w 13061856"/>
              <a:gd name="connsiteY5268" fmla="*/ 1973617 h 5116136"/>
              <a:gd name="connsiteX5269" fmla="*/ 2076690 w 13061856"/>
              <a:gd name="connsiteY5269" fmla="*/ 2013097 h 5116136"/>
              <a:gd name="connsiteX5270" fmla="*/ 2114183 w 13061856"/>
              <a:gd name="connsiteY5270" fmla="*/ 2032123 h 5116136"/>
              <a:gd name="connsiteX5271" fmla="*/ 2115392 w 13061856"/>
              <a:gd name="connsiteY5271" fmla="*/ 2008578 h 5116136"/>
              <a:gd name="connsiteX5272" fmla="*/ 2160748 w 13061856"/>
              <a:gd name="connsiteY5272" fmla="*/ 2008578 h 5116136"/>
              <a:gd name="connsiteX5273" fmla="*/ 2138977 w 13061856"/>
              <a:gd name="connsiteY5273" fmla="*/ 2014762 h 5116136"/>
              <a:gd name="connsiteX5274" fmla="*/ 2186148 w 13061856"/>
              <a:gd name="connsiteY5274" fmla="*/ 2026415 h 5116136"/>
              <a:gd name="connsiteX5275" fmla="*/ 2189776 w 13061856"/>
              <a:gd name="connsiteY5275" fmla="*/ 2048770 h 5116136"/>
              <a:gd name="connsiteX5276" fmla="*/ 2209128 w 13061856"/>
              <a:gd name="connsiteY5276" fmla="*/ 2048296 h 5116136"/>
              <a:gd name="connsiteX5277" fmla="*/ 2207918 w 13061856"/>
              <a:gd name="connsiteY5277" fmla="*/ 2026415 h 5116136"/>
              <a:gd name="connsiteX5278" fmla="*/ 2269603 w 13061856"/>
              <a:gd name="connsiteY5278" fmla="*/ 2037831 h 5116136"/>
              <a:gd name="connsiteX5279" fmla="*/ 2265974 w 13061856"/>
              <a:gd name="connsiteY5279" fmla="*/ 2061139 h 5116136"/>
              <a:gd name="connsiteX5280" fmla="*/ 2288954 w 13061856"/>
              <a:gd name="connsiteY5280" fmla="*/ 2073268 h 5116136"/>
              <a:gd name="connsiteX5281" fmla="*/ 2321610 w 13061856"/>
              <a:gd name="connsiteY5281" fmla="*/ 2048296 h 5116136"/>
              <a:gd name="connsiteX5282" fmla="*/ 2337334 w 13061856"/>
              <a:gd name="connsiteY5282" fmla="*/ 2073268 h 5116136"/>
              <a:gd name="connsiteX5283" fmla="*/ 2350638 w 13061856"/>
              <a:gd name="connsiteY5283" fmla="*/ 2048296 h 5116136"/>
              <a:gd name="connsiteX5284" fmla="*/ 2350033 w 13061856"/>
              <a:gd name="connsiteY5284" fmla="*/ 2066133 h 5116136"/>
              <a:gd name="connsiteX5285" fmla="*/ 2379666 w 13061856"/>
              <a:gd name="connsiteY5285" fmla="*/ 2043064 h 5116136"/>
              <a:gd name="connsiteX5286" fmla="*/ 2383294 w 13061856"/>
              <a:gd name="connsiteY5286" fmla="*/ 2031647 h 5116136"/>
              <a:gd name="connsiteX5287" fmla="*/ 2359709 w 13061856"/>
              <a:gd name="connsiteY5287" fmla="*/ 2019518 h 5116136"/>
              <a:gd name="connsiteX5288" fmla="*/ 2397808 w 13061856"/>
              <a:gd name="connsiteY5288" fmla="*/ 2024513 h 5116136"/>
              <a:gd name="connsiteX5289" fmla="*/ 2389342 w 13061856"/>
              <a:gd name="connsiteY5289" fmla="*/ 2043540 h 5116136"/>
              <a:gd name="connsiteX5290" fmla="*/ 2407483 w 13061856"/>
              <a:gd name="connsiteY5290" fmla="*/ 2061614 h 5116136"/>
              <a:gd name="connsiteX5291" fmla="*/ 2411717 w 13061856"/>
              <a:gd name="connsiteY5291" fmla="*/ 2025702 h 5116136"/>
              <a:gd name="connsiteX5292" fmla="*/ 2425626 w 13061856"/>
              <a:gd name="connsiteY5292" fmla="*/ 2037356 h 5116136"/>
              <a:gd name="connsiteX5293" fmla="*/ 2411717 w 13061856"/>
              <a:gd name="connsiteY5293" fmla="*/ 2071366 h 5116136"/>
              <a:gd name="connsiteX5294" fmla="*/ 2383294 w 13061856"/>
              <a:gd name="connsiteY5294" fmla="*/ 2061139 h 5116136"/>
              <a:gd name="connsiteX5295" fmla="*/ 2411717 w 13061856"/>
              <a:gd name="connsiteY5295" fmla="*/ 2077787 h 5116136"/>
              <a:gd name="connsiteX5296" fmla="*/ 2439535 w 13061856"/>
              <a:gd name="connsiteY5296" fmla="*/ 2089917 h 5116136"/>
              <a:gd name="connsiteX5297" fmla="*/ 2526619 w 13061856"/>
              <a:gd name="connsiteY5297" fmla="*/ 2083732 h 5116136"/>
              <a:gd name="connsiteX5298" fmla="*/ 2517547 w 13061856"/>
              <a:gd name="connsiteY5298" fmla="*/ 2072555 h 5116136"/>
              <a:gd name="connsiteX5299" fmla="*/ 2519361 w 13061856"/>
              <a:gd name="connsiteY5299" fmla="*/ 2061139 h 5116136"/>
              <a:gd name="connsiteX5300" fmla="*/ 2495172 w 13061856"/>
              <a:gd name="connsiteY5300" fmla="*/ 2072079 h 5116136"/>
              <a:gd name="connsiteX5301" fmla="*/ 2478238 w 13061856"/>
              <a:gd name="connsiteY5301" fmla="*/ 2083019 h 5116136"/>
              <a:gd name="connsiteX5302" fmla="*/ 2490938 w 13061856"/>
              <a:gd name="connsiteY5302" fmla="*/ 2071366 h 5116136"/>
              <a:gd name="connsiteX5303" fmla="*/ 2460701 w 13061856"/>
              <a:gd name="connsiteY5303" fmla="*/ 2068512 h 5116136"/>
              <a:gd name="connsiteX5304" fmla="*/ 2479449 w 13061856"/>
              <a:gd name="connsiteY5304" fmla="*/ 2072079 h 5116136"/>
              <a:gd name="connsiteX5305" fmla="*/ 2478238 w 13061856"/>
              <a:gd name="connsiteY5305" fmla="*/ 2083019 h 5116136"/>
              <a:gd name="connsiteX5306" fmla="*/ 2458887 w 13061856"/>
              <a:gd name="connsiteY5306" fmla="*/ 2090868 h 5116136"/>
              <a:gd name="connsiteX5307" fmla="*/ 2446187 w 13061856"/>
              <a:gd name="connsiteY5307" fmla="*/ 2066847 h 5116136"/>
              <a:gd name="connsiteX5308" fmla="*/ 2421393 w 13061856"/>
              <a:gd name="connsiteY5308" fmla="*/ 2085873 h 5116136"/>
              <a:gd name="connsiteX5309" fmla="*/ 2427440 w 13061856"/>
              <a:gd name="connsiteY5309" fmla="*/ 2054479 h 5116136"/>
              <a:gd name="connsiteX5310" fmla="*/ 2469167 w 13061856"/>
              <a:gd name="connsiteY5310" fmla="*/ 2041160 h 5116136"/>
              <a:gd name="connsiteX5311" fmla="*/ 2455863 w 13061856"/>
              <a:gd name="connsiteY5311" fmla="*/ 2061139 h 5116136"/>
              <a:gd name="connsiteX5312" fmla="*/ 2458282 w 13061856"/>
              <a:gd name="connsiteY5312" fmla="*/ 2064469 h 5116136"/>
              <a:gd name="connsiteX5313" fmla="*/ 2473400 w 13061856"/>
              <a:gd name="connsiteY5313" fmla="*/ 2056858 h 5116136"/>
              <a:gd name="connsiteX5314" fmla="*/ 2472797 w 13061856"/>
              <a:gd name="connsiteY5314" fmla="*/ 2050674 h 5116136"/>
              <a:gd name="connsiteX5315" fmla="*/ 2497591 w 13061856"/>
              <a:gd name="connsiteY5315" fmla="*/ 2045442 h 5116136"/>
              <a:gd name="connsiteX5316" fmla="*/ 2497591 w 13061856"/>
              <a:gd name="connsiteY5316" fmla="*/ 2053528 h 5116136"/>
              <a:gd name="connsiteX5317" fmla="*/ 2520571 w 13061856"/>
              <a:gd name="connsiteY5317" fmla="*/ 2051626 h 5116136"/>
              <a:gd name="connsiteX5318" fmla="*/ 2521175 w 13061856"/>
              <a:gd name="connsiteY5318" fmla="*/ 2049248 h 5116136"/>
              <a:gd name="connsiteX5319" fmla="*/ 2534479 w 13061856"/>
              <a:gd name="connsiteY5319" fmla="*/ 2072079 h 5116136"/>
              <a:gd name="connsiteX5320" fmla="*/ 2564112 w 13061856"/>
              <a:gd name="connsiteY5320" fmla="*/ 2054479 h 5116136"/>
              <a:gd name="connsiteX5321" fmla="*/ 2630634 w 13061856"/>
              <a:gd name="connsiteY5321" fmla="*/ 2066847 h 5116136"/>
              <a:gd name="connsiteX5322" fmla="*/ 2625191 w 13061856"/>
              <a:gd name="connsiteY5322" fmla="*/ 2038307 h 5116136"/>
              <a:gd name="connsiteX5323" fmla="*/ 2645753 w 13061856"/>
              <a:gd name="connsiteY5323" fmla="*/ 2019994 h 5116136"/>
              <a:gd name="connsiteX5324" fmla="*/ 2635472 w 13061856"/>
              <a:gd name="connsiteY5324" fmla="*/ 2066847 h 5116136"/>
              <a:gd name="connsiteX5325" fmla="*/ 2645148 w 13061856"/>
              <a:gd name="connsiteY5325" fmla="*/ 2065658 h 5116136"/>
              <a:gd name="connsiteX5326" fmla="*/ 2649381 w 13061856"/>
              <a:gd name="connsiteY5326" fmla="*/ 2038307 h 5116136"/>
              <a:gd name="connsiteX5327" fmla="*/ 2681433 w 13061856"/>
              <a:gd name="connsiteY5327" fmla="*/ 2061139 h 5116136"/>
              <a:gd name="connsiteX5328" fmla="*/ 2719531 w 13061856"/>
              <a:gd name="connsiteY5328" fmla="*/ 2066133 h 5116136"/>
              <a:gd name="connsiteX5329" fmla="*/ 2707436 w 13061856"/>
              <a:gd name="connsiteY5329" fmla="*/ 2031647 h 5116136"/>
              <a:gd name="connsiteX5330" fmla="*/ 2720136 w 13061856"/>
              <a:gd name="connsiteY5330" fmla="*/ 2054004 h 5116136"/>
              <a:gd name="connsiteX5331" fmla="*/ 2814476 w 13061856"/>
              <a:gd name="connsiteY5331" fmla="*/ 2044966 h 5116136"/>
              <a:gd name="connsiteX5332" fmla="*/ 2848342 w 13061856"/>
              <a:gd name="connsiteY5332" fmla="*/ 2073268 h 5116136"/>
              <a:gd name="connsiteX5333" fmla="*/ 2853180 w 13061856"/>
              <a:gd name="connsiteY5333" fmla="*/ 2043540 h 5116136"/>
              <a:gd name="connsiteX5334" fmla="*/ 2886441 w 13061856"/>
              <a:gd name="connsiteY5334" fmla="*/ 2044966 h 5116136"/>
              <a:gd name="connsiteX5335" fmla="*/ 2884626 w 13061856"/>
              <a:gd name="connsiteY5335" fmla="*/ 2072555 h 5116136"/>
              <a:gd name="connsiteX5336" fmla="*/ 2914863 w 13061856"/>
              <a:gd name="connsiteY5336" fmla="*/ 2055430 h 5116136"/>
              <a:gd name="connsiteX5337" fmla="*/ 2899140 w 13061856"/>
              <a:gd name="connsiteY5337" fmla="*/ 2037831 h 5116136"/>
              <a:gd name="connsiteX5338" fmla="*/ 2923935 w 13061856"/>
              <a:gd name="connsiteY5338" fmla="*/ 2014286 h 5116136"/>
              <a:gd name="connsiteX5339" fmla="*/ 2923935 w 13061856"/>
              <a:gd name="connsiteY5339" fmla="*/ 2061614 h 5116136"/>
              <a:gd name="connsiteX5340" fmla="*/ 2947520 w 13061856"/>
              <a:gd name="connsiteY5340" fmla="*/ 2020470 h 5116136"/>
              <a:gd name="connsiteX5341" fmla="*/ 3060606 w 13061856"/>
              <a:gd name="connsiteY5341" fmla="*/ 2019994 h 5116136"/>
              <a:gd name="connsiteX5342" fmla="*/ 3038231 w 13061856"/>
              <a:gd name="connsiteY5342" fmla="*/ 2004297 h 5116136"/>
              <a:gd name="connsiteX5343" fmla="*/ 3075120 w 13061856"/>
              <a:gd name="connsiteY5343" fmla="*/ 2026891 h 5116136"/>
              <a:gd name="connsiteX5344" fmla="*/ 3089030 w 13061856"/>
              <a:gd name="connsiteY5344" fmla="*/ 2026415 h 5116136"/>
              <a:gd name="connsiteX5345" fmla="*/ 3084797 w 13061856"/>
              <a:gd name="connsiteY5345" fmla="*/ 1986459 h 5116136"/>
              <a:gd name="connsiteX5346" fmla="*/ 3094472 w 13061856"/>
              <a:gd name="connsiteY5346" fmla="*/ 1975519 h 5116136"/>
              <a:gd name="connsiteX5347" fmla="*/ 3184579 w 13061856"/>
              <a:gd name="connsiteY5347" fmla="*/ 1956967 h 5116136"/>
              <a:gd name="connsiteX5348" fmla="*/ 3151318 w 13061856"/>
              <a:gd name="connsiteY5348" fmla="*/ 1946504 h 5116136"/>
              <a:gd name="connsiteX5349" fmla="*/ 3131362 w 13061856"/>
              <a:gd name="connsiteY5349" fmla="*/ 1962675 h 5116136"/>
              <a:gd name="connsiteX5350" fmla="*/ 3133176 w 13061856"/>
              <a:gd name="connsiteY5350" fmla="*/ 1935088 h 5116136"/>
              <a:gd name="connsiteX5351" fmla="*/ 3123500 w 13061856"/>
              <a:gd name="connsiteY5351" fmla="*/ 1933898 h 5116136"/>
              <a:gd name="connsiteX5352" fmla="*/ 3029160 w 13061856"/>
              <a:gd name="connsiteY5352" fmla="*/ 1904406 h 5116136"/>
              <a:gd name="connsiteX5353" fmla="*/ 3053349 w 13061856"/>
              <a:gd name="connsiteY5353" fmla="*/ 1946028 h 5116136"/>
              <a:gd name="connsiteX5354" fmla="*/ 3024321 w 13061856"/>
              <a:gd name="connsiteY5354" fmla="*/ 1945552 h 5116136"/>
              <a:gd name="connsiteX5355" fmla="*/ 3023113 w 13061856"/>
              <a:gd name="connsiteY5355" fmla="*/ 1963151 h 5116136"/>
              <a:gd name="connsiteX5356" fmla="*/ 3036417 w 13061856"/>
              <a:gd name="connsiteY5356" fmla="*/ 1980038 h 5116136"/>
              <a:gd name="connsiteX5357" fmla="*/ 3003156 w 13061856"/>
              <a:gd name="connsiteY5357" fmla="*/ 1973141 h 5116136"/>
              <a:gd name="connsiteX5358" fmla="*/ 2862251 w 13061856"/>
              <a:gd name="connsiteY5358" fmla="*/ 1921769 h 5116136"/>
              <a:gd name="connsiteX5359" fmla="*/ 2885231 w 13061856"/>
              <a:gd name="connsiteY5359" fmla="*/ 1939607 h 5116136"/>
              <a:gd name="connsiteX5360" fmla="*/ 2835037 w 13061856"/>
              <a:gd name="connsiteY5360" fmla="*/ 1903217 h 5116136"/>
              <a:gd name="connsiteX5361" fmla="*/ 2864065 w 13061856"/>
              <a:gd name="connsiteY5361" fmla="*/ 1897985 h 5116136"/>
              <a:gd name="connsiteX5362" fmla="*/ 2830200 w 13061856"/>
              <a:gd name="connsiteY5362" fmla="*/ 1899174 h 5116136"/>
              <a:gd name="connsiteX5363" fmla="*/ 2830804 w 13061856"/>
              <a:gd name="connsiteY5363" fmla="*/ 1932709 h 5116136"/>
              <a:gd name="connsiteX5364" fmla="*/ 2806009 w 13061856"/>
              <a:gd name="connsiteY5364" fmla="*/ 1904882 h 5116136"/>
              <a:gd name="connsiteX5365" fmla="*/ 2811453 w 13061856"/>
              <a:gd name="connsiteY5365" fmla="*/ 1887520 h 5116136"/>
              <a:gd name="connsiteX5366" fmla="*/ 2871927 w 13061856"/>
              <a:gd name="connsiteY5366" fmla="*/ 1880860 h 5116136"/>
              <a:gd name="connsiteX5367" fmla="*/ 3014647 w 13061856"/>
              <a:gd name="connsiteY5367" fmla="*/ 1904882 h 5116136"/>
              <a:gd name="connsiteX5368" fmla="*/ 2998922 w 13061856"/>
              <a:gd name="connsiteY5368" fmla="*/ 1881812 h 5116136"/>
              <a:gd name="connsiteX5369" fmla="*/ 2967476 w 13061856"/>
              <a:gd name="connsiteY5369" fmla="*/ 1892752 h 5116136"/>
              <a:gd name="connsiteX5370" fmla="*/ 2938448 w 13061856"/>
              <a:gd name="connsiteY5370" fmla="*/ 1853034 h 5116136"/>
              <a:gd name="connsiteX5371" fmla="*/ 2916073 w 13061856"/>
              <a:gd name="connsiteY5371" fmla="*/ 1870872 h 5116136"/>
              <a:gd name="connsiteX5372" fmla="*/ 2897326 w 13061856"/>
              <a:gd name="connsiteY5372" fmla="*/ 1857077 h 5116136"/>
              <a:gd name="connsiteX5373" fmla="*/ 2914863 w 13061856"/>
              <a:gd name="connsiteY5373" fmla="*/ 1840905 h 5116136"/>
              <a:gd name="connsiteX5374" fmla="*/ 2877974 w 13061856"/>
              <a:gd name="connsiteY5374" fmla="*/ 1817835 h 5116136"/>
              <a:gd name="connsiteX5375" fmla="*/ 2891279 w 13061856"/>
              <a:gd name="connsiteY5375" fmla="*/ 1834959 h 5116136"/>
              <a:gd name="connsiteX5376" fmla="*/ 2882207 w 13061856"/>
              <a:gd name="connsiteY5376" fmla="*/ 1834007 h 5116136"/>
              <a:gd name="connsiteX5377" fmla="*/ 2876764 w 13061856"/>
              <a:gd name="connsiteY5377" fmla="*/ 1845424 h 5116136"/>
              <a:gd name="connsiteX5378" fmla="*/ 2797544 w 13061856"/>
              <a:gd name="connsiteY5378" fmla="*/ 1789533 h 5116136"/>
              <a:gd name="connsiteX5379" fmla="*/ 2852575 w 13061856"/>
              <a:gd name="connsiteY5379" fmla="*/ 1841381 h 5116136"/>
              <a:gd name="connsiteX5380" fmla="*/ 2829594 w 13061856"/>
              <a:gd name="connsiteY5380" fmla="*/ 1823543 h 5116136"/>
              <a:gd name="connsiteX5381" fmla="*/ 2793310 w 13061856"/>
              <a:gd name="connsiteY5381" fmla="*/ 1834483 h 5116136"/>
              <a:gd name="connsiteX5382" fmla="*/ 2811453 w 13061856"/>
              <a:gd name="connsiteY5382" fmla="*/ 1851845 h 5116136"/>
              <a:gd name="connsiteX5383" fmla="*/ 2838060 w 13061856"/>
              <a:gd name="connsiteY5383" fmla="*/ 1840191 h 5116136"/>
              <a:gd name="connsiteX5384" fmla="*/ 2839271 w 13061856"/>
              <a:gd name="connsiteY5384" fmla="*/ 1870396 h 5116136"/>
              <a:gd name="connsiteX5385" fmla="*/ 2809638 w 13061856"/>
              <a:gd name="connsiteY5385" fmla="*/ 1875628 h 5116136"/>
              <a:gd name="connsiteX5386" fmla="*/ 2769120 w 13061856"/>
              <a:gd name="connsiteY5386" fmla="*/ 1824019 h 5116136"/>
              <a:gd name="connsiteX5387" fmla="*/ 2774563 w 13061856"/>
              <a:gd name="connsiteY5387" fmla="*/ 1851369 h 5116136"/>
              <a:gd name="connsiteX5388" fmla="*/ 2737674 w 13061856"/>
              <a:gd name="connsiteY5388" fmla="*/ 1844235 h 5116136"/>
              <a:gd name="connsiteX5389" fmla="*/ 2769120 w 13061856"/>
              <a:gd name="connsiteY5389" fmla="*/ 1822115 h 5116136"/>
              <a:gd name="connsiteX5390" fmla="*/ 2763678 w 13061856"/>
              <a:gd name="connsiteY5390" fmla="*/ 1800473 h 5116136"/>
              <a:gd name="connsiteX5391" fmla="*/ 2720740 w 13061856"/>
              <a:gd name="connsiteY5391" fmla="*/ 1788820 h 5116136"/>
              <a:gd name="connsiteX5392" fmla="*/ 2769120 w 13061856"/>
              <a:gd name="connsiteY5392" fmla="*/ 1788820 h 5116136"/>
              <a:gd name="connsiteX5393" fmla="*/ 2777587 w 13061856"/>
              <a:gd name="connsiteY5393" fmla="*/ 1811413 h 5116136"/>
              <a:gd name="connsiteX5394" fmla="*/ 2800567 w 13061856"/>
              <a:gd name="connsiteY5394" fmla="*/ 1823067 h 5116136"/>
              <a:gd name="connsiteX5395" fmla="*/ 2788472 w 13061856"/>
              <a:gd name="connsiteY5395" fmla="*/ 1788105 h 5116136"/>
              <a:gd name="connsiteX5396" fmla="*/ 2815685 w 13061856"/>
              <a:gd name="connsiteY5396" fmla="*/ 1776690 h 5116136"/>
              <a:gd name="connsiteX5397" fmla="*/ 2801776 w 13061856"/>
              <a:gd name="connsiteY5397" fmla="*/ 1765750 h 5116136"/>
              <a:gd name="connsiteX5398" fmla="*/ 2821128 w 13061856"/>
              <a:gd name="connsiteY5398" fmla="*/ 1759328 h 5116136"/>
              <a:gd name="connsiteX5399" fmla="*/ 2828990 w 13061856"/>
              <a:gd name="connsiteY5399" fmla="*/ 1787630 h 5116136"/>
              <a:gd name="connsiteX5400" fmla="*/ 2854994 w 13061856"/>
              <a:gd name="connsiteY5400" fmla="*/ 1806181 h 5116136"/>
              <a:gd name="connsiteX5401" fmla="*/ 2877974 w 13061856"/>
              <a:gd name="connsiteY5401" fmla="*/ 1781922 h 5116136"/>
              <a:gd name="connsiteX5402" fmla="*/ 2920910 w 13061856"/>
              <a:gd name="connsiteY5402" fmla="*/ 1829251 h 5116136"/>
              <a:gd name="connsiteX5403" fmla="*/ 2954172 w 13061856"/>
              <a:gd name="connsiteY5403" fmla="*/ 1834483 h 5116136"/>
              <a:gd name="connsiteX5404" fmla="*/ 2947520 w 13061856"/>
              <a:gd name="connsiteY5404" fmla="*/ 1811889 h 5116136"/>
              <a:gd name="connsiteX5405" fmla="*/ 3000132 w 13061856"/>
              <a:gd name="connsiteY5405" fmla="*/ 1782398 h 5116136"/>
              <a:gd name="connsiteX5406" fmla="*/ 3020694 w 13061856"/>
              <a:gd name="connsiteY5406" fmla="*/ 1800473 h 5116136"/>
              <a:gd name="connsiteX5407" fmla="*/ 2986829 w 13061856"/>
              <a:gd name="connsiteY5407" fmla="*/ 1765750 h 5116136"/>
              <a:gd name="connsiteX5408" fmla="*/ 2943891 w 13061856"/>
              <a:gd name="connsiteY5408" fmla="*/ 1794052 h 5116136"/>
              <a:gd name="connsiteX5409" fmla="*/ 2943891 w 13061856"/>
              <a:gd name="connsiteY5409" fmla="*/ 1760042 h 5116136"/>
              <a:gd name="connsiteX5410" fmla="*/ 2962639 w 13061856"/>
              <a:gd name="connsiteY5410" fmla="*/ 1765750 h 5116136"/>
              <a:gd name="connsiteX5411" fmla="*/ 2972314 w 13061856"/>
              <a:gd name="connsiteY5411" fmla="*/ 1758852 h 5116136"/>
              <a:gd name="connsiteX5412" fmla="*/ 2978361 w 13061856"/>
              <a:gd name="connsiteY5412" fmla="*/ 1743156 h 5116136"/>
              <a:gd name="connsiteX5413" fmla="*/ 2972314 w 13061856"/>
              <a:gd name="connsiteY5413" fmla="*/ 1718897 h 5116136"/>
              <a:gd name="connsiteX5414" fmla="*/ 2939053 w 13061856"/>
              <a:gd name="connsiteY5414" fmla="*/ 1753620 h 5116136"/>
              <a:gd name="connsiteX5415" fmla="*/ 2931191 w 13061856"/>
              <a:gd name="connsiteY5415" fmla="*/ 1731026 h 5116136"/>
              <a:gd name="connsiteX5416" fmla="*/ 2939053 w 13061856"/>
              <a:gd name="connsiteY5416" fmla="*/ 1724129 h 5116136"/>
              <a:gd name="connsiteX5417" fmla="*/ 2929982 w 13061856"/>
              <a:gd name="connsiteY5417" fmla="*/ 1701534 h 5116136"/>
              <a:gd name="connsiteX5418" fmla="*/ 2895512 w 13061856"/>
              <a:gd name="connsiteY5418" fmla="*/ 1760042 h 5116136"/>
              <a:gd name="connsiteX5419" fmla="*/ 2893093 w 13061856"/>
              <a:gd name="connsiteY5419" fmla="*/ 1729836 h 5116136"/>
              <a:gd name="connsiteX5420" fmla="*/ 2881603 w 13061856"/>
              <a:gd name="connsiteY5420" fmla="*/ 1758852 h 5116136"/>
              <a:gd name="connsiteX5421" fmla="*/ 2868298 w 13061856"/>
              <a:gd name="connsiteY5421" fmla="*/ 1771458 h 5116136"/>
              <a:gd name="connsiteX5422" fmla="*/ 2835641 w 13061856"/>
              <a:gd name="connsiteY5422" fmla="*/ 1764561 h 5116136"/>
              <a:gd name="connsiteX5423" fmla="*/ 2854994 w 13061856"/>
              <a:gd name="connsiteY5423" fmla="*/ 1764561 h 5116136"/>
              <a:gd name="connsiteX5424" fmla="*/ 2858017 w 13061856"/>
              <a:gd name="connsiteY5424" fmla="*/ 1742680 h 5116136"/>
              <a:gd name="connsiteX5425" fmla="*/ 2807219 w 13061856"/>
              <a:gd name="connsiteY5425" fmla="*/ 1754096 h 5116136"/>
              <a:gd name="connsiteX5426" fmla="*/ 2783634 w 13061856"/>
              <a:gd name="connsiteY5426" fmla="*/ 1748388 h 5116136"/>
              <a:gd name="connsiteX5427" fmla="*/ 2787263 w 13061856"/>
              <a:gd name="connsiteY5427" fmla="*/ 1724604 h 5116136"/>
              <a:gd name="connsiteX5428" fmla="*/ 2802986 w 13061856"/>
              <a:gd name="connsiteY5428" fmla="*/ 1742204 h 5116136"/>
              <a:gd name="connsiteX5429" fmla="*/ 2862856 w 13061856"/>
              <a:gd name="connsiteY5429" fmla="*/ 1707242 h 5116136"/>
              <a:gd name="connsiteX5430" fmla="*/ 2878578 w 13061856"/>
              <a:gd name="connsiteY5430" fmla="*/ 1724604 h 5116136"/>
              <a:gd name="connsiteX5431" fmla="*/ 2879183 w 13061856"/>
              <a:gd name="connsiteY5431" fmla="*/ 1718897 h 5116136"/>
              <a:gd name="connsiteX5432" fmla="*/ 2895512 w 13061856"/>
              <a:gd name="connsiteY5432" fmla="*/ 1718421 h 5116136"/>
              <a:gd name="connsiteX5433" fmla="*/ 2821733 w 13061856"/>
              <a:gd name="connsiteY5433" fmla="*/ 1712000 h 5116136"/>
              <a:gd name="connsiteX5434" fmla="*/ 2801776 w 13061856"/>
              <a:gd name="connsiteY5434" fmla="*/ 1672519 h 5116136"/>
              <a:gd name="connsiteX5435" fmla="*/ 2789077 w 13061856"/>
              <a:gd name="connsiteY5435" fmla="*/ 1695351 h 5116136"/>
              <a:gd name="connsiteX5436" fmla="*/ 2784238 w 13061856"/>
              <a:gd name="connsiteY5436" fmla="*/ 1674897 h 5116136"/>
              <a:gd name="connsiteX5437" fmla="*/ 2770934 w 13061856"/>
              <a:gd name="connsiteY5437" fmla="*/ 1696777 h 5116136"/>
              <a:gd name="connsiteX5438" fmla="*/ 2749164 w 13061856"/>
              <a:gd name="connsiteY5438" fmla="*/ 1673946 h 5116136"/>
              <a:gd name="connsiteX5439" fmla="*/ 2734650 w 13061856"/>
              <a:gd name="connsiteY5439" fmla="*/ 1701534 h 5116136"/>
              <a:gd name="connsiteX5440" fmla="*/ 2703203 w 13061856"/>
              <a:gd name="connsiteY5440" fmla="*/ 1661817 h 5116136"/>
              <a:gd name="connsiteX5441" fmla="*/ 2731021 w 13061856"/>
              <a:gd name="connsiteY5441" fmla="*/ 1680129 h 5116136"/>
              <a:gd name="connsiteX5442" fmla="*/ 2744931 w 13061856"/>
              <a:gd name="connsiteY5442" fmla="*/ 1661817 h 5116136"/>
              <a:gd name="connsiteX5443" fmla="*/ 2764886 w 13061856"/>
              <a:gd name="connsiteY5443" fmla="*/ 1657535 h 5116136"/>
              <a:gd name="connsiteX5444" fmla="*/ 2783029 w 13061856"/>
              <a:gd name="connsiteY5444" fmla="*/ 1672519 h 5116136"/>
              <a:gd name="connsiteX5445" fmla="*/ 2815685 w 13061856"/>
              <a:gd name="connsiteY5445" fmla="*/ 1649925 h 5116136"/>
              <a:gd name="connsiteX5446" fmla="*/ 2744931 w 13061856"/>
              <a:gd name="connsiteY5446" fmla="*/ 1631611 h 5116136"/>
              <a:gd name="connsiteX5447" fmla="*/ 2784238 w 13061856"/>
              <a:gd name="connsiteY5447" fmla="*/ 1613773 h 5116136"/>
              <a:gd name="connsiteX5448" fmla="*/ 2732230 w 13061856"/>
              <a:gd name="connsiteY5448" fmla="*/ 1602596 h 5116136"/>
              <a:gd name="connsiteX5449" fmla="*/ 2746140 w 13061856"/>
              <a:gd name="connsiteY5449" fmla="*/ 1643741 h 5116136"/>
              <a:gd name="connsiteX5450" fmla="*/ 2731021 w 13061856"/>
              <a:gd name="connsiteY5450" fmla="*/ 1660389 h 5116136"/>
              <a:gd name="connsiteX5451" fmla="*/ 2720740 w 13061856"/>
              <a:gd name="connsiteY5451" fmla="*/ 1625903 h 5116136"/>
              <a:gd name="connsiteX5452" fmla="*/ 2694132 w 13061856"/>
              <a:gd name="connsiteY5452" fmla="*/ 1631611 h 5116136"/>
              <a:gd name="connsiteX5453" fmla="*/ 2712880 w 13061856"/>
              <a:gd name="connsiteY5453" fmla="*/ 1643265 h 5116136"/>
              <a:gd name="connsiteX5454" fmla="*/ 2683247 w 13061856"/>
              <a:gd name="connsiteY5454" fmla="*/ 1660389 h 5116136"/>
              <a:gd name="connsiteX5455" fmla="*/ 2665710 w 13061856"/>
              <a:gd name="connsiteY5455" fmla="*/ 1625190 h 5116136"/>
              <a:gd name="connsiteX5456" fmla="*/ 2645753 w 13061856"/>
              <a:gd name="connsiteY5456" fmla="*/ 1631611 h 5116136"/>
              <a:gd name="connsiteX5457" fmla="*/ 2640915 w 13061856"/>
              <a:gd name="connsiteY5457" fmla="*/ 1601168 h 5116136"/>
              <a:gd name="connsiteX5458" fmla="*/ 2611887 w 13061856"/>
              <a:gd name="connsiteY5458" fmla="*/ 1642790 h 5116136"/>
              <a:gd name="connsiteX5459" fmla="*/ 2594349 w 13061856"/>
              <a:gd name="connsiteY5459" fmla="*/ 1654681 h 5116136"/>
              <a:gd name="connsiteX5460" fmla="*/ 2597977 w 13061856"/>
              <a:gd name="connsiteY5460" fmla="*/ 1630898 h 5116136"/>
              <a:gd name="connsiteX5461" fmla="*/ 2564717 w 13061856"/>
              <a:gd name="connsiteY5461" fmla="*/ 1630422 h 5116136"/>
              <a:gd name="connsiteX5462" fmla="*/ 2588907 w 13061856"/>
              <a:gd name="connsiteY5462" fmla="*/ 1630422 h 5116136"/>
              <a:gd name="connsiteX5463" fmla="*/ 2575602 w 13061856"/>
              <a:gd name="connsiteY5463" fmla="*/ 1607352 h 5116136"/>
              <a:gd name="connsiteX5464" fmla="*/ 2537504 w 13061856"/>
              <a:gd name="connsiteY5464" fmla="*/ 1596412 h 5116136"/>
              <a:gd name="connsiteX5465" fmla="*/ 2514524 w 13061856"/>
              <a:gd name="connsiteY5465" fmla="*/ 1625903 h 5116136"/>
              <a:gd name="connsiteX5466" fmla="*/ 2531456 w 13061856"/>
              <a:gd name="connsiteY5466" fmla="*/ 1619482 h 5116136"/>
              <a:gd name="connsiteX5467" fmla="*/ 2504244 w 13061856"/>
              <a:gd name="connsiteY5467" fmla="*/ 1636843 h 5116136"/>
              <a:gd name="connsiteX5468" fmla="*/ 2518152 w 13061856"/>
              <a:gd name="connsiteY5468" fmla="*/ 1566921 h 5116136"/>
              <a:gd name="connsiteX5469" fmla="*/ 2574997 w 13061856"/>
              <a:gd name="connsiteY5469" fmla="*/ 1579526 h 5116136"/>
              <a:gd name="connsiteX5470" fmla="*/ 2493358 w 13061856"/>
              <a:gd name="connsiteY5470" fmla="*/ 1566921 h 5116136"/>
              <a:gd name="connsiteX5471" fmla="*/ 2542341 w 13061856"/>
              <a:gd name="connsiteY5471" fmla="*/ 1560975 h 5116136"/>
              <a:gd name="connsiteX5472" fmla="*/ 2532060 w 13061856"/>
              <a:gd name="connsiteY5472" fmla="*/ 1526489 h 5116136"/>
              <a:gd name="connsiteX5473" fmla="*/ 2446187 w 13061856"/>
              <a:gd name="connsiteY5473" fmla="*/ 1515073 h 5116136"/>
              <a:gd name="connsiteX5474" fmla="*/ 2447396 w 13061856"/>
              <a:gd name="connsiteY5474" fmla="*/ 1539094 h 5116136"/>
              <a:gd name="connsiteX5475" fmla="*/ 2418369 w 13061856"/>
              <a:gd name="connsiteY5475" fmla="*/ 1538619 h 5116136"/>
              <a:gd name="connsiteX5476" fmla="*/ 2432883 w 13061856"/>
              <a:gd name="connsiteY5476" fmla="*/ 1543851 h 5116136"/>
              <a:gd name="connsiteX5477" fmla="*/ 2409902 w 13061856"/>
              <a:gd name="connsiteY5477" fmla="*/ 1561688 h 5116136"/>
              <a:gd name="connsiteX5478" fmla="*/ 2433488 w 13061856"/>
              <a:gd name="connsiteY5478" fmla="*/ 1561688 h 5116136"/>
              <a:gd name="connsiteX5479" fmla="*/ 2443164 w 13061856"/>
              <a:gd name="connsiteY5479" fmla="*/ 1572153 h 5116136"/>
              <a:gd name="connsiteX5480" fmla="*/ 2438930 w 13061856"/>
              <a:gd name="connsiteY5480" fmla="*/ 1607828 h 5116136"/>
              <a:gd name="connsiteX5481" fmla="*/ 2408693 w 13061856"/>
              <a:gd name="connsiteY5481" fmla="*/ 1585471 h 5116136"/>
              <a:gd name="connsiteX5482" fmla="*/ 2404460 w 13061856"/>
              <a:gd name="connsiteY5482" fmla="*/ 1618293 h 5116136"/>
              <a:gd name="connsiteX5483" fmla="*/ 2366966 w 13061856"/>
              <a:gd name="connsiteY5483" fmla="*/ 1601644 h 5116136"/>
              <a:gd name="connsiteX5484" fmla="*/ 2404460 w 13061856"/>
              <a:gd name="connsiteY5484" fmla="*/ 1579050 h 5116136"/>
              <a:gd name="connsiteX5485" fmla="*/ 2342172 w 13061856"/>
              <a:gd name="connsiteY5485" fmla="*/ 1567634 h 5116136"/>
              <a:gd name="connsiteX5486" fmla="*/ 2346404 w 13061856"/>
              <a:gd name="connsiteY5486" fmla="*/ 1577861 h 5116136"/>
              <a:gd name="connsiteX5487" fmla="*/ 2308911 w 13061856"/>
              <a:gd name="connsiteY5487" fmla="*/ 1566921 h 5116136"/>
              <a:gd name="connsiteX5488" fmla="*/ 2319797 w 13061856"/>
              <a:gd name="connsiteY5488" fmla="*/ 1579526 h 5116136"/>
              <a:gd name="connsiteX5489" fmla="*/ 2290768 w 13061856"/>
              <a:gd name="connsiteY5489" fmla="*/ 1596888 h 5116136"/>
              <a:gd name="connsiteX5490" fmla="*/ 2299840 w 13061856"/>
              <a:gd name="connsiteY5490" fmla="*/ 1565732 h 5116136"/>
              <a:gd name="connsiteX5491" fmla="*/ 2295003 w 13061856"/>
              <a:gd name="connsiteY5491" fmla="*/ 1555743 h 5116136"/>
              <a:gd name="connsiteX5492" fmla="*/ 2265974 w 13061856"/>
              <a:gd name="connsiteY5492" fmla="*/ 1555267 h 5116136"/>
              <a:gd name="connsiteX5493" fmla="*/ 2220618 w 13061856"/>
              <a:gd name="connsiteY5493" fmla="*/ 1596888 h 5116136"/>
              <a:gd name="connsiteX5494" fmla="*/ 2200056 w 13061856"/>
              <a:gd name="connsiteY5494" fmla="*/ 1579050 h 5116136"/>
              <a:gd name="connsiteX5495" fmla="*/ 2190380 w 13061856"/>
              <a:gd name="connsiteY5495" fmla="*/ 1584282 h 5116136"/>
              <a:gd name="connsiteX5496" fmla="*/ 2206105 w 13061856"/>
              <a:gd name="connsiteY5496" fmla="*/ 1589990 h 5116136"/>
              <a:gd name="connsiteX5497" fmla="*/ 2140188 w 13061856"/>
              <a:gd name="connsiteY5497" fmla="*/ 1577861 h 5116136"/>
              <a:gd name="connsiteX5498" fmla="*/ 2139583 w 13061856"/>
              <a:gd name="connsiteY5498" fmla="*/ 1589990 h 5116136"/>
              <a:gd name="connsiteX5499" fmla="*/ 2177681 w 13061856"/>
              <a:gd name="connsiteY5499" fmla="*/ 1595223 h 5116136"/>
              <a:gd name="connsiteX5500" fmla="*/ 2201266 w 13061856"/>
              <a:gd name="connsiteY5500" fmla="*/ 1601168 h 5116136"/>
              <a:gd name="connsiteX5501" fmla="*/ 2175867 w 13061856"/>
              <a:gd name="connsiteY5501" fmla="*/ 1624714 h 5116136"/>
              <a:gd name="connsiteX5502" fmla="*/ 2114183 w 13061856"/>
              <a:gd name="connsiteY5502" fmla="*/ 1565732 h 5116136"/>
              <a:gd name="connsiteX5503" fmla="*/ 2110555 w 13061856"/>
              <a:gd name="connsiteY5503" fmla="*/ 1589277 h 5116136"/>
              <a:gd name="connsiteX5504" fmla="*/ 2097251 w 13061856"/>
              <a:gd name="connsiteY5504" fmla="*/ 1566207 h 5116136"/>
              <a:gd name="connsiteX5505" fmla="*/ 2109346 w 13061856"/>
              <a:gd name="connsiteY5505" fmla="*/ 1561688 h 5116136"/>
              <a:gd name="connsiteX5506" fmla="*/ 2087575 w 13061856"/>
              <a:gd name="connsiteY5506" fmla="*/ 1573818 h 5116136"/>
              <a:gd name="connsiteX5507" fmla="*/ 2069433 w 13061856"/>
              <a:gd name="connsiteY5507" fmla="*/ 1556693 h 5116136"/>
              <a:gd name="connsiteX5508" fmla="*/ 2034356 w 13061856"/>
              <a:gd name="connsiteY5508" fmla="*/ 1579050 h 5116136"/>
              <a:gd name="connsiteX5509" fmla="*/ 2054918 w 13061856"/>
              <a:gd name="connsiteY5509" fmla="*/ 1554791 h 5116136"/>
              <a:gd name="connsiteX5510" fmla="*/ 2011981 w 13061856"/>
              <a:gd name="connsiteY5510" fmla="*/ 1555267 h 5116136"/>
              <a:gd name="connsiteX5511" fmla="*/ 1892847 w 13061856"/>
              <a:gd name="connsiteY5511" fmla="*/ 1536716 h 5116136"/>
              <a:gd name="connsiteX5512" fmla="*/ 1835396 w 13061856"/>
              <a:gd name="connsiteY5512" fmla="*/ 1572153 h 5116136"/>
              <a:gd name="connsiteX5513" fmla="*/ 1851120 w 13061856"/>
              <a:gd name="connsiteY5513" fmla="*/ 1549559 h 5116136"/>
              <a:gd name="connsiteX5514" fmla="*/ 1811207 w 13061856"/>
              <a:gd name="connsiteY5514" fmla="*/ 1532197 h 5116136"/>
              <a:gd name="connsiteX5515" fmla="*/ 1741056 w 13061856"/>
              <a:gd name="connsiteY5515" fmla="*/ 1538143 h 5116136"/>
              <a:gd name="connsiteX5516" fmla="*/ 1778551 w 13061856"/>
              <a:gd name="connsiteY5516" fmla="*/ 1515549 h 5116136"/>
              <a:gd name="connsiteX5517" fmla="*/ 1764642 w 13061856"/>
              <a:gd name="connsiteY5517" fmla="*/ 1508414 h 5116136"/>
              <a:gd name="connsiteX5518" fmla="*/ 1741056 w 13061856"/>
              <a:gd name="connsiteY5518" fmla="*/ 1496522 h 5116136"/>
              <a:gd name="connsiteX5519" fmla="*/ 1721704 w 13061856"/>
              <a:gd name="connsiteY5519" fmla="*/ 1508414 h 5116136"/>
              <a:gd name="connsiteX5520" fmla="*/ 1708400 w 13061856"/>
              <a:gd name="connsiteY5520" fmla="*/ 1525300 h 5116136"/>
              <a:gd name="connsiteX5521" fmla="*/ 1702958 w 13061856"/>
              <a:gd name="connsiteY5521" fmla="*/ 1496998 h 5116136"/>
              <a:gd name="connsiteX5522" fmla="*/ 1565682 w 13061856"/>
              <a:gd name="connsiteY5522" fmla="*/ 1496998 h 5116136"/>
              <a:gd name="connsiteX5523" fmla="*/ 1565076 w 13061856"/>
              <a:gd name="connsiteY5523" fmla="*/ 1467268 h 5116136"/>
              <a:gd name="connsiteX5524" fmla="*/ 1584428 w 13061856"/>
              <a:gd name="connsiteY5524" fmla="*/ 1466792 h 5116136"/>
              <a:gd name="connsiteX5525" fmla="*/ 1571124 w 13061856"/>
              <a:gd name="connsiteY5525" fmla="*/ 1479636 h 5116136"/>
              <a:gd name="connsiteX5526" fmla="*/ 1626760 w 13061856"/>
              <a:gd name="connsiteY5526" fmla="*/ 1484868 h 5116136"/>
              <a:gd name="connsiteX5527" fmla="*/ 1638250 w 13061856"/>
              <a:gd name="connsiteY5527" fmla="*/ 1450145 h 5116136"/>
              <a:gd name="connsiteX5528" fmla="*/ 1659416 w 13061856"/>
              <a:gd name="connsiteY5528" fmla="*/ 1491290 h 5116136"/>
              <a:gd name="connsiteX5529" fmla="*/ 1694491 w 13061856"/>
              <a:gd name="connsiteY5529" fmla="*/ 1474404 h 5116136"/>
              <a:gd name="connsiteX5530" fmla="*/ 1693282 w 13061856"/>
              <a:gd name="connsiteY5530" fmla="*/ 1490101 h 5116136"/>
              <a:gd name="connsiteX5531" fmla="*/ 1721704 w 13061856"/>
              <a:gd name="connsiteY5531" fmla="*/ 1496998 h 5116136"/>
              <a:gd name="connsiteX5532" fmla="*/ 1745290 w 13061856"/>
              <a:gd name="connsiteY5532" fmla="*/ 1466792 h 5116136"/>
              <a:gd name="connsiteX5533" fmla="*/ 1755571 w 13061856"/>
              <a:gd name="connsiteY5533" fmla="*/ 1497474 h 5116136"/>
              <a:gd name="connsiteX5534" fmla="*/ 1794274 w 13061856"/>
              <a:gd name="connsiteY5534" fmla="*/ 1496998 h 5116136"/>
              <a:gd name="connsiteX5535" fmla="*/ 1783388 w 13061856"/>
              <a:gd name="connsiteY5535" fmla="*/ 1520068 h 5116136"/>
              <a:gd name="connsiteX5536" fmla="*/ 1790041 w 13061856"/>
              <a:gd name="connsiteY5536" fmla="*/ 1532197 h 5116136"/>
              <a:gd name="connsiteX5537" fmla="*/ 1835396 w 13061856"/>
              <a:gd name="connsiteY5537" fmla="*/ 1490577 h 5116136"/>
              <a:gd name="connsiteX5538" fmla="*/ 1803950 w 13061856"/>
              <a:gd name="connsiteY5538" fmla="*/ 1491766 h 5116136"/>
              <a:gd name="connsiteX5539" fmla="*/ 1802740 w 13061856"/>
              <a:gd name="connsiteY5539" fmla="*/ 1468220 h 5116136"/>
              <a:gd name="connsiteX5540" fmla="*/ 1787623 w 13061856"/>
              <a:gd name="connsiteY5540" fmla="*/ 1484393 h 5116136"/>
              <a:gd name="connsiteX5541" fmla="*/ 1731985 w 13061856"/>
              <a:gd name="connsiteY5541" fmla="*/ 1450145 h 5116136"/>
              <a:gd name="connsiteX5542" fmla="*/ 1727752 w 13061856"/>
              <a:gd name="connsiteY5542" fmla="*/ 1485344 h 5116136"/>
              <a:gd name="connsiteX5543" fmla="*/ 1712634 w 13061856"/>
              <a:gd name="connsiteY5543" fmla="*/ 1455853 h 5116136"/>
              <a:gd name="connsiteX5544" fmla="*/ 1660626 w 13061856"/>
              <a:gd name="connsiteY5544" fmla="*/ 1473928 h 5116136"/>
              <a:gd name="connsiteX5545" fmla="*/ 1664859 w 13061856"/>
              <a:gd name="connsiteY5545" fmla="*/ 1450145 h 5116136"/>
              <a:gd name="connsiteX5546" fmla="*/ 1630994 w 13061856"/>
              <a:gd name="connsiteY5546" fmla="*/ 1445626 h 5116136"/>
              <a:gd name="connsiteX5547" fmla="*/ 1580195 w 13061856"/>
              <a:gd name="connsiteY5547" fmla="*/ 1457280 h 5116136"/>
              <a:gd name="connsiteX5548" fmla="*/ 1590476 w 13061856"/>
              <a:gd name="connsiteY5548" fmla="*/ 1445626 h 5116136"/>
              <a:gd name="connsiteX5549" fmla="*/ 1499159 w 13061856"/>
              <a:gd name="connsiteY5549" fmla="*/ 1443722 h 5116136"/>
              <a:gd name="connsiteX5550" fmla="*/ 1484646 w 13061856"/>
              <a:gd name="connsiteY5550" fmla="*/ 1408999 h 5116136"/>
              <a:gd name="connsiteX5551" fmla="*/ 1451990 w 13061856"/>
              <a:gd name="connsiteY5551" fmla="*/ 1392350 h 5116136"/>
              <a:gd name="connsiteX5552" fmla="*/ 1441710 w 13061856"/>
              <a:gd name="connsiteY5552" fmla="*/ 1397583 h 5116136"/>
              <a:gd name="connsiteX5553" fmla="*/ 1474970 w 13061856"/>
              <a:gd name="connsiteY5553" fmla="*/ 1443722 h 5116136"/>
              <a:gd name="connsiteX5554" fmla="*/ 1328622 w 13061856"/>
              <a:gd name="connsiteY5554" fmla="*/ 1409713 h 5116136"/>
              <a:gd name="connsiteX5555" fmla="*/ 1334064 w 13061856"/>
              <a:gd name="connsiteY5555" fmla="*/ 1392350 h 5116136"/>
              <a:gd name="connsiteX5556" fmla="*/ 1286290 w 13061856"/>
              <a:gd name="connsiteY5556" fmla="*/ 1391637 h 5116136"/>
              <a:gd name="connsiteX5557" fmla="*/ 1324388 w 13061856"/>
              <a:gd name="connsiteY5557" fmla="*/ 1393540 h 5116136"/>
              <a:gd name="connsiteX5558" fmla="*/ 1301408 w 13061856"/>
              <a:gd name="connsiteY5558" fmla="*/ 1375465 h 5116136"/>
              <a:gd name="connsiteX5559" fmla="*/ 1339508 w 13061856"/>
              <a:gd name="connsiteY5559" fmla="*/ 1386405 h 5116136"/>
              <a:gd name="connsiteX5560" fmla="*/ 1380630 w 13061856"/>
              <a:gd name="connsiteY5560" fmla="*/ 1380221 h 5116136"/>
              <a:gd name="connsiteX5561" fmla="*/ 1344345 w 13061856"/>
              <a:gd name="connsiteY5561" fmla="*/ 1341454 h 5116136"/>
              <a:gd name="connsiteX5562" fmla="*/ 1271171 w 13061856"/>
              <a:gd name="connsiteY5562" fmla="*/ 1357151 h 5116136"/>
              <a:gd name="connsiteX5563" fmla="*/ 1305038 w 13061856"/>
              <a:gd name="connsiteY5563" fmla="*/ 1321952 h 5116136"/>
              <a:gd name="connsiteX5564" fmla="*/ 1295967 w 13061856"/>
              <a:gd name="connsiteY5564" fmla="*/ 1311487 h 5116136"/>
              <a:gd name="connsiteX5565" fmla="*/ 1334064 w 13061856"/>
              <a:gd name="connsiteY5565" fmla="*/ 1310774 h 5116136"/>
              <a:gd name="connsiteX5566" fmla="*/ 1309270 w 13061856"/>
              <a:gd name="connsiteY5566" fmla="*/ 1322428 h 5116136"/>
              <a:gd name="connsiteX5567" fmla="*/ 1375792 w 13061856"/>
              <a:gd name="connsiteY5567" fmla="*/ 1340504 h 5116136"/>
              <a:gd name="connsiteX5568" fmla="*/ 1406029 w 13061856"/>
              <a:gd name="connsiteY5568" fmla="*/ 1310774 h 5116136"/>
              <a:gd name="connsiteX5569" fmla="*/ 1404820 w 13061856"/>
              <a:gd name="connsiteY5569" fmla="*/ 1334796 h 5116136"/>
              <a:gd name="connsiteX5570" fmla="*/ 1429613 w 13061856"/>
              <a:gd name="connsiteY5570" fmla="*/ 1322904 h 5116136"/>
              <a:gd name="connsiteX5571" fmla="*/ 1413286 w 13061856"/>
              <a:gd name="connsiteY5571" fmla="*/ 1351443 h 5116136"/>
              <a:gd name="connsiteX5572" fmla="*/ 1395143 w 13061856"/>
              <a:gd name="connsiteY5572" fmla="*/ 1339789 h 5116136"/>
              <a:gd name="connsiteX5573" fmla="*/ 1381839 w 13061856"/>
              <a:gd name="connsiteY5573" fmla="*/ 1364524 h 5116136"/>
              <a:gd name="connsiteX5574" fmla="*/ 1448361 w 13061856"/>
              <a:gd name="connsiteY5574" fmla="*/ 1364048 h 5116136"/>
              <a:gd name="connsiteX5575" fmla="*/ 1429613 w 13061856"/>
              <a:gd name="connsiteY5575" fmla="*/ 1358816 h 5116136"/>
              <a:gd name="connsiteX5576" fmla="*/ 1505208 w 13061856"/>
              <a:gd name="connsiteY5576" fmla="*/ 1380697 h 5116136"/>
              <a:gd name="connsiteX5577" fmla="*/ 1528188 w 13061856"/>
              <a:gd name="connsiteY5577" fmla="*/ 1357151 h 5116136"/>
              <a:gd name="connsiteX5578" fmla="*/ 1519721 w 13061856"/>
              <a:gd name="connsiteY5578" fmla="*/ 1380221 h 5116136"/>
              <a:gd name="connsiteX5579" fmla="*/ 1665464 w 13061856"/>
              <a:gd name="connsiteY5579" fmla="*/ 1350730 h 5116136"/>
              <a:gd name="connsiteX5580" fmla="*/ 1643088 w 13061856"/>
              <a:gd name="connsiteY5580" fmla="*/ 1323617 h 5116136"/>
              <a:gd name="connsiteX5581" fmla="*/ 1674535 w 13061856"/>
              <a:gd name="connsiteY5581" fmla="*/ 1351919 h 5116136"/>
              <a:gd name="connsiteX5582" fmla="*/ 1780969 w 13061856"/>
              <a:gd name="connsiteY5582" fmla="*/ 1357151 h 5116136"/>
              <a:gd name="connsiteX5583" fmla="*/ 1802740 w 13061856"/>
              <a:gd name="connsiteY5583" fmla="*/ 1380697 h 5116136"/>
              <a:gd name="connsiteX5584" fmla="*/ 1823302 w 13061856"/>
              <a:gd name="connsiteY5584" fmla="*/ 1374514 h 5116136"/>
              <a:gd name="connsiteX5585" fmla="*/ 1817254 w 13061856"/>
              <a:gd name="connsiteY5585" fmla="*/ 1346211 h 5116136"/>
              <a:gd name="connsiteX5586" fmla="*/ 1842049 w 13061856"/>
              <a:gd name="connsiteY5586" fmla="*/ 1376416 h 5116136"/>
              <a:gd name="connsiteX5587" fmla="*/ 1837211 w 13061856"/>
              <a:gd name="connsiteY5587" fmla="*/ 1369757 h 5116136"/>
              <a:gd name="connsiteX5588" fmla="*/ 1936389 w 13061856"/>
              <a:gd name="connsiteY5588" fmla="*/ 1364048 h 5116136"/>
              <a:gd name="connsiteX5589" fmla="*/ 1940017 w 13061856"/>
              <a:gd name="connsiteY5589" fmla="*/ 1380221 h 5116136"/>
              <a:gd name="connsiteX5590" fmla="*/ 1997468 w 13061856"/>
              <a:gd name="connsiteY5590" fmla="*/ 1393540 h 5116136"/>
              <a:gd name="connsiteX5591" fmla="*/ 2002910 w 13061856"/>
              <a:gd name="connsiteY5591" fmla="*/ 1376416 h 5116136"/>
              <a:gd name="connsiteX5592" fmla="*/ 2093017 w 13061856"/>
              <a:gd name="connsiteY5592" fmla="*/ 1351919 h 5116136"/>
              <a:gd name="connsiteX5593" fmla="*/ 2098460 w 13061856"/>
              <a:gd name="connsiteY5593" fmla="*/ 1385929 h 5116136"/>
              <a:gd name="connsiteX5594" fmla="*/ 2107532 w 13061856"/>
              <a:gd name="connsiteY5594" fmla="*/ 1398773 h 5116136"/>
              <a:gd name="connsiteX5595" fmla="*/ 2111160 w 13061856"/>
              <a:gd name="connsiteY5595" fmla="*/ 1369281 h 5116136"/>
              <a:gd name="connsiteX5596" fmla="*/ 2178890 w 13061856"/>
              <a:gd name="connsiteY5596" fmla="*/ 1323617 h 5116136"/>
              <a:gd name="connsiteX5597" fmla="*/ 2162563 w 13061856"/>
              <a:gd name="connsiteY5597" fmla="*/ 1311963 h 5116136"/>
              <a:gd name="connsiteX5598" fmla="*/ 2158934 w 13061856"/>
              <a:gd name="connsiteY5598" fmla="*/ 1335746 h 5116136"/>
              <a:gd name="connsiteX5599" fmla="*/ 2135349 w 13061856"/>
              <a:gd name="connsiteY5599" fmla="*/ 1323617 h 5116136"/>
              <a:gd name="connsiteX5600" fmla="*/ 2139583 w 13061856"/>
              <a:gd name="connsiteY5600" fmla="*/ 1339789 h 5116136"/>
              <a:gd name="connsiteX5601" fmla="*/ 2107532 w 13061856"/>
              <a:gd name="connsiteY5601" fmla="*/ 1357151 h 5116136"/>
              <a:gd name="connsiteX5602" fmla="*/ 2121440 w 13061856"/>
              <a:gd name="connsiteY5602" fmla="*/ 1322428 h 5116136"/>
              <a:gd name="connsiteX5603" fmla="*/ 2152887 w 13061856"/>
              <a:gd name="connsiteY5603" fmla="*/ 1311487 h 5116136"/>
              <a:gd name="connsiteX5604" fmla="*/ 2125068 w 13061856"/>
              <a:gd name="connsiteY5604" fmla="*/ 1299358 h 5116136"/>
              <a:gd name="connsiteX5605" fmla="*/ 2122045 w 13061856"/>
              <a:gd name="connsiteY5605" fmla="*/ 1265110 h 5116136"/>
              <a:gd name="connsiteX5606" fmla="*/ 2102693 w 13061856"/>
              <a:gd name="connsiteY5606" fmla="*/ 1271532 h 5116136"/>
              <a:gd name="connsiteX5607" fmla="*/ 2129907 w 13061856"/>
              <a:gd name="connsiteY5607" fmla="*/ 1305542 h 5116136"/>
              <a:gd name="connsiteX5608" fmla="*/ 2102088 w 13061856"/>
              <a:gd name="connsiteY5608" fmla="*/ 1317196 h 5116136"/>
              <a:gd name="connsiteX5609" fmla="*/ 2088783 w 13061856"/>
              <a:gd name="connsiteY5609" fmla="*/ 1299834 h 5116136"/>
              <a:gd name="connsiteX5610" fmla="*/ 2096646 w 13061856"/>
              <a:gd name="connsiteY5610" fmla="*/ 1282709 h 5116136"/>
              <a:gd name="connsiteX5611" fmla="*/ 2044637 w 13061856"/>
              <a:gd name="connsiteY5611" fmla="*/ 1276051 h 5116136"/>
              <a:gd name="connsiteX5612" fmla="*/ 2054918 w 13061856"/>
              <a:gd name="connsiteY5612" fmla="*/ 1259402 h 5116136"/>
              <a:gd name="connsiteX5613" fmla="*/ 2018029 w 13061856"/>
              <a:gd name="connsiteY5613" fmla="*/ 1281759 h 5116136"/>
              <a:gd name="connsiteX5614" fmla="*/ 1987792 w 13061856"/>
              <a:gd name="connsiteY5614" fmla="*/ 1259402 h 5116136"/>
              <a:gd name="connsiteX5615" fmla="*/ 1989001 w 13061856"/>
              <a:gd name="connsiteY5615" fmla="*/ 1277477 h 5116136"/>
              <a:gd name="connsiteX5616" fmla="*/ 1959974 w 13061856"/>
              <a:gd name="connsiteY5616" fmla="*/ 1241565 h 5116136"/>
              <a:gd name="connsiteX5617" fmla="*/ 1894661 w 13061856"/>
              <a:gd name="connsiteY5617" fmla="*/ 1253694 h 5116136"/>
              <a:gd name="connsiteX5618" fmla="*/ 1878937 w 13061856"/>
              <a:gd name="connsiteY5618" fmla="*/ 1269867 h 5116136"/>
              <a:gd name="connsiteX5619" fmla="*/ 1822092 w 13061856"/>
              <a:gd name="connsiteY5619" fmla="*/ 1259402 h 5116136"/>
              <a:gd name="connsiteX5620" fmla="*/ 1854143 w 13061856"/>
              <a:gd name="connsiteY5620" fmla="*/ 1242040 h 5116136"/>
              <a:gd name="connsiteX5621" fmla="*/ 1821487 w 13061856"/>
              <a:gd name="connsiteY5621" fmla="*/ 1229435 h 5116136"/>
              <a:gd name="connsiteX5622" fmla="*/ 1818464 w 13061856"/>
              <a:gd name="connsiteY5622" fmla="*/ 1247273 h 5116136"/>
              <a:gd name="connsiteX5623" fmla="*/ 1798508 w 13061856"/>
              <a:gd name="connsiteY5623" fmla="*/ 1247273 h 5116136"/>
              <a:gd name="connsiteX5624" fmla="*/ 1788227 w 13061856"/>
              <a:gd name="connsiteY5624" fmla="*/ 1224679 h 5116136"/>
              <a:gd name="connsiteX5625" fmla="*/ 1732591 w 13061856"/>
              <a:gd name="connsiteY5625" fmla="*/ 1229911 h 5116136"/>
              <a:gd name="connsiteX5626" fmla="*/ 1746499 w 13061856"/>
              <a:gd name="connsiteY5626" fmla="*/ 1241089 h 5116136"/>
              <a:gd name="connsiteX5627" fmla="*/ 1694491 w 13061856"/>
              <a:gd name="connsiteY5627" fmla="*/ 1230624 h 5116136"/>
              <a:gd name="connsiteX5628" fmla="*/ 1693282 w 13061856"/>
              <a:gd name="connsiteY5628" fmla="*/ 1248462 h 5116136"/>
              <a:gd name="connsiteX5629" fmla="*/ 1481017 w 13061856"/>
              <a:gd name="connsiteY5629" fmla="*/ 1212073 h 5116136"/>
              <a:gd name="connsiteX5630" fmla="*/ 1510649 w 13061856"/>
              <a:gd name="connsiteY5630" fmla="*/ 1206841 h 5116136"/>
              <a:gd name="connsiteX5631" fmla="*/ 1519116 w 13061856"/>
              <a:gd name="connsiteY5631" fmla="*/ 1178063 h 5116136"/>
              <a:gd name="connsiteX5632" fmla="*/ 1527583 w 13061856"/>
              <a:gd name="connsiteY5632" fmla="*/ 1200420 h 5116136"/>
              <a:gd name="connsiteX5633" fmla="*/ 1570519 w 13061856"/>
              <a:gd name="connsiteY5633" fmla="*/ 1212073 h 5116136"/>
              <a:gd name="connsiteX5634" fmla="*/ 1561448 w 13061856"/>
              <a:gd name="connsiteY5634" fmla="*/ 1195188 h 5116136"/>
              <a:gd name="connsiteX5635" fmla="*/ 1586242 w 13061856"/>
              <a:gd name="connsiteY5635" fmla="*/ 1183771 h 5116136"/>
              <a:gd name="connsiteX5636" fmla="*/ 1684815 w 13061856"/>
              <a:gd name="connsiteY5636" fmla="*/ 1184247 h 5116136"/>
              <a:gd name="connsiteX5637" fmla="*/ 1686025 w 13061856"/>
              <a:gd name="connsiteY5637" fmla="*/ 1205652 h 5116136"/>
              <a:gd name="connsiteX5638" fmla="*/ 1707795 w 13061856"/>
              <a:gd name="connsiteY5638" fmla="*/ 1205652 h 5116136"/>
              <a:gd name="connsiteX5639" fmla="*/ 1695096 w 13061856"/>
              <a:gd name="connsiteY5639" fmla="*/ 1176874 h 5116136"/>
              <a:gd name="connsiteX5640" fmla="*/ 1708400 w 13061856"/>
              <a:gd name="connsiteY5640" fmla="*/ 1142625 h 5116136"/>
              <a:gd name="connsiteX5641" fmla="*/ 1736824 w 13061856"/>
              <a:gd name="connsiteY5641" fmla="*/ 1149048 h 5116136"/>
              <a:gd name="connsiteX5642" fmla="*/ 1732591 w 13061856"/>
              <a:gd name="connsiteY5642" fmla="*/ 1184247 h 5116136"/>
              <a:gd name="connsiteX5643" fmla="*/ 1770689 w 13061856"/>
              <a:gd name="connsiteY5643" fmla="*/ 1153566 h 5116136"/>
              <a:gd name="connsiteX5644" fmla="*/ 1790041 w 13061856"/>
              <a:gd name="connsiteY5644" fmla="*/ 1149761 h 5116136"/>
              <a:gd name="connsiteX5645" fmla="*/ 1774923 w 13061856"/>
              <a:gd name="connsiteY5645" fmla="*/ 1160226 h 5116136"/>
              <a:gd name="connsiteX5646" fmla="*/ 1836606 w 13061856"/>
              <a:gd name="connsiteY5646" fmla="*/ 1177350 h 5116136"/>
              <a:gd name="connsiteX5647" fmla="*/ 1856562 w 13061856"/>
              <a:gd name="connsiteY5647" fmla="*/ 1200420 h 5116136"/>
              <a:gd name="connsiteX5648" fmla="*/ 1842049 w 13061856"/>
              <a:gd name="connsiteY5648" fmla="*/ 1207554 h 5116136"/>
              <a:gd name="connsiteX5649" fmla="*/ 1880148 w 13061856"/>
              <a:gd name="connsiteY5649" fmla="*/ 1206841 h 5116136"/>
              <a:gd name="connsiteX5650" fmla="*/ 1884381 w 13061856"/>
              <a:gd name="connsiteY5650" fmla="*/ 1183296 h 5116136"/>
              <a:gd name="connsiteX5651" fmla="*/ 1936389 w 13061856"/>
              <a:gd name="connsiteY5651" fmla="*/ 1195662 h 5116136"/>
              <a:gd name="connsiteX5652" fmla="*/ 1969045 w 13061856"/>
              <a:gd name="connsiteY5652" fmla="*/ 1166886 h 5116136"/>
              <a:gd name="connsiteX5653" fmla="*/ 1966021 w 13061856"/>
              <a:gd name="connsiteY5653" fmla="*/ 1184247 h 5116136"/>
              <a:gd name="connsiteX5654" fmla="*/ 1998072 w 13061856"/>
              <a:gd name="connsiteY5654" fmla="*/ 1166886 h 5116136"/>
              <a:gd name="connsiteX5655" fmla="*/ 2016215 w 13061856"/>
              <a:gd name="connsiteY5655" fmla="*/ 1188528 h 5116136"/>
              <a:gd name="connsiteX5656" fmla="*/ 2045242 w 13061856"/>
              <a:gd name="connsiteY5656" fmla="*/ 1183296 h 5116136"/>
              <a:gd name="connsiteX5657" fmla="*/ 2035567 w 13061856"/>
              <a:gd name="connsiteY5657" fmla="*/ 1142625 h 5116136"/>
              <a:gd name="connsiteX5658" fmla="*/ 2063989 w 13061856"/>
              <a:gd name="connsiteY5658" fmla="*/ 1149048 h 5116136"/>
              <a:gd name="connsiteX5659" fmla="*/ 2094227 w 13061856"/>
              <a:gd name="connsiteY5659" fmla="*/ 1125978 h 5116136"/>
              <a:gd name="connsiteX5660" fmla="*/ 2074875 w 13061856"/>
              <a:gd name="connsiteY5660" fmla="*/ 1125978 h 5116136"/>
              <a:gd name="connsiteX5661" fmla="*/ 2070037 w 13061856"/>
              <a:gd name="connsiteY5661" fmla="*/ 1090064 h 5116136"/>
              <a:gd name="connsiteX5662" fmla="*/ 2129907 w 13061856"/>
              <a:gd name="connsiteY5662" fmla="*/ 1124789 h 5116136"/>
              <a:gd name="connsiteX5663" fmla="*/ 2201871 w 13061856"/>
              <a:gd name="connsiteY5663" fmla="*/ 1091253 h 5116136"/>
              <a:gd name="connsiteX5664" fmla="*/ 2149259 w 13061856"/>
              <a:gd name="connsiteY5664" fmla="*/ 1130496 h 5116136"/>
              <a:gd name="connsiteX5665" fmla="*/ 2186752 w 13061856"/>
              <a:gd name="connsiteY5665" fmla="*/ 1183296 h 5116136"/>
              <a:gd name="connsiteX5666" fmla="*/ 2121440 w 13061856"/>
              <a:gd name="connsiteY5666" fmla="*/ 1147859 h 5116136"/>
              <a:gd name="connsiteX5667" fmla="*/ 2158329 w 13061856"/>
              <a:gd name="connsiteY5667" fmla="*/ 1176874 h 5116136"/>
              <a:gd name="connsiteX5668" fmla="*/ 2060362 w 13061856"/>
              <a:gd name="connsiteY5668" fmla="*/ 1172831 h 5116136"/>
              <a:gd name="connsiteX5669" fmla="*/ 2069433 w 13061856"/>
              <a:gd name="connsiteY5669" fmla="*/ 1218971 h 5116136"/>
              <a:gd name="connsiteX5670" fmla="*/ 2136558 w 13061856"/>
              <a:gd name="connsiteY5670" fmla="*/ 1224679 h 5116136"/>
              <a:gd name="connsiteX5671" fmla="*/ 2130512 w 13061856"/>
              <a:gd name="connsiteY5671" fmla="*/ 1200420 h 5116136"/>
              <a:gd name="connsiteX5672" fmla="*/ 2145630 w 13061856"/>
              <a:gd name="connsiteY5672" fmla="*/ 1189480 h 5116136"/>
              <a:gd name="connsiteX5673" fmla="*/ 2173448 w 13061856"/>
              <a:gd name="connsiteY5673" fmla="*/ 1208030 h 5116136"/>
              <a:gd name="connsiteX5674" fmla="*/ 2175262 w 13061856"/>
              <a:gd name="connsiteY5674" fmla="*/ 1206128 h 5116136"/>
              <a:gd name="connsiteX5675" fmla="*/ 2161354 w 13061856"/>
              <a:gd name="connsiteY5675" fmla="*/ 1192808 h 5116136"/>
              <a:gd name="connsiteX5676" fmla="*/ 2175867 w 13061856"/>
              <a:gd name="connsiteY5676" fmla="*/ 1205652 h 5116136"/>
              <a:gd name="connsiteX5677" fmla="*/ 2174053 w 13061856"/>
              <a:gd name="connsiteY5677" fmla="*/ 1198042 h 5116136"/>
              <a:gd name="connsiteX5678" fmla="*/ 2278674 w 13061856"/>
              <a:gd name="connsiteY5678" fmla="*/ 1213263 h 5116136"/>
              <a:gd name="connsiteX5679" fmla="*/ 2286534 w 13061856"/>
              <a:gd name="connsiteY5679" fmla="*/ 1201846 h 5116136"/>
              <a:gd name="connsiteX5680" fmla="*/ 2263554 w 13061856"/>
              <a:gd name="connsiteY5680" fmla="*/ 1189955 h 5116136"/>
              <a:gd name="connsiteX5681" fmla="*/ 2255089 w 13061856"/>
              <a:gd name="connsiteY5681" fmla="*/ 1161177 h 5116136"/>
              <a:gd name="connsiteX5682" fmla="*/ 2238760 w 13061856"/>
              <a:gd name="connsiteY5682" fmla="*/ 1195662 h 5116136"/>
              <a:gd name="connsiteX5683" fmla="*/ 2233923 w 13061856"/>
              <a:gd name="connsiteY5683" fmla="*/ 1153566 h 5116136"/>
              <a:gd name="connsiteX5684" fmla="*/ 2220013 w 13061856"/>
              <a:gd name="connsiteY5684" fmla="*/ 1184247 h 5116136"/>
              <a:gd name="connsiteX5685" fmla="*/ 2182519 w 13061856"/>
              <a:gd name="connsiteY5685" fmla="*/ 1137393 h 5116136"/>
              <a:gd name="connsiteX5686" fmla="*/ 2211546 w 13061856"/>
              <a:gd name="connsiteY5686" fmla="*/ 1125978 h 5116136"/>
              <a:gd name="connsiteX5687" fmla="*/ 2215780 w 13061856"/>
              <a:gd name="connsiteY5687" fmla="*/ 1147859 h 5116136"/>
              <a:gd name="connsiteX5688" fmla="*/ 2207918 w 13061856"/>
              <a:gd name="connsiteY5688" fmla="*/ 1108141 h 5116136"/>
              <a:gd name="connsiteX5689" fmla="*/ 2206105 w 13061856"/>
              <a:gd name="connsiteY5689" fmla="*/ 1095772 h 5116136"/>
              <a:gd name="connsiteX5690" fmla="*/ 2244203 w 13061856"/>
              <a:gd name="connsiteY5690" fmla="*/ 1108616 h 5116136"/>
              <a:gd name="connsiteX5691" fmla="*/ 2250855 w 13061856"/>
              <a:gd name="connsiteY5691" fmla="*/ 1079838 h 5116136"/>
              <a:gd name="connsiteX5692" fmla="*/ 2169215 w 13061856"/>
              <a:gd name="connsiteY5692" fmla="*/ 1066995 h 5116136"/>
              <a:gd name="connsiteX5693" fmla="*/ 2154096 w 13061856"/>
              <a:gd name="connsiteY5693" fmla="*/ 1091253 h 5116136"/>
              <a:gd name="connsiteX5694" fmla="*/ 2074875 w 13061856"/>
              <a:gd name="connsiteY5694" fmla="*/ 1078411 h 5116136"/>
              <a:gd name="connsiteX5695" fmla="*/ 2084550 w 13061856"/>
              <a:gd name="connsiteY5695" fmla="*/ 1043925 h 5116136"/>
              <a:gd name="connsiteX5696" fmla="*/ 2097855 w 13061856"/>
              <a:gd name="connsiteY5696" fmla="*/ 1062238 h 5116136"/>
              <a:gd name="connsiteX5697" fmla="*/ 2115997 w 13061856"/>
              <a:gd name="connsiteY5697" fmla="*/ 1073892 h 5116136"/>
              <a:gd name="connsiteX5698" fmla="*/ 2136558 w 13061856"/>
              <a:gd name="connsiteY5698" fmla="*/ 1056054 h 5116136"/>
              <a:gd name="connsiteX5699" fmla="*/ 2103298 w 13061856"/>
              <a:gd name="connsiteY5699" fmla="*/ 1045114 h 5116136"/>
              <a:gd name="connsiteX5700" fmla="*/ 2126278 w 13061856"/>
              <a:gd name="connsiteY5700" fmla="*/ 1027277 h 5116136"/>
              <a:gd name="connsiteX5701" fmla="*/ 2112974 w 13061856"/>
              <a:gd name="connsiteY5701" fmla="*/ 1010390 h 5116136"/>
              <a:gd name="connsiteX5702" fmla="*/ 2068828 w 13061856"/>
              <a:gd name="connsiteY5702" fmla="*/ 1020618 h 5116136"/>
              <a:gd name="connsiteX5703" fmla="*/ 2054918 w 13061856"/>
              <a:gd name="connsiteY5703" fmla="*/ 1050822 h 5116136"/>
              <a:gd name="connsiteX5704" fmla="*/ 1988397 w 13061856"/>
              <a:gd name="connsiteY5704" fmla="*/ 1048920 h 5116136"/>
              <a:gd name="connsiteX5705" fmla="*/ 1955136 w 13061856"/>
              <a:gd name="connsiteY5705" fmla="*/ 1038692 h 5116136"/>
              <a:gd name="connsiteX5706" fmla="*/ 1970254 w 13061856"/>
              <a:gd name="connsiteY5706" fmla="*/ 1022044 h 5116136"/>
              <a:gd name="connsiteX5707" fmla="*/ 1946670 w 13061856"/>
              <a:gd name="connsiteY5707" fmla="*/ 1022044 h 5116136"/>
              <a:gd name="connsiteX5708" fmla="*/ 1935784 w 13061856"/>
              <a:gd name="connsiteY5708" fmla="*/ 1038692 h 5116136"/>
              <a:gd name="connsiteX5709" fmla="*/ 1966021 w 13061856"/>
              <a:gd name="connsiteY5709" fmla="*/ 1055580 h 5116136"/>
              <a:gd name="connsiteX5710" fmla="*/ 1961183 w 13061856"/>
              <a:gd name="connsiteY5710" fmla="*/ 1096486 h 5116136"/>
              <a:gd name="connsiteX5711" fmla="*/ 1979930 w 13061856"/>
              <a:gd name="connsiteY5711" fmla="*/ 1108141 h 5116136"/>
              <a:gd name="connsiteX5712" fmla="*/ 2011981 w 13061856"/>
              <a:gd name="connsiteY5712" fmla="*/ 1091253 h 5116136"/>
              <a:gd name="connsiteX5713" fmla="*/ 2051894 w 13061856"/>
              <a:gd name="connsiteY5713" fmla="*/ 1114323 h 5116136"/>
              <a:gd name="connsiteX5714" fmla="*/ 2046453 w 13061856"/>
              <a:gd name="connsiteY5714" fmla="*/ 1086021 h 5116136"/>
              <a:gd name="connsiteX5715" fmla="*/ 2060362 w 13061856"/>
              <a:gd name="connsiteY5715" fmla="*/ 1124789 h 5116136"/>
              <a:gd name="connsiteX5716" fmla="*/ 2021658 w 13061856"/>
              <a:gd name="connsiteY5716" fmla="*/ 1125264 h 5116136"/>
              <a:gd name="connsiteX5717" fmla="*/ 2030124 w 13061856"/>
              <a:gd name="connsiteY5717" fmla="*/ 1147859 h 5116136"/>
              <a:gd name="connsiteX5718" fmla="*/ 2012586 w 13061856"/>
              <a:gd name="connsiteY5718" fmla="*/ 1166410 h 5116136"/>
              <a:gd name="connsiteX5719" fmla="*/ 2021658 w 13061856"/>
              <a:gd name="connsiteY5719" fmla="*/ 1137393 h 5116136"/>
              <a:gd name="connsiteX5720" fmla="*/ 2015610 w 13061856"/>
              <a:gd name="connsiteY5720" fmla="*/ 1149048 h 5116136"/>
              <a:gd name="connsiteX5721" fmla="*/ 1993840 w 13061856"/>
              <a:gd name="connsiteY5721" fmla="*/ 1154993 h 5116136"/>
              <a:gd name="connsiteX5722" fmla="*/ 1978721 w 13061856"/>
              <a:gd name="connsiteY5722" fmla="*/ 1131686 h 5116136"/>
              <a:gd name="connsiteX5723" fmla="*/ 1935784 w 13061856"/>
              <a:gd name="connsiteY5723" fmla="*/ 1125978 h 5116136"/>
              <a:gd name="connsiteX5724" fmla="*/ 1936993 w 13061856"/>
              <a:gd name="connsiteY5724" fmla="*/ 1142151 h 5116136"/>
              <a:gd name="connsiteX5725" fmla="*/ 1836606 w 13061856"/>
              <a:gd name="connsiteY5725" fmla="*/ 1143101 h 5116136"/>
              <a:gd name="connsiteX5726" fmla="*/ 1741056 w 13061856"/>
              <a:gd name="connsiteY5726" fmla="*/ 1119555 h 5116136"/>
              <a:gd name="connsiteX5727" fmla="*/ 1747104 w 13061856"/>
              <a:gd name="connsiteY5727" fmla="*/ 1143816 h 5116136"/>
              <a:gd name="connsiteX5728" fmla="*/ 1712634 w 13061856"/>
              <a:gd name="connsiteY5728" fmla="*/ 1113373 h 5116136"/>
              <a:gd name="connsiteX5729" fmla="*/ 1698120 w 13061856"/>
              <a:gd name="connsiteY5729" fmla="*/ 1119555 h 5116136"/>
              <a:gd name="connsiteX5730" fmla="*/ 1695096 w 13061856"/>
              <a:gd name="connsiteY5730" fmla="*/ 1137393 h 5116136"/>
              <a:gd name="connsiteX5731" fmla="*/ 1679977 w 13061856"/>
              <a:gd name="connsiteY5731" fmla="*/ 1108141 h 5116136"/>
              <a:gd name="connsiteX5732" fmla="*/ 1716867 w 13061856"/>
              <a:gd name="connsiteY5732" fmla="*/ 1119555 h 5116136"/>
              <a:gd name="connsiteX5733" fmla="*/ 1766456 w 13061856"/>
              <a:gd name="connsiteY5733" fmla="*/ 1101481 h 5116136"/>
              <a:gd name="connsiteX5734" fmla="*/ 1774317 w 13061856"/>
              <a:gd name="connsiteY5734" fmla="*/ 1126453 h 5116136"/>
              <a:gd name="connsiteX5735" fmla="*/ 1865029 w 13061856"/>
              <a:gd name="connsiteY5735" fmla="*/ 1096486 h 5116136"/>
              <a:gd name="connsiteX5736" fmla="*/ 1793669 w 13061856"/>
              <a:gd name="connsiteY5736" fmla="*/ 1090064 h 5116136"/>
              <a:gd name="connsiteX5737" fmla="*/ 1847492 w 13061856"/>
              <a:gd name="connsiteY5737" fmla="*/ 1072703 h 5116136"/>
              <a:gd name="connsiteX5738" fmla="*/ 1832373 w 13061856"/>
              <a:gd name="connsiteY5738" fmla="*/ 1049633 h 5116136"/>
              <a:gd name="connsiteX5739" fmla="*/ 1803345 w 13061856"/>
              <a:gd name="connsiteY5739" fmla="*/ 1043212 h 5116136"/>
              <a:gd name="connsiteX5740" fmla="*/ 1823302 w 13061856"/>
              <a:gd name="connsiteY5740" fmla="*/ 991364 h 5116136"/>
              <a:gd name="connsiteX5741" fmla="*/ 1814835 w 13061856"/>
              <a:gd name="connsiteY5741" fmla="*/ 1020618 h 5116136"/>
              <a:gd name="connsiteX5742" fmla="*/ 1803345 w 13061856"/>
              <a:gd name="connsiteY5742" fmla="*/ 997548 h 5116136"/>
              <a:gd name="connsiteX5743" fmla="*/ 1771898 w 13061856"/>
              <a:gd name="connsiteY5743" fmla="*/ 1009201 h 5116136"/>
              <a:gd name="connsiteX5744" fmla="*/ 1767665 w 13061856"/>
              <a:gd name="connsiteY5744" fmla="*/ 962824 h 5116136"/>
              <a:gd name="connsiteX5745" fmla="*/ 1794274 w 13061856"/>
              <a:gd name="connsiteY5745" fmla="*/ 987083 h 5116136"/>
              <a:gd name="connsiteX5746" fmla="*/ 1798508 w 13061856"/>
              <a:gd name="connsiteY5746" fmla="*/ 969483 h 5116136"/>
              <a:gd name="connsiteX5747" fmla="*/ 1775527 w 13061856"/>
              <a:gd name="connsiteY5747" fmla="*/ 945700 h 5116136"/>
              <a:gd name="connsiteX5748" fmla="*/ 1803950 w 13061856"/>
              <a:gd name="connsiteY5748" fmla="*/ 946176 h 5116136"/>
              <a:gd name="connsiteX5749" fmla="*/ 1795484 w 13061856"/>
              <a:gd name="connsiteY5749" fmla="*/ 933570 h 5116136"/>
              <a:gd name="connsiteX5750" fmla="*/ 1823302 w 13061856"/>
              <a:gd name="connsiteY5750" fmla="*/ 916209 h 5116136"/>
              <a:gd name="connsiteX5751" fmla="*/ 1828140 w 13061856"/>
              <a:gd name="connsiteY5751" fmla="*/ 946176 h 5116136"/>
              <a:gd name="connsiteX5752" fmla="*/ 1856562 w 13061856"/>
              <a:gd name="connsiteY5752" fmla="*/ 956640 h 5116136"/>
              <a:gd name="connsiteX5753" fmla="*/ 1865029 w 13061856"/>
              <a:gd name="connsiteY5753" fmla="*/ 933570 h 5116136"/>
              <a:gd name="connsiteX5754" fmla="*/ 1917037 w 13061856"/>
              <a:gd name="connsiteY5754" fmla="*/ 951884 h 5116136"/>
              <a:gd name="connsiteX5755" fmla="*/ 1894661 w 13061856"/>
              <a:gd name="connsiteY5755" fmla="*/ 957829 h 5116136"/>
              <a:gd name="connsiteX5756" fmla="*/ 1942436 w 13061856"/>
              <a:gd name="connsiteY5756" fmla="*/ 964251 h 5116136"/>
              <a:gd name="connsiteX5757" fmla="*/ 1927317 w 13061856"/>
              <a:gd name="connsiteY5757" fmla="*/ 974715 h 5116136"/>
              <a:gd name="connsiteX5758" fmla="*/ 1950902 w 13061856"/>
              <a:gd name="connsiteY5758" fmla="*/ 992316 h 5116136"/>
              <a:gd name="connsiteX5759" fmla="*/ 1961183 w 13061856"/>
              <a:gd name="connsiteY5759" fmla="*/ 975667 h 5116136"/>
              <a:gd name="connsiteX5760" fmla="*/ 1951507 w 13061856"/>
              <a:gd name="connsiteY5760" fmla="*/ 974715 h 5116136"/>
              <a:gd name="connsiteX5761" fmla="*/ 1964207 w 13061856"/>
              <a:gd name="connsiteY5761" fmla="*/ 957829 h 5116136"/>
              <a:gd name="connsiteX5762" fmla="*/ 1960579 w 13061856"/>
              <a:gd name="connsiteY5762" fmla="*/ 981375 h 5116136"/>
              <a:gd name="connsiteX5763" fmla="*/ 1970254 w 13061856"/>
              <a:gd name="connsiteY5763" fmla="*/ 1016337 h 5116136"/>
              <a:gd name="connsiteX5764" fmla="*/ 2002305 w 13061856"/>
              <a:gd name="connsiteY5764" fmla="*/ 1008725 h 5116136"/>
              <a:gd name="connsiteX5765" fmla="*/ 1979325 w 13061856"/>
              <a:gd name="connsiteY5765" fmla="*/ 997072 h 5116136"/>
              <a:gd name="connsiteX5766" fmla="*/ 1998677 w 13061856"/>
              <a:gd name="connsiteY5766" fmla="*/ 992316 h 5116136"/>
              <a:gd name="connsiteX5767" fmla="*/ 2013795 w 13061856"/>
              <a:gd name="connsiteY5767" fmla="*/ 973765 h 5116136"/>
              <a:gd name="connsiteX5768" fmla="*/ 2002910 w 13061856"/>
              <a:gd name="connsiteY5768" fmla="*/ 997072 h 5116136"/>
              <a:gd name="connsiteX5769" fmla="*/ 2054918 w 13061856"/>
              <a:gd name="connsiteY5769" fmla="*/ 1015385 h 5116136"/>
              <a:gd name="connsiteX5770" fmla="*/ 2054918 w 13061856"/>
              <a:gd name="connsiteY5770" fmla="*/ 969959 h 5116136"/>
              <a:gd name="connsiteX5771" fmla="*/ 2065198 w 13061856"/>
              <a:gd name="connsiteY5771" fmla="*/ 1004445 h 5116136"/>
              <a:gd name="connsiteX5772" fmla="*/ 2099065 w 13061856"/>
              <a:gd name="connsiteY5772" fmla="*/ 997072 h 5116136"/>
              <a:gd name="connsiteX5773" fmla="*/ 2088179 w 13061856"/>
              <a:gd name="connsiteY5773" fmla="*/ 974715 h 5116136"/>
              <a:gd name="connsiteX5774" fmla="*/ 2113578 w 13061856"/>
              <a:gd name="connsiteY5774" fmla="*/ 998737 h 5116136"/>
              <a:gd name="connsiteX5775" fmla="*/ 2135349 w 13061856"/>
              <a:gd name="connsiteY5775" fmla="*/ 950932 h 5116136"/>
              <a:gd name="connsiteX5776" fmla="*/ 2113578 w 13061856"/>
              <a:gd name="connsiteY5776" fmla="*/ 956640 h 5116136"/>
              <a:gd name="connsiteX5777" fmla="*/ 2107532 w 13061856"/>
              <a:gd name="connsiteY5777" fmla="*/ 940468 h 5116136"/>
              <a:gd name="connsiteX5778" fmla="*/ 2099065 w 13061856"/>
              <a:gd name="connsiteY5778" fmla="*/ 951408 h 5116136"/>
              <a:gd name="connsiteX5779" fmla="*/ 2093017 w 13061856"/>
              <a:gd name="connsiteY5779" fmla="*/ 933570 h 5116136"/>
              <a:gd name="connsiteX5780" fmla="*/ 2012586 w 13061856"/>
              <a:gd name="connsiteY5780" fmla="*/ 910263 h 5116136"/>
              <a:gd name="connsiteX5781" fmla="*/ 2016820 w 13061856"/>
              <a:gd name="connsiteY5781" fmla="*/ 881009 h 5116136"/>
              <a:gd name="connsiteX5782" fmla="*/ 2079108 w 13061856"/>
              <a:gd name="connsiteY5782" fmla="*/ 894328 h 5116136"/>
              <a:gd name="connsiteX5783" fmla="*/ 1960579 w 13061856"/>
              <a:gd name="connsiteY5783" fmla="*/ 818460 h 5116136"/>
              <a:gd name="connsiteX5784" fmla="*/ 1951507 w 13061856"/>
              <a:gd name="connsiteY5784" fmla="*/ 851280 h 5116136"/>
              <a:gd name="connsiteX5785" fmla="*/ 1947274 w 13061856"/>
              <a:gd name="connsiteY5785" fmla="*/ 841767 h 5116136"/>
              <a:gd name="connsiteX5786" fmla="*/ 1926713 w 13061856"/>
              <a:gd name="connsiteY5786" fmla="*/ 823692 h 5116136"/>
              <a:gd name="connsiteX5787" fmla="*/ 1946670 w 13061856"/>
              <a:gd name="connsiteY5787" fmla="*/ 817269 h 5116136"/>
              <a:gd name="connsiteX5788" fmla="*/ 1884381 w 13061856"/>
              <a:gd name="connsiteY5788" fmla="*/ 806329 h 5116136"/>
              <a:gd name="connsiteX5789" fmla="*/ 1888613 w 13061856"/>
              <a:gd name="connsiteY5789" fmla="*/ 771130 h 5116136"/>
              <a:gd name="connsiteX5790" fmla="*/ 1780969 w 13061856"/>
              <a:gd name="connsiteY5790" fmla="*/ 771605 h 5116136"/>
              <a:gd name="connsiteX5791" fmla="*/ 1776737 w 13061856"/>
              <a:gd name="connsiteY5791" fmla="*/ 753293 h 5116136"/>
              <a:gd name="connsiteX5792" fmla="*/ 1804554 w 13061856"/>
              <a:gd name="connsiteY5792" fmla="*/ 729985 h 5116136"/>
              <a:gd name="connsiteX5793" fmla="*/ 1765851 w 13061856"/>
              <a:gd name="connsiteY5793" fmla="*/ 742828 h 5116136"/>
              <a:gd name="connsiteX5794" fmla="*/ 1748314 w 13061856"/>
              <a:gd name="connsiteY5794" fmla="*/ 713336 h 5116136"/>
              <a:gd name="connsiteX5795" fmla="*/ 1722915 w 13061856"/>
              <a:gd name="connsiteY5795" fmla="*/ 737121 h 5116136"/>
              <a:gd name="connsiteX5796" fmla="*/ 1679977 w 13061856"/>
              <a:gd name="connsiteY5796" fmla="*/ 725466 h 5116136"/>
              <a:gd name="connsiteX5797" fmla="*/ 1672116 w 13061856"/>
              <a:gd name="connsiteY5797" fmla="*/ 694786 h 5116136"/>
              <a:gd name="connsiteX5798" fmla="*/ 1681187 w 13061856"/>
              <a:gd name="connsiteY5798" fmla="*/ 665770 h 5116136"/>
              <a:gd name="connsiteX5799" fmla="*/ 1729566 w 13061856"/>
              <a:gd name="connsiteY5799" fmla="*/ 660062 h 5116136"/>
              <a:gd name="connsiteX5800" fmla="*/ 1838421 w 13061856"/>
              <a:gd name="connsiteY5800" fmla="*/ 685510 h 5116136"/>
              <a:gd name="connsiteX5801" fmla="*/ 1827535 w 13061856"/>
              <a:gd name="connsiteY5801" fmla="*/ 702159 h 5116136"/>
              <a:gd name="connsiteX5802" fmla="*/ 1832373 w 13061856"/>
              <a:gd name="connsiteY5802" fmla="*/ 706439 h 5116136"/>
              <a:gd name="connsiteX5803" fmla="*/ 1843863 w 13061856"/>
              <a:gd name="connsiteY5803" fmla="*/ 678137 h 5116136"/>
              <a:gd name="connsiteX5804" fmla="*/ 1856562 w 13061856"/>
              <a:gd name="connsiteY5804" fmla="*/ 700731 h 5116136"/>
              <a:gd name="connsiteX5805" fmla="*/ 1860192 w 13061856"/>
              <a:gd name="connsiteY5805" fmla="*/ 679089 h 5116136"/>
              <a:gd name="connsiteX5806" fmla="*/ 1909175 w 13061856"/>
              <a:gd name="connsiteY5806" fmla="*/ 713336 h 5116136"/>
              <a:gd name="connsiteX5807" fmla="*/ 1955136 w 13061856"/>
              <a:gd name="connsiteY5807" fmla="*/ 695499 h 5116136"/>
              <a:gd name="connsiteX5808" fmla="*/ 1971464 w 13061856"/>
              <a:gd name="connsiteY5808" fmla="*/ 718569 h 5116136"/>
              <a:gd name="connsiteX5809" fmla="*/ 1971464 w 13061856"/>
              <a:gd name="connsiteY5809" fmla="*/ 672905 h 5116136"/>
              <a:gd name="connsiteX5810" fmla="*/ 1990211 w 13061856"/>
              <a:gd name="connsiteY5810" fmla="*/ 684321 h 5116136"/>
              <a:gd name="connsiteX5811" fmla="*/ 1999887 w 13061856"/>
              <a:gd name="connsiteY5811" fmla="*/ 713336 h 5116136"/>
              <a:gd name="connsiteX5812" fmla="*/ 2010168 w 13061856"/>
              <a:gd name="connsiteY5812" fmla="*/ 672429 h 5116136"/>
              <a:gd name="connsiteX5813" fmla="*/ 2042218 w 13061856"/>
              <a:gd name="connsiteY5813" fmla="*/ 690742 h 5116136"/>
              <a:gd name="connsiteX5814" fmla="*/ 2055523 w 13061856"/>
              <a:gd name="connsiteY5814" fmla="*/ 714051 h 5116136"/>
              <a:gd name="connsiteX5815" fmla="*/ 2014400 w 13061856"/>
              <a:gd name="connsiteY5815" fmla="*/ 678613 h 5116136"/>
              <a:gd name="connsiteX5816" fmla="*/ 2060966 w 13061856"/>
              <a:gd name="connsiteY5816" fmla="*/ 666721 h 5116136"/>
              <a:gd name="connsiteX5817" fmla="*/ 2079108 w 13061856"/>
              <a:gd name="connsiteY5817" fmla="*/ 719758 h 5116136"/>
              <a:gd name="connsiteX5818" fmla="*/ 2097855 w 13061856"/>
              <a:gd name="connsiteY5818" fmla="*/ 683845 h 5116136"/>
              <a:gd name="connsiteX5819" fmla="*/ 2080318 w 13061856"/>
              <a:gd name="connsiteY5819" fmla="*/ 701683 h 5116136"/>
              <a:gd name="connsiteX5820" fmla="*/ 2079713 w 13061856"/>
              <a:gd name="connsiteY5820" fmla="*/ 666721 h 5116136"/>
              <a:gd name="connsiteX5821" fmla="*/ 2123254 w 13061856"/>
              <a:gd name="connsiteY5821" fmla="*/ 661965 h 5116136"/>
              <a:gd name="connsiteX5822" fmla="*/ 2108741 w 13061856"/>
              <a:gd name="connsiteY5822" fmla="*/ 702159 h 5116136"/>
              <a:gd name="connsiteX5823" fmla="*/ 2136558 w 13061856"/>
              <a:gd name="connsiteY5823" fmla="*/ 685034 h 5116136"/>
              <a:gd name="connsiteX5824" fmla="*/ 2171029 w 13061856"/>
              <a:gd name="connsiteY5824" fmla="*/ 672429 h 5116136"/>
              <a:gd name="connsiteX5825" fmla="*/ 2222433 w 13061856"/>
              <a:gd name="connsiteY5825" fmla="*/ 648646 h 5116136"/>
              <a:gd name="connsiteX5826" fmla="*/ 2230899 w 13061856"/>
              <a:gd name="connsiteY5826" fmla="*/ 667197 h 5116136"/>
              <a:gd name="connsiteX5827" fmla="*/ 2231503 w 13061856"/>
              <a:gd name="connsiteY5827" fmla="*/ 737121 h 5116136"/>
              <a:gd name="connsiteX5828" fmla="*/ 2246622 w 13061856"/>
              <a:gd name="connsiteY5828" fmla="*/ 690267 h 5116136"/>
              <a:gd name="connsiteX5829" fmla="*/ 2288349 w 13061856"/>
              <a:gd name="connsiteY5829" fmla="*/ 719758 h 5116136"/>
              <a:gd name="connsiteX5830" fmla="*/ 2392366 w 13061856"/>
              <a:gd name="connsiteY5830" fmla="*/ 701207 h 5116136"/>
              <a:gd name="connsiteX5831" fmla="*/ 2379062 w 13061856"/>
              <a:gd name="connsiteY5831" fmla="*/ 678137 h 5116136"/>
              <a:gd name="connsiteX5832" fmla="*/ 2393575 w 13061856"/>
              <a:gd name="connsiteY5832" fmla="*/ 679089 h 5116136"/>
              <a:gd name="connsiteX5833" fmla="*/ 2397808 w 13061856"/>
              <a:gd name="connsiteY5833" fmla="*/ 695499 h 5116136"/>
              <a:gd name="connsiteX5834" fmla="*/ 2446792 w 13061856"/>
              <a:gd name="connsiteY5834" fmla="*/ 673857 h 5116136"/>
              <a:gd name="connsiteX5835" fmla="*/ 2436511 w 13061856"/>
              <a:gd name="connsiteY5835" fmla="*/ 690742 h 5116136"/>
              <a:gd name="connsiteX5836" fmla="*/ 2643938 w 13061856"/>
              <a:gd name="connsiteY5836" fmla="*/ 708817 h 5116136"/>
              <a:gd name="connsiteX5837" fmla="*/ 2601607 w 13061856"/>
              <a:gd name="connsiteY5837" fmla="*/ 691218 h 5116136"/>
              <a:gd name="connsiteX5838" fmla="*/ 2711065 w 13061856"/>
              <a:gd name="connsiteY5838" fmla="*/ 678613 h 5116136"/>
              <a:gd name="connsiteX5839" fmla="*/ 2703203 w 13061856"/>
              <a:gd name="connsiteY5839" fmla="*/ 650311 h 5116136"/>
              <a:gd name="connsiteX5840" fmla="*/ 2801776 w 13061856"/>
              <a:gd name="connsiteY5840" fmla="*/ 638657 h 5116136"/>
              <a:gd name="connsiteX5841" fmla="*/ 2744931 w 13061856"/>
              <a:gd name="connsiteY5841" fmla="*/ 586334 h 5116136"/>
              <a:gd name="connsiteX5842" fmla="*/ 2764282 w 13061856"/>
              <a:gd name="connsiteY5842" fmla="*/ 586334 h 5116136"/>
              <a:gd name="connsiteX5843" fmla="*/ 2740697 w 13061856"/>
              <a:gd name="connsiteY5843" fmla="*/ 540433 h 5116136"/>
              <a:gd name="connsiteX5844" fmla="*/ 2737069 w 13061856"/>
              <a:gd name="connsiteY5844" fmla="*/ 557794 h 5116136"/>
              <a:gd name="connsiteX5845" fmla="*/ 2622168 w 13061856"/>
              <a:gd name="connsiteY5845" fmla="*/ 546378 h 5116136"/>
              <a:gd name="connsiteX5846" fmla="*/ 2656033 w 13061856"/>
              <a:gd name="connsiteY5846" fmla="*/ 505233 h 5116136"/>
              <a:gd name="connsiteX5847" fmla="*/ 2617934 w 13061856"/>
              <a:gd name="connsiteY5847" fmla="*/ 458379 h 5116136"/>
              <a:gd name="connsiteX5848" fmla="*/ 2592535 w 13061856"/>
              <a:gd name="connsiteY5848" fmla="*/ 482163 h 5116136"/>
              <a:gd name="connsiteX5849" fmla="*/ 2584673 w 13061856"/>
              <a:gd name="connsiteY5849" fmla="*/ 447439 h 5116136"/>
              <a:gd name="connsiteX5850" fmla="*/ 2559879 w 13061856"/>
              <a:gd name="connsiteY5850" fmla="*/ 463137 h 5116136"/>
              <a:gd name="connsiteX5851" fmla="*/ 2509080 w 13061856"/>
              <a:gd name="connsiteY5851" fmla="*/ 464800 h 5116136"/>
              <a:gd name="connsiteX5852" fmla="*/ 2413531 w 13061856"/>
              <a:gd name="connsiteY5852" fmla="*/ 423180 h 5116136"/>
              <a:gd name="connsiteX5853" fmla="*/ 2376037 w 13061856"/>
              <a:gd name="connsiteY5853" fmla="*/ 447439 h 5116136"/>
              <a:gd name="connsiteX5854" fmla="*/ 2360918 w 13061856"/>
              <a:gd name="connsiteY5854" fmla="*/ 416758 h 5116136"/>
              <a:gd name="connsiteX5855" fmla="*/ 2266579 w 13061856"/>
              <a:gd name="connsiteY5855" fmla="*/ 422467 h 5116136"/>
              <a:gd name="connsiteX5856" fmla="*/ 2293792 w 13061856"/>
              <a:gd name="connsiteY5856" fmla="*/ 411050 h 5116136"/>
              <a:gd name="connsiteX5857" fmla="*/ 2248436 w 13061856"/>
              <a:gd name="connsiteY5857" fmla="*/ 371095 h 5116136"/>
              <a:gd name="connsiteX5858" fmla="*/ 2237551 w 13061856"/>
              <a:gd name="connsiteY5858" fmla="*/ 387980 h 5116136"/>
              <a:gd name="connsiteX5859" fmla="*/ 2218199 w 13061856"/>
              <a:gd name="connsiteY5859" fmla="*/ 358489 h 5116136"/>
              <a:gd name="connsiteX5860" fmla="*/ 2242389 w 13061856"/>
              <a:gd name="connsiteY5860" fmla="*/ 346836 h 5116136"/>
              <a:gd name="connsiteX5861" fmla="*/ 2313748 w 13061856"/>
              <a:gd name="connsiteY5861" fmla="*/ 313301 h 5116136"/>
              <a:gd name="connsiteX5862" fmla="*/ 2312539 w 13061856"/>
              <a:gd name="connsiteY5862" fmla="*/ 331376 h 5116136"/>
              <a:gd name="connsiteX5863" fmla="*/ 2360918 w 13061856"/>
              <a:gd name="connsiteY5863" fmla="*/ 337084 h 5116136"/>
              <a:gd name="connsiteX5864" fmla="*/ 2380875 w 13061856"/>
              <a:gd name="connsiteY5864" fmla="*/ 319247 h 5116136"/>
              <a:gd name="connsiteX5865" fmla="*/ 2374827 w 13061856"/>
              <a:gd name="connsiteY5865" fmla="*/ 294751 h 5116136"/>
              <a:gd name="connsiteX5866" fmla="*/ 2448001 w 13061856"/>
              <a:gd name="connsiteY5866" fmla="*/ 279291 h 5116136"/>
              <a:gd name="connsiteX5867" fmla="*/ 2533270 w 13061856"/>
              <a:gd name="connsiteY5867" fmla="*/ 308069 h 5116136"/>
              <a:gd name="connsiteX5868" fmla="*/ 2613701 w 13061856"/>
              <a:gd name="connsiteY5868" fmla="*/ 283334 h 5116136"/>
              <a:gd name="connsiteX5869" fmla="*/ 2623377 w 13061856"/>
              <a:gd name="connsiteY5869" fmla="*/ 319723 h 5116136"/>
              <a:gd name="connsiteX5870" fmla="*/ 2637891 w 13061856"/>
              <a:gd name="connsiteY5870" fmla="*/ 319247 h 5116136"/>
              <a:gd name="connsiteX5871" fmla="*/ 2775169 w 13061856"/>
              <a:gd name="connsiteY5871" fmla="*/ 313301 h 5116136"/>
              <a:gd name="connsiteX5872" fmla="*/ 2851366 w 13061856"/>
              <a:gd name="connsiteY5872" fmla="*/ 325431 h 5116136"/>
              <a:gd name="connsiteX5873" fmla="*/ 2845318 w 13061856"/>
              <a:gd name="connsiteY5873" fmla="*/ 307117 h 5116136"/>
              <a:gd name="connsiteX5874" fmla="*/ 2980175 w 13061856"/>
              <a:gd name="connsiteY5874" fmla="*/ 261215 h 5116136"/>
              <a:gd name="connsiteX5875" fmla="*/ 2940867 w 13061856"/>
              <a:gd name="connsiteY5875" fmla="*/ 273583 h 5116136"/>
              <a:gd name="connsiteX5876" fmla="*/ 3135595 w 13061856"/>
              <a:gd name="connsiteY5876" fmla="*/ 233152 h 5116136"/>
              <a:gd name="connsiteX5877" fmla="*/ 3216630 w 13061856"/>
              <a:gd name="connsiteY5877" fmla="*/ 244092 h 5116136"/>
              <a:gd name="connsiteX5878" fmla="*/ 3235982 w 13061856"/>
              <a:gd name="connsiteY5878" fmla="*/ 233627 h 5116136"/>
              <a:gd name="connsiteX5879" fmla="*/ 3258358 w 13061856"/>
              <a:gd name="connsiteY5879" fmla="*/ 257410 h 5116136"/>
              <a:gd name="connsiteX5880" fmla="*/ 3264405 w 13061856"/>
              <a:gd name="connsiteY5880" fmla="*/ 244092 h 5116136"/>
              <a:gd name="connsiteX5881" fmla="*/ 3297062 w 13061856"/>
              <a:gd name="connsiteY5881" fmla="*/ 256935 h 5116136"/>
              <a:gd name="connsiteX5882" fmla="*/ 3450666 w 13061856"/>
              <a:gd name="connsiteY5882" fmla="*/ 257886 h 5116136"/>
              <a:gd name="connsiteX5883" fmla="*/ 3597013 w 13061856"/>
              <a:gd name="connsiteY5883" fmla="*/ 262643 h 5116136"/>
              <a:gd name="connsiteX5884" fmla="*/ 3861891 w 13061856"/>
              <a:gd name="connsiteY5884" fmla="*/ 251702 h 5116136"/>
              <a:gd name="connsiteX5885" fmla="*/ 3867335 w 13061856"/>
              <a:gd name="connsiteY5885" fmla="*/ 281669 h 5116136"/>
              <a:gd name="connsiteX5886" fmla="*/ 3881244 w 13061856"/>
              <a:gd name="connsiteY5886" fmla="*/ 253129 h 5116136"/>
              <a:gd name="connsiteX5887" fmla="*/ 3896362 w 13061856"/>
              <a:gd name="connsiteY5887" fmla="*/ 282145 h 5116136"/>
              <a:gd name="connsiteX5888" fmla="*/ 3925389 w 13061856"/>
              <a:gd name="connsiteY5888" fmla="*/ 276437 h 5116136"/>
              <a:gd name="connsiteX5889" fmla="*/ 3905433 w 13061856"/>
              <a:gd name="connsiteY5889" fmla="*/ 246946 h 5116136"/>
              <a:gd name="connsiteX5890" fmla="*/ 3958651 w 13061856"/>
              <a:gd name="connsiteY5890" fmla="*/ 287378 h 5116136"/>
              <a:gd name="connsiteX5891" fmla="*/ 3971351 w 13061856"/>
              <a:gd name="connsiteY5891" fmla="*/ 265021 h 5116136"/>
              <a:gd name="connsiteX5892" fmla="*/ 4100159 w 13061856"/>
              <a:gd name="connsiteY5892" fmla="*/ 281669 h 5116136"/>
              <a:gd name="connsiteX5893" fmla="*/ 4098950 w 13061856"/>
              <a:gd name="connsiteY5893" fmla="*/ 299507 h 5116136"/>
              <a:gd name="connsiteX5894" fmla="*/ 4129188 w 13061856"/>
              <a:gd name="connsiteY5894" fmla="*/ 282145 h 5116136"/>
              <a:gd name="connsiteX5895" fmla="*/ 4152168 w 13061856"/>
              <a:gd name="connsiteY5895" fmla="*/ 299983 h 5116136"/>
              <a:gd name="connsiteX5896" fmla="*/ 4199338 w 13061856"/>
              <a:gd name="connsiteY5896" fmla="*/ 270729 h 5116136"/>
              <a:gd name="connsiteX5897" fmla="*/ 4243485 w 13061856"/>
              <a:gd name="connsiteY5897" fmla="*/ 299983 h 5116136"/>
              <a:gd name="connsiteX5898" fmla="*/ 4276140 w 13061856"/>
              <a:gd name="connsiteY5898" fmla="*/ 276913 h 5116136"/>
              <a:gd name="connsiteX5899" fmla="*/ 4262836 w 13061856"/>
              <a:gd name="connsiteY5899" fmla="*/ 293799 h 5116136"/>
              <a:gd name="connsiteX5900" fmla="*/ 4375319 w 13061856"/>
              <a:gd name="connsiteY5900" fmla="*/ 299507 h 5116136"/>
              <a:gd name="connsiteX5901" fmla="*/ 4443050 w 13061856"/>
              <a:gd name="connsiteY5901" fmla="*/ 301409 h 5116136"/>
              <a:gd name="connsiteX5902" fmla="*/ 4474497 w 13061856"/>
              <a:gd name="connsiteY5902" fmla="*/ 329711 h 5116136"/>
              <a:gd name="connsiteX5903" fmla="*/ 4551299 w 13061856"/>
              <a:gd name="connsiteY5903" fmla="*/ 342079 h 5116136"/>
              <a:gd name="connsiteX5904" fmla="*/ 4701880 w 13061856"/>
              <a:gd name="connsiteY5904" fmla="*/ 341128 h 5116136"/>
              <a:gd name="connsiteX5905" fmla="*/ 4769007 w 13061856"/>
              <a:gd name="connsiteY5905" fmla="*/ 348738 h 5116136"/>
              <a:gd name="connsiteX5906" fmla="*/ 4775053 w 13061856"/>
              <a:gd name="connsiteY5906" fmla="*/ 325431 h 5116136"/>
              <a:gd name="connsiteX5907" fmla="*/ 4817385 w 13061856"/>
              <a:gd name="connsiteY5907" fmla="*/ 343030 h 5116136"/>
              <a:gd name="connsiteX5908" fmla="*/ 4821619 w 13061856"/>
              <a:gd name="connsiteY5908" fmla="*/ 314015 h 5116136"/>
              <a:gd name="connsiteX5909" fmla="*/ 4832504 w 13061856"/>
              <a:gd name="connsiteY5909" fmla="*/ 330663 h 5116136"/>
              <a:gd name="connsiteX5910" fmla="*/ 4969177 w 13061856"/>
              <a:gd name="connsiteY5910" fmla="*/ 338273 h 5116136"/>
              <a:gd name="connsiteX5911" fmla="*/ 5049606 w 13061856"/>
              <a:gd name="connsiteY5911" fmla="*/ 315204 h 5116136"/>
              <a:gd name="connsiteX5912" fmla="*/ 5069565 w 13061856"/>
              <a:gd name="connsiteY5912" fmla="*/ 337084 h 5116136"/>
              <a:gd name="connsiteX5913" fmla="*/ 5087707 w 13061856"/>
              <a:gd name="connsiteY5913" fmla="*/ 314728 h 5116136"/>
              <a:gd name="connsiteX5914" fmla="*/ 5165114 w 13061856"/>
              <a:gd name="connsiteY5914" fmla="*/ 321388 h 5116136"/>
              <a:gd name="connsiteX5915" fmla="*/ 5221959 w 13061856"/>
              <a:gd name="connsiteY5915" fmla="*/ 320436 h 5116136"/>
              <a:gd name="connsiteX5916" fmla="*/ 5315693 w 13061856"/>
              <a:gd name="connsiteY5916" fmla="*/ 326144 h 5116136"/>
              <a:gd name="connsiteX5917" fmla="*/ 5321742 w 13061856"/>
              <a:gd name="connsiteY5917" fmla="*/ 310923 h 5116136"/>
              <a:gd name="connsiteX5918" fmla="*/ 5449343 w 13061856"/>
              <a:gd name="connsiteY5918" fmla="*/ 297605 h 5116136"/>
              <a:gd name="connsiteX5919" fmla="*/ 5476556 w 13061856"/>
              <a:gd name="connsiteY5919" fmla="*/ 327809 h 5116136"/>
              <a:gd name="connsiteX5920" fmla="*/ 5520703 w 13061856"/>
              <a:gd name="connsiteY5920" fmla="*/ 309971 h 5116136"/>
              <a:gd name="connsiteX5921" fmla="*/ 5557591 w 13061856"/>
              <a:gd name="connsiteY5921" fmla="*/ 334706 h 5116136"/>
              <a:gd name="connsiteX5922" fmla="*/ 5625323 w 13061856"/>
              <a:gd name="connsiteY5922" fmla="*/ 328998 h 5116136"/>
              <a:gd name="connsiteX5923" fmla="*/ 5657979 w 13061856"/>
              <a:gd name="connsiteY5923" fmla="*/ 345884 h 5116136"/>
              <a:gd name="connsiteX5924" fmla="*/ 5696683 w 13061856"/>
              <a:gd name="connsiteY5924" fmla="*/ 335419 h 5116136"/>
              <a:gd name="connsiteX5925" fmla="*/ 5743852 w 13061856"/>
              <a:gd name="connsiteY5925" fmla="*/ 359202 h 5116136"/>
              <a:gd name="connsiteX5926" fmla="*/ 5851497 w 13061856"/>
              <a:gd name="connsiteY5926" fmla="*/ 364197 h 5116136"/>
              <a:gd name="connsiteX5927" fmla="*/ 5856940 w 13061856"/>
              <a:gd name="connsiteY5927" fmla="*/ 394164 h 5116136"/>
              <a:gd name="connsiteX5928" fmla="*/ 5950674 w 13061856"/>
              <a:gd name="connsiteY5928" fmla="*/ 394164 h 5116136"/>
              <a:gd name="connsiteX5929" fmla="*/ 5933137 w 13061856"/>
              <a:gd name="connsiteY5929" fmla="*/ 359202 h 5116136"/>
              <a:gd name="connsiteX5930" fmla="*/ 6057110 w 13061856"/>
              <a:gd name="connsiteY5930" fmla="*/ 383700 h 5116136"/>
              <a:gd name="connsiteX5931" fmla="*/ 6018406 w 13061856"/>
              <a:gd name="connsiteY5931" fmla="*/ 343030 h 5116136"/>
              <a:gd name="connsiteX5932" fmla="*/ 5943417 w 13061856"/>
              <a:gd name="connsiteY5932" fmla="*/ 354446 h 5116136"/>
              <a:gd name="connsiteX5933" fmla="*/ 6181081 w 13061856"/>
              <a:gd name="connsiteY5933" fmla="*/ 315204 h 5116136"/>
              <a:gd name="connsiteX5934" fmla="*/ 6041990 w 13061856"/>
              <a:gd name="connsiteY5934" fmla="*/ 267162 h 5116136"/>
              <a:gd name="connsiteX5935" fmla="*/ 5985144 w 13061856"/>
              <a:gd name="connsiteY5935" fmla="*/ 290232 h 5116136"/>
              <a:gd name="connsiteX5936" fmla="*/ 5977887 w 13061856"/>
              <a:gd name="connsiteY5936" fmla="*/ 255983 h 5116136"/>
              <a:gd name="connsiteX5937" fmla="*/ 5867825 w 13061856"/>
              <a:gd name="connsiteY5937" fmla="*/ 290232 h 5116136"/>
              <a:gd name="connsiteX5938" fmla="*/ 5820049 w 13061856"/>
              <a:gd name="connsiteY5938" fmla="*/ 278102 h 5116136"/>
              <a:gd name="connsiteX5939" fmla="*/ 5832750 w 13061856"/>
              <a:gd name="connsiteY5939" fmla="*/ 265497 h 5116136"/>
              <a:gd name="connsiteX5940" fmla="*/ 5772879 w 13061856"/>
              <a:gd name="connsiteY5940" fmla="*/ 272394 h 5116136"/>
              <a:gd name="connsiteX5941" fmla="*/ 5680960 w 13061856"/>
              <a:gd name="connsiteY5941" fmla="*/ 276437 h 5116136"/>
              <a:gd name="connsiteX5942" fmla="*/ 5554568 w 13061856"/>
              <a:gd name="connsiteY5942" fmla="*/ 269301 h 5116136"/>
              <a:gd name="connsiteX5943" fmla="*/ 5543682 w 13061856"/>
              <a:gd name="connsiteY5943" fmla="*/ 246470 h 5116136"/>
              <a:gd name="connsiteX5944" fmla="*/ 5411848 w 13061856"/>
              <a:gd name="connsiteY5944" fmla="*/ 235292 h 5116136"/>
              <a:gd name="connsiteX5945" fmla="*/ 5521912 w 13061856"/>
              <a:gd name="connsiteY5945" fmla="*/ 212936 h 5116136"/>
              <a:gd name="connsiteX5946" fmla="*/ 5512840 w 13061856"/>
              <a:gd name="connsiteY5946" fmla="*/ 194385 h 5116136"/>
              <a:gd name="connsiteX5947" fmla="*/ 5479580 w 13061856"/>
              <a:gd name="connsiteY5947" fmla="*/ 189627 h 5116136"/>
              <a:gd name="connsiteX5948" fmla="*/ 5416686 w 13061856"/>
              <a:gd name="connsiteY5948" fmla="*/ 193670 h 5116136"/>
              <a:gd name="connsiteX5949" fmla="*/ 5354397 w 13061856"/>
              <a:gd name="connsiteY5949" fmla="*/ 234341 h 5116136"/>
              <a:gd name="connsiteX5950" fmla="*/ 5332022 w 13061856"/>
              <a:gd name="connsiteY5950" fmla="*/ 210558 h 5116136"/>
              <a:gd name="connsiteX5951" fmla="*/ 5555172 w 13061856"/>
              <a:gd name="connsiteY5951" fmla="*/ 172266 h 5116136"/>
              <a:gd name="connsiteX5952" fmla="*/ 5593271 w 13061856"/>
              <a:gd name="connsiteY5952" fmla="*/ 177498 h 5116136"/>
              <a:gd name="connsiteX5953" fmla="*/ 5620484 w 13061856"/>
              <a:gd name="connsiteY5953" fmla="*/ 207703 h 5116136"/>
              <a:gd name="connsiteX5954" fmla="*/ 5641046 w 13061856"/>
              <a:gd name="connsiteY5954" fmla="*/ 183206 h 5116136"/>
              <a:gd name="connsiteX5955" fmla="*/ 5654350 w 13061856"/>
              <a:gd name="connsiteY5955" fmla="*/ 200568 h 5116136"/>
              <a:gd name="connsiteX5956" fmla="*/ 5682169 w 13061856"/>
              <a:gd name="connsiteY5956" fmla="*/ 177023 h 5116136"/>
              <a:gd name="connsiteX5957" fmla="*/ 5693658 w 13061856"/>
              <a:gd name="connsiteY5957" fmla="*/ 189627 h 5116136"/>
              <a:gd name="connsiteX5958" fmla="*/ 5855126 w 13061856"/>
              <a:gd name="connsiteY5958" fmla="*/ 177974 h 5116136"/>
              <a:gd name="connsiteX5959" fmla="*/ 5991192 w 13061856"/>
              <a:gd name="connsiteY5959" fmla="*/ 191531 h 5116136"/>
              <a:gd name="connsiteX5960" fmla="*/ 6058318 w 13061856"/>
              <a:gd name="connsiteY5960" fmla="*/ 191531 h 5116136"/>
              <a:gd name="connsiteX5961" fmla="*/ 6081299 w 13061856"/>
              <a:gd name="connsiteY5961" fmla="*/ 173693 h 5116136"/>
              <a:gd name="connsiteX5962" fmla="*/ 6072228 w 13061856"/>
              <a:gd name="connsiteY5962" fmla="*/ 156806 h 5116136"/>
              <a:gd name="connsiteX5963" fmla="*/ 2495172 w 13061856"/>
              <a:gd name="connsiteY5963" fmla="*/ 141109 h 5116136"/>
              <a:gd name="connsiteX5964" fmla="*/ 2461910 w 13061856"/>
              <a:gd name="connsiteY5964" fmla="*/ 156806 h 5116136"/>
              <a:gd name="connsiteX5965" fmla="*/ 2495172 w 13061856"/>
              <a:gd name="connsiteY5965" fmla="*/ 141109 h 5116136"/>
              <a:gd name="connsiteX5966" fmla="*/ 3745175 w 13061856"/>
              <a:gd name="connsiteY5966" fmla="*/ 140396 h 5116136"/>
              <a:gd name="connsiteX5967" fmla="*/ 3750619 w 13061856"/>
              <a:gd name="connsiteY5967" fmla="*/ 143488 h 5116136"/>
              <a:gd name="connsiteX5968" fmla="*/ 3727638 w 13061856"/>
              <a:gd name="connsiteY5968" fmla="*/ 150861 h 5116136"/>
              <a:gd name="connsiteX5969" fmla="*/ 3739129 w 13061856"/>
              <a:gd name="connsiteY5969" fmla="*/ 141109 h 5116136"/>
              <a:gd name="connsiteX5970" fmla="*/ 3745175 w 13061856"/>
              <a:gd name="connsiteY5970" fmla="*/ 140396 h 5116136"/>
              <a:gd name="connsiteX5971" fmla="*/ 3851006 w 13061856"/>
              <a:gd name="connsiteY5971" fmla="*/ 123986 h 5116136"/>
              <a:gd name="connsiteX5972" fmla="*/ 3881244 w 13061856"/>
              <a:gd name="connsiteY5972" fmla="*/ 142299 h 5116136"/>
              <a:gd name="connsiteX5973" fmla="*/ 3894548 w 13061856"/>
              <a:gd name="connsiteY5973" fmla="*/ 134212 h 5116136"/>
              <a:gd name="connsiteX5974" fmla="*/ 4046944 w 13061856"/>
              <a:gd name="connsiteY5974" fmla="*/ 153715 h 5116136"/>
              <a:gd name="connsiteX5975" fmla="*/ 4112860 w 13061856"/>
              <a:gd name="connsiteY5975" fmla="*/ 177974 h 5116136"/>
              <a:gd name="connsiteX5976" fmla="*/ 4007634 w 13061856"/>
              <a:gd name="connsiteY5976" fmla="*/ 171315 h 5116136"/>
              <a:gd name="connsiteX5977" fmla="*/ 4011263 w 13061856"/>
              <a:gd name="connsiteY5977" fmla="*/ 184634 h 5116136"/>
              <a:gd name="connsiteX5978" fmla="*/ 3912690 w 13061856"/>
              <a:gd name="connsiteY5978" fmla="*/ 183919 h 5116136"/>
              <a:gd name="connsiteX5979" fmla="*/ 3922366 w 13061856"/>
              <a:gd name="connsiteY5979" fmla="*/ 191531 h 5116136"/>
              <a:gd name="connsiteX5980" fmla="*/ 3793555 w 13061856"/>
              <a:gd name="connsiteY5980" fmla="*/ 209130 h 5116136"/>
              <a:gd name="connsiteX5981" fmla="*/ 3788113 w 13061856"/>
              <a:gd name="connsiteY5981" fmla="*/ 129693 h 5116136"/>
              <a:gd name="connsiteX5982" fmla="*/ 3878825 w 13061856"/>
              <a:gd name="connsiteY5982" fmla="*/ 143488 h 5116136"/>
              <a:gd name="connsiteX5983" fmla="*/ 3817745 w 13061856"/>
              <a:gd name="connsiteY5983" fmla="*/ 139444 h 5116136"/>
              <a:gd name="connsiteX5984" fmla="*/ 3851006 w 13061856"/>
              <a:gd name="connsiteY5984" fmla="*/ 123986 h 5116136"/>
              <a:gd name="connsiteX5985" fmla="*/ 4390135 w 13061856"/>
              <a:gd name="connsiteY5985" fmla="*/ 123867 h 5116136"/>
              <a:gd name="connsiteX5986" fmla="*/ 4396484 w 13061856"/>
              <a:gd name="connsiteY5986" fmla="*/ 127315 h 5116136"/>
              <a:gd name="connsiteX5987" fmla="*/ 4391042 w 13061856"/>
              <a:gd name="connsiteY5987" fmla="*/ 150385 h 5116136"/>
              <a:gd name="connsiteX5988" fmla="*/ 4385599 w 13061856"/>
              <a:gd name="connsiteY5988" fmla="*/ 123986 h 5116136"/>
              <a:gd name="connsiteX5989" fmla="*/ 4390135 w 13061856"/>
              <a:gd name="connsiteY5989" fmla="*/ 123867 h 5116136"/>
              <a:gd name="connsiteX5990" fmla="*/ 3709497 w 13061856"/>
              <a:gd name="connsiteY5990" fmla="*/ 122559 h 5116136"/>
              <a:gd name="connsiteX5991" fmla="*/ 3618179 w 13061856"/>
              <a:gd name="connsiteY5991" fmla="*/ 155617 h 5116136"/>
              <a:gd name="connsiteX5992" fmla="*/ 3609713 w 13061856"/>
              <a:gd name="connsiteY5992" fmla="*/ 135401 h 5116136"/>
              <a:gd name="connsiteX5993" fmla="*/ 3709497 w 13061856"/>
              <a:gd name="connsiteY5993" fmla="*/ 122559 h 5116136"/>
              <a:gd name="connsiteX5994" fmla="*/ 4391042 w 13061856"/>
              <a:gd name="connsiteY5994" fmla="*/ 89024 h 5116136"/>
              <a:gd name="connsiteX5995" fmla="*/ 4391647 w 13061856"/>
              <a:gd name="connsiteY5995" fmla="*/ 119705 h 5116136"/>
              <a:gd name="connsiteX5996" fmla="*/ 4377134 w 13061856"/>
              <a:gd name="connsiteY5996" fmla="*/ 112094 h 5116136"/>
              <a:gd name="connsiteX5997" fmla="*/ 4391042 w 13061856"/>
              <a:gd name="connsiteY5997" fmla="*/ 89024 h 5116136"/>
              <a:gd name="connsiteX5998" fmla="*/ 2994690 w 13061856"/>
              <a:gd name="connsiteY5998" fmla="*/ 77608 h 5116136"/>
              <a:gd name="connsiteX5999" fmla="*/ 3007389 w 13061856"/>
              <a:gd name="connsiteY5999" fmla="*/ 77608 h 5116136"/>
              <a:gd name="connsiteX6000" fmla="*/ 3032183 w 13061856"/>
              <a:gd name="connsiteY6000" fmla="*/ 90451 h 5116136"/>
              <a:gd name="connsiteX6001" fmla="*/ 3060606 w 13061856"/>
              <a:gd name="connsiteY6001" fmla="*/ 90927 h 5116136"/>
              <a:gd name="connsiteX6002" fmla="*/ 3021903 w 13061856"/>
              <a:gd name="connsiteY6002" fmla="*/ 103056 h 5116136"/>
              <a:gd name="connsiteX6003" fmla="*/ 3014041 w 13061856"/>
              <a:gd name="connsiteY6003" fmla="*/ 84744 h 5116136"/>
              <a:gd name="connsiteX6004" fmla="*/ 2980780 w 13061856"/>
              <a:gd name="connsiteY6004" fmla="*/ 85694 h 5116136"/>
              <a:gd name="connsiteX6005" fmla="*/ 2994690 w 13061856"/>
              <a:gd name="connsiteY6005" fmla="*/ 77608 h 5116136"/>
              <a:gd name="connsiteX6006" fmla="*/ 1165341 w 13061856"/>
              <a:gd name="connsiteY6006" fmla="*/ 73328 h 5116136"/>
              <a:gd name="connsiteX6007" fmla="*/ 1239724 w 13061856"/>
              <a:gd name="connsiteY6007" fmla="*/ 99013 h 5116136"/>
              <a:gd name="connsiteX6008" fmla="*/ 1144175 w 13061856"/>
              <a:gd name="connsiteY6008" fmla="*/ 80938 h 5116136"/>
              <a:gd name="connsiteX6009" fmla="*/ 1165341 w 13061856"/>
              <a:gd name="connsiteY6009" fmla="*/ 73328 h 5116136"/>
              <a:gd name="connsiteX6010" fmla="*/ 2951752 w 13061856"/>
              <a:gd name="connsiteY6010" fmla="*/ 69046 h 5116136"/>
              <a:gd name="connsiteX6011" fmla="*/ 2974129 w 13061856"/>
              <a:gd name="connsiteY6011" fmla="*/ 69522 h 5116136"/>
              <a:gd name="connsiteX6012" fmla="*/ 2936634 w 13061856"/>
              <a:gd name="connsiteY6012" fmla="*/ 75706 h 5116136"/>
              <a:gd name="connsiteX6013" fmla="*/ 2951752 w 13061856"/>
              <a:gd name="connsiteY6013" fmla="*/ 69046 h 5116136"/>
              <a:gd name="connsiteX6014" fmla="*/ 2903836 w 13061856"/>
              <a:gd name="connsiteY6014" fmla="*/ 58444 h 5116136"/>
              <a:gd name="connsiteX6015" fmla="*/ 2922121 w 13061856"/>
              <a:gd name="connsiteY6015" fmla="*/ 64765 h 5116136"/>
              <a:gd name="connsiteX6016" fmla="*/ 2892488 w 13061856"/>
              <a:gd name="connsiteY6016" fmla="*/ 67144 h 5116136"/>
              <a:gd name="connsiteX6017" fmla="*/ 2897931 w 13061856"/>
              <a:gd name="connsiteY6017" fmla="*/ 58581 h 5116136"/>
              <a:gd name="connsiteX6018" fmla="*/ 2903836 w 13061856"/>
              <a:gd name="connsiteY6018" fmla="*/ 58444 h 5116136"/>
              <a:gd name="connsiteX6019" fmla="*/ 2807219 w 13061856"/>
              <a:gd name="connsiteY6019" fmla="*/ 39317 h 5116136"/>
              <a:gd name="connsiteX6020" fmla="*/ 2885231 w 13061856"/>
              <a:gd name="connsiteY6020" fmla="*/ 62624 h 5116136"/>
              <a:gd name="connsiteX6021" fmla="*/ 2833223 w 13061856"/>
              <a:gd name="connsiteY6021" fmla="*/ 74278 h 5116136"/>
              <a:gd name="connsiteX6022" fmla="*/ 2796334 w 13061856"/>
              <a:gd name="connsiteY6022" fmla="*/ 50495 h 5116136"/>
              <a:gd name="connsiteX6023" fmla="*/ 2807219 w 13061856"/>
              <a:gd name="connsiteY6023" fmla="*/ 39317 h 5116136"/>
              <a:gd name="connsiteX6024" fmla="*/ 2697156 w 13061856"/>
              <a:gd name="connsiteY6024" fmla="*/ 23858 h 5116136"/>
              <a:gd name="connsiteX6025" fmla="*/ 2709855 w 13061856"/>
              <a:gd name="connsiteY6025" fmla="*/ 51684 h 5116136"/>
              <a:gd name="connsiteX6026" fmla="*/ 2744931 w 13061856"/>
              <a:gd name="connsiteY6026" fmla="*/ 29803 h 5116136"/>
              <a:gd name="connsiteX6027" fmla="*/ 2759444 w 13061856"/>
              <a:gd name="connsiteY6027" fmla="*/ 30755 h 5116136"/>
              <a:gd name="connsiteX6028" fmla="*/ 2795728 w 13061856"/>
              <a:gd name="connsiteY6028" fmla="*/ 68333 h 5116136"/>
              <a:gd name="connsiteX6029" fmla="*/ 2648776 w 13061856"/>
              <a:gd name="connsiteY6029" fmla="*/ 74754 h 5116136"/>
              <a:gd name="connsiteX6030" fmla="*/ 2648171 w 13061856"/>
              <a:gd name="connsiteY6030" fmla="*/ 40744 h 5116136"/>
              <a:gd name="connsiteX6031" fmla="*/ 2697156 w 13061856"/>
              <a:gd name="connsiteY6031" fmla="*/ 23858 h 5116136"/>
              <a:gd name="connsiteX6032" fmla="*/ 2537504 w 13061856"/>
              <a:gd name="connsiteY6032" fmla="*/ 19815 h 5116136"/>
              <a:gd name="connsiteX6033" fmla="*/ 2549599 w 13061856"/>
              <a:gd name="connsiteY6033" fmla="*/ 41696 h 5116136"/>
              <a:gd name="connsiteX6034" fmla="*/ 2522385 w 13061856"/>
              <a:gd name="connsiteY6034" fmla="*/ 35512 h 5116136"/>
              <a:gd name="connsiteX6035" fmla="*/ 2537504 w 13061856"/>
              <a:gd name="connsiteY6035" fmla="*/ 19815 h 5116136"/>
              <a:gd name="connsiteX6036" fmla="*/ 2372409 w 13061856"/>
              <a:gd name="connsiteY6036" fmla="*/ 8161 h 5116136"/>
              <a:gd name="connsiteX6037" fmla="*/ 2458887 w 13061856"/>
              <a:gd name="connsiteY6037" fmla="*/ 19815 h 5116136"/>
              <a:gd name="connsiteX6038" fmla="*/ 2439535 w 13061856"/>
              <a:gd name="connsiteY6038" fmla="*/ 44550 h 5116136"/>
              <a:gd name="connsiteX6039" fmla="*/ 2365756 w 13061856"/>
              <a:gd name="connsiteY6039" fmla="*/ 38366 h 5116136"/>
              <a:gd name="connsiteX6040" fmla="*/ 2372409 w 13061856"/>
              <a:gd name="connsiteY6040" fmla="*/ 8161 h 5116136"/>
              <a:gd name="connsiteX6041" fmla="*/ 4369876 w 13061856"/>
              <a:gd name="connsiteY6041" fmla="*/ 75 h 5116136"/>
              <a:gd name="connsiteX6042" fmla="*/ 4391042 w 13061856"/>
              <a:gd name="connsiteY6042" fmla="*/ 10539 h 5116136"/>
              <a:gd name="connsiteX6043" fmla="*/ 4380156 w 13061856"/>
              <a:gd name="connsiteY6043" fmla="*/ 38841 h 5116136"/>
              <a:gd name="connsiteX6044" fmla="*/ 4381366 w 13061856"/>
              <a:gd name="connsiteY6044" fmla="*/ 21480 h 5116136"/>
              <a:gd name="connsiteX6045" fmla="*/ 4368062 w 13061856"/>
              <a:gd name="connsiteY6045" fmla="*/ 10539 h 5116136"/>
              <a:gd name="connsiteX6046" fmla="*/ 4369876 w 13061856"/>
              <a:gd name="connsiteY6046" fmla="*/ 75 h 511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</a:cxnLst>
            <a:rect l="l" t="t" r="r" b="b"/>
            <a:pathLst>
              <a:path w="13061856" h="5116136">
                <a:moveTo>
                  <a:pt x="11799146" y="5070920"/>
                </a:moveTo>
                <a:lnTo>
                  <a:pt x="11797332" y="5092087"/>
                </a:lnTo>
                <a:cubicBezTo>
                  <a:pt x="11799750" y="5100649"/>
                  <a:pt x="11813660" y="5093752"/>
                  <a:pt x="11815474" y="5104454"/>
                </a:cubicBezTo>
                <a:cubicBezTo>
                  <a:pt x="11813660" y="5135849"/>
                  <a:pt x="11805193" y="5092800"/>
                  <a:pt x="11786446" y="5103741"/>
                </a:cubicBezTo>
                <a:cubicBezTo>
                  <a:pt x="11789471" y="5091373"/>
                  <a:pt x="11781004" y="5064974"/>
                  <a:pt x="11799146" y="5070920"/>
                </a:cubicBezTo>
                <a:close/>
                <a:moveTo>
                  <a:pt x="11784632" y="4992197"/>
                </a:moveTo>
                <a:cubicBezTo>
                  <a:pt x="11789471" y="4994575"/>
                  <a:pt x="11794308" y="4998380"/>
                  <a:pt x="11799146" y="4996954"/>
                </a:cubicBezTo>
                <a:cubicBezTo>
                  <a:pt x="11798541" y="5008370"/>
                  <a:pt x="11798541" y="5023591"/>
                  <a:pt x="11785842" y="5020499"/>
                </a:cubicBezTo>
                <a:close/>
                <a:moveTo>
                  <a:pt x="11784027" y="4948912"/>
                </a:moveTo>
                <a:cubicBezTo>
                  <a:pt x="11797936" y="4958662"/>
                  <a:pt x="11800356" y="4993386"/>
                  <a:pt x="11779795" y="4976738"/>
                </a:cubicBezTo>
                <a:cubicBezTo>
                  <a:pt x="11778584" y="4963657"/>
                  <a:pt x="11783423" y="4959376"/>
                  <a:pt x="11784027" y="4948912"/>
                </a:cubicBezTo>
                <a:close/>
                <a:moveTo>
                  <a:pt x="9539825" y="4799790"/>
                </a:moveTo>
                <a:cubicBezTo>
                  <a:pt x="9550711" y="4804785"/>
                  <a:pt x="9559782" y="4809541"/>
                  <a:pt x="9563410" y="4826189"/>
                </a:cubicBezTo>
                <a:cubicBezTo>
                  <a:pt x="9552525" y="4815010"/>
                  <a:pt x="9548292" y="4810967"/>
                  <a:pt x="9533778" y="4820005"/>
                </a:cubicBezTo>
                <a:cubicBezTo>
                  <a:pt x="9536801" y="4814060"/>
                  <a:pt x="9539221" y="4810017"/>
                  <a:pt x="9539825" y="4799790"/>
                </a:cubicBezTo>
                <a:close/>
                <a:moveTo>
                  <a:pt x="9567643" y="4795746"/>
                </a:moveTo>
                <a:cubicBezTo>
                  <a:pt x="9568853" y="4793844"/>
                  <a:pt x="9583367" y="4799314"/>
                  <a:pt x="9586995" y="4799790"/>
                </a:cubicBezTo>
                <a:cubicBezTo>
                  <a:pt x="9586390" y="4811919"/>
                  <a:pt x="9585181" y="4828329"/>
                  <a:pt x="9571877" y="4825238"/>
                </a:cubicBezTo>
                <a:cubicBezTo>
                  <a:pt x="9564619" y="4814297"/>
                  <a:pt x="9586995" y="4803595"/>
                  <a:pt x="9571272" y="4800265"/>
                </a:cubicBezTo>
                <a:cubicBezTo>
                  <a:pt x="9567643" y="4797411"/>
                  <a:pt x="9567038" y="4796460"/>
                  <a:pt x="9567643" y="4795746"/>
                </a:cubicBezTo>
                <a:close/>
                <a:moveTo>
                  <a:pt x="7308928" y="4675165"/>
                </a:moveTo>
                <a:cubicBezTo>
                  <a:pt x="7317998" y="4677067"/>
                  <a:pt x="7320418" y="4684440"/>
                  <a:pt x="7333117" y="4682299"/>
                </a:cubicBezTo>
                <a:cubicBezTo>
                  <a:pt x="7332512" y="4698711"/>
                  <a:pt x="7323442" y="4708462"/>
                  <a:pt x="7303485" y="4706797"/>
                </a:cubicBezTo>
                <a:cubicBezTo>
                  <a:pt x="7298042" y="4700376"/>
                  <a:pt x="7295623" y="4689911"/>
                  <a:pt x="7296833" y="4675641"/>
                </a:cubicBezTo>
                <a:cubicBezTo>
                  <a:pt x="7301670" y="4674452"/>
                  <a:pt x="7305904" y="4674452"/>
                  <a:pt x="7308928" y="4675165"/>
                </a:cubicBezTo>
                <a:close/>
                <a:moveTo>
                  <a:pt x="9721853" y="4631642"/>
                </a:moveTo>
                <a:cubicBezTo>
                  <a:pt x="9712781" y="4667792"/>
                  <a:pt x="9738181" y="4636636"/>
                  <a:pt x="9730319" y="4687057"/>
                </a:cubicBezTo>
                <a:cubicBezTo>
                  <a:pt x="9724271" y="4674213"/>
                  <a:pt x="9694035" y="4631403"/>
                  <a:pt x="9721853" y="4631642"/>
                </a:cubicBezTo>
                <a:close/>
                <a:moveTo>
                  <a:pt x="9799260" y="4625934"/>
                </a:moveTo>
                <a:cubicBezTo>
                  <a:pt x="9801074" y="4633782"/>
                  <a:pt x="9812564" y="4634495"/>
                  <a:pt x="9811960" y="4647815"/>
                </a:cubicBezTo>
                <a:cubicBezTo>
                  <a:pt x="9798051" y="4644722"/>
                  <a:pt x="9795027" y="4654473"/>
                  <a:pt x="9783537" y="4655425"/>
                </a:cubicBezTo>
                <a:cubicBezTo>
                  <a:pt x="9791398" y="4642581"/>
                  <a:pt x="9784141" y="4647100"/>
                  <a:pt x="9782932" y="4629738"/>
                </a:cubicBezTo>
                <a:cubicBezTo>
                  <a:pt x="9789584" y="4630452"/>
                  <a:pt x="9796841" y="4631403"/>
                  <a:pt x="9799260" y="4625934"/>
                </a:cubicBezTo>
                <a:close/>
                <a:moveTo>
                  <a:pt x="9574900" y="4604290"/>
                </a:moveTo>
                <a:cubicBezTo>
                  <a:pt x="9557968" y="4602864"/>
                  <a:pt x="9559177" y="4627123"/>
                  <a:pt x="9555548" y="4642581"/>
                </a:cubicBezTo>
                <a:cubicBezTo>
                  <a:pt x="9572481" y="4642107"/>
                  <a:pt x="9576110" y="4620226"/>
                  <a:pt x="9574900" y="4604290"/>
                </a:cubicBezTo>
                <a:close/>
                <a:moveTo>
                  <a:pt x="11205893" y="4574323"/>
                </a:moveTo>
                <a:cubicBezTo>
                  <a:pt x="11202869" y="4586453"/>
                  <a:pt x="11206498" y="4595015"/>
                  <a:pt x="11212545" y="4593350"/>
                </a:cubicBezTo>
                <a:cubicBezTo>
                  <a:pt x="11205893" y="4611188"/>
                  <a:pt x="11190774" y="4593589"/>
                  <a:pt x="11193798" y="4575512"/>
                </a:cubicBezTo>
                <a:close/>
                <a:moveTo>
                  <a:pt x="10449964" y="4548875"/>
                </a:moveTo>
                <a:cubicBezTo>
                  <a:pt x="10437869" y="4551967"/>
                  <a:pt x="10428193" y="4556962"/>
                  <a:pt x="10425170" y="4572658"/>
                </a:cubicBezTo>
                <a:cubicBezTo>
                  <a:pt x="10437264" y="4569804"/>
                  <a:pt x="10451173" y="4566950"/>
                  <a:pt x="10449964" y="4548875"/>
                </a:cubicBezTo>
                <a:close/>
                <a:moveTo>
                  <a:pt x="10087722" y="4498217"/>
                </a:moveTo>
                <a:cubicBezTo>
                  <a:pt x="10075628" y="4502973"/>
                  <a:pt x="10056880" y="4499406"/>
                  <a:pt x="10058090" y="4521287"/>
                </a:cubicBezTo>
                <a:cubicBezTo>
                  <a:pt x="10073209" y="4512724"/>
                  <a:pt x="10088327" y="4533892"/>
                  <a:pt x="10087722" y="4498217"/>
                </a:cubicBezTo>
                <a:close/>
                <a:moveTo>
                  <a:pt x="11221011" y="4495838"/>
                </a:moveTo>
                <a:cubicBezTo>
                  <a:pt x="11233106" y="4501309"/>
                  <a:pt x="11245201" y="4510822"/>
                  <a:pt x="11245806" y="4534605"/>
                </a:cubicBezTo>
                <a:cubicBezTo>
                  <a:pt x="11236130" y="4520811"/>
                  <a:pt x="11217383" y="4523665"/>
                  <a:pt x="11221011" y="4495838"/>
                </a:cubicBezTo>
                <a:close/>
                <a:moveTo>
                  <a:pt x="10880541" y="4480855"/>
                </a:moveTo>
                <a:cubicBezTo>
                  <a:pt x="10888403" y="4480142"/>
                  <a:pt x="10896869" y="4480142"/>
                  <a:pt x="10905336" y="4481331"/>
                </a:cubicBezTo>
                <a:cubicBezTo>
                  <a:pt x="10922268" y="4483472"/>
                  <a:pt x="10937992" y="4489654"/>
                  <a:pt x="10942829" y="4502736"/>
                </a:cubicBezTo>
                <a:cubicBezTo>
                  <a:pt x="10926502" y="4496790"/>
                  <a:pt x="10895660" y="4490130"/>
                  <a:pt x="10862399" y="4484898"/>
                </a:cubicBezTo>
                <a:cubicBezTo>
                  <a:pt x="10866632" y="4482996"/>
                  <a:pt x="10873284" y="4481331"/>
                  <a:pt x="10880541" y="4480855"/>
                </a:cubicBezTo>
                <a:close/>
                <a:moveTo>
                  <a:pt x="11144814" y="4447321"/>
                </a:moveTo>
                <a:cubicBezTo>
                  <a:pt x="11151466" y="4449937"/>
                  <a:pt x="11160537" y="4464206"/>
                  <a:pt x="11157514" y="4478001"/>
                </a:cubicBezTo>
                <a:cubicBezTo>
                  <a:pt x="11151466" y="4475623"/>
                  <a:pt x="11147233" y="4469915"/>
                  <a:pt x="11140580" y="4467536"/>
                </a:cubicBezTo>
                <a:cubicBezTo>
                  <a:pt x="11142999" y="4462304"/>
                  <a:pt x="11147838" y="4451601"/>
                  <a:pt x="11139371" y="4448986"/>
                </a:cubicBezTo>
                <a:cubicBezTo>
                  <a:pt x="11140580" y="4446845"/>
                  <a:pt x="11142394" y="4446369"/>
                  <a:pt x="11144814" y="4447321"/>
                </a:cubicBezTo>
                <a:close/>
                <a:moveTo>
                  <a:pt x="10032691" y="4440423"/>
                </a:moveTo>
                <a:cubicBezTo>
                  <a:pt x="10026038" y="4445656"/>
                  <a:pt x="10016362" y="4445894"/>
                  <a:pt x="10009106" y="4449462"/>
                </a:cubicBezTo>
                <a:cubicBezTo>
                  <a:pt x="10023620" y="4473482"/>
                  <a:pt x="10049624" y="4453505"/>
                  <a:pt x="10074418" y="4461828"/>
                </a:cubicBezTo>
                <a:cubicBezTo>
                  <a:pt x="10058695" y="4458024"/>
                  <a:pt x="10042972" y="4450888"/>
                  <a:pt x="10032691" y="4440423"/>
                </a:cubicBezTo>
                <a:close/>
                <a:moveTo>
                  <a:pt x="10379209" y="4385960"/>
                </a:moveTo>
                <a:cubicBezTo>
                  <a:pt x="10391303" y="4387149"/>
                  <a:pt x="10378604" y="4406176"/>
                  <a:pt x="10368928" y="4401657"/>
                </a:cubicBezTo>
                <a:cubicBezTo>
                  <a:pt x="10370742" y="4412597"/>
                  <a:pt x="10390699" y="4403083"/>
                  <a:pt x="10384652" y="4424014"/>
                </a:cubicBezTo>
                <a:cubicBezTo>
                  <a:pt x="10352600" y="4421397"/>
                  <a:pt x="10318734" y="4409980"/>
                  <a:pt x="10287287" y="4394760"/>
                </a:cubicBezTo>
                <a:cubicBezTo>
                  <a:pt x="10300592" y="4374305"/>
                  <a:pt x="10329015" y="4405224"/>
                  <a:pt x="10353810" y="4407365"/>
                </a:cubicBezTo>
                <a:cubicBezTo>
                  <a:pt x="10368323" y="4406889"/>
                  <a:pt x="10371348" y="4394284"/>
                  <a:pt x="10379209" y="4385960"/>
                </a:cubicBezTo>
                <a:close/>
                <a:moveTo>
                  <a:pt x="10429402" y="4379063"/>
                </a:moveTo>
                <a:cubicBezTo>
                  <a:pt x="10428193" y="4401418"/>
                  <a:pt x="10415494" y="4409743"/>
                  <a:pt x="10404608" y="4420208"/>
                </a:cubicBezTo>
                <a:cubicBezTo>
                  <a:pt x="10413680" y="4398564"/>
                  <a:pt x="10407027" y="4390241"/>
                  <a:pt x="10429402" y="4379063"/>
                </a:cubicBezTo>
                <a:close/>
                <a:moveTo>
                  <a:pt x="10861189" y="4370977"/>
                </a:moveTo>
                <a:cubicBezTo>
                  <a:pt x="10898683" y="4370262"/>
                  <a:pt x="10903522" y="4374305"/>
                  <a:pt x="10937387" y="4389051"/>
                </a:cubicBezTo>
                <a:cubicBezTo>
                  <a:pt x="10940411" y="4422586"/>
                  <a:pt x="10898079" y="4415213"/>
                  <a:pt x="10886589" y="4400468"/>
                </a:cubicBezTo>
                <a:cubicBezTo>
                  <a:pt x="10900497" y="4375970"/>
                  <a:pt x="10873284" y="4381917"/>
                  <a:pt x="10861189" y="4370977"/>
                </a:cubicBezTo>
                <a:close/>
                <a:moveTo>
                  <a:pt x="10284869" y="4335539"/>
                </a:moveTo>
                <a:cubicBezTo>
                  <a:pt x="10303616" y="4337204"/>
                  <a:pt x="10304825" y="4360274"/>
                  <a:pt x="10318734" y="4365268"/>
                </a:cubicBezTo>
                <a:cubicBezTo>
                  <a:pt x="10312083" y="4381917"/>
                  <a:pt x="10292126" y="4357658"/>
                  <a:pt x="10281845" y="4359560"/>
                </a:cubicBezTo>
                <a:cubicBezTo>
                  <a:pt x="10278217" y="4360274"/>
                  <a:pt x="10275797" y="4362890"/>
                  <a:pt x="10275193" y="4370977"/>
                </a:cubicBezTo>
                <a:cubicBezTo>
                  <a:pt x="10272169" y="4369788"/>
                  <a:pt x="10269751" y="4367171"/>
                  <a:pt x="10267936" y="4364793"/>
                </a:cubicBezTo>
                <a:cubicBezTo>
                  <a:pt x="10257051" y="4366219"/>
                  <a:pt x="10245560" y="4362890"/>
                  <a:pt x="10248585" y="4347907"/>
                </a:cubicBezTo>
                <a:cubicBezTo>
                  <a:pt x="10257051" y="4346718"/>
                  <a:pt x="10260679" y="4350998"/>
                  <a:pt x="10264307" y="4354804"/>
                </a:cubicBezTo>
                <a:cubicBezTo>
                  <a:pt x="10272774" y="4350285"/>
                  <a:pt x="10293335" y="4360274"/>
                  <a:pt x="10284869" y="4335539"/>
                </a:cubicBezTo>
                <a:close/>
                <a:moveTo>
                  <a:pt x="7472813" y="4334588"/>
                </a:moveTo>
                <a:cubicBezTo>
                  <a:pt x="7435924" y="4359322"/>
                  <a:pt x="7460113" y="4395236"/>
                  <a:pt x="7475836" y="4408554"/>
                </a:cubicBezTo>
                <a:cubicBezTo>
                  <a:pt x="7455275" y="4396662"/>
                  <a:pt x="7402058" y="4370501"/>
                  <a:pt x="7374240" y="4404035"/>
                </a:cubicBezTo>
                <a:cubicBezTo>
                  <a:pt x="7325860" y="4371927"/>
                  <a:pt x="7267805" y="4396662"/>
                  <a:pt x="7223659" y="4384771"/>
                </a:cubicBezTo>
                <a:cubicBezTo>
                  <a:pt x="7218215" y="4352425"/>
                  <a:pt x="7181327" y="4379537"/>
                  <a:pt x="7158952" y="4361701"/>
                </a:cubicBezTo>
                <a:cubicBezTo>
                  <a:pt x="7184350" y="4329831"/>
                  <a:pt x="7221240" y="4378824"/>
                  <a:pt x="7259943" y="4368123"/>
                </a:cubicBezTo>
                <a:cubicBezTo>
                  <a:pt x="7262363" y="4362414"/>
                  <a:pt x="7260547" y="4358371"/>
                  <a:pt x="7255710" y="4355993"/>
                </a:cubicBezTo>
                <a:cubicBezTo>
                  <a:pt x="7279295" y="4357895"/>
                  <a:pt x="7319813" y="4359322"/>
                  <a:pt x="7355493" y="4356468"/>
                </a:cubicBezTo>
                <a:cubicBezTo>
                  <a:pt x="7356098" y="4350522"/>
                  <a:pt x="7348236" y="4351474"/>
                  <a:pt x="7345817" y="4351235"/>
                </a:cubicBezTo>
                <a:cubicBezTo>
                  <a:pt x="7379682" y="4346003"/>
                  <a:pt x="7429271" y="4348857"/>
                  <a:pt x="7472813" y="4334588"/>
                </a:cubicBezTo>
                <a:close/>
                <a:moveTo>
                  <a:pt x="5491675" y="4332685"/>
                </a:moveTo>
                <a:cubicBezTo>
                  <a:pt x="5487441" y="4333874"/>
                  <a:pt x="5482603" y="4337442"/>
                  <a:pt x="5480185" y="4342199"/>
                </a:cubicBezTo>
                <a:cubicBezTo>
                  <a:pt x="5486837" y="4350522"/>
                  <a:pt x="5503165" y="4351711"/>
                  <a:pt x="5504375" y="4337917"/>
                </a:cubicBezTo>
                <a:cubicBezTo>
                  <a:pt x="5500745" y="4332685"/>
                  <a:pt x="5496512" y="4331734"/>
                  <a:pt x="5491675" y="4332685"/>
                </a:cubicBezTo>
                <a:close/>
                <a:moveTo>
                  <a:pt x="8552279" y="4318416"/>
                </a:moveTo>
                <a:cubicBezTo>
                  <a:pt x="8571026" y="4327928"/>
                  <a:pt x="8579493" y="4348381"/>
                  <a:pt x="8592797" y="4320079"/>
                </a:cubicBezTo>
                <a:cubicBezTo>
                  <a:pt x="8597634" y="4320318"/>
                  <a:pt x="8595216" y="4326263"/>
                  <a:pt x="8592797" y="4326026"/>
                </a:cubicBezTo>
                <a:cubicBezTo>
                  <a:pt x="8606706" y="4376446"/>
                  <a:pt x="8671413" y="4326976"/>
                  <a:pt x="8705884" y="4349572"/>
                </a:cubicBezTo>
                <a:cubicBezTo>
                  <a:pt x="8681694" y="4351474"/>
                  <a:pt x="8626663" y="4358371"/>
                  <a:pt x="8587960" y="4362890"/>
                </a:cubicBezTo>
                <a:cubicBezTo>
                  <a:pt x="8584331" y="4350761"/>
                  <a:pt x="8571631" y="4357895"/>
                  <a:pt x="8581912" y="4345053"/>
                </a:cubicBezTo>
                <a:cubicBezTo>
                  <a:pt x="8554094" y="4336728"/>
                  <a:pt x="8511762" y="4364555"/>
                  <a:pt x="8528090" y="4326502"/>
                </a:cubicBezTo>
                <a:cubicBezTo>
                  <a:pt x="8534742" y="4342912"/>
                  <a:pt x="8549256" y="4335777"/>
                  <a:pt x="8552279" y="4318416"/>
                </a:cubicBezTo>
                <a:close/>
                <a:moveTo>
                  <a:pt x="10590265" y="4306761"/>
                </a:moveTo>
                <a:cubicBezTo>
                  <a:pt x="10599940" y="4311756"/>
                  <a:pt x="10609616" y="4314610"/>
                  <a:pt x="10610825" y="4331258"/>
                </a:cubicBezTo>
                <a:cubicBezTo>
                  <a:pt x="10605383" y="4324598"/>
                  <a:pt x="10601150" y="4325787"/>
                  <a:pt x="10598126" y="4337917"/>
                </a:cubicBezTo>
                <a:cubicBezTo>
                  <a:pt x="10590265" y="4333161"/>
                  <a:pt x="10591474" y="4316988"/>
                  <a:pt x="10590265" y="4306761"/>
                </a:cubicBezTo>
                <a:close/>
                <a:moveTo>
                  <a:pt x="5736596" y="4304383"/>
                </a:moveTo>
                <a:cubicBezTo>
                  <a:pt x="5728129" y="4329355"/>
                  <a:pt x="5712405" y="4310329"/>
                  <a:pt x="5691239" y="4308664"/>
                </a:cubicBezTo>
                <a:cubicBezTo>
                  <a:pt x="5694869" y="4322696"/>
                  <a:pt x="5687612" y="4328166"/>
                  <a:pt x="5694263" y="4332685"/>
                </a:cubicBezTo>
                <a:cubicBezTo>
                  <a:pt x="5702730" y="4313658"/>
                  <a:pt x="5703335" y="4341723"/>
                  <a:pt x="5698497" y="4339345"/>
                </a:cubicBezTo>
                <a:cubicBezTo>
                  <a:pt x="5713011" y="4344338"/>
                  <a:pt x="5766228" y="4334588"/>
                  <a:pt x="5736596" y="4304383"/>
                </a:cubicBezTo>
                <a:close/>
                <a:moveTo>
                  <a:pt x="11069825" y="4300578"/>
                </a:moveTo>
                <a:cubicBezTo>
                  <a:pt x="11071036" y="4301053"/>
                  <a:pt x="11072245" y="4302004"/>
                  <a:pt x="11073454" y="4304383"/>
                </a:cubicBezTo>
                <a:cubicBezTo>
                  <a:pt x="11072245" y="4324122"/>
                  <a:pt x="11057730" y="4318890"/>
                  <a:pt x="11060150" y="4340771"/>
                </a:cubicBezTo>
                <a:cubicBezTo>
                  <a:pt x="11052288" y="4332685"/>
                  <a:pt x="11058940" y="4306048"/>
                  <a:pt x="11066802" y="4301053"/>
                </a:cubicBezTo>
                <a:cubicBezTo>
                  <a:pt x="11068011" y="4300102"/>
                  <a:pt x="11068616" y="4299863"/>
                  <a:pt x="11069825" y="4300578"/>
                </a:cubicBezTo>
                <a:close/>
                <a:moveTo>
                  <a:pt x="5592667" y="4300578"/>
                </a:moveTo>
                <a:cubicBezTo>
                  <a:pt x="5573920" y="4302956"/>
                  <a:pt x="5556383" y="4311756"/>
                  <a:pt x="5548520" y="4326026"/>
                </a:cubicBezTo>
                <a:cubicBezTo>
                  <a:pt x="5571501" y="4337917"/>
                  <a:pt x="5608995" y="4317225"/>
                  <a:pt x="5638023" y="4313658"/>
                </a:cubicBezTo>
                <a:cubicBezTo>
                  <a:pt x="5628951" y="4302004"/>
                  <a:pt x="5610810" y="4297961"/>
                  <a:pt x="5592667" y="4300578"/>
                </a:cubicBezTo>
                <a:close/>
                <a:moveTo>
                  <a:pt x="10285473" y="4299389"/>
                </a:moveTo>
                <a:lnTo>
                  <a:pt x="10283659" y="4331734"/>
                </a:lnTo>
                <a:cubicBezTo>
                  <a:pt x="10255236" y="4327215"/>
                  <a:pt x="10243141" y="4332447"/>
                  <a:pt x="10224394" y="4324598"/>
                </a:cubicBezTo>
                <a:cubicBezTo>
                  <a:pt x="10242537" y="4299626"/>
                  <a:pt x="10271565" y="4331020"/>
                  <a:pt x="10285473" y="4299389"/>
                </a:cubicBezTo>
                <a:close/>
                <a:moveTo>
                  <a:pt x="9501122" y="4298674"/>
                </a:moveTo>
                <a:cubicBezTo>
                  <a:pt x="9492655" y="4300339"/>
                  <a:pt x="9484188" y="4307713"/>
                  <a:pt x="9488422" y="4317940"/>
                </a:cubicBezTo>
                <a:cubicBezTo>
                  <a:pt x="9505354" y="4317464"/>
                  <a:pt x="9501122" y="4301528"/>
                  <a:pt x="9517450" y="4312707"/>
                </a:cubicBezTo>
                <a:cubicBezTo>
                  <a:pt x="9519264" y="4301053"/>
                  <a:pt x="9510193" y="4297009"/>
                  <a:pt x="9501122" y="4298674"/>
                </a:cubicBezTo>
                <a:close/>
                <a:moveTo>
                  <a:pt x="6715674" y="4294155"/>
                </a:moveTo>
                <a:cubicBezTo>
                  <a:pt x="6712651" y="4301767"/>
                  <a:pt x="6703579" y="4306523"/>
                  <a:pt x="6698137" y="4311993"/>
                </a:cubicBezTo>
                <a:cubicBezTo>
                  <a:pt x="6726559" y="4353139"/>
                  <a:pt x="6780986" y="4321031"/>
                  <a:pt x="6816062" y="4335539"/>
                </a:cubicBezTo>
                <a:cubicBezTo>
                  <a:pt x="6831785" y="4352425"/>
                  <a:pt x="6765263" y="4350761"/>
                  <a:pt x="6764054" y="4335063"/>
                </a:cubicBezTo>
                <a:cubicBezTo>
                  <a:pt x="6733816" y="4357658"/>
                  <a:pt x="6704184" y="4334112"/>
                  <a:pt x="6670319" y="4346718"/>
                </a:cubicBezTo>
                <a:cubicBezTo>
                  <a:pt x="6668504" y="4331258"/>
                  <a:pt x="6653990" y="4341485"/>
                  <a:pt x="6642501" y="4328880"/>
                </a:cubicBezTo>
                <a:cubicBezTo>
                  <a:pt x="6583840" y="4354804"/>
                  <a:pt x="6527600" y="4336490"/>
                  <a:pt x="6474988" y="4334112"/>
                </a:cubicBezTo>
                <a:cubicBezTo>
                  <a:pt x="6477405" y="4341960"/>
                  <a:pt x="6481639" y="4343864"/>
                  <a:pt x="6488895" y="4344338"/>
                </a:cubicBezTo>
                <a:cubicBezTo>
                  <a:pt x="6462287" y="4346003"/>
                  <a:pt x="6427212" y="4339582"/>
                  <a:pt x="6401208" y="4339345"/>
                </a:cubicBezTo>
                <a:cubicBezTo>
                  <a:pt x="6415116" y="4297961"/>
                  <a:pt x="6413303" y="4340058"/>
                  <a:pt x="6433865" y="4310804"/>
                </a:cubicBezTo>
                <a:cubicBezTo>
                  <a:pt x="6498571" y="4308664"/>
                  <a:pt x="6597145" y="4334588"/>
                  <a:pt x="6665480" y="4305572"/>
                </a:cubicBezTo>
                <a:cubicBezTo>
                  <a:pt x="6657014" y="4330069"/>
                  <a:pt x="6703579" y="4297009"/>
                  <a:pt x="6715674" y="4294155"/>
                </a:cubicBezTo>
                <a:close/>
                <a:moveTo>
                  <a:pt x="4716394" y="4262999"/>
                </a:moveTo>
                <a:cubicBezTo>
                  <a:pt x="4701880" y="4259908"/>
                  <a:pt x="4664992" y="4272276"/>
                  <a:pt x="4663176" y="4303907"/>
                </a:cubicBezTo>
                <a:cubicBezTo>
                  <a:pt x="4671039" y="4294631"/>
                  <a:pt x="4700671" y="4279172"/>
                  <a:pt x="4707323" y="4287734"/>
                </a:cubicBezTo>
                <a:cubicBezTo>
                  <a:pt x="4694018" y="4270611"/>
                  <a:pt x="4715184" y="4278697"/>
                  <a:pt x="4716394" y="4262999"/>
                </a:cubicBezTo>
                <a:close/>
                <a:moveTo>
                  <a:pt x="11636470" y="4261810"/>
                </a:moveTo>
                <a:cubicBezTo>
                  <a:pt x="11640703" y="4272989"/>
                  <a:pt x="11670940" y="4258243"/>
                  <a:pt x="11664289" y="4288210"/>
                </a:cubicBezTo>
                <a:cubicBezTo>
                  <a:pt x="11654007" y="4278697"/>
                  <a:pt x="11632236" y="4285594"/>
                  <a:pt x="11636470" y="4261810"/>
                </a:cubicBezTo>
                <a:close/>
                <a:moveTo>
                  <a:pt x="4888746" y="4259908"/>
                </a:moveTo>
                <a:cubicBezTo>
                  <a:pt x="4891165" y="4263951"/>
                  <a:pt x="4888746" y="4265616"/>
                  <a:pt x="4883908" y="4269183"/>
                </a:cubicBezTo>
                <a:cubicBezTo>
                  <a:pt x="4885117" y="4285356"/>
                  <a:pt x="4906283" y="4287021"/>
                  <a:pt x="4905074" y="4271086"/>
                </a:cubicBezTo>
                <a:cubicBezTo>
                  <a:pt x="4895398" y="4272276"/>
                  <a:pt x="4894188" y="4258243"/>
                  <a:pt x="4888746" y="4259908"/>
                </a:cubicBezTo>
                <a:close/>
                <a:moveTo>
                  <a:pt x="11690897" y="4259432"/>
                </a:moveTo>
                <a:cubicBezTo>
                  <a:pt x="11684244" y="4257530"/>
                  <a:pt x="11681221" y="4258956"/>
                  <a:pt x="11681221" y="4273940"/>
                </a:cubicBezTo>
                <a:cubicBezTo>
                  <a:pt x="11700573" y="4271561"/>
                  <a:pt x="11711458" y="4290351"/>
                  <a:pt x="11715691" y="4262999"/>
                </a:cubicBezTo>
                <a:cubicBezTo>
                  <a:pt x="11705410" y="4266092"/>
                  <a:pt x="11696945" y="4261097"/>
                  <a:pt x="11690897" y="4259432"/>
                </a:cubicBezTo>
                <a:close/>
                <a:moveTo>
                  <a:pt x="4831295" y="4259195"/>
                </a:moveTo>
                <a:cubicBezTo>
                  <a:pt x="4824037" y="4269896"/>
                  <a:pt x="4830691" y="4266805"/>
                  <a:pt x="4830085" y="4282502"/>
                </a:cubicBezTo>
                <a:cubicBezTo>
                  <a:pt x="4853670" y="4282026"/>
                  <a:pt x="4842180" y="4267518"/>
                  <a:pt x="4831295" y="4259195"/>
                </a:cubicBezTo>
                <a:close/>
                <a:moveTo>
                  <a:pt x="10503181" y="4256578"/>
                </a:moveTo>
                <a:cubicBezTo>
                  <a:pt x="10502576" y="4264427"/>
                  <a:pt x="10499553" y="4270135"/>
                  <a:pt x="10497134" y="4273940"/>
                </a:cubicBezTo>
                <a:cubicBezTo>
                  <a:pt x="10508624" y="4278935"/>
                  <a:pt x="10523742" y="4272276"/>
                  <a:pt x="10535837" y="4269183"/>
                </a:cubicBezTo>
                <a:cubicBezTo>
                  <a:pt x="10526766" y="4264427"/>
                  <a:pt x="10517696" y="4255865"/>
                  <a:pt x="10503181" y="4256578"/>
                </a:cubicBezTo>
                <a:close/>
                <a:moveTo>
                  <a:pt x="8993741" y="4256578"/>
                </a:moveTo>
                <a:cubicBezTo>
                  <a:pt x="9001603" y="4257054"/>
                  <a:pt x="9010070" y="4259195"/>
                  <a:pt x="9016118" y="4256578"/>
                </a:cubicBezTo>
                <a:cubicBezTo>
                  <a:pt x="9010070" y="4282264"/>
                  <a:pt x="8987090" y="4275843"/>
                  <a:pt x="8978623" y="4263951"/>
                </a:cubicBezTo>
                <a:cubicBezTo>
                  <a:pt x="8980438" y="4256578"/>
                  <a:pt x="8986485" y="4255865"/>
                  <a:pt x="8993741" y="4256578"/>
                </a:cubicBezTo>
                <a:close/>
                <a:moveTo>
                  <a:pt x="4821619" y="4252773"/>
                </a:moveTo>
                <a:cubicBezTo>
                  <a:pt x="4821014" y="4253487"/>
                  <a:pt x="4821014" y="4255152"/>
                  <a:pt x="4822224" y="4257767"/>
                </a:cubicBezTo>
                <a:lnTo>
                  <a:pt x="4831295" y="4258956"/>
                </a:lnTo>
                <a:cubicBezTo>
                  <a:pt x="4828876" y="4257054"/>
                  <a:pt x="4826457" y="4253724"/>
                  <a:pt x="4824642" y="4253249"/>
                </a:cubicBezTo>
                <a:cubicBezTo>
                  <a:pt x="4823434" y="4252535"/>
                  <a:pt x="4822224" y="4252297"/>
                  <a:pt x="4821619" y="4252773"/>
                </a:cubicBezTo>
                <a:close/>
                <a:moveTo>
                  <a:pt x="5101012" y="4248016"/>
                </a:moveTo>
                <a:cubicBezTo>
                  <a:pt x="5093753" y="4247302"/>
                  <a:pt x="5087707" y="4249919"/>
                  <a:pt x="5085892" y="4260621"/>
                </a:cubicBezTo>
                <a:cubicBezTo>
                  <a:pt x="5097986" y="4263714"/>
                  <a:pt x="5123386" y="4281789"/>
                  <a:pt x="5120361" y="4253724"/>
                </a:cubicBezTo>
                <a:cubicBezTo>
                  <a:pt x="5115524" y="4252297"/>
                  <a:pt x="5107664" y="4248492"/>
                  <a:pt x="5101012" y="4248016"/>
                </a:cubicBezTo>
                <a:close/>
                <a:moveTo>
                  <a:pt x="4659548" y="4246113"/>
                </a:moveTo>
                <a:cubicBezTo>
                  <a:pt x="4647453" y="4248967"/>
                  <a:pt x="4639591" y="4256341"/>
                  <a:pt x="4631729" y="4263475"/>
                </a:cubicBezTo>
                <a:cubicBezTo>
                  <a:pt x="4643825" y="4258719"/>
                  <a:pt x="4640801" y="4274178"/>
                  <a:pt x="4650478" y="4274891"/>
                </a:cubicBezTo>
                <a:cubicBezTo>
                  <a:pt x="4642010" y="4252535"/>
                  <a:pt x="4663176" y="4264190"/>
                  <a:pt x="4659548" y="4246113"/>
                </a:cubicBezTo>
                <a:close/>
                <a:moveTo>
                  <a:pt x="5067144" y="4238027"/>
                </a:moveTo>
                <a:cubicBezTo>
                  <a:pt x="5061703" y="4238027"/>
                  <a:pt x="5055654" y="4243022"/>
                  <a:pt x="5057469" y="4254200"/>
                </a:cubicBezTo>
                <a:lnTo>
                  <a:pt x="5076820" y="4254200"/>
                </a:lnTo>
                <a:cubicBezTo>
                  <a:pt x="5078635" y="4243498"/>
                  <a:pt x="5073193" y="4238027"/>
                  <a:pt x="5067144" y="4238027"/>
                </a:cubicBezTo>
                <a:close/>
                <a:moveTo>
                  <a:pt x="11037774" y="4222330"/>
                </a:moveTo>
                <a:cubicBezTo>
                  <a:pt x="11054102" y="4221854"/>
                  <a:pt x="11070431" y="4219239"/>
                  <a:pt x="11066802" y="4241357"/>
                </a:cubicBezTo>
                <a:cubicBezTo>
                  <a:pt x="11043217" y="4243498"/>
                  <a:pt x="11059546" y="4257054"/>
                  <a:pt x="11063174" y="4271561"/>
                </a:cubicBezTo>
                <a:cubicBezTo>
                  <a:pt x="11050474" y="4286784"/>
                  <a:pt x="11040194" y="4259195"/>
                  <a:pt x="11048054" y="4290588"/>
                </a:cubicBezTo>
                <a:cubicBezTo>
                  <a:pt x="11038984" y="4287734"/>
                  <a:pt x="11034750" y="4277508"/>
                  <a:pt x="11023260" y="4278697"/>
                </a:cubicBezTo>
                <a:cubicBezTo>
                  <a:pt x="11023865" y="4260384"/>
                  <a:pt x="11031727" y="4244448"/>
                  <a:pt x="11037774" y="4222330"/>
                </a:cubicBezTo>
                <a:close/>
                <a:moveTo>
                  <a:pt x="10488668" y="4219476"/>
                </a:moveTo>
                <a:cubicBezTo>
                  <a:pt x="10471734" y="4218050"/>
                  <a:pt x="10459035" y="4222806"/>
                  <a:pt x="10453592" y="4232319"/>
                </a:cubicBezTo>
                <a:cubicBezTo>
                  <a:pt x="10473548" y="4226136"/>
                  <a:pt x="10466897" y="4255389"/>
                  <a:pt x="10481410" y="4256578"/>
                </a:cubicBezTo>
                <a:cubicBezTo>
                  <a:pt x="10482015" y="4240644"/>
                  <a:pt x="10492296" y="4237790"/>
                  <a:pt x="10488668" y="4219476"/>
                </a:cubicBezTo>
                <a:close/>
                <a:moveTo>
                  <a:pt x="4807710" y="4212103"/>
                </a:moveTo>
                <a:cubicBezTo>
                  <a:pt x="4801662" y="4213055"/>
                  <a:pt x="4798034" y="4216385"/>
                  <a:pt x="4797430" y="4224233"/>
                </a:cubicBezTo>
                <a:cubicBezTo>
                  <a:pt x="4811339" y="4229465"/>
                  <a:pt x="4818595" y="4227800"/>
                  <a:pt x="4827061" y="4212579"/>
                </a:cubicBezTo>
                <a:cubicBezTo>
                  <a:pt x="4819804" y="4211866"/>
                  <a:pt x="4813152" y="4210914"/>
                  <a:pt x="4807710" y="4212103"/>
                </a:cubicBezTo>
                <a:close/>
                <a:moveTo>
                  <a:pt x="4608749" y="4209725"/>
                </a:moveTo>
                <a:cubicBezTo>
                  <a:pt x="4601493" y="4211153"/>
                  <a:pt x="4589398" y="4208299"/>
                  <a:pt x="4588793" y="4216146"/>
                </a:cubicBezTo>
                <a:cubicBezTo>
                  <a:pt x="4608144" y="4213768"/>
                  <a:pt x="4590608" y="4228276"/>
                  <a:pt x="4592421" y="4240405"/>
                </a:cubicBezTo>
                <a:lnTo>
                  <a:pt x="4606936" y="4239929"/>
                </a:lnTo>
                <a:cubicBezTo>
                  <a:pt x="4607540" y="4226136"/>
                  <a:pt x="4598470" y="4220665"/>
                  <a:pt x="4608749" y="4209725"/>
                </a:cubicBezTo>
                <a:close/>
                <a:moveTo>
                  <a:pt x="11398201" y="4204493"/>
                </a:moveTo>
                <a:cubicBezTo>
                  <a:pt x="11419367" y="4222568"/>
                  <a:pt x="11427834" y="4251584"/>
                  <a:pt x="11453837" y="4259908"/>
                </a:cubicBezTo>
                <a:cubicBezTo>
                  <a:pt x="11460490" y="4229703"/>
                  <a:pt x="11428439" y="4241594"/>
                  <a:pt x="11429648" y="4217335"/>
                </a:cubicBezTo>
                <a:cubicBezTo>
                  <a:pt x="11449000" y="4216860"/>
                  <a:pt x="11463513" y="4223757"/>
                  <a:pt x="11459280" y="4254200"/>
                </a:cubicBezTo>
                <a:cubicBezTo>
                  <a:pt x="11495565" y="4255152"/>
                  <a:pt x="11510684" y="4252535"/>
                  <a:pt x="11529431" y="4266329"/>
                </a:cubicBezTo>
                <a:cubicBezTo>
                  <a:pt x="11513102" y="4289638"/>
                  <a:pt x="11510079" y="4258956"/>
                  <a:pt x="11489518" y="4279648"/>
                </a:cubicBezTo>
                <a:cubicBezTo>
                  <a:pt x="11490122" y="4308426"/>
                  <a:pt x="11507659" y="4299389"/>
                  <a:pt x="11498589" y="4329355"/>
                </a:cubicBezTo>
                <a:cubicBezTo>
                  <a:pt x="11479842" y="4317464"/>
                  <a:pt x="11487704" y="4272989"/>
                  <a:pt x="11458071" y="4272750"/>
                </a:cubicBezTo>
                <a:cubicBezTo>
                  <a:pt x="11442952" y="4279648"/>
                  <a:pt x="11459280" y="4297485"/>
                  <a:pt x="11439324" y="4303907"/>
                </a:cubicBezTo>
                <a:cubicBezTo>
                  <a:pt x="11422391" y="4296296"/>
                  <a:pt x="11408482" y="4285119"/>
                  <a:pt x="11392153" y="4273465"/>
                </a:cubicBezTo>
                <a:cubicBezTo>
                  <a:pt x="11395178" y="4259432"/>
                  <a:pt x="11407273" y="4260146"/>
                  <a:pt x="11408482" y="4248016"/>
                </a:cubicBezTo>
                <a:cubicBezTo>
                  <a:pt x="11396992" y="4230654"/>
                  <a:pt x="11378849" y="4255627"/>
                  <a:pt x="11359497" y="4248016"/>
                </a:cubicBezTo>
                <a:cubicBezTo>
                  <a:pt x="11366150" y="4215670"/>
                  <a:pt x="11403039" y="4256102"/>
                  <a:pt x="11398201" y="4204493"/>
                </a:cubicBezTo>
                <a:close/>
                <a:moveTo>
                  <a:pt x="4754492" y="4199023"/>
                </a:moveTo>
                <a:cubicBezTo>
                  <a:pt x="4738770" y="4201163"/>
                  <a:pt x="4724860" y="4211627"/>
                  <a:pt x="4735141" y="4223044"/>
                </a:cubicBezTo>
                <a:cubicBezTo>
                  <a:pt x="4740583" y="4207584"/>
                  <a:pt x="4770820" y="4221617"/>
                  <a:pt x="4769611" y="4199736"/>
                </a:cubicBezTo>
                <a:cubicBezTo>
                  <a:pt x="4765377" y="4198309"/>
                  <a:pt x="4759935" y="4198309"/>
                  <a:pt x="4754492" y="4199023"/>
                </a:cubicBezTo>
                <a:close/>
                <a:moveTo>
                  <a:pt x="4643825" y="4183088"/>
                </a:moveTo>
                <a:cubicBezTo>
                  <a:pt x="4638987" y="4182850"/>
                  <a:pt x="4631729" y="4182136"/>
                  <a:pt x="4626892" y="4183564"/>
                </a:cubicBezTo>
                <a:cubicBezTo>
                  <a:pt x="4619634" y="4186894"/>
                  <a:pt x="4611774" y="4192363"/>
                  <a:pt x="4606330" y="4199736"/>
                </a:cubicBezTo>
                <a:cubicBezTo>
                  <a:pt x="4618425" y="4198785"/>
                  <a:pt x="4623264" y="4209488"/>
                  <a:pt x="4635359" y="4204493"/>
                </a:cubicBezTo>
                <a:cubicBezTo>
                  <a:pt x="4638382" y="4200687"/>
                  <a:pt x="4640801" y="4190937"/>
                  <a:pt x="4643825" y="4183088"/>
                </a:cubicBezTo>
                <a:close/>
                <a:moveTo>
                  <a:pt x="5194745" y="4175715"/>
                </a:moveTo>
                <a:cubicBezTo>
                  <a:pt x="5176604" y="4177142"/>
                  <a:pt x="5160275" y="4184514"/>
                  <a:pt x="5154226" y="4202828"/>
                </a:cubicBezTo>
                <a:cubicBezTo>
                  <a:pt x="5186279" y="4187844"/>
                  <a:pt x="5228007" y="4215433"/>
                  <a:pt x="5244334" y="4184990"/>
                </a:cubicBezTo>
                <a:cubicBezTo>
                  <a:pt x="5232239" y="4179045"/>
                  <a:pt x="5212887" y="4174288"/>
                  <a:pt x="5194745" y="4175715"/>
                </a:cubicBezTo>
                <a:close/>
                <a:moveTo>
                  <a:pt x="11598976" y="4166439"/>
                </a:moveTo>
                <a:cubicBezTo>
                  <a:pt x="11606838" y="4174526"/>
                  <a:pt x="11597162" y="4203304"/>
                  <a:pt x="11606233" y="4219000"/>
                </a:cubicBezTo>
                <a:cubicBezTo>
                  <a:pt x="11603814" y="4228039"/>
                  <a:pt x="11597766" y="4221854"/>
                  <a:pt x="11598371" y="4212579"/>
                </a:cubicBezTo>
                <a:cubicBezTo>
                  <a:pt x="11596557" y="4216146"/>
                  <a:pt x="11591720" y="4217811"/>
                  <a:pt x="11585672" y="4219000"/>
                </a:cubicBezTo>
                <a:cubicBezTo>
                  <a:pt x="11585067" y="4193076"/>
                  <a:pt x="11590509" y="4176904"/>
                  <a:pt x="11598976" y="4166439"/>
                </a:cubicBezTo>
                <a:close/>
                <a:moveTo>
                  <a:pt x="10870260" y="4157640"/>
                </a:moveTo>
                <a:cubicBezTo>
                  <a:pt x="10873284" y="4156688"/>
                  <a:pt x="10876308" y="4157164"/>
                  <a:pt x="10878727" y="4160494"/>
                </a:cubicBezTo>
                <a:cubicBezTo>
                  <a:pt x="10879936" y="4175239"/>
                  <a:pt x="10861189" y="4166202"/>
                  <a:pt x="10864213" y="4183088"/>
                </a:cubicBezTo>
                <a:cubicBezTo>
                  <a:pt x="10848489" y="4179045"/>
                  <a:pt x="10859979" y="4160731"/>
                  <a:pt x="10870260" y="4157640"/>
                </a:cubicBezTo>
                <a:close/>
                <a:moveTo>
                  <a:pt x="4697042" y="4132429"/>
                </a:moveTo>
                <a:cubicBezTo>
                  <a:pt x="4682528" y="4135046"/>
                  <a:pt x="4715184" y="4149553"/>
                  <a:pt x="4698251" y="4156212"/>
                </a:cubicBezTo>
                <a:cubicBezTo>
                  <a:pt x="4693414" y="4157640"/>
                  <a:pt x="4690994" y="4157401"/>
                  <a:pt x="4688576" y="4155262"/>
                </a:cubicBezTo>
                <a:cubicBezTo>
                  <a:pt x="4688576" y="4159305"/>
                  <a:pt x="4688576" y="4161207"/>
                  <a:pt x="4687972" y="4165250"/>
                </a:cubicBezTo>
                <a:cubicBezTo>
                  <a:pt x="4709741" y="4167152"/>
                  <a:pt x="4705509" y="4154786"/>
                  <a:pt x="4706113" y="4140991"/>
                </a:cubicBezTo>
                <a:cubicBezTo>
                  <a:pt x="4701880" y="4138613"/>
                  <a:pt x="4699461" y="4136472"/>
                  <a:pt x="4697042" y="4132429"/>
                </a:cubicBezTo>
                <a:close/>
                <a:moveTo>
                  <a:pt x="10732379" y="4128862"/>
                </a:moveTo>
                <a:cubicBezTo>
                  <a:pt x="10751731" y="4140278"/>
                  <a:pt x="10737217" y="4146937"/>
                  <a:pt x="10738427" y="4170482"/>
                </a:cubicBezTo>
                <a:cubicBezTo>
                  <a:pt x="10721493" y="4170958"/>
                  <a:pt x="10726332" y="4135996"/>
                  <a:pt x="10732379" y="4128862"/>
                </a:cubicBezTo>
                <a:close/>
                <a:moveTo>
                  <a:pt x="10481410" y="4119586"/>
                </a:moveTo>
                <a:cubicBezTo>
                  <a:pt x="10491691" y="4120537"/>
                  <a:pt x="10508020" y="4144321"/>
                  <a:pt x="10524952" y="4140991"/>
                </a:cubicBezTo>
                <a:cubicBezTo>
                  <a:pt x="10498948" y="4157877"/>
                  <a:pt x="10495924" y="4136472"/>
                  <a:pt x="10474153" y="4128149"/>
                </a:cubicBezTo>
                <a:cubicBezTo>
                  <a:pt x="10475364" y="4121489"/>
                  <a:pt x="10477782" y="4119348"/>
                  <a:pt x="10481410" y="4119586"/>
                </a:cubicBezTo>
                <a:close/>
                <a:moveTo>
                  <a:pt x="10374371" y="4114354"/>
                </a:moveTo>
                <a:cubicBezTo>
                  <a:pt x="10368928" y="4121965"/>
                  <a:pt x="10335063" y="4127434"/>
                  <a:pt x="10348971" y="4140515"/>
                </a:cubicBezTo>
                <a:cubicBezTo>
                  <a:pt x="10354414" y="4132905"/>
                  <a:pt x="10387675" y="4127434"/>
                  <a:pt x="10374371" y="4114354"/>
                </a:cubicBezTo>
                <a:close/>
                <a:moveTo>
                  <a:pt x="11562087" y="4113641"/>
                </a:moveTo>
                <a:cubicBezTo>
                  <a:pt x="11580229" y="4117208"/>
                  <a:pt x="11579624" y="4164298"/>
                  <a:pt x="11556644" y="4162396"/>
                </a:cubicBezTo>
                <a:cubicBezTo>
                  <a:pt x="11557249" y="4154547"/>
                  <a:pt x="11555434" y="4152408"/>
                  <a:pt x="11550597" y="4150029"/>
                </a:cubicBezTo>
                <a:cubicBezTo>
                  <a:pt x="11563296" y="4131477"/>
                  <a:pt x="11564506" y="4153121"/>
                  <a:pt x="11562087" y="4113641"/>
                </a:cubicBezTo>
                <a:close/>
                <a:moveTo>
                  <a:pt x="4796221" y="4101273"/>
                </a:moveTo>
                <a:cubicBezTo>
                  <a:pt x="4796221" y="4107218"/>
                  <a:pt x="4793196" y="4107218"/>
                  <a:pt x="4790777" y="4106981"/>
                </a:cubicBezTo>
                <a:cubicBezTo>
                  <a:pt x="4790777" y="4106981"/>
                  <a:pt x="4819804" y="4119824"/>
                  <a:pt x="4816176" y="4101273"/>
                </a:cubicBezTo>
                <a:cubicBezTo>
                  <a:pt x="4836738" y="4123391"/>
                  <a:pt x="4789569" y="4135283"/>
                  <a:pt x="4780497" y="4120300"/>
                </a:cubicBezTo>
                <a:cubicBezTo>
                  <a:pt x="4778681" y="4105792"/>
                  <a:pt x="4784125" y="4100084"/>
                  <a:pt x="4796221" y="4101273"/>
                </a:cubicBezTo>
                <a:close/>
                <a:moveTo>
                  <a:pt x="11011166" y="4091284"/>
                </a:moveTo>
                <a:cubicBezTo>
                  <a:pt x="11000280" y="4092473"/>
                  <a:pt x="10986372" y="4098657"/>
                  <a:pt x="10976091" y="4094614"/>
                </a:cubicBezTo>
                <a:cubicBezTo>
                  <a:pt x="10975485" y="4108407"/>
                  <a:pt x="10984557" y="4111024"/>
                  <a:pt x="10980928" y="4130527"/>
                </a:cubicBezTo>
                <a:cubicBezTo>
                  <a:pt x="10993023" y="4129575"/>
                  <a:pt x="10994837" y="4140278"/>
                  <a:pt x="11009352" y="4137661"/>
                </a:cubicBezTo>
                <a:cubicBezTo>
                  <a:pt x="11003908" y="4113402"/>
                  <a:pt x="11022656" y="4118873"/>
                  <a:pt x="11034750" y="4117921"/>
                </a:cubicBezTo>
                <a:cubicBezTo>
                  <a:pt x="11032332" y="4093900"/>
                  <a:pt x="11022656" y="4090095"/>
                  <a:pt x="11011166" y="4091284"/>
                </a:cubicBezTo>
                <a:close/>
                <a:moveTo>
                  <a:pt x="11648565" y="4090808"/>
                </a:moveTo>
                <a:cubicBezTo>
                  <a:pt x="11645542" y="4106268"/>
                  <a:pt x="11639494" y="4119824"/>
                  <a:pt x="11640703" y="4139802"/>
                </a:cubicBezTo>
                <a:cubicBezTo>
                  <a:pt x="11662474" y="4137661"/>
                  <a:pt x="11679407" y="4135046"/>
                  <a:pt x="11687874" y="4116019"/>
                </a:cubicBezTo>
                <a:cubicBezTo>
                  <a:pt x="11668522" y="4114354"/>
                  <a:pt x="11667312" y="4100321"/>
                  <a:pt x="11648565" y="4090808"/>
                </a:cubicBezTo>
                <a:close/>
                <a:moveTo>
                  <a:pt x="10635015" y="4087478"/>
                </a:moveTo>
                <a:cubicBezTo>
                  <a:pt x="10644087" y="4088668"/>
                  <a:pt x="10647715" y="4096041"/>
                  <a:pt x="10653763" y="4101273"/>
                </a:cubicBezTo>
                <a:cubicBezTo>
                  <a:pt x="10650738" y="4105079"/>
                  <a:pt x="10623525" y="4114830"/>
                  <a:pt x="10624735" y="4088430"/>
                </a:cubicBezTo>
                <a:cubicBezTo>
                  <a:pt x="10628968" y="4087241"/>
                  <a:pt x="10632597" y="4087003"/>
                  <a:pt x="10635015" y="4087478"/>
                </a:cubicBezTo>
                <a:close/>
                <a:moveTo>
                  <a:pt x="11604419" y="4080820"/>
                </a:moveTo>
                <a:lnTo>
                  <a:pt x="11614095" y="4081533"/>
                </a:lnTo>
                <a:cubicBezTo>
                  <a:pt x="11613490" y="4095565"/>
                  <a:pt x="11603210" y="4101036"/>
                  <a:pt x="11617723" y="4106505"/>
                </a:cubicBezTo>
                <a:cubicBezTo>
                  <a:pt x="11619537" y="4110787"/>
                  <a:pt x="11617118" y="4112451"/>
                  <a:pt x="11612281" y="4112213"/>
                </a:cubicBezTo>
                <a:lnTo>
                  <a:pt x="11602605" y="4111500"/>
                </a:lnTo>
                <a:cubicBezTo>
                  <a:pt x="11602605" y="4107457"/>
                  <a:pt x="11605628" y="4105316"/>
                  <a:pt x="11608047" y="4105555"/>
                </a:cubicBezTo>
                <a:cubicBezTo>
                  <a:pt x="11606233" y="4099371"/>
                  <a:pt x="11603210" y="4094852"/>
                  <a:pt x="11598371" y="4092473"/>
                </a:cubicBezTo>
                <a:cubicBezTo>
                  <a:pt x="11598976" y="4088192"/>
                  <a:pt x="11603814" y="4087003"/>
                  <a:pt x="11604419" y="4080820"/>
                </a:cubicBezTo>
                <a:close/>
                <a:moveTo>
                  <a:pt x="8685323" y="4080344"/>
                </a:moveTo>
                <a:cubicBezTo>
                  <a:pt x="8685928" y="4085338"/>
                  <a:pt x="8685928" y="4091284"/>
                  <a:pt x="8688951" y="4092949"/>
                </a:cubicBezTo>
                <a:cubicBezTo>
                  <a:pt x="8692581" y="4091522"/>
                  <a:pt x="8694394" y="4087478"/>
                  <a:pt x="8696813" y="4083674"/>
                </a:cubicBezTo>
                <a:cubicBezTo>
                  <a:pt x="8693185" y="4082722"/>
                  <a:pt x="8689556" y="4082009"/>
                  <a:pt x="8685323" y="4080344"/>
                </a:cubicBezTo>
                <a:close/>
                <a:moveTo>
                  <a:pt x="4820408" y="4073447"/>
                </a:moveTo>
                <a:cubicBezTo>
                  <a:pt x="4798034" y="4089381"/>
                  <a:pt x="4771425" y="4100797"/>
                  <a:pt x="4755098" y="4127197"/>
                </a:cubicBezTo>
                <a:cubicBezTo>
                  <a:pt x="4750260" y="4126721"/>
                  <a:pt x="4743607" y="4126245"/>
                  <a:pt x="4738770" y="4126008"/>
                </a:cubicBezTo>
                <a:cubicBezTo>
                  <a:pt x="4735747" y="4135520"/>
                  <a:pt x="4729698" y="4144559"/>
                  <a:pt x="4726673" y="4158116"/>
                </a:cubicBezTo>
                <a:cubicBezTo>
                  <a:pt x="4741188" y="4151456"/>
                  <a:pt x="4730303" y="4178569"/>
                  <a:pt x="4745422" y="4169769"/>
                </a:cubicBezTo>
                <a:cubicBezTo>
                  <a:pt x="4774449" y="4122678"/>
                  <a:pt x="4832504" y="4163348"/>
                  <a:pt x="4875441" y="4125295"/>
                </a:cubicBezTo>
                <a:cubicBezTo>
                  <a:pt x="4859114" y="4110072"/>
                  <a:pt x="4833714" y="4141704"/>
                  <a:pt x="4828876" y="4101749"/>
                </a:cubicBezTo>
                <a:cubicBezTo>
                  <a:pt x="4841576" y="4088906"/>
                  <a:pt x="4854880" y="4111976"/>
                  <a:pt x="4856089" y="4084387"/>
                </a:cubicBezTo>
                <a:cubicBezTo>
                  <a:pt x="4836738" y="4090571"/>
                  <a:pt x="4832504" y="4076301"/>
                  <a:pt x="4820408" y="4073447"/>
                </a:cubicBezTo>
                <a:close/>
                <a:moveTo>
                  <a:pt x="11557853" y="4054420"/>
                </a:moveTo>
                <a:cubicBezTo>
                  <a:pt x="11536083" y="4093424"/>
                  <a:pt x="11597766" y="4073923"/>
                  <a:pt x="11598371" y="4104603"/>
                </a:cubicBezTo>
                <a:cubicBezTo>
                  <a:pt x="11579019" y="4106981"/>
                  <a:pt x="11549992" y="4065836"/>
                  <a:pt x="11533059" y="4103175"/>
                </a:cubicBezTo>
                <a:cubicBezTo>
                  <a:pt x="11523383" y="4104603"/>
                  <a:pt x="11532454" y="4080581"/>
                  <a:pt x="11527616" y="4072019"/>
                </a:cubicBezTo>
                <a:cubicBezTo>
                  <a:pt x="11549992" y="4104603"/>
                  <a:pt x="11534268" y="4050377"/>
                  <a:pt x="11557853" y="4054420"/>
                </a:cubicBezTo>
                <a:close/>
                <a:moveTo>
                  <a:pt x="8768778" y="4048475"/>
                </a:moveTo>
                <a:cubicBezTo>
                  <a:pt x="8761521" y="4051803"/>
                  <a:pt x="8749426" y="4050853"/>
                  <a:pt x="8751240" y="4066787"/>
                </a:cubicBezTo>
                <a:cubicBezTo>
                  <a:pt x="8759706" y="4079392"/>
                  <a:pt x="8774824" y="4070593"/>
                  <a:pt x="8768778" y="4048475"/>
                </a:cubicBezTo>
                <a:close/>
                <a:moveTo>
                  <a:pt x="12717752" y="4041101"/>
                </a:moveTo>
                <a:cubicBezTo>
                  <a:pt x="12744360" y="4047760"/>
                  <a:pt x="12768549" y="4056322"/>
                  <a:pt x="12755245" y="4093662"/>
                </a:cubicBezTo>
                <a:cubicBezTo>
                  <a:pt x="12751012" y="4072019"/>
                  <a:pt x="12735288" y="4070593"/>
                  <a:pt x="12723194" y="4086528"/>
                </a:cubicBezTo>
                <a:cubicBezTo>
                  <a:pt x="12715937" y="4075349"/>
                  <a:pt x="12709285" y="4051090"/>
                  <a:pt x="12717752" y="4041101"/>
                </a:cubicBezTo>
                <a:close/>
                <a:moveTo>
                  <a:pt x="11008142" y="4038009"/>
                </a:moveTo>
                <a:cubicBezTo>
                  <a:pt x="11001490" y="4037058"/>
                  <a:pt x="10996047" y="4038009"/>
                  <a:pt x="10996047" y="4044906"/>
                </a:cubicBezTo>
                <a:cubicBezTo>
                  <a:pt x="11004513" y="4057750"/>
                  <a:pt x="11023865" y="4061317"/>
                  <a:pt x="11027493" y="4039912"/>
                </a:cubicBezTo>
                <a:cubicBezTo>
                  <a:pt x="11022656" y="4041339"/>
                  <a:pt x="11014794" y="4038723"/>
                  <a:pt x="11008142" y="4038009"/>
                </a:cubicBezTo>
                <a:close/>
                <a:moveTo>
                  <a:pt x="10717555" y="4036913"/>
                </a:moveTo>
                <a:lnTo>
                  <a:pt x="10717421" y="4040544"/>
                </a:lnTo>
                <a:cubicBezTo>
                  <a:pt x="10717563" y="4041310"/>
                  <a:pt x="10717714" y="4040506"/>
                  <a:pt x="10717261" y="4037058"/>
                </a:cubicBezTo>
                <a:close/>
                <a:moveTo>
                  <a:pt x="10564260" y="4031826"/>
                </a:moveTo>
                <a:cubicBezTo>
                  <a:pt x="10563656" y="4043480"/>
                  <a:pt x="10551561" y="4038961"/>
                  <a:pt x="10552770" y="4054896"/>
                </a:cubicBezTo>
                <a:cubicBezTo>
                  <a:pt x="10560027" y="4055609"/>
                  <a:pt x="10564865" y="4057274"/>
                  <a:pt x="10569702" y="4061555"/>
                </a:cubicBezTo>
                <a:cubicBezTo>
                  <a:pt x="10565470" y="4051329"/>
                  <a:pt x="10573936" y="4030637"/>
                  <a:pt x="10564260" y="4031826"/>
                </a:cubicBezTo>
                <a:close/>
                <a:moveTo>
                  <a:pt x="12676629" y="4022312"/>
                </a:moveTo>
                <a:cubicBezTo>
                  <a:pt x="12688119" y="4022788"/>
                  <a:pt x="12702632" y="4036820"/>
                  <a:pt x="12701423" y="4050614"/>
                </a:cubicBezTo>
                <a:cubicBezTo>
                  <a:pt x="12677234" y="4056085"/>
                  <a:pt x="12676023" y="4035393"/>
                  <a:pt x="12665744" y="4027068"/>
                </a:cubicBezTo>
                <a:cubicBezTo>
                  <a:pt x="12668767" y="4023501"/>
                  <a:pt x="12672395" y="4022312"/>
                  <a:pt x="12676629" y="4022312"/>
                </a:cubicBezTo>
                <a:close/>
                <a:moveTo>
                  <a:pt x="10430612" y="4012799"/>
                </a:moveTo>
                <a:cubicBezTo>
                  <a:pt x="10418517" y="4011610"/>
                  <a:pt x="10408841" y="4014464"/>
                  <a:pt x="10405818" y="4024216"/>
                </a:cubicBezTo>
                <a:cubicBezTo>
                  <a:pt x="10418517" y="4019221"/>
                  <a:pt x="10417308" y="4032777"/>
                  <a:pt x="10429402" y="4029923"/>
                </a:cubicBezTo>
                <a:close/>
                <a:moveTo>
                  <a:pt x="12157154" y="4008994"/>
                </a:moveTo>
                <a:cubicBezTo>
                  <a:pt x="12171668" y="4006378"/>
                  <a:pt x="12170458" y="4026594"/>
                  <a:pt x="12182553" y="4027544"/>
                </a:cubicBezTo>
                <a:cubicBezTo>
                  <a:pt x="12179530" y="4035393"/>
                  <a:pt x="12172272" y="4038723"/>
                  <a:pt x="12162596" y="4039912"/>
                </a:cubicBezTo>
                <a:cubicBezTo>
                  <a:pt x="12156550" y="4059176"/>
                  <a:pt x="12177111" y="4045382"/>
                  <a:pt x="12171063" y="4064885"/>
                </a:cubicBezTo>
                <a:cubicBezTo>
                  <a:pt x="12165621" y="4070354"/>
                  <a:pt x="12162596" y="4081533"/>
                  <a:pt x="12150502" y="4082485"/>
                </a:cubicBezTo>
                <a:cubicBezTo>
                  <a:pt x="12149897" y="4100321"/>
                  <a:pt x="12165621" y="4119586"/>
                  <a:pt x="12145664" y="4126008"/>
                </a:cubicBezTo>
                <a:cubicBezTo>
                  <a:pt x="12150502" y="4130288"/>
                  <a:pt x="12157759" y="4129338"/>
                  <a:pt x="12176506" y="4132905"/>
                </a:cubicBezTo>
                <a:cubicBezTo>
                  <a:pt x="12159573" y="4141467"/>
                  <a:pt x="12142035" y="4147888"/>
                  <a:pt x="12135988" y="4169293"/>
                </a:cubicBezTo>
                <a:cubicBezTo>
                  <a:pt x="12151106" y="4114830"/>
                  <a:pt x="12103332" y="4106744"/>
                  <a:pt x="12105751" y="4062982"/>
                </a:cubicBezTo>
                <a:cubicBezTo>
                  <a:pt x="12115427" y="4069641"/>
                  <a:pt x="12114822" y="4085338"/>
                  <a:pt x="12126312" y="4088430"/>
                </a:cubicBezTo>
                <a:cubicBezTo>
                  <a:pt x="12141430" y="4083674"/>
                  <a:pt x="12123289" y="4066311"/>
                  <a:pt x="12118450" y="4063933"/>
                </a:cubicBezTo>
                <a:cubicBezTo>
                  <a:pt x="12119055" y="4050138"/>
                  <a:pt x="12147478" y="4056561"/>
                  <a:pt x="12136593" y="4075825"/>
                </a:cubicBezTo>
                <a:cubicBezTo>
                  <a:pt x="12152316" y="4052992"/>
                  <a:pt x="12160178" y="4037296"/>
                  <a:pt x="12157154" y="4008994"/>
                </a:cubicBezTo>
                <a:close/>
                <a:moveTo>
                  <a:pt x="8716165" y="4006139"/>
                </a:moveTo>
                <a:cubicBezTo>
                  <a:pt x="8702861" y="4005189"/>
                  <a:pt x="8698627" y="4014939"/>
                  <a:pt x="8688951" y="4016128"/>
                </a:cubicBezTo>
                <a:cubicBezTo>
                  <a:pt x="8693185" y="4022312"/>
                  <a:pt x="8697418" y="4028972"/>
                  <a:pt x="8701650" y="4035869"/>
                </a:cubicBezTo>
                <a:cubicBezTo>
                  <a:pt x="8702255" y="4035393"/>
                  <a:pt x="8703466" y="4034204"/>
                  <a:pt x="8704071" y="4033966"/>
                </a:cubicBezTo>
                <a:cubicBezTo>
                  <a:pt x="8705884" y="4030637"/>
                  <a:pt x="8705884" y="4024929"/>
                  <a:pt x="8706489" y="4020410"/>
                </a:cubicBezTo>
                <a:cubicBezTo>
                  <a:pt x="8710117" y="4023740"/>
                  <a:pt x="8711931" y="4028972"/>
                  <a:pt x="8713140" y="4034680"/>
                </a:cubicBezTo>
                <a:cubicBezTo>
                  <a:pt x="8724027" y="4039674"/>
                  <a:pt x="8736121" y="4051566"/>
                  <a:pt x="8750635" y="4037058"/>
                </a:cubicBezTo>
                <a:cubicBezTo>
                  <a:pt x="8741564" y="4024216"/>
                  <a:pt x="8712536" y="4033728"/>
                  <a:pt x="8716165" y="4006139"/>
                </a:cubicBezTo>
                <a:close/>
                <a:moveTo>
                  <a:pt x="10445126" y="4005664"/>
                </a:moveTo>
                <a:cubicBezTo>
                  <a:pt x="10440288" y="4013275"/>
                  <a:pt x="10439078" y="4028972"/>
                  <a:pt x="10434241" y="4036345"/>
                </a:cubicBezTo>
                <a:cubicBezTo>
                  <a:pt x="10447545" y="4013750"/>
                  <a:pt x="10465688" y="4033015"/>
                  <a:pt x="10469920" y="4005664"/>
                </a:cubicBezTo>
                <a:close/>
                <a:moveTo>
                  <a:pt x="10637434" y="3999955"/>
                </a:moveTo>
                <a:cubicBezTo>
                  <a:pt x="10650134" y="4002096"/>
                  <a:pt x="10665253" y="4009945"/>
                  <a:pt x="10674324" y="4008518"/>
                </a:cubicBezTo>
                <a:cubicBezTo>
                  <a:pt x="10670695" y="4021123"/>
                  <a:pt x="10654972" y="4023501"/>
                  <a:pt x="10651948" y="4035869"/>
                </a:cubicBezTo>
                <a:cubicBezTo>
                  <a:pt x="10650134" y="4026594"/>
                  <a:pt x="10643482" y="3991395"/>
                  <a:pt x="10631992" y="4019458"/>
                </a:cubicBezTo>
                <a:cubicBezTo>
                  <a:pt x="10627154" y="4015415"/>
                  <a:pt x="10621710" y="4013513"/>
                  <a:pt x="10614454" y="4012799"/>
                </a:cubicBezTo>
                <a:cubicBezTo>
                  <a:pt x="10616873" y="4005664"/>
                  <a:pt x="10620501" y="4002096"/>
                  <a:pt x="10625339" y="4000431"/>
                </a:cubicBezTo>
                <a:cubicBezTo>
                  <a:pt x="10628968" y="3999481"/>
                  <a:pt x="10633201" y="3999242"/>
                  <a:pt x="10637434" y="3999955"/>
                </a:cubicBezTo>
                <a:close/>
                <a:moveTo>
                  <a:pt x="8652062" y="3999481"/>
                </a:moveTo>
                <a:cubicBezTo>
                  <a:pt x="8659318" y="4018745"/>
                  <a:pt x="8629686" y="4027307"/>
                  <a:pt x="8618196" y="4033491"/>
                </a:cubicBezTo>
                <a:cubicBezTo>
                  <a:pt x="8620616" y="4055133"/>
                  <a:pt x="8637548" y="4060604"/>
                  <a:pt x="8649038" y="4072734"/>
                </a:cubicBezTo>
                <a:cubicBezTo>
                  <a:pt x="8649643" y="4069641"/>
                  <a:pt x="8650853" y="4066549"/>
                  <a:pt x="8650853" y="4062982"/>
                </a:cubicBezTo>
                <a:cubicBezTo>
                  <a:pt x="8658714" y="4062506"/>
                  <a:pt x="8662947" y="4067025"/>
                  <a:pt x="8667785" y="4070593"/>
                </a:cubicBezTo>
                <a:cubicBezTo>
                  <a:pt x="8673229" y="4068690"/>
                  <a:pt x="8678066" y="4067501"/>
                  <a:pt x="8678670" y="4058225"/>
                </a:cubicBezTo>
                <a:cubicBezTo>
                  <a:pt x="8684114" y="4058700"/>
                  <a:pt x="8684719" y="4067501"/>
                  <a:pt x="8684719" y="4076777"/>
                </a:cubicBezTo>
                <a:cubicBezTo>
                  <a:pt x="8691976" y="4070117"/>
                  <a:pt x="8708908" y="4076301"/>
                  <a:pt x="8719793" y="4072019"/>
                </a:cubicBezTo>
                <a:cubicBezTo>
                  <a:pt x="8723423" y="4059652"/>
                  <a:pt x="8718584" y="4052042"/>
                  <a:pt x="8711327" y="4047284"/>
                </a:cubicBezTo>
                <a:cubicBezTo>
                  <a:pt x="8711327" y="4047523"/>
                  <a:pt x="8711327" y="4047760"/>
                  <a:pt x="8711327" y="4047760"/>
                </a:cubicBezTo>
                <a:cubicBezTo>
                  <a:pt x="8710722" y="4047523"/>
                  <a:pt x="8710722" y="4047047"/>
                  <a:pt x="8710117" y="4046810"/>
                </a:cubicBezTo>
                <a:cubicBezTo>
                  <a:pt x="8705279" y="4044193"/>
                  <a:pt x="8700441" y="4041815"/>
                  <a:pt x="8694999" y="4042052"/>
                </a:cubicBezTo>
                <a:cubicBezTo>
                  <a:pt x="8696209" y="4039912"/>
                  <a:pt x="8697418" y="4040626"/>
                  <a:pt x="8698022" y="4039198"/>
                </a:cubicBezTo>
                <a:cubicBezTo>
                  <a:pt x="8694394" y="4036582"/>
                  <a:pt x="8690160" y="4034680"/>
                  <a:pt x="8685928" y="4032302"/>
                </a:cubicBezTo>
                <a:cubicBezTo>
                  <a:pt x="8687137" y="4034680"/>
                  <a:pt x="8687742" y="4037772"/>
                  <a:pt x="8685323" y="4041577"/>
                </a:cubicBezTo>
                <a:cubicBezTo>
                  <a:pt x="8680485" y="4036582"/>
                  <a:pt x="8678670" y="4032302"/>
                  <a:pt x="8675647" y="4028972"/>
                </a:cubicBezTo>
                <a:cubicBezTo>
                  <a:pt x="8672019" y="4027544"/>
                  <a:pt x="8669600" y="4025166"/>
                  <a:pt x="8665367" y="4024690"/>
                </a:cubicBezTo>
                <a:cubicBezTo>
                  <a:pt x="8665971" y="4022075"/>
                  <a:pt x="8668390" y="4022788"/>
                  <a:pt x="8670204" y="4021836"/>
                </a:cubicBezTo>
                <a:cubicBezTo>
                  <a:pt x="8664762" y="4016128"/>
                  <a:pt x="8658109" y="4009232"/>
                  <a:pt x="8652062" y="3999481"/>
                </a:cubicBezTo>
                <a:close/>
                <a:moveTo>
                  <a:pt x="12129336" y="3998292"/>
                </a:moveTo>
                <a:cubicBezTo>
                  <a:pt x="12135988" y="3997816"/>
                  <a:pt x="12143245" y="4002335"/>
                  <a:pt x="12146269" y="4008518"/>
                </a:cubicBezTo>
                <a:cubicBezTo>
                  <a:pt x="12135988" y="4021836"/>
                  <a:pt x="12131755" y="4007567"/>
                  <a:pt x="12116032" y="4018032"/>
                </a:cubicBezTo>
                <a:cubicBezTo>
                  <a:pt x="12116636" y="4003761"/>
                  <a:pt x="12122683" y="3998529"/>
                  <a:pt x="12129336" y="3998292"/>
                </a:cubicBezTo>
                <a:close/>
                <a:moveTo>
                  <a:pt x="10479596" y="3994723"/>
                </a:moveTo>
                <a:cubicBezTo>
                  <a:pt x="10475968" y="4010421"/>
                  <a:pt x="10466292" y="4019221"/>
                  <a:pt x="10465083" y="4037058"/>
                </a:cubicBezTo>
                <a:cubicBezTo>
                  <a:pt x="10491691" y="4037296"/>
                  <a:pt x="10474153" y="4053707"/>
                  <a:pt x="10490482" y="4061079"/>
                </a:cubicBezTo>
                <a:cubicBezTo>
                  <a:pt x="10495924" y="4051803"/>
                  <a:pt x="10505600" y="4044669"/>
                  <a:pt x="10520114" y="4043956"/>
                </a:cubicBezTo>
                <a:cubicBezTo>
                  <a:pt x="10537651" y="4075112"/>
                  <a:pt x="10497134" y="4069404"/>
                  <a:pt x="10519510" y="4096992"/>
                </a:cubicBezTo>
                <a:cubicBezTo>
                  <a:pt x="10470525" y="4112689"/>
                  <a:pt x="10442707" y="4090571"/>
                  <a:pt x="10384652" y="4103175"/>
                </a:cubicBezTo>
                <a:cubicBezTo>
                  <a:pt x="10381023" y="4118873"/>
                  <a:pt x="10393118" y="4116256"/>
                  <a:pt x="10394932" y="4128149"/>
                </a:cubicBezTo>
                <a:cubicBezTo>
                  <a:pt x="10371348" y="4128149"/>
                  <a:pt x="10360461" y="4142894"/>
                  <a:pt x="10359252" y="4170482"/>
                </a:cubicBezTo>
                <a:cubicBezTo>
                  <a:pt x="10373162" y="4177617"/>
                  <a:pt x="10397351" y="4172147"/>
                  <a:pt x="10388280" y="4201163"/>
                </a:cubicBezTo>
                <a:cubicBezTo>
                  <a:pt x="10407632" y="4196882"/>
                  <a:pt x="10404608" y="4218287"/>
                  <a:pt x="10418517" y="4219476"/>
                </a:cubicBezTo>
                <a:cubicBezTo>
                  <a:pt x="10422145" y="4199974"/>
                  <a:pt x="10410051" y="4200926"/>
                  <a:pt x="10408236" y="4188796"/>
                </a:cubicBezTo>
                <a:cubicBezTo>
                  <a:pt x="10443916" y="4195931"/>
                  <a:pt x="10479596" y="4163109"/>
                  <a:pt x="10502576" y="4188796"/>
                </a:cubicBezTo>
                <a:cubicBezTo>
                  <a:pt x="10501972" y="4196644"/>
                  <a:pt x="10497134" y="4198309"/>
                  <a:pt x="10498948" y="4206395"/>
                </a:cubicBezTo>
                <a:cubicBezTo>
                  <a:pt x="10508020" y="4219000"/>
                  <a:pt x="10513462" y="4205682"/>
                  <a:pt x="10523138" y="4200687"/>
                </a:cubicBezTo>
                <a:cubicBezTo>
                  <a:pt x="10517696" y="4209964"/>
                  <a:pt x="10517696" y="4216146"/>
                  <a:pt x="10526766" y="4219000"/>
                </a:cubicBezTo>
                <a:cubicBezTo>
                  <a:pt x="10529790" y="4213292"/>
                  <a:pt x="10527976" y="4203304"/>
                  <a:pt x="10532814" y="4201639"/>
                </a:cubicBezTo>
                <a:cubicBezTo>
                  <a:pt x="10537046" y="4209964"/>
                  <a:pt x="10535837" y="4225422"/>
                  <a:pt x="10552770" y="4219000"/>
                </a:cubicBezTo>
                <a:cubicBezTo>
                  <a:pt x="10540071" y="4194265"/>
                  <a:pt x="10563051" y="4209725"/>
                  <a:pt x="10566679" y="4188320"/>
                </a:cubicBezTo>
                <a:cubicBezTo>
                  <a:pt x="10552770" y="4181186"/>
                  <a:pt x="10540676" y="4181899"/>
                  <a:pt x="10528581" y="4188796"/>
                </a:cubicBezTo>
                <a:cubicBezTo>
                  <a:pt x="10536442" y="4177617"/>
                  <a:pt x="10524347" y="4179045"/>
                  <a:pt x="10527976" y="4159542"/>
                </a:cubicBezTo>
                <a:cubicBezTo>
                  <a:pt x="10537651" y="4158353"/>
                  <a:pt x="10553980" y="4165487"/>
                  <a:pt x="10547932" y="4147175"/>
                </a:cubicBezTo>
                <a:cubicBezTo>
                  <a:pt x="10521324" y="4150980"/>
                  <a:pt x="10522533" y="4123391"/>
                  <a:pt x="10509229" y="4110311"/>
                </a:cubicBezTo>
                <a:cubicBezTo>
                  <a:pt x="10527976" y="4111976"/>
                  <a:pt x="10541885" y="4118873"/>
                  <a:pt x="10552166" y="4109835"/>
                </a:cubicBezTo>
                <a:cubicBezTo>
                  <a:pt x="10550352" y="4095803"/>
                  <a:pt x="10533418" y="4102701"/>
                  <a:pt x="10529186" y="4092473"/>
                </a:cubicBezTo>
                <a:cubicBezTo>
                  <a:pt x="10537046" y="4079155"/>
                  <a:pt x="10546722" y="4089381"/>
                  <a:pt x="10558212" y="4092473"/>
                </a:cubicBezTo>
                <a:cubicBezTo>
                  <a:pt x="10558817" y="4080581"/>
                  <a:pt x="10563656" y="4079392"/>
                  <a:pt x="10564260" y="4067739"/>
                </a:cubicBezTo>
                <a:cubicBezTo>
                  <a:pt x="10557608" y="4065122"/>
                  <a:pt x="10537651" y="4074873"/>
                  <a:pt x="10538257" y="4061079"/>
                </a:cubicBezTo>
                <a:cubicBezTo>
                  <a:pt x="10553980" y="4040626"/>
                  <a:pt x="10524952" y="4052042"/>
                  <a:pt x="10534023" y="4013275"/>
                </a:cubicBezTo>
                <a:cubicBezTo>
                  <a:pt x="10521324" y="4023977"/>
                  <a:pt x="10495319" y="4019934"/>
                  <a:pt x="10489272" y="4043241"/>
                </a:cubicBezTo>
                <a:cubicBezTo>
                  <a:pt x="10485038" y="4024929"/>
                  <a:pt x="10497134" y="4025879"/>
                  <a:pt x="10495924" y="4012085"/>
                </a:cubicBezTo>
                <a:cubicBezTo>
                  <a:pt x="10474153" y="4013988"/>
                  <a:pt x="10498344" y="3996388"/>
                  <a:pt x="10479596" y="3994723"/>
                </a:cubicBezTo>
                <a:close/>
                <a:moveTo>
                  <a:pt x="11738067" y="3994249"/>
                </a:moveTo>
                <a:cubicBezTo>
                  <a:pt x="11739277" y="4011610"/>
                  <a:pt x="11731415" y="4018269"/>
                  <a:pt x="11742300" y="4047760"/>
                </a:cubicBezTo>
                <a:cubicBezTo>
                  <a:pt x="11724762" y="4052042"/>
                  <a:pt x="11736252" y="4028259"/>
                  <a:pt x="11726576" y="4023740"/>
                </a:cubicBezTo>
                <a:cubicBezTo>
                  <a:pt x="11716296" y="4028496"/>
                  <a:pt x="11724762" y="4054181"/>
                  <a:pt x="11705410" y="4046810"/>
                </a:cubicBezTo>
                <a:cubicBezTo>
                  <a:pt x="11716296" y="4024690"/>
                  <a:pt x="11727182" y="4012561"/>
                  <a:pt x="11728391" y="3995199"/>
                </a:cubicBezTo>
                <a:cubicBezTo>
                  <a:pt x="11733229" y="3999481"/>
                  <a:pt x="11737463" y="4001859"/>
                  <a:pt x="11738067" y="3994249"/>
                </a:cubicBezTo>
                <a:close/>
                <a:moveTo>
                  <a:pt x="3743966" y="3953578"/>
                </a:moveTo>
                <a:cubicBezTo>
                  <a:pt x="3750619" y="3968562"/>
                  <a:pt x="3753037" y="3964995"/>
                  <a:pt x="3768156" y="3960238"/>
                </a:cubicBezTo>
                <a:cubicBezTo>
                  <a:pt x="3772390" y="3976886"/>
                  <a:pt x="3751828" y="3985211"/>
                  <a:pt x="3771785" y="3984972"/>
                </a:cubicBezTo>
                <a:cubicBezTo>
                  <a:pt x="3772994" y="4005426"/>
                  <a:pt x="3748805" y="3999242"/>
                  <a:pt x="3742758" y="4015178"/>
                </a:cubicBezTo>
                <a:cubicBezTo>
                  <a:pt x="3736105" y="4006378"/>
                  <a:pt x="3736709" y="3990205"/>
                  <a:pt x="3724614" y="3991156"/>
                </a:cubicBezTo>
                <a:lnTo>
                  <a:pt x="3724009" y="3954292"/>
                </a:lnTo>
                <a:cubicBezTo>
                  <a:pt x="3728243" y="3962854"/>
                  <a:pt x="3746990" y="3988778"/>
                  <a:pt x="3743966" y="3953578"/>
                </a:cubicBezTo>
                <a:close/>
                <a:moveTo>
                  <a:pt x="11797332" y="3935265"/>
                </a:moveTo>
                <a:cubicBezTo>
                  <a:pt x="11803984" y="3936693"/>
                  <a:pt x="11827569" y="3951438"/>
                  <a:pt x="11837245" y="3950724"/>
                </a:cubicBezTo>
                <a:cubicBezTo>
                  <a:pt x="11813660" y="3960713"/>
                  <a:pt x="11821522" y="3995675"/>
                  <a:pt x="11842083" y="3999481"/>
                </a:cubicBezTo>
                <a:cubicBezTo>
                  <a:pt x="11841479" y="4009469"/>
                  <a:pt x="11839664" y="3999242"/>
                  <a:pt x="11831803" y="4000431"/>
                </a:cubicBezTo>
                <a:cubicBezTo>
                  <a:pt x="11826359" y="4003999"/>
                  <a:pt x="11823336" y="4013988"/>
                  <a:pt x="11822731" y="4026118"/>
                </a:cubicBezTo>
                <a:cubicBezTo>
                  <a:pt x="11802775" y="4008280"/>
                  <a:pt x="11788865" y="4018745"/>
                  <a:pt x="11782818" y="3994249"/>
                </a:cubicBezTo>
                <a:cubicBezTo>
                  <a:pt x="11816079" y="3999242"/>
                  <a:pt x="11789471" y="3974746"/>
                  <a:pt x="11812451" y="3980691"/>
                </a:cubicBezTo>
                <a:cubicBezTo>
                  <a:pt x="11803379" y="3960000"/>
                  <a:pt x="11816683" y="3947157"/>
                  <a:pt x="11796727" y="3939308"/>
                </a:cubicBezTo>
                <a:cubicBezTo>
                  <a:pt x="11794308" y="3935741"/>
                  <a:pt x="11794913" y="3934789"/>
                  <a:pt x="11797332" y="3935265"/>
                </a:cubicBezTo>
                <a:close/>
                <a:moveTo>
                  <a:pt x="11754395" y="3930033"/>
                </a:moveTo>
                <a:cubicBezTo>
                  <a:pt x="11757418" y="3929557"/>
                  <a:pt x="11761652" y="3929795"/>
                  <a:pt x="11765885" y="3930509"/>
                </a:cubicBezTo>
                <a:cubicBezTo>
                  <a:pt x="11765885" y="3935741"/>
                  <a:pt x="11768304" y="3939547"/>
                  <a:pt x="11770723" y="3941449"/>
                </a:cubicBezTo>
                <a:cubicBezTo>
                  <a:pt x="11767699" y="3948109"/>
                  <a:pt x="11756814" y="3952389"/>
                  <a:pt x="11743510" y="3951438"/>
                </a:cubicBezTo>
                <a:cubicBezTo>
                  <a:pt x="11742300" y="3938119"/>
                  <a:pt x="11745324" y="3931222"/>
                  <a:pt x="11754395" y="3930033"/>
                </a:cubicBezTo>
                <a:close/>
                <a:moveTo>
                  <a:pt x="11230083" y="3917903"/>
                </a:moveTo>
                <a:cubicBezTo>
                  <a:pt x="11240363" y="3917427"/>
                  <a:pt x="11252458" y="3919331"/>
                  <a:pt x="11259111" y="3925276"/>
                </a:cubicBezTo>
                <a:cubicBezTo>
                  <a:pt x="11243992" y="3947633"/>
                  <a:pt x="11225244" y="3931222"/>
                  <a:pt x="11207103" y="3925276"/>
                </a:cubicBezTo>
                <a:cubicBezTo>
                  <a:pt x="11209521" y="3921233"/>
                  <a:pt x="11219197" y="3918142"/>
                  <a:pt x="11230083" y="3917903"/>
                </a:cubicBezTo>
                <a:close/>
                <a:moveTo>
                  <a:pt x="11326237" y="3915525"/>
                </a:moveTo>
                <a:cubicBezTo>
                  <a:pt x="11325632" y="3926941"/>
                  <a:pt x="11306885" y="3942162"/>
                  <a:pt x="11295999" y="3924800"/>
                </a:cubicBezTo>
                <a:cubicBezTo>
                  <a:pt x="11305071" y="3904585"/>
                  <a:pt x="11315351" y="3930746"/>
                  <a:pt x="11326237" y="3915525"/>
                </a:cubicBezTo>
                <a:close/>
                <a:moveTo>
                  <a:pt x="11493146" y="3901731"/>
                </a:moveTo>
                <a:cubicBezTo>
                  <a:pt x="11502822" y="3908628"/>
                  <a:pt x="11502217" y="3926703"/>
                  <a:pt x="11501008" y="3945016"/>
                </a:cubicBezTo>
                <a:cubicBezTo>
                  <a:pt x="11468352" y="3950487"/>
                  <a:pt x="11508870" y="3976172"/>
                  <a:pt x="11485889" y="3990680"/>
                </a:cubicBezTo>
                <a:cubicBezTo>
                  <a:pt x="11456862" y="3973794"/>
                  <a:pt x="11509474" y="3929320"/>
                  <a:pt x="11467142" y="3927655"/>
                </a:cubicBezTo>
                <a:cubicBezTo>
                  <a:pt x="11471375" y="3897450"/>
                  <a:pt x="11497984" y="3953103"/>
                  <a:pt x="11493146" y="3901731"/>
                </a:cubicBezTo>
                <a:close/>
                <a:moveTo>
                  <a:pt x="8551070" y="3883180"/>
                </a:moveTo>
                <a:cubicBezTo>
                  <a:pt x="8534137" y="3883180"/>
                  <a:pt x="8519624" y="3889601"/>
                  <a:pt x="8511762" y="3908628"/>
                </a:cubicBezTo>
                <a:cubicBezTo>
                  <a:pt x="8522647" y="3913860"/>
                  <a:pt x="8529299" y="3924325"/>
                  <a:pt x="8526276" y="3951913"/>
                </a:cubicBezTo>
                <a:lnTo>
                  <a:pt x="8507529" y="3952627"/>
                </a:lnTo>
                <a:cubicBezTo>
                  <a:pt x="8505714" y="3980216"/>
                  <a:pt x="8517204" y="3990919"/>
                  <a:pt x="8531114" y="3998292"/>
                </a:cubicBezTo>
                <a:cubicBezTo>
                  <a:pt x="8548046" y="4001620"/>
                  <a:pt x="8520228" y="3981405"/>
                  <a:pt x="8537161" y="3980691"/>
                </a:cubicBezTo>
                <a:cubicBezTo>
                  <a:pt x="8548046" y="4036582"/>
                  <a:pt x="8621220" y="4056561"/>
                  <a:pt x="8650249" y="3996388"/>
                </a:cubicBezTo>
                <a:cubicBezTo>
                  <a:pt x="8649038" y="3994486"/>
                  <a:pt x="8648433" y="3994486"/>
                  <a:pt x="8647224" y="3992345"/>
                </a:cubicBezTo>
                <a:cubicBezTo>
                  <a:pt x="8656295" y="3995199"/>
                  <a:pt x="8664157" y="3991869"/>
                  <a:pt x="8667180" y="3980216"/>
                </a:cubicBezTo>
                <a:cubicBezTo>
                  <a:pt x="8667785" y="3970464"/>
                  <a:pt x="8660528" y="3969751"/>
                  <a:pt x="8661134" y="3961665"/>
                </a:cubicBezTo>
                <a:cubicBezTo>
                  <a:pt x="8659923" y="3962854"/>
                  <a:pt x="8659318" y="3962854"/>
                  <a:pt x="8658714" y="3963567"/>
                </a:cubicBezTo>
                <a:cubicBezTo>
                  <a:pt x="8659923" y="3982119"/>
                  <a:pt x="8638153" y="3986400"/>
                  <a:pt x="8630897" y="3975459"/>
                </a:cubicBezTo>
                <a:cubicBezTo>
                  <a:pt x="8633920" y="3971653"/>
                  <a:pt x="8640572" y="3971179"/>
                  <a:pt x="8644805" y="3969275"/>
                </a:cubicBezTo>
                <a:cubicBezTo>
                  <a:pt x="8637548" y="3968325"/>
                  <a:pt x="8631501" y="3961902"/>
                  <a:pt x="8617591" y="3968325"/>
                </a:cubicBezTo>
                <a:cubicBezTo>
                  <a:pt x="8621220" y="3964282"/>
                  <a:pt x="8620616" y="3959049"/>
                  <a:pt x="8621825" y="3954292"/>
                </a:cubicBezTo>
                <a:cubicBezTo>
                  <a:pt x="8596426" y="3955957"/>
                  <a:pt x="8568003" y="3946205"/>
                  <a:pt x="8545627" y="3945729"/>
                </a:cubicBezTo>
                <a:cubicBezTo>
                  <a:pt x="8561351" y="3967373"/>
                  <a:pt x="8546233" y="3972368"/>
                  <a:pt x="8527485" y="3964519"/>
                </a:cubicBezTo>
                <a:cubicBezTo>
                  <a:pt x="8540184" y="3955481"/>
                  <a:pt x="8528694" y="3946205"/>
                  <a:pt x="8536556" y="3934789"/>
                </a:cubicBezTo>
                <a:cubicBezTo>
                  <a:pt x="8550466" y="3950249"/>
                  <a:pt x="8561351" y="3924563"/>
                  <a:pt x="8580703" y="3928130"/>
                </a:cubicBezTo>
                <a:cubicBezTo>
                  <a:pt x="8584331" y="3945492"/>
                  <a:pt x="8605496" y="3945729"/>
                  <a:pt x="8620616" y="3941449"/>
                </a:cubicBezTo>
                <a:cubicBezTo>
                  <a:pt x="8616986" y="3938358"/>
                  <a:pt x="8611545" y="3936693"/>
                  <a:pt x="8602473" y="3939308"/>
                </a:cubicBezTo>
                <a:cubicBezTo>
                  <a:pt x="8588565" y="3928368"/>
                  <a:pt x="8626663" y="3933600"/>
                  <a:pt x="8636338" y="3932411"/>
                </a:cubicBezTo>
                <a:cubicBezTo>
                  <a:pt x="8610940" y="3910293"/>
                  <a:pt x="8586749" y="3915762"/>
                  <a:pt x="8558327" y="3913384"/>
                </a:cubicBezTo>
                <a:cubicBezTo>
                  <a:pt x="8558932" y="3897687"/>
                  <a:pt x="8554698" y="3890077"/>
                  <a:pt x="8561956" y="3886034"/>
                </a:cubicBezTo>
                <a:cubicBezTo>
                  <a:pt x="8558327" y="3885082"/>
                  <a:pt x="8554698" y="3884369"/>
                  <a:pt x="8551070" y="3883180"/>
                </a:cubicBezTo>
                <a:close/>
                <a:moveTo>
                  <a:pt x="11548782" y="3849170"/>
                </a:moveTo>
                <a:cubicBezTo>
                  <a:pt x="11539712" y="3849170"/>
                  <a:pt x="11531850" y="3852024"/>
                  <a:pt x="11530036" y="3864629"/>
                </a:cubicBezTo>
                <a:cubicBezTo>
                  <a:pt x="11539106" y="3873429"/>
                  <a:pt x="11565715" y="3864390"/>
                  <a:pt x="11575996" y="3853213"/>
                </a:cubicBezTo>
                <a:cubicBezTo>
                  <a:pt x="11568739" y="3852737"/>
                  <a:pt x="11557853" y="3849170"/>
                  <a:pt x="11548782" y="3849170"/>
                </a:cubicBezTo>
                <a:close/>
                <a:moveTo>
                  <a:pt x="11714482" y="3828715"/>
                </a:moveTo>
                <a:lnTo>
                  <a:pt x="11695130" y="3829428"/>
                </a:lnTo>
                <a:cubicBezTo>
                  <a:pt x="11700573" y="3859634"/>
                  <a:pt x="11721739" y="3863201"/>
                  <a:pt x="11703596" y="3891266"/>
                </a:cubicBezTo>
                <a:lnTo>
                  <a:pt x="11724762" y="3891266"/>
                </a:lnTo>
                <a:cubicBezTo>
                  <a:pt x="11719320" y="3859158"/>
                  <a:pt x="11717506" y="3862727"/>
                  <a:pt x="11714482" y="3828715"/>
                </a:cubicBezTo>
                <a:close/>
                <a:moveTo>
                  <a:pt x="11178680" y="3826574"/>
                </a:moveTo>
                <a:cubicBezTo>
                  <a:pt x="11178075" y="3826574"/>
                  <a:pt x="11178075" y="3827050"/>
                  <a:pt x="11178075" y="3827289"/>
                </a:cubicBezTo>
                <a:cubicBezTo>
                  <a:pt x="11181098" y="3828002"/>
                  <a:pt x="11184726" y="3828002"/>
                  <a:pt x="11186541" y="3828239"/>
                </a:cubicBezTo>
                <a:cubicBezTo>
                  <a:pt x="11184726" y="3827763"/>
                  <a:pt x="11181703" y="3828478"/>
                  <a:pt x="11178680" y="3826574"/>
                </a:cubicBezTo>
                <a:close/>
                <a:moveTo>
                  <a:pt x="12391190" y="3821342"/>
                </a:moveTo>
                <a:cubicBezTo>
                  <a:pt x="12393608" y="3821105"/>
                  <a:pt x="12399051" y="3833472"/>
                  <a:pt x="12408123" y="3826574"/>
                </a:cubicBezTo>
                <a:cubicBezTo>
                  <a:pt x="12409332" y="3844889"/>
                  <a:pt x="12397842" y="3843937"/>
                  <a:pt x="12388166" y="3847267"/>
                </a:cubicBezTo>
                <a:cubicBezTo>
                  <a:pt x="12386957" y="3834899"/>
                  <a:pt x="12396028" y="3829904"/>
                  <a:pt x="12389980" y="3827289"/>
                </a:cubicBezTo>
                <a:cubicBezTo>
                  <a:pt x="12389980" y="3823246"/>
                  <a:pt x="12390585" y="3821342"/>
                  <a:pt x="12391190" y="3821342"/>
                </a:cubicBezTo>
                <a:close/>
                <a:moveTo>
                  <a:pt x="3838910" y="3778057"/>
                </a:moveTo>
                <a:cubicBezTo>
                  <a:pt x="3843144" y="3780435"/>
                  <a:pt x="3840725" y="3784478"/>
                  <a:pt x="3838306" y="3784241"/>
                </a:cubicBezTo>
                <a:cubicBezTo>
                  <a:pt x="3852216" y="3834661"/>
                  <a:pt x="3915109" y="3786857"/>
                  <a:pt x="3947765" y="3808024"/>
                </a:cubicBezTo>
                <a:cubicBezTo>
                  <a:pt x="3925995" y="3810164"/>
                  <a:pt x="3872778" y="3815873"/>
                  <a:pt x="3834074" y="3820866"/>
                </a:cubicBezTo>
                <a:cubicBezTo>
                  <a:pt x="3829840" y="3810164"/>
                  <a:pt x="3819559" y="3815159"/>
                  <a:pt x="3830444" y="3801841"/>
                </a:cubicBezTo>
                <a:cubicBezTo>
                  <a:pt x="3801418" y="3793279"/>
                  <a:pt x="3761504" y="3822294"/>
                  <a:pt x="3777832" y="3784954"/>
                </a:cubicBezTo>
                <a:cubicBezTo>
                  <a:pt x="3784485" y="3801841"/>
                  <a:pt x="3797183" y="3794705"/>
                  <a:pt x="3800207" y="3778532"/>
                </a:cubicBezTo>
                <a:cubicBezTo>
                  <a:pt x="3818955" y="3786381"/>
                  <a:pt x="3827421" y="3805645"/>
                  <a:pt x="3838910" y="3778057"/>
                </a:cubicBezTo>
                <a:close/>
                <a:moveTo>
                  <a:pt x="4221108" y="3724306"/>
                </a:moveTo>
                <a:cubicBezTo>
                  <a:pt x="4228366" y="3724545"/>
                  <a:pt x="4236832" y="3726209"/>
                  <a:pt x="4242880" y="3724782"/>
                </a:cubicBezTo>
                <a:cubicBezTo>
                  <a:pt x="4240461" y="3734771"/>
                  <a:pt x="4235017" y="3740479"/>
                  <a:pt x="4227762" y="3739766"/>
                </a:cubicBezTo>
                <a:cubicBezTo>
                  <a:pt x="4215061" y="3749041"/>
                  <a:pt x="4184219" y="3752847"/>
                  <a:pt x="4175754" y="3733582"/>
                </a:cubicBezTo>
                <a:cubicBezTo>
                  <a:pt x="4192081" y="3737149"/>
                  <a:pt x="4199338" y="3735247"/>
                  <a:pt x="4209014" y="3734058"/>
                </a:cubicBezTo>
                <a:cubicBezTo>
                  <a:pt x="4209014" y="3734058"/>
                  <a:pt x="4206596" y="3731917"/>
                  <a:pt x="4204176" y="3731680"/>
                </a:cubicBezTo>
                <a:cubicBezTo>
                  <a:pt x="4206596" y="3724782"/>
                  <a:pt x="4213853" y="3723831"/>
                  <a:pt x="4221108" y="3724306"/>
                </a:cubicBezTo>
                <a:close/>
                <a:moveTo>
                  <a:pt x="11809426" y="3720263"/>
                </a:moveTo>
                <a:cubicBezTo>
                  <a:pt x="11792494" y="3726685"/>
                  <a:pt x="11810637" y="3744285"/>
                  <a:pt x="11809426" y="3764025"/>
                </a:cubicBezTo>
                <a:cubicBezTo>
                  <a:pt x="11838454" y="3758554"/>
                  <a:pt x="11846921" y="3777343"/>
                  <a:pt x="11863249" y="3782814"/>
                </a:cubicBezTo>
                <a:cubicBezTo>
                  <a:pt x="11866877" y="3771159"/>
                  <a:pt x="11859620" y="3768068"/>
                  <a:pt x="11860225" y="3758317"/>
                </a:cubicBezTo>
                <a:lnTo>
                  <a:pt x="11828778" y="3757841"/>
                </a:lnTo>
                <a:cubicBezTo>
                  <a:pt x="11825150" y="3743570"/>
                  <a:pt x="11823941" y="3723593"/>
                  <a:pt x="11809426" y="3720263"/>
                </a:cubicBezTo>
                <a:close/>
                <a:moveTo>
                  <a:pt x="3408334" y="3697193"/>
                </a:moveTo>
                <a:cubicBezTo>
                  <a:pt x="3422848" y="3697907"/>
                  <a:pt x="3441595" y="3718361"/>
                  <a:pt x="3460946" y="3704804"/>
                </a:cubicBezTo>
                <a:cubicBezTo>
                  <a:pt x="3462760" y="3714318"/>
                  <a:pt x="3455505" y="3715744"/>
                  <a:pt x="3457318" y="3727161"/>
                </a:cubicBezTo>
                <a:cubicBezTo>
                  <a:pt x="3448247" y="3707658"/>
                  <a:pt x="3413172" y="3714079"/>
                  <a:pt x="3396239" y="3705280"/>
                </a:cubicBezTo>
                <a:cubicBezTo>
                  <a:pt x="3399867" y="3699096"/>
                  <a:pt x="3404101" y="3696956"/>
                  <a:pt x="3408334" y="3697193"/>
                </a:cubicBezTo>
                <a:close/>
                <a:moveTo>
                  <a:pt x="4148539" y="3685064"/>
                </a:moveTo>
                <a:cubicBezTo>
                  <a:pt x="4157611" y="3688155"/>
                  <a:pt x="4168498" y="3694102"/>
                  <a:pt x="4185428" y="3690772"/>
                </a:cubicBezTo>
                <a:cubicBezTo>
                  <a:pt x="4181802" y="3714555"/>
                  <a:pt x="4147332" y="3706707"/>
                  <a:pt x="4148539" y="3685064"/>
                </a:cubicBezTo>
                <a:close/>
                <a:moveTo>
                  <a:pt x="11861434" y="3659379"/>
                </a:moveTo>
                <a:cubicBezTo>
                  <a:pt x="11860225" y="3679119"/>
                  <a:pt x="11864459" y="3691724"/>
                  <a:pt x="11875949" y="3696718"/>
                </a:cubicBezTo>
                <a:lnTo>
                  <a:pt x="11875344" y="3660805"/>
                </a:lnTo>
                <a:close/>
                <a:moveTo>
                  <a:pt x="2301654" y="3607531"/>
                </a:moveTo>
                <a:cubicBezTo>
                  <a:pt x="2307701" y="3633216"/>
                  <a:pt x="2278069" y="3617044"/>
                  <a:pt x="2276859" y="3636546"/>
                </a:cubicBezTo>
                <a:cubicBezTo>
                  <a:pt x="2239970" y="3631551"/>
                  <a:pt x="2206105" y="3624417"/>
                  <a:pt x="2174657" y="3613952"/>
                </a:cubicBezTo>
                <a:cubicBezTo>
                  <a:pt x="2212756" y="3595639"/>
                  <a:pt x="2276859" y="3644395"/>
                  <a:pt x="2301654" y="3607531"/>
                </a:cubicBezTo>
                <a:close/>
                <a:moveTo>
                  <a:pt x="2209732" y="3583747"/>
                </a:moveTo>
                <a:cubicBezTo>
                  <a:pt x="2213361" y="3583985"/>
                  <a:pt x="2216385" y="3585174"/>
                  <a:pt x="2220618" y="3588504"/>
                </a:cubicBezTo>
                <a:cubicBezTo>
                  <a:pt x="2215176" y="3602773"/>
                  <a:pt x="2179495" y="3605866"/>
                  <a:pt x="2175867" y="3590882"/>
                </a:cubicBezTo>
                <a:cubicBezTo>
                  <a:pt x="2186752" y="3591833"/>
                  <a:pt x="2194010" y="3588028"/>
                  <a:pt x="2200661" y="3585650"/>
                </a:cubicBezTo>
                <a:cubicBezTo>
                  <a:pt x="2203684" y="3584461"/>
                  <a:pt x="2206709" y="3583509"/>
                  <a:pt x="2209732" y="3583747"/>
                </a:cubicBezTo>
                <a:close/>
                <a:moveTo>
                  <a:pt x="12616759" y="3581368"/>
                </a:moveTo>
                <a:cubicBezTo>
                  <a:pt x="12630063" y="3581368"/>
                  <a:pt x="12643367" y="3611335"/>
                  <a:pt x="12643972" y="3631790"/>
                </a:cubicBezTo>
                <a:cubicBezTo>
                  <a:pt x="12617968" y="3633929"/>
                  <a:pt x="12604664" y="3611811"/>
                  <a:pt x="12584708" y="3624893"/>
                </a:cubicBezTo>
                <a:cubicBezTo>
                  <a:pt x="12588336" y="3599919"/>
                  <a:pt x="12602245" y="3617757"/>
                  <a:pt x="12594384" y="3585650"/>
                </a:cubicBezTo>
                <a:cubicBezTo>
                  <a:pt x="12601640" y="3588266"/>
                  <a:pt x="12603455" y="3596590"/>
                  <a:pt x="12610711" y="3599445"/>
                </a:cubicBezTo>
                <a:cubicBezTo>
                  <a:pt x="12617968" y="3595876"/>
                  <a:pt x="12610711" y="3591120"/>
                  <a:pt x="12603455" y="3592547"/>
                </a:cubicBezTo>
                <a:cubicBezTo>
                  <a:pt x="12607688" y="3584461"/>
                  <a:pt x="12611921" y="3581368"/>
                  <a:pt x="12616759" y="3581368"/>
                </a:cubicBezTo>
                <a:close/>
                <a:moveTo>
                  <a:pt x="2073060" y="3566623"/>
                </a:moveTo>
                <a:cubicBezTo>
                  <a:pt x="2064594" y="3579703"/>
                  <a:pt x="2045848" y="3580179"/>
                  <a:pt x="2027705" y="3580892"/>
                </a:cubicBezTo>
                <a:cubicBezTo>
                  <a:pt x="2033752" y="3560677"/>
                  <a:pt x="2046453" y="3571142"/>
                  <a:pt x="2073060" y="3566623"/>
                </a:cubicBezTo>
                <a:close/>
                <a:moveTo>
                  <a:pt x="2376037" y="3560915"/>
                </a:moveTo>
                <a:cubicBezTo>
                  <a:pt x="2380271" y="3565434"/>
                  <a:pt x="2387527" y="3568050"/>
                  <a:pt x="2400227" y="3567099"/>
                </a:cubicBezTo>
                <a:cubicBezTo>
                  <a:pt x="2394784" y="3576849"/>
                  <a:pt x="2384503" y="3579703"/>
                  <a:pt x="2369991" y="3578514"/>
                </a:cubicBezTo>
                <a:cubicBezTo>
                  <a:pt x="2372409" y="3572569"/>
                  <a:pt x="2375432" y="3569002"/>
                  <a:pt x="2376037" y="3560915"/>
                </a:cubicBezTo>
                <a:close/>
                <a:moveTo>
                  <a:pt x="1849306" y="3549736"/>
                </a:moveTo>
                <a:cubicBezTo>
                  <a:pt x="1857167" y="3549736"/>
                  <a:pt x="1864424" y="3554970"/>
                  <a:pt x="1865029" y="3569477"/>
                </a:cubicBezTo>
                <a:cubicBezTo>
                  <a:pt x="1857167" y="3559250"/>
                  <a:pt x="1841444" y="3562580"/>
                  <a:pt x="1828140" y="3561391"/>
                </a:cubicBezTo>
                <a:cubicBezTo>
                  <a:pt x="1832373" y="3554494"/>
                  <a:pt x="1841444" y="3549499"/>
                  <a:pt x="1849306" y="3549736"/>
                </a:cubicBezTo>
                <a:close/>
                <a:moveTo>
                  <a:pt x="3896967" y="3539272"/>
                </a:moveTo>
                <a:cubicBezTo>
                  <a:pt x="3910271" y="3538796"/>
                  <a:pt x="3915714" y="3547121"/>
                  <a:pt x="3925995" y="3549736"/>
                </a:cubicBezTo>
                <a:cubicBezTo>
                  <a:pt x="3922971" y="3555920"/>
                  <a:pt x="3912086" y="3554018"/>
                  <a:pt x="3904224" y="3553305"/>
                </a:cubicBezTo>
                <a:lnTo>
                  <a:pt x="3903618" y="3562342"/>
                </a:lnTo>
                <a:cubicBezTo>
                  <a:pt x="3887897" y="3559488"/>
                  <a:pt x="3896362" y="3550688"/>
                  <a:pt x="3896967" y="3539272"/>
                </a:cubicBezTo>
                <a:close/>
                <a:moveTo>
                  <a:pt x="3999169" y="3530710"/>
                </a:moveTo>
                <a:cubicBezTo>
                  <a:pt x="3994330" y="3534278"/>
                  <a:pt x="3994330" y="3538083"/>
                  <a:pt x="3993726" y="3544029"/>
                </a:cubicBezTo>
                <a:cubicBezTo>
                  <a:pt x="4000377" y="3554494"/>
                  <a:pt x="4013077" y="3547597"/>
                  <a:pt x="4013683" y="3531661"/>
                </a:cubicBezTo>
                <a:cubicBezTo>
                  <a:pt x="4007030" y="3531186"/>
                  <a:pt x="4001587" y="3530948"/>
                  <a:pt x="3999169" y="3530710"/>
                </a:cubicBezTo>
                <a:close/>
                <a:moveTo>
                  <a:pt x="3168251" y="3524527"/>
                </a:moveTo>
                <a:cubicBezTo>
                  <a:pt x="3167041" y="3548786"/>
                  <a:pt x="3153737" y="3553542"/>
                  <a:pt x="3145876" y="3536418"/>
                </a:cubicBezTo>
                <a:cubicBezTo>
                  <a:pt x="3148294" y="3528331"/>
                  <a:pt x="3159179" y="3527857"/>
                  <a:pt x="3168251" y="3524527"/>
                </a:cubicBezTo>
                <a:close/>
                <a:moveTo>
                  <a:pt x="3724614" y="3523099"/>
                </a:moveTo>
                <a:cubicBezTo>
                  <a:pt x="3731871" y="3519771"/>
                  <a:pt x="3742152" y="3532375"/>
                  <a:pt x="3748805" y="3533089"/>
                </a:cubicBezTo>
                <a:cubicBezTo>
                  <a:pt x="3742758" y="3555683"/>
                  <a:pt x="3725220" y="3530710"/>
                  <a:pt x="3718567" y="3533089"/>
                </a:cubicBezTo>
                <a:cubicBezTo>
                  <a:pt x="3719777" y="3527381"/>
                  <a:pt x="3722195" y="3524288"/>
                  <a:pt x="3724614" y="3523099"/>
                </a:cubicBezTo>
                <a:close/>
                <a:moveTo>
                  <a:pt x="12202510" y="3514537"/>
                </a:moveTo>
                <a:cubicBezTo>
                  <a:pt x="12199486" y="3513587"/>
                  <a:pt x="12195857" y="3513587"/>
                  <a:pt x="12191020" y="3515013"/>
                </a:cubicBezTo>
                <a:cubicBezTo>
                  <a:pt x="12190415" y="3528807"/>
                  <a:pt x="12192229" y="3539510"/>
                  <a:pt x="12196463" y="3545693"/>
                </a:cubicBezTo>
                <a:cubicBezTo>
                  <a:pt x="12208558" y="3544743"/>
                  <a:pt x="12218838" y="3537607"/>
                  <a:pt x="12226699" y="3528331"/>
                </a:cubicBezTo>
                <a:cubicBezTo>
                  <a:pt x="12214000" y="3528807"/>
                  <a:pt x="12210976" y="3517630"/>
                  <a:pt x="12202510" y="3514537"/>
                </a:cubicBezTo>
                <a:close/>
                <a:moveTo>
                  <a:pt x="3838910" y="3501694"/>
                </a:moveTo>
                <a:cubicBezTo>
                  <a:pt x="3838306" y="3516916"/>
                  <a:pt x="3823793" y="3515965"/>
                  <a:pt x="3818349" y="3525003"/>
                </a:cubicBezTo>
                <a:cubicBezTo>
                  <a:pt x="3801418" y="3512159"/>
                  <a:pt x="3829236" y="3502883"/>
                  <a:pt x="3838910" y="3501694"/>
                </a:cubicBezTo>
                <a:close/>
                <a:moveTo>
                  <a:pt x="3689540" y="3501218"/>
                </a:moveTo>
                <a:cubicBezTo>
                  <a:pt x="3686516" y="3519295"/>
                  <a:pt x="3696797" y="3522386"/>
                  <a:pt x="3693772" y="3538796"/>
                </a:cubicBezTo>
                <a:cubicBezTo>
                  <a:pt x="3683491" y="3535943"/>
                  <a:pt x="3668374" y="3501218"/>
                  <a:pt x="3689540" y="3501218"/>
                </a:cubicBezTo>
                <a:close/>
                <a:moveTo>
                  <a:pt x="2327053" y="3499553"/>
                </a:moveTo>
                <a:cubicBezTo>
                  <a:pt x="2338542" y="3495986"/>
                  <a:pt x="2344590" y="3501457"/>
                  <a:pt x="2343381" y="3519295"/>
                </a:cubicBezTo>
                <a:cubicBezTo>
                  <a:pt x="2335519" y="3507402"/>
                  <a:pt x="2332496" y="3517867"/>
                  <a:pt x="2321610" y="3519295"/>
                </a:cubicBezTo>
                <a:cubicBezTo>
                  <a:pt x="2324029" y="3512873"/>
                  <a:pt x="2326449" y="3508354"/>
                  <a:pt x="2327053" y="3499553"/>
                </a:cubicBezTo>
                <a:close/>
                <a:moveTo>
                  <a:pt x="12181344" y="3456031"/>
                </a:moveTo>
                <a:cubicBezTo>
                  <a:pt x="12175902" y="3456031"/>
                  <a:pt x="12170458" y="3461976"/>
                  <a:pt x="12172272" y="3473868"/>
                </a:cubicBezTo>
                <a:lnTo>
                  <a:pt x="12191020" y="3473392"/>
                </a:lnTo>
                <a:cubicBezTo>
                  <a:pt x="12192834" y="3461739"/>
                  <a:pt x="12187392" y="3456031"/>
                  <a:pt x="12181344" y="3456031"/>
                </a:cubicBezTo>
                <a:close/>
                <a:moveTo>
                  <a:pt x="3663535" y="3454366"/>
                </a:moveTo>
                <a:cubicBezTo>
                  <a:pt x="3662930" y="3460550"/>
                  <a:pt x="3656883" y="3457933"/>
                  <a:pt x="3652046" y="3459598"/>
                </a:cubicBezTo>
                <a:cubicBezTo>
                  <a:pt x="3649627" y="3467684"/>
                  <a:pt x="3652046" y="3469112"/>
                  <a:pt x="3656280" y="3471727"/>
                </a:cubicBezTo>
                <a:cubicBezTo>
                  <a:pt x="3647812" y="3497414"/>
                  <a:pt x="3637532" y="3448182"/>
                  <a:pt x="3633903" y="3472440"/>
                </a:cubicBezTo>
                <a:cubicBezTo>
                  <a:pt x="3626646" y="3451274"/>
                  <a:pt x="3645998" y="3456982"/>
                  <a:pt x="3663535" y="3454366"/>
                </a:cubicBezTo>
                <a:close/>
                <a:moveTo>
                  <a:pt x="3502069" y="3452701"/>
                </a:moveTo>
                <a:cubicBezTo>
                  <a:pt x="3509931" y="3450085"/>
                  <a:pt x="3520211" y="3452701"/>
                  <a:pt x="3516584" y="3468873"/>
                </a:cubicBezTo>
                <a:cubicBezTo>
                  <a:pt x="3506303" y="3474105"/>
                  <a:pt x="3500255" y="3451274"/>
                  <a:pt x="3496626" y="3469588"/>
                </a:cubicBezTo>
                <a:cubicBezTo>
                  <a:pt x="3486951" y="3463641"/>
                  <a:pt x="3493602" y="3455317"/>
                  <a:pt x="3502069" y="3452701"/>
                </a:cubicBezTo>
                <a:close/>
                <a:moveTo>
                  <a:pt x="12327087" y="3442712"/>
                </a:moveTo>
                <a:cubicBezTo>
                  <a:pt x="12319225" y="3442236"/>
                  <a:pt x="12314387" y="3444614"/>
                  <a:pt x="12317411" y="3456744"/>
                </a:cubicBezTo>
                <a:cubicBezTo>
                  <a:pt x="12318620" y="3470777"/>
                  <a:pt x="12332530" y="3434626"/>
                  <a:pt x="12335553" y="3462452"/>
                </a:cubicBezTo>
                <a:cubicBezTo>
                  <a:pt x="12323459" y="3471251"/>
                  <a:pt x="12313178" y="3481954"/>
                  <a:pt x="12304712" y="3497175"/>
                </a:cubicBezTo>
                <a:cubicBezTo>
                  <a:pt x="12316806" y="3498127"/>
                  <a:pt x="12321039" y="3508830"/>
                  <a:pt x="12335553" y="3504073"/>
                </a:cubicBezTo>
                <a:cubicBezTo>
                  <a:pt x="12334344" y="3482192"/>
                  <a:pt x="12356115" y="3485522"/>
                  <a:pt x="12375467" y="3487187"/>
                </a:cubicBezTo>
                <a:cubicBezTo>
                  <a:pt x="12374257" y="3461500"/>
                  <a:pt x="12350067" y="3469588"/>
                  <a:pt x="12351276" y="3444138"/>
                </a:cubicBezTo>
                <a:cubicBezTo>
                  <a:pt x="12345229" y="3446518"/>
                  <a:pt x="12334949" y="3443188"/>
                  <a:pt x="12327087" y="3442712"/>
                </a:cubicBezTo>
                <a:close/>
                <a:moveTo>
                  <a:pt x="3601247" y="3438906"/>
                </a:moveTo>
                <a:cubicBezTo>
                  <a:pt x="3603666" y="3442712"/>
                  <a:pt x="3601247" y="3442475"/>
                  <a:pt x="3598828" y="3444138"/>
                </a:cubicBezTo>
                <a:cubicBezTo>
                  <a:pt x="3597619" y="3455079"/>
                  <a:pt x="3610922" y="3454366"/>
                  <a:pt x="3618179" y="3460787"/>
                </a:cubicBezTo>
                <a:cubicBezTo>
                  <a:pt x="3601247" y="3481717"/>
                  <a:pt x="3600642" y="3440334"/>
                  <a:pt x="3581895" y="3447944"/>
                </a:cubicBezTo>
                <a:cubicBezTo>
                  <a:pt x="3584919" y="3440810"/>
                  <a:pt x="3593385" y="3438193"/>
                  <a:pt x="3601247" y="3438906"/>
                </a:cubicBezTo>
                <a:close/>
                <a:moveTo>
                  <a:pt x="2813872" y="3408226"/>
                </a:moveTo>
                <a:cubicBezTo>
                  <a:pt x="2836247" y="3416075"/>
                  <a:pt x="2845922" y="3440095"/>
                  <a:pt x="2864065" y="3455555"/>
                </a:cubicBezTo>
                <a:cubicBezTo>
                  <a:pt x="2873136" y="3452463"/>
                  <a:pt x="2871927" y="3438669"/>
                  <a:pt x="2881603" y="3437480"/>
                </a:cubicBezTo>
                <a:cubicBezTo>
                  <a:pt x="2899140" y="3450798"/>
                  <a:pt x="2898535" y="3466258"/>
                  <a:pt x="2926958" y="3455079"/>
                </a:cubicBezTo>
                <a:cubicBezTo>
                  <a:pt x="2931191" y="3461263"/>
                  <a:pt x="2928167" y="3477198"/>
                  <a:pt x="2942076" y="3472440"/>
                </a:cubicBezTo>
                <a:cubicBezTo>
                  <a:pt x="2943891" y="3488376"/>
                  <a:pt x="2932401" y="3482906"/>
                  <a:pt x="2931797" y="3494797"/>
                </a:cubicBezTo>
                <a:cubicBezTo>
                  <a:pt x="2933611" y="3506689"/>
                  <a:pt x="2952358" y="3496938"/>
                  <a:pt x="2954172" y="3506927"/>
                </a:cubicBezTo>
                <a:cubicBezTo>
                  <a:pt x="2950543" y="3509067"/>
                  <a:pt x="2946915" y="3509305"/>
                  <a:pt x="2943287" y="3510970"/>
                </a:cubicBezTo>
                <a:cubicBezTo>
                  <a:pt x="3006785" y="3516916"/>
                  <a:pt x="3063630" y="3533089"/>
                  <a:pt x="3131362" y="3528331"/>
                </a:cubicBezTo>
                <a:cubicBezTo>
                  <a:pt x="3125919" y="3540937"/>
                  <a:pt x="3138013" y="3541650"/>
                  <a:pt x="3137409" y="3550927"/>
                </a:cubicBezTo>
                <a:cubicBezTo>
                  <a:pt x="3057583" y="3549736"/>
                  <a:pt x="2925749" y="3529046"/>
                  <a:pt x="2852575" y="3534040"/>
                </a:cubicBezTo>
                <a:cubicBezTo>
                  <a:pt x="2830804" y="3532137"/>
                  <a:pt x="2824152" y="3512635"/>
                  <a:pt x="2807824" y="3505738"/>
                </a:cubicBezTo>
                <a:cubicBezTo>
                  <a:pt x="2807219" y="3493132"/>
                  <a:pt x="2825362" y="3496701"/>
                  <a:pt x="2842294" y="3502408"/>
                </a:cubicBezTo>
                <a:cubicBezTo>
                  <a:pt x="2844713" y="3493371"/>
                  <a:pt x="2848342" y="3486235"/>
                  <a:pt x="2861647" y="3489089"/>
                </a:cubicBezTo>
                <a:cubicBezTo>
                  <a:pt x="2858017" y="3472916"/>
                  <a:pt x="2839271" y="3475533"/>
                  <a:pt x="2825966" y="3472440"/>
                </a:cubicBezTo>
                <a:cubicBezTo>
                  <a:pt x="2822942" y="3436767"/>
                  <a:pt x="2809034" y="3443188"/>
                  <a:pt x="2813872" y="3408226"/>
                </a:cubicBezTo>
                <a:close/>
                <a:moveTo>
                  <a:pt x="2793688" y="3405700"/>
                </a:moveTo>
                <a:cubicBezTo>
                  <a:pt x="2795880" y="3406502"/>
                  <a:pt x="2797845" y="3408226"/>
                  <a:pt x="2799358" y="3411080"/>
                </a:cubicBezTo>
                <a:cubicBezTo>
                  <a:pt x="2802381" y="3432248"/>
                  <a:pt x="2776982" y="3421307"/>
                  <a:pt x="2773353" y="3416788"/>
                </a:cubicBezTo>
                <a:cubicBezTo>
                  <a:pt x="2776982" y="3411793"/>
                  <a:pt x="2781819" y="3407513"/>
                  <a:pt x="2786658" y="3405848"/>
                </a:cubicBezTo>
                <a:cubicBezTo>
                  <a:pt x="2789077" y="3405015"/>
                  <a:pt x="2791496" y="3404896"/>
                  <a:pt x="2793688" y="3405700"/>
                </a:cubicBezTo>
                <a:close/>
                <a:moveTo>
                  <a:pt x="506776" y="3388723"/>
                </a:moveTo>
                <a:cubicBezTo>
                  <a:pt x="528546" y="3412982"/>
                  <a:pt x="556970" y="3419405"/>
                  <a:pt x="512823" y="3419642"/>
                </a:cubicBezTo>
                <a:cubicBezTo>
                  <a:pt x="516452" y="3401567"/>
                  <a:pt x="506171" y="3402994"/>
                  <a:pt x="506776" y="3388723"/>
                </a:cubicBezTo>
                <a:close/>
                <a:moveTo>
                  <a:pt x="270321" y="3351384"/>
                </a:moveTo>
                <a:cubicBezTo>
                  <a:pt x="279392" y="3366129"/>
                  <a:pt x="301768" y="3352574"/>
                  <a:pt x="305397" y="3379211"/>
                </a:cubicBezTo>
                <a:cubicBezTo>
                  <a:pt x="319305" y="3382302"/>
                  <a:pt x="313258" y="3364227"/>
                  <a:pt x="327772" y="3368746"/>
                </a:cubicBezTo>
                <a:cubicBezTo>
                  <a:pt x="331400" y="3390151"/>
                  <a:pt x="352566" y="3360660"/>
                  <a:pt x="350752" y="3388723"/>
                </a:cubicBezTo>
                <a:cubicBezTo>
                  <a:pt x="317492" y="3375167"/>
                  <a:pt x="265484" y="3386345"/>
                  <a:pt x="241294" y="3352811"/>
                </a:cubicBezTo>
                <a:cubicBezTo>
                  <a:pt x="255808" y="3348768"/>
                  <a:pt x="281207" y="3375167"/>
                  <a:pt x="270321" y="3351384"/>
                </a:cubicBezTo>
                <a:close/>
                <a:moveTo>
                  <a:pt x="3616366" y="3350909"/>
                </a:moveTo>
                <a:cubicBezTo>
                  <a:pt x="3610922" y="3355902"/>
                  <a:pt x="3604875" y="3357091"/>
                  <a:pt x="3600642" y="3363751"/>
                </a:cubicBezTo>
                <a:cubicBezTo>
                  <a:pt x="3607294" y="3366129"/>
                  <a:pt x="3616972" y="3373502"/>
                  <a:pt x="3627251" y="3368270"/>
                </a:cubicBezTo>
                <a:cubicBezTo>
                  <a:pt x="3627251" y="3358756"/>
                  <a:pt x="3625438" y="3350195"/>
                  <a:pt x="3616366" y="3350909"/>
                </a:cubicBezTo>
                <a:close/>
                <a:moveTo>
                  <a:pt x="3664746" y="3327839"/>
                </a:moveTo>
                <a:cubicBezTo>
                  <a:pt x="3667768" y="3351146"/>
                  <a:pt x="3687725" y="3359708"/>
                  <a:pt x="3705263" y="3361373"/>
                </a:cubicBezTo>
                <a:cubicBezTo>
                  <a:pt x="3702844" y="3359708"/>
                  <a:pt x="3701031" y="3357330"/>
                  <a:pt x="3702239" y="3350909"/>
                </a:cubicBezTo>
                <a:cubicBezTo>
                  <a:pt x="3708891" y="3359471"/>
                  <a:pt x="3730662" y="3360897"/>
                  <a:pt x="3731267" y="3345200"/>
                </a:cubicBezTo>
                <a:cubicBezTo>
                  <a:pt x="3702239" y="3348768"/>
                  <a:pt x="3686516" y="3333547"/>
                  <a:pt x="3664746" y="3327839"/>
                </a:cubicBezTo>
                <a:close/>
                <a:moveTo>
                  <a:pt x="2657243" y="3308812"/>
                </a:moveTo>
                <a:cubicBezTo>
                  <a:pt x="2672361" y="3314044"/>
                  <a:pt x="2685061" y="3328315"/>
                  <a:pt x="2705018" y="3329978"/>
                </a:cubicBezTo>
                <a:cubicBezTo>
                  <a:pt x="2710460" y="3349957"/>
                  <a:pt x="2678409" y="3335925"/>
                  <a:pt x="2679013" y="3326174"/>
                </a:cubicBezTo>
                <a:lnTo>
                  <a:pt x="2664499" y="3342346"/>
                </a:lnTo>
                <a:cubicBezTo>
                  <a:pt x="2654219" y="3333784"/>
                  <a:pt x="2652406" y="3323796"/>
                  <a:pt x="2657243" y="3308812"/>
                </a:cubicBezTo>
                <a:close/>
                <a:moveTo>
                  <a:pt x="2522385" y="3285029"/>
                </a:moveTo>
                <a:cubicBezTo>
                  <a:pt x="2578022" y="3334973"/>
                  <a:pt x="2674781" y="3333784"/>
                  <a:pt x="2707436" y="3407037"/>
                </a:cubicBezTo>
                <a:cubicBezTo>
                  <a:pt x="2672966" y="3494560"/>
                  <a:pt x="2570160" y="3428442"/>
                  <a:pt x="2521175" y="3394907"/>
                </a:cubicBezTo>
                <a:cubicBezTo>
                  <a:pt x="2519966" y="3377070"/>
                  <a:pt x="2527223" y="3371838"/>
                  <a:pt x="2530247" y="3360184"/>
                </a:cubicBezTo>
                <a:cubicBezTo>
                  <a:pt x="2513918" y="3345200"/>
                  <a:pt x="2498195" y="3329978"/>
                  <a:pt x="2489729" y="3307623"/>
                </a:cubicBezTo>
                <a:cubicBezTo>
                  <a:pt x="2507267" y="3305245"/>
                  <a:pt x="2517547" y="3323796"/>
                  <a:pt x="2530851" y="3309288"/>
                </a:cubicBezTo>
                <a:cubicBezTo>
                  <a:pt x="2531456" y="3297633"/>
                  <a:pt x="2519361" y="3300487"/>
                  <a:pt x="2522385" y="3285029"/>
                </a:cubicBezTo>
                <a:close/>
                <a:moveTo>
                  <a:pt x="3015856" y="3242457"/>
                </a:moveTo>
                <a:cubicBezTo>
                  <a:pt x="3023113" y="3241267"/>
                  <a:pt x="3030974" y="3244359"/>
                  <a:pt x="3035813" y="3253397"/>
                </a:cubicBezTo>
                <a:cubicBezTo>
                  <a:pt x="3027951" y="3261245"/>
                  <a:pt x="3013436" y="3249115"/>
                  <a:pt x="2998318" y="3258629"/>
                </a:cubicBezTo>
                <a:cubicBezTo>
                  <a:pt x="3001341" y="3249115"/>
                  <a:pt x="3007994" y="3243646"/>
                  <a:pt x="3015856" y="3242457"/>
                </a:cubicBezTo>
                <a:close/>
                <a:moveTo>
                  <a:pt x="2457677" y="3234846"/>
                </a:moveTo>
                <a:cubicBezTo>
                  <a:pt x="2464330" y="3236510"/>
                  <a:pt x="2466749" y="3243646"/>
                  <a:pt x="2477634" y="3240078"/>
                </a:cubicBezTo>
                <a:cubicBezTo>
                  <a:pt x="2469772" y="3247450"/>
                  <a:pt x="2457677" y="3252208"/>
                  <a:pt x="2463121" y="3276467"/>
                </a:cubicBezTo>
                <a:cubicBezTo>
                  <a:pt x="2481867" y="3282175"/>
                  <a:pt x="2478844" y="3263623"/>
                  <a:pt x="2488519" y="3258629"/>
                </a:cubicBezTo>
                <a:cubicBezTo>
                  <a:pt x="2497591" y="3261245"/>
                  <a:pt x="2504244" y="3268142"/>
                  <a:pt x="2506057" y="3282175"/>
                </a:cubicBezTo>
                <a:cubicBezTo>
                  <a:pt x="2493962" y="3285266"/>
                  <a:pt x="2477634" y="3283601"/>
                  <a:pt x="2467353" y="3292639"/>
                </a:cubicBezTo>
                <a:cubicBezTo>
                  <a:pt x="2463725" y="3272424"/>
                  <a:pt x="2447396" y="3262910"/>
                  <a:pt x="2449211" y="3235321"/>
                </a:cubicBezTo>
                <a:cubicBezTo>
                  <a:pt x="2452840" y="3234132"/>
                  <a:pt x="2455259" y="3234370"/>
                  <a:pt x="2457677" y="3234846"/>
                </a:cubicBezTo>
                <a:close/>
                <a:moveTo>
                  <a:pt x="3168855" y="3219863"/>
                </a:moveTo>
                <a:lnTo>
                  <a:pt x="3193651" y="3219863"/>
                </a:lnTo>
                <a:cubicBezTo>
                  <a:pt x="3193651" y="3224380"/>
                  <a:pt x="3185788" y="3223906"/>
                  <a:pt x="3183370" y="3226045"/>
                </a:cubicBezTo>
                <a:cubicBezTo>
                  <a:pt x="3180345" y="3230564"/>
                  <a:pt x="3185184" y="3233418"/>
                  <a:pt x="3188207" y="3233657"/>
                </a:cubicBezTo>
                <a:cubicBezTo>
                  <a:pt x="3184579" y="3249830"/>
                  <a:pt x="3162808" y="3235797"/>
                  <a:pt x="3168855" y="3219863"/>
                </a:cubicBezTo>
                <a:close/>
                <a:moveTo>
                  <a:pt x="2382613" y="3217276"/>
                </a:moveTo>
                <a:cubicBezTo>
                  <a:pt x="2384957" y="3216948"/>
                  <a:pt x="2387225" y="3217246"/>
                  <a:pt x="2389342" y="3217959"/>
                </a:cubicBezTo>
                <a:cubicBezTo>
                  <a:pt x="2402646" y="3222002"/>
                  <a:pt x="2415346" y="3241267"/>
                  <a:pt x="2434093" y="3237224"/>
                </a:cubicBezTo>
                <a:cubicBezTo>
                  <a:pt x="2424417" y="3251732"/>
                  <a:pt x="2430463" y="3265288"/>
                  <a:pt x="2425626" y="3276467"/>
                </a:cubicBezTo>
                <a:cubicBezTo>
                  <a:pt x="2403251" y="3265051"/>
                  <a:pt x="2385108" y="3248165"/>
                  <a:pt x="2375432" y="3220337"/>
                </a:cubicBezTo>
                <a:cubicBezTo>
                  <a:pt x="2377851" y="3218554"/>
                  <a:pt x="2380271" y="3217602"/>
                  <a:pt x="2382613" y="3217276"/>
                </a:cubicBezTo>
                <a:close/>
                <a:moveTo>
                  <a:pt x="3110800" y="3203690"/>
                </a:moveTo>
                <a:cubicBezTo>
                  <a:pt x="3110800" y="3217246"/>
                  <a:pt x="3108380" y="3230089"/>
                  <a:pt x="3107172" y="3242932"/>
                </a:cubicBezTo>
                <a:cubicBezTo>
                  <a:pt x="3102334" y="3240553"/>
                  <a:pt x="3097495" y="3236273"/>
                  <a:pt x="3092053" y="3237700"/>
                </a:cubicBezTo>
                <a:cubicBezTo>
                  <a:pt x="3107172" y="3237224"/>
                  <a:pt x="3093263" y="3202976"/>
                  <a:pt x="3110800" y="3203690"/>
                </a:cubicBezTo>
                <a:close/>
                <a:moveTo>
                  <a:pt x="3110800" y="3201786"/>
                </a:moveTo>
                <a:cubicBezTo>
                  <a:pt x="3111405" y="3202501"/>
                  <a:pt x="3112010" y="3202262"/>
                  <a:pt x="3112615" y="3202976"/>
                </a:cubicBezTo>
                <a:cubicBezTo>
                  <a:pt x="3112010" y="3202738"/>
                  <a:pt x="3111405" y="3203690"/>
                  <a:pt x="3110800" y="3203690"/>
                </a:cubicBezTo>
                <a:cubicBezTo>
                  <a:pt x="3110800" y="3203214"/>
                  <a:pt x="3110800" y="3202262"/>
                  <a:pt x="3110800" y="3201786"/>
                </a:cubicBezTo>
                <a:close/>
                <a:moveTo>
                  <a:pt x="3106567" y="3175388"/>
                </a:moveTo>
                <a:cubicBezTo>
                  <a:pt x="3111405" y="3185138"/>
                  <a:pt x="3110800" y="3193463"/>
                  <a:pt x="3110800" y="3201786"/>
                </a:cubicBezTo>
                <a:cubicBezTo>
                  <a:pt x="3102334" y="3191322"/>
                  <a:pt x="3096286" y="3191561"/>
                  <a:pt x="3076329" y="3186327"/>
                </a:cubicBezTo>
                <a:cubicBezTo>
                  <a:pt x="3079353" y="3176814"/>
                  <a:pt x="3098102" y="3180382"/>
                  <a:pt x="3106567" y="3175388"/>
                </a:cubicBezTo>
                <a:close/>
                <a:moveTo>
                  <a:pt x="153606" y="3162068"/>
                </a:moveTo>
                <a:cubicBezTo>
                  <a:pt x="218918" y="3194176"/>
                  <a:pt x="286649" y="3175625"/>
                  <a:pt x="348938" y="3215581"/>
                </a:cubicBezTo>
                <a:cubicBezTo>
                  <a:pt x="358614" y="3216533"/>
                  <a:pt x="358614" y="3209873"/>
                  <a:pt x="359219" y="3201786"/>
                </a:cubicBezTo>
                <a:cubicBezTo>
                  <a:pt x="370709" y="3212965"/>
                  <a:pt x="402156" y="3199647"/>
                  <a:pt x="405783" y="3220337"/>
                </a:cubicBezTo>
                <a:cubicBezTo>
                  <a:pt x="436021" y="3196317"/>
                  <a:pt x="474120" y="3234132"/>
                  <a:pt x="499519" y="3248639"/>
                </a:cubicBezTo>
                <a:cubicBezTo>
                  <a:pt x="553340" y="3230803"/>
                  <a:pt x="601116" y="3267905"/>
                  <a:pt x="625305" y="3308812"/>
                </a:cubicBezTo>
                <a:cubicBezTo>
                  <a:pt x="636191" y="3283125"/>
                  <a:pt x="658566" y="3313568"/>
                  <a:pt x="659172" y="3338066"/>
                </a:cubicBezTo>
                <a:cubicBezTo>
                  <a:pt x="664614" y="3334497"/>
                  <a:pt x="662800" y="3324271"/>
                  <a:pt x="671871" y="3327126"/>
                </a:cubicBezTo>
                <a:cubicBezTo>
                  <a:pt x="680942" y="3338303"/>
                  <a:pt x="667637" y="3355189"/>
                  <a:pt x="653728" y="3356141"/>
                </a:cubicBezTo>
                <a:cubicBezTo>
                  <a:pt x="653123" y="3327363"/>
                  <a:pt x="653123" y="3363988"/>
                  <a:pt x="639215" y="3356617"/>
                </a:cubicBezTo>
                <a:cubicBezTo>
                  <a:pt x="630143" y="3345676"/>
                  <a:pt x="642238" y="3345200"/>
                  <a:pt x="641029" y="3326650"/>
                </a:cubicBezTo>
                <a:cubicBezTo>
                  <a:pt x="635586" y="3332358"/>
                  <a:pt x="628328" y="3333547"/>
                  <a:pt x="621072" y="3333071"/>
                </a:cubicBezTo>
                <a:cubicBezTo>
                  <a:pt x="629539" y="3352098"/>
                  <a:pt x="615024" y="3358995"/>
                  <a:pt x="616838" y="3332358"/>
                </a:cubicBezTo>
                <a:cubicBezTo>
                  <a:pt x="613815" y="3342346"/>
                  <a:pt x="601721" y="3343535"/>
                  <a:pt x="598697" y="3351384"/>
                </a:cubicBezTo>
                <a:cubicBezTo>
                  <a:pt x="559993" y="3321417"/>
                  <a:pt x="510404" y="3352098"/>
                  <a:pt x="479562" y="3310477"/>
                </a:cubicBezTo>
                <a:cubicBezTo>
                  <a:pt x="469886" y="3313806"/>
                  <a:pt x="430577" y="3328789"/>
                  <a:pt x="434811" y="3298348"/>
                </a:cubicBezTo>
                <a:cubicBezTo>
                  <a:pt x="418483" y="3329741"/>
                  <a:pt x="388851" y="3272185"/>
                  <a:pt x="372523" y="3303580"/>
                </a:cubicBezTo>
                <a:cubicBezTo>
                  <a:pt x="367686" y="3301202"/>
                  <a:pt x="363452" y="3296207"/>
                  <a:pt x="364056" y="3286218"/>
                </a:cubicBezTo>
                <a:cubicBezTo>
                  <a:pt x="287859" y="3328552"/>
                  <a:pt x="235851" y="3189181"/>
                  <a:pt x="151791" y="3239364"/>
                </a:cubicBezTo>
                <a:cubicBezTo>
                  <a:pt x="148163" y="3218435"/>
                  <a:pt x="173562" y="3235559"/>
                  <a:pt x="172353" y="3217009"/>
                </a:cubicBezTo>
                <a:cubicBezTo>
                  <a:pt x="172957" y="3200597"/>
                  <a:pt x="163886" y="3197743"/>
                  <a:pt x="157234" y="3190846"/>
                </a:cubicBezTo>
                <a:cubicBezTo>
                  <a:pt x="152396" y="3192511"/>
                  <a:pt x="153606" y="3202738"/>
                  <a:pt x="153606" y="3208922"/>
                </a:cubicBezTo>
                <a:cubicBezTo>
                  <a:pt x="137277" y="3201311"/>
                  <a:pt x="128207" y="3184187"/>
                  <a:pt x="109460" y="3180620"/>
                </a:cubicBezTo>
                <a:cubicBezTo>
                  <a:pt x="119741" y="3167063"/>
                  <a:pt x="149373" y="3194413"/>
                  <a:pt x="153606" y="3162068"/>
                </a:cubicBezTo>
                <a:close/>
                <a:moveTo>
                  <a:pt x="2904583" y="3137572"/>
                </a:moveTo>
                <a:cubicBezTo>
                  <a:pt x="2906397" y="3137096"/>
                  <a:pt x="2908816" y="3137572"/>
                  <a:pt x="2911841" y="3138761"/>
                </a:cubicBezTo>
                <a:cubicBezTo>
                  <a:pt x="2916678" y="3141615"/>
                  <a:pt x="2921516" y="3147323"/>
                  <a:pt x="2920306" y="3154934"/>
                </a:cubicBezTo>
                <a:cubicBezTo>
                  <a:pt x="2907606" y="3160642"/>
                  <a:pt x="2904583" y="3149225"/>
                  <a:pt x="2900955" y="3142328"/>
                </a:cubicBezTo>
                <a:cubicBezTo>
                  <a:pt x="2900955" y="3139474"/>
                  <a:pt x="2902164" y="3138048"/>
                  <a:pt x="2904583" y="3137572"/>
                </a:cubicBezTo>
                <a:close/>
                <a:moveTo>
                  <a:pt x="2980175" y="3082633"/>
                </a:moveTo>
                <a:cubicBezTo>
                  <a:pt x="2977152" y="3082157"/>
                  <a:pt x="2974733" y="3082633"/>
                  <a:pt x="2972920" y="3084059"/>
                </a:cubicBezTo>
                <a:cubicBezTo>
                  <a:pt x="2970500" y="3085724"/>
                  <a:pt x="2969290" y="3089291"/>
                  <a:pt x="2970500" y="3095475"/>
                </a:cubicBezTo>
                <a:cubicBezTo>
                  <a:pt x="2985014" y="3090719"/>
                  <a:pt x="2984410" y="3102373"/>
                  <a:pt x="2994084" y="3101183"/>
                </a:cubicBezTo>
                <a:cubicBezTo>
                  <a:pt x="2997109" y="3092384"/>
                  <a:pt x="2988037" y="3084059"/>
                  <a:pt x="2980175" y="3082633"/>
                </a:cubicBezTo>
                <a:close/>
                <a:moveTo>
                  <a:pt x="3288595" y="3071216"/>
                </a:moveTo>
                <a:cubicBezTo>
                  <a:pt x="3276500" y="3072168"/>
                  <a:pt x="3269243" y="3075260"/>
                  <a:pt x="3263800" y="3082633"/>
                </a:cubicBezTo>
                <a:cubicBezTo>
                  <a:pt x="3268034" y="3090956"/>
                  <a:pt x="3294037" y="3097616"/>
                  <a:pt x="3288595" y="3071216"/>
                </a:cubicBezTo>
                <a:close/>
                <a:moveTo>
                  <a:pt x="1514883" y="3059087"/>
                </a:moveTo>
                <a:cubicBezTo>
                  <a:pt x="1522139" y="3058374"/>
                  <a:pt x="1528188" y="3063606"/>
                  <a:pt x="1526373" y="3076449"/>
                </a:cubicBezTo>
                <a:lnTo>
                  <a:pt x="1501578" y="3075973"/>
                </a:lnTo>
                <a:cubicBezTo>
                  <a:pt x="1500974" y="3065746"/>
                  <a:pt x="1508230" y="3059563"/>
                  <a:pt x="1514883" y="3059087"/>
                </a:cubicBezTo>
                <a:close/>
                <a:moveTo>
                  <a:pt x="12455292" y="3054568"/>
                </a:moveTo>
                <a:cubicBezTo>
                  <a:pt x="12438360" y="3059087"/>
                  <a:pt x="12428079" y="3071930"/>
                  <a:pt x="12424450" y="3091432"/>
                </a:cubicBezTo>
                <a:cubicBezTo>
                  <a:pt x="12431103" y="3099994"/>
                  <a:pt x="12448641" y="3093573"/>
                  <a:pt x="12450455" y="3109507"/>
                </a:cubicBezTo>
                <a:cubicBezTo>
                  <a:pt x="12437755" y="3120210"/>
                  <a:pt x="12419613" y="3101183"/>
                  <a:pt x="12415380" y="3128534"/>
                </a:cubicBezTo>
                <a:cubicBezTo>
                  <a:pt x="12426265" y="3145182"/>
                  <a:pt x="12431707" y="3133529"/>
                  <a:pt x="12449245" y="3127107"/>
                </a:cubicBezTo>
                <a:cubicBezTo>
                  <a:pt x="12460131" y="3143993"/>
                  <a:pt x="12457106" y="3157788"/>
                  <a:pt x="12448641" y="3176814"/>
                </a:cubicBezTo>
                <a:cubicBezTo>
                  <a:pt x="12472225" y="3184901"/>
                  <a:pt x="12461945" y="3150177"/>
                  <a:pt x="12483111" y="3157788"/>
                </a:cubicBezTo>
                <a:cubicBezTo>
                  <a:pt x="12459526" y="3116167"/>
                  <a:pt x="12479483" y="3094286"/>
                  <a:pt x="12455292" y="3054568"/>
                </a:cubicBezTo>
                <a:close/>
                <a:moveTo>
                  <a:pt x="12155945" y="3035778"/>
                </a:moveTo>
                <a:cubicBezTo>
                  <a:pt x="12157154" y="3051001"/>
                  <a:pt x="12154736" y="3060039"/>
                  <a:pt x="12142640" y="3059087"/>
                </a:cubicBezTo>
                <a:cubicBezTo>
                  <a:pt x="12145060" y="3047909"/>
                  <a:pt x="12139012" y="3047909"/>
                  <a:pt x="12134779" y="3047671"/>
                </a:cubicBezTo>
                <a:cubicBezTo>
                  <a:pt x="12137802" y="3038395"/>
                  <a:pt x="12147478" y="3038871"/>
                  <a:pt x="12155945" y="3035778"/>
                </a:cubicBezTo>
                <a:close/>
                <a:moveTo>
                  <a:pt x="3018879" y="3035778"/>
                </a:moveTo>
                <a:cubicBezTo>
                  <a:pt x="3017670" y="3057659"/>
                  <a:pt x="3029160" y="3065032"/>
                  <a:pt x="3046092" y="3066460"/>
                </a:cubicBezTo>
                <a:cubicBezTo>
                  <a:pt x="3050326" y="3039108"/>
                  <a:pt x="3030974" y="3042914"/>
                  <a:pt x="3018879" y="3035778"/>
                </a:cubicBezTo>
                <a:close/>
                <a:moveTo>
                  <a:pt x="2897326" y="3031498"/>
                </a:moveTo>
                <a:cubicBezTo>
                  <a:pt x="2892488" y="3031261"/>
                  <a:pt x="2890674" y="3043152"/>
                  <a:pt x="2882207" y="3042438"/>
                </a:cubicBezTo>
                <a:cubicBezTo>
                  <a:pt x="2879789" y="3034352"/>
                  <a:pt x="2880393" y="3028644"/>
                  <a:pt x="2872532" y="3031974"/>
                </a:cubicBezTo>
                <a:cubicBezTo>
                  <a:pt x="2871322" y="3053616"/>
                  <a:pt x="2900351" y="3052190"/>
                  <a:pt x="2903978" y="3036730"/>
                </a:cubicBezTo>
                <a:cubicBezTo>
                  <a:pt x="2900955" y="3032926"/>
                  <a:pt x="2899140" y="3031498"/>
                  <a:pt x="2897326" y="3031498"/>
                </a:cubicBezTo>
                <a:close/>
                <a:moveTo>
                  <a:pt x="891997" y="3016277"/>
                </a:moveTo>
                <a:cubicBezTo>
                  <a:pt x="920421" y="3020796"/>
                  <a:pt x="957914" y="3037682"/>
                  <a:pt x="982105" y="3027692"/>
                </a:cubicBezTo>
                <a:cubicBezTo>
                  <a:pt x="981499" y="3035778"/>
                  <a:pt x="1001455" y="3059800"/>
                  <a:pt x="1000246" y="3033876"/>
                </a:cubicBezTo>
                <a:cubicBezTo>
                  <a:pt x="1005085" y="3034115"/>
                  <a:pt x="1005085" y="3044341"/>
                  <a:pt x="1004480" y="3052190"/>
                </a:cubicBezTo>
                <a:cubicBezTo>
                  <a:pt x="1034717" y="3022936"/>
                  <a:pt x="1068583" y="3081681"/>
                  <a:pt x="1097610" y="3074070"/>
                </a:cubicBezTo>
                <a:cubicBezTo>
                  <a:pt x="1082492" y="3088815"/>
                  <a:pt x="1085514" y="3076686"/>
                  <a:pt x="1093982" y="3097140"/>
                </a:cubicBezTo>
                <a:cubicBezTo>
                  <a:pt x="1061930" y="3072643"/>
                  <a:pt x="1015970" y="3090956"/>
                  <a:pt x="976056" y="3091432"/>
                </a:cubicBezTo>
                <a:cubicBezTo>
                  <a:pt x="971218" y="3089054"/>
                  <a:pt x="977266" y="3069789"/>
                  <a:pt x="967590" y="3068838"/>
                </a:cubicBezTo>
                <a:cubicBezTo>
                  <a:pt x="973033" y="3097378"/>
                  <a:pt x="925863" y="3059324"/>
                  <a:pt x="921630" y="3086913"/>
                </a:cubicBezTo>
                <a:cubicBezTo>
                  <a:pt x="920421" y="3062891"/>
                  <a:pt x="905906" y="3069551"/>
                  <a:pt x="908325" y="3033876"/>
                </a:cubicBezTo>
                <a:cubicBezTo>
                  <a:pt x="902882" y="3039347"/>
                  <a:pt x="893811" y="3038395"/>
                  <a:pt x="893207" y="3046244"/>
                </a:cubicBezTo>
                <a:cubicBezTo>
                  <a:pt x="884136" y="3045530"/>
                  <a:pt x="898649" y="3030785"/>
                  <a:pt x="891997" y="3016277"/>
                </a:cubicBezTo>
                <a:close/>
                <a:moveTo>
                  <a:pt x="2530851" y="3009380"/>
                </a:moveTo>
                <a:cubicBezTo>
                  <a:pt x="2539922" y="3020796"/>
                  <a:pt x="2550203" y="3042914"/>
                  <a:pt x="2565322" y="3027218"/>
                </a:cubicBezTo>
                <a:cubicBezTo>
                  <a:pt x="2573183" y="3017228"/>
                  <a:pt x="2552018" y="3049812"/>
                  <a:pt x="2553831" y="3058374"/>
                </a:cubicBezTo>
                <a:cubicBezTo>
                  <a:pt x="2542341" y="3048860"/>
                  <a:pt x="2553227" y="3039347"/>
                  <a:pt x="2531456" y="3035304"/>
                </a:cubicBezTo>
                <a:cubicBezTo>
                  <a:pt x="2527828" y="3058374"/>
                  <a:pt x="2527828" y="3049812"/>
                  <a:pt x="2501824" y="3047671"/>
                </a:cubicBezTo>
                <a:cubicBezTo>
                  <a:pt x="2509685" y="3035541"/>
                  <a:pt x="2507871" y="3033400"/>
                  <a:pt x="2493358" y="3034352"/>
                </a:cubicBezTo>
                <a:cubicBezTo>
                  <a:pt x="2492147" y="3008665"/>
                  <a:pt x="2533270" y="3050049"/>
                  <a:pt x="2530851" y="3009380"/>
                </a:cubicBezTo>
                <a:close/>
                <a:moveTo>
                  <a:pt x="2354871" y="2994396"/>
                </a:moveTo>
                <a:cubicBezTo>
                  <a:pt x="2360918" y="2993683"/>
                  <a:pt x="2371804" y="3006526"/>
                  <a:pt x="2370595" y="2995110"/>
                </a:cubicBezTo>
                <a:cubicBezTo>
                  <a:pt x="2376641" y="3014612"/>
                  <a:pt x="2382689" y="3001770"/>
                  <a:pt x="2386318" y="3017466"/>
                </a:cubicBezTo>
                <a:cubicBezTo>
                  <a:pt x="2400227" y="3022460"/>
                  <a:pt x="2403251" y="3013185"/>
                  <a:pt x="2412927" y="3012234"/>
                </a:cubicBezTo>
                <a:cubicBezTo>
                  <a:pt x="2412322" y="3021747"/>
                  <a:pt x="2416555" y="3027692"/>
                  <a:pt x="2423812" y="3030072"/>
                </a:cubicBezTo>
                <a:cubicBezTo>
                  <a:pt x="2420789" y="3039584"/>
                  <a:pt x="2411113" y="3033400"/>
                  <a:pt x="2411717" y="3023888"/>
                </a:cubicBezTo>
                <a:cubicBezTo>
                  <a:pt x="2410507" y="3048622"/>
                  <a:pt x="2383899" y="3015563"/>
                  <a:pt x="2376037" y="3030072"/>
                </a:cubicBezTo>
                <a:cubicBezTo>
                  <a:pt x="2368779" y="3027692"/>
                  <a:pt x="2372409" y="3014374"/>
                  <a:pt x="2369991" y="3006526"/>
                </a:cubicBezTo>
                <a:cubicBezTo>
                  <a:pt x="2365756" y="3006050"/>
                  <a:pt x="2366966" y="3014374"/>
                  <a:pt x="2366966" y="3018179"/>
                </a:cubicBezTo>
                <a:cubicBezTo>
                  <a:pt x="2354871" y="3021034"/>
                  <a:pt x="2360918" y="3002007"/>
                  <a:pt x="2351243" y="3001294"/>
                </a:cubicBezTo>
                <a:cubicBezTo>
                  <a:pt x="2351243" y="2996536"/>
                  <a:pt x="2353057" y="2994634"/>
                  <a:pt x="2354871" y="2994396"/>
                </a:cubicBezTo>
                <a:close/>
                <a:moveTo>
                  <a:pt x="12180134" y="2990829"/>
                </a:moveTo>
                <a:cubicBezTo>
                  <a:pt x="12173482" y="2989639"/>
                  <a:pt x="12167435" y="2989402"/>
                  <a:pt x="12161387" y="2991304"/>
                </a:cubicBezTo>
                <a:cubicBezTo>
                  <a:pt x="12153525" y="2994158"/>
                  <a:pt x="12145060" y="3001055"/>
                  <a:pt x="12135988" y="3015088"/>
                </a:cubicBezTo>
                <a:cubicBezTo>
                  <a:pt x="12143245" y="3017704"/>
                  <a:pt x="12150502" y="3014612"/>
                  <a:pt x="12152316" y="3022699"/>
                </a:cubicBezTo>
                <a:cubicBezTo>
                  <a:pt x="12117241" y="3009617"/>
                  <a:pt x="12099703" y="3020320"/>
                  <a:pt x="12047091" y="3015801"/>
                </a:cubicBezTo>
                <a:cubicBezTo>
                  <a:pt x="12053138" y="3038158"/>
                  <a:pt x="12069466" y="3049098"/>
                  <a:pt x="12085794" y="3058374"/>
                </a:cubicBezTo>
                <a:cubicBezTo>
                  <a:pt x="12091237" y="3046957"/>
                  <a:pt x="12071886" y="3037443"/>
                  <a:pt x="12086399" y="3034828"/>
                </a:cubicBezTo>
                <a:cubicBezTo>
                  <a:pt x="12095470" y="3045530"/>
                  <a:pt x="12107565" y="3048622"/>
                  <a:pt x="12122683" y="3040060"/>
                </a:cubicBezTo>
                <a:cubicBezTo>
                  <a:pt x="12145664" y="3103324"/>
                  <a:pt x="12235770" y="3071216"/>
                  <a:pt x="12295036" y="3090243"/>
                </a:cubicBezTo>
                <a:cubicBezTo>
                  <a:pt x="12293826" y="3062417"/>
                  <a:pt x="12265403" y="3060039"/>
                  <a:pt x="12281731" y="3029596"/>
                </a:cubicBezTo>
                <a:cubicBezTo>
                  <a:pt x="12272056" y="3026742"/>
                  <a:pt x="12271451" y="3036969"/>
                  <a:pt x="12266612" y="3040536"/>
                </a:cubicBezTo>
                <a:cubicBezTo>
                  <a:pt x="12264798" y="3022699"/>
                  <a:pt x="12261170" y="3006287"/>
                  <a:pt x="12257541" y="2992256"/>
                </a:cubicBezTo>
                <a:cubicBezTo>
                  <a:pt x="12221257" y="3007002"/>
                  <a:pt x="12199486" y="2994396"/>
                  <a:pt x="12180134" y="2990829"/>
                </a:cubicBezTo>
                <a:close/>
                <a:moveTo>
                  <a:pt x="12747988" y="2986072"/>
                </a:moveTo>
                <a:cubicBezTo>
                  <a:pt x="12754640" y="2987023"/>
                  <a:pt x="12761898" y="2992731"/>
                  <a:pt x="12762502" y="2995586"/>
                </a:cubicBezTo>
                <a:cubicBezTo>
                  <a:pt x="12761898" y="3014374"/>
                  <a:pt x="12744964" y="2999153"/>
                  <a:pt x="12738918" y="3004148"/>
                </a:cubicBezTo>
                <a:cubicBezTo>
                  <a:pt x="12736498" y="2989164"/>
                  <a:pt x="12741941" y="2985358"/>
                  <a:pt x="12747988" y="2986072"/>
                </a:cubicBezTo>
                <a:close/>
                <a:moveTo>
                  <a:pt x="2294624" y="2981595"/>
                </a:moveTo>
                <a:cubicBezTo>
                  <a:pt x="2307210" y="2982296"/>
                  <a:pt x="2311633" y="2985775"/>
                  <a:pt x="2341567" y="2992731"/>
                </a:cubicBezTo>
                <a:cubicBezTo>
                  <a:pt x="2341567" y="3036493"/>
                  <a:pt x="2302258" y="2977510"/>
                  <a:pt x="2319191" y="3015088"/>
                </a:cubicBezTo>
                <a:cubicBezTo>
                  <a:pt x="2303468" y="2992731"/>
                  <a:pt x="2291373" y="3002007"/>
                  <a:pt x="2278069" y="2981791"/>
                </a:cubicBezTo>
                <a:cubicBezTo>
                  <a:pt x="2285326" y="2981435"/>
                  <a:pt x="2290428" y="2981360"/>
                  <a:pt x="2294624" y="2981595"/>
                </a:cubicBezTo>
                <a:close/>
                <a:moveTo>
                  <a:pt x="1980535" y="2981078"/>
                </a:moveTo>
                <a:cubicBezTo>
                  <a:pt x="1982954" y="2987261"/>
                  <a:pt x="1998677" y="3004861"/>
                  <a:pt x="2004725" y="2987023"/>
                </a:cubicBezTo>
                <a:cubicBezTo>
                  <a:pt x="2007144" y="2985121"/>
                  <a:pt x="2007144" y="2989402"/>
                  <a:pt x="2009563" y="2993683"/>
                </a:cubicBezTo>
                <a:lnTo>
                  <a:pt x="2008353" y="3006050"/>
                </a:lnTo>
                <a:cubicBezTo>
                  <a:pt x="1993840" y="3000579"/>
                  <a:pt x="1994444" y="3000579"/>
                  <a:pt x="1979325" y="3005337"/>
                </a:cubicBezTo>
                <a:cubicBezTo>
                  <a:pt x="1972068" y="2994634"/>
                  <a:pt x="1979325" y="2997251"/>
                  <a:pt x="1980535" y="2981078"/>
                </a:cubicBezTo>
                <a:close/>
                <a:moveTo>
                  <a:pt x="12282336" y="2974657"/>
                </a:moveTo>
                <a:cubicBezTo>
                  <a:pt x="12273870" y="3001770"/>
                  <a:pt x="12309549" y="3002720"/>
                  <a:pt x="12296850" y="3017466"/>
                </a:cubicBezTo>
                <a:cubicBezTo>
                  <a:pt x="12295036" y="3003433"/>
                  <a:pt x="12282941" y="3002483"/>
                  <a:pt x="12275684" y="3011758"/>
                </a:cubicBezTo>
                <a:cubicBezTo>
                  <a:pt x="12281127" y="3039822"/>
                  <a:pt x="12292617" y="3042914"/>
                  <a:pt x="12310758" y="3028644"/>
                </a:cubicBezTo>
                <a:cubicBezTo>
                  <a:pt x="12314387" y="3048622"/>
                  <a:pt x="12315597" y="3066697"/>
                  <a:pt x="12329506" y="3071692"/>
                </a:cubicBezTo>
                <a:cubicBezTo>
                  <a:pt x="12339786" y="3056709"/>
                  <a:pt x="12365791" y="3078590"/>
                  <a:pt x="12386352" y="3054568"/>
                </a:cubicBezTo>
                <a:cubicBezTo>
                  <a:pt x="12397842" y="3061465"/>
                  <a:pt x="12401470" y="3079779"/>
                  <a:pt x="12415380" y="3085011"/>
                </a:cubicBezTo>
                <a:cubicBezTo>
                  <a:pt x="12416589" y="3059324"/>
                  <a:pt x="12405099" y="3050525"/>
                  <a:pt x="12415985" y="3029596"/>
                </a:cubicBezTo>
                <a:cubicBezTo>
                  <a:pt x="12394213" y="3033639"/>
                  <a:pt x="12395423" y="3014136"/>
                  <a:pt x="12396633" y="2994396"/>
                </a:cubicBezTo>
                <a:cubicBezTo>
                  <a:pt x="12359743" y="2961575"/>
                  <a:pt x="12317411" y="2993445"/>
                  <a:pt x="12282336" y="2974657"/>
                </a:cubicBezTo>
                <a:close/>
                <a:moveTo>
                  <a:pt x="2222433" y="2972992"/>
                </a:moveTo>
                <a:cubicBezTo>
                  <a:pt x="2229084" y="2973466"/>
                  <a:pt x="2236341" y="2975370"/>
                  <a:pt x="2241179" y="2972992"/>
                </a:cubicBezTo>
                <a:cubicBezTo>
                  <a:pt x="2239970" y="2995110"/>
                  <a:pt x="2217594" y="2993445"/>
                  <a:pt x="2210942" y="2981791"/>
                </a:cubicBezTo>
                <a:cubicBezTo>
                  <a:pt x="2210942" y="2973466"/>
                  <a:pt x="2216385" y="2972277"/>
                  <a:pt x="2222433" y="2972992"/>
                </a:cubicBezTo>
                <a:close/>
                <a:moveTo>
                  <a:pt x="1534234" y="2967284"/>
                </a:moveTo>
                <a:cubicBezTo>
                  <a:pt x="1556610" y="2978937"/>
                  <a:pt x="1511859" y="2988688"/>
                  <a:pt x="1530001" y="2996061"/>
                </a:cubicBezTo>
                <a:cubicBezTo>
                  <a:pt x="1516698" y="2998916"/>
                  <a:pt x="1510649" y="3012234"/>
                  <a:pt x="1494926" y="3012947"/>
                </a:cubicBezTo>
                <a:cubicBezTo>
                  <a:pt x="1503394" y="3003909"/>
                  <a:pt x="1497345" y="2977985"/>
                  <a:pt x="1515488" y="2977510"/>
                </a:cubicBezTo>
                <a:cubicBezTo>
                  <a:pt x="1500369" y="3011758"/>
                  <a:pt x="1533025" y="2982743"/>
                  <a:pt x="1534234" y="2967284"/>
                </a:cubicBezTo>
                <a:close/>
                <a:moveTo>
                  <a:pt x="2174657" y="2966571"/>
                </a:moveTo>
                <a:cubicBezTo>
                  <a:pt x="2183125" y="2971088"/>
                  <a:pt x="2195219" y="2972516"/>
                  <a:pt x="2203684" y="2978937"/>
                </a:cubicBezTo>
                <a:cubicBezTo>
                  <a:pt x="2194010" y="2999153"/>
                  <a:pt x="2191591" y="2970375"/>
                  <a:pt x="2177681" y="2990353"/>
                </a:cubicBezTo>
                <a:cubicBezTo>
                  <a:pt x="2178286" y="2978937"/>
                  <a:pt x="2174053" y="2977985"/>
                  <a:pt x="2174657" y="2966571"/>
                </a:cubicBezTo>
                <a:close/>
                <a:moveTo>
                  <a:pt x="1907361" y="2962526"/>
                </a:moveTo>
                <a:cubicBezTo>
                  <a:pt x="1902523" y="2965856"/>
                  <a:pt x="1900104" y="2971327"/>
                  <a:pt x="1906151" y="2971803"/>
                </a:cubicBezTo>
                <a:cubicBezTo>
                  <a:pt x="1903128" y="2988926"/>
                  <a:pt x="1886799" y="2983694"/>
                  <a:pt x="1875914" y="2990353"/>
                </a:cubicBezTo>
                <a:cubicBezTo>
                  <a:pt x="1875914" y="2986547"/>
                  <a:pt x="1896476" y="2965380"/>
                  <a:pt x="1907361" y="2962526"/>
                </a:cubicBezTo>
                <a:close/>
                <a:moveTo>
                  <a:pt x="1920060" y="2959673"/>
                </a:moveTo>
                <a:cubicBezTo>
                  <a:pt x="1929131" y="2959435"/>
                  <a:pt x="1940621" y="2972040"/>
                  <a:pt x="1930341" y="2980364"/>
                </a:cubicBezTo>
                <a:cubicBezTo>
                  <a:pt x="1926108" y="2980126"/>
                  <a:pt x="1926713" y="2971803"/>
                  <a:pt x="1922480" y="2971327"/>
                </a:cubicBezTo>
                <a:cubicBezTo>
                  <a:pt x="1917641" y="2970851"/>
                  <a:pt x="1917641" y="2972277"/>
                  <a:pt x="1917641" y="2975846"/>
                </a:cubicBezTo>
                <a:cubicBezTo>
                  <a:pt x="1905547" y="2992731"/>
                  <a:pt x="1922480" y="2960148"/>
                  <a:pt x="1913409" y="2964905"/>
                </a:cubicBezTo>
                <a:cubicBezTo>
                  <a:pt x="1915223" y="2961337"/>
                  <a:pt x="1917641" y="2959673"/>
                  <a:pt x="1920060" y="2959673"/>
                </a:cubicBezTo>
                <a:close/>
                <a:moveTo>
                  <a:pt x="2145025" y="2958008"/>
                </a:moveTo>
                <a:cubicBezTo>
                  <a:pt x="2156515" y="2958959"/>
                  <a:pt x="2158329" y="2966808"/>
                  <a:pt x="2166796" y="2969423"/>
                </a:cubicBezTo>
                <a:cubicBezTo>
                  <a:pt x="2163772" y="2990353"/>
                  <a:pt x="2146840" y="2973466"/>
                  <a:pt x="2145025" y="2958008"/>
                </a:cubicBezTo>
                <a:close/>
                <a:moveTo>
                  <a:pt x="1559029" y="2935413"/>
                </a:moveTo>
                <a:cubicBezTo>
                  <a:pt x="1568705" y="2938267"/>
                  <a:pt x="1581404" y="2937554"/>
                  <a:pt x="1580195" y="2953965"/>
                </a:cubicBezTo>
                <a:lnTo>
                  <a:pt x="1560239" y="2954440"/>
                </a:lnTo>
                <a:close/>
                <a:moveTo>
                  <a:pt x="1990815" y="2926852"/>
                </a:moveTo>
                <a:cubicBezTo>
                  <a:pt x="2039195" y="2933035"/>
                  <a:pt x="2082737" y="2944927"/>
                  <a:pt x="2115997" y="2958008"/>
                </a:cubicBezTo>
                <a:cubicBezTo>
                  <a:pt x="2103902" y="2991780"/>
                  <a:pt x="2076084" y="2933749"/>
                  <a:pt x="2063989" y="2969423"/>
                </a:cubicBezTo>
                <a:cubicBezTo>
                  <a:pt x="2046453" y="2937317"/>
                  <a:pt x="2010772" y="2961337"/>
                  <a:pt x="1990815" y="2926852"/>
                </a:cubicBezTo>
                <a:close/>
                <a:moveTo>
                  <a:pt x="1882567" y="2905922"/>
                </a:moveTo>
                <a:cubicBezTo>
                  <a:pt x="1887405" y="2906636"/>
                  <a:pt x="1892847" y="2908539"/>
                  <a:pt x="1895266" y="2906636"/>
                </a:cubicBezTo>
                <a:cubicBezTo>
                  <a:pt x="1894057" y="2919479"/>
                  <a:pt x="1898289" y="2926137"/>
                  <a:pt x="1909175" y="2924949"/>
                </a:cubicBezTo>
                <a:cubicBezTo>
                  <a:pt x="1908570" y="2938030"/>
                  <a:pt x="1894057" y="2928279"/>
                  <a:pt x="1886799" y="2932084"/>
                </a:cubicBezTo>
                <a:cubicBezTo>
                  <a:pt x="1894057" y="2919716"/>
                  <a:pt x="1888613" y="2910441"/>
                  <a:pt x="1875309" y="2913534"/>
                </a:cubicBezTo>
                <a:cubicBezTo>
                  <a:pt x="1874705" y="2905922"/>
                  <a:pt x="1878333" y="2905447"/>
                  <a:pt x="1882567" y="2905922"/>
                </a:cubicBezTo>
                <a:close/>
                <a:moveTo>
                  <a:pt x="1643088" y="2860734"/>
                </a:moveTo>
                <a:cubicBezTo>
                  <a:pt x="1642484" y="2876669"/>
                  <a:pt x="1660626" y="2894031"/>
                  <a:pt x="1666068" y="2878809"/>
                </a:cubicBezTo>
                <a:cubicBezTo>
                  <a:pt x="1654578" y="2877620"/>
                  <a:pt x="1663045" y="2854550"/>
                  <a:pt x="1643088" y="2860734"/>
                </a:cubicBezTo>
                <a:close/>
                <a:moveTo>
                  <a:pt x="901068" y="2755136"/>
                </a:moveTo>
                <a:cubicBezTo>
                  <a:pt x="897440" y="2756325"/>
                  <a:pt x="894416" y="2758942"/>
                  <a:pt x="891997" y="2763222"/>
                </a:cubicBezTo>
                <a:cubicBezTo>
                  <a:pt x="898649" y="2775589"/>
                  <a:pt x="933725" y="2801989"/>
                  <a:pt x="935539" y="2768455"/>
                </a:cubicBezTo>
                <a:cubicBezTo>
                  <a:pt x="928886" y="2760368"/>
                  <a:pt x="912559" y="2751806"/>
                  <a:pt x="901068" y="2755136"/>
                </a:cubicBezTo>
                <a:close/>
                <a:moveTo>
                  <a:pt x="9445485" y="2733731"/>
                </a:moveTo>
                <a:cubicBezTo>
                  <a:pt x="9426738" y="2728260"/>
                  <a:pt x="9426738" y="2763698"/>
                  <a:pt x="9441252" y="2765124"/>
                </a:cubicBezTo>
                <a:cubicBezTo>
                  <a:pt x="9439438" y="2751093"/>
                  <a:pt x="9449114" y="2752045"/>
                  <a:pt x="9445485" y="2733731"/>
                </a:cubicBezTo>
                <a:close/>
                <a:moveTo>
                  <a:pt x="529151" y="2700197"/>
                </a:moveTo>
                <a:cubicBezTo>
                  <a:pt x="526128" y="2700671"/>
                  <a:pt x="522500" y="2702336"/>
                  <a:pt x="518870" y="2705429"/>
                </a:cubicBezTo>
                <a:cubicBezTo>
                  <a:pt x="527337" y="2720174"/>
                  <a:pt x="538828" y="2728499"/>
                  <a:pt x="558179" y="2730164"/>
                </a:cubicBezTo>
                <a:lnTo>
                  <a:pt x="556970" y="2706380"/>
                </a:lnTo>
                <a:cubicBezTo>
                  <a:pt x="549713" y="2706855"/>
                  <a:pt x="544270" y="2703288"/>
                  <a:pt x="538223" y="2701386"/>
                </a:cubicBezTo>
                <a:cubicBezTo>
                  <a:pt x="535199" y="2700197"/>
                  <a:pt x="532174" y="2699721"/>
                  <a:pt x="529151" y="2700197"/>
                </a:cubicBezTo>
                <a:close/>
                <a:moveTo>
                  <a:pt x="841878" y="2697610"/>
                </a:moveTo>
                <a:cubicBezTo>
                  <a:pt x="838932" y="2697223"/>
                  <a:pt x="834849" y="2697223"/>
                  <a:pt x="830918" y="2697818"/>
                </a:cubicBezTo>
                <a:cubicBezTo>
                  <a:pt x="822452" y="2699245"/>
                  <a:pt x="813985" y="2702575"/>
                  <a:pt x="815800" y="2710661"/>
                </a:cubicBezTo>
                <a:cubicBezTo>
                  <a:pt x="825475" y="2707569"/>
                  <a:pt x="849666" y="2721839"/>
                  <a:pt x="846038" y="2699721"/>
                </a:cubicBezTo>
                <a:cubicBezTo>
                  <a:pt x="846641" y="2698769"/>
                  <a:pt x="844827" y="2697997"/>
                  <a:pt x="841878" y="2697610"/>
                </a:cubicBezTo>
                <a:close/>
                <a:moveTo>
                  <a:pt x="367080" y="2660478"/>
                </a:moveTo>
                <a:cubicBezTo>
                  <a:pt x="357403" y="2663570"/>
                  <a:pt x="342891" y="2664522"/>
                  <a:pt x="339867" y="2678077"/>
                </a:cubicBezTo>
                <a:cubicBezTo>
                  <a:pt x="351962" y="2681170"/>
                  <a:pt x="370709" y="2686640"/>
                  <a:pt x="367080" y="2660478"/>
                </a:cubicBezTo>
                <a:close/>
                <a:moveTo>
                  <a:pt x="12760688" y="2658100"/>
                </a:moveTo>
                <a:cubicBezTo>
                  <a:pt x="12760084" y="2668326"/>
                  <a:pt x="12765526" y="2687592"/>
                  <a:pt x="12758268" y="2694964"/>
                </a:cubicBezTo>
                <a:cubicBezTo>
                  <a:pt x="12744360" y="2663094"/>
                  <a:pt x="12718356" y="2684975"/>
                  <a:pt x="12697190" y="2695678"/>
                </a:cubicBezTo>
                <a:cubicBezTo>
                  <a:pt x="12692352" y="2664522"/>
                  <a:pt x="12725008" y="2685926"/>
                  <a:pt x="12721984" y="2659051"/>
                </a:cubicBezTo>
                <a:cubicBezTo>
                  <a:pt x="12740127" y="2660716"/>
                  <a:pt x="12744360" y="2666900"/>
                  <a:pt x="12760688" y="2658100"/>
                </a:cubicBezTo>
                <a:close/>
                <a:moveTo>
                  <a:pt x="3615761" y="2648825"/>
                </a:moveTo>
                <a:cubicBezTo>
                  <a:pt x="3606085" y="2651916"/>
                  <a:pt x="3600037" y="2659289"/>
                  <a:pt x="3597013" y="2672845"/>
                </a:cubicBezTo>
                <a:lnTo>
                  <a:pt x="3616366" y="2672369"/>
                </a:lnTo>
                <a:close/>
                <a:moveTo>
                  <a:pt x="1399377" y="2635506"/>
                </a:moveTo>
                <a:cubicBezTo>
                  <a:pt x="1393329" y="2650965"/>
                  <a:pt x="1428405" y="2664046"/>
                  <a:pt x="1427800" y="2640263"/>
                </a:cubicBezTo>
                <a:cubicBezTo>
                  <a:pt x="1405425" y="2646208"/>
                  <a:pt x="1413286" y="2640738"/>
                  <a:pt x="1399377" y="2635506"/>
                </a:cubicBezTo>
                <a:close/>
                <a:moveTo>
                  <a:pt x="1265729" y="2618143"/>
                </a:moveTo>
                <a:cubicBezTo>
                  <a:pt x="1262704" y="2627657"/>
                  <a:pt x="1252424" y="2633365"/>
                  <a:pt x="1256053" y="2653342"/>
                </a:cubicBezTo>
                <a:lnTo>
                  <a:pt x="1289918" y="2652154"/>
                </a:lnTo>
                <a:cubicBezTo>
                  <a:pt x="1288709" y="2630273"/>
                  <a:pt x="1280243" y="2621236"/>
                  <a:pt x="1265729" y="2618143"/>
                </a:cubicBezTo>
                <a:close/>
                <a:moveTo>
                  <a:pt x="12729846" y="2615289"/>
                </a:moveTo>
                <a:cubicBezTo>
                  <a:pt x="12731056" y="2613387"/>
                  <a:pt x="12733474" y="2613150"/>
                  <a:pt x="12737707" y="2615765"/>
                </a:cubicBezTo>
                <a:cubicBezTo>
                  <a:pt x="12739522" y="2632890"/>
                  <a:pt x="12728637" y="2636457"/>
                  <a:pt x="12728031" y="2649300"/>
                </a:cubicBezTo>
                <a:cubicBezTo>
                  <a:pt x="12723194" y="2648825"/>
                  <a:pt x="12723798" y="2642402"/>
                  <a:pt x="12718961" y="2644067"/>
                </a:cubicBezTo>
                <a:lnTo>
                  <a:pt x="12716541" y="2629322"/>
                </a:lnTo>
                <a:cubicBezTo>
                  <a:pt x="12721984" y="2629559"/>
                  <a:pt x="12721380" y="2631463"/>
                  <a:pt x="12723798" y="2635981"/>
                </a:cubicBezTo>
                <a:cubicBezTo>
                  <a:pt x="12732870" y="2638359"/>
                  <a:pt x="12726822" y="2620284"/>
                  <a:pt x="12729846" y="2615289"/>
                </a:cubicBezTo>
                <a:close/>
                <a:moveTo>
                  <a:pt x="3388982" y="2613626"/>
                </a:moveTo>
                <a:cubicBezTo>
                  <a:pt x="3386563" y="2621236"/>
                  <a:pt x="3381121" y="2628609"/>
                  <a:pt x="3380517" y="2636457"/>
                </a:cubicBezTo>
                <a:cubicBezTo>
                  <a:pt x="3392611" y="2637646"/>
                  <a:pt x="3410752" y="2663094"/>
                  <a:pt x="3416801" y="2637884"/>
                </a:cubicBezTo>
                <a:cubicBezTo>
                  <a:pt x="3407729" y="2630987"/>
                  <a:pt x="3395634" y="2624090"/>
                  <a:pt x="3388982" y="2613626"/>
                </a:cubicBezTo>
                <a:close/>
                <a:moveTo>
                  <a:pt x="1290523" y="2606490"/>
                </a:moveTo>
                <a:cubicBezTo>
                  <a:pt x="1283870" y="2637884"/>
                  <a:pt x="1313503" y="2626229"/>
                  <a:pt x="1299594" y="2652868"/>
                </a:cubicBezTo>
                <a:cubicBezTo>
                  <a:pt x="1324993" y="2637170"/>
                  <a:pt x="1361278" y="2672369"/>
                  <a:pt x="1388491" y="2652868"/>
                </a:cubicBezTo>
                <a:cubicBezTo>
                  <a:pt x="1357650" y="2646208"/>
                  <a:pt x="1317737" y="2632652"/>
                  <a:pt x="1290523" y="2606490"/>
                </a:cubicBezTo>
                <a:close/>
                <a:moveTo>
                  <a:pt x="2644543" y="2599831"/>
                </a:moveTo>
                <a:cubicBezTo>
                  <a:pt x="2635472" y="2602446"/>
                  <a:pt x="2630030" y="2611009"/>
                  <a:pt x="2623377" y="2601496"/>
                </a:cubicBezTo>
                <a:cubicBezTo>
                  <a:pt x="2622772" y="2621236"/>
                  <a:pt x="2639100" y="2625040"/>
                  <a:pt x="2656033" y="2624566"/>
                </a:cubicBezTo>
                <a:cubicBezTo>
                  <a:pt x="2656638" y="2608868"/>
                  <a:pt x="2646962" y="2611246"/>
                  <a:pt x="2654824" y="2600069"/>
                </a:cubicBezTo>
                <a:cubicBezTo>
                  <a:pt x="2651196" y="2598642"/>
                  <a:pt x="2647567" y="2598879"/>
                  <a:pt x="2644543" y="2599831"/>
                </a:cubicBezTo>
                <a:close/>
                <a:moveTo>
                  <a:pt x="1165946" y="2599592"/>
                </a:moveTo>
                <a:cubicBezTo>
                  <a:pt x="1153851" y="2604588"/>
                  <a:pt x="1134499" y="2603398"/>
                  <a:pt x="1128452" y="2618858"/>
                </a:cubicBezTo>
                <a:cubicBezTo>
                  <a:pt x="1136313" y="2617430"/>
                  <a:pt x="1133894" y="2650965"/>
                  <a:pt x="1142361" y="2629798"/>
                </a:cubicBezTo>
                <a:cubicBezTo>
                  <a:pt x="1126637" y="2612436"/>
                  <a:pt x="1174412" y="2625992"/>
                  <a:pt x="1165946" y="2599592"/>
                </a:cubicBezTo>
                <a:close/>
                <a:moveTo>
                  <a:pt x="784354" y="2595073"/>
                </a:moveTo>
                <a:cubicBezTo>
                  <a:pt x="777701" y="2628371"/>
                  <a:pt x="811567" y="2621236"/>
                  <a:pt x="812775" y="2601496"/>
                </a:cubicBezTo>
                <a:cubicBezTo>
                  <a:pt x="800681" y="2602446"/>
                  <a:pt x="789191" y="2601496"/>
                  <a:pt x="784354" y="2595073"/>
                </a:cubicBezTo>
                <a:close/>
                <a:moveTo>
                  <a:pt x="1029274" y="2593885"/>
                </a:moveTo>
                <a:cubicBezTo>
                  <a:pt x="1047416" y="2619095"/>
                  <a:pt x="1009318" y="2608393"/>
                  <a:pt x="1020808" y="2619333"/>
                </a:cubicBezTo>
                <a:cubicBezTo>
                  <a:pt x="1037740" y="2616717"/>
                  <a:pt x="1050440" y="2603874"/>
                  <a:pt x="1048626" y="2635506"/>
                </a:cubicBezTo>
                <a:lnTo>
                  <a:pt x="1115752" y="2635506"/>
                </a:lnTo>
                <a:cubicBezTo>
                  <a:pt x="1109101" y="2625040"/>
                  <a:pt x="1129057" y="2616480"/>
                  <a:pt x="1114542" y="2611246"/>
                </a:cubicBezTo>
                <a:cubicBezTo>
                  <a:pt x="1114542" y="2617193"/>
                  <a:pt x="1113938" y="2622901"/>
                  <a:pt x="1109101" y="2624566"/>
                </a:cubicBezTo>
                <a:cubicBezTo>
                  <a:pt x="1092772" y="2613150"/>
                  <a:pt x="1082492" y="2622425"/>
                  <a:pt x="1067978" y="2623138"/>
                </a:cubicBezTo>
                <a:lnTo>
                  <a:pt x="1066768" y="2607203"/>
                </a:lnTo>
                <a:cubicBezTo>
                  <a:pt x="1052254" y="2615765"/>
                  <a:pt x="1045603" y="2599117"/>
                  <a:pt x="1029274" y="2593885"/>
                </a:cubicBezTo>
                <a:close/>
                <a:moveTo>
                  <a:pt x="2617934" y="2577237"/>
                </a:moveTo>
                <a:cubicBezTo>
                  <a:pt x="2599188" y="2573669"/>
                  <a:pt x="2599792" y="2605777"/>
                  <a:pt x="2619144" y="2601496"/>
                </a:cubicBezTo>
                <a:close/>
                <a:moveTo>
                  <a:pt x="469886" y="2575096"/>
                </a:moveTo>
                <a:cubicBezTo>
                  <a:pt x="478352" y="2576523"/>
                  <a:pt x="492866" y="2588415"/>
                  <a:pt x="488634" y="2607679"/>
                </a:cubicBezTo>
                <a:cubicBezTo>
                  <a:pt x="480166" y="2600544"/>
                  <a:pt x="469886" y="2591269"/>
                  <a:pt x="464444" y="2577712"/>
                </a:cubicBezTo>
                <a:cubicBezTo>
                  <a:pt x="465049" y="2575572"/>
                  <a:pt x="466862" y="2574621"/>
                  <a:pt x="469886" y="2575096"/>
                </a:cubicBezTo>
                <a:close/>
                <a:moveTo>
                  <a:pt x="723274" y="2572004"/>
                </a:moveTo>
                <a:cubicBezTo>
                  <a:pt x="724484" y="2590080"/>
                  <a:pt x="711783" y="2600781"/>
                  <a:pt x="723274" y="2613626"/>
                </a:cubicBezTo>
                <a:cubicBezTo>
                  <a:pt x="738393" y="2601020"/>
                  <a:pt x="749883" y="2613863"/>
                  <a:pt x="769234" y="2613626"/>
                </a:cubicBezTo>
                <a:cubicBezTo>
                  <a:pt x="777701" y="2588652"/>
                  <a:pt x="745045" y="2611485"/>
                  <a:pt x="746254" y="2595788"/>
                </a:cubicBezTo>
                <a:cubicBezTo>
                  <a:pt x="744440" y="2581755"/>
                  <a:pt x="767420" y="2599117"/>
                  <a:pt x="761373" y="2578663"/>
                </a:cubicBezTo>
                <a:cubicBezTo>
                  <a:pt x="734764" y="2584372"/>
                  <a:pt x="744440" y="2575810"/>
                  <a:pt x="723274" y="2572004"/>
                </a:cubicBezTo>
                <a:close/>
                <a:moveTo>
                  <a:pt x="1415705" y="2556307"/>
                </a:moveTo>
                <a:cubicBezTo>
                  <a:pt x="1409052" y="2557496"/>
                  <a:pt x="1402401" y="2561778"/>
                  <a:pt x="1403006" y="2570577"/>
                </a:cubicBezTo>
                <a:cubicBezTo>
                  <a:pt x="1417519" y="2572004"/>
                  <a:pt x="1426590" y="2570577"/>
                  <a:pt x="1432033" y="2559161"/>
                </a:cubicBezTo>
                <a:cubicBezTo>
                  <a:pt x="1430219" y="2557020"/>
                  <a:pt x="1422962" y="2555357"/>
                  <a:pt x="1415705" y="2556307"/>
                </a:cubicBezTo>
                <a:close/>
                <a:moveTo>
                  <a:pt x="525523" y="2532763"/>
                </a:moveTo>
                <a:cubicBezTo>
                  <a:pt x="535804" y="2536091"/>
                  <a:pt x="550317" y="2549648"/>
                  <a:pt x="568460" y="2544177"/>
                </a:cubicBezTo>
                <a:lnTo>
                  <a:pt x="569669" y="2566772"/>
                </a:lnTo>
                <a:lnTo>
                  <a:pt x="555156" y="2567247"/>
                </a:lnTo>
                <a:cubicBezTo>
                  <a:pt x="567250" y="2570101"/>
                  <a:pt x="558784" y="2594123"/>
                  <a:pt x="578136" y="2588176"/>
                </a:cubicBezTo>
                <a:cubicBezTo>
                  <a:pt x="570274" y="2598879"/>
                  <a:pt x="581764" y="2598404"/>
                  <a:pt x="578740" y="2616954"/>
                </a:cubicBezTo>
                <a:cubicBezTo>
                  <a:pt x="562412" y="2607917"/>
                  <a:pt x="565437" y="2598879"/>
                  <a:pt x="555156" y="2577237"/>
                </a:cubicBezTo>
                <a:cubicBezTo>
                  <a:pt x="549713" y="2582469"/>
                  <a:pt x="549108" y="2589367"/>
                  <a:pt x="539432" y="2588652"/>
                </a:cubicBezTo>
                <a:cubicBezTo>
                  <a:pt x="546689" y="2592934"/>
                  <a:pt x="543060" y="2610057"/>
                  <a:pt x="555156" y="2605301"/>
                </a:cubicBezTo>
                <a:cubicBezTo>
                  <a:pt x="549713" y="2614339"/>
                  <a:pt x="538223" y="2615528"/>
                  <a:pt x="535199" y="2628371"/>
                </a:cubicBezTo>
                <a:cubicBezTo>
                  <a:pt x="527942" y="2629798"/>
                  <a:pt x="529151" y="2603160"/>
                  <a:pt x="540642" y="2611722"/>
                </a:cubicBezTo>
                <a:cubicBezTo>
                  <a:pt x="534593" y="2592220"/>
                  <a:pt x="514033" y="2616717"/>
                  <a:pt x="518266" y="2588652"/>
                </a:cubicBezTo>
                <a:cubicBezTo>
                  <a:pt x="511009" y="2589841"/>
                  <a:pt x="512823" y="2597690"/>
                  <a:pt x="512823" y="2605301"/>
                </a:cubicBezTo>
                <a:cubicBezTo>
                  <a:pt x="494681" y="2588652"/>
                  <a:pt x="483796" y="2561302"/>
                  <a:pt x="450535" y="2560350"/>
                </a:cubicBezTo>
                <a:cubicBezTo>
                  <a:pt x="451745" y="2533950"/>
                  <a:pt x="504357" y="2542275"/>
                  <a:pt x="507985" y="2561539"/>
                </a:cubicBezTo>
                <a:cubicBezTo>
                  <a:pt x="495890" y="2562491"/>
                  <a:pt x="496495" y="2551075"/>
                  <a:pt x="484400" y="2555594"/>
                </a:cubicBezTo>
                <a:cubicBezTo>
                  <a:pt x="496495" y="2588891"/>
                  <a:pt x="544874" y="2585324"/>
                  <a:pt x="560598" y="2556307"/>
                </a:cubicBezTo>
                <a:cubicBezTo>
                  <a:pt x="549713" y="2542275"/>
                  <a:pt x="522500" y="2549410"/>
                  <a:pt x="516452" y="2533713"/>
                </a:cubicBezTo>
                <a:cubicBezTo>
                  <a:pt x="518870" y="2531572"/>
                  <a:pt x="521894" y="2531572"/>
                  <a:pt x="525523" y="2532763"/>
                </a:cubicBezTo>
                <a:close/>
                <a:moveTo>
                  <a:pt x="727980" y="2526192"/>
                </a:moveTo>
                <a:cubicBezTo>
                  <a:pt x="731325" y="2525686"/>
                  <a:pt x="735066" y="2525865"/>
                  <a:pt x="739601" y="2527529"/>
                </a:cubicBezTo>
                <a:cubicBezTo>
                  <a:pt x="725089" y="2539897"/>
                  <a:pt x="698479" y="2552977"/>
                  <a:pt x="697875" y="2527529"/>
                </a:cubicBezTo>
                <a:cubicBezTo>
                  <a:pt x="711481" y="2535378"/>
                  <a:pt x="717944" y="2527707"/>
                  <a:pt x="727980" y="2526192"/>
                </a:cubicBezTo>
                <a:close/>
                <a:moveTo>
                  <a:pt x="742021" y="2526102"/>
                </a:moveTo>
                <a:cubicBezTo>
                  <a:pt x="742625" y="2526816"/>
                  <a:pt x="743231" y="2526816"/>
                  <a:pt x="743231" y="2527529"/>
                </a:cubicBezTo>
                <a:cubicBezTo>
                  <a:pt x="742021" y="2526816"/>
                  <a:pt x="741416" y="2528005"/>
                  <a:pt x="739601" y="2527529"/>
                </a:cubicBezTo>
                <a:cubicBezTo>
                  <a:pt x="740811" y="2526816"/>
                  <a:pt x="741416" y="2526816"/>
                  <a:pt x="742021" y="2526102"/>
                </a:cubicBezTo>
                <a:close/>
                <a:moveTo>
                  <a:pt x="2504848" y="2522773"/>
                </a:moveTo>
                <a:cubicBezTo>
                  <a:pt x="2500614" y="2526816"/>
                  <a:pt x="2481867" y="2542988"/>
                  <a:pt x="2494567" y="2555118"/>
                </a:cubicBezTo>
                <a:cubicBezTo>
                  <a:pt x="2482471" y="2576047"/>
                  <a:pt x="2484286" y="2533950"/>
                  <a:pt x="2482471" y="2533713"/>
                </a:cubicBezTo>
                <a:cubicBezTo>
                  <a:pt x="2487310" y="2525389"/>
                  <a:pt x="2493962" y="2521822"/>
                  <a:pt x="2504848" y="2522773"/>
                </a:cubicBezTo>
                <a:close/>
                <a:moveTo>
                  <a:pt x="1338903" y="2513021"/>
                </a:moveTo>
                <a:cubicBezTo>
                  <a:pt x="1367929" y="2513973"/>
                  <a:pt x="1340112" y="2552977"/>
                  <a:pt x="1323179" y="2515399"/>
                </a:cubicBezTo>
                <a:cubicBezTo>
                  <a:pt x="1329832" y="2513497"/>
                  <a:pt x="1335274" y="2512784"/>
                  <a:pt x="1338903" y="2513021"/>
                </a:cubicBezTo>
                <a:close/>
                <a:moveTo>
                  <a:pt x="2407483" y="2510167"/>
                </a:moveTo>
                <a:cubicBezTo>
                  <a:pt x="2422602" y="2510406"/>
                  <a:pt x="2434697" y="2516351"/>
                  <a:pt x="2437721" y="2534189"/>
                </a:cubicBezTo>
                <a:cubicBezTo>
                  <a:pt x="2430463" y="2533713"/>
                  <a:pt x="2425021" y="2539184"/>
                  <a:pt x="2425021" y="2547031"/>
                </a:cubicBezTo>
                <a:cubicBezTo>
                  <a:pt x="2412927" y="2543940"/>
                  <a:pt x="2430463" y="2535854"/>
                  <a:pt x="2423812" y="2523248"/>
                </a:cubicBezTo>
                <a:cubicBezTo>
                  <a:pt x="2393575" y="2538708"/>
                  <a:pt x="2361523" y="2549410"/>
                  <a:pt x="2334310" y="2551075"/>
                </a:cubicBezTo>
                <a:cubicBezTo>
                  <a:pt x="2318587" y="2533950"/>
                  <a:pt x="2366966" y="2541799"/>
                  <a:pt x="2376641" y="2534902"/>
                </a:cubicBezTo>
                <a:cubicBezTo>
                  <a:pt x="2380271" y="2519205"/>
                  <a:pt x="2375432" y="2513260"/>
                  <a:pt x="2362733" y="2518254"/>
                </a:cubicBezTo>
                <a:cubicBezTo>
                  <a:pt x="2375432" y="2515162"/>
                  <a:pt x="2392971" y="2509691"/>
                  <a:pt x="2407483" y="2510167"/>
                </a:cubicBezTo>
                <a:close/>
                <a:moveTo>
                  <a:pt x="1596523" y="2507789"/>
                </a:moveTo>
                <a:lnTo>
                  <a:pt x="1597733" y="2529670"/>
                </a:lnTo>
                <a:cubicBezTo>
                  <a:pt x="1604384" y="2530146"/>
                  <a:pt x="1612246" y="2530859"/>
                  <a:pt x="1616479" y="2537043"/>
                </a:cubicBezTo>
                <a:cubicBezTo>
                  <a:pt x="1612246" y="2524913"/>
                  <a:pt x="1616479" y="2501368"/>
                  <a:pt x="1596523" y="2507789"/>
                </a:cubicBezTo>
                <a:close/>
                <a:moveTo>
                  <a:pt x="1543910" y="2503746"/>
                </a:moveTo>
                <a:cubicBezTo>
                  <a:pt x="1526978" y="2506124"/>
                  <a:pt x="1511859" y="2514686"/>
                  <a:pt x="1508230" y="2536091"/>
                </a:cubicBezTo>
                <a:cubicBezTo>
                  <a:pt x="1524559" y="2543464"/>
                  <a:pt x="1541492" y="2536804"/>
                  <a:pt x="1567496" y="2547031"/>
                </a:cubicBezTo>
                <a:cubicBezTo>
                  <a:pt x="1575357" y="2533713"/>
                  <a:pt x="1592894" y="2533000"/>
                  <a:pt x="1591686" y="2507313"/>
                </a:cubicBezTo>
                <a:cubicBezTo>
                  <a:pt x="1580195" y="2505173"/>
                  <a:pt x="1560843" y="2501605"/>
                  <a:pt x="1543910" y="2503746"/>
                </a:cubicBezTo>
                <a:close/>
                <a:moveTo>
                  <a:pt x="723879" y="2501131"/>
                </a:moveTo>
                <a:cubicBezTo>
                  <a:pt x="728716" y="2503509"/>
                  <a:pt x="745650" y="2518729"/>
                  <a:pt x="750487" y="2520394"/>
                </a:cubicBezTo>
                <a:cubicBezTo>
                  <a:pt x="749278" y="2522297"/>
                  <a:pt x="744440" y="2524200"/>
                  <a:pt x="742021" y="2526102"/>
                </a:cubicBezTo>
                <a:cubicBezTo>
                  <a:pt x="739601" y="2514449"/>
                  <a:pt x="728111" y="2513736"/>
                  <a:pt x="724484" y="2504459"/>
                </a:cubicBezTo>
                <a:cubicBezTo>
                  <a:pt x="722065" y="2501368"/>
                  <a:pt x="722065" y="2500416"/>
                  <a:pt x="723879" y="2501131"/>
                </a:cubicBezTo>
                <a:close/>
                <a:moveTo>
                  <a:pt x="270321" y="2494471"/>
                </a:moveTo>
                <a:cubicBezTo>
                  <a:pt x="281207" y="2497087"/>
                  <a:pt x="292697" y="2513260"/>
                  <a:pt x="296325" y="2520394"/>
                </a:cubicBezTo>
                <a:cubicBezTo>
                  <a:pt x="272135" y="2527767"/>
                  <a:pt x="282415" y="2495422"/>
                  <a:pt x="261249" y="2497325"/>
                </a:cubicBezTo>
                <a:cubicBezTo>
                  <a:pt x="263670" y="2494233"/>
                  <a:pt x="266693" y="2493519"/>
                  <a:pt x="270321" y="2494471"/>
                </a:cubicBezTo>
                <a:close/>
                <a:moveTo>
                  <a:pt x="1034113" y="2467358"/>
                </a:moveTo>
                <a:cubicBezTo>
                  <a:pt x="1033506" y="2481152"/>
                  <a:pt x="1035322" y="2489238"/>
                  <a:pt x="1039554" y="2495422"/>
                </a:cubicBezTo>
                <a:cubicBezTo>
                  <a:pt x="1051649" y="2494471"/>
                  <a:pt x="1057093" y="2487573"/>
                  <a:pt x="1058302" y="2473542"/>
                </a:cubicBezTo>
                <a:cubicBezTo>
                  <a:pt x="1053463" y="2469260"/>
                  <a:pt x="1046207" y="2464504"/>
                  <a:pt x="1034113" y="2467358"/>
                </a:cubicBezTo>
                <a:close/>
                <a:moveTo>
                  <a:pt x="1020203" y="2466169"/>
                </a:moveTo>
                <a:cubicBezTo>
                  <a:pt x="1009922" y="2471163"/>
                  <a:pt x="988756" y="2459747"/>
                  <a:pt x="988151" y="2473542"/>
                </a:cubicBezTo>
                <a:cubicBezTo>
                  <a:pt x="994804" y="2486147"/>
                  <a:pt x="1020808" y="2492092"/>
                  <a:pt x="1020203" y="2466169"/>
                </a:cubicBezTo>
                <a:close/>
                <a:moveTo>
                  <a:pt x="1166551" y="2460936"/>
                </a:moveTo>
                <a:cubicBezTo>
                  <a:pt x="1142966" y="2490665"/>
                  <a:pt x="1092772" y="2454991"/>
                  <a:pt x="1072816" y="2473066"/>
                </a:cubicBezTo>
                <a:cubicBezTo>
                  <a:pt x="1083700" y="2491855"/>
                  <a:pt x="1096400" y="2470688"/>
                  <a:pt x="1099424" y="2496849"/>
                </a:cubicBezTo>
                <a:cubicBezTo>
                  <a:pt x="1126637" y="2487098"/>
                  <a:pt x="1159295" y="2513736"/>
                  <a:pt x="1182275" y="2484006"/>
                </a:cubicBezTo>
                <a:cubicBezTo>
                  <a:pt x="1184088" y="2496136"/>
                  <a:pt x="1202836" y="2509930"/>
                  <a:pt x="1205859" y="2490190"/>
                </a:cubicBezTo>
                <a:cubicBezTo>
                  <a:pt x="1187716" y="2472828"/>
                  <a:pt x="1187716" y="2472590"/>
                  <a:pt x="1166551" y="2460936"/>
                </a:cubicBezTo>
                <a:close/>
                <a:moveTo>
                  <a:pt x="9072" y="2458558"/>
                </a:moveTo>
                <a:cubicBezTo>
                  <a:pt x="15724" y="2459510"/>
                  <a:pt x="26610" y="2470925"/>
                  <a:pt x="33866" y="2468547"/>
                </a:cubicBezTo>
                <a:cubicBezTo>
                  <a:pt x="33263" y="2480676"/>
                  <a:pt x="13910" y="2471163"/>
                  <a:pt x="10886" y="2481152"/>
                </a:cubicBezTo>
                <a:cubicBezTo>
                  <a:pt x="7258" y="2497325"/>
                  <a:pt x="19957" y="2492092"/>
                  <a:pt x="19353" y="2504459"/>
                </a:cubicBezTo>
                <a:cubicBezTo>
                  <a:pt x="27214" y="2498751"/>
                  <a:pt x="34471" y="2495184"/>
                  <a:pt x="32658" y="2480676"/>
                </a:cubicBezTo>
                <a:cubicBezTo>
                  <a:pt x="48985" y="2490190"/>
                  <a:pt x="59870" y="2473303"/>
                  <a:pt x="65918" y="2492092"/>
                </a:cubicBezTo>
                <a:cubicBezTo>
                  <a:pt x="73779" y="2486623"/>
                  <a:pt x="64103" y="2483293"/>
                  <a:pt x="76803" y="2474255"/>
                </a:cubicBezTo>
                <a:cubicBezTo>
                  <a:pt x="130626" y="2505411"/>
                  <a:pt x="202590" y="2466644"/>
                  <a:pt x="246131" y="2503033"/>
                </a:cubicBezTo>
                <a:cubicBezTo>
                  <a:pt x="239479" y="2543227"/>
                  <a:pt x="273950" y="2528005"/>
                  <a:pt x="272135" y="2562728"/>
                </a:cubicBezTo>
                <a:cubicBezTo>
                  <a:pt x="264879" y="2559874"/>
                  <a:pt x="268507" y="2544177"/>
                  <a:pt x="253389" y="2551075"/>
                </a:cubicBezTo>
                <a:cubicBezTo>
                  <a:pt x="246736" y="2544416"/>
                  <a:pt x="251575" y="2542988"/>
                  <a:pt x="252179" y="2532763"/>
                </a:cubicBezTo>
                <a:cubicBezTo>
                  <a:pt x="242504" y="2535854"/>
                  <a:pt x="240084" y="2529432"/>
                  <a:pt x="232827" y="2526816"/>
                </a:cubicBezTo>
                <a:cubicBezTo>
                  <a:pt x="227385" y="2546556"/>
                  <a:pt x="249760" y="2532286"/>
                  <a:pt x="243713" y="2552264"/>
                </a:cubicBezTo>
                <a:cubicBezTo>
                  <a:pt x="223756" y="2523962"/>
                  <a:pt x="195333" y="2551789"/>
                  <a:pt x="191100" y="2575810"/>
                </a:cubicBezTo>
                <a:cubicBezTo>
                  <a:pt x="184447" y="2569150"/>
                  <a:pt x="200775" y="2540134"/>
                  <a:pt x="199567" y="2521583"/>
                </a:cubicBezTo>
                <a:cubicBezTo>
                  <a:pt x="194728" y="2513021"/>
                  <a:pt x="183239" y="2510167"/>
                  <a:pt x="171143" y="2508978"/>
                </a:cubicBezTo>
                <a:cubicBezTo>
                  <a:pt x="173562" y="2517303"/>
                  <a:pt x="180215" y="2513973"/>
                  <a:pt x="185052" y="2516351"/>
                </a:cubicBezTo>
                <a:cubicBezTo>
                  <a:pt x="149373" y="2547983"/>
                  <a:pt x="122159" y="2521346"/>
                  <a:pt x="67732" y="2541323"/>
                </a:cubicBezTo>
                <a:cubicBezTo>
                  <a:pt x="70755" y="2535378"/>
                  <a:pt x="73779" y="2523486"/>
                  <a:pt x="66523" y="2522773"/>
                </a:cubicBezTo>
                <a:cubicBezTo>
                  <a:pt x="74384" y="2513260"/>
                  <a:pt x="91317" y="2516589"/>
                  <a:pt x="96761" y="2504935"/>
                </a:cubicBezTo>
                <a:cubicBezTo>
                  <a:pt x="94946" y="2492568"/>
                  <a:pt x="79827" y="2499227"/>
                  <a:pt x="81037" y="2486860"/>
                </a:cubicBezTo>
                <a:cubicBezTo>
                  <a:pt x="76199" y="2486623"/>
                  <a:pt x="78013" y="2493282"/>
                  <a:pt x="79827" y="2493519"/>
                </a:cubicBezTo>
                <a:cubicBezTo>
                  <a:pt x="57452" y="2509930"/>
                  <a:pt x="27819" y="2523725"/>
                  <a:pt x="0" y="2504935"/>
                </a:cubicBezTo>
                <a:cubicBezTo>
                  <a:pt x="10282" y="2497563"/>
                  <a:pt x="10886" y="2477109"/>
                  <a:pt x="4839" y="2462125"/>
                </a:cubicBezTo>
                <a:cubicBezTo>
                  <a:pt x="5444" y="2459271"/>
                  <a:pt x="7258" y="2458320"/>
                  <a:pt x="9072" y="2458558"/>
                </a:cubicBezTo>
                <a:close/>
                <a:moveTo>
                  <a:pt x="916791" y="2453802"/>
                </a:moveTo>
                <a:cubicBezTo>
                  <a:pt x="913163" y="2453802"/>
                  <a:pt x="910140" y="2454752"/>
                  <a:pt x="907116" y="2456893"/>
                </a:cubicBezTo>
                <a:cubicBezTo>
                  <a:pt x="910744" y="2487098"/>
                  <a:pt x="931306" y="2460936"/>
                  <a:pt x="944610" y="2479963"/>
                </a:cubicBezTo>
                <a:cubicBezTo>
                  <a:pt x="941586" y="2464742"/>
                  <a:pt x="928281" y="2454276"/>
                  <a:pt x="916791" y="2453802"/>
                </a:cubicBezTo>
                <a:close/>
                <a:moveTo>
                  <a:pt x="1159295" y="2436201"/>
                </a:moveTo>
                <a:cubicBezTo>
                  <a:pt x="1149618" y="2435488"/>
                  <a:pt x="1141757" y="2438342"/>
                  <a:pt x="1142966" y="2449520"/>
                </a:cubicBezTo>
                <a:cubicBezTo>
                  <a:pt x="1162922" y="2443099"/>
                  <a:pt x="1176226" y="2468071"/>
                  <a:pt x="1182275" y="2444764"/>
                </a:cubicBezTo>
                <a:cubicBezTo>
                  <a:pt x="1178645" y="2441434"/>
                  <a:pt x="1168365" y="2436915"/>
                  <a:pt x="1159295" y="2436201"/>
                </a:cubicBezTo>
                <a:close/>
                <a:moveTo>
                  <a:pt x="1253030" y="2435250"/>
                </a:moveTo>
                <a:cubicBezTo>
                  <a:pt x="1253030" y="2434299"/>
                  <a:pt x="1253030" y="2434775"/>
                  <a:pt x="1251819" y="2438342"/>
                </a:cubicBezTo>
                <a:cubicBezTo>
                  <a:pt x="1244563" y="2437629"/>
                  <a:pt x="1246981" y="2447855"/>
                  <a:pt x="1242143" y="2449520"/>
                </a:cubicBezTo>
                <a:cubicBezTo>
                  <a:pt x="1237305" y="2450948"/>
                  <a:pt x="1230049" y="2448807"/>
                  <a:pt x="1230049" y="2454752"/>
                </a:cubicBezTo>
                <a:cubicBezTo>
                  <a:pt x="1239724" y="2453563"/>
                  <a:pt x="1255449" y="2466406"/>
                  <a:pt x="1260285" y="2460936"/>
                </a:cubicBezTo>
                <a:cubicBezTo>
                  <a:pt x="1244563" y="2447618"/>
                  <a:pt x="1283870" y="2465217"/>
                  <a:pt x="1265124" y="2455704"/>
                </a:cubicBezTo>
                <a:cubicBezTo>
                  <a:pt x="1252424" y="2454515"/>
                  <a:pt x="1253634" y="2437866"/>
                  <a:pt x="1253030" y="2435250"/>
                </a:cubicBezTo>
                <a:close/>
                <a:moveTo>
                  <a:pt x="1405425" y="2420267"/>
                </a:moveTo>
                <a:cubicBezTo>
                  <a:pt x="1412077" y="2419792"/>
                  <a:pt x="1418729" y="2420267"/>
                  <a:pt x="1425381" y="2421694"/>
                </a:cubicBezTo>
                <a:cubicBezTo>
                  <a:pt x="1414496" y="2440483"/>
                  <a:pt x="1380026" y="2428591"/>
                  <a:pt x="1364302" y="2443575"/>
                </a:cubicBezTo>
                <a:cubicBezTo>
                  <a:pt x="1367325" y="2431445"/>
                  <a:pt x="1385467" y="2421931"/>
                  <a:pt x="1405425" y="2420267"/>
                </a:cubicBezTo>
                <a:close/>
                <a:moveTo>
                  <a:pt x="12650625" y="2393154"/>
                </a:moveTo>
                <a:cubicBezTo>
                  <a:pt x="12661510" y="2393392"/>
                  <a:pt x="12676629" y="2406472"/>
                  <a:pt x="12671790" y="2423359"/>
                </a:cubicBezTo>
                <a:cubicBezTo>
                  <a:pt x="12657277" y="2418364"/>
                  <a:pt x="12658486" y="2397435"/>
                  <a:pt x="12640949" y="2397911"/>
                </a:cubicBezTo>
                <a:cubicBezTo>
                  <a:pt x="12642763" y="2394818"/>
                  <a:pt x="12646392" y="2393154"/>
                  <a:pt x="12650625" y="2393154"/>
                </a:cubicBezTo>
                <a:close/>
                <a:moveTo>
                  <a:pt x="427554" y="2389825"/>
                </a:moveTo>
                <a:lnTo>
                  <a:pt x="448720" y="2389825"/>
                </a:lnTo>
                <a:cubicBezTo>
                  <a:pt x="451745" y="2406948"/>
                  <a:pt x="429370" y="2395533"/>
                  <a:pt x="428764" y="2406472"/>
                </a:cubicBezTo>
                <a:cubicBezTo>
                  <a:pt x="422112" y="2404094"/>
                  <a:pt x="429370" y="2399337"/>
                  <a:pt x="427554" y="2389825"/>
                </a:cubicBezTo>
                <a:close/>
                <a:moveTo>
                  <a:pt x="140906" y="2387446"/>
                </a:moveTo>
                <a:lnTo>
                  <a:pt x="139697" y="2403143"/>
                </a:lnTo>
                <a:cubicBezTo>
                  <a:pt x="153606" y="2410516"/>
                  <a:pt x="186866" y="2417888"/>
                  <a:pt x="189890" y="2435012"/>
                </a:cubicBezTo>
                <a:cubicBezTo>
                  <a:pt x="168724" y="2419553"/>
                  <a:pt x="160863" y="2428828"/>
                  <a:pt x="131835" y="2413132"/>
                </a:cubicBezTo>
                <a:lnTo>
                  <a:pt x="132439" y="2400765"/>
                </a:lnTo>
                <a:cubicBezTo>
                  <a:pt x="125182" y="2396007"/>
                  <a:pt x="125787" y="2393154"/>
                  <a:pt x="140906" y="2387446"/>
                </a:cubicBezTo>
                <a:close/>
                <a:moveTo>
                  <a:pt x="1251214" y="2383403"/>
                </a:moveTo>
                <a:cubicBezTo>
                  <a:pt x="1248796" y="2383403"/>
                  <a:pt x="1246377" y="2384592"/>
                  <a:pt x="1242749" y="2386495"/>
                </a:cubicBezTo>
                <a:cubicBezTo>
                  <a:pt x="1245167" y="2386733"/>
                  <a:pt x="1247586" y="2391014"/>
                  <a:pt x="1247586" y="2396959"/>
                </a:cubicBezTo>
                <a:cubicBezTo>
                  <a:pt x="1239724" y="2400289"/>
                  <a:pt x="1224001" y="2390776"/>
                  <a:pt x="1223397" y="2402667"/>
                </a:cubicBezTo>
                <a:cubicBezTo>
                  <a:pt x="1238515" y="2418840"/>
                  <a:pt x="1257263" y="2392679"/>
                  <a:pt x="1254239" y="2385305"/>
                </a:cubicBezTo>
                <a:cubicBezTo>
                  <a:pt x="1253634" y="2383879"/>
                  <a:pt x="1253030" y="2383166"/>
                  <a:pt x="1251214" y="2383403"/>
                </a:cubicBezTo>
                <a:close/>
                <a:moveTo>
                  <a:pt x="2122045" y="2378884"/>
                </a:moveTo>
                <a:cubicBezTo>
                  <a:pt x="2115392" y="2378884"/>
                  <a:pt x="2110555" y="2380786"/>
                  <a:pt x="2112369" y="2391014"/>
                </a:cubicBezTo>
                <a:cubicBezTo>
                  <a:pt x="2124464" y="2396007"/>
                  <a:pt x="2142606" y="2403856"/>
                  <a:pt x="2142002" y="2380073"/>
                </a:cubicBezTo>
                <a:cubicBezTo>
                  <a:pt x="2137163" y="2381501"/>
                  <a:pt x="2128698" y="2379123"/>
                  <a:pt x="2122045" y="2378884"/>
                </a:cubicBezTo>
                <a:close/>
                <a:moveTo>
                  <a:pt x="793423" y="2376030"/>
                </a:moveTo>
                <a:cubicBezTo>
                  <a:pt x="797658" y="2385305"/>
                  <a:pt x="812775" y="2388160"/>
                  <a:pt x="817009" y="2400765"/>
                </a:cubicBezTo>
                <a:lnTo>
                  <a:pt x="801890" y="2401241"/>
                </a:lnTo>
                <a:cubicBezTo>
                  <a:pt x="804915" y="2385781"/>
                  <a:pt x="787377" y="2391488"/>
                  <a:pt x="793423" y="2376030"/>
                </a:cubicBezTo>
                <a:close/>
                <a:moveTo>
                  <a:pt x="1835396" y="2362474"/>
                </a:moveTo>
                <a:cubicBezTo>
                  <a:pt x="1828140" y="2361047"/>
                  <a:pt x="1820883" y="2364377"/>
                  <a:pt x="1820278" y="2374365"/>
                </a:cubicBezTo>
                <a:cubicBezTo>
                  <a:pt x="1824511" y="2380549"/>
                  <a:pt x="1836606" y="2379599"/>
                  <a:pt x="1848702" y="2380549"/>
                </a:cubicBezTo>
                <a:cubicBezTo>
                  <a:pt x="1849306" y="2370561"/>
                  <a:pt x="1842653" y="2364139"/>
                  <a:pt x="1835396" y="2362474"/>
                </a:cubicBezTo>
                <a:close/>
                <a:moveTo>
                  <a:pt x="2029519" y="2361522"/>
                </a:moveTo>
                <a:cubicBezTo>
                  <a:pt x="2021658" y="2360809"/>
                  <a:pt x="2015610" y="2361998"/>
                  <a:pt x="2016820" y="2372939"/>
                </a:cubicBezTo>
                <a:cubicBezTo>
                  <a:pt x="2028914" y="2377932"/>
                  <a:pt x="2054918" y="2388160"/>
                  <a:pt x="2051894" y="2361998"/>
                </a:cubicBezTo>
                <a:cubicBezTo>
                  <a:pt x="2047058" y="2364614"/>
                  <a:pt x="2037381" y="2362236"/>
                  <a:pt x="2029519" y="2361522"/>
                </a:cubicBezTo>
                <a:close/>
                <a:moveTo>
                  <a:pt x="1994444" y="2357479"/>
                </a:moveTo>
                <a:cubicBezTo>
                  <a:pt x="1983559" y="2380312"/>
                  <a:pt x="1990211" y="2379123"/>
                  <a:pt x="1993840" y="2403143"/>
                </a:cubicBezTo>
                <a:cubicBezTo>
                  <a:pt x="1957555" y="2404094"/>
                  <a:pt x="1958764" y="2393629"/>
                  <a:pt x="1929131" y="2408851"/>
                </a:cubicBezTo>
                <a:cubicBezTo>
                  <a:pt x="1927317" y="2398861"/>
                  <a:pt x="1929736" y="2389349"/>
                  <a:pt x="1920060" y="2390300"/>
                </a:cubicBezTo>
                <a:cubicBezTo>
                  <a:pt x="1909781" y="2405283"/>
                  <a:pt x="1892847" y="2408375"/>
                  <a:pt x="1880148" y="2421218"/>
                </a:cubicBezTo>
                <a:cubicBezTo>
                  <a:pt x="1893452" y="2432158"/>
                  <a:pt x="1901918" y="2450948"/>
                  <a:pt x="1923690" y="2454752"/>
                </a:cubicBezTo>
                <a:cubicBezTo>
                  <a:pt x="1935784" y="2447855"/>
                  <a:pt x="1927922" y="2424785"/>
                  <a:pt x="1933365" y="2419316"/>
                </a:cubicBezTo>
                <a:cubicBezTo>
                  <a:pt x="1941832" y="2431921"/>
                  <a:pt x="1950902" y="2444525"/>
                  <a:pt x="1967231" y="2449996"/>
                </a:cubicBezTo>
                <a:cubicBezTo>
                  <a:pt x="1956950" y="2460936"/>
                  <a:pt x="1952717" y="2447379"/>
                  <a:pt x="1938203" y="2449996"/>
                </a:cubicBezTo>
                <a:cubicBezTo>
                  <a:pt x="1936993" y="2475683"/>
                  <a:pt x="1958764" y="2473303"/>
                  <a:pt x="1979930" y="2473066"/>
                </a:cubicBezTo>
                <a:cubicBezTo>
                  <a:pt x="1989606" y="2438104"/>
                  <a:pt x="2004725" y="2469260"/>
                  <a:pt x="2023471" y="2437153"/>
                </a:cubicBezTo>
                <a:cubicBezTo>
                  <a:pt x="2013795" y="2476157"/>
                  <a:pt x="2057943" y="2454276"/>
                  <a:pt x="2060362" y="2460460"/>
                </a:cubicBezTo>
                <a:cubicBezTo>
                  <a:pt x="2059756" y="2468309"/>
                  <a:pt x="2059756" y="2474018"/>
                  <a:pt x="2057338" y="2477822"/>
                </a:cubicBezTo>
                <a:cubicBezTo>
                  <a:pt x="2096040" y="2467358"/>
                  <a:pt x="2153492" y="2472114"/>
                  <a:pt x="2193405" y="2483530"/>
                </a:cubicBezTo>
                <a:cubicBezTo>
                  <a:pt x="2187357" y="2502796"/>
                  <a:pt x="2158934" y="2494709"/>
                  <a:pt x="2146840" y="2501605"/>
                </a:cubicBezTo>
                <a:cubicBezTo>
                  <a:pt x="2092412" y="2489001"/>
                  <a:pt x="2030124" y="2477585"/>
                  <a:pt x="1961787" y="2495422"/>
                </a:cubicBezTo>
                <a:cubicBezTo>
                  <a:pt x="1959974" y="2489476"/>
                  <a:pt x="1964812" y="2489476"/>
                  <a:pt x="1965416" y="2483530"/>
                </a:cubicBezTo>
                <a:cubicBezTo>
                  <a:pt x="1953322" y="2482578"/>
                  <a:pt x="1950297" y="2494233"/>
                  <a:pt x="1942436" y="2501605"/>
                </a:cubicBezTo>
                <a:cubicBezTo>
                  <a:pt x="1928527" y="2492330"/>
                  <a:pt x="1903733" y="2466169"/>
                  <a:pt x="1886195" y="2484482"/>
                </a:cubicBezTo>
                <a:cubicBezTo>
                  <a:pt x="1904942" y="2490190"/>
                  <a:pt x="1951507" y="2508502"/>
                  <a:pt x="1929131" y="2530383"/>
                </a:cubicBezTo>
                <a:cubicBezTo>
                  <a:pt x="1944855" y="2541562"/>
                  <a:pt x="1981139" y="2536804"/>
                  <a:pt x="1998677" y="2530383"/>
                </a:cubicBezTo>
                <a:cubicBezTo>
                  <a:pt x="2004725" y="2546794"/>
                  <a:pt x="1984768" y="2554880"/>
                  <a:pt x="2004119" y="2554642"/>
                </a:cubicBezTo>
                <a:cubicBezTo>
                  <a:pt x="2027705" y="2522773"/>
                  <a:pt x="2091203" y="2546080"/>
                  <a:pt x="2107532" y="2559161"/>
                </a:cubicBezTo>
                <a:cubicBezTo>
                  <a:pt x="2131721" y="2547508"/>
                  <a:pt x="2160144" y="2559637"/>
                  <a:pt x="2158934" y="2583420"/>
                </a:cubicBezTo>
                <a:cubicBezTo>
                  <a:pt x="2199452" y="2586987"/>
                  <a:pt x="2252064" y="2599355"/>
                  <a:pt x="2297421" y="2605301"/>
                </a:cubicBezTo>
                <a:cubicBezTo>
                  <a:pt x="2304677" y="2601971"/>
                  <a:pt x="2302863" y="2588176"/>
                  <a:pt x="2314958" y="2589128"/>
                </a:cubicBezTo>
                <a:cubicBezTo>
                  <a:pt x="2342172" y="2609344"/>
                  <a:pt x="2392366" y="2615765"/>
                  <a:pt x="2400832" y="2588652"/>
                </a:cubicBezTo>
                <a:cubicBezTo>
                  <a:pt x="2405065" y="2601020"/>
                  <a:pt x="2417159" y="2601734"/>
                  <a:pt x="2423812" y="2612436"/>
                </a:cubicBezTo>
                <a:cubicBezTo>
                  <a:pt x="2461305" y="2591745"/>
                  <a:pt x="2472797" y="2590793"/>
                  <a:pt x="2508476" y="2593885"/>
                </a:cubicBezTo>
                <a:cubicBezTo>
                  <a:pt x="2500614" y="2525627"/>
                  <a:pt x="2591931" y="2567247"/>
                  <a:pt x="2612492" y="2543227"/>
                </a:cubicBezTo>
                <a:cubicBezTo>
                  <a:pt x="2619749" y="2551550"/>
                  <a:pt x="2628819" y="2560589"/>
                  <a:pt x="2636681" y="2549410"/>
                </a:cubicBezTo>
                <a:cubicBezTo>
                  <a:pt x="2638496" y="2557496"/>
                  <a:pt x="2643334" y="2557496"/>
                  <a:pt x="2637891" y="2564869"/>
                </a:cubicBezTo>
                <a:cubicBezTo>
                  <a:pt x="2666918" y="2563443"/>
                  <a:pt x="2695341" y="2574144"/>
                  <a:pt x="2712880" y="2559874"/>
                </a:cubicBezTo>
                <a:cubicBezTo>
                  <a:pt x="2703203" y="2562967"/>
                  <a:pt x="2695946" y="2558448"/>
                  <a:pt x="2694132" y="2548221"/>
                </a:cubicBezTo>
                <a:cubicBezTo>
                  <a:pt x="2701995" y="2537043"/>
                  <a:pt x="2718322" y="2542275"/>
                  <a:pt x="2722556" y="2554642"/>
                </a:cubicBezTo>
                <a:cubicBezTo>
                  <a:pt x="2723159" y="2542751"/>
                  <a:pt x="2734650" y="2543702"/>
                  <a:pt x="2735860" y="2532048"/>
                </a:cubicBezTo>
                <a:cubicBezTo>
                  <a:pt x="2706832" y="2529432"/>
                  <a:pt x="2684456" y="2509454"/>
                  <a:pt x="2661476" y="2531335"/>
                </a:cubicBezTo>
                <a:cubicBezTo>
                  <a:pt x="2646962" y="2498276"/>
                  <a:pt x="2592535" y="2515638"/>
                  <a:pt x="2582255" y="2536567"/>
                </a:cubicBezTo>
                <a:cubicBezTo>
                  <a:pt x="2579836" y="2530383"/>
                  <a:pt x="2577417" y="2529909"/>
                  <a:pt x="2574997" y="2523962"/>
                </a:cubicBezTo>
                <a:cubicBezTo>
                  <a:pt x="2581650" y="2532286"/>
                  <a:pt x="2591931" y="2529432"/>
                  <a:pt x="2590722" y="2513497"/>
                </a:cubicBezTo>
                <a:cubicBezTo>
                  <a:pt x="2556251" y="2484719"/>
                  <a:pt x="2466749" y="2530859"/>
                  <a:pt x="2452840" y="2484006"/>
                </a:cubicBezTo>
                <a:cubicBezTo>
                  <a:pt x="2428650" y="2485908"/>
                  <a:pt x="2433488" y="2487811"/>
                  <a:pt x="2420183" y="2500655"/>
                </a:cubicBezTo>
                <a:cubicBezTo>
                  <a:pt x="2424417" y="2475207"/>
                  <a:pt x="2386318" y="2474255"/>
                  <a:pt x="2383294" y="2489714"/>
                </a:cubicBezTo>
                <a:cubicBezTo>
                  <a:pt x="2336124" y="2465931"/>
                  <a:pt x="2285931" y="2503270"/>
                  <a:pt x="2245413" y="2456180"/>
                </a:cubicBezTo>
                <a:cubicBezTo>
                  <a:pt x="2233319" y="2457130"/>
                  <a:pt x="2241179" y="2483530"/>
                  <a:pt x="2227270" y="2478298"/>
                </a:cubicBezTo>
                <a:cubicBezTo>
                  <a:pt x="2225456" y="2468309"/>
                  <a:pt x="2228480" y="2460936"/>
                  <a:pt x="2230899" y="2455228"/>
                </a:cubicBezTo>
                <a:cubicBezTo>
                  <a:pt x="2204290" y="2464742"/>
                  <a:pt x="2207314" y="2452850"/>
                  <a:pt x="2193405" y="2437866"/>
                </a:cubicBezTo>
                <a:cubicBezTo>
                  <a:pt x="2178286" y="2450233"/>
                  <a:pt x="2204290" y="2462601"/>
                  <a:pt x="2191591" y="2467358"/>
                </a:cubicBezTo>
                <a:cubicBezTo>
                  <a:pt x="2185543" y="2450948"/>
                  <a:pt x="2174657" y="2477822"/>
                  <a:pt x="2168610" y="2461412"/>
                </a:cubicBezTo>
                <a:cubicBezTo>
                  <a:pt x="2166796" y="2447379"/>
                  <a:pt x="2192196" y="2463552"/>
                  <a:pt x="2183729" y="2442861"/>
                </a:cubicBezTo>
                <a:cubicBezTo>
                  <a:pt x="2166796" y="2443575"/>
                  <a:pt x="2163168" y="2427163"/>
                  <a:pt x="2146234" y="2425737"/>
                </a:cubicBezTo>
                <a:cubicBezTo>
                  <a:pt x="2140188" y="2445240"/>
                  <a:pt x="2160748" y="2430732"/>
                  <a:pt x="2154701" y="2448094"/>
                </a:cubicBezTo>
                <a:cubicBezTo>
                  <a:pt x="2143816" y="2429304"/>
                  <a:pt x="2130512" y="2450472"/>
                  <a:pt x="2117207" y="2431445"/>
                </a:cubicBezTo>
                <a:cubicBezTo>
                  <a:pt x="2120231" y="2419792"/>
                  <a:pt x="2150468" y="2438104"/>
                  <a:pt x="2147444" y="2414083"/>
                </a:cubicBezTo>
                <a:cubicBezTo>
                  <a:pt x="2127487" y="2418364"/>
                  <a:pt x="2125068" y="2421694"/>
                  <a:pt x="2114183" y="2408851"/>
                </a:cubicBezTo>
                <a:cubicBezTo>
                  <a:pt x="2109950" y="2434299"/>
                  <a:pt x="2091203" y="2423120"/>
                  <a:pt x="2074270" y="2419792"/>
                </a:cubicBezTo>
                <a:cubicBezTo>
                  <a:pt x="2074270" y="2427639"/>
                  <a:pt x="2076084" y="2433347"/>
                  <a:pt x="2080922" y="2437866"/>
                </a:cubicBezTo>
                <a:cubicBezTo>
                  <a:pt x="2071246" y="2436915"/>
                  <a:pt x="2068223" y="2444764"/>
                  <a:pt x="2061570" y="2444288"/>
                </a:cubicBezTo>
                <a:cubicBezTo>
                  <a:pt x="2091808" y="2419077"/>
                  <a:pt x="2031333" y="2422170"/>
                  <a:pt x="2047058" y="2403619"/>
                </a:cubicBezTo>
                <a:cubicBezTo>
                  <a:pt x="2044033" y="2413369"/>
                  <a:pt x="2068223" y="2411229"/>
                  <a:pt x="2065803" y="2403143"/>
                </a:cubicBezTo>
                <a:cubicBezTo>
                  <a:pt x="2038590" y="2381025"/>
                  <a:pt x="2021053" y="2432872"/>
                  <a:pt x="1998677" y="2403143"/>
                </a:cubicBezTo>
                <a:cubicBezTo>
                  <a:pt x="2008353" y="2401954"/>
                  <a:pt x="1996864" y="2393154"/>
                  <a:pt x="2004119" y="2391727"/>
                </a:cubicBezTo>
                <a:cubicBezTo>
                  <a:pt x="2019239" y="2386970"/>
                  <a:pt x="2013191" y="2406472"/>
                  <a:pt x="2027705" y="2403619"/>
                </a:cubicBezTo>
                <a:cubicBezTo>
                  <a:pt x="2011981" y="2380549"/>
                  <a:pt x="2017424" y="2367231"/>
                  <a:pt x="1994444" y="2357479"/>
                </a:cubicBezTo>
                <a:close/>
                <a:moveTo>
                  <a:pt x="1941832" y="2356290"/>
                </a:moveTo>
                <a:cubicBezTo>
                  <a:pt x="1935180" y="2355101"/>
                  <a:pt x="1927922" y="2359144"/>
                  <a:pt x="1929131" y="2367231"/>
                </a:cubicBezTo>
                <a:cubicBezTo>
                  <a:pt x="1943646" y="2362474"/>
                  <a:pt x="1934575" y="2387922"/>
                  <a:pt x="1952111" y="2379599"/>
                </a:cubicBezTo>
                <a:cubicBezTo>
                  <a:pt x="1955136" y="2364852"/>
                  <a:pt x="1949088" y="2357718"/>
                  <a:pt x="1941832" y="2356290"/>
                </a:cubicBezTo>
                <a:close/>
                <a:moveTo>
                  <a:pt x="1214930" y="2349393"/>
                </a:moveTo>
                <a:cubicBezTo>
                  <a:pt x="1213116" y="2348441"/>
                  <a:pt x="1209488" y="2349156"/>
                  <a:pt x="1204045" y="2351058"/>
                </a:cubicBezTo>
                <a:cubicBezTo>
                  <a:pt x="1211301" y="2351771"/>
                  <a:pt x="1210092" y="2367468"/>
                  <a:pt x="1205255" y="2369133"/>
                </a:cubicBezTo>
                <a:cubicBezTo>
                  <a:pt x="1203440" y="2362950"/>
                  <a:pt x="1196787" y="2360572"/>
                  <a:pt x="1196183" y="2368658"/>
                </a:cubicBezTo>
                <a:cubicBezTo>
                  <a:pt x="1200416" y="2376745"/>
                  <a:pt x="1217349" y="2371987"/>
                  <a:pt x="1224001" y="2380549"/>
                </a:cubicBezTo>
                <a:cubicBezTo>
                  <a:pt x="1214326" y="2364852"/>
                  <a:pt x="1220372" y="2351534"/>
                  <a:pt x="1214930" y="2349393"/>
                </a:cubicBezTo>
                <a:close/>
                <a:moveTo>
                  <a:pt x="1814835" y="2343685"/>
                </a:moveTo>
                <a:cubicBezTo>
                  <a:pt x="1800321" y="2350345"/>
                  <a:pt x="1773713" y="2344637"/>
                  <a:pt x="1780969" y="2351058"/>
                </a:cubicBezTo>
                <a:cubicBezTo>
                  <a:pt x="1790041" y="2357955"/>
                  <a:pt x="1815440" y="2373415"/>
                  <a:pt x="1814835" y="2343685"/>
                </a:cubicBezTo>
                <a:close/>
                <a:moveTo>
                  <a:pt x="1937598" y="2338453"/>
                </a:moveTo>
                <a:cubicBezTo>
                  <a:pt x="1923085" y="2339166"/>
                  <a:pt x="1910989" y="2342258"/>
                  <a:pt x="1905547" y="2351534"/>
                </a:cubicBezTo>
                <a:cubicBezTo>
                  <a:pt x="1914618" y="2362236"/>
                  <a:pt x="1930341" y="2347728"/>
                  <a:pt x="1937598" y="2338453"/>
                </a:cubicBezTo>
                <a:close/>
                <a:moveTo>
                  <a:pt x="1952584" y="2333544"/>
                </a:moveTo>
                <a:cubicBezTo>
                  <a:pt x="1950374" y="2332789"/>
                  <a:pt x="1948332" y="2332685"/>
                  <a:pt x="1946670" y="2333696"/>
                </a:cubicBezTo>
                <a:cubicBezTo>
                  <a:pt x="1944251" y="2335123"/>
                  <a:pt x="1942436" y="2338453"/>
                  <a:pt x="1941832" y="2344874"/>
                </a:cubicBezTo>
                <a:cubicBezTo>
                  <a:pt x="1961183" y="2342496"/>
                  <a:pt x="1954531" y="2371987"/>
                  <a:pt x="1966021" y="2378884"/>
                </a:cubicBezTo>
                <a:cubicBezTo>
                  <a:pt x="1967231" y="2367231"/>
                  <a:pt x="1975092" y="2363663"/>
                  <a:pt x="1971464" y="2345350"/>
                </a:cubicBezTo>
                <a:cubicBezTo>
                  <a:pt x="1967382" y="2343923"/>
                  <a:pt x="1959217" y="2335807"/>
                  <a:pt x="1952584" y="2333544"/>
                </a:cubicBezTo>
                <a:close/>
                <a:moveTo>
                  <a:pt x="12569589" y="2319426"/>
                </a:moveTo>
                <a:cubicBezTo>
                  <a:pt x="12583498" y="2322280"/>
                  <a:pt x="12591964" y="2396722"/>
                  <a:pt x="12562332" y="2379599"/>
                </a:cubicBezTo>
                <a:cubicBezTo>
                  <a:pt x="12565961" y="2367231"/>
                  <a:pt x="12575032" y="2332031"/>
                  <a:pt x="12563542" y="2322756"/>
                </a:cubicBezTo>
                <a:cubicBezTo>
                  <a:pt x="12565356" y="2319902"/>
                  <a:pt x="12567775" y="2318950"/>
                  <a:pt x="12569589" y="2319426"/>
                </a:cubicBezTo>
                <a:close/>
                <a:moveTo>
                  <a:pt x="1635226" y="2286843"/>
                </a:moveTo>
                <a:cubicBezTo>
                  <a:pt x="1627971" y="2292076"/>
                  <a:pt x="1624946" y="2302064"/>
                  <a:pt x="1626760" y="2316096"/>
                </a:cubicBezTo>
                <a:cubicBezTo>
                  <a:pt x="1649741" y="2327988"/>
                  <a:pt x="1659416" y="2284940"/>
                  <a:pt x="1635226" y="2286843"/>
                </a:cubicBezTo>
                <a:close/>
                <a:moveTo>
                  <a:pt x="1470736" y="2274951"/>
                </a:moveTo>
                <a:cubicBezTo>
                  <a:pt x="1468317" y="2280897"/>
                  <a:pt x="1465899" y="2286367"/>
                  <a:pt x="1470131" y="2286843"/>
                </a:cubicBezTo>
                <a:cubicBezTo>
                  <a:pt x="1467713" y="2292789"/>
                  <a:pt x="1441710" y="2296593"/>
                  <a:pt x="1433243" y="2281611"/>
                </a:cubicBezTo>
                <a:cubicBezTo>
                  <a:pt x="1443523" y="2266152"/>
                  <a:pt x="1458037" y="2290172"/>
                  <a:pt x="1470736" y="2274951"/>
                </a:cubicBezTo>
                <a:close/>
                <a:moveTo>
                  <a:pt x="1001455" y="2246649"/>
                </a:moveTo>
                <a:cubicBezTo>
                  <a:pt x="1009922" y="2267102"/>
                  <a:pt x="984524" y="2250930"/>
                  <a:pt x="988756" y="2263298"/>
                </a:cubicBezTo>
                <a:cubicBezTo>
                  <a:pt x="997828" y="2273762"/>
                  <a:pt x="1030483" y="2288507"/>
                  <a:pt x="1025041" y="2252357"/>
                </a:cubicBezTo>
                <a:cubicBezTo>
                  <a:pt x="1015365" y="2253308"/>
                  <a:pt x="1005689" y="2250930"/>
                  <a:pt x="1001455" y="2246649"/>
                </a:cubicBezTo>
                <a:close/>
                <a:moveTo>
                  <a:pt x="12530886" y="2245936"/>
                </a:moveTo>
                <a:cubicBezTo>
                  <a:pt x="12538142" y="2248551"/>
                  <a:pt x="12535119" y="2261870"/>
                  <a:pt x="12536933" y="2269719"/>
                </a:cubicBezTo>
                <a:cubicBezTo>
                  <a:pt x="12523024" y="2268530"/>
                  <a:pt x="12513953" y="2269719"/>
                  <a:pt x="12510929" y="2281135"/>
                </a:cubicBezTo>
                <a:cubicBezTo>
                  <a:pt x="12499439" y="2274475"/>
                  <a:pt x="12504277" y="2264963"/>
                  <a:pt x="12507300" y="2251644"/>
                </a:cubicBezTo>
                <a:cubicBezTo>
                  <a:pt x="12515767" y="2264011"/>
                  <a:pt x="12525443" y="2264963"/>
                  <a:pt x="12530886" y="2245936"/>
                </a:cubicBezTo>
                <a:close/>
                <a:moveTo>
                  <a:pt x="1776737" y="2217633"/>
                </a:moveTo>
                <a:lnTo>
                  <a:pt x="1777946" y="2233806"/>
                </a:lnTo>
                <a:cubicBezTo>
                  <a:pt x="1805765" y="2249978"/>
                  <a:pt x="1805159" y="2216206"/>
                  <a:pt x="1776737" y="2217633"/>
                </a:cubicBezTo>
                <a:close/>
                <a:moveTo>
                  <a:pt x="1818464" y="2210022"/>
                </a:moveTo>
                <a:cubicBezTo>
                  <a:pt x="1805159" y="2211449"/>
                  <a:pt x="1809998" y="2247838"/>
                  <a:pt x="1820278" y="2247125"/>
                </a:cubicBezTo>
                <a:cubicBezTo>
                  <a:pt x="1828140" y="2237848"/>
                  <a:pt x="1812417" y="2222866"/>
                  <a:pt x="1824511" y="2211926"/>
                </a:cubicBezTo>
                <a:cubicBezTo>
                  <a:pt x="1822092" y="2210498"/>
                  <a:pt x="1820278" y="2210022"/>
                  <a:pt x="1818464" y="2210022"/>
                </a:cubicBezTo>
                <a:close/>
                <a:moveTo>
                  <a:pt x="1724729" y="2199082"/>
                </a:moveTo>
                <a:cubicBezTo>
                  <a:pt x="1719890" y="2204790"/>
                  <a:pt x="1705377" y="2205266"/>
                  <a:pt x="1693282" y="2200272"/>
                </a:cubicBezTo>
                <a:cubicBezTo>
                  <a:pt x="1669696" y="2235946"/>
                  <a:pt x="1641274" y="2233568"/>
                  <a:pt x="1622527" y="2269719"/>
                </a:cubicBezTo>
                <a:cubicBezTo>
                  <a:pt x="1633412" y="2280659"/>
                  <a:pt x="1658206" y="2267102"/>
                  <a:pt x="1663650" y="2251644"/>
                </a:cubicBezTo>
                <a:cubicBezTo>
                  <a:pt x="1678163" y="2256875"/>
                  <a:pt x="1694491" y="2260205"/>
                  <a:pt x="1705982" y="2269243"/>
                </a:cubicBezTo>
                <a:cubicBezTo>
                  <a:pt x="1705377" y="2237372"/>
                  <a:pt x="1743476" y="2250454"/>
                  <a:pt x="1761617" y="2226195"/>
                </a:cubicBezTo>
                <a:cubicBezTo>
                  <a:pt x="1758594" y="2235946"/>
                  <a:pt x="1767061" y="2254735"/>
                  <a:pt x="1772503" y="2241417"/>
                </a:cubicBezTo>
                <a:cubicBezTo>
                  <a:pt x="1768270" y="2234996"/>
                  <a:pt x="1771294" y="2228812"/>
                  <a:pt x="1767665" y="2210735"/>
                </a:cubicBezTo>
                <a:cubicBezTo>
                  <a:pt x="1745895" y="2214780"/>
                  <a:pt x="1704772" y="2252833"/>
                  <a:pt x="1687235" y="2221677"/>
                </a:cubicBezTo>
                <a:cubicBezTo>
                  <a:pt x="1704167" y="2223103"/>
                  <a:pt x="1731380" y="2207644"/>
                  <a:pt x="1724729" y="2199082"/>
                </a:cubicBezTo>
                <a:close/>
                <a:moveTo>
                  <a:pt x="553340" y="2189806"/>
                </a:moveTo>
                <a:cubicBezTo>
                  <a:pt x="566041" y="2183624"/>
                  <a:pt x="611397" y="2208596"/>
                  <a:pt x="627121" y="2208358"/>
                </a:cubicBezTo>
                <a:cubicBezTo>
                  <a:pt x="596278" y="2224054"/>
                  <a:pt x="580554" y="2218823"/>
                  <a:pt x="553340" y="2208358"/>
                </a:cubicBezTo>
                <a:cubicBezTo>
                  <a:pt x="548503" y="2197179"/>
                  <a:pt x="549108" y="2191947"/>
                  <a:pt x="553340" y="2189806"/>
                </a:cubicBezTo>
                <a:close/>
                <a:moveTo>
                  <a:pt x="1740452" y="2176488"/>
                </a:moveTo>
                <a:cubicBezTo>
                  <a:pt x="1739242" y="2192422"/>
                  <a:pt x="1747104" y="2186952"/>
                  <a:pt x="1738637" y="2200272"/>
                </a:cubicBezTo>
                <a:cubicBezTo>
                  <a:pt x="1759199" y="2184098"/>
                  <a:pt x="1800926" y="2207644"/>
                  <a:pt x="1823907" y="2181720"/>
                </a:cubicBezTo>
                <a:cubicBezTo>
                  <a:pt x="1813021" y="2162932"/>
                  <a:pt x="1755571" y="2201699"/>
                  <a:pt x="1740452" y="2176488"/>
                </a:cubicBezTo>
                <a:close/>
                <a:moveTo>
                  <a:pt x="1677558" y="2171256"/>
                </a:moveTo>
                <a:cubicBezTo>
                  <a:pt x="1692073" y="2182196"/>
                  <a:pt x="1660626" y="2198844"/>
                  <a:pt x="1656997" y="2186952"/>
                </a:cubicBezTo>
                <a:cubicBezTo>
                  <a:pt x="1656392" y="2161743"/>
                  <a:pt x="1672116" y="2182435"/>
                  <a:pt x="1677558" y="2171256"/>
                </a:cubicBezTo>
                <a:close/>
                <a:moveTo>
                  <a:pt x="1011736" y="2159839"/>
                </a:moveTo>
                <a:cubicBezTo>
                  <a:pt x="997828" y="2186478"/>
                  <a:pt x="994199" y="2164358"/>
                  <a:pt x="967590" y="2166262"/>
                </a:cubicBezTo>
                <a:cubicBezTo>
                  <a:pt x="971218" y="2186239"/>
                  <a:pt x="975452" y="2192660"/>
                  <a:pt x="962752" y="2205504"/>
                </a:cubicBezTo>
                <a:cubicBezTo>
                  <a:pt x="976056" y="2224530"/>
                  <a:pt x="1023226" y="2200747"/>
                  <a:pt x="1016574" y="2230001"/>
                </a:cubicBezTo>
                <a:cubicBezTo>
                  <a:pt x="1050440" y="2228812"/>
                  <a:pt x="1029879" y="2171493"/>
                  <a:pt x="1011736" y="2159839"/>
                </a:cubicBezTo>
                <a:close/>
                <a:moveTo>
                  <a:pt x="1869263" y="2158174"/>
                </a:moveTo>
                <a:cubicBezTo>
                  <a:pt x="1863819" y="2158413"/>
                  <a:pt x="1860192" y="2161267"/>
                  <a:pt x="1863215" y="2171256"/>
                </a:cubicBezTo>
                <a:cubicBezTo>
                  <a:pt x="1872286" y="2181959"/>
                  <a:pt x="1884986" y="2173159"/>
                  <a:pt x="1885590" y="2159363"/>
                </a:cubicBezTo>
                <a:cubicBezTo>
                  <a:pt x="1881962" y="2160078"/>
                  <a:pt x="1874705" y="2157700"/>
                  <a:pt x="1869263" y="2158174"/>
                </a:cubicBezTo>
                <a:close/>
                <a:moveTo>
                  <a:pt x="658566" y="2155559"/>
                </a:moveTo>
                <a:cubicBezTo>
                  <a:pt x="660381" y="2155083"/>
                  <a:pt x="659775" y="2156272"/>
                  <a:pt x="654333" y="2159839"/>
                </a:cubicBezTo>
                <a:cubicBezTo>
                  <a:pt x="644052" y="2169353"/>
                  <a:pt x="642843" y="2189332"/>
                  <a:pt x="625305" y="2189806"/>
                </a:cubicBezTo>
                <a:cubicBezTo>
                  <a:pt x="622887" y="2174348"/>
                  <a:pt x="651915" y="2156985"/>
                  <a:pt x="658566" y="2155559"/>
                </a:cubicBezTo>
                <a:close/>
                <a:moveTo>
                  <a:pt x="1513674" y="2139148"/>
                </a:moveTo>
                <a:cubicBezTo>
                  <a:pt x="1510649" y="2151040"/>
                  <a:pt x="1505812" y="2159363"/>
                  <a:pt x="1500369" y="2169115"/>
                </a:cubicBezTo>
                <a:cubicBezTo>
                  <a:pt x="1503998" y="2187667"/>
                  <a:pt x="1526373" y="2172921"/>
                  <a:pt x="1528188" y="2181245"/>
                </a:cubicBezTo>
                <a:cubicBezTo>
                  <a:pt x="1508835" y="2228574"/>
                  <a:pt x="1464085" y="2132726"/>
                  <a:pt x="1513674" y="2139148"/>
                </a:cubicBezTo>
                <a:close/>
                <a:moveTo>
                  <a:pt x="12554102" y="2136792"/>
                </a:moveTo>
                <a:cubicBezTo>
                  <a:pt x="12551976" y="2136338"/>
                  <a:pt x="12549935" y="2136354"/>
                  <a:pt x="12547818" y="2137245"/>
                </a:cubicBezTo>
                <a:cubicBezTo>
                  <a:pt x="12544795" y="2138434"/>
                  <a:pt x="12542376" y="2141527"/>
                  <a:pt x="12539351" y="2146521"/>
                </a:cubicBezTo>
                <a:cubicBezTo>
                  <a:pt x="12552656" y="2161743"/>
                  <a:pt x="12567170" y="2157224"/>
                  <a:pt x="12579869" y="2142478"/>
                </a:cubicBezTo>
                <a:cubicBezTo>
                  <a:pt x="12567623" y="2143727"/>
                  <a:pt x="12560481" y="2138153"/>
                  <a:pt x="12554102" y="2136792"/>
                </a:cubicBezTo>
                <a:close/>
                <a:moveTo>
                  <a:pt x="1946670" y="2131063"/>
                </a:moveTo>
                <a:cubicBezTo>
                  <a:pt x="1933970" y="2129159"/>
                  <a:pt x="1921875" y="2131776"/>
                  <a:pt x="1920060" y="2142478"/>
                </a:cubicBezTo>
                <a:cubicBezTo>
                  <a:pt x="1939412" y="2140099"/>
                  <a:pt x="1948483" y="2151040"/>
                  <a:pt x="1972674" y="2147235"/>
                </a:cubicBezTo>
                <a:cubicBezTo>
                  <a:pt x="1970254" y="2139148"/>
                  <a:pt x="1958764" y="2132726"/>
                  <a:pt x="1946670" y="2131063"/>
                </a:cubicBezTo>
                <a:close/>
                <a:moveTo>
                  <a:pt x="12480692" y="2124165"/>
                </a:moveTo>
                <a:cubicBezTo>
                  <a:pt x="12476458" y="2124165"/>
                  <a:pt x="12472830" y="2125353"/>
                  <a:pt x="12470411" y="2128683"/>
                </a:cubicBezTo>
                <a:cubicBezTo>
                  <a:pt x="12482506" y="2129635"/>
                  <a:pt x="12471621" y="2148424"/>
                  <a:pt x="12464968" y="2145808"/>
                </a:cubicBezTo>
                <a:cubicBezTo>
                  <a:pt x="12449245" y="2124640"/>
                  <a:pt x="12391794" y="2122262"/>
                  <a:pt x="12399051" y="2158650"/>
                </a:cubicBezTo>
                <a:cubicBezTo>
                  <a:pt x="12422031" y="2136769"/>
                  <a:pt x="12449850" y="2151040"/>
                  <a:pt x="12471016" y="2164596"/>
                </a:cubicBezTo>
                <a:cubicBezTo>
                  <a:pt x="12460735" y="2173634"/>
                  <a:pt x="12444407" y="2170066"/>
                  <a:pt x="12440779" y="2183624"/>
                </a:cubicBezTo>
                <a:cubicBezTo>
                  <a:pt x="12447431" y="2160315"/>
                  <a:pt x="12427475" y="2164596"/>
                  <a:pt x="12415380" y="2165547"/>
                </a:cubicBezTo>
                <a:cubicBezTo>
                  <a:pt x="12411751" y="2183148"/>
                  <a:pt x="12431707" y="2176964"/>
                  <a:pt x="12440779" y="2183624"/>
                </a:cubicBezTo>
                <a:cubicBezTo>
                  <a:pt x="12462549" y="2223103"/>
                  <a:pt x="12501858" y="2210974"/>
                  <a:pt x="12533305" y="2207883"/>
                </a:cubicBezTo>
                <a:cubicBezTo>
                  <a:pt x="12533305" y="2166262"/>
                  <a:pt x="12497624" y="2190520"/>
                  <a:pt x="12479483" y="2176964"/>
                </a:cubicBezTo>
                <a:cubicBezTo>
                  <a:pt x="12497624" y="2158888"/>
                  <a:pt x="12480692" y="2161743"/>
                  <a:pt x="12474644" y="2141527"/>
                </a:cubicBezTo>
                <a:cubicBezTo>
                  <a:pt x="12481901" y="2146045"/>
                  <a:pt x="12513953" y="2168164"/>
                  <a:pt x="12515767" y="2140575"/>
                </a:cubicBezTo>
                <a:cubicBezTo>
                  <a:pt x="12510929" y="2137245"/>
                  <a:pt x="12501858" y="2131063"/>
                  <a:pt x="12493391" y="2127494"/>
                </a:cubicBezTo>
                <a:cubicBezTo>
                  <a:pt x="12489159" y="2125592"/>
                  <a:pt x="12484320" y="2124403"/>
                  <a:pt x="12480692" y="2124165"/>
                </a:cubicBezTo>
                <a:close/>
                <a:moveTo>
                  <a:pt x="1677558" y="2119884"/>
                </a:moveTo>
                <a:cubicBezTo>
                  <a:pt x="1661836" y="2121073"/>
                  <a:pt x="1650951" y="2128446"/>
                  <a:pt x="1658206" y="2142002"/>
                </a:cubicBezTo>
                <a:cubicBezTo>
                  <a:pt x="1646112" y="2146758"/>
                  <a:pt x="1646716" y="2133202"/>
                  <a:pt x="1634622" y="2136295"/>
                </a:cubicBezTo>
                <a:cubicBezTo>
                  <a:pt x="1634017" y="2144143"/>
                  <a:pt x="1629179" y="2149613"/>
                  <a:pt x="1626155" y="2159363"/>
                </a:cubicBezTo>
                <a:cubicBezTo>
                  <a:pt x="1652160" y="2163645"/>
                  <a:pt x="1658206" y="2141764"/>
                  <a:pt x="1677558" y="2135343"/>
                </a:cubicBezTo>
                <a:cubicBezTo>
                  <a:pt x="1671511" y="2158650"/>
                  <a:pt x="1652160" y="2165072"/>
                  <a:pt x="1634622" y="2175537"/>
                </a:cubicBezTo>
                <a:cubicBezTo>
                  <a:pt x="1651555" y="2176964"/>
                  <a:pt x="1644902" y="2205979"/>
                  <a:pt x="1659416" y="2211211"/>
                </a:cubicBezTo>
                <a:cubicBezTo>
                  <a:pt x="1669696" y="2198130"/>
                  <a:pt x="1690862" y="2204077"/>
                  <a:pt x="1701749" y="2181245"/>
                </a:cubicBezTo>
                <a:cubicBezTo>
                  <a:pt x="1703563" y="2187428"/>
                  <a:pt x="1724729" y="2201223"/>
                  <a:pt x="1725333" y="2187428"/>
                </a:cubicBezTo>
                <a:cubicBezTo>
                  <a:pt x="1708400" y="2188141"/>
                  <a:pt x="1723520" y="2175537"/>
                  <a:pt x="1712634" y="2164596"/>
                </a:cubicBezTo>
                <a:cubicBezTo>
                  <a:pt x="1702958" y="2161743"/>
                  <a:pt x="1683001" y="2171969"/>
                  <a:pt x="1684211" y="2158174"/>
                </a:cubicBezTo>
                <a:cubicBezTo>
                  <a:pt x="1691468" y="2158650"/>
                  <a:pt x="1684815" y="2142002"/>
                  <a:pt x="1692073" y="2140575"/>
                </a:cubicBezTo>
                <a:cubicBezTo>
                  <a:pt x="1706586" y="2139861"/>
                  <a:pt x="1717472" y="2156985"/>
                  <a:pt x="1721100" y="2135343"/>
                </a:cubicBezTo>
                <a:cubicBezTo>
                  <a:pt x="1712030" y="2123690"/>
                  <a:pt x="1692677" y="2118695"/>
                  <a:pt x="1677558" y="2119884"/>
                </a:cubicBezTo>
                <a:close/>
                <a:moveTo>
                  <a:pt x="12809067" y="2110132"/>
                </a:moveTo>
                <a:cubicBezTo>
                  <a:pt x="12812696" y="2135106"/>
                  <a:pt x="12793344" y="2145569"/>
                  <a:pt x="12784878" y="2136769"/>
                </a:cubicBezTo>
                <a:cubicBezTo>
                  <a:pt x="12783668" y="2116316"/>
                  <a:pt x="12797577" y="2113224"/>
                  <a:pt x="12809067" y="2110132"/>
                </a:cubicBezTo>
                <a:close/>
                <a:moveTo>
                  <a:pt x="1736824" y="2108943"/>
                </a:moveTo>
                <a:cubicBezTo>
                  <a:pt x="1724729" y="2108943"/>
                  <a:pt x="1713239" y="2111321"/>
                  <a:pt x="1702958" y="2118219"/>
                </a:cubicBezTo>
                <a:cubicBezTo>
                  <a:pt x="1730171" y="2100857"/>
                  <a:pt x="1718076" y="2149375"/>
                  <a:pt x="1744685" y="2147710"/>
                </a:cubicBezTo>
                <a:cubicBezTo>
                  <a:pt x="1750733" y="2130348"/>
                  <a:pt x="1738033" y="2133202"/>
                  <a:pt x="1736219" y="2125116"/>
                </a:cubicBezTo>
                <a:cubicBezTo>
                  <a:pt x="1741056" y="2125353"/>
                  <a:pt x="1741056" y="2119645"/>
                  <a:pt x="1744081" y="2117743"/>
                </a:cubicBezTo>
                <a:cubicBezTo>
                  <a:pt x="1753757" y="2156272"/>
                  <a:pt x="1790041" y="2101809"/>
                  <a:pt x="1801531" y="2152466"/>
                </a:cubicBezTo>
                <a:cubicBezTo>
                  <a:pt x="1818464" y="2155796"/>
                  <a:pt x="1823907" y="2142002"/>
                  <a:pt x="1834187" y="2134867"/>
                </a:cubicBezTo>
                <a:cubicBezTo>
                  <a:pt x="1836001" y="2145094"/>
                  <a:pt x="1832977" y="2155083"/>
                  <a:pt x="1845072" y="2154132"/>
                </a:cubicBezTo>
                <a:cubicBezTo>
                  <a:pt x="1843258" y="2136295"/>
                  <a:pt x="1852934" y="2137245"/>
                  <a:pt x="1863819" y="2118219"/>
                </a:cubicBezTo>
                <a:cubicBezTo>
                  <a:pt x="1858982" y="2117981"/>
                  <a:pt x="1854143" y="2118932"/>
                  <a:pt x="1854748" y="2112986"/>
                </a:cubicBezTo>
                <a:cubicBezTo>
                  <a:pt x="1814230" y="2130348"/>
                  <a:pt x="1773108" y="2108943"/>
                  <a:pt x="1736824" y="2108943"/>
                </a:cubicBezTo>
                <a:close/>
                <a:moveTo>
                  <a:pt x="2515734" y="2106089"/>
                </a:moveTo>
                <a:cubicBezTo>
                  <a:pt x="2519361" y="2124165"/>
                  <a:pt x="2500614" y="2114651"/>
                  <a:pt x="2506662" y="2134867"/>
                </a:cubicBezTo>
                <a:cubicBezTo>
                  <a:pt x="2520571" y="2142002"/>
                  <a:pt x="2527223" y="2111084"/>
                  <a:pt x="2515734" y="2106089"/>
                </a:cubicBezTo>
                <a:close/>
                <a:moveTo>
                  <a:pt x="1437476" y="2106089"/>
                </a:moveTo>
                <a:cubicBezTo>
                  <a:pt x="1444128" y="2114651"/>
                  <a:pt x="1458641" y="2109895"/>
                  <a:pt x="1465294" y="2116554"/>
                </a:cubicBezTo>
                <a:cubicBezTo>
                  <a:pt x="1461666" y="2136056"/>
                  <a:pt x="1448361" y="2124640"/>
                  <a:pt x="1436871" y="2121549"/>
                </a:cubicBezTo>
                <a:cubicBezTo>
                  <a:pt x="1438080" y="2135580"/>
                  <a:pt x="1445337" y="2140575"/>
                  <a:pt x="1441710" y="2158174"/>
                </a:cubicBezTo>
                <a:cubicBezTo>
                  <a:pt x="1424776" y="2166498"/>
                  <a:pt x="1440499" y="2132250"/>
                  <a:pt x="1423567" y="2140575"/>
                </a:cubicBezTo>
                <a:cubicBezTo>
                  <a:pt x="1420543" y="2118695"/>
                  <a:pt x="1443523" y="2130348"/>
                  <a:pt x="1437476" y="2106089"/>
                </a:cubicBezTo>
                <a:close/>
                <a:moveTo>
                  <a:pt x="2544155" y="2100857"/>
                </a:moveTo>
                <a:cubicBezTo>
                  <a:pt x="2529642" y="2101570"/>
                  <a:pt x="2527223" y="2117030"/>
                  <a:pt x="2526014" y="2136769"/>
                </a:cubicBezTo>
                <a:cubicBezTo>
                  <a:pt x="2548994" y="2148662"/>
                  <a:pt x="2570160" y="2120597"/>
                  <a:pt x="2590722" y="2130348"/>
                </a:cubicBezTo>
                <a:cubicBezTo>
                  <a:pt x="2593744" y="2118695"/>
                  <a:pt x="2587092" y="2118457"/>
                  <a:pt x="2587698" y="2106565"/>
                </a:cubicBezTo>
                <a:cubicBezTo>
                  <a:pt x="2551413" y="2109419"/>
                  <a:pt x="2560484" y="2122025"/>
                  <a:pt x="2529038" y="2119408"/>
                </a:cubicBezTo>
                <a:cubicBezTo>
                  <a:pt x="2541132" y="2120358"/>
                  <a:pt x="2545970" y="2114889"/>
                  <a:pt x="2544155" y="2100857"/>
                </a:cubicBezTo>
                <a:close/>
                <a:moveTo>
                  <a:pt x="1419937" y="2098003"/>
                </a:moveTo>
                <a:cubicBezTo>
                  <a:pt x="1422357" y="2098716"/>
                  <a:pt x="1425381" y="2101096"/>
                  <a:pt x="1428405" y="2106089"/>
                </a:cubicBezTo>
                <a:cubicBezTo>
                  <a:pt x="1428405" y="2111797"/>
                  <a:pt x="1423567" y="2109419"/>
                  <a:pt x="1423567" y="2105613"/>
                </a:cubicBezTo>
                <a:cubicBezTo>
                  <a:pt x="1404215" y="2102046"/>
                  <a:pt x="1424171" y="2141764"/>
                  <a:pt x="1399377" y="2133915"/>
                </a:cubicBezTo>
                <a:cubicBezTo>
                  <a:pt x="1403006" y="2117030"/>
                  <a:pt x="1403006" y="2117268"/>
                  <a:pt x="1399377" y="2099905"/>
                </a:cubicBezTo>
                <a:cubicBezTo>
                  <a:pt x="1409658" y="2107754"/>
                  <a:pt x="1413286" y="2095863"/>
                  <a:pt x="1419937" y="2098003"/>
                </a:cubicBezTo>
                <a:close/>
                <a:moveTo>
                  <a:pt x="12838095" y="2095863"/>
                </a:moveTo>
                <a:cubicBezTo>
                  <a:pt x="12839909" y="2096101"/>
                  <a:pt x="12841723" y="2097290"/>
                  <a:pt x="12844143" y="2100381"/>
                </a:cubicBezTo>
                <a:cubicBezTo>
                  <a:pt x="12833862" y="2105139"/>
                  <a:pt x="12830838" y="2117981"/>
                  <a:pt x="12813906" y="2116554"/>
                </a:cubicBezTo>
                <a:lnTo>
                  <a:pt x="12814510" y="2099905"/>
                </a:lnTo>
                <a:cubicBezTo>
                  <a:pt x="12822977" y="2102522"/>
                  <a:pt x="12827814" y="2099429"/>
                  <a:pt x="12832047" y="2097527"/>
                </a:cubicBezTo>
                <a:cubicBezTo>
                  <a:pt x="12834467" y="2096338"/>
                  <a:pt x="12836281" y="2095625"/>
                  <a:pt x="12838095" y="2095863"/>
                </a:cubicBezTo>
                <a:close/>
                <a:moveTo>
                  <a:pt x="1877728" y="2077787"/>
                </a:moveTo>
                <a:cubicBezTo>
                  <a:pt x="1871681" y="2102998"/>
                  <a:pt x="1906151" y="2131537"/>
                  <a:pt x="1910989" y="2096101"/>
                </a:cubicBezTo>
                <a:cubicBezTo>
                  <a:pt x="1888613" y="2100142"/>
                  <a:pt x="1887405" y="2082543"/>
                  <a:pt x="1877728" y="2077787"/>
                </a:cubicBezTo>
                <a:close/>
                <a:moveTo>
                  <a:pt x="1844467" y="2069701"/>
                </a:moveTo>
                <a:cubicBezTo>
                  <a:pt x="1832977" y="2072318"/>
                  <a:pt x="1820278" y="2081354"/>
                  <a:pt x="1814835" y="2089917"/>
                </a:cubicBezTo>
                <a:cubicBezTo>
                  <a:pt x="1841444" y="2090155"/>
                  <a:pt x="1846886" y="2081116"/>
                  <a:pt x="1868052" y="2088966"/>
                </a:cubicBezTo>
                <a:cubicBezTo>
                  <a:pt x="1866843" y="2070890"/>
                  <a:pt x="1855957" y="2066847"/>
                  <a:pt x="1844467" y="2069701"/>
                </a:cubicBezTo>
                <a:close/>
                <a:moveTo>
                  <a:pt x="1348579" y="2068036"/>
                </a:moveTo>
                <a:cubicBezTo>
                  <a:pt x="1338298" y="2078026"/>
                  <a:pt x="1332855" y="2093008"/>
                  <a:pt x="1329227" y="2108943"/>
                </a:cubicBezTo>
                <a:cubicBezTo>
                  <a:pt x="1319551" y="2102759"/>
                  <a:pt x="1312898" y="2095387"/>
                  <a:pt x="1295361" y="2099192"/>
                </a:cubicBezTo>
                <a:cubicBezTo>
                  <a:pt x="1312898" y="2090155"/>
                  <a:pt x="1330436" y="2088013"/>
                  <a:pt x="1348579" y="2068036"/>
                </a:cubicBezTo>
                <a:close/>
                <a:moveTo>
                  <a:pt x="12394213" y="2055906"/>
                </a:moveTo>
                <a:cubicBezTo>
                  <a:pt x="12387561" y="2054241"/>
                  <a:pt x="12380909" y="2058284"/>
                  <a:pt x="12380304" y="2068036"/>
                </a:cubicBezTo>
                <a:cubicBezTo>
                  <a:pt x="12387561" y="2072555"/>
                  <a:pt x="12394213" y="2074694"/>
                  <a:pt x="12406309" y="2073744"/>
                </a:cubicBezTo>
                <a:cubicBezTo>
                  <a:pt x="12406913" y="2063993"/>
                  <a:pt x="12400261" y="2057334"/>
                  <a:pt x="12394213" y="2055906"/>
                </a:cubicBezTo>
                <a:close/>
                <a:moveTo>
                  <a:pt x="1915827" y="2054479"/>
                </a:moveTo>
                <a:cubicBezTo>
                  <a:pt x="1907361" y="2067797"/>
                  <a:pt x="1928527" y="2079689"/>
                  <a:pt x="1915827" y="2100381"/>
                </a:cubicBezTo>
                <a:cubicBezTo>
                  <a:pt x="1932156" y="2109656"/>
                  <a:pt x="1962393" y="2118695"/>
                  <a:pt x="1980535" y="2090392"/>
                </a:cubicBezTo>
                <a:cubicBezTo>
                  <a:pt x="1964207" y="2081116"/>
                  <a:pt x="1953322" y="2107993"/>
                  <a:pt x="1949088" y="2095625"/>
                </a:cubicBezTo>
                <a:cubicBezTo>
                  <a:pt x="1947274" y="2087538"/>
                  <a:pt x="1956950" y="2090155"/>
                  <a:pt x="1957555" y="2084208"/>
                </a:cubicBezTo>
                <a:cubicBezTo>
                  <a:pt x="1942436" y="2088966"/>
                  <a:pt x="1943041" y="2075172"/>
                  <a:pt x="1933365" y="2072555"/>
                </a:cubicBezTo>
                <a:cubicBezTo>
                  <a:pt x="1932761" y="2082306"/>
                  <a:pt x="1940017" y="2086824"/>
                  <a:pt x="1935180" y="2090392"/>
                </a:cubicBezTo>
                <a:lnTo>
                  <a:pt x="1925503" y="2089441"/>
                </a:lnTo>
                <a:cubicBezTo>
                  <a:pt x="1926108" y="2073505"/>
                  <a:pt x="1922480" y="2058999"/>
                  <a:pt x="1915827" y="2054479"/>
                </a:cubicBezTo>
                <a:close/>
                <a:moveTo>
                  <a:pt x="3094472" y="2043064"/>
                </a:moveTo>
                <a:cubicBezTo>
                  <a:pt x="3088425" y="2045442"/>
                  <a:pt x="3087819" y="2056145"/>
                  <a:pt x="3089030" y="2068036"/>
                </a:cubicBezTo>
                <a:cubicBezTo>
                  <a:pt x="3101125" y="2068988"/>
                  <a:pt x="3101729" y="2055430"/>
                  <a:pt x="3102334" y="2043540"/>
                </a:cubicBezTo>
                <a:cubicBezTo>
                  <a:pt x="3098706" y="2042349"/>
                  <a:pt x="3096286" y="2042349"/>
                  <a:pt x="3094472" y="2043064"/>
                </a:cubicBezTo>
                <a:close/>
                <a:moveTo>
                  <a:pt x="1635831" y="2040685"/>
                </a:moveTo>
                <a:cubicBezTo>
                  <a:pt x="1632203" y="2040923"/>
                  <a:pt x="1627971" y="2041873"/>
                  <a:pt x="1623736" y="2043540"/>
                </a:cubicBezTo>
                <a:cubicBezTo>
                  <a:pt x="1615270" y="2047107"/>
                  <a:pt x="1607408" y="2053052"/>
                  <a:pt x="1603176" y="2059712"/>
                </a:cubicBezTo>
                <a:cubicBezTo>
                  <a:pt x="1623132" y="2053528"/>
                  <a:pt x="1635831" y="2074694"/>
                  <a:pt x="1644902" y="2043540"/>
                </a:cubicBezTo>
                <a:cubicBezTo>
                  <a:pt x="1642484" y="2041399"/>
                  <a:pt x="1639461" y="2040685"/>
                  <a:pt x="1635831" y="2040685"/>
                </a:cubicBezTo>
                <a:close/>
                <a:moveTo>
                  <a:pt x="536409" y="2039734"/>
                </a:moveTo>
                <a:cubicBezTo>
                  <a:pt x="547898" y="2037831"/>
                  <a:pt x="576322" y="2054479"/>
                  <a:pt x="576322" y="2060425"/>
                </a:cubicBezTo>
                <a:cubicBezTo>
                  <a:pt x="559993" y="2063279"/>
                  <a:pt x="541246" y="2036642"/>
                  <a:pt x="531570" y="2048296"/>
                </a:cubicBezTo>
                <a:cubicBezTo>
                  <a:pt x="530360" y="2042588"/>
                  <a:pt x="532174" y="2040210"/>
                  <a:pt x="536409" y="2039734"/>
                </a:cubicBezTo>
                <a:close/>
                <a:moveTo>
                  <a:pt x="3018879" y="2038307"/>
                </a:moveTo>
                <a:cubicBezTo>
                  <a:pt x="3019484" y="2078026"/>
                  <a:pt x="3041859" y="2054479"/>
                  <a:pt x="3050326" y="2078976"/>
                </a:cubicBezTo>
                <a:cubicBezTo>
                  <a:pt x="3056979" y="2045918"/>
                  <a:pt x="3032788" y="2049485"/>
                  <a:pt x="3018879" y="2038307"/>
                </a:cubicBezTo>
                <a:close/>
                <a:moveTo>
                  <a:pt x="1597127" y="2037356"/>
                </a:moveTo>
                <a:cubicBezTo>
                  <a:pt x="1588662" y="2060425"/>
                  <a:pt x="1574148" y="2019518"/>
                  <a:pt x="1565076" y="2054479"/>
                </a:cubicBezTo>
                <a:cubicBezTo>
                  <a:pt x="1574148" y="2057334"/>
                  <a:pt x="1580195" y="2038069"/>
                  <a:pt x="1578986" y="2059712"/>
                </a:cubicBezTo>
                <a:cubicBezTo>
                  <a:pt x="1591080" y="2060663"/>
                  <a:pt x="1606803" y="2040210"/>
                  <a:pt x="1597127" y="2037356"/>
                </a:cubicBezTo>
                <a:close/>
                <a:moveTo>
                  <a:pt x="1514883" y="2036166"/>
                </a:moveTo>
                <a:cubicBezTo>
                  <a:pt x="1509440" y="2035452"/>
                  <a:pt x="1503394" y="2035691"/>
                  <a:pt x="1498555" y="2036880"/>
                </a:cubicBezTo>
                <a:cubicBezTo>
                  <a:pt x="1492507" y="2038307"/>
                  <a:pt x="1487065" y="2041636"/>
                  <a:pt x="1483436" y="2047820"/>
                </a:cubicBezTo>
                <a:cubicBezTo>
                  <a:pt x="1517302" y="2044729"/>
                  <a:pt x="1543910" y="2082543"/>
                  <a:pt x="1560239" y="2048296"/>
                </a:cubicBezTo>
                <a:cubicBezTo>
                  <a:pt x="1551168" y="2045205"/>
                  <a:pt x="1532420" y="2037831"/>
                  <a:pt x="1514883" y="2036166"/>
                </a:cubicBezTo>
                <a:close/>
                <a:moveTo>
                  <a:pt x="2532060" y="2034501"/>
                </a:moveTo>
                <a:cubicBezTo>
                  <a:pt x="2539922" y="2031647"/>
                  <a:pt x="2551413" y="2044253"/>
                  <a:pt x="2555040" y="2047820"/>
                </a:cubicBezTo>
                <a:cubicBezTo>
                  <a:pt x="2551413" y="2060425"/>
                  <a:pt x="2544760" y="2053291"/>
                  <a:pt x="2545365" y="2042588"/>
                </a:cubicBezTo>
                <a:cubicBezTo>
                  <a:pt x="2540528" y="2044253"/>
                  <a:pt x="2535084" y="2048057"/>
                  <a:pt x="2535084" y="2054479"/>
                </a:cubicBezTo>
                <a:cubicBezTo>
                  <a:pt x="2530247" y="2054004"/>
                  <a:pt x="2530247" y="2041399"/>
                  <a:pt x="2525408" y="2043064"/>
                </a:cubicBezTo>
                <a:cubicBezTo>
                  <a:pt x="2527223" y="2037831"/>
                  <a:pt x="2529038" y="2035452"/>
                  <a:pt x="2532060" y="2034501"/>
                </a:cubicBezTo>
                <a:close/>
                <a:moveTo>
                  <a:pt x="2985619" y="2031647"/>
                </a:moveTo>
                <a:lnTo>
                  <a:pt x="2984410" y="2055430"/>
                </a:lnTo>
                <a:cubicBezTo>
                  <a:pt x="3001341" y="2054717"/>
                  <a:pt x="3011623" y="2047820"/>
                  <a:pt x="3014647" y="2032123"/>
                </a:cubicBezTo>
                <a:close/>
                <a:moveTo>
                  <a:pt x="1360069" y="2019518"/>
                </a:moveTo>
                <a:cubicBezTo>
                  <a:pt x="1360069" y="2027367"/>
                  <a:pt x="1354626" y="2030458"/>
                  <a:pt x="1356440" y="2042588"/>
                </a:cubicBezTo>
                <a:cubicBezTo>
                  <a:pt x="1377606" y="2046394"/>
                  <a:pt x="1380630" y="2038783"/>
                  <a:pt x="1384258" y="2066847"/>
                </a:cubicBezTo>
                <a:cubicBezTo>
                  <a:pt x="1398771" y="2058047"/>
                  <a:pt x="1403006" y="2072793"/>
                  <a:pt x="1408447" y="2055430"/>
                </a:cubicBezTo>
                <a:cubicBezTo>
                  <a:pt x="1393329" y="2032123"/>
                  <a:pt x="1395143" y="2039972"/>
                  <a:pt x="1408447" y="2025226"/>
                </a:cubicBezTo>
                <a:cubicBezTo>
                  <a:pt x="1381839" y="2024989"/>
                  <a:pt x="1378816" y="2030934"/>
                  <a:pt x="1360069" y="2019518"/>
                </a:cubicBezTo>
                <a:close/>
                <a:moveTo>
                  <a:pt x="2321005" y="2010005"/>
                </a:moveTo>
                <a:cubicBezTo>
                  <a:pt x="2329472" y="2016664"/>
                  <a:pt x="2335519" y="2028317"/>
                  <a:pt x="2339148" y="2044253"/>
                </a:cubicBezTo>
                <a:cubicBezTo>
                  <a:pt x="2330077" y="2047107"/>
                  <a:pt x="2330077" y="2012621"/>
                  <a:pt x="2321610" y="2033312"/>
                </a:cubicBezTo>
                <a:cubicBezTo>
                  <a:pt x="2310120" y="2032123"/>
                  <a:pt x="2320401" y="2013810"/>
                  <a:pt x="2321005" y="2010005"/>
                </a:cubicBezTo>
                <a:close/>
                <a:moveTo>
                  <a:pt x="2874345" y="2008578"/>
                </a:moveTo>
                <a:cubicBezTo>
                  <a:pt x="2875555" y="2025226"/>
                  <a:pt x="2863460" y="2025702"/>
                  <a:pt x="2850761" y="2024513"/>
                </a:cubicBezTo>
                <a:cubicBezTo>
                  <a:pt x="2847132" y="2007627"/>
                  <a:pt x="2866483" y="2013334"/>
                  <a:pt x="2874345" y="2008578"/>
                </a:cubicBezTo>
                <a:close/>
                <a:moveTo>
                  <a:pt x="2732835" y="2008578"/>
                </a:moveTo>
                <a:cubicBezTo>
                  <a:pt x="2734045" y="2007864"/>
                  <a:pt x="2735860" y="2008102"/>
                  <a:pt x="2737674" y="2009053"/>
                </a:cubicBezTo>
                <a:cubicBezTo>
                  <a:pt x="2726788" y="2026415"/>
                  <a:pt x="2740697" y="2047820"/>
                  <a:pt x="2756421" y="2032599"/>
                </a:cubicBezTo>
                <a:cubicBezTo>
                  <a:pt x="2755816" y="2040923"/>
                  <a:pt x="2755212" y="2049009"/>
                  <a:pt x="2762468" y="2051626"/>
                </a:cubicBezTo>
                <a:cubicBezTo>
                  <a:pt x="2756421" y="2071603"/>
                  <a:pt x="2737069" y="2029031"/>
                  <a:pt x="2733441" y="2051150"/>
                </a:cubicBezTo>
                <a:cubicBezTo>
                  <a:pt x="2726788" y="2048770"/>
                  <a:pt x="2722556" y="2012383"/>
                  <a:pt x="2732835" y="2008578"/>
                </a:cubicBezTo>
                <a:close/>
                <a:moveTo>
                  <a:pt x="12207348" y="2005723"/>
                </a:moveTo>
                <a:cubicBezTo>
                  <a:pt x="12200091" y="2004773"/>
                  <a:pt x="12192834" y="2009291"/>
                  <a:pt x="12193438" y="2018329"/>
                </a:cubicBezTo>
                <a:cubicBezTo>
                  <a:pt x="12205533" y="2013572"/>
                  <a:pt x="12204928" y="2027128"/>
                  <a:pt x="12217023" y="2024037"/>
                </a:cubicBezTo>
                <a:cubicBezTo>
                  <a:pt x="12220048" y="2012383"/>
                  <a:pt x="12214000" y="2006437"/>
                  <a:pt x="12207348" y="2005723"/>
                </a:cubicBezTo>
                <a:close/>
                <a:moveTo>
                  <a:pt x="1404820" y="2001443"/>
                </a:moveTo>
                <a:cubicBezTo>
                  <a:pt x="1398167" y="2030697"/>
                  <a:pt x="1430824" y="2007388"/>
                  <a:pt x="1427195" y="2030934"/>
                </a:cubicBezTo>
                <a:cubicBezTo>
                  <a:pt x="1420543" y="2022372"/>
                  <a:pt x="1408447" y="2023324"/>
                  <a:pt x="1414496" y="2043540"/>
                </a:cubicBezTo>
                <a:cubicBezTo>
                  <a:pt x="1431428" y="2035215"/>
                  <a:pt x="1438080" y="2045680"/>
                  <a:pt x="1450781" y="2036880"/>
                </a:cubicBezTo>
                <a:cubicBezTo>
                  <a:pt x="1455014" y="2045205"/>
                  <a:pt x="1456827" y="2058999"/>
                  <a:pt x="1465899" y="2059712"/>
                </a:cubicBezTo>
                <a:cubicBezTo>
                  <a:pt x="1479203" y="2039020"/>
                  <a:pt x="1445942" y="2032361"/>
                  <a:pt x="1432033" y="2025226"/>
                </a:cubicBezTo>
                <a:cubicBezTo>
                  <a:pt x="1432638" y="2017140"/>
                  <a:pt x="1439894" y="2019994"/>
                  <a:pt x="1442314" y="2014286"/>
                </a:cubicBezTo>
                <a:cubicBezTo>
                  <a:pt x="1427800" y="2013097"/>
                  <a:pt x="1421752" y="2000967"/>
                  <a:pt x="1404820" y="2001443"/>
                </a:cubicBezTo>
                <a:close/>
                <a:moveTo>
                  <a:pt x="2823547" y="1998113"/>
                </a:moveTo>
                <a:cubicBezTo>
                  <a:pt x="2834432" y="2002631"/>
                  <a:pt x="2838666" y="2026654"/>
                  <a:pt x="2829594" y="2034976"/>
                </a:cubicBezTo>
                <a:cubicBezTo>
                  <a:pt x="2824152" y="2030934"/>
                  <a:pt x="2819314" y="2029031"/>
                  <a:pt x="2818709" y="2034501"/>
                </a:cubicBezTo>
                <a:cubicBezTo>
                  <a:pt x="2816290" y="2030697"/>
                  <a:pt x="2822942" y="2007151"/>
                  <a:pt x="2823547" y="1998113"/>
                </a:cubicBezTo>
                <a:close/>
                <a:moveTo>
                  <a:pt x="1375792" y="1996687"/>
                </a:moveTo>
                <a:cubicBezTo>
                  <a:pt x="1375187" y="2004773"/>
                  <a:pt x="1372768" y="2008578"/>
                  <a:pt x="1370349" y="2014286"/>
                </a:cubicBezTo>
                <a:cubicBezTo>
                  <a:pt x="1382444" y="2013334"/>
                  <a:pt x="1394539" y="2012621"/>
                  <a:pt x="1398771" y="2018805"/>
                </a:cubicBezTo>
                <a:cubicBezTo>
                  <a:pt x="1402401" y="1999302"/>
                  <a:pt x="1390306" y="1994070"/>
                  <a:pt x="1375792" y="1996687"/>
                </a:cubicBezTo>
                <a:close/>
                <a:moveTo>
                  <a:pt x="2951752" y="1996209"/>
                </a:moveTo>
                <a:cubicBezTo>
                  <a:pt x="2959614" y="2003345"/>
                  <a:pt x="2974733" y="1995972"/>
                  <a:pt x="2973524" y="2015236"/>
                </a:cubicBezTo>
                <a:cubicBezTo>
                  <a:pt x="2961429" y="2016425"/>
                  <a:pt x="2950543" y="2017616"/>
                  <a:pt x="2951752" y="1996209"/>
                </a:cubicBezTo>
                <a:close/>
                <a:moveTo>
                  <a:pt x="2238760" y="1994070"/>
                </a:moveTo>
                <a:cubicBezTo>
                  <a:pt x="2239970" y="1992644"/>
                  <a:pt x="2241179" y="1993118"/>
                  <a:pt x="2242389" y="1995259"/>
                </a:cubicBezTo>
                <a:cubicBezTo>
                  <a:pt x="2244808" y="1999302"/>
                  <a:pt x="2247832" y="2008815"/>
                  <a:pt x="2251460" y="2018329"/>
                </a:cubicBezTo>
                <a:cubicBezTo>
                  <a:pt x="2239970" y="2021420"/>
                  <a:pt x="2241179" y="2007151"/>
                  <a:pt x="2229689" y="2012383"/>
                </a:cubicBezTo>
                <a:cubicBezTo>
                  <a:pt x="2230294" y="2006199"/>
                  <a:pt x="2232108" y="2006437"/>
                  <a:pt x="2234527" y="2006675"/>
                </a:cubicBezTo>
                <a:cubicBezTo>
                  <a:pt x="2235737" y="1999541"/>
                  <a:pt x="2237551" y="1995734"/>
                  <a:pt x="2238760" y="1994070"/>
                </a:cubicBezTo>
                <a:close/>
                <a:moveTo>
                  <a:pt x="2299840" y="1987886"/>
                </a:moveTo>
                <a:cubicBezTo>
                  <a:pt x="2307096" y="1988838"/>
                  <a:pt x="2310725" y="1994783"/>
                  <a:pt x="2319797" y="1993833"/>
                </a:cubicBezTo>
                <a:cubicBezTo>
                  <a:pt x="2319191" y="2002631"/>
                  <a:pt x="2311934" y="2000015"/>
                  <a:pt x="2304677" y="2001443"/>
                </a:cubicBezTo>
                <a:cubicBezTo>
                  <a:pt x="2299840" y="2000967"/>
                  <a:pt x="2302258" y="2011908"/>
                  <a:pt x="2301654" y="2020470"/>
                </a:cubicBezTo>
                <a:cubicBezTo>
                  <a:pt x="2288954" y="2019518"/>
                  <a:pt x="2289559" y="2004297"/>
                  <a:pt x="2290768" y="1989312"/>
                </a:cubicBezTo>
                <a:cubicBezTo>
                  <a:pt x="2294396" y="1987886"/>
                  <a:pt x="2297421" y="1987649"/>
                  <a:pt x="2299840" y="1987886"/>
                </a:cubicBezTo>
                <a:close/>
                <a:moveTo>
                  <a:pt x="2374223" y="1987649"/>
                </a:moveTo>
                <a:cubicBezTo>
                  <a:pt x="2383899" y="1988599"/>
                  <a:pt x="2393575" y="2004534"/>
                  <a:pt x="2392971" y="2015949"/>
                </a:cubicBezTo>
                <a:cubicBezTo>
                  <a:pt x="2380875" y="2011194"/>
                  <a:pt x="2374223" y="1999065"/>
                  <a:pt x="2364547" y="1992405"/>
                </a:cubicBezTo>
                <a:cubicBezTo>
                  <a:pt x="2366966" y="1988838"/>
                  <a:pt x="2370595" y="1987410"/>
                  <a:pt x="2374223" y="1987649"/>
                </a:cubicBezTo>
                <a:close/>
                <a:moveTo>
                  <a:pt x="1854143" y="1986935"/>
                </a:moveTo>
                <a:cubicBezTo>
                  <a:pt x="1857167" y="1985746"/>
                  <a:pt x="1861401" y="1985746"/>
                  <a:pt x="1866843" y="1987173"/>
                </a:cubicBezTo>
                <a:cubicBezTo>
                  <a:pt x="1863819" y="1995972"/>
                  <a:pt x="1863215" y="2008339"/>
                  <a:pt x="1856562" y="2013097"/>
                </a:cubicBezTo>
                <a:cubicBezTo>
                  <a:pt x="1851120" y="2000015"/>
                  <a:pt x="1846282" y="2005248"/>
                  <a:pt x="1836001" y="2007864"/>
                </a:cubicBezTo>
                <a:cubicBezTo>
                  <a:pt x="1842653" y="2001680"/>
                  <a:pt x="1845072" y="1990027"/>
                  <a:pt x="1854143" y="1986935"/>
                </a:cubicBezTo>
                <a:close/>
                <a:moveTo>
                  <a:pt x="2994084" y="1985746"/>
                </a:moveTo>
                <a:cubicBezTo>
                  <a:pt x="3004971" y="1989312"/>
                  <a:pt x="3011623" y="2012859"/>
                  <a:pt x="3033393" y="2003345"/>
                </a:cubicBezTo>
                <a:cubicBezTo>
                  <a:pt x="3019484" y="2032836"/>
                  <a:pt x="3000737" y="1991216"/>
                  <a:pt x="2981989" y="1991692"/>
                </a:cubicBezTo>
                <a:cubicBezTo>
                  <a:pt x="2986829" y="1986221"/>
                  <a:pt x="2991061" y="1984795"/>
                  <a:pt x="2994084" y="1985746"/>
                </a:cubicBezTo>
                <a:close/>
                <a:moveTo>
                  <a:pt x="2788472" y="1982415"/>
                </a:moveTo>
                <a:cubicBezTo>
                  <a:pt x="2789682" y="1996923"/>
                  <a:pt x="2781215" y="1996448"/>
                  <a:pt x="2784238" y="2013097"/>
                </a:cubicBezTo>
                <a:cubicBezTo>
                  <a:pt x="2780610" y="2010718"/>
                  <a:pt x="2775773" y="2006199"/>
                  <a:pt x="2771539" y="2007864"/>
                </a:cubicBezTo>
                <a:cubicBezTo>
                  <a:pt x="2776378" y="2000254"/>
                  <a:pt x="2775773" y="1981465"/>
                  <a:pt x="2788472" y="1982415"/>
                </a:cubicBezTo>
                <a:close/>
                <a:moveTo>
                  <a:pt x="1432033" y="1980038"/>
                </a:moveTo>
                <a:cubicBezTo>
                  <a:pt x="1427800" y="1979800"/>
                  <a:pt x="1424776" y="1985270"/>
                  <a:pt x="1421752" y="1990979"/>
                </a:cubicBezTo>
                <a:cubicBezTo>
                  <a:pt x="1458037" y="1988124"/>
                  <a:pt x="1439894" y="2015949"/>
                  <a:pt x="1461060" y="2025702"/>
                </a:cubicBezTo>
                <a:cubicBezTo>
                  <a:pt x="1461666" y="2015712"/>
                  <a:pt x="1473155" y="2022847"/>
                  <a:pt x="1476180" y="2013097"/>
                </a:cubicBezTo>
                <a:cubicBezTo>
                  <a:pt x="1449570" y="2014762"/>
                  <a:pt x="1456222" y="1980275"/>
                  <a:pt x="1432033" y="1980038"/>
                </a:cubicBezTo>
                <a:close/>
                <a:moveTo>
                  <a:pt x="532174" y="1978373"/>
                </a:moveTo>
                <a:cubicBezTo>
                  <a:pt x="538223" y="1978610"/>
                  <a:pt x="545478" y="1979800"/>
                  <a:pt x="550317" y="1978373"/>
                </a:cubicBezTo>
                <a:cubicBezTo>
                  <a:pt x="553340" y="2006437"/>
                  <a:pt x="536409" y="1971237"/>
                  <a:pt x="535199" y="1990979"/>
                </a:cubicBezTo>
                <a:cubicBezTo>
                  <a:pt x="555156" y="2012621"/>
                  <a:pt x="586603" y="1965768"/>
                  <a:pt x="601721" y="1996687"/>
                </a:cubicBezTo>
                <a:cubicBezTo>
                  <a:pt x="580554" y="1989075"/>
                  <a:pt x="537618" y="2029031"/>
                  <a:pt x="520684" y="1985746"/>
                </a:cubicBezTo>
                <a:cubicBezTo>
                  <a:pt x="521289" y="1978849"/>
                  <a:pt x="526128" y="1978135"/>
                  <a:pt x="532174" y="1978373"/>
                </a:cubicBezTo>
                <a:close/>
                <a:moveTo>
                  <a:pt x="2223037" y="1977183"/>
                </a:moveTo>
                <a:cubicBezTo>
                  <a:pt x="2228480" y="1995734"/>
                  <a:pt x="2212756" y="1994070"/>
                  <a:pt x="2218199" y="2014762"/>
                </a:cubicBezTo>
                <a:cubicBezTo>
                  <a:pt x="2201871" y="2017853"/>
                  <a:pt x="2207314" y="1975994"/>
                  <a:pt x="2223037" y="1977183"/>
                </a:cubicBezTo>
                <a:close/>
                <a:moveTo>
                  <a:pt x="11767094" y="1974091"/>
                </a:moveTo>
                <a:cubicBezTo>
                  <a:pt x="11764676" y="1973854"/>
                  <a:pt x="11761652" y="1974330"/>
                  <a:pt x="11758023" y="1975519"/>
                </a:cubicBezTo>
                <a:cubicBezTo>
                  <a:pt x="11751976" y="1977660"/>
                  <a:pt x="11745324" y="1982415"/>
                  <a:pt x="11743510" y="1989312"/>
                </a:cubicBezTo>
                <a:cubicBezTo>
                  <a:pt x="11755000" y="1994307"/>
                  <a:pt x="11776770" y="2003820"/>
                  <a:pt x="11773142" y="1977897"/>
                </a:cubicBezTo>
                <a:cubicBezTo>
                  <a:pt x="11772537" y="1975756"/>
                  <a:pt x="11770119" y="1974567"/>
                  <a:pt x="11767094" y="1974091"/>
                </a:cubicBezTo>
                <a:close/>
                <a:moveTo>
                  <a:pt x="12201168" y="1972995"/>
                </a:moveTo>
                <a:cubicBezTo>
                  <a:pt x="12199070" y="1971551"/>
                  <a:pt x="12196463" y="1971296"/>
                  <a:pt x="12194043" y="1973141"/>
                </a:cubicBezTo>
                <a:cubicBezTo>
                  <a:pt x="12191020" y="1975519"/>
                  <a:pt x="12188601" y="1982178"/>
                  <a:pt x="12187392" y="1993833"/>
                </a:cubicBezTo>
                <a:cubicBezTo>
                  <a:pt x="12209162" y="1992405"/>
                  <a:pt x="12207461" y="1977332"/>
                  <a:pt x="12201168" y="1972995"/>
                </a:cubicBezTo>
                <a:close/>
                <a:moveTo>
                  <a:pt x="2168610" y="1972665"/>
                </a:moveTo>
                <a:cubicBezTo>
                  <a:pt x="2172844" y="1972665"/>
                  <a:pt x="2178890" y="1988838"/>
                  <a:pt x="2178286" y="1996687"/>
                </a:cubicBezTo>
                <a:cubicBezTo>
                  <a:pt x="2183125" y="1997161"/>
                  <a:pt x="2186148" y="1995496"/>
                  <a:pt x="2189171" y="1991692"/>
                </a:cubicBezTo>
                <a:cubicBezTo>
                  <a:pt x="2199452" y="2018092"/>
                  <a:pt x="2163772" y="1993594"/>
                  <a:pt x="2164982" y="1978849"/>
                </a:cubicBezTo>
                <a:cubicBezTo>
                  <a:pt x="2165586" y="1974091"/>
                  <a:pt x="2166796" y="1972665"/>
                  <a:pt x="2168610" y="1972665"/>
                </a:cubicBezTo>
                <a:close/>
                <a:moveTo>
                  <a:pt x="1024435" y="1972665"/>
                </a:moveTo>
                <a:cubicBezTo>
                  <a:pt x="1009318" y="1983367"/>
                  <a:pt x="995409" y="1964341"/>
                  <a:pt x="987546" y="1983604"/>
                </a:cubicBezTo>
                <a:cubicBezTo>
                  <a:pt x="999641" y="1980514"/>
                  <a:pt x="1029879" y="2005010"/>
                  <a:pt x="1024435" y="1972665"/>
                </a:cubicBezTo>
                <a:close/>
                <a:moveTo>
                  <a:pt x="2715298" y="1970286"/>
                </a:moveTo>
                <a:cubicBezTo>
                  <a:pt x="2738279" y="1974091"/>
                  <a:pt x="2728602" y="1983843"/>
                  <a:pt x="2743722" y="2001443"/>
                </a:cubicBezTo>
                <a:cubicBezTo>
                  <a:pt x="2732835" y="1986221"/>
                  <a:pt x="2724975" y="2001680"/>
                  <a:pt x="2711669" y="1991692"/>
                </a:cubicBezTo>
                <a:cubicBezTo>
                  <a:pt x="2707436" y="1980514"/>
                  <a:pt x="2714693" y="1977421"/>
                  <a:pt x="2715298" y="1970286"/>
                </a:cubicBezTo>
                <a:close/>
                <a:moveTo>
                  <a:pt x="3387167" y="1970048"/>
                </a:moveTo>
                <a:cubicBezTo>
                  <a:pt x="3384144" y="1969335"/>
                  <a:pt x="3380517" y="1969572"/>
                  <a:pt x="3378096" y="1970763"/>
                </a:cubicBezTo>
                <a:cubicBezTo>
                  <a:pt x="3375073" y="1972428"/>
                  <a:pt x="3372654" y="1975756"/>
                  <a:pt x="3373259" y="1981227"/>
                </a:cubicBezTo>
                <a:cubicBezTo>
                  <a:pt x="3390191" y="1978610"/>
                  <a:pt x="3384144" y="1997876"/>
                  <a:pt x="3403496" y="1991692"/>
                </a:cubicBezTo>
                <a:cubicBezTo>
                  <a:pt x="3407124" y="1980751"/>
                  <a:pt x="3396239" y="1971713"/>
                  <a:pt x="3387167" y="1970048"/>
                </a:cubicBezTo>
                <a:close/>
                <a:moveTo>
                  <a:pt x="11982383" y="1967909"/>
                </a:moveTo>
                <a:cubicBezTo>
                  <a:pt x="11982383" y="1971952"/>
                  <a:pt x="11979965" y="1973617"/>
                  <a:pt x="11972707" y="1973141"/>
                </a:cubicBezTo>
                <a:lnTo>
                  <a:pt x="11973312" y="1997637"/>
                </a:lnTo>
                <a:cubicBezTo>
                  <a:pt x="11985407" y="2002631"/>
                  <a:pt x="11994478" y="1971000"/>
                  <a:pt x="11982383" y="1967909"/>
                </a:cubicBezTo>
                <a:close/>
                <a:moveTo>
                  <a:pt x="1257263" y="1967909"/>
                </a:moveTo>
                <a:cubicBezTo>
                  <a:pt x="1261495" y="1973617"/>
                  <a:pt x="1268148" y="1976232"/>
                  <a:pt x="1279638" y="1973617"/>
                </a:cubicBezTo>
                <a:cubicBezTo>
                  <a:pt x="1260890" y="1991929"/>
                  <a:pt x="1272985" y="2005962"/>
                  <a:pt x="1292941" y="2011432"/>
                </a:cubicBezTo>
                <a:cubicBezTo>
                  <a:pt x="1283870" y="2012383"/>
                  <a:pt x="1281451" y="2019281"/>
                  <a:pt x="1269962" y="2016664"/>
                </a:cubicBezTo>
                <a:cubicBezTo>
                  <a:pt x="1266334" y="2007151"/>
                  <a:pt x="1265124" y="1990264"/>
                  <a:pt x="1249400" y="1994546"/>
                </a:cubicBezTo>
                <a:cubicBezTo>
                  <a:pt x="1251819" y="1987410"/>
                  <a:pt x="1252424" y="1974806"/>
                  <a:pt x="1257263" y="1967909"/>
                </a:cubicBezTo>
                <a:close/>
                <a:moveTo>
                  <a:pt x="2340962" y="1965768"/>
                </a:moveTo>
                <a:cubicBezTo>
                  <a:pt x="2351847" y="1967194"/>
                  <a:pt x="2357894" y="1974567"/>
                  <a:pt x="2354871" y="1992405"/>
                </a:cubicBezTo>
                <a:lnTo>
                  <a:pt x="2330077" y="1992405"/>
                </a:lnTo>
                <a:lnTo>
                  <a:pt x="2328868" y="1966244"/>
                </a:lnTo>
                <a:cubicBezTo>
                  <a:pt x="2333705" y="1965531"/>
                  <a:pt x="2337334" y="1965292"/>
                  <a:pt x="2340962" y="1965768"/>
                </a:cubicBezTo>
                <a:close/>
                <a:moveTo>
                  <a:pt x="12413565" y="1962201"/>
                </a:moveTo>
                <a:cubicBezTo>
                  <a:pt x="12427475" y="1961249"/>
                  <a:pt x="12439569" y="1961962"/>
                  <a:pt x="12442593" y="1975519"/>
                </a:cubicBezTo>
                <a:cubicBezTo>
                  <a:pt x="12435940" y="1985746"/>
                  <a:pt x="12423846" y="1987173"/>
                  <a:pt x="12411751" y="1990501"/>
                </a:cubicBezTo>
                <a:close/>
                <a:moveTo>
                  <a:pt x="2134140" y="1956967"/>
                </a:moveTo>
                <a:cubicBezTo>
                  <a:pt x="2135349" y="1968622"/>
                  <a:pt x="2131116" y="1970286"/>
                  <a:pt x="2130512" y="1976707"/>
                </a:cubicBezTo>
                <a:cubicBezTo>
                  <a:pt x="2117207" y="1980514"/>
                  <a:pt x="2122045" y="1967670"/>
                  <a:pt x="2113578" y="1966957"/>
                </a:cubicBezTo>
                <a:cubicBezTo>
                  <a:pt x="2115997" y="1960536"/>
                  <a:pt x="2122650" y="1957680"/>
                  <a:pt x="2134140" y="1956967"/>
                </a:cubicBezTo>
                <a:close/>
                <a:moveTo>
                  <a:pt x="3199093" y="1956491"/>
                </a:moveTo>
                <a:cubicBezTo>
                  <a:pt x="3193046" y="1969810"/>
                  <a:pt x="3179136" y="1968385"/>
                  <a:pt x="3180345" y="1986459"/>
                </a:cubicBezTo>
                <a:lnTo>
                  <a:pt x="3199697" y="1986459"/>
                </a:lnTo>
                <a:cubicBezTo>
                  <a:pt x="3188812" y="1969572"/>
                  <a:pt x="3208164" y="1965292"/>
                  <a:pt x="3199093" y="1956491"/>
                </a:cubicBezTo>
                <a:close/>
                <a:moveTo>
                  <a:pt x="2821733" y="1956491"/>
                </a:moveTo>
                <a:cubicBezTo>
                  <a:pt x="2826570" y="1954114"/>
                  <a:pt x="2834432" y="1954590"/>
                  <a:pt x="2850156" y="1956967"/>
                </a:cubicBezTo>
                <a:cubicBezTo>
                  <a:pt x="2857412" y="1961962"/>
                  <a:pt x="2804799" y="1974330"/>
                  <a:pt x="2807219" y="1970286"/>
                </a:cubicBezTo>
                <a:cubicBezTo>
                  <a:pt x="2813872" y="1963151"/>
                  <a:pt x="2816290" y="1958633"/>
                  <a:pt x="2821733" y="1956491"/>
                </a:cubicBezTo>
                <a:close/>
                <a:moveTo>
                  <a:pt x="1650951" y="1952211"/>
                </a:moveTo>
                <a:cubicBezTo>
                  <a:pt x="1660626" y="1955065"/>
                  <a:pt x="1646716" y="1975043"/>
                  <a:pt x="1637041" y="1972189"/>
                </a:cubicBezTo>
                <a:cubicBezTo>
                  <a:pt x="1636436" y="1982178"/>
                  <a:pt x="1644298" y="1984557"/>
                  <a:pt x="1656392" y="1983604"/>
                </a:cubicBezTo>
                <a:cubicBezTo>
                  <a:pt x="1653369" y="1989312"/>
                  <a:pt x="1646716" y="1987173"/>
                  <a:pt x="1646112" y="1995259"/>
                </a:cubicBezTo>
                <a:cubicBezTo>
                  <a:pt x="1633412" y="1994070"/>
                  <a:pt x="1639461" y="1971713"/>
                  <a:pt x="1627364" y="1970763"/>
                </a:cubicBezTo>
                <a:cubicBezTo>
                  <a:pt x="1623736" y="1951973"/>
                  <a:pt x="1649741" y="1966481"/>
                  <a:pt x="1650951" y="1952211"/>
                </a:cubicBezTo>
                <a:close/>
                <a:moveTo>
                  <a:pt x="885950" y="1950784"/>
                </a:moveTo>
                <a:cubicBezTo>
                  <a:pt x="874459" y="1949357"/>
                  <a:pt x="862365" y="1951736"/>
                  <a:pt x="853293" y="1959822"/>
                </a:cubicBezTo>
                <a:cubicBezTo>
                  <a:pt x="876878" y="1965768"/>
                  <a:pt x="905906" y="1976232"/>
                  <a:pt x="916187" y="1965055"/>
                </a:cubicBezTo>
                <a:cubicBezTo>
                  <a:pt x="908931" y="1957443"/>
                  <a:pt x="897440" y="1952211"/>
                  <a:pt x="885950" y="1950784"/>
                </a:cubicBezTo>
                <a:close/>
                <a:moveTo>
                  <a:pt x="3048512" y="1949357"/>
                </a:moveTo>
                <a:cubicBezTo>
                  <a:pt x="3056373" y="1971952"/>
                  <a:pt x="3056373" y="1974091"/>
                  <a:pt x="3079353" y="1984081"/>
                </a:cubicBezTo>
                <a:cubicBezTo>
                  <a:pt x="3070888" y="2013097"/>
                  <a:pt x="3058793" y="1971952"/>
                  <a:pt x="3043673" y="1990501"/>
                </a:cubicBezTo>
                <a:cubicBezTo>
                  <a:pt x="3056373" y="1975756"/>
                  <a:pt x="3035813" y="1960297"/>
                  <a:pt x="3048512" y="1949357"/>
                </a:cubicBezTo>
                <a:close/>
                <a:moveTo>
                  <a:pt x="2645148" y="1948168"/>
                </a:moveTo>
                <a:cubicBezTo>
                  <a:pt x="2645148" y="1948643"/>
                  <a:pt x="2645753" y="1949357"/>
                  <a:pt x="2645753" y="1950070"/>
                </a:cubicBezTo>
                <a:cubicBezTo>
                  <a:pt x="2645753" y="1950070"/>
                  <a:pt x="2645753" y="1950546"/>
                  <a:pt x="2645753" y="1950784"/>
                </a:cubicBezTo>
                <a:cubicBezTo>
                  <a:pt x="2645148" y="1949832"/>
                  <a:pt x="2645148" y="1949119"/>
                  <a:pt x="2645148" y="1948168"/>
                </a:cubicBezTo>
                <a:close/>
                <a:moveTo>
                  <a:pt x="12432312" y="1947930"/>
                </a:moveTo>
                <a:cubicBezTo>
                  <a:pt x="12439569" y="1944362"/>
                  <a:pt x="12453478" y="1960536"/>
                  <a:pt x="12466177" y="1952925"/>
                </a:cubicBezTo>
                <a:cubicBezTo>
                  <a:pt x="12465573" y="1964577"/>
                  <a:pt x="12472830" y="1965531"/>
                  <a:pt x="12472225" y="1977183"/>
                </a:cubicBezTo>
                <a:cubicBezTo>
                  <a:pt x="12460735" y="1966481"/>
                  <a:pt x="12452269" y="1954114"/>
                  <a:pt x="12428079" y="1959822"/>
                </a:cubicBezTo>
                <a:cubicBezTo>
                  <a:pt x="12428684" y="1952449"/>
                  <a:pt x="12429893" y="1949119"/>
                  <a:pt x="12432312" y="1947930"/>
                </a:cubicBezTo>
                <a:close/>
                <a:moveTo>
                  <a:pt x="2723765" y="1941985"/>
                </a:moveTo>
                <a:cubicBezTo>
                  <a:pt x="2731021" y="1940557"/>
                  <a:pt x="2738279" y="1942461"/>
                  <a:pt x="2739488" y="1944839"/>
                </a:cubicBezTo>
                <a:cubicBezTo>
                  <a:pt x="2734045" y="1953401"/>
                  <a:pt x="2723765" y="1957680"/>
                  <a:pt x="2711669" y="1958871"/>
                </a:cubicBezTo>
                <a:cubicBezTo>
                  <a:pt x="2711065" y="1948406"/>
                  <a:pt x="2717112" y="1943411"/>
                  <a:pt x="2723765" y="1941985"/>
                </a:cubicBezTo>
                <a:close/>
                <a:moveTo>
                  <a:pt x="12697190" y="1940796"/>
                </a:moveTo>
                <a:cubicBezTo>
                  <a:pt x="12734684" y="1942935"/>
                  <a:pt x="12770364" y="1962914"/>
                  <a:pt x="12791530" y="1982415"/>
                </a:cubicBezTo>
                <a:cubicBezTo>
                  <a:pt x="12754640" y="1982891"/>
                  <a:pt x="12713518" y="1944600"/>
                  <a:pt x="12659696" y="1945552"/>
                </a:cubicBezTo>
                <a:cubicBezTo>
                  <a:pt x="12672395" y="1941509"/>
                  <a:pt x="12685095" y="1940081"/>
                  <a:pt x="12697190" y="1940796"/>
                </a:cubicBezTo>
                <a:close/>
                <a:moveTo>
                  <a:pt x="966985" y="1940796"/>
                </a:moveTo>
                <a:cubicBezTo>
                  <a:pt x="957914" y="1940320"/>
                  <a:pt x="948238" y="1945076"/>
                  <a:pt x="947634" y="1954114"/>
                </a:cubicBezTo>
                <a:cubicBezTo>
                  <a:pt x="959728" y="1959108"/>
                  <a:pt x="971218" y="1973854"/>
                  <a:pt x="981499" y="1958871"/>
                </a:cubicBezTo>
                <a:cubicBezTo>
                  <a:pt x="984524" y="1946978"/>
                  <a:pt x="976056" y="1941272"/>
                  <a:pt x="966985" y="1940796"/>
                </a:cubicBezTo>
                <a:close/>
                <a:moveTo>
                  <a:pt x="2149863" y="1940320"/>
                </a:moveTo>
                <a:cubicBezTo>
                  <a:pt x="2163168" y="1947217"/>
                  <a:pt x="2178890" y="1950308"/>
                  <a:pt x="2180100" y="1967433"/>
                </a:cubicBezTo>
                <a:cubicBezTo>
                  <a:pt x="2168005" y="1955065"/>
                  <a:pt x="2164982" y="1960297"/>
                  <a:pt x="2143211" y="1962201"/>
                </a:cubicBezTo>
                <a:cubicBezTo>
                  <a:pt x="2143816" y="1952687"/>
                  <a:pt x="2149259" y="1951497"/>
                  <a:pt x="2149863" y="1940320"/>
                </a:cubicBezTo>
                <a:close/>
                <a:moveTo>
                  <a:pt x="2980780" y="1939607"/>
                </a:moveTo>
                <a:cubicBezTo>
                  <a:pt x="2977152" y="1948643"/>
                  <a:pt x="2986223" y="1949357"/>
                  <a:pt x="2992270" y="1950070"/>
                </a:cubicBezTo>
                <a:cubicBezTo>
                  <a:pt x="2988642" y="1959108"/>
                  <a:pt x="2973524" y="1957680"/>
                  <a:pt x="2961429" y="1960297"/>
                </a:cubicBezTo>
                <a:cubicBezTo>
                  <a:pt x="2962639" y="1947217"/>
                  <a:pt x="2966267" y="1936514"/>
                  <a:pt x="2980780" y="1939607"/>
                </a:cubicBezTo>
                <a:close/>
                <a:moveTo>
                  <a:pt x="2339148" y="1937940"/>
                </a:moveTo>
                <a:cubicBezTo>
                  <a:pt x="2337938" y="1955541"/>
                  <a:pt x="2330077" y="1968146"/>
                  <a:pt x="2322820" y="1958871"/>
                </a:cubicBezTo>
                <a:cubicBezTo>
                  <a:pt x="2322215" y="1941272"/>
                  <a:pt x="2331287" y="1941746"/>
                  <a:pt x="2339148" y="1937940"/>
                </a:cubicBezTo>
                <a:close/>
                <a:moveTo>
                  <a:pt x="2933611" y="1933423"/>
                </a:moveTo>
                <a:cubicBezTo>
                  <a:pt x="2955986" y="1929617"/>
                  <a:pt x="2960824" y="1977183"/>
                  <a:pt x="2938448" y="1977183"/>
                </a:cubicBezTo>
                <a:cubicBezTo>
                  <a:pt x="2931797" y="1957919"/>
                  <a:pt x="2957195" y="1950546"/>
                  <a:pt x="2933611" y="1933423"/>
                </a:cubicBezTo>
                <a:close/>
                <a:moveTo>
                  <a:pt x="2237551" y="1932234"/>
                </a:moveTo>
                <a:cubicBezTo>
                  <a:pt x="2258717" y="1934612"/>
                  <a:pt x="2285326" y="1955303"/>
                  <a:pt x="2300444" y="1944839"/>
                </a:cubicBezTo>
                <a:cubicBezTo>
                  <a:pt x="2295003" y="1953401"/>
                  <a:pt x="2291978" y="1964341"/>
                  <a:pt x="2279883" y="1963151"/>
                </a:cubicBezTo>
                <a:cubicBezTo>
                  <a:pt x="2272021" y="1939844"/>
                  <a:pt x="2235132" y="1955065"/>
                  <a:pt x="2219409" y="1937940"/>
                </a:cubicBezTo>
                <a:cubicBezTo>
                  <a:pt x="2224247" y="1932709"/>
                  <a:pt x="2230899" y="1931520"/>
                  <a:pt x="2237551" y="1932234"/>
                </a:cubicBezTo>
                <a:close/>
                <a:moveTo>
                  <a:pt x="2471586" y="1924622"/>
                </a:moveTo>
                <a:cubicBezTo>
                  <a:pt x="2481867" y="1925574"/>
                  <a:pt x="2492147" y="1930330"/>
                  <a:pt x="2494567" y="1934374"/>
                </a:cubicBezTo>
                <a:cubicBezTo>
                  <a:pt x="2481262" y="1953638"/>
                  <a:pt x="2467353" y="1924622"/>
                  <a:pt x="2454050" y="1941272"/>
                </a:cubicBezTo>
                <a:cubicBezTo>
                  <a:pt x="2452840" y="1927239"/>
                  <a:pt x="2461910" y="1923909"/>
                  <a:pt x="2471586" y="1924622"/>
                </a:cubicBezTo>
                <a:close/>
                <a:moveTo>
                  <a:pt x="1569310" y="1921055"/>
                </a:moveTo>
                <a:cubicBezTo>
                  <a:pt x="1582009" y="1922245"/>
                  <a:pt x="1570519" y="1939607"/>
                  <a:pt x="1567496" y="1943173"/>
                </a:cubicBezTo>
                <a:cubicBezTo>
                  <a:pt x="1583219" y="1944600"/>
                  <a:pt x="1586848" y="1935563"/>
                  <a:pt x="1584428" y="1922482"/>
                </a:cubicBezTo>
                <a:cubicBezTo>
                  <a:pt x="1594708" y="1934374"/>
                  <a:pt x="1585637" y="1950546"/>
                  <a:pt x="1585033" y="1959822"/>
                </a:cubicBezTo>
                <a:cubicBezTo>
                  <a:pt x="1563867" y="1963627"/>
                  <a:pt x="1573543" y="1937940"/>
                  <a:pt x="1557215" y="1938418"/>
                </a:cubicBezTo>
                <a:cubicBezTo>
                  <a:pt x="1560239" y="1931282"/>
                  <a:pt x="1571124" y="1932471"/>
                  <a:pt x="1569310" y="1921055"/>
                </a:cubicBezTo>
                <a:close/>
                <a:moveTo>
                  <a:pt x="2639100" y="1920580"/>
                </a:moveTo>
                <a:cubicBezTo>
                  <a:pt x="2649381" y="1927239"/>
                  <a:pt x="2663291" y="1952687"/>
                  <a:pt x="2669942" y="1927477"/>
                </a:cubicBezTo>
                <a:cubicBezTo>
                  <a:pt x="2677804" y="1936038"/>
                  <a:pt x="2685061" y="1942461"/>
                  <a:pt x="2686875" y="1956491"/>
                </a:cubicBezTo>
                <a:cubicBezTo>
                  <a:pt x="2668128" y="1948168"/>
                  <a:pt x="2654824" y="1965055"/>
                  <a:pt x="2645753" y="1950070"/>
                </a:cubicBezTo>
                <a:cubicBezTo>
                  <a:pt x="2662686" y="1940081"/>
                  <a:pt x="2636077" y="1933898"/>
                  <a:pt x="2639100" y="1920580"/>
                </a:cubicBezTo>
                <a:close/>
                <a:moveTo>
                  <a:pt x="764397" y="1920104"/>
                </a:moveTo>
                <a:cubicBezTo>
                  <a:pt x="772259" y="1952687"/>
                  <a:pt x="736579" y="1931520"/>
                  <a:pt x="739601" y="1959822"/>
                </a:cubicBezTo>
                <a:cubicBezTo>
                  <a:pt x="754721" y="1953162"/>
                  <a:pt x="780724" y="1961725"/>
                  <a:pt x="787377" y="1930330"/>
                </a:cubicBezTo>
                <a:cubicBezTo>
                  <a:pt x="769839" y="1938892"/>
                  <a:pt x="778910" y="1915346"/>
                  <a:pt x="764397" y="1920104"/>
                </a:cubicBezTo>
                <a:close/>
                <a:moveTo>
                  <a:pt x="2183125" y="1917249"/>
                </a:moveTo>
                <a:cubicBezTo>
                  <a:pt x="2192196" y="1918915"/>
                  <a:pt x="2204290" y="1932947"/>
                  <a:pt x="2210337" y="1921769"/>
                </a:cubicBezTo>
                <a:cubicBezTo>
                  <a:pt x="2227270" y="1927239"/>
                  <a:pt x="2197638" y="1922720"/>
                  <a:pt x="2204290" y="1938418"/>
                </a:cubicBezTo>
                <a:lnTo>
                  <a:pt x="2175867" y="1920580"/>
                </a:lnTo>
                <a:cubicBezTo>
                  <a:pt x="2177681" y="1917011"/>
                  <a:pt x="2180100" y="1916535"/>
                  <a:pt x="2183125" y="1917249"/>
                </a:cubicBezTo>
                <a:close/>
                <a:moveTo>
                  <a:pt x="3103543" y="1915346"/>
                </a:moveTo>
                <a:cubicBezTo>
                  <a:pt x="3096891" y="1914395"/>
                  <a:pt x="3090844" y="1915109"/>
                  <a:pt x="3090844" y="1921055"/>
                </a:cubicBezTo>
                <a:cubicBezTo>
                  <a:pt x="3102939" y="1920104"/>
                  <a:pt x="3107172" y="1931043"/>
                  <a:pt x="3099310" y="1940320"/>
                </a:cubicBezTo>
                <a:cubicBezTo>
                  <a:pt x="3115638" y="1945789"/>
                  <a:pt x="3114429" y="1931282"/>
                  <a:pt x="3119267" y="1921769"/>
                </a:cubicBezTo>
                <a:cubicBezTo>
                  <a:pt x="3117452" y="1919628"/>
                  <a:pt x="3110196" y="1916298"/>
                  <a:pt x="3103543" y="1915346"/>
                </a:cubicBezTo>
                <a:close/>
                <a:moveTo>
                  <a:pt x="1528792" y="1911541"/>
                </a:moveTo>
                <a:cubicBezTo>
                  <a:pt x="1543910" y="1916774"/>
                  <a:pt x="1531815" y="1953401"/>
                  <a:pt x="1538468" y="1969810"/>
                </a:cubicBezTo>
                <a:cubicBezTo>
                  <a:pt x="1510045" y="1971237"/>
                  <a:pt x="1533629" y="1917725"/>
                  <a:pt x="1528792" y="1911541"/>
                </a:cubicBezTo>
                <a:close/>
                <a:moveTo>
                  <a:pt x="3151318" y="1910590"/>
                </a:moveTo>
                <a:cubicBezTo>
                  <a:pt x="3141642" y="1909877"/>
                  <a:pt x="3141038" y="1917963"/>
                  <a:pt x="3131362" y="1917249"/>
                </a:cubicBezTo>
                <a:cubicBezTo>
                  <a:pt x="3130757" y="1931043"/>
                  <a:pt x="3134990" y="1941033"/>
                  <a:pt x="3142246" y="1945552"/>
                </a:cubicBezTo>
                <a:cubicBezTo>
                  <a:pt x="3164622" y="1931520"/>
                  <a:pt x="3184579" y="1955541"/>
                  <a:pt x="3198488" y="1922958"/>
                </a:cubicBezTo>
                <a:cubicBezTo>
                  <a:pt x="3178531" y="1935088"/>
                  <a:pt x="3162203" y="1933423"/>
                  <a:pt x="3151318" y="1910590"/>
                </a:cubicBezTo>
                <a:close/>
                <a:moveTo>
                  <a:pt x="12617364" y="1909638"/>
                </a:moveTo>
                <a:cubicBezTo>
                  <a:pt x="12616759" y="1919865"/>
                  <a:pt x="12611921" y="1921530"/>
                  <a:pt x="12611316" y="1933898"/>
                </a:cubicBezTo>
                <a:cubicBezTo>
                  <a:pt x="12605269" y="1931282"/>
                  <a:pt x="12601035" y="1925098"/>
                  <a:pt x="12594384" y="1922482"/>
                </a:cubicBezTo>
                <a:cubicBezTo>
                  <a:pt x="12594988" y="1908212"/>
                  <a:pt x="12605874" y="1908688"/>
                  <a:pt x="12617364" y="1909638"/>
                </a:cubicBezTo>
                <a:close/>
                <a:moveTo>
                  <a:pt x="12174691" y="1906071"/>
                </a:moveTo>
                <a:cubicBezTo>
                  <a:pt x="12178320" y="1906071"/>
                  <a:pt x="12181948" y="1906784"/>
                  <a:pt x="12184367" y="1908449"/>
                </a:cubicBezTo>
                <a:cubicBezTo>
                  <a:pt x="12183762" y="1918915"/>
                  <a:pt x="12191624" y="1941033"/>
                  <a:pt x="12176506" y="1936277"/>
                </a:cubicBezTo>
                <a:cubicBezTo>
                  <a:pt x="12174691" y="1920341"/>
                  <a:pt x="12183762" y="1924146"/>
                  <a:pt x="12175296" y="1912968"/>
                </a:cubicBezTo>
                <a:cubicBezTo>
                  <a:pt x="12168040" y="1917725"/>
                  <a:pt x="12163201" y="1927714"/>
                  <a:pt x="12147478" y="1924622"/>
                </a:cubicBezTo>
                <a:cubicBezTo>
                  <a:pt x="12150502" y="1916298"/>
                  <a:pt x="12156550" y="1910590"/>
                  <a:pt x="12163806" y="1907736"/>
                </a:cubicBezTo>
                <a:cubicBezTo>
                  <a:pt x="12167435" y="1906547"/>
                  <a:pt x="12171063" y="1905834"/>
                  <a:pt x="12174691" y="1906071"/>
                </a:cubicBezTo>
                <a:close/>
                <a:moveTo>
                  <a:pt x="2020448" y="1900363"/>
                </a:moveTo>
                <a:lnTo>
                  <a:pt x="2041009" y="1900363"/>
                </a:lnTo>
                <a:cubicBezTo>
                  <a:pt x="2042218" y="1912731"/>
                  <a:pt x="2037986" y="1916060"/>
                  <a:pt x="2035567" y="1923909"/>
                </a:cubicBezTo>
                <a:cubicBezTo>
                  <a:pt x="2025890" y="1923195"/>
                  <a:pt x="2019843" y="1916535"/>
                  <a:pt x="2020448" y="1900363"/>
                </a:cubicBezTo>
                <a:close/>
                <a:moveTo>
                  <a:pt x="1638854" y="1900363"/>
                </a:moveTo>
                <a:cubicBezTo>
                  <a:pt x="1643088" y="1898461"/>
                  <a:pt x="1647926" y="1899174"/>
                  <a:pt x="1655788" y="1902028"/>
                </a:cubicBezTo>
                <a:cubicBezTo>
                  <a:pt x="1646112" y="1922720"/>
                  <a:pt x="1642484" y="1917963"/>
                  <a:pt x="1651555" y="1944124"/>
                </a:cubicBezTo>
                <a:cubicBezTo>
                  <a:pt x="1645507" y="1945789"/>
                  <a:pt x="1641879" y="1935088"/>
                  <a:pt x="1638854" y="1945552"/>
                </a:cubicBezTo>
                <a:cubicBezTo>
                  <a:pt x="1634622" y="1945076"/>
                  <a:pt x="1637041" y="1938892"/>
                  <a:pt x="1638854" y="1939131"/>
                </a:cubicBezTo>
                <a:cubicBezTo>
                  <a:pt x="1640065" y="1924146"/>
                  <a:pt x="1631598" y="1919152"/>
                  <a:pt x="1625551" y="1914395"/>
                </a:cubicBezTo>
                <a:cubicBezTo>
                  <a:pt x="1630994" y="1906308"/>
                  <a:pt x="1634622" y="1902028"/>
                  <a:pt x="1638854" y="1900363"/>
                </a:cubicBezTo>
                <a:close/>
                <a:moveTo>
                  <a:pt x="2584069" y="1894893"/>
                </a:moveTo>
                <a:cubicBezTo>
                  <a:pt x="2590722" y="1896557"/>
                  <a:pt x="2599188" y="1905119"/>
                  <a:pt x="2597373" y="1913444"/>
                </a:cubicBezTo>
                <a:cubicBezTo>
                  <a:pt x="2585882" y="1917011"/>
                  <a:pt x="2587092" y="1901791"/>
                  <a:pt x="2574997" y="1907260"/>
                </a:cubicBezTo>
                <a:cubicBezTo>
                  <a:pt x="2574393" y="1901076"/>
                  <a:pt x="2575602" y="1897509"/>
                  <a:pt x="2578022" y="1895844"/>
                </a:cubicBezTo>
                <a:cubicBezTo>
                  <a:pt x="2579231" y="1894655"/>
                  <a:pt x="2581650" y="1894179"/>
                  <a:pt x="2584069" y="1894893"/>
                </a:cubicBezTo>
                <a:close/>
                <a:moveTo>
                  <a:pt x="2224851" y="1891087"/>
                </a:moveTo>
                <a:cubicBezTo>
                  <a:pt x="2229689" y="1895131"/>
                  <a:pt x="2244203" y="1923909"/>
                  <a:pt x="2245413" y="1898698"/>
                </a:cubicBezTo>
                <a:cubicBezTo>
                  <a:pt x="2258717" y="1901552"/>
                  <a:pt x="2249041" y="1924146"/>
                  <a:pt x="2236341" y="1919628"/>
                </a:cubicBezTo>
                <a:cubicBezTo>
                  <a:pt x="2239970" y="1901791"/>
                  <a:pt x="2220618" y="1908925"/>
                  <a:pt x="2224851" y="1891087"/>
                </a:cubicBezTo>
                <a:close/>
                <a:moveTo>
                  <a:pt x="2057943" y="1891087"/>
                </a:moveTo>
                <a:lnTo>
                  <a:pt x="2080922" y="1891087"/>
                </a:lnTo>
                <a:cubicBezTo>
                  <a:pt x="2080318" y="1898698"/>
                  <a:pt x="2068828" y="1895607"/>
                  <a:pt x="2062175" y="1895131"/>
                </a:cubicBezTo>
                <a:cubicBezTo>
                  <a:pt x="2056733" y="1913681"/>
                  <a:pt x="2077899" y="1900839"/>
                  <a:pt x="2072456" y="1919628"/>
                </a:cubicBezTo>
                <a:cubicBezTo>
                  <a:pt x="2060966" y="1920341"/>
                  <a:pt x="2060966" y="1908688"/>
                  <a:pt x="2049476" y="1913444"/>
                </a:cubicBezTo>
                <a:cubicBezTo>
                  <a:pt x="2051894" y="1904169"/>
                  <a:pt x="2054918" y="1898698"/>
                  <a:pt x="2057943" y="1891087"/>
                </a:cubicBezTo>
                <a:close/>
                <a:moveTo>
                  <a:pt x="1769479" y="1891087"/>
                </a:moveTo>
                <a:cubicBezTo>
                  <a:pt x="1773108" y="1891087"/>
                  <a:pt x="1777946" y="1891801"/>
                  <a:pt x="1782179" y="1892277"/>
                </a:cubicBezTo>
                <a:cubicBezTo>
                  <a:pt x="1778551" y="1906308"/>
                  <a:pt x="1783388" y="1913206"/>
                  <a:pt x="1796693" y="1910114"/>
                </a:cubicBezTo>
                <a:cubicBezTo>
                  <a:pt x="1790041" y="1934136"/>
                  <a:pt x="1770689" y="1905358"/>
                  <a:pt x="1760408" y="1896320"/>
                </a:cubicBezTo>
                <a:cubicBezTo>
                  <a:pt x="1761617" y="1892514"/>
                  <a:pt x="1765247" y="1891325"/>
                  <a:pt x="1769479" y="1891087"/>
                </a:cubicBezTo>
                <a:close/>
                <a:moveTo>
                  <a:pt x="2269603" y="1887520"/>
                </a:moveTo>
                <a:cubicBezTo>
                  <a:pt x="2274441" y="1887044"/>
                  <a:pt x="2281093" y="1888709"/>
                  <a:pt x="2286534" y="1888233"/>
                </a:cubicBezTo>
                <a:cubicBezTo>
                  <a:pt x="2275045" y="1900363"/>
                  <a:pt x="2288349" y="1903217"/>
                  <a:pt x="2287140" y="1921769"/>
                </a:cubicBezTo>
                <a:cubicBezTo>
                  <a:pt x="2281697" y="1923195"/>
                  <a:pt x="2278674" y="1926525"/>
                  <a:pt x="2270207" y="1925812"/>
                </a:cubicBezTo>
                <a:cubicBezTo>
                  <a:pt x="2259926" y="1921055"/>
                  <a:pt x="2273230" y="1920341"/>
                  <a:pt x="2281093" y="1921055"/>
                </a:cubicBezTo>
                <a:cubicBezTo>
                  <a:pt x="2285326" y="1895368"/>
                  <a:pt x="2265974" y="1905119"/>
                  <a:pt x="2264160" y="1899174"/>
                </a:cubicBezTo>
                <a:cubicBezTo>
                  <a:pt x="2261740" y="1890612"/>
                  <a:pt x="2264765" y="1887996"/>
                  <a:pt x="2269603" y="1887520"/>
                </a:cubicBezTo>
                <a:close/>
                <a:moveTo>
                  <a:pt x="563622" y="1878482"/>
                </a:moveTo>
                <a:cubicBezTo>
                  <a:pt x="555156" y="1878245"/>
                  <a:pt x="549108" y="1881812"/>
                  <a:pt x="550317" y="1895844"/>
                </a:cubicBezTo>
                <a:cubicBezTo>
                  <a:pt x="552131" y="1912016"/>
                  <a:pt x="586603" y="1905358"/>
                  <a:pt x="587812" y="1885379"/>
                </a:cubicBezTo>
                <a:cubicBezTo>
                  <a:pt x="581764" y="1883001"/>
                  <a:pt x="571483" y="1878721"/>
                  <a:pt x="563622" y="1878482"/>
                </a:cubicBezTo>
                <a:close/>
                <a:moveTo>
                  <a:pt x="11822731" y="1876104"/>
                </a:moveTo>
                <a:cubicBezTo>
                  <a:pt x="11832407" y="1874678"/>
                  <a:pt x="11849944" y="1893228"/>
                  <a:pt x="11859620" y="1892752"/>
                </a:cubicBezTo>
                <a:cubicBezTo>
                  <a:pt x="11848130" y="1908449"/>
                  <a:pt x="11822731" y="1908449"/>
                  <a:pt x="11806403" y="1920104"/>
                </a:cubicBezTo>
                <a:cubicBezTo>
                  <a:pt x="11799146" y="1915584"/>
                  <a:pt x="11807008" y="1912968"/>
                  <a:pt x="11799750" y="1897509"/>
                </a:cubicBezTo>
                <a:cubicBezTo>
                  <a:pt x="11805193" y="1897747"/>
                  <a:pt x="11804589" y="1905119"/>
                  <a:pt x="11807008" y="1909162"/>
                </a:cubicBezTo>
                <a:cubicBezTo>
                  <a:pt x="11819707" y="1908449"/>
                  <a:pt x="11825150" y="1899411"/>
                  <a:pt x="11833617" y="1892752"/>
                </a:cubicBezTo>
                <a:cubicBezTo>
                  <a:pt x="11832407" y="1872061"/>
                  <a:pt x="11814869" y="1903930"/>
                  <a:pt x="11816079" y="1885379"/>
                </a:cubicBezTo>
                <a:cubicBezTo>
                  <a:pt x="11817288" y="1878958"/>
                  <a:pt x="11819707" y="1876580"/>
                  <a:pt x="11822731" y="1876104"/>
                </a:cubicBezTo>
                <a:close/>
                <a:moveTo>
                  <a:pt x="1903128" y="1876104"/>
                </a:moveTo>
                <a:cubicBezTo>
                  <a:pt x="1897685" y="1881812"/>
                  <a:pt x="1897080" y="1895607"/>
                  <a:pt x="1898289" y="1910114"/>
                </a:cubicBezTo>
                <a:lnTo>
                  <a:pt x="1878333" y="1910590"/>
                </a:lnTo>
                <a:cubicBezTo>
                  <a:pt x="1886799" y="1899174"/>
                  <a:pt x="1890429" y="1881099"/>
                  <a:pt x="1903128" y="1876104"/>
                </a:cubicBezTo>
                <a:close/>
                <a:moveTo>
                  <a:pt x="2035567" y="1875867"/>
                </a:moveTo>
                <a:cubicBezTo>
                  <a:pt x="2039195" y="1876817"/>
                  <a:pt x="2042823" y="1878482"/>
                  <a:pt x="2044033" y="1881812"/>
                </a:cubicBezTo>
                <a:cubicBezTo>
                  <a:pt x="2036172" y="1899411"/>
                  <a:pt x="2027100" y="1895131"/>
                  <a:pt x="2008353" y="1893466"/>
                </a:cubicBezTo>
                <a:cubicBezTo>
                  <a:pt x="2007749" y="1884190"/>
                  <a:pt x="2015006" y="1878245"/>
                  <a:pt x="2023471" y="1876104"/>
                </a:cubicBezTo>
                <a:cubicBezTo>
                  <a:pt x="2027705" y="1874915"/>
                  <a:pt x="2031938" y="1874915"/>
                  <a:pt x="2035567" y="1875867"/>
                </a:cubicBezTo>
                <a:close/>
                <a:moveTo>
                  <a:pt x="12274474" y="1874202"/>
                </a:moveTo>
                <a:cubicBezTo>
                  <a:pt x="12281127" y="1885142"/>
                  <a:pt x="12290803" y="1890136"/>
                  <a:pt x="12289592" y="1912492"/>
                </a:cubicBezTo>
                <a:lnTo>
                  <a:pt x="12252704" y="1911541"/>
                </a:lnTo>
                <a:cubicBezTo>
                  <a:pt x="12258750" y="1891563"/>
                  <a:pt x="12281731" y="1917725"/>
                  <a:pt x="12274474" y="1874202"/>
                </a:cubicBezTo>
                <a:close/>
                <a:moveTo>
                  <a:pt x="1530606" y="1873488"/>
                </a:moveTo>
                <a:cubicBezTo>
                  <a:pt x="1542096" y="1875628"/>
                  <a:pt x="1555400" y="1883953"/>
                  <a:pt x="1548749" y="1885855"/>
                </a:cubicBezTo>
                <a:cubicBezTo>
                  <a:pt x="1532420" y="1879910"/>
                  <a:pt x="1526373" y="1900601"/>
                  <a:pt x="1515488" y="1885379"/>
                </a:cubicBezTo>
                <a:cubicBezTo>
                  <a:pt x="1514279" y="1878721"/>
                  <a:pt x="1516092" y="1875152"/>
                  <a:pt x="1519721" y="1873726"/>
                </a:cubicBezTo>
                <a:cubicBezTo>
                  <a:pt x="1522744" y="1872537"/>
                  <a:pt x="1526373" y="1872774"/>
                  <a:pt x="1530606" y="1873488"/>
                </a:cubicBezTo>
                <a:close/>
                <a:moveTo>
                  <a:pt x="1673930" y="1873250"/>
                </a:moveTo>
                <a:cubicBezTo>
                  <a:pt x="1694491" y="1883714"/>
                  <a:pt x="1662440" y="1883001"/>
                  <a:pt x="1669696" y="1898698"/>
                </a:cubicBezTo>
                <a:cubicBezTo>
                  <a:pt x="1653369" y="1903930"/>
                  <a:pt x="1657602" y="1886568"/>
                  <a:pt x="1649741" y="1885855"/>
                </a:cubicBezTo>
                <a:cubicBezTo>
                  <a:pt x="1656392" y="1867066"/>
                  <a:pt x="1672116" y="1901315"/>
                  <a:pt x="1673930" y="1873250"/>
                </a:cubicBezTo>
                <a:close/>
                <a:moveTo>
                  <a:pt x="1622610" y="1868625"/>
                </a:moveTo>
                <a:lnTo>
                  <a:pt x="1634622" y="1887520"/>
                </a:lnTo>
                <a:cubicBezTo>
                  <a:pt x="1626155" y="1890850"/>
                  <a:pt x="1623585" y="1887757"/>
                  <a:pt x="1622905" y="1882525"/>
                </a:cubicBezTo>
                <a:close/>
                <a:moveTo>
                  <a:pt x="1924898" y="1865639"/>
                </a:moveTo>
                <a:cubicBezTo>
                  <a:pt x="1932761" y="1876104"/>
                  <a:pt x="1929736" y="1890612"/>
                  <a:pt x="1947274" y="1880860"/>
                </a:cubicBezTo>
                <a:cubicBezTo>
                  <a:pt x="1942436" y="1890136"/>
                  <a:pt x="1929736" y="1890374"/>
                  <a:pt x="1917037" y="1889422"/>
                </a:cubicBezTo>
                <a:cubicBezTo>
                  <a:pt x="1919455" y="1879671"/>
                  <a:pt x="1928527" y="1880623"/>
                  <a:pt x="1924898" y="1865639"/>
                </a:cubicBezTo>
                <a:close/>
                <a:moveTo>
                  <a:pt x="1622527" y="1864688"/>
                </a:moveTo>
                <a:lnTo>
                  <a:pt x="1622610" y="1868625"/>
                </a:lnTo>
                <a:lnTo>
                  <a:pt x="1620554" y="1865390"/>
                </a:lnTo>
                <a:close/>
                <a:moveTo>
                  <a:pt x="2603421" y="1856601"/>
                </a:moveTo>
                <a:cubicBezTo>
                  <a:pt x="2620354" y="1865877"/>
                  <a:pt x="2612492" y="1910827"/>
                  <a:pt x="2638496" y="1891087"/>
                </a:cubicBezTo>
                <a:cubicBezTo>
                  <a:pt x="2637286" y="1908925"/>
                  <a:pt x="2619749" y="1907497"/>
                  <a:pt x="2619144" y="1925335"/>
                </a:cubicBezTo>
                <a:cubicBezTo>
                  <a:pt x="2612492" y="1904882"/>
                  <a:pt x="2604025" y="1884428"/>
                  <a:pt x="2603421" y="1856601"/>
                </a:cubicBezTo>
                <a:close/>
                <a:moveTo>
                  <a:pt x="2783634" y="1853510"/>
                </a:moveTo>
                <a:cubicBezTo>
                  <a:pt x="2795728" y="1890612"/>
                  <a:pt x="2792100" y="1912255"/>
                  <a:pt x="2822338" y="1931043"/>
                </a:cubicBezTo>
                <a:cubicBezTo>
                  <a:pt x="2810848" y="1960060"/>
                  <a:pt x="2796334" y="1920817"/>
                  <a:pt x="2783634" y="1935563"/>
                </a:cubicBezTo>
                <a:cubicBezTo>
                  <a:pt x="2787263" y="1917963"/>
                  <a:pt x="2772144" y="1926525"/>
                  <a:pt x="2764886" y="1923909"/>
                </a:cubicBezTo>
                <a:cubicBezTo>
                  <a:pt x="2783634" y="1895368"/>
                  <a:pt x="2743722" y="1917963"/>
                  <a:pt x="2740092" y="1905358"/>
                </a:cubicBezTo>
                <a:cubicBezTo>
                  <a:pt x="2734650" y="1909162"/>
                  <a:pt x="2741906" y="1913920"/>
                  <a:pt x="2741302" y="1923909"/>
                </a:cubicBezTo>
                <a:cubicBezTo>
                  <a:pt x="2729812" y="1922958"/>
                  <a:pt x="2725579" y="1908449"/>
                  <a:pt x="2721345" y="1893942"/>
                </a:cubicBezTo>
                <a:cubicBezTo>
                  <a:pt x="2718926" y="1895844"/>
                  <a:pt x="2718322" y="1902028"/>
                  <a:pt x="2714089" y="1901552"/>
                </a:cubicBezTo>
                <a:cubicBezTo>
                  <a:pt x="2710460" y="1915346"/>
                  <a:pt x="2720740" y="1914157"/>
                  <a:pt x="2717112" y="1929855"/>
                </a:cubicBezTo>
                <a:cubicBezTo>
                  <a:pt x="2705018" y="1938892"/>
                  <a:pt x="2701389" y="1906071"/>
                  <a:pt x="2698365" y="1923909"/>
                </a:cubicBezTo>
                <a:cubicBezTo>
                  <a:pt x="2691714" y="1917249"/>
                  <a:pt x="2692318" y="1901552"/>
                  <a:pt x="2685666" y="1895131"/>
                </a:cubicBezTo>
                <a:cubicBezTo>
                  <a:pt x="2671151" y="1897747"/>
                  <a:pt x="2659057" y="1902504"/>
                  <a:pt x="2646962" y="1905358"/>
                </a:cubicBezTo>
                <a:cubicBezTo>
                  <a:pt x="2648171" y="1885618"/>
                  <a:pt x="2667523" y="1881336"/>
                  <a:pt x="2643334" y="1889422"/>
                </a:cubicBezTo>
                <a:cubicBezTo>
                  <a:pt x="2639100" y="1870872"/>
                  <a:pt x="2664499" y="1887520"/>
                  <a:pt x="2661476" y="1865164"/>
                </a:cubicBezTo>
                <a:cubicBezTo>
                  <a:pt x="2675385" y="1870396"/>
                  <a:pt x="2655428" y="1878245"/>
                  <a:pt x="2662081" y="1888709"/>
                </a:cubicBezTo>
                <a:cubicBezTo>
                  <a:pt x="2691714" y="1871348"/>
                  <a:pt x="2715298" y="1887520"/>
                  <a:pt x="2750373" y="1894655"/>
                </a:cubicBezTo>
                <a:cubicBezTo>
                  <a:pt x="2757630" y="1893228"/>
                  <a:pt x="2770934" y="1868255"/>
                  <a:pt x="2779401" y="1883001"/>
                </a:cubicBezTo>
                <a:cubicBezTo>
                  <a:pt x="2784843" y="1875628"/>
                  <a:pt x="2768516" y="1866115"/>
                  <a:pt x="2783634" y="1853510"/>
                </a:cubicBezTo>
                <a:close/>
                <a:moveTo>
                  <a:pt x="1611642" y="1851369"/>
                </a:moveTo>
                <a:lnTo>
                  <a:pt x="1620554" y="1865390"/>
                </a:lnTo>
                <a:lnTo>
                  <a:pt x="1590476" y="1876104"/>
                </a:lnTo>
                <a:cubicBezTo>
                  <a:pt x="1593499" y="1866115"/>
                  <a:pt x="1611037" y="1865639"/>
                  <a:pt x="1611642" y="1851369"/>
                </a:cubicBezTo>
                <a:close/>
                <a:moveTo>
                  <a:pt x="468677" y="1848991"/>
                </a:moveTo>
                <a:cubicBezTo>
                  <a:pt x="471096" y="1853271"/>
                  <a:pt x="511009" y="1870396"/>
                  <a:pt x="521289" y="1855175"/>
                </a:cubicBezTo>
                <a:cubicBezTo>
                  <a:pt x="540037" y="1868731"/>
                  <a:pt x="522500" y="1877532"/>
                  <a:pt x="512823" y="1884666"/>
                </a:cubicBezTo>
                <a:cubicBezTo>
                  <a:pt x="518870" y="1901076"/>
                  <a:pt x="531570" y="1890374"/>
                  <a:pt x="543664" y="1885379"/>
                </a:cubicBezTo>
                <a:cubicBezTo>
                  <a:pt x="542455" y="1873250"/>
                  <a:pt x="530965" y="1866353"/>
                  <a:pt x="541246" y="1855175"/>
                </a:cubicBezTo>
                <a:cubicBezTo>
                  <a:pt x="553946" y="1878245"/>
                  <a:pt x="569669" y="1862072"/>
                  <a:pt x="596278" y="1862309"/>
                </a:cubicBezTo>
                <a:cubicBezTo>
                  <a:pt x="602325" y="1882764"/>
                  <a:pt x="621677" y="1882049"/>
                  <a:pt x="630143" y="1896796"/>
                </a:cubicBezTo>
                <a:cubicBezTo>
                  <a:pt x="647076" y="1896320"/>
                  <a:pt x="645866" y="1876104"/>
                  <a:pt x="658566" y="1873250"/>
                </a:cubicBezTo>
                <a:cubicBezTo>
                  <a:pt x="645866" y="1916060"/>
                  <a:pt x="801890" y="1931758"/>
                  <a:pt x="748673" y="1891087"/>
                </a:cubicBezTo>
                <a:cubicBezTo>
                  <a:pt x="732950" y="1875867"/>
                  <a:pt x="774678" y="1895131"/>
                  <a:pt x="768025" y="1884666"/>
                </a:cubicBezTo>
                <a:cubicBezTo>
                  <a:pt x="768025" y="1894655"/>
                  <a:pt x="777096" y="1903454"/>
                  <a:pt x="791005" y="1906784"/>
                </a:cubicBezTo>
                <a:cubicBezTo>
                  <a:pt x="803099" y="1907736"/>
                  <a:pt x="806124" y="1898222"/>
                  <a:pt x="811567" y="1890612"/>
                </a:cubicBezTo>
                <a:cubicBezTo>
                  <a:pt x="815800" y="1904882"/>
                  <a:pt x="832732" y="1902028"/>
                  <a:pt x="849666" y="1901552"/>
                </a:cubicBezTo>
                <a:cubicBezTo>
                  <a:pt x="852689" y="1885855"/>
                  <a:pt x="840594" y="1891087"/>
                  <a:pt x="836362" y="1884666"/>
                </a:cubicBezTo>
                <a:cubicBezTo>
                  <a:pt x="847247" y="1865639"/>
                  <a:pt x="852084" y="1905834"/>
                  <a:pt x="863574" y="1906784"/>
                </a:cubicBezTo>
                <a:cubicBezTo>
                  <a:pt x="864179" y="1900839"/>
                  <a:pt x="881717" y="1884428"/>
                  <a:pt x="872646" y="1883714"/>
                </a:cubicBezTo>
                <a:cubicBezTo>
                  <a:pt x="888368" y="1894893"/>
                  <a:pt x="947634" y="1957680"/>
                  <a:pt x="977870" y="1896320"/>
                </a:cubicBezTo>
                <a:cubicBezTo>
                  <a:pt x="981499" y="1910590"/>
                  <a:pt x="1006294" y="1902741"/>
                  <a:pt x="1002666" y="1930330"/>
                </a:cubicBezTo>
                <a:cubicBezTo>
                  <a:pt x="1022017" y="1924146"/>
                  <a:pt x="1032298" y="1911303"/>
                  <a:pt x="1035322" y="1937464"/>
                </a:cubicBezTo>
                <a:cubicBezTo>
                  <a:pt x="1060720" y="1923671"/>
                  <a:pt x="1097610" y="1953162"/>
                  <a:pt x="1101843" y="1919628"/>
                </a:cubicBezTo>
                <a:cubicBezTo>
                  <a:pt x="1109101" y="1920104"/>
                  <a:pt x="1124218" y="1953162"/>
                  <a:pt x="1126032" y="1925335"/>
                </a:cubicBezTo>
                <a:cubicBezTo>
                  <a:pt x="1123614" y="1959108"/>
                  <a:pt x="1155666" y="1951497"/>
                  <a:pt x="1176831" y="1959346"/>
                </a:cubicBezTo>
                <a:cubicBezTo>
                  <a:pt x="1156270" y="1981465"/>
                  <a:pt x="1122404" y="1940796"/>
                  <a:pt x="1106076" y="1977183"/>
                </a:cubicBezTo>
                <a:cubicBezTo>
                  <a:pt x="1084306" y="1977421"/>
                  <a:pt x="1111519" y="1964341"/>
                  <a:pt x="1109705" y="1954114"/>
                </a:cubicBezTo>
                <a:cubicBezTo>
                  <a:pt x="1075840" y="1953162"/>
                  <a:pt x="1056488" y="1949119"/>
                  <a:pt x="1024435" y="1960297"/>
                </a:cubicBezTo>
                <a:cubicBezTo>
                  <a:pt x="1055279" y="1971000"/>
                  <a:pt x="1090958" y="1980038"/>
                  <a:pt x="1119381" y="1994546"/>
                </a:cubicBezTo>
                <a:cubicBezTo>
                  <a:pt x="1115752" y="2008102"/>
                  <a:pt x="1090353" y="1994546"/>
                  <a:pt x="1096400" y="2018805"/>
                </a:cubicBezTo>
                <a:cubicBezTo>
                  <a:pt x="1083700" y="1989788"/>
                  <a:pt x="1040764" y="2019757"/>
                  <a:pt x="1034717" y="1995259"/>
                </a:cubicBezTo>
                <a:cubicBezTo>
                  <a:pt x="1025041" y="1994307"/>
                  <a:pt x="1025041" y="2002394"/>
                  <a:pt x="1015365" y="2001443"/>
                </a:cubicBezTo>
                <a:cubicBezTo>
                  <a:pt x="1014760" y="2005486"/>
                  <a:pt x="1022017" y="2006437"/>
                  <a:pt x="1024435" y="2006675"/>
                </a:cubicBezTo>
                <a:cubicBezTo>
                  <a:pt x="1009318" y="2025226"/>
                  <a:pt x="996618" y="1985984"/>
                  <a:pt x="977266" y="1988124"/>
                </a:cubicBezTo>
                <a:cubicBezTo>
                  <a:pt x="979685" y="2028317"/>
                  <a:pt x="937957" y="1997400"/>
                  <a:pt x="910140" y="2018805"/>
                </a:cubicBezTo>
                <a:cubicBezTo>
                  <a:pt x="910744" y="2009053"/>
                  <a:pt x="918001" y="2005010"/>
                  <a:pt x="930095" y="2006199"/>
                </a:cubicBezTo>
                <a:cubicBezTo>
                  <a:pt x="923444" y="1997637"/>
                  <a:pt x="906511" y="2000491"/>
                  <a:pt x="902278" y="1990027"/>
                </a:cubicBezTo>
                <a:cubicBezTo>
                  <a:pt x="881717" y="2016188"/>
                  <a:pt x="839385" y="1998826"/>
                  <a:pt x="816403" y="2018805"/>
                </a:cubicBezTo>
                <a:cubicBezTo>
                  <a:pt x="806729" y="2016188"/>
                  <a:pt x="794633" y="2016664"/>
                  <a:pt x="797658" y="2000967"/>
                </a:cubicBezTo>
                <a:cubicBezTo>
                  <a:pt x="778910" y="1997400"/>
                  <a:pt x="784354" y="2021896"/>
                  <a:pt x="768025" y="2018329"/>
                </a:cubicBezTo>
                <a:cubicBezTo>
                  <a:pt x="771048" y="2004773"/>
                  <a:pt x="785563" y="2004058"/>
                  <a:pt x="791005" y="1994546"/>
                </a:cubicBezTo>
                <a:cubicBezTo>
                  <a:pt x="775887" y="1971237"/>
                  <a:pt x="760163" y="1989788"/>
                  <a:pt x="738393" y="1984081"/>
                </a:cubicBezTo>
                <a:cubicBezTo>
                  <a:pt x="721459" y="1988599"/>
                  <a:pt x="742021" y="2002394"/>
                  <a:pt x="729321" y="2013097"/>
                </a:cubicBezTo>
                <a:cubicBezTo>
                  <a:pt x="725089" y="2000730"/>
                  <a:pt x="700899" y="2009053"/>
                  <a:pt x="706945" y="1983604"/>
                </a:cubicBezTo>
                <a:cubicBezTo>
                  <a:pt x="687594" y="1987886"/>
                  <a:pt x="685175" y="1991216"/>
                  <a:pt x="673685" y="1978373"/>
                </a:cubicBezTo>
                <a:cubicBezTo>
                  <a:pt x="666428" y="1981703"/>
                  <a:pt x="660986" y="1987410"/>
                  <a:pt x="658566" y="1995259"/>
                </a:cubicBezTo>
                <a:cubicBezTo>
                  <a:pt x="669451" y="2014048"/>
                  <a:pt x="685175" y="1989075"/>
                  <a:pt x="702109" y="1994546"/>
                </a:cubicBezTo>
                <a:cubicBezTo>
                  <a:pt x="676103" y="2022134"/>
                  <a:pt x="666428" y="2016188"/>
                  <a:pt x="638611" y="1995734"/>
                </a:cubicBezTo>
                <a:cubicBezTo>
                  <a:pt x="639215" y="1983843"/>
                  <a:pt x="651915" y="1982415"/>
                  <a:pt x="664009" y="1983604"/>
                </a:cubicBezTo>
                <a:cubicBezTo>
                  <a:pt x="653123" y="1960536"/>
                  <a:pt x="610187" y="1947217"/>
                  <a:pt x="601721" y="1978373"/>
                </a:cubicBezTo>
                <a:cubicBezTo>
                  <a:pt x="585393" y="1962914"/>
                  <a:pt x="561203" y="1965055"/>
                  <a:pt x="539432" y="1973141"/>
                </a:cubicBezTo>
                <a:cubicBezTo>
                  <a:pt x="524919" y="1967909"/>
                  <a:pt x="544874" y="1959346"/>
                  <a:pt x="540642" y="1948882"/>
                </a:cubicBezTo>
                <a:cubicBezTo>
                  <a:pt x="578136" y="1970048"/>
                  <a:pt x="599907" y="1956491"/>
                  <a:pt x="634981" y="1937464"/>
                </a:cubicBezTo>
                <a:cubicBezTo>
                  <a:pt x="623491" y="1964577"/>
                  <a:pt x="701502" y="1958871"/>
                  <a:pt x="711783" y="1943648"/>
                </a:cubicBezTo>
                <a:cubicBezTo>
                  <a:pt x="709969" y="1937464"/>
                  <a:pt x="705131" y="1933184"/>
                  <a:pt x="705736" y="1925335"/>
                </a:cubicBezTo>
                <a:cubicBezTo>
                  <a:pt x="682756" y="1951259"/>
                  <a:pt x="671871" y="1928190"/>
                  <a:pt x="653728" y="1942698"/>
                </a:cubicBezTo>
                <a:lnTo>
                  <a:pt x="654938" y="1925335"/>
                </a:lnTo>
                <a:cubicBezTo>
                  <a:pt x="626515" y="1922720"/>
                  <a:pt x="602930" y="1914395"/>
                  <a:pt x="598697" y="1947930"/>
                </a:cubicBezTo>
                <a:cubicBezTo>
                  <a:pt x="567250" y="1945315"/>
                  <a:pt x="580554" y="1916535"/>
                  <a:pt x="554550" y="1914395"/>
                </a:cubicBezTo>
                <a:cubicBezTo>
                  <a:pt x="531570" y="1930330"/>
                  <a:pt x="504962" y="1932234"/>
                  <a:pt x="487424" y="1942698"/>
                </a:cubicBezTo>
                <a:cubicBezTo>
                  <a:pt x="489238" y="1948882"/>
                  <a:pt x="491656" y="1953162"/>
                  <a:pt x="491052" y="1961249"/>
                </a:cubicBezTo>
                <a:cubicBezTo>
                  <a:pt x="505566" y="1962438"/>
                  <a:pt x="501333" y="1951497"/>
                  <a:pt x="510404" y="1960297"/>
                </a:cubicBezTo>
                <a:cubicBezTo>
                  <a:pt x="486215" y="1966244"/>
                  <a:pt x="448115" y="1964816"/>
                  <a:pt x="431788" y="1949357"/>
                </a:cubicBezTo>
                <a:cubicBezTo>
                  <a:pt x="412436" y="1951736"/>
                  <a:pt x="409411" y="1966005"/>
                  <a:pt x="406388" y="1973617"/>
                </a:cubicBezTo>
                <a:cubicBezTo>
                  <a:pt x="384617" y="1973854"/>
                  <a:pt x="397317" y="1954827"/>
                  <a:pt x="402760" y="1943173"/>
                </a:cubicBezTo>
                <a:cubicBezTo>
                  <a:pt x="431788" y="1941746"/>
                  <a:pt x="443882" y="1949119"/>
                  <a:pt x="468677" y="1943173"/>
                </a:cubicBezTo>
                <a:cubicBezTo>
                  <a:pt x="468072" y="1907260"/>
                  <a:pt x="426950" y="1909162"/>
                  <a:pt x="416064" y="1926288"/>
                </a:cubicBezTo>
                <a:cubicBezTo>
                  <a:pt x="408807" y="1923671"/>
                  <a:pt x="412436" y="1912016"/>
                  <a:pt x="413041" y="1902028"/>
                </a:cubicBezTo>
                <a:cubicBezTo>
                  <a:pt x="393689" y="1898461"/>
                  <a:pt x="388851" y="1900363"/>
                  <a:pt x="364661" y="1896320"/>
                </a:cubicBezTo>
                <a:lnTo>
                  <a:pt x="363452" y="1873726"/>
                </a:lnTo>
                <a:cubicBezTo>
                  <a:pt x="380990" y="1867304"/>
                  <a:pt x="385222" y="1880147"/>
                  <a:pt x="406388" y="1885855"/>
                </a:cubicBezTo>
                <a:cubicBezTo>
                  <a:pt x="418483" y="1883001"/>
                  <a:pt x="399737" y="1875152"/>
                  <a:pt x="407597" y="1861834"/>
                </a:cubicBezTo>
                <a:cubicBezTo>
                  <a:pt x="422717" y="1851132"/>
                  <a:pt x="431184" y="1871585"/>
                  <a:pt x="448720" y="1860883"/>
                </a:cubicBezTo>
                <a:cubicBezTo>
                  <a:pt x="443278" y="1872537"/>
                  <a:pt x="428764" y="1875391"/>
                  <a:pt x="420902" y="1884666"/>
                </a:cubicBezTo>
                <a:cubicBezTo>
                  <a:pt x="425136" y="1892990"/>
                  <a:pt x="434811" y="1896320"/>
                  <a:pt x="439649" y="1902504"/>
                </a:cubicBezTo>
                <a:cubicBezTo>
                  <a:pt x="449930" y="1893466"/>
                  <a:pt x="454768" y="1881575"/>
                  <a:pt x="469281" y="1878958"/>
                </a:cubicBezTo>
                <a:cubicBezTo>
                  <a:pt x="472306" y="1869207"/>
                  <a:pt x="454164" y="1853747"/>
                  <a:pt x="468677" y="1848991"/>
                </a:cubicBezTo>
                <a:close/>
                <a:moveTo>
                  <a:pt x="1712030" y="1847089"/>
                </a:moveTo>
                <a:cubicBezTo>
                  <a:pt x="1716262" y="1847565"/>
                  <a:pt x="1714449" y="1853034"/>
                  <a:pt x="1712030" y="1853034"/>
                </a:cubicBezTo>
                <a:cubicBezTo>
                  <a:pt x="1713843" y="1856601"/>
                  <a:pt x="1718076" y="1860883"/>
                  <a:pt x="1717472" y="1869920"/>
                </a:cubicBezTo>
                <a:cubicBezTo>
                  <a:pt x="1704167" y="1868731"/>
                  <a:pt x="1707795" y="1877769"/>
                  <a:pt x="1699329" y="1868018"/>
                </a:cubicBezTo>
                <a:cubicBezTo>
                  <a:pt x="1696306" y="1851369"/>
                  <a:pt x="1713239" y="1861834"/>
                  <a:pt x="1712030" y="1847089"/>
                </a:cubicBezTo>
                <a:close/>
                <a:moveTo>
                  <a:pt x="1536654" y="1846137"/>
                </a:moveTo>
                <a:cubicBezTo>
                  <a:pt x="1546330" y="1844710"/>
                  <a:pt x="1548749" y="1856125"/>
                  <a:pt x="1554190" y="1858742"/>
                </a:cubicBezTo>
                <a:cubicBezTo>
                  <a:pt x="1551772" y="1871348"/>
                  <a:pt x="1531815" y="1865164"/>
                  <a:pt x="1536654" y="1846137"/>
                </a:cubicBezTo>
                <a:close/>
                <a:moveTo>
                  <a:pt x="1681792" y="1843046"/>
                </a:moveTo>
                <a:cubicBezTo>
                  <a:pt x="1678768" y="1848754"/>
                  <a:pt x="1678768" y="1853034"/>
                  <a:pt x="1678163" y="1860883"/>
                </a:cubicBezTo>
                <a:cubicBezTo>
                  <a:pt x="1662440" y="1855651"/>
                  <a:pt x="1664255" y="1864212"/>
                  <a:pt x="1650951" y="1857077"/>
                </a:cubicBezTo>
                <a:cubicBezTo>
                  <a:pt x="1656997" y="1847565"/>
                  <a:pt x="1667882" y="1843996"/>
                  <a:pt x="1681792" y="1843046"/>
                </a:cubicBezTo>
                <a:close/>
                <a:moveTo>
                  <a:pt x="295720" y="1843046"/>
                </a:moveTo>
                <a:cubicBezTo>
                  <a:pt x="302372" y="1845424"/>
                  <a:pt x="302977" y="1855412"/>
                  <a:pt x="313258" y="1853510"/>
                </a:cubicBezTo>
                <a:cubicBezTo>
                  <a:pt x="298744" y="1873726"/>
                  <a:pt x="327772" y="1872774"/>
                  <a:pt x="333819" y="1883001"/>
                </a:cubicBezTo>
                <a:cubicBezTo>
                  <a:pt x="328982" y="1888471"/>
                  <a:pt x="315678" y="1887044"/>
                  <a:pt x="307211" y="1876580"/>
                </a:cubicBezTo>
                <a:cubicBezTo>
                  <a:pt x="298139" y="1881575"/>
                  <a:pt x="293302" y="1891087"/>
                  <a:pt x="293905" y="1910590"/>
                </a:cubicBezTo>
                <a:cubicBezTo>
                  <a:pt x="289068" y="1922006"/>
                  <a:pt x="289673" y="1879195"/>
                  <a:pt x="273950" y="1883714"/>
                </a:cubicBezTo>
                <a:cubicBezTo>
                  <a:pt x="278788" y="1872298"/>
                  <a:pt x="289068" y="1888709"/>
                  <a:pt x="300558" y="1878006"/>
                </a:cubicBezTo>
                <a:cubicBezTo>
                  <a:pt x="304187" y="1854699"/>
                  <a:pt x="281207" y="1868731"/>
                  <a:pt x="287254" y="1843759"/>
                </a:cubicBezTo>
                <a:cubicBezTo>
                  <a:pt x="290883" y="1842094"/>
                  <a:pt x="293905" y="1842094"/>
                  <a:pt x="295720" y="1843046"/>
                </a:cubicBezTo>
                <a:close/>
                <a:moveTo>
                  <a:pt x="1562658" y="1842570"/>
                </a:moveTo>
                <a:cubicBezTo>
                  <a:pt x="1569914" y="1841142"/>
                  <a:pt x="1574148" y="1845424"/>
                  <a:pt x="1575963" y="1853510"/>
                </a:cubicBezTo>
                <a:cubicBezTo>
                  <a:pt x="1580195" y="1853747"/>
                  <a:pt x="1580195" y="1846375"/>
                  <a:pt x="1580195" y="1842570"/>
                </a:cubicBezTo>
                <a:cubicBezTo>
                  <a:pt x="1585033" y="1842807"/>
                  <a:pt x="1584428" y="1852321"/>
                  <a:pt x="1584428" y="1858029"/>
                </a:cubicBezTo>
                <a:cubicBezTo>
                  <a:pt x="1573543" y="1849467"/>
                  <a:pt x="1563867" y="1862548"/>
                  <a:pt x="1579590" y="1863737"/>
                </a:cubicBezTo>
                <a:cubicBezTo>
                  <a:pt x="1573543" y="1890850"/>
                  <a:pt x="1564472" y="1856364"/>
                  <a:pt x="1562658" y="1842570"/>
                </a:cubicBezTo>
                <a:close/>
                <a:moveTo>
                  <a:pt x="2948729" y="1839716"/>
                </a:moveTo>
                <a:cubicBezTo>
                  <a:pt x="2945101" y="1861120"/>
                  <a:pt x="2970500" y="1877532"/>
                  <a:pt x="2981385" y="1864688"/>
                </a:cubicBezTo>
                <a:cubicBezTo>
                  <a:pt x="2962033" y="1866829"/>
                  <a:pt x="2973524" y="1831867"/>
                  <a:pt x="2948729" y="1839716"/>
                </a:cubicBezTo>
                <a:close/>
                <a:moveTo>
                  <a:pt x="1347369" y="1834483"/>
                </a:moveTo>
                <a:cubicBezTo>
                  <a:pt x="1346763" y="1849704"/>
                  <a:pt x="1325598" y="1857553"/>
                  <a:pt x="1317132" y="1845424"/>
                </a:cubicBezTo>
                <a:cubicBezTo>
                  <a:pt x="1326808" y="1836624"/>
                  <a:pt x="1337693" y="1850893"/>
                  <a:pt x="1347369" y="1834483"/>
                </a:cubicBezTo>
                <a:close/>
                <a:moveTo>
                  <a:pt x="12419008" y="1818787"/>
                </a:moveTo>
                <a:cubicBezTo>
                  <a:pt x="12420217" y="1846613"/>
                  <a:pt x="12384538" y="1831392"/>
                  <a:pt x="12393004" y="1866115"/>
                </a:cubicBezTo>
                <a:cubicBezTo>
                  <a:pt x="12377885" y="1858505"/>
                  <a:pt x="12373653" y="1838764"/>
                  <a:pt x="12361557" y="1833294"/>
                </a:cubicBezTo>
                <a:cubicBezTo>
                  <a:pt x="12379095" y="1837099"/>
                  <a:pt x="12394819" y="1835910"/>
                  <a:pt x="12419008" y="1818787"/>
                </a:cubicBezTo>
                <a:close/>
                <a:moveTo>
                  <a:pt x="83758" y="1816883"/>
                </a:moveTo>
                <a:cubicBezTo>
                  <a:pt x="86933" y="1816467"/>
                  <a:pt x="91317" y="1816408"/>
                  <a:pt x="95551" y="1817122"/>
                </a:cubicBezTo>
                <a:cubicBezTo>
                  <a:pt x="104016" y="1818311"/>
                  <a:pt x="112483" y="1822830"/>
                  <a:pt x="110669" y="1834483"/>
                </a:cubicBezTo>
                <a:cubicBezTo>
                  <a:pt x="93131" y="1840667"/>
                  <a:pt x="88898" y="1824969"/>
                  <a:pt x="79222" y="1818787"/>
                </a:cubicBezTo>
                <a:cubicBezTo>
                  <a:pt x="78618" y="1818072"/>
                  <a:pt x="80583" y="1817300"/>
                  <a:pt x="83758" y="1816883"/>
                </a:cubicBezTo>
                <a:close/>
                <a:moveTo>
                  <a:pt x="2647567" y="1810700"/>
                </a:moveTo>
                <a:cubicBezTo>
                  <a:pt x="2649381" y="1828538"/>
                  <a:pt x="2643938" y="1835196"/>
                  <a:pt x="2629426" y="1832105"/>
                </a:cubicBezTo>
                <a:cubicBezTo>
                  <a:pt x="2627610" y="1817835"/>
                  <a:pt x="2635472" y="1811413"/>
                  <a:pt x="2647567" y="1810700"/>
                </a:cubicBezTo>
                <a:close/>
                <a:moveTo>
                  <a:pt x="2997109" y="1801425"/>
                </a:moveTo>
                <a:cubicBezTo>
                  <a:pt x="2992270" y="1799760"/>
                  <a:pt x="2988037" y="1801425"/>
                  <a:pt x="2986223" y="1811413"/>
                </a:cubicBezTo>
                <a:cubicBezTo>
                  <a:pt x="2988642" y="1815457"/>
                  <a:pt x="3009808" y="1825208"/>
                  <a:pt x="3010413" y="1811413"/>
                </a:cubicBezTo>
                <a:cubicBezTo>
                  <a:pt x="3007389" y="1808083"/>
                  <a:pt x="3001946" y="1803089"/>
                  <a:pt x="2997109" y="1801425"/>
                </a:cubicBezTo>
                <a:close/>
                <a:moveTo>
                  <a:pt x="1335878" y="1790484"/>
                </a:moveTo>
                <a:cubicBezTo>
                  <a:pt x="1335878" y="1797382"/>
                  <a:pt x="1337089" y="1802375"/>
                  <a:pt x="1341927" y="1804992"/>
                </a:cubicBezTo>
                <a:cubicBezTo>
                  <a:pt x="1341322" y="1811889"/>
                  <a:pt x="1320155" y="1817122"/>
                  <a:pt x="1335878" y="1825445"/>
                </a:cubicBezTo>
                <a:cubicBezTo>
                  <a:pt x="1326808" y="1826873"/>
                  <a:pt x="1291128" y="1811889"/>
                  <a:pt x="1283265" y="1792863"/>
                </a:cubicBezTo>
                <a:cubicBezTo>
                  <a:pt x="1296571" y="1796193"/>
                  <a:pt x="1317132" y="1798095"/>
                  <a:pt x="1322574" y="1817122"/>
                </a:cubicBezTo>
                <a:cubicBezTo>
                  <a:pt x="1329832" y="1817597"/>
                  <a:pt x="1317737" y="1788820"/>
                  <a:pt x="1335878" y="1790484"/>
                </a:cubicBezTo>
                <a:close/>
                <a:moveTo>
                  <a:pt x="11930980" y="1783825"/>
                </a:moveTo>
                <a:cubicBezTo>
                  <a:pt x="11927352" y="1803327"/>
                  <a:pt x="11934003" y="1811413"/>
                  <a:pt x="11950937" y="1809035"/>
                </a:cubicBezTo>
                <a:lnTo>
                  <a:pt x="11949727" y="1785252"/>
                </a:lnTo>
                <a:close/>
                <a:moveTo>
                  <a:pt x="2678409" y="1782873"/>
                </a:moveTo>
                <a:cubicBezTo>
                  <a:pt x="2672361" y="1799284"/>
                  <a:pt x="2696551" y="1786203"/>
                  <a:pt x="2689899" y="1804516"/>
                </a:cubicBezTo>
                <a:cubicBezTo>
                  <a:pt x="2674176" y="1803089"/>
                  <a:pt x="2658452" y="1805943"/>
                  <a:pt x="2653614" y="1798095"/>
                </a:cubicBezTo>
                <a:cubicBezTo>
                  <a:pt x="2651800" y="1782873"/>
                  <a:pt x="2669942" y="1787868"/>
                  <a:pt x="2678409" y="1782873"/>
                </a:cubicBezTo>
                <a:close/>
                <a:moveTo>
                  <a:pt x="1530001" y="1781922"/>
                </a:moveTo>
                <a:cubicBezTo>
                  <a:pt x="1514883" y="1792387"/>
                  <a:pt x="1484646" y="1780257"/>
                  <a:pt x="1478598" y="1799284"/>
                </a:cubicBezTo>
                <a:cubicBezTo>
                  <a:pt x="1505208" y="1793813"/>
                  <a:pt x="1527583" y="1817122"/>
                  <a:pt x="1530001" y="1781922"/>
                </a:cubicBezTo>
                <a:close/>
                <a:moveTo>
                  <a:pt x="1568100" y="1781446"/>
                </a:moveTo>
                <a:cubicBezTo>
                  <a:pt x="1566892" y="1808797"/>
                  <a:pt x="1590476" y="1806657"/>
                  <a:pt x="1596523" y="1787630"/>
                </a:cubicBezTo>
                <a:cubicBezTo>
                  <a:pt x="1585033" y="1778830"/>
                  <a:pt x="1582009" y="1790484"/>
                  <a:pt x="1568100" y="1781446"/>
                </a:cubicBezTo>
                <a:close/>
                <a:moveTo>
                  <a:pt x="2070037" y="1774312"/>
                </a:moveTo>
                <a:cubicBezTo>
                  <a:pt x="2081527" y="1784300"/>
                  <a:pt x="2084550" y="1784776"/>
                  <a:pt x="2102088" y="1779544"/>
                </a:cubicBezTo>
                <a:cubicBezTo>
                  <a:pt x="2079108" y="1795478"/>
                  <a:pt x="2071246" y="1798808"/>
                  <a:pt x="2034356" y="1793339"/>
                </a:cubicBezTo>
                <a:cubicBezTo>
                  <a:pt x="2038590" y="1764798"/>
                  <a:pt x="2065198" y="1816408"/>
                  <a:pt x="2070037" y="1774312"/>
                </a:cubicBezTo>
                <a:close/>
                <a:moveTo>
                  <a:pt x="2697760" y="1772884"/>
                </a:moveTo>
                <a:cubicBezTo>
                  <a:pt x="2700784" y="1771932"/>
                  <a:pt x="2703203" y="1772171"/>
                  <a:pt x="2705018" y="1773836"/>
                </a:cubicBezTo>
                <a:cubicBezTo>
                  <a:pt x="2708041" y="1775976"/>
                  <a:pt x="2709855" y="1780733"/>
                  <a:pt x="2708646" y="1789533"/>
                </a:cubicBezTo>
                <a:cubicBezTo>
                  <a:pt x="2701389" y="1788820"/>
                  <a:pt x="2694132" y="1788105"/>
                  <a:pt x="2693528" y="1796193"/>
                </a:cubicBezTo>
                <a:cubicBezTo>
                  <a:pt x="2682642" y="1787155"/>
                  <a:pt x="2690503" y="1775501"/>
                  <a:pt x="2697760" y="1772884"/>
                </a:cubicBezTo>
                <a:close/>
                <a:moveTo>
                  <a:pt x="11838454" y="1771458"/>
                </a:moveTo>
                <a:cubicBezTo>
                  <a:pt x="11842688" y="1775501"/>
                  <a:pt x="11836035" y="1787868"/>
                  <a:pt x="11832407" y="1788820"/>
                </a:cubicBezTo>
                <a:cubicBezTo>
                  <a:pt x="11820312" y="1785965"/>
                  <a:pt x="11808217" y="1781209"/>
                  <a:pt x="11791285" y="1783825"/>
                </a:cubicBezTo>
                <a:lnTo>
                  <a:pt x="11790680" y="1807370"/>
                </a:lnTo>
                <a:cubicBezTo>
                  <a:pt x="11799750" y="1810224"/>
                  <a:pt x="11816683" y="1801425"/>
                  <a:pt x="11810637" y="1820689"/>
                </a:cubicBezTo>
                <a:cubicBezTo>
                  <a:pt x="11798541" y="1819737"/>
                  <a:pt x="11797332" y="1809748"/>
                  <a:pt x="11779795" y="1814268"/>
                </a:cubicBezTo>
                <a:cubicBezTo>
                  <a:pt x="11785842" y="1842331"/>
                  <a:pt x="11750767" y="1821402"/>
                  <a:pt x="11749557" y="1843046"/>
                </a:cubicBezTo>
                <a:cubicBezTo>
                  <a:pt x="11755604" y="1859455"/>
                  <a:pt x="11769514" y="1831153"/>
                  <a:pt x="11775561" y="1849467"/>
                </a:cubicBezTo>
                <a:cubicBezTo>
                  <a:pt x="11781609" y="1873726"/>
                  <a:pt x="11760443" y="1862072"/>
                  <a:pt x="11764676" y="1880147"/>
                </a:cubicBezTo>
                <a:cubicBezTo>
                  <a:pt x="11774352" y="1879195"/>
                  <a:pt x="11776166" y="1887520"/>
                  <a:pt x="11785842" y="1888233"/>
                </a:cubicBezTo>
                <a:cubicBezTo>
                  <a:pt x="11786446" y="1876580"/>
                  <a:pt x="11776770" y="1871348"/>
                  <a:pt x="11784027" y="1868018"/>
                </a:cubicBezTo>
                <a:cubicBezTo>
                  <a:pt x="11793703" y="1874678"/>
                  <a:pt x="11795518" y="1884903"/>
                  <a:pt x="11794913" y="1898698"/>
                </a:cubicBezTo>
                <a:cubicBezTo>
                  <a:pt x="11785237" y="1897985"/>
                  <a:pt x="11784027" y="1905834"/>
                  <a:pt x="11774352" y="1904882"/>
                </a:cubicBezTo>
                <a:cubicBezTo>
                  <a:pt x="11760443" y="1897747"/>
                  <a:pt x="11755000" y="1877532"/>
                  <a:pt x="11741091" y="1868494"/>
                </a:cubicBezTo>
                <a:cubicBezTo>
                  <a:pt x="11739881" y="1894179"/>
                  <a:pt x="11762257" y="1880147"/>
                  <a:pt x="11750767" y="1904882"/>
                </a:cubicBezTo>
                <a:cubicBezTo>
                  <a:pt x="11767699" y="1908449"/>
                  <a:pt x="11771328" y="1922482"/>
                  <a:pt x="11788865" y="1912016"/>
                </a:cubicBezTo>
                <a:lnTo>
                  <a:pt x="11789471" y="1947930"/>
                </a:lnTo>
                <a:cubicBezTo>
                  <a:pt x="11810031" y="1965531"/>
                  <a:pt x="11837849" y="1940081"/>
                  <a:pt x="11889857" y="1960297"/>
                </a:cubicBezTo>
                <a:cubicBezTo>
                  <a:pt x="11884415" y="1961962"/>
                  <a:pt x="11881996" y="1967433"/>
                  <a:pt x="11878972" y="1973141"/>
                </a:cubicBezTo>
                <a:cubicBezTo>
                  <a:pt x="11891671" y="1968146"/>
                  <a:pt x="11899533" y="1957206"/>
                  <a:pt x="11900743" y="1937464"/>
                </a:cubicBezTo>
                <a:cubicBezTo>
                  <a:pt x="11891671" y="1918915"/>
                  <a:pt x="11874135" y="1937227"/>
                  <a:pt x="11885020" y="1918200"/>
                </a:cubicBezTo>
                <a:cubicBezTo>
                  <a:pt x="11859015" y="1912016"/>
                  <a:pt x="11842083" y="1947930"/>
                  <a:pt x="11823941" y="1928666"/>
                </a:cubicBezTo>
                <a:cubicBezTo>
                  <a:pt x="11849340" y="1905119"/>
                  <a:pt x="11870505" y="1913206"/>
                  <a:pt x="11888648" y="1887044"/>
                </a:cubicBezTo>
                <a:cubicBezTo>
                  <a:pt x="11905581" y="1890374"/>
                  <a:pt x="11899533" y="1913681"/>
                  <a:pt x="11889857" y="1918676"/>
                </a:cubicBezTo>
                <a:cubicBezTo>
                  <a:pt x="11909209" y="1916535"/>
                  <a:pt x="11934608" y="1924860"/>
                  <a:pt x="11934003" y="1901076"/>
                </a:cubicBezTo>
                <a:cubicBezTo>
                  <a:pt x="11919490" y="1901791"/>
                  <a:pt x="11913442" y="1910827"/>
                  <a:pt x="11904977" y="1900363"/>
                </a:cubicBezTo>
                <a:cubicBezTo>
                  <a:pt x="11898929" y="1878006"/>
                  <a:pt x="11918281" y="1883477"/>
                  <a:pt x="11914653" y="1863261"/>
                </a:cubicBezTo>
                <a:cubicBezTo>
                  <a:pt x="11887439" y="1876817"/>
                  <a:pt x="11848735" y="1879671"/>
                  <a:pt x="11840268" y="1857077"/>
                </a:cubicBezTo>
                <a:cubicBezTo>
                  <a:pt x="11864459" y="1851132"/>
                  <a:pt x="11892276" y="1869444"/>
                  <a:pt x="11901347" y="1838526"/>
                </a:cubicBezTo>
                <a:cubicBezTo>
                  <a:pt x="11887439" y="1829488"/>
                  <a:pt x="11874739" y="1836386"/>
                  <a:pt x="11885625" y="1815457"/>
                </a:cubicBezTo>
                <a:cubicBezTo>
                  <a:pt x="11869296" y="1809986"/>
                  <a:pt x="11849944" y="1808083"/>
                  <a:pt x="11846316" y="1790009"/>
                </a:cubicBezTo>
                <a:cubicBezTo>
                  <a:pt x="11874739" y="1798332"/>
                  <a:pt x="11892881" y="1822115"/>
                  <a:pt x="11926143" y="1826873"/>
                </a:cubicBezTo>
                <a:cubicBezTo>
                  <a:pt x="11926747" y="1811175"/>
                  <a:pt x="11919490" y="1780733"/>
                  <a:pt x="11909814" y="1771932"/>
                </a:cubicBezTo>
                <a:cubicBezTo>
                  <a:pt x="11898324" y="1769080"/>
                  <a:pt x="11923118" y="1795002"/>
                  <a:pt x="11906186" y="1797619"/>
                </a:cubicBezTo>
                <a:cubicBezTo>
                  <a:pt x="11890462" y="1774786"/>
                  <a:pt x="11863249" y="1769793"/>
                  <a:pt x="11838454" y="1771458"/>
                </a:cubicBezTo>
                <a:close/>
                <a:moveTo>
                  <a:pt x="2440744" y="1768604"/>
                </a:moveTo>
                <a:cubicBezTo>
                  <a:pt x="2448606" y="1769554"/>
                  <a:pt x="2457677" y="1775025"/>
                  <a:pt x="2458887" y="1777641"/>
                </a:cubicBezTo>
                <a:cubicBezTo>
                  <a:pt x="2449815" y="1798571"/>
                  <a:pt x="2440744" y="1771458"/>
                  <a:pt x="2429255" y="1786679"/>
                </a:cubicBezTo>
                <a:cubicBezTo>
                  <a:pt x="2428650" y="1784300"/>
                  <a:pt x="2428650" y="1782635"/>
                  <a:pt x="2428650" y="1780970"/>
                </a:cubicBezTo>
                <a:cubicBezTo>
                  <a:pt x="2424417" y="1809986"/>
                  <a:pt x="2405669" y="1800473"/>
                  <a:pt x="2383294" y="1798571"/>
                </a:cubicBezTo>
                <a:cubicBezTo>
                  <a:pt x="2383899" y="1792387"/>
                  <a:pt x="2391156" y="1793100"/>
                  <a:pt x="2393575" y="1793339"/>
                </a:cubicBezTo>
                <a:cubicBezTo>
                  <a:pt x="2394179" y="1787155"/>
                  <a:pt x="2388736" y="1786916"/>
                  <a:pt x="2389342" y="1780970"/>
                </a:cubicBezTo>
                <a:cubicBezTo>
                  <a:pt x="2391760" y="1779068"/>
                  <a:pt x="2411113" y="1790722"/>
                  <a:pt x="2428650" y="1780019"/>
                </a:cubicBezTo>
                <a:cubicBezTo>
                  <a:pt x="2428650" y="1770743"/>
                  <a:pt x="2434697" y="1767889"/>
                  <a:pt x="2440744" y="1768604"/>
                </a:cubicBezTo>
                <a:close/>
                <a:moveTo>
                  <a:pt x="2879183" y="1766226"/>
                </a:moveTo>
                <a:cubicBezTo>
                  <a:pt x="2884022" y="1764322"/>
                  <a:pt x="2893697" y="1784300"/>
                  <a:pt x="2895512" y="1772647"/>
                </a:cubicBezTo>
                <a:cubicBezTo>
                  <a:pt x="2903978" y="1798095"/>
                  <a:pt x="2887045" y="1780495"/>
                  <a:pt x="2874950" y="1777166"/>
                </a:cubicBezTo>
                <a:cubicBezTo>
                  <a:pt x="2875555" y="1769793"/>
                  <a:pt x="2877369" y="1766939"/>
                  <a:pt x="2879183" y="1766226"/>
                </a:cubicBezTo>
                <a:close/>
                <a:moveTo>
                  <a:pt x="3114429" y="1758852"/>
                </a:moveTo>
                <a:cubicBezTo>
                  <a:pt x="3099915" y="1761468"/>
                  <a:pt x="3078749" y="1753620"/>
                  <a:pt x="3078144" y="1771458"/>
                </a:cubicBezTo>
                <a:cubicBezTo>
                  <a:pt x="3084797" y="1774073"/>
                  <a:pt x="3105962" y="1781922"/>
                  <a:pt x="3114429" y="1758852"/>
                </a:cubicBezTo>
                <a:close/>
                <a:moveTo>
                  <a:pt x="3048512" y="1753620"/>
                </a:moveTo>
                <a:cubicBezTo>
                  <a:pt x="3046092" y="1752431"/>
                  <a:pt x="3043069" y="1751955"/>
                  <a:pt x="3038231" y="1754096"/>
                </a:cubicBezTo>
                <a:cubicBezTo>
                  <a:pt x="3041859" y="1772171"/>
                  <a:pt x="3029764" y="1771219"/>
                  <a:pt x="3038836" y="1781922"/>
                </a:cubicBezTo>
                <a:cubicBezTo>
                  <a:pt x="3048512" y="1778830"/>
                  <a:pt x="3058188" y="1779544"/>
                  <a:pt x="3063025" y="1771932"/>
                </a:cubicBezTo>
                <a:cubicBezTo>
                  <a:pt x="3053954" y="1771219"/>
                  <a:pt x="3055768" y="1757187"/>
                  <a:pt x="3048512" y="1753620"/>
                </a:cubicBezTo>
                <a:close/>
                <a:moveTo>
                  <a:pt x="1924898" y="1752906"/>
                </a:moveTo>
                <a:cubicBezTo>
                  <a:pt x="1923690" y="1776690"/>
                  <a:pt x="1903128" y="1767415"/>
                  <a:pt x="1886799" y="1768604"/>
                </a:cubicBezTo>
                <a:cubicBezTo>
                  <a:pt x="1895266" y="1758852"/>
                  <a:pt x="1909175" y="1751717"/>
                  <a:pt x="1924898" y="1752906"/>
                </a:cubicBezTo>
                <a:close/>
                <a:moveTo>
                  <a:pt x="2351243" y="1746484"/>
                </a:moveTo>
                <a:cubicBezTo>
                  <a:pt x="2368175" y="1758377"/>
                  <a:pt x="2385108" y="1732690"/>
                  <a:pt x="2385713" y="1763846"/>
                </a:cubicBezTo>
                <a:cubicBezTo>
                  <a:pt x="2372409" y="1762896"/>
                  <a:pt x="2347614" y="1773360"/>
                  <a:pt x="2351243" y="1746484"/>
                </a:cubicBezTo>
                <a:close/>
                <a:moveTo>
                  <a:pt x="2767306" y="1741252"/>
                </a:moveTo>
                <a:cubicBezTo>
                  <a:pt x="2775169" y="1744106"/>
                  <a:pt x="2766701" y="1747436"/>
                  <a:pt x="2766701" y="1753620"/>
                </a:cubicBezTo>
                <a:cubicBezTo>
                  <a:pt x="2770934" y="1774312"/>
                  <a:pt x="2776982" y="1754809"/>
                  <a:pt x="2786658" y="1765750"/>
                </a:cubicBezTo>
                <a:cubicBezTo>
                  <a:pt x="2783634" y="1771695"/>
                  <a:pt x="2775773" y="1772647"/>
                  <a:pt x="2778192" y="1782873"/>
                </a:cubicBezTo>
                <a:cubicBezTo>
                  <a:pt x="2775773" y="1776690"/>
                  <a:pt x="2755816" y="1760755"/>
                  <a:pt x="2752188" y="1776690"/>
                </a:cubicBezTo>
                <a:cubicBezTo>
                  <a:pt x="2741302" y="1781922"/>
                  <a:pt x="2761863" y="1749101"/>
                  <a:pt x="2767306" y="1741252"/>
                </a:cubicBezTo>
                <a:close/>
                <a:moveTo>
                  <a:pt x="2928167" y="1736972"/>
                </a:moveTo>
                <a:cubicBezTo>
                  <a:pt x="2913049" y="1759803"/>
                  <a:pt x="2951147" y="1761468"/>
                  <a:pt x="2937843" y="1780970"/>
                </a:cubicBezTo>
                <a:cubicBezTo>
                  <a:pt x="2928772" y="1770743"/>
                  <a:pt x="2899744" y="1738161"/>
                  <a:pt x="2928167" y="1736972"/>
                </a:cubicBezTo>
                <a:close/>
                <a:moveTo>
                  <a:pt x="2585278" y="1736972"/>
                </a:moveTo>
                <a:cubicBezTo>
                  <a:pt x="2574997" y="1737922"/>
                  <a:pt x="2564717" y="1746960"/>
                  <a:pt x="2564717" y="1760042"/>
                </a:cubicBezTo>
                <a:cubicBezTo>
                  <a:pt x="2591931" y="1752193"/>
                  <a:pt x="2579836" y="1749101"/>
                  <a:pt x="2603421" y="1759328"/>
                </a:cubicBezTo>
                <a:cubicBezTo>
                  <a:pt x="2605839" y="1742441"/>
                  <a:pt x="2595559" y="1735783"/>
                  <a:pt x="2585278" y="1736972"/>
                </a:cubicBezTo>
                <a:close/>
                <a:moveTo>
                  <a:pt x="2164982" y="1732690"/>
                </a:moveTo>
                <a:cubicBezTo>
                  <a:pt x="2168005" y="1744345"/>
                  <a:pt x="2173448" y="1755998"/>
                  <a:pt x="2176472" y="1771932"/>
                </a:cubicBezTo>
                <a:cubicBezTo>
                  <a:pt x="2163772" y="1775501"/>
                  <a:pt x="2156515" y="1763846"/>
                  <a:pt x="2163168" y="1752906"/>
                </a:cubicBezTo>
                <a:lnTo>
                  <a:pt x="2155306" y="1752431"/>
                </a:lnTo>
                <a:cubicBezTo>
                  <a:pt x="2151073" y="1756712"/>
                  <a:pt x="2157120" y="1761231"/>
                  <a:pt x="2155911" y="1772647"/>
                </a:cubicBezTo>
                <a:lnTo>
                  <a:pt x="2139583" y="1773836"/>
                </a:lnTo>
                <a:cubicBezTo>
                  <a:pt x="2144421" y="1765274"/>
                  <a:pt x="2143211" y="1748863"/>
                  <a:pt x="2147444" y="1740302"/>
                </a:cubicBezTo>
                <a:cubicBezTo>
                  <a:pt x="2154096" y="1738637"/>
                  <a:pt x="2164377" y="1741728"/>
                  <a:pt x="2164982" y="1732690"/>
                </a:cubicBezTo>
                <a:close/>
                <a:moveTo>
                  <a:pt x="12657277" y="1729361"/>
                </a:moveTo>
                <a:cubicBezTo>
                  <a:pt x="12656672" y="1746010"/>
                  <a:pt x="12639134" y="1742204"/>
                  <a:pt x="12626435" y="1745058"/>
                </a:cubicBezTo>
                <a:cubicBezTo>
                  <a:pt x="12630063" y="1732215"/>
                  <a:pt x="12644578" y="1733879"/>
                  <a:pt x="12657277" y="1729361"/>
                </a:cubicBezTo>
                <a:close/>
                <a:moveTo>
                  <a:pt x="917396" y="1727458"/>
                </a:moveTo>
                <a:cubicBezTo>
                  <a:pt x="909536" y="1746723"/>
                  <a:pt x="894416" y="1726031"/>
                  <a:pt x="886554" y="1739350"/>
                </a:cubicBezTo>
                <a:cubicBezTo>
                  <a:pt x="895626" y="1749814"/>
                  <a:pt x="932516" y="1744819"/>
                  <a:pt x="917396" y="1727458"/>
                </a:cubicBezTo>
                <a:close/>
                <a:moveTo>
                  <a:pt x="521289" y="1726983"/>
                </a:moveTo>
                <a:cubicBezTo>
                  <a:pt x="530965" y="1747199"/>
                  <a:pt x="563622" y="1755047"/>
                  <a:pt x="519475" y="1747912"/>
                </a:cubicBezTo>
                <a:close/>
                <a:moveTo>
                  <a:pt x="2981989" y="1725793"/>
                </a:moveTo>
                <a:cubicBezTo>
                  <a:pt x="2983805" y="1737685"/>
                  <a:pt x="2980175" y="1747199"/>
                  <a:pt x="2977757" y="1752906"/>
                </a:cubicBezTo>
                <a:cubicBezTo>
                  <a:pt x="3000737" y="1768841"/>
                  <a:pt x="3005575" y="1729836"/>
                  <a:pt x="2981989" y="1725793"/>
                </a:cubicBezTo>
                <a:close/>
                <a:moveTo>
                  <a:pt x="1562053" y="1724129"/>
                </a:moveTo>
                <a:cubicBezTo>
                  <a:pt x="1585637" y="1733879"/>
                  <a:pt x="1603780" y="1745534"/>
                  <a:pt x="1629784" y="1753620"/>
                </a:cubicBezTo>
                <a:cubicBezTo>
                  <a:pt x="1616479" y="1777879"/>
                  <a:pt x="1651555" y="1757425"/>
                  <a:pt x="1628575" y="1780970"/>
                </a:cubicBezTo>
                <a:cubicBezTo>
                  <a:pt x="1635226" y="1789295"/>
                  <a:pt x="1649741" y="1784776"/>
                  <a:pt x="1657602" y="1781446"/>
                </a:cubicBezTo>
                <a:cubicBezTo>
                  <a:pt x="1649135" y="1759090"/>
                  <a:pt x="1648530" y="1760992"/>
                  <a:pt x="1637645" y="1748388"/>
                </a:cubicBezTo>
                <a:cubicBezTo>
                  <a:pt x="1654578" y="1745771"/>
                  <a:pt x="1666068" y="1748388"/>
                  <a:pt x="1662440" y="1769554"/>
                </a:cubicBezTo>
                <a:cubicBezTo>
                  <a:pt x="1676953" y="1774786"/>
                  <a:pt x="1679372" y="1763609"/>
                  <a:pt x="1689048" y="1764561"/>
                </a:cubicBezTo>
                <a:cubicBezTo>
                  <a:pt x="1692677" y="1782398"/>
                  <a:pt x="1693887" y="1776690"/>
                  <a:pt x="1690258" y="1794052"/>
                </a:cubicBezTo>
                <a:cubicBezTo>
                  <a:pt x="1699934" y="1787155"/>
                  <a:pt x="1712030" y="1787630"/>
                  <a:pt x="1728357" y="1790959"/>
                </a:cubicBezTo>
                <a:lnTo>
                  <a:pt x="1727752" y="1769554"/>
                </a:lnTo>
                <a:cubicBezTo>
                  <a:pt x="1737429" y="1768604"/>
                  <a:pt x="1753151" y="1787868"/>
                  <a:pt x="1756780" y="1770506"/>
                </a:cubicBezTo>
                <a:cubicBezTo>
                  <a:pt x="1765851" y="1779068"/>
                  <a:pt x="1752546" y="1793339"/>
                  <a:pt x="1738033" y="1794052"/>
                </a:cubicBezTo>
                <a:cubicBezTo>
                  <a:pt x="1764036" y="1800236"/>
                  <a:pt x="1797298" y="1812603"/>
                  <a:pt x="1814835" y="1798571"/>
                </a:cubicBezTo>
                <a:cubicBezTo>
                  <a:pt x="1816650" y="1816408"/>
                  <a:pt x="1803950" y="1817122"/>
                  <a:pt x="1790041" y="1815933"/>
                </a:cubicBezTo>
                <a:cubicBezTo>
                  <a:pt x="1789436" y="1825684"/>
                  <a:pt x="1794274" y="1826158"/>
                  <a:pt x="1793669" y="1834007"/>
                </a:cubicBezTo>
                <a:cubicBezTo>
                  <a:pt x="1808788" y="1821402"/>
                  <a:pt x="1846886" y="1824969"/>
                  <a:pt x="1843258" y="1804992"/>
                </a:cubicBezTo>
                <a:cubicBezTo>
                  <a:pt x="1855957" y="1800236"/>
                  <a:pt x="1852329" y="1817359"/>
                  <a:pt x="1856562" y="1821641"/>
                </a:cubicBezTo>
                <a:cubicBezTo>
                  <a:pt x="1865029" y="1804754"/>
                  <a:pt x="1904942" y="1826158"/>
                  <a:pt x="1903128" y="1810224"/>
                </a:cubicBezTo>
                <a:cubicBezTo>
                  <a:pt x="1929736" y="1812603"/>
                  <a:pt x="2015006" y="1819737"/>
                  <a:pt x="2003515" y="1775738"/>
                </a:cubicBezTo>
                <a:cubicBezTo>
                  <a:pt x="2022867" y="1771458"/>
                  <a:pt x="2018634" y="1806181"/>
                  <a:pt x="2004119" y="1804992"/>
                </a:cubicBezTo>
                <a:cubicBezTo>
                  <a:pt x="2012586" y="1831153"/>
                  <a:pt x="2064594" y="1804516"/>
                  <a:pt x="2070037" y="1834483"/>
                </a:cubicBezTo>
                <a:cubicBezTo>
                  <a:pt x="2077294" y="1827349"/>
                  <a:pt x="2077899" y="1815218"/>
                  <a:pt x="2092412" y="1816408"/>
                </a:cubicBezTo>
                <a:cubicBezTo>
                  <a:pt x="2098460" y="1834721"/>
                  <a:pt x="2086969" y="1832105"/>
                  <a:pt x="2083946" y="1839716"/>
                </a:cubicBezTo>
                <a:cubicBezTo>
                  <a:pt x="2115392" y="1840429"/>
                  <a:pt x="2176472" y="1818072"/>
                  <a:pt x="2206105" y="1846137"/>
                </a:cubicBezTo>
                <a:cubicBezTo>
                  <a:pt x="2218199" y="1843283"/>
                  <a:pt x="2221222" y="1829488"/>
                  <a:pt x="2235737" y="1828775"/>
                </a:cubicBezTo>
                <a:cubicBezTo>
                  <a:pt x="2235132" y="1842331"/>
                  <a:pt x="2255089" y="1834721"/>
                  <a:pt x="2248436" y="1857553"/>
                </a:cubicBezTo>
                <a:cubicBezTo>
                  <a:pt x="2198847" y="1851369"/>
                  <a:pt x="2184938" y="1883477"/>
                  <a:pt x="2140791" y="1897509"/>
                </a:cubicBezTo>
                <a:cubicBezTo>
                  <a:pt x="2141397" y="1887757"/>
                  <a:pt x="2134140" y="1884903"/>
                  <a:pt x="2134744" y="1875152"/>
                </a:cubicBezTo>
                <a:cubicBezTo>
                  <a:pt x="2146234" y="1883953"/>
                  <a:pt x="2148048" y="1887996"/>
                  <a:pt x="2163168" y="1879434"/>
                </a:cubicBezTo>
                <a:cubicBezTo>
                  <a:pt x="2140188" y="1865639"/>
                  <a:pt x="2116602" y="1852321"/>
                  <a:pt x="2083342" y="1851369"/>
                </a:cubicBezTo>
                <a:cubicBezTo>
                  <a:pt x="2082737" y="1861120"/>
                  <a:pt x="2087575" y="1861358"/>
                  <a:pt x="2091808" y="1861834"/>
                </a:cubicBezTo>
                <a:cubicBezTo>
                  <a:pt x="2091203" y="1875391"/>
                  <a:pt x="2073060" y="1865877"/>
                  <a:pt x="2065803" y="1868969"/>
                </a:cubicBezTo>
                <a:cubicBezTo>
                  <a:pt x="2063989" y="1857077"/>
                  <a:pt x="2077899" y="1860644"/>
                  <a:pt x="2074270" y="1846613"/>
                </a:cubicBezTo>
                <a:cubicBezTo>
                  <a:pt x="2067014" y="1843996"/>
                  <a:pt x="2063989" y="1851369"/>
                  <a:pt x="2068828" y="1851845"/>
                </a:cubicBezTo>
                <a:cubicBezTo>
                  <a:pt x="2041009" y="1878958"/>
                  <a:pt x="2011981" y="1835435"/>
                  <a:pt x="1993234" y="1868969"/>
                </a:cubicBezTo>
                <a:cubicBezTo>
                  <a:pt x="2013795" y="1843283"/>
                  <a:pt x="1972068" y="1860883"/>
                  <a:pt x="1975697" y="1839716"/>
                </a:cubicBezTo>
                <a:cubicBezTo>
                  <a:pt x="1907965" y="1853510"/>
                  <a:pt x="1841444" y="1838051"/>
                  <a:pt x="1776132" y="1844235"/>
                </a:cubicBezTo>
                <a:cubicBezTo>
                  <a:pt x="1771898" y="1830202"/>
                  <a:pt x="1783993" y="1833294"/>
                  <a:pt x="1784598" y="1821641"/>
                </a:cubicBezTo>
                <a:cubicBezTo>
                  <a:pt x="1752546" y="1834721"/>
                  <a:pt x="1734405" y="1819024"/>
                  <a:pt x="1695096" y="1833294"/>
                </a:cubicBezTo>
                <a:cubicBezTo>
                  <a:pt x="1690862" y="1823306"/>
                  <a:pt x="1679372" y="1816408"/>
                  <a:pt x="1689654" y="1805468"/>
                </a:cubicBezTo>
                <a:cubicBezTo>
                  <a:pt x="1676349" y="1822115"/>
                  <a:pt x="1665464" y="1795478"/>
                  <a:pt x="1648530" y="1798095"/>
                </a:cubicBezTo>
                <a:cubicBezTo>
                  <a:pt x="1647321" y="1819500"/>
                  <a:pt x="1682397" y="1801425"/>
                  <a:pt x="1676349" y="1828299"/>
                </a:cubicBezTo>
                <a:cubicBezTo>
                  <a:pt x="1661231" y="1836624"/>
                  <a:pt x="1644902" y="1827349"/>
                  <a:pt x="1643693" y="1805468"/>
                </a:cubicBezTo>
                <a:cubicBezTo>
                  <a:pt x="1626760" y="1802138"/>
                  <a:pt x="1632808" y="1822115"/>
                  <a:pt x="1614061" y="1816408"/>
                </a:cubicBezTo>
                <a:lnTo>
                  <a:pt x="1615270" y="1840191"/>
                </a:lnTo>
                <a:cubicBezTo>
                  <a:pt x="1612246" y="1851132"/>
                  <a:pt x="1609828" y="1841618"/>
                  <a:pt x="1610432" y="1834959"/>
                </a:cubicBezTo>
                <a:cubicBezTo>
                  <a:pt x="1611037" y="1819262"/>
                  <a:pt x="1593499" y="1831629"/>
                  <a:pt x="1586242" y="1828775"/>
                </a:cubicBezTo>
                <a:cubicBezTo>
                  <a:pt x="1591686" y="1808559"/>
                  <a:pt x="1603780" y="1821641"/>
                  <a:pt x="1611642" y="1815933"/>
                </a:cubicBezTo>
                <a:cubicBezTo>
                  <a:pt x="1595918" y="1804516"/>
                  <a:pt x="1532420" y="1781684"/>
                  <a:pt x="1548749" y="1826873"/>
                </a:cubicBezTo>
                <a:cubicBezTo>
                  <a:pt x="1540886" y="1838051"/>
                  <a:pt x="1537259" y="1826158"/>
                  <a:pt x="1519721" y="1834483"/>
                </a:cubicBezTo>
                <a:cubicBezTo>
                  <a:pt x="1519116" y="1844235"/>
                  <a:pt x="1523955" y="1844472"/>
                  <a:pt x="1528792" y="1844948"/>
                </a:cubicBezTo>
                <a:cubicBezTo>
                  <a:pt x="1513068" y="1861120"/>
                  <a:pt x="1502183" y="1848278"/>
                  <a:pt x="1477994" y="1849943"/>
                </a:cubicBezTo>
                <a:cubicBezTo>
                  <a:pt x="1480413" y="1846375"/>
                  <a:pt x="1483436" y="1835196"/>
                  <a:pt x="1476784" y="1832581"/>
                </a:cubicBezTo>
                <a:cubicBezTo>
                  <a:pt x="1477389" y="1822830"/>
                  <a:pt x="1506416" y="1854699"/>
                  <a:pt x="1514883" y="1834007"/>
                </a:cubicBezTo>
                <a:cubicBezTo>
                  <a:pt x="1458641" y="1809511"/>
                  <a:pt x="1429009" y="1783111"/>
                  <a:pt x="1382444" y="1792863"/>
                </a:cubicBezTo>
                <a:cubicBezTo>
                  <a:pt x="1390911" y="1771932"/>
                  <a:pt x="1364907" y="1760517"/>
                  <a:pt x="1359464" y="1775738"/>
                </a:cubicBezTo>
                <a:cubicBezTo>
                  <a:pt x="1361278" y="1777879"/>
                  <a:pt x="1369140" y="1775976"/>
                  <a:pt x="1369140" y="1781922"/>
                </a:cubicBezTo>
                <a:cubicBezTo>
                  <a:pt x="1368536" y="1787868"/>
                  <a:pt x="1361278" y="1789295"/>
                  <a:pt x="1363092" y="1799284"/>
                </a:cubicBezTo>
                <a:cubicBezTo>
                  <a:pt x="1372768" y="1800236"/>
                  <a:pt x="1377606" y="1796430"/>
                  <a:pt x="1382444" y="1792863"/>
                </a:cubicBezTo>
                <a:cubicBezTo>
                  <a:pt x="1381839" y="1808322"/>
                  <a:pt x="1390911" y="1807370"/>
                  <a:pt x="1400587" y="1810224"/>
                </a:cubicBezTo>
                <a:cubicBezTo>
                  <a:pt x="1399982" y="1819976"/>
                  <a:pt x="1386072" y="1814981"/>
                  <a:pt x="1387886" y="1826873"/>
                </a:cubicBezTo>
                <a:cubicBezTo>
                  <a:pt x="1378211" y="1824019"/>
                  <a:pt x="1376396" y="1818072"/>
                  <a:pt x="1381839" y="1810700"/>
                </a:cubicBezTo>
                <a:cubicBezTo>
                  <a:pt x="1368536" y="1827349"/>
                  <a:pt x="1354021" y="1784538"/>
                  <a:pt x="1354626" y="1821641"/>
                </a:cubicBezTo>
                <a:cubicBezTo>
                  <a:pt x="1343135" y="1812840"/>
                  <a:pt x="1341322" y="1795717"/>
                  <a:pt x="1335274" y="1781446"/>
                </a:cubicBezTo>
                <a:cubicBezTo>
                  <a:pt x="1340112" y="1779781"/>
                  <a:pt x="1338298" y="1769793"/>
                  <a:pt x="1345554" y="1770506"/>
                </a:cubicBezTo>
                <a:cubicBezTo>
                  <a:pt x="1346159" y="1758852"/>
                  <a:pt x="1328018" y="1768365"/>
                  <a:pt x="1321365" y="1763372"/>
                </a:cubicBezTo>
                <a:cubicBezTo>
                  <a:pt x="1319551" y="1761707"/>
                  <a:pt x="1318342" y="1758852"/>
                  <a:pt x="1320155" y="1752431"/>
                </a:cubicBezTo>
                <a:cubicBezTo>
                  <a:pt x="1338903" y="1752193"/>
                  <a:pt x="1352207" y="1776927"/>
                  <a:pt x="1363092" y="1752431"/>
                </a:cubicBezTo>
                <a:cubicBezTo>
                  <a:pt x="1366721" y="1778355"/>
                  <a:pt x="1395143" y="1739113"/>
                  <a:pt x="1392725" y="1776214"/>
                </a:cubicBezTo>
                <a:cubicBezTo>
                  <a:pt x="1412077" y="1779781"/>
                  <a:pt x="1402401" y="1747436"/>
                  <a:pt x="1421148" y="1752906"/>
                </a:cubicBezTo>
                <a:cubicBezTo>
                  <a:pt x="1413286" y="1760279"/>
                  <a:pt x="1406029" y="1765750"/>
                  <a:pt x="1425381" y="1763372"/>
                </a:cubicBezTo>
                <a:cubicBezTo>
                  <a:pt x="1437476" y="1758614"/>
                  <a:pt x="1418729" y="1749101"/>
                  <a:pt x="1428405" y="1742204"/>
                </a:cubicBezTo>
                <a:cubicBezTo>
                  <a:pt x="1435661" y="1744582"/>
                  <a:pt x="1435057" y="1754571"/>
                  <a:pt x="1444732" y="1753620"/>
                </a:cubicBezTo>
                <a:cubicBezTo>
                  <a:pt x="1441710" y="1761231"/>
                  <a:pt x="1436871" y="1766700"/>
                  <a:pt x="1433847" y="1776214"/>
                </a:cubicBezTo>
                <a:cubicBezTo>
                  <a:pt x="1460455" y="1735307"/>
                  <a:pt x="1546330" y="1785490"/>
                  <a:pt x="1545119" y="1730312"/>
                </a:cubicBezTo>
                <a:cubicBezTo>
                  <a:pt x="1552377" y="1731026"/>
                  <a:pt x="1553586" y="1739350"/>
                  <a:pt x="1552982" y="1752906"/>
                </a:cubicBezTo>
                <a:lnTo>
                  <a:pt x="1582009" y="1753620"/>
                </a:lnTo>
                <a:cubicBezTo>
                  <a:pt x="1588057" y="1728647"/>
                  <a:pt x="1558424" y="1745295"/>
                  <a:pt x="1562053" y="1724129"/>
                </a:cubicBezTo>
                <a:close/>
                <a:moveTo>
                  <a:pt x="1530001" y="1724129"/>
                </a:moveTo>
                <a:cubicBezTo>
                  <a:pt x="1533025" y="1724129"/>
                  <a:pt x="1536049" y="1724604"/>
                  <a:pt x="1539678" y="1727934"/>
                </a:cubicBezTo>
                <a:cubicBezTo>
                  <a:pt x="1529397" y="1735307"/>
                  <a:pt x="1528188" y="1751717"/>
                  <a:pt x="1508835" y="1746010"/>
                </a:cubicBezTo>
                <a:cubicBezTo>
                  <a:pt x="1513068" y="1737209"/>
                  <a:pt x="1520325" y="1724604"/>
                  <a:pt x="1530001" y="1724129"/>
                </a:cubicBezTo>
                <a:close/>
                <a:moveTo>
                  <a:pt x="11797332" y="1722225"/>
                </a:moveTo>
                <a:cubicBezTo>
                  <a:pt x="11805193" y="1750766"/>
                  <a:pt x="11798541" y="1746484"/>
                  <a:pt x="11777375" y="1740776"/>
                </a:cubicBezTo>
                <a:cubicBezTo>
                  <a:pt x="11777375" y="1776451"/>
                  <a:pt x="11823941" y="1721036"/>
                  <a:pt x="11811241" y="1771458"/>
                </a:cubicBezTo>
                <a:cubicBezTo>
                  <a:pt x="11828174" y="1770982"/>
                  <a:pt x="11838454" y="1759803"/>
                  <a:pt x="11851154" y="1752906"/>
                </a:cubicBezTo>
                <a:cubicBezTo>
                  <a:pt x="11842083" y="1748149"/>
                  <a:pt x="11842688" y="1726745"/>
                  <a:pt x="11825755" y="1729361"/>
                </a:cubicBezTo>
                <a:cubicBezTo>
                  <a:pt x="11814869" y="1754096"/>
                  <a:pt x="11811846" y="1727458"/>
                  <a:pt x="11797332" y="1722225"/>
                </a:cubicBezTo>
                <a:close/>
                <a:moveTo>
                  <a:pt x="1196183" y="1721275"/>
                </a:moveTo>
                <a:cubicBezTo>
                  <a:pt x="1207069" y="1738161"/>
                  <a:pt x="1236096" y="1721036"/>
                  <a:pt x="1256053" y="1732690"/>
                </a:cubicBezTo>
                <a:cubicBezTo>
                  <a:pt x="1230049" y="1754809"/>
                  <a:pt x="1291733" y="1746247"/>
                  <a:pt x="1321365" y="1763372"/>
                </a:cubicBezTo>
                <a:cubicBezTo>
                  <a:pt x="1328018" y="1767176"/>
                  <a:pt x="1334064" y="1771932"/>
                  <a:pt x="1335878" y="1779068"/>
                </a:cubicBezTo>
                <a:cubicBezTo>
                  <a:pt x="1316528" y="1789295"/>
                  <a:pt x="1279033" y="1790246"/>
                  <a:pt x="1262100" y="1756949"/>
                </a:cubicBezTo>
                <a:cubicBezTo>
                  <a:pt x="1250610" y="1753858"/>
                  <a:pt x="1252424" y="1768128"/>
                  <a:pt x="1238515" y="1762896"/>
                </a:cubicBezTo>
                <a:cubicBezTo>
                  <a:pt x="1232468" y="1780257"/>
                  <a:pt x="1254844" y="1765987"/>
                  <a:pt x="1248796" y="1785252"/>
                </a:cubicBezTo>
                <a:cubicBezTo>
                  <a:pt x="1234887" y="1780019"/>
                  <a:pt x="1236701" y="1794765"/>
                  <a:pt x="1225211" y="1791674"/>
                </a:cubicBezTo>
                <a:cubicBezTo>
                  <a:pt x="1223397" y="1779781"/>
                  <a:pt x="1228235" y="1775976"/>
                  <a:pt x="1228839" y="1768128"/>
                </a:cubicBezTo>
                <a:cubicBezTo>
                  <a:pt x="1226420" y="1767889"/>
                  <a:pt x="1194369" y="1751003"/>
                  <a:pt x="1193160" y="1774786"/>
                </a:cubicBezTo>
                <a:lnTo>
                  <a:pt x="1164736" y="1774312"/>
                </a:lnTo>
                <a:cubicBezTo>
                  <a:pt x="1165341" y="1764561"/>
                  <a:pt x="1158084" y="1761944"/>
                  <a:pt x="1159295" y="1750053"/>
                </a:cubicBezTo>
                <a:cubicBezTo>
                  <a:pt x="1178645" y="1739826"/>
                  <a:pt x="1198602" y="1761231"/>
                  <a:pt x="1196183" y="1721275"/>
                </a:cubicBezTo>
                <a:close/>
                <a:moveTo>
                  <a:pt x="2694132" y="1720560"/>
                </a:moveTo>
                <a:cubicBezTo>
                  <a:pt x="2698365" y="1737685"/>
                  <a:pt x="2720740" y="1719134"/>
                  <a:pt x="2736464" y="1731739"/>
                </a:cubicBezTo>
                <a:cubicBezTo>
                  <a:pt x="2731021" y="1744345"/>
                  <a:pt x="2695946" y="1735783"/>
                  <a:pt x="2698365" y="1730312"/>
                </a:cubicBezTo>
                <a:cubicBezTo>
                  <a:pt x="2689294" y="1729599"/>
                  <a:pt x="2695341" y="1750766"/>
                  <a:pt x="2694737" y="1758139"/>
                </a:cubicBezTo>
                <a:lnTo>
                  <a:pt x="2675990" y="1758139"/>
                </a:lnTo>
                <a:cubicBezTo>
                  <a:pt x="2676594" y="1739587"/>
                  <a:pt x="2688690" y="1735069"/>
                  <a:pt x="2694132" y="1720560"/>
                </a:cubicBezTo>
                <a:close/>
                <a:moveTo>
                  <a:pt x="791609" y="1714854"/>
                </a:moveTo>
                <a:cubicBezTo>
                  <a:pt x="797658" y="1715328"/>
                  <a:pt x="792214" y="1732690"/>
                  <a:pt x="803099" y="1731739"/>
                </a:cubicBezTo>
                <a:cubicBezTo>
                  <a:pt x="793423" y="1750290"/>
                  <a:pt x="786772" y="1718658"/>
                  <a:pt x="778305" y="1721750"/>
                </a:cubicBezTo>
                <a:cubicBezTo>
                  <a:pt x="769839" y="1725080"/>
                  <a:pt x="776491" y="1749101"/>
                  <a:pt x="760163" y="1743630"/>
                </a:cubicBezTo>
                <a:cubicBezTo>
                  <a:pt x="758349" y="1735783"/>
                  <a:pt x="777701" y="1729599"/>
                  <a:pt x="765001" y="1726507"/>
                </a:cubicBezTo>
                <a:cubicBezTo>
                  <a:pt x="770444" y="1705577"/>
                  <a:pt x="786772" y="1726031"/>
                  <a:pt x="791609" y="1714854"/>
                </a:cubicBezTo>
                <a:close/>
                <a:moveTo>
                  <a:pt x="2045242" y="1710096"/>
                </a:moveTo>
                <a:lnTo>
                  <a:pt x="2053709" y="1710809"/>
                </a:lnTo>
                <a:cubicBezTo>
                  <a:pt x="2044637" y="1721512"/>
                  <a:pt x="2047058" y="1750528"/>
                  <a:pt x="2041614" y="1767415"/>
                </a:cubicBezTo>
                <a:cubicBezTo>
                  <a:pt x="2032543" y="1741491"/>
                  <a:pt x="2020448" y="1763372"/>
                  <a:pt x="1998677" y="1767415"/>
                </a:cubicBezTo>
                <a:cubicBezTo>
                  <a:pt x="2001701" y="1754096"/>
                  <a:pt x="2020448" y="1729361"/>
                  <a:pt x="2023471" y="1750766"/>
                </a:cubicBezTo>
                <a:cubicBezTo>
                  <a:pt x="2034356" y="1741967"/>
                  <a:pt x="2039800" y="1726983"/>
                  <a:pt x="2045242" y="1710096"/>
                </a:cubicBezTo>
                <a:close/>
                <a:moveTo>
                  <a:pt x="899860" y="1710096"/>
                </a:moveTo>
                <a:cubicBezTo>
                  <a:pt x="910744" y="1726983"/>
                  <a:pt x="916187" y="1713426"/>
                  <a:pt x="936748" y="1715328"/>
                </a:cubicBezTo>
                <a:cubicBezTo>
                  <a:pt x="933120" y="1740776"/>
                  <a:pt x="944610" y="1742204"/>
                  <a:pt x="949447" y="1774312"/>
                </a:cubicBezTo>
                <a:cubicBezTo>
                  <a:pt x="942796" y="1773836"/>
                  <a:pt x="939771" y="1781684"/>
                  <a:pt x="930701" y="1780970"/>
                </a:cubicBezTo>
                <a:cubicBezTo>
                  <a:pt x="933725" y="1767176"/>
                  <a:pt x="922235" y="1768128"/>
                  <a:pt x="927677" y="1750766"/>
                </a:cubicBezTo>
                <a:cubicBezTo>
                  <a:pt x="910744" y="1769080"/>
                  <a:pt x="882926" y="1758614"/>
                  <a:pt x="857526" y="1756474"/>
                </a:cubicBezTo>
                <a:cubicBezTo>
                  <a:pt x="862969" y="1741015"/>
                  <a:pt x="871436" y="1765035"/>
                  <a:pt x="876878" y="1751717"/>
                </a:cubicBezTo>
                <a:cubicBezTo>
                  <a:pt x="878087" y="1724129"/>
                  <a:pt x="847247" y="1738161"/>
                  <a:pt x="841199" y="1723653"/>
                </a:cubicBezTo>
                <a:cubicBezTo>
                  <a:pt x="848456" y="1710335"/>
                  <a:pt x="895021" y="1751479"/>
                  <a:pt x="899860" y="1710096"/>
                </a:cubicBezTo>
                <a:close/>
                <a:moveTo>
                  <a:pt x="2638496" y="1699870"/>
                </a:moveTo>
                <a:cubicBezTo>
                  <a:pt x="2643938" y="1702248"/>
                  <a:pt x="2640310" y="1716993"/>
                  <a:pt x="2648171" y="1717706"/>
                </a:cubicBezTo>
                <a:cubicBezTo>
                  <a:pt x="2647567" y="1731026"/>
                  <a:pt x="2633658" y="1730074"/>
                  <a:pt x="2625796" y="1723653"/>
                </a:cubicBezTo>
                <a:cubicBezTo>
                  <a:pt x="2626401" y="1712237"/>
                  <a:pt x="2640310" y="1715567"/>
                  <a:pt x="2638496" y="1699870"/>
                </a:cubicBezTo>
                <a:close/>
                <a:moveTo>
                  <a:pt x="2681433" y="1697491"/>
                </a:moveTo>
                <a:cubicBezTo>
                  <a:pt x="2694132" y="1698680"/>
                  <a:pt x="2675385" y="1707005"/>
                  <a:pt x="2682642" y="1720086"/>
                </a:cubicBezTo>
                <a:cubicBezTo>
                  <a:pt x="2672966" y="1708907"/>
                  <a:pt x="2661476" y="1718421"/>
                  <a:pt x="2650591" y="1719371"/>
                </a:cubicBezTo>
                <a:cubicBezTo>
                  <a:pt x="2649985" y="1688691"/>
                  <a:pt x="2669337" y="1716993"/>
                  <a:pt x="2681433" y="1697491"/>
                </a:cubicBezTo>
                <a:close/>
                <a:moveTo>
                  <a:pt x="12383932" y="1696302"/>
                </a:moveTo>
                <a:cubicBezTo>
                  <a:pt x="12382723" y="1719371"/>
                  <a:pt x="12360952" y="1708431"/>
                  <a:pt x="12346439" y="1712000"/>
                </a:cubicBezTo>
                <a:cubicBezTo>
                  <a:pt x="12350067" y="1682033"/>
                  <a:pt x="12368814" y="1713426"/>
                  <a:pt x="12383932" y="1696302"/>
                </a:cubicBezTo>
                <a:close/>
                <a:moveTo>
                  <a:pt x="2278069" y="1695827"/>
                </a:moveTo>
                <a:cubicBezTo>
                  <a:pt x="2281697" y="1694637"/>
                  <a:pt x="2284720" y="1695351"/>
                  <a:pt x="2286534" y="1698205"/>
                </a:cubicBezTo>
                <a:cubicBezTo>
                  <a:pt x="2278674" y="1709383"/>
                  <a:pt x="2271416" y="1718421"/>
                  <a:pt x="2261136" y="1727458"/>
                </a:cubicBezTo>
                <a:cubicBezTo>
                  <a:pt x="2262950" y="1733642"/>
                  <a:pt x="2267184" y="1740302"/>
                  <a:pt x="2276859" y="1739350"/>
                </a:cubicBezTo>
                <a:cubicBezTo>
                  <a:pt x="2282302" y="1737685"/>
                  <a:pt x="2279883" y="1729123"/>
                  <a:pt x="2280488" y="1721275"/>
                </a:cubicBezTo>
                <a:cubicBezTo>
                  <a:pt x="2287745" y="1723890"/>
                  <a:pt x="2289559" y="1727934"/>
                  <a:pt x="2288954" y="1737922"/>
                </a:cubicBezTo>
                <a:cubicBezTo>
                  <a:pt x="2299235" y="1724842"/>
                  <a:pt x="2323424" y="1721275"/>
                  <a:pt x="2322215" y="1745058"/>
                </a:cubicBezTo>
                <a:cubicBezTo>
                  <a:pt x="2304072" y="1729361"/>
                  <a:pt x="2296211" y="1738637"/>
                  <a:pt x="2309515" y="1761707"/>
                </a:cubicBezTo>
                <a:cubicBezTo>
                  <a:pt x="2323424" y="1764798"/>
                  <a:pt x="2322215" y="1742917"/>
                  <a:pt x="2333705" y="1755998"/>
                </a:cubicBezTo>
                <a:cubicBezTo>
                  <a:pt x="2317378" y="1786203"/>
                  <a:pt x="2284720" y="1779306"/>
                  <a:pt x="2265369" y="1779544"/>
                </a:cubicBezTo>
                <a:cubicBezTo>
                  <a:pt x="2270207" y="1774073"/>
                  <a:pt x="2270812" y="1766226"/>
                  <a:pt x="2271416" y="1756474"/>
                </a:cubicBezTo>
                <a:cubicBezTo>
                  <a:pt x="2276255" y="1760755"/>
                  <a:pt x="2275649" y="1770506"/>
                  <a:pt x="2285326" y="1767415"/>
                </a:cubicBezTo>
                <a:cubicBezTo>
                  <a:pt x="2297421" y="1766463"/>
                  <a:pt x="2285931" y="1747436"/>
                  <a:pt x="2286534" y="1745534"/>
                </a:cubicBezTo>
                <a:cubicBezTo>
                  <a:pt x="2272021" y="1738398"/>
                  <a:pt x="2267788" y="1769554"/>
                  <a:pt x="2261740" y="1751242"/>
                </a:cubicBezTo>
                <a:cubicBezTo>
                  <a:pt x="2247832" y="1747912"/>
                  <a:pt x="2273230" y="1768604"/>
                  <a:pt x="2256299" y="1769080"/>
                </a:cubicBezTo>
                <a:cubicBezTo>
                  <a:pt x="2239365" y="1769793"/>
                  <a:pt x="2259926" y="1745295"/>
                  <a:pt x="2238156" y="1745534"/>
                </a:cubicBezTo>
                <a:cubicBezTo>
                  <a:pt x="2221827" y="1741967"/>
                  <a:pt x="2239365" y="1779306"/>
                  <a:pt x="2220013" y="1773836"/>
                </a:cubicBezTo>
                <a:cubicBezTo>
                  <a:pt x="2221222" y="1801662"/>
                  <a:pt x="2244808" y="1799760"/>
                  <a:pt x="2248436" y="1825921"/>
                </a:cubicBezTo>
                <a:cubicBezTo>
                  <a:pt x="2232108" y="1810700"/>
                  <a:pt x="2208523" y="1802614"/>
                  <a:pt x="2200661" y="1780019"/>
                </a:cubicBezTo>
                <a:cubicBezTo>
                  <a:pt x="2219409" y="1785727"/>
                  <a:pt x="2215780" y="1763846"/>
                  <a:pt x="2218804" y="1750053"/>
                </a:cubicBezTo>
                <a:cubicBezTo>
                  <a:pt x="2209128" y="1749338"/>
                  <a:pt x="2202476" y="1746247"/>
                  <a:pt x="2210942" y="1726983"/>
                </a:cubicBezTo>
                <a:cubicBezTo>
                  <a:pt x="2203684" y="1726507"/>
                  <a:pt x="2196428" y="1726031"/>
                  <a:pt x="2196428" y="1734118"/>
                </a:cubicBezTo>
                <a:cubicBezTo>
                  <a:pt x="2191591" y="1733642"/>
                  <a:pt x="2190985" y="1731501"/>
                  <a:pt x="2190985" y="1727458"/>
                </a:cubicBezTo>
                <a:cubicBezTo>
                  <a:pt x="2191591" y="1721512"/>
                  <a:pt x="2189171" y="1721512"/>
                  <a:pt x="2186752" y="1721275"/>
                </a:cubicBezTo>
                <a:cubicBezTo>
                  <a:pt x="2197638" y="1706291"/>
                  <a:pt x="2215176" y="1731501"/>
                  <a:pt x="2228480" y="1714854"/>
                </a:cubicBezTo>
                <a:cubicBezTo>
                  <a:pt x="2217594" y="1737685"/>
                  <a:pt x="2235737" y="1711761"/>
                  <a:pt x="2239365" y="1734118"/>
                </a:cubicBezTo>
                <a:cubicBezTo>
                  <a:pt x="2246622" y="1730788"/>
                  <a:pt x="2249646" y="1720799"/>
                  <a:pt x="2261740" y="1721750"/>
                </a:cubicBezTo>
                <a:cubicBezTo>
                  <a:pt x="2256299" y="1715328"/>
                  <a:pt x="2268393" y="1698918"/>
                  <a:pt x="2278069" y="1695827"/>
                </a:cubicBezTo>
                <a:close/>
                <a:moveTo>
                  <a:pt x="12463154" y="1693924"/>
                </a:moveTo>
                <a:cubicBezTo>
                  <a:pt x="12480087" y="1706291"/>
                  <a:pt x="12461340" y="1730550"/>
                  <a:pt x="12445012" y="1720560"/>
                </a:cubicBezTo>
                <a:lnTo>
                  <a:pt x="12443197" y="1701059"/>
                </a:lnTo>
                <a:cubicBezTo>
                  <a:pt x="12450455" y="1710335"/>
                  <a:pt x="12462549" y="1709146"/>
                  <a:pt x="12463154" y="1693924"/>
                </a:cubicBezTo>
                <a:close/>
                <a:moveTo>
                  <a:pt x="11876553" y="1691545"/>
                </a:moveTo>
                <a:cubicBezTo>
                  <a:pt x="11872320" y="1710572"/>
                  <a:pt x="11862645" y="1708431"/>
                  <a:pt x="11852364" y="1707242"/>
                </a:cubicBezTo>
                <a:cubicBezTo>
                  <a:pt x="11852364" y="1715804"/>
                  <a:pt x="11848130" y="1717706"/>
                  <a:pt x="11842688" y="1717706"/>
                </a:cubicBezTo>
                <a:cubicBezTo>
                  <a:pt x="11858411" y="1739350"/>
                  <a:pt x="11907395" y="1717469"/>
                  <a:pt x="11921909" y="1729361"/>
                </a:cubicBezTo>
                <a:cubicBezTo>
                  <a:pt x="11904372" y="1743630"/>
                  <a:pt x="11884415" y="1754096"/>
                  <a:pt x="11860225" y="1760042"/>
                </a:cubicBezTo>
                <a:cubicBezTo>
                  <a:pt x="11890462" y="1774549"/>
                  <a:pt x="11917071" y="1766700"/>
                  <a:pt x="11940051" y="1748863"/>
                </a:cubicBezTo>
                <a:cubicBezTo>
                  <a:pt x="11939447" y="1760755"/>
                  <a:pt x="11927352" y="1759566"/>
                  <a:pt x="11926747" y="1771458"/>
                </a:cubicBezTo>
                <a:cubicBezTo>
                  <a:pt x="11953355" y="1763846"/>
                  <a:pt x="11941261" y="1770506"/>
                  <a:pt x="11955169" y="1777641"/>
                </a:cubicBezTo>
                <a:cubicBezTo>
                  <a:pt x="11953355" y="1765750"/>
                  <a:pt x="11965450" y="1760517"/>
                  <a:pt x="11971498" y="1741252"/>
                </a:cubicBezTo>
                <a:cubicBezTo>
                  <a:pt x="11944889" y="1742917"/>
                  <a:pt x="11923723" y="1741491"/>
                  <a:pt x="11923118" y="1717706"/>
                </a:cubicBezTo>
                <a:cubicBezTo>
                  <a:pt x="11930375" y="1716280"/>
                  <a:pt x="11946704" y="1723890"/>
                  <a:pt x="11943075" y="1705577"/>
                </a:cubicBezTo>
                <a:cubicBezTo>
                  <a:pt x="11934003" y="1708431"/>
                  <a:pt x="11911628" y="1706053"/>
                  <a:pt x="11894091" y="1709620"/>
                </a:cubicBezTo>
                <a:cubicBezTo>
                  <a:pt x="11896510" y="1709620"/>
                  <a:pt x="11898324" y="1711761"/>
                  <a:pt x="11900138" y="1710809"/>
                </a:cubicBezTo>
                <a:cubicBezTo>
                  <a:pt x="11894696" y="1731739"/>
                  <a:pt x="11873530" y="1717706"/>
                  <a:pt x="11862039" y="1722940"/>
                </a:cubicBezTo>
                <a:cubicBezTo>
                  <a:pt x="11865063" y="1697729"/>
                  <a:pt x="11874739" y="1703437"/>
                  <a:pt x="11885625" y="1707956"/>
                </a:cubicBezTo>
                <a:cubicBezTo>
                  <a:pt x="11880181" y="1699870"/>
                  <a:pt x="11895905" y="1691545"/>
                  <a:pt x="11876553" y="1691545"/>
                </a:cubicBezTo>
                <a:close/>
                <a:moveTo>
                  <a:pt x="2209128" y="1691069"/>
                </a:moveTo>
                <a:cubicBezTo>
                  <a:pt x="2210942" y="1703437"/>
                  <a:pt x="2188566" y="1694637"/>
                  <a:pt x="2192800" y="1710809"/>
                </a:cubicBezTo>
                <a:cubicBezTo>
                  <a:pt x="2173448" y="1705816"/>
                  <a:pt x="2189171" y="1685837"/>
                  <a:pt x="2209128" y="1691069"/>
                </a:cubicBezTo>
                <a:close/>
                <a:moveTo>
                  <a:pt x="12410541" y="1689643"/>
                </a:moveTo>
                <a:cubicBezTo>
                  <a:pt x="12417194" y="1692258"/>
                  <a:pt x="12414170" y="1702248"/>
                  <a:pt x="12420822" y="1702723"/>
                </a:cubicBezTo>
                <a:cubicBezTo>
                  <a:pt x="12415380" y="1714615"/>
                  <a:pt x="12399656" y="1719371"/>
                  <a:pt x="12393004" y="1708431"/>
                </a:cubicBezTo>
                <a:cubicBezTo>
                  <a:pt x="12391794" y="1692021"/>
                  <a:pt x="12417799" y="1714854"/>
                  <a:pt x="12410541" y="1689643"/>
                </a:cubicBezTo>
                <a:close/>
                <a:moveTo>
                  <a:pt x="2508476" y="1688691"/>
                </a:moveTo>
                <a:cubicBezTo>
                  <a:pt x="2519361" y="1713902"/>
                  <a:pt x="2526619" y="1714615"/>
                  <a:pt x="2542341" y="1695827"/>
                </a:cubicBezTo>
                <a:cubicBezTo>
                  <a:pt x="2548994" y="1738637"/>
                  <a:pt x="2595559" y="1721988"/>
                  <a:pt x="2617329" y="1729836"/>
                </a:cubicBezTo>
                <a:cubicBezTo>
                  <a:pt x="2619144" y="1740063"/>
                  <a:pt x="2613701" y="1741728"/>
                  <a:pt x="2608864" y="1741252"/>
                </a:cubicBezTo>
                <a:cubicBezTo>
                  <a:pt x="2623377" y="1778830"/>
                  <a:pt x="2656033" y="1715328"/>
                  <a:pt x="2668733" y="1746484"/>
                </a:cubicBezTo>
                <a:cubicBezTo>
                  <a:pt x="2656033" y="1761468"/>
                  <a:pt x="2623377" y="1748388"/>
                  <a:pt x="2625796" y="1782873"/>
                </a:cubicBezTo>
                <a:cubicBezTo>
                  <a:pt x="2613097" y="1755760"/>
                  <a:pt x="2597373" y="1774549"/>
                  <a:pt x="2580440" y="1777166"/>
                </a:cubicBezTo>
                <a:cubicBezTo>
                  <a:pt x="2593744" y="1798571"/>
                  <a:pt x="2618540" y="1780495"/>
                  <a:pt x="2640310" y="1782398"/>
                </a:cubicBezTo>
                <a:cubicBezTo>
                  <a:pt x="2619749" y="1800710"/>
                  <a:pt x="2604025" y="1827349"/>
                  <a:pt x="2574997" y="1834959"/>
                </a:cubicBezTo>
                <a:cubicBezTo>
                  <a:pt x="2585278" y="1856125"/>
                  <a:pt x="2573183" y="1868969"/>
                  <a:pt x="2593140" y="1858742"/>
                </a:cubicBezTo>
                <a:cubicBezTo>
                  <a:pt x="2589512" y="1876341"/>
                  <a:pt x="2601607" y="1877293"/>
                  <a:pt x="2597977" y="1895131"/>
                </a:cubicBezTo>
                <a:cubicBezTo>
                  <a:pt x="2583464" y="1895844"/>
                  <a:pt x="2569555" y="1878721"/>
                  <a:pt x="2568346" y="1906784"/>
                </a:cubicBezTo>
                <a:cubicBezTo>
                  <a:pt x="2528433" y="1887282"/>
                  <a:pt x="2500614" y="1915346"/>
                  <a:pt x="2484891" y="1889898"/>
                </a:cubicBezTo>
                <a:cubicBezTo>
                  <a:pt x="2477634" y="1889185"/>
                  <a:pt x="2480053" y="1899411"/>
                  <a:pt x="2479449" y="1905358"/>
                </a:cubicBezTo>
                <a:cubicBezTo>
                  <a:pt x="2463121" y="1893942"/>
                  <a:pt x="2454654" y="1874915"/>
                  <a:pt x="2428045" y="1876580"/>
                </a:cubicBezTo>
                <a:cubicBezTo>
                  <a:pt x="2427440" y="1892514"/>
                  <a:pt x="2444373" y="1886331"/>
                  <a:pt x="2451025" y="1895131"/>
                </a:cubicBezTo>
                <a:cubicBezTo>
                  <a:pt x="2441955" y="1928428"/>
                  <a:pt x="2404460" y="1861120"/>
                  <a:pt x="2407483" y="1901552"/>
                </a:cubicBezTo>
                <a:cubicBezTo>
                  <a:pt x="2402646" y="1897271"/>
                  <a:pt x="2398412" y="1888709"/>
                  <a:pt x="2399017" y="1876580"/>
                </a:cubicBezTo>
                <a:cubicBezTo>
                  <a:pt x="2380271" y="1873013"/>
                  <a:pt x="2389947" y="1905834"/>
                  <a:pt x="2371199" y="1900363"/>
                </a:cubicBezTo>
                <a:cubicBezTo>
                  <a:pt x="2371804" y="1888233"/>
                  <a:pt x="2383899" y="1888947"/>
                  <a:pt x="2374827" y="1876104"/>
                </a:cubicBezTo>
                <a:cubicBezTo>
                  <a:pt x="2368175" y="1871348"/>
                  <a:pt x="2346404" y="1871823"/>
                  <a:pt x="2327053" y="1876104"/>
                </a:cubicBezTo>
                <a:lnTo>
                  <a:pt x="2313418" y="1859063"/>
                </a:lnTo>
                <a:lnTo>
                  <a:pt x="2313748" y="1858742"/>
                </a:lnTo>
                <a:lnTo>
                  <a:pt x="2312782" y="1858269"/>
                </a:lnTo>
                <a:lnTo>
                  <a:pt x="2299840" y="1842094"/>
                </a:lnTo>
                <a:cubicBezTo>
                  <a:pt x="2298328" y="1849943"/>
                  <a:pt x="2300596" y="1852499"/>
                  <a:pt x="2303846" y="1853897"/>
                </a:cubicBezTo>
                <a:lnTo>
                  <a:pt x="2312782" y="1858269"/>
                </a:lnTo>
                <a:lnTo>
                  <a:pt x="2313418" y="1859063"/>
                </a:lnTo>
                <a:lnTo>
                  <a:pt x="2303997" y="1868192"/>
                </a:lnTo>
                <a:cubicBezTo>
                  <a:pt x="2292885" y="1872417"/>
                  <a:pt x="2278371" y="1864570"/>
                  <a:pt x="2266579" y="1877056"/>
                </a:cubicBezTo>
                <a:cubicBezTo>
                  <a:pt x="2267788" y="1859218"/>
                  <a:pt x="2254484" y="1843996"/>
                  <a:pt x="2267184" y="1831153"/>
                </a:cubicBezTo>
                <a:cubicBezTo>
                  <a:pt x="2284115" y="1834483"/>
                  <a:pt x="2260531" y="1854699"/>
                  <a:pt x="2284720" y="1854699"/>
                </a:cubicBezTo>
                <a:cubicBezTo>
                  <a:pt x="2293187" y="1833294"/>
                  <a:pt x="2297421" y="1809748"/>
                  <a:pt x="2310120" y="1794765"/>
                </a:cubicBezTo>
                <a:cubicBezTo>
                  <a:pt x="2314353" y="1799045"/>
                  <a:pt x="2316773" y="1807132"/>
                  <a:pt x="2318587" y="1819262"/>
                </a:cubicBezTo>
                <a:cubicBezTo>
                  <a:pt x="2311330" y="1818787"/>
                  <a:pt x="2304072" y="1818072"/>
                  <a:pt x="2304072" y="1824019"/>
                </a:cubicBezTo>
                <a:cubicBezTo>
                  <a:pt x="2354871" y="1858505"/>
                  <a:pt x="2429859" y="1844710"/>
                  <a:pt x="2478238" y="1877056"/>
                </a:cubicBezTo>
                <a:cubicBezTo>
                  <a:pt x="2485496" y="1875628"/>
                  <a:pt x="2484286" y="1865401"/>
                  <a:pt x="2484286" y="1859455"/>
                </a:cubicBezTo>
                <a:cubicBezTo>
                  <a:pt x="2493962" y="1868255"/>
                  <a:pt x="2505453" y="1877056"/>
                  <a:pt x="2522385" y="1876580"/>
                </a:cubicBezTo>
                <a:cubicBezTo>
                  <a:pt x="2539318" y="1872061"/>
                  <a:pt x="2518757" y="1848039"/>
                  <a:pt x="2544760" y="1852321"/>
                </a:cubicBezTo>
                <a:cubicBezTo>
                  <a:pt x="2541737" y="1860169"/>
                  <a:pt x="2538713" y="1868018"/>
                  <a:pt x="2540528" y="1882288"/>
                </a:cubicBezTo>
                <a:cubicBezTo>
                  <a:pt x="2550808" y="1875152"/>
                  <a:pt x="2556251" y="1857553"/>
                  <a:pt x="2564112" y="1848278"/>
                </a:cubicBezTo>
                <a:cubicBezTo>
                  <a:pt x="2567741" y="1828538"/>
                  <a:pt x="2553831" y="1831153"/>
                  <a:pt x="2546575" y="1824495"/>
                </a:cubicBezTo>
                <a:cubicBezTo>
                  <a:pt x="2529642" y="1825208"/>
                  <a:pt x="2526014" y="1855175"/>
                  <a:pt x="2512104" y="1842094"/>
                </a:cubicBezTo>
                <a:cubicBezTo>
                  <a:pt x="2522385" y="1834721"/>
                  <a:pt x="2532060" y="1825445"/>
                  <a:pt x="2526619" y="1800949"/>
                </a:cubicBezTo>
                <a:lnTo>
                  <a:pt x="2512104" y="1799760"/>
                </a:lnTo>
                <a:cubicBezTo>
                  <a:pt x="2502428" y="1803089"/>
                  <a:pt x="2510290" y="1825445"/>
                  <a:pt x="2503033" y="1828775"/>
                </a:cubicBezTo>
                <a:cubicBezTo>
                  <a:pt x="2491543" y="1819737"/>
                  <a:pt x="2469167" y="1836148"/>
                  <a:pt x="2460701" y="1811413"/>
                </a:cubicBezTo>
                <a:cubicBezTo>
                  <a:pt x="2483682" y="1833294"/>
                  <a:pt x="2506057" y="1780970"/>
                  <a:pt x="2531456" y="1795241"/>
                </a:cubicBezTo>
                <a:cubicBezTo>
                  <a:pt x="2539318" y="1789770"/>
                  <a:pt x="2541737" y="1781922"/>
                  <a:pt x="2542341" y="1771932"/>
                </a:cubicBezTo>
                <a:cubicBezTo>
                  <a:pt x="2526014" y="1770506"/>
                  <a:pt x="2524803" y="1786441"/>
                  <a:pt x="2507871" y="1782873"/>
                </a:cubicBezTo>
                <a:cubicBezTo>
                  <a:pt x="2510895" y="1775025"/>
                  <a:pt x="2515734" y="1773597"/>
                  <a:pt x="2518757" y="1765750"/>
                </a:cubicBezTo>
                <a:cubicBezTo>
                  <a:pt x="2506662" y="1762657"/>
                  <a:pt x="2508476" y="1775262"/>
                  <a:pt x="2493962" y="1771932"/>
                </a:cubicBezTo>
                <a:cubicBezTo>
                  <a:pt x="2496986" y="1766226"/>
                  <a:pt x="2499405" y="1758614"/>
                  <a:pt x="2497591" y="1748388"/>
                </a:cubicBezTo>
                <a:cubicBezTo>
                  <a:pt x="2509685" y="1751479"/>
                  <a:pt x="2513918" y="1759566"/>
                  <a:pt x="2523594" y="1764561"/>
                </a:cubicBezTo>
                <a:cubicBezTo>
                  <a:pt x="2532665" y="1767176"/>
                  <a:pt x="2527223" y="1748388"/>
                  <a:pt x="2536899" y="1747199"/>
                </a:cubicBezTo>
                <a:cubicBezTo>
                  <a:pt x="2520571" y="1735783"/>
                  <a:pt x="2509080" y="1718897"/>
                  <a:pt x="2508476" y="1688691"/>
                </a:cubicBezTo>
                <a:close/>
                <a:moveTo>
                  <a:pt x="12242423" y="1687265"/>
                </a:moveTo>
                <a:cubicBezTo>
                  <a:pt x="12256936" y="1682746"/>
                  <a:pt x="12247865" y="1706053"/>
                  <a:pt x="12264798" y="1698205"/>
                </a:cubicBezTo>
                <a:cubicBezTo>
                  <a:pt x="12254518" y="1716043"/>
                  <a:pt x="12218234" y="1728172"/>
                  <a:pt x="12212790" y="1697491"/>
                </a:cubicBezTo>
                <a:cubicBezTo>
                  <a:pt x="12223676" y="1713663"/>
                  <a:pt x="12230328" y="1691784"/>
                  <a:pt x="12242423" y="1687265"/>
                </a:cubicBezTo>
                <a:close/>
                <a:moveTo>
                  <a:pt x="2467353" y="1687265"/>
                </a:moveTo>
                <a:cubicBezTo>
                  <a:pt x="2480657" y="1686076"/>
                  <a:pt x="2470981" y="1708431"/>
                  <a:pt x="2473400" y="1717232"/>
                </a:cubicBezTo>
                <a:cubicBezTo>
                  <a:pt x="2491543" y="1712237"/>
                  <a:pt x="2495777" y="1725555"/>
                  <a:pt x="2513918" y="1722940"/>
                </a:cubicBezTo>
                <a:cubicBezTo>
                  <a:pt x="2496986" y="1748863"/>
                  <a:pt x="2478238" y="1721988"/>
                  <a:pt x="2447396" y="1723653"/>
                </a:cubicBezTo>
                <a:cubicBezTo>
                  <a:pt x="2450420" y="1707005"/>
                  <a:pt x="2473400" y="1715328"/>
                  <a:pt x="2467353" y="1687265"/>
                </a:cubicBezTo>
                <a:close/>
                <a:moveTo>
                  <a:pt x="12511534" y="1685837"/>
                </a:moveTo>
                <a:cubicBezTo>
                  <a:pt x="12510325" y="1703437"/>
                  <a:pt x="12495205" y="1705816"/>
                  <a:pt x="12480087" y="1707956"/>
                </a:cubicBezTo>
                <a:cubicBezTo>
                  <a:pt x="12490368" y="1700107"/>
                  <a:pt x="12493996" y="1686076"/>
                  <a:pt x="12511534" y="1685837"/>
                </a:cubicBezTo>
                <a:close/>
                <a:moveTo>
                  <a:pt x="971824" y="1685837"/>
                </a:moveTo>
                <a:cubicBezTo>
                  <a:pt x="978475" y="1701059"/>
                  <a:pt x="989965" y="1708431"/>
                  <a:pt x="1009922" y="1703913"/>
                </a:cubicBezTo>
                <a:cubicBezTo>
                  <a:pt x="1006899" y="1712000"/>
                  <a:pt x="1003875" y="1717706"/>
                  <a:pt x="996618" y="1717232"/>
                </a:cubicBezTo>
                <a:cubicBezTo>
                  <a:pt x="996618" y="1721275"/>
                  <a:pt x="1001455" y="1723653"/>
                  <a:pt x="1000851" y="1729836"/>
                </a:cubicBezTo>
                <a:cubicBezTo>
                  <a:pt x="1010526" y="1730788"/>
                  <a:pt x="1015970" y="1724842"/>
                  <a:pt x="1014156" y="1710096"/>
                </a:cubicBezTo>
                <a:cubicBezTo>
                  <a:pt x="1032902" y="1728409"/>
                  <a:pt x="1054068" y="1709620"/>
                  <a:pt x="1064348" y="1735544"/>
                </a:cubicBezTo>
                <a:cubicBezTo>
                  <a:pt x="1079468" y="1734831"/>
                  <a:pt x="1082492" y="1722464"/>
                  <a:pt x="1092772" y="1717232"/>
                </a:cubicBezTo>
                <a:cubicBezTo>
                  <a:pt x="1099424" y="1723890"/>
                  <a:pt x="1122404" y="1713189"/>
                  <a:pt x="1121195" y="1734118"/>
                </a:cubicBezTo>
                <a:cubicBezTo>
                  <a:pt x="1108496" y="1735069"/>
                  <a:pt x="1106682" y="1724366"/>
                  <a:pt x="1097004" y="1723653"/>
                </a:cubicBezTo>
                <a:cubicBezTo>
                  <a:pt x="1086725" y="1724842"/>
                  <a:pt x="1088539" y="1739587"/>
                  <a:pt x="1071606" y="1734118"/>
                </a:cubicBezTo>
                <a:lnTo>
                  <a:pt x="1073420" y="1746484"/>
                </a:lnTo>
                <a:cubicBezTo>
                  <a:pt x="1093377" y="1746010"/>
                  <a:pt x="1160503" y="1733166"/>
                  <a:pt x="1145990" y="1771458"/>
                </a:cubicBezTo>
                <a:cubicBezTo>
                  <a:pt x="1133894" y="1766226"/>
                  <a:pt x="1092772" y="1756474"/>
                  <a:pt x="1071606" y="1777641"/>
                </a:cubicBezTo>
                <a:cubicBezTo>
                  <a:pt x="1075234" y="1796906"/>
                  <a:pt x="1084306" y="1772408"/>
                  <a:pt x="1091563" y="1777166"/>
                </a:cubicBezTo>
                <a:cubicBezTo>
                  <a:pt x="1100029" y="1800949"/>
                  <a:pt x="1071606" y="1780257"/>
                  <a:pt x="1073420" y="1796906"/>
                </a:cubicBezTo>
                <a:cubicBezTo>
                  <a:pt x="1058907" y="1791674"/>
                  <a:pt x="1066164" y="1788105"/>
                  <a:pt x="1067373" y="1771458"/>
                </a:cubicBezTo>
                <a:cubicBezTo>
                  <a:pt x="1058302" y="1764322"/>
                  <a:pt x="1012945" y="1781209"/>
                  <a:pt x="1024435" y="1752906"/>
                </a:cubicBezTo>
                <a:cubicBezTo>
                  <a:pt x="1004480" y="1753382"/>
                  <a:pt x="996618" y="1765035"/>
                  <a:pt x="995409" y="1790009"/>
                </a:cubicBezTo>
                <a:cubicBezTo>
                  <a:pt x="973638" y="1783825"/>
                  <a:pt x="988756" y="1774786"/>
                  <a:pt x="989965" y="1754096"/>
                </a:cubicBezTo>
                <a:cubicBezTo>
                  <a:pt x="973033" y="1750528"/>
                  <a:pt x="978475" y="1778116"/>
                  <a:pt x="956705" y="1771932"/>
                </a:cubicBezTo>
                <a:cubicBezTo>
                  <a:pt x="970009" y="1754333"/>
                  <a:pt x="963357" y="1749577"/>
                  <a:pt x="966985" y="1722940"/>
                </a:cubicBezTo>
                <a:cubicBezTo>
                  <a:pt x="977266" y="1719610"/>
                  <a:pt x="979080" y="1728172"/>
                  <a:pt x="986338" y="1728885"/>
                </a:cubicBezTo>
                <a:cubicBezTo>
                  <a:pt x="992990" y="1698205"/>
                  <a:pt x="962752" y="1718658"/>
                  <a:pt x="956100" y="1705577"/>
                </a:cubicBezTo>
                <a:cubicBezTo>
                  <a:pt x="954286" y="1690832"/>
                  <a:pt x="977870" y="1707242"/>
                  <a:pt x="971824" y="1685837"/>
                </a:cubicBezTo>
                <a:close/>
                <a:moveTo>
                  <a:pt x="12191020" y="1685600"/>
                </a:moveTo>
                <a:cubicBezTo>
                  <a:pt x="12191624" y="1686789"/>
                  <a:pt x="12192834" y="1691069"/>
                  <a:pt x="12195857" y="1699870"/>
                </a:cubicBezTo>
                <a:cubicBezTo>
                  <a:pt x="12197068" y="1714378"/>
                  <a:pt x="12177111" y="1696302"/>
                  <a:pt x="12184367" y="1719371"/>
                </a:cubicBezTo>
                <a:cubicBezTo>
                  <a:pt x="12178320" y="1710809"/>
                  <a:pt x="12167435" y="1716043"/>
                  <a:pt x="12170458" y="1699870"/>
                </a:cubicBezTo>
                <a:cubicBezTo>
                  <a:pt x="12183158" y="1702962"/>
                  <a:pt x="12186787" y="1693924"/>
                  <a:pt x="12188601" y="1688691"/>
                </a:cubicBezTo>
                <a:cubicBezTo>
                  <a:pt x="12189810" y="1686076"/>
                  <a:pt x="12189810" y="1684411"/>
                  <a:pt x="12191020" y="1685600"/>
                </a:cubicBezTo>
                <a:close/>
                <a:moveTo>
                  <a:pt x="1929131" y="1682033"/>
                </a:moveTo>
                <a:cubicBezTo>
                  <a:pt x="1937598" y="1686789"/>
                  <a:pt x="1942436" y="1695112"/>
                  <a:pt x="1950902" y="1699870"/>
                </a:cubicBezTo>
                <a:cubicBezTo>
                  <a:pt x="1952717" y="1710096"/>
                  <a:pt x="1938203" y="1730550"/>
                  <a:pt x="1956345" y="1727934"/>
                </a:cubicBezTo>
                <a:cubicBezTo>
                  <a:pt x="1953926" y="1733879"/>
                  <a:pt x="1950902" y="1741015"/>
                  <a:pt x="1952717" y="1751242"/>
                </a:cubicBezTo>
                <a:cubicBezTo>
                  <a:pt x="1935180" y="1739826"/>
                  <a:pt x="1941226" y="1701059"/>
                  <a:pt x="1929131" y="1682033"/>
                </a:cubicBezTo>
                <a:close/>
                <a:moveTo>
                  <a:pt x="2424417" y="1681318"/>
                </a:moveTo>
                <a:cubicBezTo>
                  <a:pt x="2432883" y="1692734"/>
                  <a:pt x="2449211" y="1689880"/>
                  <a:pt x="2448001" y="1711285"/>
                </a:cubicBezTo>
                <a:cubicBezTo>
                  <a:pt x="2434093" y="1718897"/>
                  <a:pt x="2431069" y="1681794"/>
                  <a:pt x="2425626" y="1698680"/>
                </a:cubicBezTo>
                <a:cubicBezTo>
                  <a:pt x="2418974" y="1695827"/>
                  <a:pt x="2426231" y="1690119"/>
                  <a:pt x="2424417" y="1681318"/>
                </a:cubicBezTo>
                <a:close/>
                <a:moveTo>
                  <a:pt x="2939053" y="1678464"/>
                </a:moveTo>
                <a:cubicBezTo>
                  <a:pt x="2942682" y="1694637"/>
                  <a:pt x="2957195" y="1695588"/>
                  <a:pt x="2963848" y="1707956"/>
                </a:cubicBezTo>
                <a:cubicBezTo>
                  <a:pt x="2955381" y="1685361"/>
                  <a:pt x="2978361" y="1703675"/>
                  <a:pt x="2976547" y="1689643"/>
                </a:cubicBezTo>
                <a:cubicBezTo>
                  <a:pt x="2960824" y="1680129"/>
                  <a:pt x="2954777" y="1691545"/>
                  <a:pt x="2939053" y="1678464"/>
                </a:cubicBezTo>
                <a:close/>
                <a:moveTo>
                  <a:pt x="12103937" y="1675610"/>
                </a:moveTo>
                <a:cubicBezTo>
                  <a:pt x="12111193" y="1681557"/>
                  <a:pt x="12123894" y="1681081"/>
                  <a:pt x="12131755" y="1687265"/>
                </a:cubicBezTo>
                <a:cubicBezTo>
                  <a:pt x="12109984" y="1701534"/>
                  <a:pt x="12102728" y="1700345"/>
                  <a:pt x="12079142" y="1703913"/>
                </a:cubicBezTo>
                <a:cubicBezTo>
                  <a:pt x="12082166" y="1689643"/>
                  <a:pt x="12107565" y="1697491"/>
                  <a:pt x="12103937" y="1675610"/>
                </a:cubicBezTo>
                <a:close/>
                <a:moveTo>
                  <a:pt x="12536328" y="1669664"/>
                </a:moveTo>
                <a:lnTo>
                  <a:pt x="12544795" y="1670378"/>
                </a:lnTo>
                <a:cubicBezTo>
                  <a:pt x="12544190" y="1674421"/>
                  <a:pt x="12546609" y="1674897"/>
                  <a:pt x="12549027" y="1674897"/>
                </a:cubicBezTo>
                <a:cubicBezTo>
                  <a:pt x="12540562" y="1698918"/>
                  <a:pt x="12542981" y="1696777"/>
                  <a:pt x="12539351" y="1725080"/>
                </a:cubicBezTo>
                <a:cubicBezTo>
                  <a:pt x="12524233" y="1715804"/>
                  <a:pt x="12535119" y="1686076"/>
                  <a:pt x="12536328" y="1669664"/>
                </a:cubicBezTo>
                <a:close/>
                <a:moveTo>
                  <a:pt x="2850761" y="1666810"/>
                </a:moveTo>
                <a:cubicBezTo>
                  <a:pt x="2851970" y="1684887"/>
                  <a:pt x="2840480" y="1683696"/>
                  <a:pt x="2848947" y="1696302"/>
                </a:cubicBezTo>
                <a:cubicBezTo>
                  <a:pt x="2861042" y="1695351"/>
                  <a:pt x="2866483" y="1683696"/>
                  <a:pt x="2874345" y="1678464"/>
                </a:cubicBezTo>
                <a:cubicBezTo>
                  <a:pt x="2859832" y="1682983"/>
                  <a:pt x="2857412" y="1669427"/>
                  <a:pt x="2850761" y="1666810"/>
                </a:cubicBezTo>
                <a:close/>
                <a:moveTo>
                  <a:pt x="2352452" y="1662767"/>
                </a:moveTo>
                <a:cubicBezTo>
                  <a:pt x="2353662" y="1674659"/>
                  <a:pt x="2348824" y="1674421"/>
                  <a:pt x="2343381" y="1673946"/>
                </a:cubicBezTo>
                <a:cubicBezTo>
                  <a:pt x="2344590" y="1687739"/>
                  <a:pt x="2348824" y="1692021"/>
                  <a:pt x="2351847" y="1702010"/>
                </a:cubicBezTo>
                <a:cubicBezTo>
                  <a:pt x="2347614" y="1711524"/>
                  <a:pt x="2337334" y="1685361"/>
                  <a:pt x="2338542" y="1669664"/>
                </a:cubicBezTo>
                <a:cubicBezTo>
                  <a:pt x="2345195" y="1670378"/>
                  <a:pt x="2345799" y="1662054"/>
                  <a:pt x="2352452" y="1662767"/>
                </a:cubicBezTo>
                <a:close/>
                <a:moveTo>
                  <a:pt x="2807824" y="1661102"/>
                </a:moveTo>
                <a:cubicBezTo>
                  <a:pt x="2809034" y="1679178"/>
                  <a:pt x="2818105" y="1691545"/>
                  <a:pt x="2839875" y="1689643"/>
                </a:cubicBezTo>
                <a:cubicBezTo>
                  <a:pt x="2838666" y="1669664"/>
                  <a:pt x="2819314" y="1670140"/>
                  <a:pt x="2807824" y="1661102"/>
                </a:cubicBezTo>
                <a:close/>
                <a:moveTo>
                  <a:pt x="2220013" y="1657535"/>
                </a:moveTo>
                <a:cubicBezTo>
                  <a:pt x="2234527" y="1661102"/>
                  <a:pt x="2237551" y="1682270"/>
                  <a:pt x="2239970" y="1702723"/>
                </a:cubicBezTo>
                <a:cubicBezTo>
                  <a:pt x="2228480" y="1695112"/>
                  <a:pt x="2225456" y="1673708"/>
                  <a:pt x="2220013" y="1657535"/>
                </a:cubicBezTo>
                <a:close/>
                <a:moveTo>
                  <a:pt x="642843" y="1651827"/>
                </a:moveTo>
                <a:cubicBezTo>
                  <a:pt x="672476" y="1664432"/>
                  <a:pt x="693641" y="1658248"/>
                  <a:pt x="725693" y="1658963"/>
                </a:cubicBezTo>
                <a:cubicBezTo>
                  <a:pt x="717831" y="1674421"/>
                  <a:pt x="701502" y="1679178"/>
                  <a:pt x="693037" y="1663956"/>
                </a:cubicBezTo>
                <a:cubicBezTo>
                  <a:pt x="689408" y="1680129"/>
                  <a:pt x="699084" y="1679178"/>
                  <a:pt x="698479" y="1693447"/>
                </a:cubicBezTo>
                <a:cubicBezTo>
                  <a:pt x="678522" y="1677513"/>
                  <a:pt x="654333" y="1656822"/>
                  <a:pt x="639215" y="1676086"/>
                </a:cubicBezTo>
                <a:cubicBezTo>
                  <a:pt x="627724" y="1675135"/>
                  <a:pt x="644657" y="1660152"/>
                  <a:pt x="642843" y="1651827"/>
                </a:cubicBezTo>
                <a:close/>
                <a:moveTo>
                  <a:pt x="2126278" y="1649449"/>
                </a:moveTo>
                <a:cubicBezTo>
                  <a:pt x="2137163" y="1652540"/>
                  <a:pt x="2143816" y="1659437"/>
                  <a:pt x="2145025" y="1673946"/>
                </a:cubicBezTo>
                <a:cubicBezTo>
                  <a:pt x="2134140" y="1675135"/>
                  <a:pt x="2134744" y="1662767"/>
                  <a:pt x="2123254" y="1667999"/>
                </a:cubicBezTo>
                <a:cubicBezTo>
                  <a:pt x="2126278" y="1662054"/>
                  <a:pt x="2128092" y="1657774"/>
                  <a:pt x="2126278" y="1649449"/>
                </a:cubicBezTo>
                <a:close/>
                <a:moveTo>
                  <a:pt x="2085155" y="1646119"/>
                </a:moveTo>
                <a:cubicBezTo>
                  <a:pt x="2085760" y="1668238"/>
                  <a:pt x="2065198" y="1657059"/>
                  <a:pt x="2058547" y="1668714"/>
                </a:cubicBezTo>
                <a:cubicBezTo>
                  <a:pt x="2057338" y="1646595"/>
                  <a:pt x="2072456" y="1644930"/>
                  <a:pt x="2085155" y="1646119"/>
                </a:cubicBezTo>
                <a:close/>
                <a:moveTo>
                  <a:pt x="1730171" y="1640411"/>
                </a:moveTo>
                <a:cubicBezTo>
                  <a:pt x="1741661" y="1659676"/>
                  <a:pt x="1753757" y="1672994"/>
                  <a:pt x="1765247" y="1688215"/>
                </a:cubicBezTo>
                <a:cubicBezTo>
                  <a:pt x="1751942" y="1697253"/>
                  <a:pt x="1736219" y="1677751"/>
                  <a:pt x="1736824" y="1659437"/>
                </a:cubicBezTo>
                <a:cubicBezTo>
                  <a:pt x="1731985" y="1663006"/>
                  <a:pt x="1731380" y="1671092"/>
                  <a:pt x="1721704" y="1670378"/>
                </a:cubicBezTo>
                <a:cubicBezTo>
                  <a:pt x="1726543" y="1662530"/>
                  <a:pt x="1727147" y="1648260"/>
                  <a:pt x="1730171" y="1640411"/>
                </a:cubicBezTo>
                <a:close/>
                <a:moveTo>
                  <a:pt x="2148653" y="1618293"/>
                </a:moveTo>
                <a:cubicBezTo>
                  <a:pt x="2134744" y="1650162"/>
                  <a:pt x="2089994" y="1624714"/>
                  <a:pt x="2065803" y="1629946"/>
                </a:cubicBezTo>
                <a:cubicBezTo>
                  <a:pt x="2095436" y="1610445"/>
                  <a:pt x="2126278" y="1636606"/>
                  <a:pt x="2148653" y="1618293"/>
                </a:cubicBezTo>
                <a:close/>
                <a:moveTo>
                  <a:pt x="2411113" y="1606400"/>
                </a:moveTo>
                <a:cubicBezTo>
                  <a:pt x="2425021" y="1601644"/>
                  <a:pt x="2417159" y="1624477"/>
                  <a:pt x="2428650" y="1623525"/>
                </a:cubicBezTo>
                <a:cubicBezTo>
                  <a:pt x="2411717" y="1633752"/>
                  <a:pt x="2426835" y="1650400"/>
                  <a:pt x="2428045" y="1667999"/>
                </a:cubicBezTo>
                <a:cubicBezTo>
                  <a:pt x="2420789" y="1675135"/>
                  <a:pt x="2412927" y="1650876"/>
                  <a:pt x="2409298" y="1667999"/>
                </a:cubicBezTo>
                <a:cubicBezTo>
                  <a:pt x="2399017" y="1649687"/>
                  <a:pt x="2418974" y="1630185"/>
                  <a:pt x="2411113" y="1606400"/>
                </a:cubicBezTo>
                <a:close/>
                <a:moveTo>
                  <a:pt x="1477389" y="1604974"/>
                </a:moveTo>
                <a:cubicBezTo>
                  <a:pt x="1479807" y="1604261"/>
                  <a:pt x="1481621" y="1604261"/>
                  <a:pt x="1484041" y="1604974"/>
                </a:cubicBezTo>
                <a:cubicBezTo>
                  <a:pt x="1496741" y="1609254"/>
                  <a:pt x="1506416" y="1635893"/>
                  <a:pt x="1514883" y="1644216"/>
                </a:cubicBezTo>
                <a:cubicBezTo>
                  <a:pt x="1500974" y="1632800"/>
                  <a:pt x="1482832" y="1643503"/>
                  <a:pt x="1455618" y="1638984"/>
                </a:cubicBezTo>
                <a:cubicBezTo>
                  <a:pt x="1458641" y="1628996"/>
                  <a:pt x="1488879" y="1623525"/>
                  <a:pt x="1470131" y="1609730"/>
                </a:cubicBezTo>
                <a:cubicBezTo>
                  <a:pt x="1472551" y="1607115"/>
                  <a:pt x="1474970" y="1605687"/>
                  <a:pt x="1477389" y="1604974"/>
                </a:cubicBezTo>
                <a:close/>
                <a:moveTo>
                  <a:pt x="12019878" y="1603548"/>
                </a:moveTo>
                <a:cubicBezTo>
                  <a:pt x="12017458" y="1602596"/>
                  <a:pt x="12015644" y="1602833"/>
                  <a:pt x="12013225" y="1604022"/>
                </a:cubicBezTo>
                <a:cubicBezTo>
                  <a:pt x="12010806" y="1605450"/>
                  <a:pt x="12008388" y="1608541"/>
                  <a:pt x="12007782" y="1613773"/>
                </a:cubicBezTo>
                <a:cubicBezTo>
                  <a:pt x="12017458" y="1616628"/>
                  <a:pt x="12018667" y="1626855"/>
                  <a:pt x="12030763" y="1625903"/>
                </a:cubicBezTo>
                <a:cubicBezTo>
                  <a:pt x="12033182" y="1614725"/>
                  <a:pt x="12026529" y="1605687"/>
                  <a:pt x="12019878" y="1603548"/>
                </a:cubicBezTo>
                <a:close/>
                <a:moveTo>
                  <a:pt x="2667523" y="1602357"/>
                </a:moveTo>
                <a:cubicBezTo>
                  <a:pt x="2665710" y="1601644"/>
                  <a:pt x="2663291" y="1601407"/>
                  <a:pt x="2659661" y="1602596"/>
                </a:cubicBezTo>
                <a:cubicBezTo>
                  <a:pt x="2659661" y="1608541"/>
                  <a:pt x="2654824" y="1610445"/>
                  <a:pt x="2656638" y="1620671"/>
                </a:cubicBezTo>
                <a:cubicBezTo>
                  <a:pt x="2661476" y="1617103"/>
                  <a:pt x="2680222" y="1626379"/>
                  <a:pt x="2678409" y="1614249"/>
                </a:cubicBezTo>
                <a:cubicBezTo>
                  <a:pt x="2671151" y="1613773"/>
                  <a:pt x="2672361" y="1604737"/>
                  <a:pt x="2667523" y="1602357"/>
                </a:cubicBezTo>
                <a:close/>
                <a:moveTo>
                  <a:pt x="2007144" y="1595461"/>
                </a:moveTo>
                <a:cubicBezTo>
                  <a:pt x="2013795" y="1597364"/>
                  <a:pt x="2015006" y="1605687"/>
                  <a:pt x="2022262" y="1607828"/>
                </a:cubicBezTo>
                <a:cubicBezTo>
                  <a:pt x="2019239" y="1621860"/>
                  <a:pt x="1992629" y="1613773"/>
                  <a:pt x="1998677" y="1595936"/>
                </a:cubicBezTo>
                <a:cubicBezTo>
                  <a:pt x="2002305" y="1594747"/>
                  <a:pt x="2005330" y="1594747"/>
                  <a:pt x="2007144" y="1595461"/>
                </a:cubicBezTo>
                <a:close/>
                <a:moveTo>
                  <a:pt x="12052534" y="1589990"/>
                </a:moveTo>
                <a:cubicBezTo>
                  <a:pt x="12051324" y="1603785"/>
                  <a:pt x="12053743" y="1614012"/>
                  <a:pt x="12063419" y="1614963"/>
                </a:cubicBezTo>
                <a:cubicBezTo>
                  <a:pt x="12064024" y="1603072"/>
                  <a:pt x="12077933" y="1610206"/>
                  <a:pt x="12078537" y="1596412"/>
                </a:cubicBezTo>
                <a:cubicBezTo>
                  <a:pt x="12071281" y="1591893"/>
                  <a:pt x="12064628" y="1589039"/>
                  <a:pt x="12052534" y="1589990"/>
                </a:cubicBezTo>
                <a:close/>
                <a:moveTo>
                  <a:pt x="2090598" y="1585471"/>
                </a:moveTo>
                <a:cubicBezTo>
                  <a:pt x="2087575" y="1590942"/>
                  <a:pt x="2085155" y="1598077"/>
                  <a:pt x="2086969" y="1607828"/>
                </a:cubicBezTo>
                <a:cubicBezTo>
                  <a:pt x="2076690" y="1609017"/>
                  <a:pt x="2067618" y="1604737"/>
                  <a:pt x="2067014" y="1614249"/>
                </a:cubicBezTo>
                <a:cubicBezTo>
                  <a:pt x="2052499" y="1601644"/>
                  <a:pt x="2082737" y="1592369"/>
                  <a:pt x="2090598" y="1585471"/>
                </a:cubicBezTo>
                <a:close/>
                <a:moveTo>
                  <a:pt x="120345" y="1582617"/>
                </a:moveTo>
                <a:cubicBezTo>
                  <a:pt x="126392" y="1600694"/>
                  <a:pt x="110669" y="1593320"/>
                  <a:pt x="104016" y="1594509"/>
                </a:cubicBezTo>
                <a:cubicBezTo>
                  <a:pt x="98574" y="1609730"/>
                  <a:pt x="110064" y="1609017"/>
                  <a:pt x="107041" y="1622336"/>
                </a:cubicBezTo>
                <a:lnTo>
                  <a:pt x="88293" y="1622336"/>
                </a:lnTo>
                <a:cubicBezTo>
                  <a:pt x="88898" y="1614725"/>
                  <a:pt x="107646" y="1606876"/>
                  <a:pt x="93736" y="1599742"/>
                </a:cubicBezTo>
                <a:cubicBezTo>
                  <a:pt x="99179" y="1590466"/>
                  <a:pt x="108855" y="1585471"/>
                  <a:pt x="120345" y="1582617"/>
                </a:cubicBezTo>
                <a:close/>
                <a:moveTo>
                  <a:pt x="2773353" y="1581904"/>
                </a:moveTo>
                <a:cubicBezTo>
                  <a:pt x="2770934" y="1581667"/>
                  <a:pt x="2769120" y="1582142"/>
                  <a:pt x="2769120" y="1584282"/>
                </a:cubicBezTo>
                <a:cubicBezTo>
                  <a:pt x="2778192" y="1590942"/>
                  <a:pt x="2775169" y="1608541"/>
                  <a:pt x="2792100" y="1602120"/>
                </a:cubicBezTo>
                <a:cubicBezTo>
                  <a:pt x="2794519" y="1591893"/>
                  <a:pt x="2780610" y="1582617"/>
                  <a:pt x="2773353" y="1581904"/>
                </a:cubicBezTo>
                <a:close/>
                <a:moveTo>
                  <a:pt x="12620387" y="1577385"/>
                </a:moveTo>
                <a:cubicBezTo>
                  <a:pt x="12637320" y="1574294"/>
                  <a:pt x="12633087" y="1598790"/>
                  <a:pt x="12642158" y="1606400"/>
                </a:cubicBezTo>
                <a:cubicBezTo>
                  <a:pt x="12632482" y="1616628"/>
                  <a:pt x="12617968" y="1608304"/>
                  <a:pt x="12599826" y="1606876"/>
                </a:cubicBezTo>
                <a:cubicBezTo>
                  <a:pt x="12598617" y="1586423"/>
                  <a:pt x="12612525" y="1588088"/>
                  <a:pt x="12620387" y="1577385"/>
                </a:cubicBezTo>
                <a:close/>
                <a:moveTo>
                  <a:pt x="2940262" y="1574294"/>
                </a:moveTo>
                <a:cubicBezTo>
                  <a:pt x="2937843" y="1574531"/>
                  <a:pt x="2935425" y="1577861"/>
                  <a:pt x="2934820" y="1584758"/>
                </a:cubicBezTo>
                <a:cubicBezTo>
                  <a:pt x="2954172" y="1578337"/>
                  <a:pt x="2942682" y="1609493"/>
                  <a:pt x="2954172" y="1614249"/>
                </a:cubicBezTo>
                <a:cubicBezTo>
                  <a:pt x="2959010" y="1596888"/>
                  <a:pt x="2948125" y="1573342"/>
                  <a:pt x="2940262" y="1574294"/>
                </a:cubicBezTo>
                <a:close/>
                <a:moveTo>
                  <a:pt x="1634017" y="1572153"/>
                </a:moveTo>
                <a:cubicBezTo>
                  <a:pt x="1639461" y="1569537"/>
                  <a:pt x="1648530" y="1590704"/>
                  <a:pt x="1659416" y="1585471"/>
                </a:cubicBezTo>
                <a:cubicBezTo>
                  <a:pt x="1653369" y="1603309"/>
                  <a:pt x="1641274" y="1579526"/>
                  <a:pt x="1629784" y="1584758"/>
                </a:cubicBezTo>
                <a:cubicBezTo>
                  <a:pt x="1630994" y="1576672"/>
                  <a:pt x="1632203" y="1573105"/>
                  <a:pt x="1634017" y="1572153"/>
                </a:cubicBezTo>
                <a:close/>
                <a:moveTo>
                  <a:pt x="1119985" y="1542186"/>
                </a:moveTo>
                <a:cubicBezTo>
                  <a:pt x="1119985" y="1546942"/>
                  <a:pt x="1117567" y="1565494"/>
                  <a:pt x="1124823" y="1572153"/>
                </a:cubicBezTo>
                <a:cubicBezTo>
                  <a:pt x="1110310" y="1568823"/>
                  <a:pt x="1095191" y="1567872"/>
                  <a:pt x="1086725" y="1573342"/>
                </a:cubicBezTo>
                <a:cubicBezTo>
                  <a:pt x="1081282" y="1552413"/>
                  <a:pt x="1116357" y="1573818"/>
                  <a:pt x="1118172" y="1543375"/>
                </a:cubicBezTo>
                <a:cubicBezTo>
                  <a:pt x="1119381" y="1540997"/>
                  <a:pt x="1119985" y="1540759"/>
                  <a:pt x="1119985" y="1542186"/>
                </a:cubicBezTo>
                <a:close/>
                <a:moveTo>
                  <a:pt x="2380271" y="1537429"/>
                </a:moveTo>
                <a:cubicBezTo>
                  <a:pt x="2376641" y="1550985"/>
                  <a:pt x="2357894" y="1547181"/>
                  <a:pt x="2357290" y="1566921"/>
                </a:cubicBezTo>
                <a:cubicBezTo>
                  <a:pt x="2371199" y="1570251"/>
                  <a:pt x="2377246" y="1554791"/>
                  <a:pt x="2385713" y="1567634"/>
                </a:cubicBezTo>
                <a:cubicBezTo>
                  <a:pt x="2377246" y="1552889"/>
                  <a:pt x="2391760" y="1546229"/>
                  <a:pt x="2380271" y="1537429"/>
                </a:cubicBezTo>
                <a:close/>
                <a:moveTo>
                  <a:pt x="2584673" y="1532910"/>
                </a:moveTo>
                <a:cubicBezTo>
                  <a:pt x="2572579" y="1539808"/>
                  <a:pt x="2593140" y="1549796"/>
                  <a:pt x="2581045" y="1556693"/>
                </a:cubicBezTo>
                <a:cubicBezTo>
                  <a:pt x="2581650" y="1544803"/>
                  <a:pt x="2557460" y="1546468"/>
                  <a:pt x="2565928" y="1560975"/>
                </a:cubicBezTo>
                <a:lnTo>
                  <a:pt x="2599792" y="1561688"/>
                </a:lnTo>
                <a:cubicBezTo>
                  <a:pt x="2598583" y="1547894"/>
                  <a:pt x="2594349" y="1535764"/>
                  <a:pt x="2584673" y="1532910"/>
                </a:cubicBezTo>
                <a:close/>
                <a:moveTo>
                  <a:pt x="2453443" y="1530532"/>
                </a:moveTo>
                <a:cubicBezTo>
                  <a:pt x="2464935" y="1540284"/>
                  <a:pt x="2480053" y="1541235"/>
                  <a:pt x="2475820" y="1569061"/>
                </a:cubicBezTo>
                <a:cubicBezTo>
                  <a:pt x="2466749" y="1559547"/>
                  <a:pt x="2449211" y="1558358"/>
                  <a:pt x="2453443" y="1530532"/>
                </a:cubicBezTo>
                <a:close/>
                <a:moveTo>
                  <a:pt x="11918281" y="1527678"/>
                </a:moveTo>
                <a:cubicBezTo>
                  <a:pt x="11915862" y="1526965"/>
                  <a:pt x="11912837" y="1526965"/>
                  <a:pt x="11909209" y="1528154"/>
                </a:cubicBezTo>
                <a:cubicBezTo>
                  <a:pt x="11901347" y="1547418"/>
                  <a:pt x="11929166" y="1555743"/>
                  <a:pt x="11932794" y="1540284"/>
                </a:cubicBezTo>
                <a:cubicBezTo>
                  <a:pt x="11925538" y="1538143"/>
                  <a:pt x="11924327" y="1529819"/>
                  <a:pt x="11918281" y="1527678"/>
                </a:cubicBezTo>
                <a:close/>
                <a:moveTo>
                  <a:pt x="2617329" y="1527441"/>
                </a:moveTo>
                <a:cubicBezTo>
                  <a:pt x="2614911" y="1527202"/>
                  <a:pt x="2612492" y="1527915"/>
                  <a:pt x="2610073" y="1529343"/>
                </a:cubicBezTo>
                <a:cubicBezTo>
                  <a:pt x="2605235" y="1531959"/>
                  <a:pt x="2602816" y="1536240"/>
                  <a:pt x="2608258" y="1538619"/>
                </a:cubicBezTo>
                <a:cubicBezTo>
                  <a:pt x="2620958" y="1525776"/>
                  <a:pt x="2602211" y="1556218"/>
                  <a:pt x="2604025" y="1566207"/>
                </a:cubicBezTo>
                <a:cubicBezTo>
                  <a:pt x="2627610" y="1578098"/>
                  <a:pt x="2646357" y="1591893"/>
                  <a:pt x="2669942" y="1589990"/>
                </a:cubicBezTo>
                <a:cubicBezTo>
                  <a:pt x="2672361" y="1556456"/>
                  <a:pt x="2680222" y="1578574"/>
                  <a:pt x="2680222" y="1544803"/>
                </a:cubicBezTo>
                <a:cubicBezTo>
                  <a:pt x="2672966" y="1544327"/>
                  <a:pt x="2668128" y="1542186"/>
                  <a:pt x="2665710" y="1538143"/>
                </a:cubicBezTo>
                <a:cubicBezTo>
                  <a:pt x="2672361" y="1556456"/>
                  <a:pt x="2649381" y="1568110"/>
                  <a:pt x="2645753" y="1555743"/>
                </a:cubicBezTo>
                <a:cubicBezTo>
                  <a:pt x="2669337" y="1557883"/>
                  <a:pt x="2628215" y="1528630"/>
                  <a:pt x="2627006" y="1544327"/>
                </a:cubicBezTo>
                <a:cubicBezTo>
                  <a:pt x="2631844" y="1544803"/>
                  <a:pt x="2631844" y="1552650"/>
                  <a:pt x="2631239" y="1560499"/>
                </a:cubicBezTo>
                <a:cubicBezTo>
                  <a:pt x="2626401" y="1568110"/>
                  <a:pt x="2619144" y="1565732"/>
                  <a:pt x="2612492" y="1555267"/>
                </a:cubicBezTo>
                <a:cubicBezTo>
                  <a:pt x="2622168" y="1554078"/>
                  <a:pt x="2624587" y="1546229"/>
                  <a:pt x="2623377" y="1532197"/>
                </a:cubicBezTo>
                <a:cubicBezTo>
                  <a:pt x="2622168" y="1529105"/>
                  <a:pt x="2619749" y="1527678"/>
                  <a:pt x="2617329" y="1527441"/>
                </a:cubicBezTo>
                <a:close/>
                <a:moveTo>
                  <a:pt x="2405065" y="1521257"/>
                </a:moveTo>
                <a:cubicBezTo>
                  <a:pt x="2405065" y="1527202"/>
                  <a:pt x="2397808" y="1526965"/>
                  <a:pt x="2390551" y="1526489"/>
                </a:cubicBezTo>
                <a:cubicBezTo>
                  <a:pt x="2388736" y="1561926"/>
                  <a:pt x="2421393" y="1530532"/>
                  <a:pt x="2405065" y="1521257"/>
                </a:cubicBezTo>
                <a:close/>
                <a:moveTo>
                  <a:pt x="1690862" y="1520781"/>
                </a:moveTo>
                <a:cubicBezTo>
                  <a:pt x="1697515" y="1527441"/>
                  <a:pt x="1704772" y="1535764"/>
                  <a:pt x="1714449" y="1538619"/>
                </a:cubicBezTo>
                <a:cubicBezTo>
                  <a:pt x="1711424" y="1546468"/>
                  <a:pt x="1703563" y="1550272"/>
                  <a:pt x="1693887" y="1551461"/>
                </a:cubicBezTo>
                <a:cubicBezTo>
                  <a:pt x="1696910" y="1541473"/>
                  <a:pt x="1692073" y="1539332"/>
                  <a:pt x="1684211" y="1538619"/>
                </a:cubicBezTo>
                <a:cubicBezTo>
                  <a:pt x="1687235" y="1534813"/>
                  <a:pt x="1690258" y="1528867"/>
                  <a:pt x="1690862" y="1520781"/>
                </a:cubicBezTo>
                <a:close/>
                <a:moveTo>
                  <a:pt x="2105112" y="1513646"/>
                </a:moveTo>
                <a:cubicBezTo>
                  <a:pt x="2107532" y="1519829"/>
                  <a:pt x="2106926" y="1525776"/>
                  <a:pt x="2106926" y="1531721"/>
                </a:cubicBezTo>
                <a:cubicBezTo>
                  <a:pt x="2119022" y="1532673"/>
                  <a:pt x="2128092" y="1533149"/>
                  <a:pt x="2129302" y="1519355"/>
                </a:cubicBezTo>
                <a:cubicBezTo>
                  <a:pt x="2117207" y="1520305"/>
                  <a:pt x="2113578" y="1532434"/>
                  <a:pt x="2119627" y="1515073"/>
                </a:cubicBezTo>
                <a:close/>
                <a:moveTo>
                  <a:pt x="1574752" y="1506036"/>
                </a:moveTo>
                <a:cubicBezTo>
                  <a:pt x="1598338" y="1506036"/>
                  <a:pt x="1627971" y="1521018"/>
                  <a:pt x="1655788" y="1519355"/>
                </a:cubicBezTo>
                <a:cubicBezTo>
                  <a:pt x="1653369" y="1523159"/>
                  <a:pt x="1650951" y="1529343"/>
                  <a:pt x="1655183" y="1529819"/>
                </a:cubicBezTo>
                <a:cubicBezTo>
                  <a:pt x="1638250" y="1540521"/>
                  <a:pt x="1630389" y="1513171"/>
                  <a:pt x="1609223" y="1519355"/>
                </a:cubicBezTo>
                <a:cubicBezTo>
                  <a:pt x="1599547" y="1522683"/>
                  <a:pt x="1615270" y="1528867"/>
                  <a:pt x="1605594" y="1538143"/>
                </a:cubicBezTo>
                <a:cubicBezTo>
                  <a:pt x="1589267" y="1534813"/>
                  <a:pt x="1591080" y="1509603"/>
                  <a:pt x="1574752" y="1506036"/>
                </a:cubicBezTo>
                <a:close/>
                <a:moveTo>
                  <a:pt x="2314958" y="1503895"/>
                </a:moveTo>
                <a:cubicBezTo>
                  <a:pt x="2302258" y="1516500"/>
                  <a:pt x="2273835" y="1510316"/>
                  <a:pt x="2267788" y="1531721"/>
                </a:cubicBezTo>
                <a:cubicBezTo>
                  <a:pt x="2274441" y="1536240"/>
                  <a:pt x="2279278" y="1540759"/>
                  <a:pt x="2286534" y="1543375"/>
                </a:cubicBezTo>
                <a:cubicBezTo>
                  <a:pt x="2290163" y="1513884"/>
                  <a:pt x="2304677" y="1550511"/>
                  <a:pt x="2309515" y="1554791"/>
                </a:cubicBezTo>
                <a:cubicBezTo>
                  <a:pt x="2315562" y="1527441"/>
                  <a:pt x="2340962" y="1553839"/>
                  <a:pt x="2337334" y="1531721"/>
                </a:cubicBezTo>
                <a:cubicBezTo>
                  <a:pt x="2347009" y="1534338"/>
                  <a:pt x="2345799" y="1548370"/>
                  <a:pt x="2362733" y="1543851"/>
                </a:cubicBezTo>
                <a:cubicBezTo>
                  <a:pt x="2360918" y="1535764"/>
                  <a:pt x="2363942" y="1531721"/>
                  <a:pt x="2366361" y="1526013"/>
                </a:cubicBezTo>
                <a:cubicBezTo>
                  <a:pt x="2337938" y="1521494"/>
                  <a:pt x="2308911" y="1525061"/>
                  <a:pt x="2314958" y="1503895"/>
                </a:cubicBezTo>
                <a:close/>
                <a:moveTo>
                  <a:pt x="1551772" y="1502230"/>
                </a:moveTo>
                <a:cubicBezTo>
                  <a:pt x="1566892" y="1517927"/>
                  <a:pt x="1531815" y="1525061"/>
                  <a:pt x="1522139" y="1516025"/>
                </a:cubicBezTo>
                <a:cubicBezTo>
                  <a:pt x="1523955" y="1487484"/>
                  <a:pt x="1545725" y="1522209"/>
                  <a:pt x="1551772" y="1502230"/>
                </a:cubicBezTo>
                <a:close/>
                <a:moveTo>
                  <a:pt x="2190985" y="1491290"/>
                </a:moveTo>
                <a:cubicBezTo>
                  <a:pt x="2187357" y="1504846"/>
                  <a:pt x="2163772" y="1492955"/>
                  <a:pt x="2167400" y="1515073"/>
                </a:cubicBezTo>
                <a:cubicBezTo>
                  <a:pt x="2190985" y="1521018"/>
                  <a:pt x="2216385" y="1541235"/>
                  <a:pt x="2242389" y="1509841"/>
                </a:cubicBezTo>
                <a:cubicBezTo>
                  <a:pt x="2227875" y="1510554"/>
                  <a:pt x="2209128" y="1504371"/>
                  <a:pt x="2201266" y="1513646"/>
                </a:cubicBezTo>
                <a:cubicBezTo>
                  <a:pt x="2192196" y="1504846"/>
                  <a:pt x="2207314" y="1496759"/>
                  <a:pt x="2190985" y="1491290"/>
                </a:cubicBezTo>
                <a:close/>
                <a:moveTo>
                  <a:pt x="1428405" y="1486058"/>
                </a:moveTo>
                <a:cubicBezTo>
                  <a:pt x="1435057" y="1497948"/>
                  <a:pt x="1451990" y="1497235"/>
                  <a:pt x="1455618" y="1512695"/>
                </a:cubicBezTo>
                <a:cubicBezTo>
                  <a:pt x="1435661" y="1492003"/>
                  <a:pt x="1424776" y="1508414"/>
                  <a:pt x="1404215" y="1502706"/>
                </a:cubicBezTo>
                <a:cubicBezTo>
                  <a:pt x="1406633" y="1491766"/>
                  <a:pt x="1425381" y="1499139"/>
                  <a:pt x="1428405" y="1486058"/>
                </a:cubicBezTo>
                <a:close/>
                <a:moveTo>
                  <a:pt x="2202476" y="1474404"/>
                </a:moveTo>
                <a:cubicBezTo>
                  <a:pt x="2197033" y="1473689"/>
                  <a:pt x="2191591" y="1474641"/>
                  <a:pt x="2186752" y="1479160"/>
                </a:cubicBezTo>
                <a:cubicBezTo>
                  <a:pt x="2205500" y="1480825"/>
                  <a:pt x="2240574" y="1507462"/>
                  <a:pt x="2253878" y="1480825"/>
                </a:cubicBezTo>
                <a:cubicBezTo>
                  <a:pt x="2238760" y="1494381"/>
                  <a:pt x="2220013" y="1476544"/>
                  <a:pt x="2202476" y="1474404"/>
                </a:cubicBezTo>
                <a:close/>
                <a:moveTo>
                  <a:pt x="2105112" y="1473928"/>
                </a:moveTo>
                <a:cubicBezTo>
                  <a:pt x="2111764" y="1492242"/>
                  <a:pt x="2090598" y="1482490"/>
                  <a:pt x="2091808" y="1496522"/>
                </a:cubicBezTo>
                <a:cubicBezTo>
                  <a:pt x="2105717" y="1507700"/>
                  <a:pt x="2124464" y="1511268"/>
                  <a:pt x="2135349" y="1492242"/>
                </a:cubicBezTo>
                <a:cubicBezTo>
                  <a:pt x="2129302" y="1470122"/>
                  <a:pt x="2107532" y="1476306"/>
                  <a:pt x="2125673" y="1491766"/>
                </a:cubicBezTo>
                <a:cubicBezTo>
                  <a:pt x="2106321" y="1500089"/>
                  <a:pt x="2114788" y="1476782"/>
                  <a:pt x="2105112" y="1473928"/>
                </a:cubicBezTo>
                <a:close/>
                <a:moveTo>
                  <a:pt x="1195579" y="1469646"/>
                </a:moveTo>
                <a:cubicBezTo>
                  <a:pt x="1203440" y="1493431"/>
                  <a:pt x="1170178" y="1469172"/>
                  <a:pt x="1178041" y="1492955"/>
                </a:cubicBezTo>
                <a:cubicBezTo>
                  <a:pt x="1159295" y="1493192"/>
                  <a:pt x="1181670" y="1464653"/>
                  <a:pt x="1195579" y="1469646"/>
                </a:cubicBezTo>
                <a:close/>
                <a:moveTo>
                  <a:pt x="2069433" y="1467268"/>
                </a:moveTo>
                <a:cubicBezTo>
                  <a:pt x="2067014" y="1466318"/>
                  <a:pt x="2063989" y="1466555"/>
                  <a:pt x="2059756" y="1468220"/>
                </a:cubicBezTo>
                <a:cubicBezTo>
                  <a:pt x="2056733" y="1483679"/>
                  <a:pt x="2056127" y="1489625"/>
                  <a:pt x="2050685" y="1508889"/>
                </a:cubicBezTo>
                <a:cubicBezTo>
                  <a:pt x="2055523" y="1507462"/>
                  <a:pt x="2067014" y="1510554"/>
                  <a:pt x="2067618" y="1502706"/>
                </a:cubicBezTo>
                <a:cubicBezTo>
                  <a:pt x="2053709" y="1495570"/>
                  <a:pt x="2082737" y="1493905"/>
                  <a:pt x="2083342" y="1486058"/>
                </a:cubicBezTo>
                <a:cubicBezTo>
                  <a:pt x="2076084" y="1482490"/>
                  <a:pt x="2076084" y="1470361"/>
                  <a:pt x="2069433" y="1467268"/>
                </a:cubicBezTo>
                <a:close/>
                <a:moveTo>
                  <a:pt x="1889824" y="1467268"/>
                </a:moveTo>
                <a:cubicBezTo>
                  <a:pt x="1872286" y="1477733"/>
                  <a:pt x="1863819" y="1457517"/>
                  <a:pt x="1860192" y="1479160"/>
                </a:cubicBezTo>
                <a:cubicBezTo>
                  <a:pt x="1869867" y="1475830"/>
                  <a:pt x="1892847" y="1489387"/>
                  <a:pt x="1889824" y="1467268"/>
                </a:cubicBezTo>
                <a:close/>
                <a:moveTo>
                  <a:pt x="1989606" y="1461085"/>
                </a:moveTo>
                <a:cubicBezTo>
                  <a:pt x="1983559" y="1460847"/>
                  <a:pt x="1978721" y="1462274"/>
                  <a:pt x="1978116" y="1469172"/>
                </a:cubicBezTo>
                <a:cubicBezTo>
                  <a:pt x="1984164" y="1487484"/>
                  <a:pt x="2006539" y="1483441"/>
                  <a:pt x="2012586" y="1503895"/>
                </a:cubicBezTo>
                <a:cubicBezTo>
                  <a:pt x="1989001" y="1489862"/>
                  <a:pt x="2008958" y="1515311"/>
                  <a:pt x="1987187" y="1519355"/>
                </a:cubicBezTo>
                <a:cubicBezTo>
                  <a:pt x="2005330" y="1538856"/>
                  <a:pt x="2011981" y="1507462"/>
                  <a:pt x="2026496" y="1502706"/>
                </a:cubicBezTo>
                <a:cubicBezTo>
                  <a:pt x="2025890" y="1514597"/>
                  <a:pt x="2021053" y="1516500"/>
                  <a:pt x="2020448" y="1526489"/>
                </a:cubicBezTo>
                <a:cubicBezTo>
                  <a:pt x="2032543" y="1527441"/>
                  <a:pt x="2039800" y="1526252"/>
                  <a:pt x="2045242" y="1520781"/>
                </a:cubicBezTo>
                <a:cubicBezTo>
                  <a:pt x="2024682" y="1495096"/>
                  <a:pt x="2051290" y="1499139"/>
                  <a:pt x="2050685" y="1467268"/>
                </a:cubicBezTo>
                <a:cubicBezTo>
                  <a:pt x="2033148" y="1471787"/>
                  <a:pt x="2025286" y="1485106"/>
                  <a:pt x="2015006" y="1497948"/>
                </a:cubicBezTo>
                <a:cubicBezTo>
                  <a:pt x="2018634" y="1480587"/>
                  <a:pt x="2006539" y="1479398"/>
                  <a:pt x="2007749" y="1461560"/>
                </a:cubicBezTo>
                <a:cubicBezTo>
                  <a:pt x="2002910" y="1463225"/>
                  <a:pt x="1995654" y="1461323"/>
                  <a:pt x="1989606" y="1461085"/>
                </a:cubicBezTo>
                <a:close/>
                <a:moveTo>
                  <a:pt x="1165341" y="1426599"/>
                </a:moveTo>
                <a:cubicBezTo>
                  <a:pt x="1179250" y="1429929"/>
                  <a:pt x="1172598" y="1459420"/>
                  <a:pt x="1196183" y="1450620"/>
                </a:cubicBezTo>
                <a:cubicBezTo>
                  <a:pt x="1197997" y="1466079"/>
                  <a:pt x="1179856" y="1453474"/>
                  <a:pt x="1172598" y="1457280"/>
                </a:cubicBezTo>
                <a:cubicBezTo>
                  <a:pt x="1176226" y="1438016"/>
                  <a:pt x="1161713" y="1445626"/>
                  <a:pt x="1165341" y="1426599"/>
                </a:cubicBezTo>
                <a:close/>
                <a:moveTo>
                  <a:pt x="12383932" y="1411377"/>
                </a:moveTo>
                <a:cubicBezTo>
                  <a:pt x="12399656" y="1423982"/>
                  <a:pt x="12373653" y="1433020"/>
                  <a:pt x="12363977" y="1433972"/>
                </a:cubicBezTo>
                <a:cubicBezTo>
                  <a:pt x="12362766" y="1418750"/>
                  <a:pt x="12376676" y="1418274"/>
                  <a:pt x="12383932" y="1411377"/>
                </a:cubicBezTo>
                <a:close/>
                <a:moveTo>
                  <a:pt x="1638250" y="1410427"/>
                </a:moveTo>
                <a:cubicBezTo>
                  <a:pt x="1623736" y="1411140"/>
                  <a:pt x="1609223" y="1407572"/>
                  <a:pt x="1608618" y="1421367"/>
                </a:cubicBezTo>
                <a:cubicBezTo>
                  <a:pt x="1618294" y="1418274"/>
                  <a:pt x="1641879" y="1430642"/>
                  <a:pt x="1638250" y="1410427"/>
                </a:cubicBezTo>
                <a:close/>
                <a:moveTo>
                  <a:pt x="12223071" y="1395205"/>
                </a:moveTo>
                <a:cubicBezTo>
                  <a:pt x="12227908" y="1401389"/>
                  <a:pt x="12229119" y="1416372"/>
                  <a:pt x="12228514" y="1429453"/>
                </a:cubicBezTo>
                <a:cubicBezTo>
                  <a:pt x="12198277" y="1432545"/>
                  <a:pt x="12167435" y="1414946"/>
                  <a:pt x="12139616" y="1423745"/>
                </a:cubicBezTo>
                <a:cubicBezTo>
                  <a:pt x="12151711" y="1385453"/>
                  <a:pt x="12204928" y="1416135"/>
                  <a:pt x="12223071" y="1395205"/>
                </a:cubicBezTo>
                <a:close/>
                <a:moveTo>
                  <a:pt x="12467993" y="1394015"/>
                </a:moveTo>
                <a:cubicBezTo>
                  <a:pt x="12476458" y="1391637"/>
                  <a:pt x="12489763" y="1404243"/>
                  <a:pt x="12497624" y="1402816"/>
                </a:cubicBezTo>
                <a:cubicBezTo>
                  <a:pt x="12490973" y="1426599"/>
                  <a:pt x="12468597" y="1403529"/>
                  <a:pt x="12460735" y="1402816"/>
                </a:cubicBezTo>
                <a:cubicBezTo>
                  <a:pt x="12461945" y="1397583"/>
                  <a:pt x="12464968" y="1394730"/>
                  <a:pt x="12467993" y="1394015"/>
                </a:cubicBezTo>
                <a:close/>
                <a:moveTo>
                  <a:pt x="12513348" y="1391637"/>
                </a:moveTo>
                <a:cubicBezTo>
                  <a:pt x="12529071" y="1396870"/>
                  <a:pt x="12548423" y="1435636"/>
                  <a:pt x="12518790" y="1435161"/>
                </a:cubicBezTo>
                <a:cubicBezTo>
                  <a:pt x="12523024" y="1413994"/>
                  <a:pt x="12512139" y="1411140"/>
                  <a:pt x="12513348" y="1391637"/>
                </a:cubicBezTo>
                <a:close/>
                <a:moveTo>
                  <a:pt x="1551772" y="1387357"/>
                </a:moveTo>
                <a:cubicBezTo>
                  <a:pt x="1537864" y="1385929"/>
                  <a:pt x="1523955" y="1389496"/>
                  <a:pt x="1518511" y="1404005"/>
                </a:cubicBezTo>
                <a:cubicBezTo>
                  <a:pt x="1528188" y="1402816"/>
                  <a:pt x="1575357" y="1422556"/>
                  <a:pt x="1586242" y="1397583"/>
                </a:cubicBezTo>
                <a:cubicBezTo>
                  <a:pt x="1580195" y="1394254"/>
                  <a:pt x="1566286" y="1388546"/>
                  <a:pt x="1551772" y="1387357"/>
                </a:cubicBezTo>
                <a:close/>
                <a:moveTo>
                  <a:pt x="2407483" y="1383075"/>
                </a:moveTo>
                <a:cubicBezTo>
                  <a:pt x="2405065" y="1382362"/>
                  <a:pt x="2403251" y="1382600"/>
                  <a:pt x="2400832" y="1385929"/>
                </a:cubicBezTo>
                <a:cubicBezTo>
                  <a:pt x="2410507" y="1392589"/>
                  <a:pt x="2409298" y="1410427"/>
                  <a:pt x="2423207" y="1409713"/>
                </a:cubicBezTo>
                <a:cubicBezTo>
                  <a:pt x="2421998" y="1402102"/>
                  <a:pt x="2414741" y="1385453"/>
                  <a:pt x="2407483" y="1383075"/>
                </a:cubicBezTo>
                <a:close/>
                <a:moveTo>
                  <a:pt x="2441955" y="1382124"/>
                </a:moveTo>
                <a:cubicBezTo>
                  <a:pt x="2443164" y="1396156"/>
                  <a:pt x="2453443" y="1398534"/>
                  <a:pt x="2443164" y="1409713"/>
                </a:cubicBezTo>
                <a:lnTo>
                  <a:pt x="2461910" y="1411377"/>
                </a:lnTo>
                <a:cubicBezTo>
                  <a:pt x="2460096" y="1397345"/>
                  <a:pt x="2458887" y="1381410"/>
                  <a:pt x="2441955" y="1382124"/>
                </a:cubicBezTo>
                <a:close/>
                <a:moveTo>
                  <a:pt x="2560484" y="1364048"/>
                </a:moveTo>
                <a:cubicBezTo>
                  <a:pt x="2562903" y="1370232"/>
                  <a:pt x="2559879" y="1380221"/>
                  <a:pt x="2567136" y="1380697"/>
                </a:cubicBezTo>
                <a:cubicBezTo>
                  <a:pt x="2567741" y="1370946"/>
                  <a:pt x="2585278" y="1392350"/>
                  <a:pt x="2584069" y="1370232"/>
                </a:cubicBezTo>
                <a:cubicBezTo>
                  <a:pt x="2579836" y="1365952"/>
                  <a:pt x="2572579" y="1361194"/>
                  <a:pt x="2560484" y="1364048"/>
                </a:cubicBezTo>
                <a:close/>
                <a:moveTo>
                  <a:pt x="2510290" y="1364048"/>
                </a:moveTo>
                <a:cubicBezTo>
                  <a:pt x="2504244" y="1379508"/>
                  <a:pt x="2504244" y="1389259"/>
                  <a:pt x="2510290" y="1405670"/>
                </a:cubicBezTo>
                <a:lnTo>
                  <a:pt x="2534479" y="1405670"/>
                </a:lnTo>
                <a:cubicBezTo>
                  <a:pt x="2535084" y="1391876"/>
                  <a:pt x="2544760" y="1388307"/>
                  <a:pt x="2543551" y="1370232"/>
                </a:cubicBezTo>
                <a:cubicBezTo>
                  <a:pt x="2526619" y="1374751"/>
                  <a:pt x="2524803" y="1361433"/>
                  <a:pt x="2510290" y="1364048"/>
                </a:cubicBezTo>
                <a:close/>
                <a:moveTo>
                  <a:pt x="2316773" y="1359292"/>
                </a:moveTo>
                <a:cubicBezTo>
                  <a:pt x="2329472" y="1383075"/>
                  <a:pt x="2347614" y="1361909"/>
                  <a:pt x="2371199" y="1365952"/>
                </a:cubicBezTo>
                <a:cubicBezTo>
                  <a:pt x="2355476" y="1383075"/>
                  <a:pt x="2322215" y="1380460"/>
                  <a:pt x="2304677" y="1395205"/>
                </a:cubicBezTo>
                <a:cubicBezTo>
                  <a:pt x="2295606" y="1390448"/>
                  <a:pt x="2320401" y="1378081"/>
                  <a:pt x="2316773" y="1359292"/>
                </a:cubicBezTo>
                <a:close/>
                <a:moveTo>
                  <a:pt x="11936423" y="1358340"/>
                </a:moveTo>
                <a:cubicBezTo>
                  <a:pt x="11933399" y="1365952"/>
                  <a:pt x="11935213" y="1375941"/>
                  <a:pt x="11930375" y="1375465"/>
                </a:cubicBezTo>
                <a:cubicBezTo>
                  <a:pt x="11931585" y="1357866"/>
                  <a:pt x="11909814" y="1358103"/>
                  <a:pt x="11904977" y="1363574"/>
                </a:cubicBezTo>
                <a:cubicBezTo>
                  <a:pt x="11906186" y="1375703"/>
                  <a:pt x="11919490" y="1396394"/>
                  <a:pt x="11925538" y="1383075"/>
                </a:cubicBezTo>
                <a:cubicBezTo>
                  <a:pt x="11909209" y="1373800"/>
                  <a:pt x="11958194" y="1393540"/>
                  <a:pt x="11959403" y="1369757"/>
                </a:cubicBezTo>
                <a:cubicBezTo>
                  <a:pt x="11949727" y="1366902"/>
                  <a:pt x="11948518" y="1357390"/>
                  <a:pt x="11936423" y="1358340"/>
                </a:cubicBezTo>
                <a:close/>
                <a:moveTo>
                  <a:pt x="1461666" y="1351443"/>
                </a:moveTo>
                <a:lnTo>
                  <a:pt x="1451990" y="1352395"/>
                </a:lnTo>
                <a:cubicBezTo>
                  <a:pt x="1460455" y="1372849"/>
                  <a:pt x="1448361" y="1360481"/>
                  <a:pt x="1447756" y="1380221"/>
                </a:cubicBezTo>
                <a:cubicBezTo>
                  <a:pt x="1461666" y="1381410"/>
                  <a:pt x="1460455" y="1365000"/>
                  <a:pt x="1465899" y="1357627"/>
                </a:cubicBezTo>
                <a:cubicBezTo>
                  <a:pt x="1463480" y="1357390"/>
                  <a:pt x="1461060" y="1357151"/>
                  <a:pt x="1461666" y="1351443"/>
                </a:cubicBezTo>
                <a:close/>
                <a:moveTo>
                  <a:pt x="11396387" y="1335270"/>
                </a:moveTo>
                <a:cubicBezTo>
                  <a:pt x="11391549" y="1334320"/>
                  <a:pt x="11383688" y="1338124"/>
                  <a:pt x="11372197" y="1349541"/>
                </a:cubicBezTo>
                <a:cubicBezTo>
                  <a:pt x="11391549" y="1347163"/>
                  <a:pt x="11371592" y="1357151"/>
                  <a:pt x="11370987" y="1366902"/>
                </a:cubicBezTo>
                <a:cubicBezTo>
                  <a:pt x="11385502" y="1372135"/>
                  <a:pt x="11389130" y="1390687"/>
                  <a:pt x="11400620" y="1397583"/>
                </a:cubicBezTo>
                <a:lnTo>
                  <a:pt x="11401225" y="1385453"/>
                </a:lnTo>
                <a:cubicBezTo>
                  <a:pt x="11403643" y="1385692"/>
                  <a:pt x="11406063" y="1384264"/>
                  <a:pt x="11406668" y="1380221"/>
                </a:cubicBezTo>
                <a:cubicBezTo>
                  <a:pt x="11404854" y="1381649"/>
                  <a:pt x="11412110" y="1337887"/>
                  <a:pt x="11396387" y="1335270"/>
                </a:cubicBezTo>
                <a:close/>
                <a:moveTo>
                  <a:pt x="1017784" y="1326471"/>
                </a:moveTo>
                <a:cubicBezTo>
                  <a:pt x="1023832" y="1326947"/>
                  <a:pt x="1029879" y="1328849"/>
                  <a:pt x="1034113" y="1327184"/>
                </a:cubicBezTo>
                <a:cubicBezTo>
                  <a:pt x="1038345" y="1341217"/>
                  <a:pt x="1048626" y="1348114"/>
                  <a:pt x="1044392" y="1373086"/>
                </a:cubicBezTo>
                <a:cubicBezTo>
                  <a:pt x="1018994" y="1363098"/>
                  <a:pt x="1032902" y="1346687"/>
                  <a:pt x="999641" y="1343833"/>
                </a:cubicBezTo>
                <a:cubicBezTo>
                  <a:pt x="997222" y="1339552"/>
                  <a:pt x="1005085" y="1340265"/>
                  <a:pt x="1007504" y="1338600"/>
                </a:cubicBezTo>
                <a:cubicBezTo>
                  <a:pt x="1015365" y="1337411"/>
                  <a:pt x="1009922" y="1333131"/>
                  <a:pt x="1007504" y="1332892"/>
                </a:cubicBezTo>
                <a:cubicBezTo>
                  <a:pt x="1008108" y="1326947"/>
                  <a:pt x="1012341" y="1325995"/>
                  <a:pt x="1017784" y="1326471"/>
                </a:cubicBezTo>
                <a:close/>
                <a:moveTo>
                  <a:pt x="2011981" y="1322904"/>
                </a:moveTo>
                <a:cubicBezTo>
                  <a:pt x="2015610" y="1347401"/>
                  <a:pt x="1984164" y="1325282"/>
                  <a:pt x="1985374" y="1349541"/>
                </a:cubicBezTo>
                <a:cubicBezTo>
                  <a:pt x="1970859" y="1337411"/>
                  <a:pt x="1997468" y="1319574"/>
                  <a:pt x="2011981" y="1322904"/>
                </a:cubicBezTo>
                <a:close/>
                <a:moveTo>
                  <a:pt x="1494322" y="1319098"/>
                </a:moveTo>
                <a:lnTo>
                  <a:pt x="1495531" y="1336698"/>
                </a:lnTo>
                <a:cubicBezTo>
                  <a:pt x="1490693" y="1336461"/>
                  <a:pt x="1491298" y="1330514"/>
                  <a:pt x="1488879" y="1324330"/>
                </a:cubicBezTo>
                <a:cubicBezTo>
                  <a:pt x="1484041" y="1325758"/>
                  <a:pt x="1485855" y="1332179"/>
                  <a:pt x="1485250" y="1336222"/>
                </a:cubicBezTo>
                <a:cubicBezTo>
                  <a:pt x="1475575" y="1337411"/>
                  <a:pt x="1473761" y="1329088"/>
                  <a:pt x="1465899" y="1330514"/>
                </a:cubicBezTo>
                <a:cubicBezTo>
                  <a:pt x="1468922" y="1320763"/>
                  <a:pt x="1486460" y="1324569"/>
                  <a:pt x="1494322" y="1319098"/>
                </a:cubicBezTo>
                <a:close/>
                <a:moveTo>
                  <a:pt x="1527583" y="1316006"/>
                </a:moveTo>
                <a:cubicBezTo>
                  <a:pt x="1533025" y="1318385"/>
                  <a:pt x="1539073" y="1348114"/>
                  <a:pt x="1534234" y="1345498"/>
                </a:cubicBezTo>
                <a:cubicBezTo>
                  <a:pt x="1520325" y="1346449"/>
                  <a:pt x="1525769" y="1340741"/>
                  <a:pt x="1526373" y="1334796"/>
                </a:cubicBezTo>
                <a:cubicBezTo>
                  <a:pt x="1526978" y="1326471"/>
                  <a:pt x="1519116" y="1327899"/>
                  <a:pt x="1510649" y="1327184"/>
                </a:cubicBezTo>
                <a:cubicBezTo>
                  <a:pt x="1513674" y="1319336"/>
                  <a:pt x="1526978" y="1326234"/>
                  <a:pt x="1527583" y="1316006"/>
                </a:cubicBezTo>
                <a:close/>
                <a:moveTo>
                  <a:pt x="1939913" y="1315646"/>
                </a:moveTo>
                <a:cubicBezTo>
                  <a:pt x="1942247" y="1315010"/>
                  <a:pt x="1945007" y="1314996"/>
                  <a:pt x="1947879" y="1316006"/>
                </a:cubicBezTo>
                <a:cubicBezTo>
                  <a:pt x="1946065" y="1319336"/>
                  <a:pt x="1945460" y="1322904"/>
                  <a:pt x="1938807" y="1327184"/>
                </a:cubicBezTo>
                <a:cubicBezTo>
                  <a:pt x="1929736" y="1325045"/>
                  <a:pt x="1932911" y="1317552"/>
                  <a:pt x="1939913" y="1315646"/>
                </a:cubicBezTo>
                <a:close/>
                <a:moveTo>
                  <a:pt x="11921909" y="1315531"/>
                </a:moveTo>
                <a:cubicBezTo>
                  <a:pt x="11904977" y="1314104"/>
                  <a:pt x="11908605" y="1335746"/>
                  <a:pt x="11900743" y="1345022"/>
                </a:cubicBezTo>
                <a:cubicBezTo>
                  <a:pt x="11907395" y="1353584"/>
                  <a:pt x="11924327" y="1354773"/>
                  <a:pt x="11925538" y="1339076"/>
                </a:cubicBezTo>
                <a:cubicBezTo>
                  <a:pt x="11920699" y="1336698"/>
                  <a:pt x="11913442" y="1332416"/>
                  <a:pt x="11911628" y="1328136"/>
                </a:cubicBezTo>
                <a:cubicBezTo>
                  <a:pt x="11916467" y="1326709"/>
                  <a:pt x="11921304" y="1325282"/>
                  <a:pt x="11921909" y="1315531"/>
                </a:cubicBezTo>
                <a:close/>
                <a:moveTo>
                  <a:pt x="1948483" y="1315531"/>
                </a:moveTo>
                <a:cubicBezTo>
                  <a:pt x="1949088" y="1315769"/>
                  <a:pt x="1949693" y="1315769"/>
                  <a:pt x="1949693" y="1316006"/>
                </a:cubicBezTo>
                <a:cubicBezTo>
                  <a:pt x="1949088" y="1315531"/>
                  <a:pt x="1948483" y="1316244"/>
                  <a:pt x="1947879" y="1316006"/>
                </a:cubicBezTo>
                <a:cubicBezTo>
                  <a:pt x="1947879" y="1315769"/>
                  <a:pt x="1948483" y="1315769"/>
                  <a:pt x="1948483" y="1315531"/>
                </a:cubicBezTo>
                <a:close/>
                <a:moveTo>
                  <a:pt x="1903128" y="1312676"/>
                </a:moveTo>
                <a:cubicBezTo>
                  <a:pt x="1909781" y="1311726"/>
                  <a:pt x="1917641" y="1314817"/>
                  <a:pt x="1920060" y="1320525"/>
                </a:cubicBezTo>
                <a:cubicBezTo>
                  <a:pt x="1912804" y="1342406"/>
                  <a:pt x="1901918" y="1311011"/>
                  <a:pt x="1889824" y="1329564"/>
                </a:cubicBezTo>
                <a:cubicBezTo>
                  <a:pt x="1890429" y="1318385"/>
                  <a:pt x="1896476" y="1313391"/>
                  <a:pt x="1903128" y="1312676"/>
                </a:cubicBezTo>
                <a:close/>
                <a:moveTo>
                  <a:pt x="2075479" y="1311963"/>
                </a:moveTo>
                <a:cubicBezTo>
                  <a:pt x="2079713" y="1315293"/>
                  <a:pt x="2080318" y="1339076"/>
                  <a:pt x="2090598" y="1332892"/>
                </a:cubicBezTo>
                <a:cubicBezTo>
                  <a:pt x="2089994" y="1338600"/>
                  <a:pt x="2085760" y="1337887"/>
                  <a:pt x="2087575" y="1343833"/>
                </a:cubicBezTo>
                <a:lnTo>
                  <a:pt x="2079108" y="1345022"/>
                </a:lnTo>
                <a:cubicBezTo>
                  <a:pt x="2076690" y="1339314"/>
                  <a:pt x="2079108" y="1339552"/>
                  <a:pt x="2083342" y="1339789"/>
                </a:cubicBezTo>
                <a:cubicBezTo>
                  <a:pt x="2079713" y="1331942"/>
                  <a:pt x="2077294" y="1327899"/>
                  <a:pt x="2068223" y="1327184"/>
                </a:cubicBezTo>
                <a:cubicBezTo>
                  <a:pt x="2070642" y="1323617"/>
                  <a:pt x="2073060" y="1318147"/>
                  <a:pt x="2068828" y="1317671"/>
                </a:cubicBezTo>
                <a:cubicBezTo>
                  <a:pt x="2071852" y="1312439"/>
                  <a:pt x="2073665" y="1311011"/>
                  <a:pt x="2075479" y="1311963"/>
                </a:cubicBezTo>
                <a:close/>
                <a:moveTo>
                  <a:pt x="2311330" y="1310774"/>
                </a:moveTo>
                <a:lnTo>
                  <a:pt x="2292583" y="1311487"/>
                </a:lnTo>
                <a:cubicBezTo>
                  <a:pt x="2288954" y="1335033"/>
                  <a:pt x="2314958" y="1332892"/>
                  <a:pt x="2311330" y="1310774"/>
                </a:cubicBezTo>
                <a:close/>
                <a:moveTo>
                  <a:pt x="2337938" y="1305066"/>
                </a:moveTo>
                <a:cubicBezTo>
                  <a:pt x="2331891" y="1304829"/>
                  <a:pt x="2327053" y="1306494"/>
                  <a:pt x="2330077" y="1316719"/>
                </a:cubicBezTo>
                <a:cubicBezTo>
                  <a:pt x="2342172" y="1317671"/>
                  <a:pt x="2356685" y="1320763"/>
                  <a:pt x="2357290" y="1305066"/>
                </a:cubicBezTo>
                <a:cubicBezTo>
                  <a:pt x="2352452" y="1307683"/>
                  <a:pt x="2344590" y="1305303"/>
                  <a:pt x="2337938" y="1305066"/>
                </a:cubicBezTo>
                <a:close/>
                <a:moveTo>
                  <a:pt x="11945493" y="1298882"/>
                </a:moveTo>
                <a:cubicBezTo>
                  <a:pt x="11941865" y="1298645"/>
                  <a:pt x="11938237" y="1301499"/>
                  <a:pt x="11936423" y="1308633"/>
                </a:cubicBezTo>
                <a:cubicBezTo>
                  <a:pt x="11945493" y="1317434"/>
                  <a:pt x="11949727" y="1331466"/>
                  <a:pt x="11966659" y="1332892"/>
                </a:cubicBezTo>
                <a:cubicBezTo>
                  <a:pt x="11973917" y="1324569"/>
                  <a:pt x="11956984" y="1298882"/>
                  <a:pt x="11945493" y="1298882"/>
                </a:cubicBezTo>
                <a:close/>
                <a:moveTo>
                  <a:pt x="1103657" y="1297456"/>
                </a:moveTo>
                <a:cubicBezTo>
                  <a:pt x="1110914" y="1299834"/>
                  <a:pt x="1115752" y="1303877"/>
                  <a:pt x="1119985" y="1307920"/>
                </a:cubicBezTo>
                <a:cubicBezTo>
                  <a:pt x="1133290" y="1294364"/>
                  <a:pt x="1142966" y="1299358"/>
                  <a:pt x="1170178" y="1303401"/>
                </a:cubicBezTo>
                <a:cubicBezTo>
                  <a:pt x="1168971" y="1319812"/>
                  <a:pt x="1131476" y="1325520"/>
                  <a:pt x="1153246" y="1334796"/>
                </a:cubicBezTo>
                <a:cubicBezTo>
                  <a:pt x="1140547" y="1344547"/>
                  <a:pt x="1135104" y="1313152"/>
                  <a:pt x="1116357" y="1335270"/>
                </a:cubicBezTo>
                <a:cubicBezTo>
                  <a:pt x="1124823" y="1317671"/>
                  <a:pt x="1115147" y="1305779"/>
                  <a:pt x="1103657" y="1297456"/>
                </a:cubicBezTo>
                <a:close/>
                <a:moveTo>
                  <a:pt x="1958764" y="1293650"/>
                </a:moveTo>
                <a:cubicBezTo>
                  <a:pt x="1951507" y="1302688"/>
                  <a:pt x="1951507" y="1309346"/>
                  <a:pt x="1948483" y="1315531"/>
                </a:cubicBezTo>
                <a:cubicBezTo>
                  <a:pt x="1945460" y="1309346"/>
                  <a:pt x="1926713" y="1301260"/>
                  <a:pt x="1929131" y="1310774"/>
                </a:cubicBezTo>
                <a:cubicBezTo>
                  <a:pt x="1914013" y="1297932"/>
                  <a:pt x="1946065" y="1290558"/>
                  <a:pt x="1958764" y="1293650"/>
                </a:cubicBezTo>
                <a:close/>
                <a:moveTo>
                  <a:pt x="11843897" y="1291271"/>
                </a:moveTo>
                <a:cubicBezTo>
                  <a:pt x="11863854" y="1308396"/>
                  <a:pt x="11831803" y="1321477"/>
                  <a:pt x="11811241" y="1313866"/>
                </a:cubicBezTo>
                <a:cubicBezTo>
                  <a:pt x="11817893" y="1289607"/>
                  <a:pt x="11837245" y="1315531"/>
                  <a:pt x="11843897" y="1291271"/>
                </a:cubicBezTo>
                <a:close/>
                <a:moveTo>
                  <a:pt x="1832977" y="1286991"/>
                </a:moveTo>
                <a:cubicBezTo>
                  <a:pt x="1831768" y="1305779"/>
                  <a:pt x="1822092" y="1308872"/>
                  <a:pt x="1809393" y="1309822"/>
                </a:cubicBezTo>
                <a:cubicBezTo>
                  <a:pt x="1815440" y="1298882"/>
                  <a:pt x="1821487" y="1289845"/>
                  <a:pt x="1832977" y="1286991"/>
                </a:cubicBezTo>
                <a:close/>
                <a:moveTo>
                  <a:pt x="1170178" y="1286991"/>
                </a:moveTo>
                <a:cubicBezTo>
                  <a:pt x="1193160" y="1292937"/>
                  <a:pt x="1200416" y="1299358"/>
                  <a:pt x="1231258" y="1292223"/>
                </a:cubicBezTo>
                <a:cubicBezTo>
                  <a:pt x="1234887" y="1310298"/>
                  <a:pt x="1216140" y="1301260"/>
                  <a:pt x="1213721" y="1310774"/>
                </a:cubicBezTo>
                <a:cubicBezTo>
                  <a:pt x="1215535" y="1314817"/>
                  <a:pt x="1217349" y="1320763"/>
                  <a:pt x="1222186" y="1321239"/>
                </a:cubicBezTo>
                <a:cubicBezTo>
                  <a:pt x="1231864" y="1310298"/>
                  <a:pt x="1251819" y="1292461"/>
                  <a:pt x="1262704" y="1314817"/>
                </a:cubicBezTo>
                <a:cubicBezTo>
                  <a:pt x="1274194" y="1313866"/>
                  <a:pt x="1266334" y="1287704"/>
                  <a:pt x="1282057" y="1293174"/>
                </a:cubicBezTo>
                <a:cubicBezTo>
                  <a:pt x="1280847" y="1316482"/>
                  <a:pt x="1266334" y="1326947"/>
                  <a:pt x="1253634" y="1337650"/>
                </a:cubicBezTo>
                <a:cubicBezTo>
                  <a:pt x="1263915" y="1326709"/>
                  <a:pt x="1257867" y="1308396"/>
                  <a:pt x="1240934" y="1314817"/>
                </a:cubicBezTo>
                <a:cubicBezTo>
                  <a:pt x="1229444" y="1315769"/>
                  <a:pt x="1247586" y="1331227"/>
                  <a:pt x="1235491" y="1338124"/>
                </a:cubicBezTo>
                <a:cubicBezTo>
                  <a:pt x="1222186" y="1327184"/>
                  <a:pt x="1193160" y="1340265"/>
                  <a:pt x="1204045" y="1349065"/>
                </a:cubicBezTo>
                <a:cubicBezTo>
                  <a:pt x="1191346" y="1373324"/>
                  <a:pt x="1178041" y="1319098"/>
                  <a:pt x="1170178" y="1338124"/>
                </a:cubicBezTo>
                <a:cubicBezTo>
                  <a:pt x="1161713" y="1317909"/>
                  <a:pt x="1192555" y="1310537"/>
                  <a:pt x="1170178" y="1286991"/>
                </a:cubicBezTo>
                <a:close/>
                <a:moveTo>
                  <a:pt x="2151678" y="1271056"/>
                </a:moveTo>
                <a:cubicBezTo>
                  <a:pt x="2149259" y="1270343"/>
                  <a:pt x="2145630" y="1272245"/>
                  <a:pt x="2140791" y="1276764"/>
                </a:cubicBezTo>
                <a:cubicBezTo>
                  <a:pt x="2148048" y="1277240"/>
                  <a:pt x="2142002" y="1288418"/>
                  <a:pt x="2139583" y="1294126"/>
                </a:cubicBezTo>
                <a:cubicBezTo>
                  <a:pt x="2157120" y="1281759"/>
                  <a:pt x="2160144" y="1314104"/>
                  <a:pt x="2163168" y="1300547"/>
                </a:cubicBezTo>
                <a:cubicBezTo>
                  <a:pt x="2156515" y="1292699"/>
                  <a:pt x="2158329" y="1272484"/>
                  <a:pt x="2151678" y="1271056"/>
                </a:cubicBezTo>
                <a:close/>
                <a:moveTo>
                  <a:pt x="11348612" y="1262256"/>
                </a:moveTo>
                <a:cubicBezTo>
                  <a:pt x="11354660" y="1278666"/>
                  <a:pt x="11328051" y="1281996"/>
                  <a:pt x="11342565" y="1286991"/>
                </a:cubicBezTo>
                <a:cubicBezTo>
                  <a:pt x="11348007" y="1269867"/>
                  <a:pt x="11351031" y="1303877"/>
                  <a:pt x="11368569" y="1293650"/>
                </a:cubicBezTo>
                <a:cubicBezTo>
                  <a:pt x="11367359" y="1275575"/>
                  <a:pt x="11355265" y="1270819"/>
                  <a:pt x="11348612" y="1262256"/>
                </a:cubicBezTo>
                <a:close/>
                <a:moveTo>
                  <a:pt x="11878972" y="1259878"/>
                </a:moveTo>
                <a:cubicBezTo>
                  <a:pt x="11875344" y="1260591"/>
                  <a:pt x="11872924" y="1262256"/>
                  <a:pt x="11872320" y="1265110"/>
                </a:cubicBezTo>
                <a:cubicBezTo>
                  <a:pt x="11881391" y="1272008"/>
                  <a:pt x="11883205" y="1282472"/>
                  <a:pt x="11900138" y="1277953"/>
                </a:cubicBezTo>
                <a:cubicBezTo>
                  <a:pt x="11904372" y="1268440"/>
                  <a:pt x="11897719" y="1262256"/>
                  <a:pt x="11889857" y="1260115"/>
                </a:cubicBezTo>
                <a:cubicBezTo>
                  <a:pt x="11886229" y="1258926"/>
                  <a:pt x="11881996" y="1258926"/>
                  <a:pt x="11878972" y="1259878"/>
                </a:cubicBezTo>
                <a:close/>
                <a:moveTo>
                  <a:pt x="11401225" y="1235143"/>
                </a:moveTo>
                <a:cubicBezTo>
                  <a:pt x="11415134" y="1229911"/>
                  <a:pt x="11406668" y="1256785"/>
                  <a:pt x="11420577" y="1255835"/>
                </a:cubicBezTo>
                <a:cubicBezTo>
                  <a:pt x="11416949" y="1279142"/>
                  <a:pt x="11396992" y="1264872"/>
                  <a:pt x="11390944" y="1255835"/>
                </a:cubicBezTo>
                <a:cubicBezTo>
                  <a:pt x="11395783" y="1249888"/>
                  <a:pt x="11393968" y="1236570"/>
                  <a:pt x="11401225" y="1235143"/>
                </a:cubicBezTo>
                <a:close/>
                <a:moveTo>
                  <a:pt x="1771209" y="1232658"/>
                </a:moveTo>
                <a:cubicBezTo>
                  <a:pt x="1780138" y="1229703"/>
                  <a:pt x="1786261" y="1243171"/>
                  <a:pt x="1798508" y="1247273"/>
                </a:cubicBezTo>
                <a:cubicBezTo>
                  <a:pt x="1793064" y="1260591"/>
                  <a:pt x="1773108" y="1241089"/>
                  <a:pt x="1761013" y="1242040"/>
                </a:cubicBezTo>
                <a:cubicBezTo>
                  <a:pt x="1764944" y="1236452"/>
                  <a:pt x="1768232" y="1233642"/>
                  <a:pt x="1771209" y="1232658"/>
                </a:cubicBezTo>
                <a:close/>
                <a:moveTo>
                  <a:pt x="2343986" y="1231576"/>
                </a:moveTo>
                <a:cubicBezTo>
                  <a:pt x="2334310" y="1229911"/>
                  <a:pt x="2327053" y="1231100"/>
                  <a:pt x="2325238" y="1246797"/>
                </a:cubicBezTo>
                <a:cubicBezTo>
                  <a:pt x="2345195" y="1242516"/>
                  <a:pt x="2356081" y="1245608"/>
                  <a:pt x="2367571" y="1241089"/>
                </a:cubicBezTo>
                <a:cubicBezTo>
                  <a:pt x="2364547" y="1239900"/>
                  <a:pt x="2361523" y="1240851"/>
                  <a:pt x="2359105" y="1238711"/>
                </a:cubicBezTo>
                <a:cubicBezTo>
                  <a:pt x="2358500" y="1236095"/>
                  <a:pt x="2359709" y="1235381"/>
                  <a:pt x="2359709" y="1233478"/>
                </a:cubicBezTo>
                <a:cubicBezTo>
                  <a:pt x="2354266" y="1232289"/>
                  <a:pt x="2348824" y="1232527"/>
                  <a:pt x="2343986" y="1231576"/>
                </a:cubicBezTo>
                <a:close/>
                <a:moveTo>
                  <a:pt x="11475608" y="1225392"/>
                </a:moveTo>
                <a:cubicBezTo>
                  <a:pt x="11480446" y="1228008"/>
                  <a:pt x="11475608" y="1269867"/>
                  <a:pt x="11484075" y="1238711"/>
                </a:cubicBezTo>
                <a:cubicBezTo>
                  <a:pt x="11502822" y="1244656"/>
                  <a:pt x="11482261" y="1270343"/>
                  <a:pt x="11470771" y="1271532"/>
                </a:cubicBezTo>
                <a:cubicBezTo>
                  <a:pt x="11476817" y="1250603"/>
                  <a:pt x="11474399" y="1240375"/>
                  <a:pt x="11455651" y="1238711"/>
                </a:cubicBezTo>
                <a:cubicBezTo>
                  <a:pt x="11452023" y="1221349"/>
                  <a:pt x="11479237" y="1242754"/>
                  <a:pt x="11475608" y="1225392"/>
                </a:cubicBezTo>
                <a:close/>
                <a:moveTo>
                  <a:pt x="12025925" y="1221825"/>
                </a:moveTo>
                <a:cubicBezTo>
                  <a:pt x="12036810" y="1223490"/>
                  <a:pt x="12046486" y="1231100"/>
                  <a:pt x="12045881" y="1242040"/>
                </a:cubicBezTo>
                <a:cubicBezTo>
                  <a:pt x="12032577" y="1238711"/>
                  <a:pt x="12019878" y="1233002"/>
                  <a:pt x="12001735" y="1235856"/>
                </a:cubicBezTo>
                <a:cubicBezTo>
                  <a:pt x="12003549" y="1223966"/>
                  <a:pt x="12015039" y="1219921"/>
                  <a:pt x="12025925" y="1221825"/>
                </a:cubicBezTo>
                <a:close/>
                <a:moveTo>
                  <a:pt x="11733229" y="1221111"/>
                </a:moveTo>
                <a:cubicBezTo>
                  <a:pt x="11723553" y="1225155"/>
                  <a:pt x="11718715" y="1239662"/>
                  <a:pt x="11728996" y="1244895"/>
                </a:cubicBezTo>
                <a:cubicBezTo>
                  <a:pt x="11731415" y="1233716"/>
                  <a:pt x="11747138" y="1240613"/>
                  <a:pt x="11744114" y="1221349"/>
                </a:cubicBezTo>
                <a:cubicBezTo>
                  <a:pt x="11739881" y="1219446"/>
                  <a:pt x="11736252" y="1219684"/>
                  <a:pt x="11733229" y="1221111"/>
                </a:cubicBezTo>
                <a:close/>
                <a:moveTo>
                  <a:pt x="2293187" y="1218495"/>
                </a:moveTo>
                <a:cubicBezTo>
                  <a:pt x="2290163" y="1226105"/>
                  <a:pt x="2291978" y="1236332"/>
                  <a:pt x="2287140" y="1235856"/>
                </a:cubicBezTo>
                <a:cubicBezTo>
                  <a:pt x="2283512" y="1215879"/>
                  <a:pt x="2273230" y="1231813"/>
                  <a:pt x="2259321" y="1231100"/>
                </a:cubicBezTo>
                <a:cubicBezTo>
                  <a:pt x="2274441" y="1241089"/>
                  <a:pt x="2290768" y="1250364"/>
                  <a:pt x="2297421" y="1270343"/>
                </a:cubicBezTo>
                <a:cubicBezTo>
                  <a:pt x="2275649" y="1266537"/>
                  <a:pt x="2264765" y="1251792"/>
                  <a:pt x="2253274" y="1236808"/>
                </a:cubicBezTo>
                <a:cubicBezTo>
                  <a:pt x="2253878" y="1266775"/>
                  <a:pt x="2207314" y="1292223"/>
                  <a:pt x="2177076" y="1269867"/>
                </a:cubicBezTo>
                <a:cubicBezTo>
                  <a:pt x="2183125" y="1288180"/>
                  <a:pt x="2192196" y="1302925"/>
                  <a:pt x="2206105" y="1311963"/>
                </a:cubicBezTo>
                <a:cubicBezTo>
                  <a:pt x="2235132" y="1267013"/>
                  <a:pt x="2270812" y="1311963"/>
                  <a:pt x="2281093" y="1334796"/>
                </a:cubicBezTo>
                <a:cubicBezTo>
                  <a:pt x="2260531" y="1358816"/>
                  <a:pt x="2255089" y="1290558"/>
                  <a:pt x="2234527" y="1312676"/>
                </a:cubicBezTo>
                <a:cubicBezTo>
                  <a:pt x="2249041" y="1309822"/>
                  <a:pt x="2248436" y="1325520"/>
                  <a:pt x="2252669" y="1333844"/>
                </a:cubicBezTo>
                <a:cubicBezTo>
                  <a:pt x="2224247" y="1323617"/>
                  <a:pt x="2234527" y="1360244"/>
                  <a:pt x="2206105" y="1351919"/>
                </a:cubicBezTo>
                <a:cubicBezTo>
                  <a:pt x="2204290" y="1337887"/>
                  <a:pt x="2197638" y="1329088"/>
                  <a:pt x="2190985" y="1316719"/>
                </a:cubicBezTo>
                <a:cubicBezTo>
                  <a:pt x="2187357" y="1342168"/>
                  <a:pt x="2174053" y="1368567"/>
                  <a:pt x="2155306" y="1357151"/>
                </a:cubicBezTo>
                <a:cubicBezTo>
                  <a:pt x="2156515" y="1380936"/>
                  <a:pt x="2154096" y="1378795"/>
                  <a:pt x="2158329" y="1393065"/>
                </a:cubicBezTo>
                <a:cubicBezTo>
                  <a:pt x="2155911" y="1390687"/>
                  <a:pt x="2139583" y="1377605"/>
                  <a:pt x="2138372" y="1393540"/>
                </a:cubicBezTo>
                <a:cubicBezTo>
                  <a:pt x="2148048" y="1394254"/>
                  <a:pt x="2138372" y="1399486"/>
                  <a:pt x="2140188" y="1409713"/>
                </a:cubicBezTo>
                <a:cubicBezTo>
                  <a:pt x="2154096" y="1414707"/>
                  <a:pt x="2152887" y="1400437"/>
                  <a:pt x="2169215" y="1404005"/>
                </a:cubicBezTo>
                <a:cubicBezTo>
                  <a:pt x="2168005" y="1387833"/>
                  <a:pt x="2166191" y="1370232"/>
                  <a:pt x="2178286" y="1369281"/>
                </a:cubicBezTo>
                <a:cubicBezTo>
                  <a:pt x="2184938" y="1377843"/>
                  <a:pt x="2177076" y="1393065"/>
                  <a:pt x="2171634" y="1404480"/>
                </a:cubicBezTo>
                <a:cubicBezTo>
                  <a:pt x="2183729" y="1401389"/>
                  <a:pt x="2183125" y="1415183"/>
                  <a:pt x="2195219" y="1410427"/>
                </a:cubicBezTo>
                <a:cubicBezTo>
                  <a:pt x="2201266" y="1391161"/>
                  <a:pt x="2184334" y="1397345"/>
                  <a:pt x="2182519" y="1387357"/>
                </a:cubicBezTo>
                <a:cubicBezTo>
                  <a:pt x="2194615" y="1384264"/>
                  <a:pt x="2193405" y="1398297"/>
                  <a:pt x="2206105" y="1393540"/>
                </a:cubicBezTo>
                <a:cubicBezTo>
                  <a:pt x="2214571" y="1370470"/>
                  <a:pt x="2184938" y="1391161"/>
                  <a:pt x="2187962" y="1375465"/>
                </a:cubicBezTo>
                <a:cubicBezTo>
                  <a:pt x="2209732" y="1369519"/>
                  <a:pt x="2233923" y="1366189"/>
                  <a:pt x="2239970" y="1340979"/>
                </a:cubicBezTo>
                <a:cubicBezTo>
                  <a:pt x="2241784" y="1350968"/>
                  <a:pt x="2249041" y="1355487"/>
                  <a:pt x="2248436" y="1369281"/>
                </a:cubicBezTo>
                <a:cubicBezTo>
                  <a:pt x="2236341" y="1372135"/>
                  <a:pt x="2224247" y="1372849"/>
                  <a:pt x="2216385" y="1380221"/>
                </a:cubicBezTo>
                <a:cubicBezTo>
                  <a:pt x="2218804" y="1380460"/>
                  <a:pt x="2221222" y="1382600"/>
                  <a:pt x="2220618" y="1386405"/>
                </a:cubicBezTo>
                <a:cubicBezTo>
                  <a:pt x="2220618" y="1390448"/>
                  <a:pt x="2220013" y="1394491"/>
                  <a:pt x="2224851" y="1393065"/>
                </a:cubicBezTo>
                <a:cubicBezTo>
                  <a:pt x="2225456" y="1384979"/>
                  <a:pt x="2246017" y="1373086"/>
                  <a:pt x="2249646" y="1387357"/>
                </a:cubicBezTo>
                <a:cubicBezTo>
                  <a:pt x="2238760" y="1413994"/>
                  <a:pt x="2209128" y="1379271"/>
                  <a:pt x="2200661" y="1404480"/>
                </a:cubicBezTo>
                <a:cubicBezTo>
                  <a:pt x="2223641" y="1422317"/>
                  <a:pt x="2246622" y="1396632"/>
                  <a:pt x="2267788" y="1404480"/>
                </a:cubicBezTo>
                <a:cubicBezTo>
                  <a:pt x="2258112" y="1403529"/>
                  <a:pt x="2256299" y="1390211"/>
                  <a:pt x="2257507" y="1376416"/>
                </a:cubicBezTo>
                <a:cubicBezTo>
                  <a:pt x="2278069" y="1388070"/>
                  <a:pt x="2267184" y="1374514"/>
                  <a:pt x="2263554" y="1358340"/>
                </a:cubicBezTo>
                <a:cubicBezTo>
                  <a:pt x="2284720" y="1366189"/>
                  <a:pt x="2295003" y="1351443"/>
                  <a:pt x="2310725" y="1364524"/>
                </a:cubicBezTo>
                <a:cubicBezTo>
                  <a:pt x="2293792" y="1367141"/>
                  <a:pt x="2276859" y="1373562"/>
                  <a:pt x="2268393" y="1398773"/>
                </a:cubicBezTo>
                <a:cubicBezTo>
                  <a:pt x="2278674" y="1419463"/>
                  <a:pt x="2290768" y="1376654"/>
                  <a:pt x="2297421" y="1393065"/>
                </a:cubicBezTo>
                <a:cubicBezTo>
                  <a:pt x="2294396" y="1400675"/>
                  <a:pt x="2287140" y="1402578"/>
                  <a:pt x="2286534" y="1410427"/>
                </a:cubicBezTo>
                <a:cubicBezTo>
                  <a:pt x="2306492" y="1400199"/>
                  <a:pt x="2311330" y="1437777"/>
                  <a:pt x="2314353" y="1428026"/>
                </a:cubicBezTo>
                <a:cubicBezTo>
                  <a:pt x="2319797" y="1410664"/>
                  <a:pt x="2291978" y="1406859"/>
                  <a:pt x="2306492" y="1398059"/>
                </a:cubicBezTo>
                <a:cubicBezTo>
                  <a:pt x="2322215" y="1417324"/>
                  <a:pt x="2341567" y="1416848"/>
                  <a:pt x="2357894" y="1428026"/>
                </a:cubicBezTo>
                <a:cubicBezTo>
                  <a:pt x="2370595" y="1419226"/>
                  <a:pt x="2351847" y="1405670"/>
                  <a:pt x="2361523" y="1404480"/>
                </a:cubicBezTo>
                <a:cubicBezTo>
                  <a:pt x="2367571" y="1422793"/>
                  <a:pt x="2389947" y="1413042"/>
                  <a:pt x="2400227" y="1404005"/>
                </a:cubicBezTo>
                <a:cubicBezTo>
                  <a:pt x="2391156" y="1397108"/>
                  <a:pt x="2379062" y="1392350"/>
                  <a:pt x="2377246" y="1376416"/>
                </a:cubicBezTo>
                <a:cubicBezTo>
                  <a:pt x="2406275" y="1368806"/>
                  <a:pt x="2413531" y="1373324"/>
                  <a:pt x="2429255" y="1392350"/>
                </a:cubicBezTo>
                <a:cubicBezTo>
                  <a:pt x="2435302" y="1379032"/>
                  <a:pt x="2416555" y="1371660"/>
                  <a:pt x="2428650" y="1368806"/>
                </a:cubicBezTo>
                <a:cubicBezTo>
                  <a:pt x="2442560" y="1374038"/>
                  <a:pt x="2440744" y="1361670"/>
                  <a:pt x="2452840" y="1364524"/>
                </a:cubicBezTo>
                <a:cubicBezTo>
                  <a:pt x="2445583" y="1405670"/>
                  <a:pt x="2478844" y="1366902"/>
                  <a:pt x="2489729" y="1387833"/>
                </a:cubicBezTo>
                <a:cubicBezTo>
                  <a:pt x="2484891" y="1391400"/>
                  <a:pt x="2455863" y="1397108"/>
                  <a:pt x="2471586" y="1410427"/>
                </a:cubicBezTo>
                <a:cubicBezTo>
                  <a:pt x="2477029" y="1396870"/>
                  <a:pt x="2500614" y="1402578"/>
                  <a:pt x="2495172" y="1376416"/>
                </a:cubicBezTo>
                <a:cubicBezTo>
                  <a:pt x="2463121" y="1341930"/>
                  <a:pt x="2431674" y="1357151"/>
                  <a:pt x="2382085" y="1340979"/>
                </a:cubicBezTo>
                <a:cubicBezTo>
                  <a:pt x="2381481" y="1346925"/>
                  <a:pt x="2383294" y="1356914"/>
                  <a:pt x="2376037" y="1358340"/>
                </a:cubicBezTo>
                <a:cubicBezTo>
                  <a:pt x="2357894" y="1336935"/>
                  <a:pt x="2322215" y="1331942"/>
                  <a:pt x="2295003" y="1341454"/>
                </a:cubicBezTo>
                <a:cubicBezTo>
                  <a:pt x="2293792" y="1329325"/>
                  <a:pt x="2281697" y="1330038"/>
                  <a:pt x="2287745" y="1310774"/>
                </a:cubicBezTo>
                <a:cubicBezTo>
                  <a:pt x="2265974" y="1306968"/>
                  <a:pt x="2291373" y="1323617"/>
                  <a:pt x="2276859" y="1324330"/>
                </a:cubicBezTo>
                <a:cubicBezTo>
                  <a:pt x="2267184" y="1291748"/>
                  <a:pt x="2307096" y="1308633"/>
                  <a:pt x="2310725" y="1283185"/>
                </a:cubicBezTo>
                <a:cubicBezTo>
                  <a:pt x="2316773" y="1305542"/>
                  <a:pt x="2322820" y="1284137"/>
                  <a:pt x="2334310" y="1283185"/>
                </a:cubicBezTo>
                <a:cubicBezTo>
                  <a:pt x="2342777" y="1305779"/>
                  <a:pt x="2365756" y="1286039"/>
                  <a:pt x="2380875" y="1277477"/>
                </a:cubicBezTo>
                <a:cubicBezTo>
                  <a:pt x="2371199" y="1272721"/>
                  <a:pt x="2367571" y="1258213"/>
                  <a:pt x="2353057" y="1258926"/>
                </a:cubicBezTo>
                <a:cubicBezTo>
                  <a:pt x="2343381" y="1266061"/>
                  <a:pt x="2361523" y="1277716"/>
                  <a:pt x="2349429" y="1282709"/>
                </a:cubicBezTo>
                <a:cubicBezTo>
                  <a:pt x="2331287" y="1267251"/>
                  <a:pt x="2319191" y="1261780"/>
                  <a:pt x="2300444" y="1258213"/>
                </a:cubicBezTo>
                <a:cubicBezTo>
                  <a:pt x="2312539" y="1251316"/>
                  <a:pt x="2320401" y="1240375"/>
                  <a:pt x="2319191" y="1218495"/>
                </a:cubicBezTo>
                <a:cubicBezTo>
                  <a:pt x="2307096" y="1223251"/>
                  <a:pt x="2307096" y="1223490"/>
                  <a:pt x="2293187" y="1218495"/>
                </a:cubicBezTo>
                <a:close/>
                <a:moveTo>
                  <a:pt x="2253878" y="1217782"/>
                </a:moveTo>
                <a:cubicBezTo>
                  <a:pt x="2252064" y="1218732"/>
                  <a:pt x="2249646" y="1220636"/>
                  <a:pt x="2249041" y="1224203"/>
                </a:cubicBezTo>
                <a:cubicBezTo>
                  <a:pt x="2252064" y="1226344"/>
                  <a:pt x="2255694" y="1228483"/>
                  <a:pt x="2258717" y="1230624"/>
                </a:cubicBezTo>
                <a:cubicBezTo>
                  <a:pt x="2264765" y="1225392"/>
                  <a:pt x="2263554" y="1220397"/>
                  <a:pt x="2259926" y="1218495"/>
                </a:cubicBezTo>
                <a:cubicBezTo>
                  <a:pt x="2258112" y="1217306"/>
                  <a:pt x="2256299" y="1217068"/>
                  <a:pt x="2253878" y="1217782"/>
                </a:cubicBezTo>
                <a:close/>
                <a:moveTo>
                  <a:pt x="1888613" y="1212073"/>
                </a:moveTo>
                <a:cubicBezTo>
                  <a:pt x="1886799" y="1212787"/>
                  <a:pt x="1885590" y="1214452"/>
                  <a:pt x="1884381" y="1218971"/>
                </a:cubicBezTo>
                <a:cubicBezTo>
                  <a:pt x="1886799" y="1219208"/>
                  <a:pt x="1889218" y="1223490"/>
                  <a:pt x="1888613" y="1229435"/>
                </a:cubicBezTo>
                <a:cubicBezTo>
                  <a:pt x="1886195" y="1231100"/>
                  <a:pt x="1879543" y="1230387"/>
                  <a:pt x="1878937" y="1236332"/>
                </a:cubicBezTo>
                <a:cubicBezTo>
                  <a:pt x="1888613" y="1233241"/>
                  <a:pt x="1898289" y="1232051"/>
                  <a:pt x="1903733" y="1224679"/>
                </a:cubicBezTo>
                <a:cubicBezTo>
                  <a:pt x="1901918" y="1221586"/>
                  <a:pt x="1894057" y="1210171"/>
                  <a:pt x="1888613" y="1212073"/>
                </a:cubicBezTo>
                <a:close/>
                <a:moveTo>
                  <a:pt x="537618" y="1194712"/>
                </a:moveTo>
                <a:cubicBezTo>
                  <a:pt x="547294" y="1197566"/>
                  <a:pt x="531570" y="1212073"/>
                  <a:pt x="553340" y="1208030"/>
                </a:cubicBezTo>
                <a:cubicBezTo>
                  <a:pt x="552736" y="1215879"/>
                  <a:pt x="552736" y="1223727"/>
                  <a:pt x="556970" y="1224203"/>
                </a:cubicBezTo>
                <a:cubicBezTo>
                  <a:pt x="546689" y="1242992"/>
                  <a:pt x="537013" y="1208744"/>
                  <a:pt x="520080" y="1213263"/>
                </a:cubicBezTo>
                <a:cubicBezTo>
                  <a:pt x="505566" y="1257500"/>
                  <a:pt x="469281" y="1232527"/>
                  <a:pt x="444487" y="1254407"/>
                </a:cubicBezTo>
                <a:cubicBezTo>
                  <a:pt x="445092" y="1234430"/>
                  <a:pt x="475329" y="1248699"/>
                  <a:pt x="471700" y="1224679"/>
                </a:cubicBezTo>
                <a:cubicBezTo>
                  <a:pt x="492866" y="1230387"/>
                  <a:pt x="488029" y="1226344"/>
                  <a:pt x="509799" y="1224203"/>
                </a:cubicBezTo>
                <a:cubicBezTo>
                  <a:pt x="512823" y="1210408"/>
                  <a:pt x="508590" y="1203987"/>
                  <a:pt x="496495" y="1206841"/>
                </a:cubicBezTo>
                <a:cubicBezTo>
                  <a:pt x="506776" y="1197803"/>
                  <a:pt x="532779" y="1198042"/>
                  <a:pt x="529756" y="1213738"/>
                </a:cubicBezTo>
                <a:cubicBezTo>
                  <a:pt x="534593" y="1208268"/>
                  <a:pt x="537013" y="1202560"/>
                  <a:pt x="537618" y="1194712"/>
                </a:cubicBezTo>
                <a:close/>
                <a:moveTo>
                  <a:pt x="2115997" y="1190669"/>
                </a:moveTo>
                <a:cubicBezTo>
                  <a:pt x="2120836" y="1189004"/>
                  <a:pt x="2120836" y="1193284"/>
                  <a:pt x="2120231" y="1197090"/>
                </a:cubicBezTo>
                <a:lnTo>
                  <a:pt x="2120231" y="1208030"/>
                </a:lnTo>
                <a:cubicBezTo>
                  <a:pt x="2102693" y="1204700"/>
                  <a:pt x="2108137" y="1197566"/>
                  <a:pt x="2111764" y="1218971"/>
                </a:cubicBezTo>
                <a:cubicBezTo>
                  <a:pt x="2100274" y="1208268"/>
                  <a:pt x="2080318" y="1210884"/>
                  <a:pt x="2076690" y="1191382"/>
                </a:cubicBezTo>
                <a:cubicBezTo>
                  <a:pt x="2086365" y="1192095"/>
                  <a:pt x="2109950" y="1205414"/>
                  <a:pt x="2115997" y="1190669"/>
                </a:cubicBezTo>
                <a:close/>
                <a:moveTo>
                  <a:pt x="600511" y="1187815"/>
                </a:moveTo>
                <a:cubicBezTo>
                  <a:pt x="607163" y="1197803"/>
                  <a:pt x="596278" y="1219446"/>
                  <a:pt x="622887" y="1216117"/>
                </a:cubicBezTo>
                <a:cubicBezTo>
                  <a:pt x="624701" y="1225629"/>
                  <a:pt x="598697" y="1225629"/>
                  <a:pt x="604140" y="1210884"/>
                </a:cubicBezTo>
                <a:cubicBezTo>
                  <a:pt x="601721" y="1214452"/>
                  <a:pt x="598697" y="1219684"/>
                  <a:pt x="596278" y="1227057"/>
                </a:cubicBezTo>
                <a:cubicBezTo>
                  <a:pt x="607767" y="1231813"/>
                  <a:pt x="640425" y="1240375"/>
                  <a:pt x="637400" y="1215641"/>
                </a:cubicBezTo>
                <a:cubicBezTo>
                  <a:pt x="662195" y="1232765"/>
                  <a:pt x="690617" y="1237046"/>
                  <a:pt x="722065" y="1232289"/>
                </a:cubicBezTo>
                <a:cubicBezTo>
                  <a:pt x="719040" y="1237759"/>
                  <a:pt x="716621" y="1241327"/>
                  <a:pt x="718436" y="1249175"/>
                </a:cubicBezTo>
                <a:cubicBezTo>
                  <a:pt x="726297" y="1238473"/>
                  <a:pt x="773467" y="1235143"/>
                  <a:pt x="760163" y="1260591"/>
                </a:cubicBezTo>
                <a:cubicBezTo>
                  <a:pt x="767420" y="1259165"/>
                  <a:pt x="770444" y="1251553"/>
                  <a:pt x="769234" y="1238235"/>
                </a:cubicBezTo>
                <a:cubicBezTo>
                  <a:pt x="792214" y="1249651"/>
                  <a:pt x="799472" y="1248462"/>
                  <a:pt x="817009" y="1233002"/>
                </a:cubicBezTo>
                <a:cubicBezTo>
                  <a:pt x="813381" y="1249651"/>
                  <a:pt x="833337" y="1239900"/>
                  <a:pt x="824872" y="1260115"/>
                </a:cubicBezTo>
                <a:cubicBezTo>
                  <a:pt x="834547" y="1260829"/>
                  <a:pt x="834547" y="1253457"/>
                  <a:pt x="844222" y="1254407"/>
                </a:cubicBezTo>
                <a:cubicBezTo>
                  <a:pt x="841803" y="1250364"/>
                  <a:pt x="835152" y="1246084"/>
                  <a:pt x="830918" y="1243943"/>
                </a:cubicBezTo>
                <a:cubicBezTo>
                  <a:pt x="833942" y="1228959"/>
                  <a:pt x="844222" y="1252029"/>
                  <a:pt x="859342" y="1243943"/>
                </a:cubicBezTo>
                <a:cubicBezTo>
                  <a:pt x="858737" y="1247749"/>
                  <a:pt x="853898" y="1249175"/>
                  <a:pt x="853293" y="1254883"/>
                </a:cubicBezTo>
                <a:cubicBezTo>
                  <a:pt x="858132" y="1251553"/>
                  <a:pt x="861156" y="1249888"/>
                  <a:pt x="867808" y="1248462"/>
                </a:cubicBezTo>
                <a:cubicBezTo>
                  <a:pt x="869622" y="1258213"/>
                  <a:pt x="862365" y="1259640"/>
                  <a:pt x="862365" y="1265110"/>
                </a:cubicBezTo>
                <a:cubicBezTo>
                  <a:pt x="873855" y="1266299"/>
                  <a:pt x="885950" y="1265348"/>
                  <a:pt x="887159" y="1250127"/>
                </a:cubicBezTo>
                <a:cubicBezTo>
                  <a:pt x="902882" y="1264872"/>
                  <a:pt x="929491" y="1257500"/>
                  <a:pt x="947029" y="1243943"/>
                </a:cubicBezTo>
                <a:cubicBezTo>
                  <a:pt x="939167" y="1254646"/>
                  <a:pt x="945820" y="1257500"/>
                  <a:pt x="947634" y="1272721"/>
                </a:cubicBezTo>
                <a:cubicBezTo>
                  <a:pt x="986942" y="1285563"/>
                  <a:pt x="1042578" y="1271056"/>
                  <a:pt x="1089144" y="1288418"/>
                </a:cubicBezTo>
                <a:cubicBezTo>
                  <a:pt x="1088539" y="1299597"/>
                  <a:pt x="1048021" y="1304114"/>
                  <a:pt x="1041973" y="1288418"/>
                </a:cubicBezTo>
                <a:cubicBezTo>
                  <a:pt x="1037136" y="1289845"/>
                  <a:pt x="1038950" y="1299121"/>
                  <a:pt x="1035926" y="1304590"/>
                </a:cubicBezTo>
                <a:cubicBezTo>
                  <a:pt x="1004480" y="1269629"/>
                  <a:pt x="959728" y="1309585"/>
                  <a:pt x="937957" y="1277477"/>
                </a:cubicBezTo>
                <a:cubicBezTo>
                  <a:pt x="928281" y="1278429"/>
                  <a:pt x="945820" y="1299121"/>
                  <a:pt x="933725" y="1305542"/>
                </a:cubicBezTo>
                <a:cubicBezTo>
                  <a:pt x="891393" y="1258213"/>
                  <a:pt x="831523" y="1307683"/>
                  <a:pt x="783748" y="1271532"/>
                </a:cubicBezTo>
                <a:cubicBezTo>
                  <a:pt x="783748" y="1265823"/>
                  <a:pt x="788587" y="1266537"/>
                  <a:pt x="793423" y="1267013"/>
                </a:cubicBezTo>
                <a:cubicBezTo>
                  <a:pt x="789795" y="1253457"/>
                  <a:pt x="767420" y="1267013"/>
                  <a:pt x="773467" y="1282709"/>
                </a:cubicBezTo>
                <a:cubicBezTo>
                  <a:pt x="764397" y="1276288"/>
                  <a:pt x="749278" y="1288180"/>
                  <a:pt x="740811" y="1272245"/>
                </a:cubicBezTo>
                <a:cubicBezTo>
                  <a:pt x="745045" y="1285802"/>
                  <a:pt x="720854" y="1286991"/>
                  <a:pt x="713598" y="1288418"/>
                </a:cubicBezTo>
                <a:cubicBezTo>
                  <a:pt x="706945" y="1285802"/>
                  <a:pt x="712389" y="1271294"/>
                  <a:pt x="702713" y="1270343"/>
                </a:cubicBezTo>
                <a:cubicBezTo>
                  <a:pt x="712994" y="1265586"/>
                  <a:pt x="724484" y="1268915"/>
                  <a:pt x="746254" y="1267013"/>
                </a:cubicBezTo>
                <a:cubicBezTo>
                  <a:pt x="728111" y="1244656"/>
                  <a:pt x="657356" y="1241802"/>
                  <a:pt x="657961" y="1272245"/>
                </a:cubicBezTo>
                <a:cubicBezTo>
                  <a:pt x="632562" y="1294839"/>
                  <a:pt x="592044" y="1255835"/>
                  <a:pt x="590231" y="1287942"/>
                </a:cubicBezTo>
                <a:cubicBezTo>
                  <a:pt x="580554" y="1290796"/>
                  <a:pt x="586603" y="1271769"/>
                  <a:pt x="576927" y="1271056"/>
                </a:cubicBezTo>
                <a:cubicBezTo>
                  <a:pt x="579950" y="1265586"/>
                  <a:pt x="586603" y="1266061"/>
                  <a:pt x="587812" y="1254883"/>
                </a:cubicBezTo>
                <a:cubicBezTo>
                  <a:pt x="605953" y="1260115"/>
                  <a:pt x="604140" y="1256311"/>
                  <a:pt x="625305" y="1260115"/>
                </a:cubicBezTo>
                <a:cubicBezTo>
                  <a:pt x="629539" y="1262256"/>
                  <a:pt x="636191" y="1238235"/>
                  <a:pt x="637400" y="1255359"/>
                </a:cubicBezTo>
                <a:cubicBezTo>
                  <a:pt x="645866" y="1233241"/>
                  <a:pt x="604744" y="1243230"/>
                  <a:pt x="590231" y="1243943"/>
                </a:cubicBezTo>
                <a:cubicBezTo>
                  <a:pt x="582973" y="1205414"/>
                  <a:pt x="587207" y="1218732"/>
                  <a:pt x="600511" y="1187815"/>
                </a:cubicBezTo>
                <a:close/>
                <a:moveTo>
                  <a:pt x="11410296" y="1177350"/>
                </a:moveTo>
                <a:cubicBezTo>
                  <a:pt x="11402434" y="1176398"/>
                  <a:pt x="11393968" y="1180680"/>
                  <a:pt x="11393968" y="1190669"/>
                </a:cubicBezTo>
                <a:cubicBezTo>
                  <a:pt x="11404854" y="1203511"/>
                  <a:pt x="11403039" y="1199468"/>
                  <a:pt x="11422391" y="1197090"/>
                </a:cubicBezTo>
                <a:cubicBezTo>
                  <a:pt x="11425415" y="1184485"/>
                  <a:pt x="11418158" y="1178301"/>
                  <a:pt x="11410296" y="1177350"/>
                </a:cubicBezTo>
                <a:close/>
                <a:moveTo>
                  <a:pt x="11982383" y="1176874"/>
                </a:moveTo>
                <a:cubicBezTo>
                  <a:pt x="11997501" y="1175685"/>
                  <a:pt x="12013225" y="1179728"/>
                  <a:pt x="12019273" y="1192808"/>
                </a:cubicBezTo>
                <a:cubicBezTo>
                  <a:pt x="11990245" y="1185912"/>
                  <a:pt x="11984197" y="1194712"/>
                  <a:pt x="11952146" y="1191858"/>
                </a:cubicBezTo>
                <a:cubicBezTo>
                  <a:pt x="11953960" y="1184009"/>
                  <a:pt x="11967870" y="1177826"/>
                  <a:pt x="11982383" y="1176874"/>
                </a:cubicBezTo>
                <a:close/>
                <a:moveTo>
                  <a:pt x="1475575" y="1176874"/>
                </a:moveTo>
                <a:cubicBezTo>
                  <a:pt x="1489484" y="1184247"/>
                  <a:pt x="1471341" y="1206128"/>
                  <a:pt x="1480413" y="1213263"/>
                </a:cubicBezTo>
                <a:cubicBezTo>
                  <a:pt x="1471341" y="1210408"/>
                  <a:pt x="1464085" y="1205176"/>
                  <a:pt x="1457432" y="1200420"/>
                </a:cubicBezTo>
                <a:cubicBezTo>
                  <a:pt x="1422357" y="1239662"/>
                  <a:pt x="1370349" y="1194949"/>
                  <a:pt x="1331645" y="1208506"/>
                </a:cubicBezTo>
                <a:cubicBezTo>
                  <a:pt x="1361278" y="1183533"/>
                  <a:pt x="1392725" y="1213976"/>
                  <a:pt x="1409052" y="1177350"/>
                </a:cubicBezTo>
                <a:cubicBezTo>
                  <a:pt x="1419937" y="1188766"/>
                  <a:pt x="1406029" y="1196138"/>
                  <a:pt x="1415100" y="1207554"/>
                </a:cubicBezTo>
                <a:cubicBezTo>
                  <a:pt x="1423567" y="1174496"/>
                  <a:pt x="1464690" y="1196853"/>
                  <a:pt x="1475575" y="1176874"/>
                </a:cubicBezTo>
                <a:close/>
                <a:moveTo>
                  <a:pt x="1714449" y="1172831"/>
                </a:moveTo>
                <a:cubicBezTo>
                  <a:pt x="1713843" y="1180680"/>
                  <a:pt x="1704167" y="1177826"/>
                  <a:pt x="1704167" y="1183771"/>
                </a:cubicBezTo>
                <a:cubicBezTo>
                  <a:pt x="1708400" y="1184247"/>
                  <a:pt x="1708400" y="1187815"/>
                  <a:pt x="1708400" y="1195662"/>
                </a:cubicBezTo>
                <a:cubicBezTo>
                  <a:pt x="1724729" y="1199231"/>
                  <a:pt x="1726543" y="1173782"/>
                  <a:pt x="1714449" y="1172831"/>
                </a:cubicBezTo>
                <a:close/>
                <a:moveTo>
                  <a:pt x="2478238" y="1168788"/>
                </a:moveTo>
                <a:cubicBezTo>
                  <a:pt x="2469167" y="1172118"/>
                  <a:pt x="2458282" y="1180680"/>
                  <a:pt x="2453443" y="1184247"/>
                </a:cubicBezTo>
                <a:cubicBezTo>
                  <a:pt x="2472191" y="1189955"/>
                  <a:pt x="2474611" y="1186387"/>
                  <a:pt x="2496381" y="1184247"/>
                </a:cubicBezTo>
                <a:cubicBezTo>
                  <a:pt x="2496381" y="1167360"/>
                  <a:pt x="2487915" y="1165221"/>
                  <a:pt x="2478238" y="1168788"/>
                </a:cubicBezTo>
                <a:close/>
                <a:moveTo>
                  <a:pt x="1272985" y="1161652"/>
                </a:moveTo>
                <a:cubicBezTo>
                  <a:pt x="1276614" y="1166171"/>
                  <a:pt x="1280243" y="1169977"/>
                  <a:pt x="1281451" y="1178063"/>
                </a:cubicBezTo>
                <a:cubicBezTo>
                  <a:pt x="1272380" y="1181393"/>
                  <a:pt x="1272380" y="1169977"/>
                  <a:pt x="1272985" y="1161652"/>
                </a:cubicBezTo>
                <a:close/>
                <a:moveTo>
                  <a:pt x="1272985" y="1160702"/>
                </a:moveTo>
                <a:cubicBezTo>
                  <a:pt x="1272985" y="1160939"/>
                  <a:pt x="1272985" y="1161177"/>
                  <a:pt x="1272985" y="1161652"/>
                </a:cubicBezTo>
                <a:cubicBezTo>
                  <a:pt x="1272985" y="1161415"/>
                  <a:pt x="1272380" y="1161415"/>
                  <a:pt x="1272380" y="1161177"/>
                </a:cubicBezTo>
                <a:cubicBezTo>
                  <a:pt x="1272380" y="1160939"/>
                  <a:pt x="1272985" y="1160939"/>
                  <a:pt x="1272985" y="1160702"/>
                </a:cubicBezTo>
                <a:close/>
                <a:moveTo>
                  <a:pt x="11697549" y="1155945"/>
                </a:moveTo>
                <a:cubicBezTo>
                  <a:pt x="11681826" y="1189241"/>
                  <a:pt x="11723553" y="1187101"/>
                  <a:pt x="11738672" y="1198042"/>
                </a:cubicBezTo>
                <a:cubicBezTo>
                  <a:pt x="11745928" y="1196853"/>
                  <a:pt x="11738672" y="1188528"/>
                  <a:pt x="11734438" y="1186150"/>
                </a:cubicBezTo>
                <a:cubicBezTo>
                  <a:pt x="11747138" y="1169977"/>
                  <a:pt x="11753790" y="1207317"/>
                  <a:pt x="11767699" y="1210408"/>
                </a:cubicBezTo>
                <a:cubicBezTo>
                  <a:pt x="11760443" y="1215403"/>
                  <a:pt x="11752581" y="1229672"/>
                  <a:pt x="11768908" y="1233002"/>
                </a:cubicBezTo>
                <a:cubicBezTo>
                  <a:pt x="11761047" y="1242040"/>
                  <a:pt x="11749557" y="1244895"/>
                  <a:pt x="11733229" y="1245371"/>
                </a:cubicBezTo>
                <a:cubicBezTo>
                  <a:pt x="11735648" y="1249414"/>
                  <a:pt x="11739881" y="1255835"/>
                  <a:pt x="11739277" y="1263445"/>
                </a:cubicBezTo>
                <a:cubicBezTo>
                  <a:pt x="11745928" y="1263921"/>
                  <a:pt x="11762257" y="1257737"/>
                  <a:pt x="11756814" y="1274623"/>
                </a:cubicBezTo>
                <a:cubicBezTo>
                  <a:pt x="11765885" y="1275338"/>
                  <a:pt x="11774956" y="1277716"/>
                  <a:pt x="11775561" y="1268202"/>
                </a:cubicBezTo>
                <a:cubicBezTo>
                  <a:pt x="11781609" y="1280094"/>
                  <a:pt x="11785237" y="1292223"/>
                  <a:pt x="11789471" y="1303877"/>
                </a:cubicBezTo>
                <a:cubicBezTo>
                  <a:pt x="11781609" y="1316719"/>
                  <a:pt x="11773142" y="1306255"/>
                  <a:pt x="11761652" y="1303401"/>
                </a:cubicBezTo>
                <a:cubicBezTo>
                  <a:pt x="11770119" y="1277240"/>
                  <a:pt x="11759838" y="1299597"/>
                  <a:pt x="11747138" y="1281283"/>
                </a:cubicBezTo>
                <a:cubicBezTo>
                  <a:pt x="11744114" y="1298407"/>
                  <a:pt x="11753186" y="1295077"/>
                  <a:pt x="11752581" y="1310298"/>
                </a:cubicBezTo>
                <a:cubicBezTo>
                  <a:pt x="11738672" y="1311011"/>
                  <a:pt x="11735043" y="1299358"/>
                  <a:pt x="11728391" y="1293174"/>
                </a:cubicBezTo>
                <a:cubicBezTo>
                  <a:pt x="11730810" y="1285563"/>
                  <a:pt x="11736252" y="1280331"/>
                  <a:pt x="11742905" y="1280807"/>
                </a:cubicBezTo>
                <a:cubicBezTo>
                  <a:pt x="11737463" y="1261067"/>
                  <a:pt x="11726576" y="1250603"/>
                  <a:pt x="11710854" y="1245371"/>
                </a:cubicBezTo>
                <a:cubicBezTo>
                  <a:pt x="11703596" y="1252505"/>
                  <a:pt x="11695130" y="1268915"/>
                  <a:pt x="11686664" y="1256548"/>
                </a:cubicBezTo>
                <a:cubicBezTo>
                  <a:pt x="11690292" y="1235856"/>
                  <a:pt x="11719320" y="1247986"/>
                  <a:pt x="11704806" y="1221825"/>
                </a:cubicBezTo>
                <a:cubicBezTo>
                  <a:pt x="11714482" y="1218732"/>
                  <a:pt x="11713877" y="1226344"/>
                  <a:pt x="11720530" y="1227057"/>
                </a:cubicBezTo>
                <a:cubicBezTo>
                  <a:pt x="11730205" y="1218258"/>
                  <a:pt x="11728391" y="1212549"/>
                  <a:pt x="11724762" y="1198992"/>
                </a:cubicBezTo>
                <a:cubicBezTo>
                  <a:pt x="11712063" y="1217068"/>
                  <a:pt x="11687874" y="1193523"/>
                  <a:pt x="11690897" y="1220636"/>
                </a:cubicBezTo>
                <a:cubicBezTo>
                  <a:pt x="11684244" y="1218258"/>
                  <a:pt x="11683035" y="1208744"/>
                  <a:pt x="11681221" y="1197090"/>
                </a:cubicBezTo>
                <a:cubicBezTo>
                  <a:pt x="11687874" y="1197566"/>
                  <a:pt x="11694525" y="1197803"/>
                  <a:pt x="11697549" y="1192334"/>
                </a:cubicBezTo>
                <a:cubicBezTo>
                  <a:pt x="11695734" y="1180680"/>
                  <a:pt x="11679407" y="1186863"/>
                  <a:pt x="11677593" y="1179015"/>
                </a:cubicBezTo>
                <a:cubicBezTo>
                  <a:pt x="11684849" y="1172118"/>
                  <a:pt x="11683640" y="1154756"/>
                  <a:pt x="11697549" y="1155945"/>
                </a:cubicBezTo>
                <a:close/>
                <a:moveTo>
                  <a:pt x="11612886" y="1154993"/>
                </a:moveTo>
                <a:cubicBezTo>
                  <a:pt x="11624980" y="1150713"/>
                  <a:pt x="11643728" y="1179015"/>
                  <a:pt x="11648565" y="1191382"/>
                </a:cubicBezTo>
                <a:cubicBezTo>
                  <a:pt x="11667312" y="1163080"/>
                  <a:pt x="11660055" y="1206365"/>
                  <a:pt x="11683640" y="1210408"/>
                </a:cubicBezTo>
                <a:cubicBezTo>
                  <a:pt x="11661869" y="1214452"/>
                  <a:pt x="11627399" y="1183533"/>
                  <a:pt x="11603814" y="1171642"/>
                </a:cubicBezTo>
                <a:cubicBezTo>
                  <a:pt x="11605628" y="1161177"/>
                  <a:pt x="11608652" y="1156183"/>
                  <a:pt x="11612886" y="1154993"/>
                </a:cubicBezTo>
                <a:close/>
                <a:moveTo>
                  <a:pt x="11542130" y="1154993"/>
                </a:moveTo>
                <a:cubicBezTo>
                  <a:pt x="11559667" y="1163317"/>
                  <a:pt x="11532454" y="1167836"/>
                  <a:pt x="11538501" y="1181869"/>
                </a:cubicBezTo>
                <a:cubicBezTo>
                  <a:pt x="11526407" y="1157134"/>
                  <a:pt x="11511893" y="1176398"/>
                  <a:pt x="11491936" y="1181393"/>
                </a:cubicBezTo>
                <a:cubicBezTo>
                  <a:pt x="11499798" y="1161652"/>
                  <a:pt x="11528221" y="1165695"/>
                  <a:pt x="11542130" y="1154993"/>
                </a:cubicBezTo>
                <a:close/>
                <a:moveTo>
                  <a:pt x="2471586" y="1154042"/>
                </a:moveTo>
                <a:cubicBezTo>
                  <a:pt x="2446792" y="1165934"/>
                  <a:pt x="2418974" y="1157372"/>
                  <a:pt x="2406275" y="1172118"/>
                </a:cubicBezTo>
                <a:cubicBezTo>
                  <a:pt x="2415346" y="1180917"/>
                  <a:pt x="2432279" y="1178776"/>
                  <a:pt x="2443769" y="1183771"/>
                </a:cubicBezTo>
                <a:cubicBezTo>
                  <a:pt x="2440140" y="1159750"/>
                  <a:pt x="2468563" y="1171642"/>
                  <a:pt x="2471586" y="1154042"/>
                </a:cubicBezTo>
                <a:close/>
                <a:moveTo>
                  <a:pt x="984524" y="1149048"/>
                </a:moveTo>
                <a:cubicBezTo>
                  <a:pt x="998432" y="1147383"/>
                  <a:pt x="1011736" y="1148809"/>
                  <a:pt x="1022622" y="1155945"/>
                </a:cubicBezTo>
                <a:cubicBezTo>
                  <a:pt x="1016574" y="1174733"/>
                  <a:pt x="980894" y="1143577"/>
                  <a:pt x="987546" y="1165221"/>
                </a:cubicBezTo>
                <a:cubicBezTo>
                  <a:pt x="972429" y="1167599"/>
                  <a:pt x="967590" y="1156658"/>
                  <a:pt x="947634" y="1160226"/>
                </a:cubicBezTo>
                <a:cubicBezTo>
                  <a:pt x="957914" y="1154756"/>
                  <a:pt x="971218" y="1150474"/>
                  <a:pt x="984524" y="1149048"/>
                </a:cubicBezTo>
                <a:close/>
                <a:moveTo>
                  <a:pt x="1244563" y="1147859"/>
                </a:moveTo>
                <a:cubicBezTo>
                  <a:pt x="1256657" y="1148096"/>
                  <a:pt x="1265729" y="1152615"/>
                  <a:pt x="1272380" y="1161177"/>
                </a:cubicBezTo>
                <a:cubicBezTo>
                  <a:pt x="1263915" y="1186863"/>
                  <a:pt x="1240329" y="1191144"/>
                  <a:pt x="1220977" y="1203987"/>
                </a:cubicBezTo>
                <a:cubicBezTo>
                  <a:pt x="1223397" y="1198042"/>
                  <a:pt x="1226420" y="1189717"/>
                  <a:pt x="1224606" y="1179015"/>
                </a:cubicBezTo>
                <a:cubicBezTo>
                  <a:pt x="1212511" y="1184485"/>
                  <a:pt x="1202836" y="1188052"/>
                  <a:pt x="1196183" y="1172831"/>
                </a:cubicBezTo>
                <a:cubicBezTo>
                  <a:pt x="1178645" y="1190193"/>
                  <a:pt x="1144175" y="1180917"/>
                  <a:pt x="1118172" y="1174496"/>
                </a:cubicBezTo>
                <a:cubicBezTo>
                  <a:pt x="1139338" y="1176161"/>
                  <a:pt x="1174412" y="1145479"/>
                  <a:pt x="1191951" y="1165934"/>
                </a:cubicBezTo>
                <a:cubicBezTo>
                  <a:pt x="1204045" y="1166886"/>
                  <a:pt x="1193160" y="1147144"/>
                  <a:pt x="1188321" y="1149048"/>
                </a:cubicBezTo>
                <a:cubicBezTo>
                  <a:pt x="1204650" y="1152377"/>
                  <a:pt x="1226420" y="1147620"/>
                  <a:pt x="1244563" y="1147859"/>
                </a:cubicBezTo>
                <a:close/>
                <a:moveTo>
                  <a:pt x="11650379" y="1135729"/>
                </a:moveTo>
                <a:cubicBezTo>
                  <a:pt x="11644937" y="1141436"/>
                  <a:pt x="11644937" y="1149285"/>
                  <a:pt x="11644332" y="1159274"/>
                </a:cubicBezTo>
                <a:cubicBezTo>
                  <a:pt x="11619537" y="1161415"/>
                  <a:pt x="11630422" y="1131924"/>
                  <a:pt x="11650379" y="1135729"/>
                </a:cubicBezTo>
                <a:close/>
                <a:moveTo>
                  <a:pt x="766211" y="1118605"/>
                </a:moveTo>
                <a:cubicBezTo>
                  <a:pt x="778910" y="1117653"/>
                  <a:pt x="756535" y="1135729"/>
                  <a:pt x="771653" y="1136919"/>
                </a:cubicBezTo>
                <a:cubicBezTo>
                  <a:pt x="771048" y="1153328"/>
                  <a:pt x="753510" y="1147383"/>
                  <a:pt x="740206" y="1148334"/>
                </a:cubicBezTo>
                <a:lnTo>
                  <a:pt x="741416" y="1126453"/>
                </a:lnTo>
                <a:cubicBezTo>
                  <a:pt x="754721" y="1121459"/>
                  <a:pt x="763188" y="1124313"/>
                  <a:pt x="766211" y="1118605"/>
                </a:cubicBezTo>
                <a:close/>
                <a:moveTo>
                  <a:pt x="2248436" y="1113373"/>
                </a:moveTo>
                <a:cubicBezTo>
                  <a:pt x="2244203" y="1152615"/>
                  <a:pt x="2265369" y="1156658"/>
                  <a:pt x="2291978" y="1154993"/>
                </a:cubicBezTo>
                <a:cubicBezTo>
                  <a:pt x="2261740" y="1136443"/>
                  <a:pt x="2276255" y="1135491"/>
                  <a:pt x="2248436" y="1113373"/>
                </a:cubicBezTo>
                <a:close/>
                <a:moveTo>
                  <a:pt x="1672721" y="1101481"/>
                </a:moveTo>
                <a:cubicBezTo>
                  <a:pt x="1670907" y="1132161"/>
                  <a:pt x="1655788" y="1108378"/>
                  <a:pt x="1641879" y="1119555"/>
                </a:cubicBezTo>
                <a:cubicBezTo>
                  <a:pt x="1645507" y="1105524"/>
                  <a:pt x="1661231" y="1106713"/>
                  <a:pt x="1672721" y="1101481"/>
                </a:cubicBezTo>
                <a:close/>
                <a:moveTo>
                  <a:pt x="794633" y="1100054"/>
                </a:moveTo>
                <a:cubicBezTo>
                  <a:pt x="799472" y="1102432"/>
                  <a:pt x="798867" y="1111469"/>
                  <a:pt x="809148" y="1110519"/>
                </a:cubicBezTo>
                <a:cubicBezTo>
                  <a:pt x="800076" y="1137632"/>
                  <a:pt x="787377" y="1093394"/>
                  <a:pt x="783144" y="1126453"/>
                </a:cubicBezTo>
                <a:cubicBezTo>
                  <a:pt x="773467" y="1110756"/>
                  <a:pt x="752907" y="1108854"/>
                  <a:pt x="727507" y="1108616"/>
                </a:cubicBezTo>
                <a:cubicBezTo>
                  <a:pt x="743835" y="1089590"/>
                  <a:pt x="784958" y="1129070"/>
                  <a:pt x="794633" y="1100054"/>
                </a:cubicBezTo>
                <a:close/>
                <a:moveTo>
                  <a:pt x="11644332" y="1095535"/>
                </a:moveTo>
                <a:cubicBezTo>
                  <a:pt x="11646751" y="1095535"/>
                  <a:pt x="11651588" y="1096724"/>
                  <a:pt x="11658241" y="1099340"/>
                </a:cubicBezTo>
                <a:cubicBezTo>
                  <a:pt x="11673964" y="1110756"/>
                  <a:pt x="11630422" y="1097200"/>
                  <a:pt x="11642517" y="1124789"/>
                </a:cubicBezTo>
                <a:lnTo>
                  <a:pt x="11628608" y="1125978"/>
                </a:lnTo>
                <a:cubicBezTo>
                  <a:pt x="11628608" y="1120031"/>
                  <a:pt x="11631632" y="1119794"/>
                  <a:pt x="11634052" y="1117892"/>
                </a:cubicBezTo>
                <a:cubicBezTo>
                  <a:pt x="11637680" y="1110043"/>
                  <a:pt x="11637075" y="1102670"/>
                  <a:pt x="11638889" y="1098626"/>
                </a:cubicBezTo>
                <a:cubicBezTo>
                  <a:pt x="11640098" y="1096724"/>
                  <a:pt x="11641308" y="1095535"/>
                  <a:pt x="11644332" y="1095535"/>
                </a:cubicBezTo>
                <a:close/>
                <a:moveTo>
                  <a:pt x="1556610" y="1085547"/>
                </a:moveTo>
                <a:cubicBezTo>
                  <a:pt x="1560843" y="1104335"/>
                  <a:pt x="1546934" y="1102908"/>
                  <a:pt x="1531210" y="1101481"/>
                </a:cubicBezTo>
                <a:cubicBezTo>
                  <a:pt x="1536654" y="1092918"/>
                  <a:pt x="1540282" y="1084119"/>
                  <a:pt x="1556610" y="1085547"/>
                </a:cubicBezTo>
                <a:close/>
                <a:moveTo>
                  <a:pt x="1383890" y="1076531"/>
                </a:moveTo>
                <a:cubicBezTo>
                  <a:pt x="1385506" y="1075795"/>
                  <a:pt x="1388189" y="1076033"/>
                  <a:pt x="1392725" y="1077935"/>
                </a:cubicBezTo>
                <a:cubicBezTo>
                  <a:pt x="1391516" y="1079600"/>
                  <a:pt x="1392120" y="1083167"/>
                  <a:pt x="1390911" y="1085547"/>
                </a:cubicBezTo>
                <a:cubicBezTo>
                  <a:pt x="1389702" y="1088638"/>
                  <a:pt x="1387282" y="1091016"/>
                  <a:pt x="1388491" y="1095772"/>
                </a:cubicBezTo>
                <a:cubicBezTo>
                  <a:pt x="1383049" y="1093394"/>
                  <a:pt x="1380026" y="1091016"/>
                  <a:pt x="1377001" y="1090779"/>
                </a:cubicBezTo>
                <a:cubicBezTo>
                  <a:pt x="1383805" y="1089708"/>
                  <a:pt x="1379042" y="1078739"/>
                  <a:pt x="1383890" y="1076531"/>
                </a:cubicBezTo>
                <a:close/>
                <a:moveTo>
                  <a:pt x="2043428" y="1059860"/>
                </a:moveTo>
                <a:cubicBezTo>
                  <a:pt x="2053709" y="1066995"/>
                  <a:pt x="2032543" y="1102194"/>
                  <a:pt x="2022867" y="1084832"/>
                </a:cubicBezTo>
                <a:cubicBezTo>
                  <a:pt x="2023471" y="1076746"/>
                  <a:pt x="2029519" y="1078887"/>
                  <a:pt x="2036172" y="1077460"/>
                </a:cubicBezTo>
                <a:cubicBezTo>
                  <a:pt x="2024076" y="1060097"/>
                  <a:pt x="2042823" y="1072227"/>
                  <a:pt x="2043428" y="1059860"/>
                </a:cubicBezTo>
                <a:close/>
                <a:moveTo>
                  <a:pt x="1756780" y="1059860"/>
                </a:moveTo>
                <a:cubicBezTo>
                  <a:pt x="1771294" y="1061286"/>
                  <a:pt x="1780969" y="1069135"/>
                  <a:pt x="1800926" y="1065092"/>
                </a:cubicBezTo>
                <a:cubicBezTo>
                  <a:pt x="1790041" y="1081503"/>
                  <a:pt x="1757385" y="1090779"/>
                  <a:pt x="1756780" y="1059860"/>
                </a:cubicBezTo>
                <a:close/>
                <a:moveTo>
                  <a:pt x="1173807" y="1056054"/>
                </a:moveTo>
                <a:cubicBezTo>
                  <a:pt x="1176226" y="1055341"/>
                  <a:pt x="1178645" y="1055580"/>
                  <a:pt x="1182275" y="1057006"/>
                </a:cubicBezTo>
                <a:cubicBezTo>
                  <a:pt x="1184088" y="1069135"/>
                  <a:pt x="1156875" y="1085308"/>
                  <a:pt x="1180460" y="1087210"/>
                </a:cubicBezTo>
                <a:cubicBezTo>
                  <a:pt x="1170785" y="1110756"/>
                  <a:pt x="1158084" y="1060812"/>
                  <a:pt x="1173807" y="1056054"/>
                </a:cubicBezTo>
                <a:close/>
                <a:moveTo>
                  <a:pt x="11640703" y="1052725"/>
                </a:moveTo>
                <a:cubicBezTo>
                  <a:pt x="11646751" y="1051536"/>
                  <a:pt x="11652798" y="1055817"/>
                  <a:pt x="11653402" y="1076271"/>
                </a:cubicBezTo>
                <a:cubicBezTo>
                  <a:pt x="11644332" y="1077935"/>
                  <a:pt x="11644937" y="1071038"/>
                  <a:pt x="11643122" y="1061762"/>
                </a:cubicBezTo>
                <a:cubicBezTo>
                  <a:pt x="11639494" y="1065925"/>
                  <a:pt x="11636470" y="1068005"/>
                  <a:pt x="11633522" y="1068125"/>
                </a:cubicBezTo>
                <a:lnTo>
                  <a:pt x="11624783" y="1062955"/>
                </a:lnTo>
                <a:lnTo>
                  <a:pt x="11624996" y="1062335"/>
                </a:lnTo>
                <a:close/>
                <a:moveTo>
                  <a:pt x="11523988" y="1051298"/>
                </a:moveTo>
                <a:cubicBezTo>
                  <a:pt x="11530640" y="1067709"/>
                  <a:pt x="11517335" y="1092444"/>
                  <a:pt x="11523988" y="1092918"/>
                </a:cubicBezTo>
                <a:cubicBezTo>
                  <a:pt x="11527616" y="1079362"/>
                  <a:pt x="11549992" y="1095535"/>
                  <a:pt x="11548782" y="1075557"/>
                </a:cubicBezTo>
                <a:cubicBezTo>
                  <a:pt x="11539712" y="1070800"/>
                  <a:pt x="11538501" y="1050585"/>
                  <a:pt x="11523988" y="1051298"/>
                </a:cubicBezTo>
                <a:close/>
                <a:moveTo>
                  <a:pt x="1929208" y="1047879"/>
                </a:moveTo>
                <a:cubicBezTo>
                  <a:pt x="1923084" y="1047493"/>
                  <a:pt x="1917037" y="1047493"/>
                  <a:pt x="1911595" y="1048444"/>
                </a:cubicBezTo>
                <a:cubicBezTo>
                  <a:pt x="1900709" y="1050585"/>
                  <a:pt x="1891638" y="1056530"/>
                  <a:pt x="1888009" y="1072227"/>
                </a:cubicBezTo>
                <a:cubicBezTo>
                  <a:pt x="1903128" y="1065568"/>
                  <a:pt x="1907361" y="1076271"/>
                  <a:pt x="1926713" y="1073892"/>
                </a:cubicBezTo>
                <a:cubicBezTo>
                  <a:pt x="1925503" y="1046066"/>
                  <a:pt x="1936389" y="1070563"/>
                  <a:pt x="1947274" y="1049633"/>
                </a:cubicBezTo>
                <a:cubicBezTo>
                  <a:pt x="1941529" y="1049039"/>
                  <a:pt x="1935331" y="1048265"/>
                  <a:pt x="1929208" y="1047879"/>
                </a:cubicBezTo>
                <a:close/>
                <a:moveTo>
                  <a:pt x="1380026" y="1039882"/>
                </a:moveTo>
                <a:cubicBezTo>
                  <a:pt x="1384863" y="1039407"/>
                  <a:pt x="1388491" y="1041309"/>
                  <a:pt x="1400587" y="1048920"/>
                </a:cubicBezTo>
                <a:cubicBezTo>
                  <a:pt x="1394539" y="1075319"/>
                  <a:pt x="1366721" y="1043925"/>
                  <a:pt x="1352207" y="1061762"/>
                </a:cubicBezTo>
                <a:cubicBezTo>
                  <a:pt x="1355231" y="1083167"/>
                  <a:pt x="1367929" y="1061286"/>
                  <a:pt x="1383653" y="1066520"/>
                </a:cubicBezTo>
                <a:cubicBezTo>
                  <a:pt x="1382444" y="1077935"/>
                  <a:pt x="1370954" y="1076984"/>
                  <a:pt x="1370349" y="1088399"/>
                </a:cubicBezTo>
                <a:cubicBezTo>
                  <a:pt x="1369744" y="1087925"/>
                  <a:pt x="1368536" y="1088162"/>
                  <a:pt x="1367929" y="1087686"/>
                </a:cubicBezTo>
                <a:cubicBezTo>
                  <a:pt x="1370349" y="1093394"/>
                  <a:pt x="1373373" y="1100529"/>
                  <a:pt x="1378816" y="1101005"/>
                </a:cubicBezTo>
                <a:cubicBezTo>
                  <a:pt x="1372163" y="1100529"/>
                  <a:pt x="1367929" y="1097913"/>
                  <a:pt x="1366116" y="1087210"/>
                </a:cubicBezTo>
                <a:cubicBezTo>
                  <a:pt x="1350393" y="1081265"/>
                  <a:pt x="1337693" y="1079124"/>
                  <a:pt x="1315923" y="1089590"/>
                </a:cubicBezTo>
                <a:cubicBezTo>
                  <a:pt x="1333459" y="1060336"/>
                  <a:pt x="1344345" y="1073179"/>
                  <a:pt x="1352812" y="1045114"/>
                </a:cubicBezTo>
                <a:cubicBezTo>
                  <a:pt x="1369140" y="1043687"/>
                  <a:pt x="1375187" y="1040357"/>
                  <a:pt x="1380026" y="1039882"/>
                </a:cubicBezTo>
                <a:close/>
                <a:moveTo>
                  <a:pt x="1507021" y="1031082"/>
                </a:moveTo>
                <a:cubicBezTo>
                  <a:pt x="1509440" y="1031082"/>
                  <a:pt x="1512464" y="1032984"/>
                  <a:pt x="1516092" y="1037503"/>
                </a:cubicBezTo>
                <a:cubicBezTo>
                  <a:pt x="1511254" y="1043450"/>
                  <a:pt x="1506416" y="1044876"/>
                  <a:pt x="1500974" y="1048444"/>
                </a:cubicBezTo>
                <a:cubicBezTo>
                  <a:pt x="1500974" y="1054865"/>
                  <a:pt x="1505208" y="1055580"/>
                  <a:pt x="1505208" y="1061762"/>
                </a:cubicBezTo>
                <a:cubicBezTo>
                  <a:pt x="1511254" y="1041309"/>
                  <a:pt x="1523955" y="1065331"/>
                  <a:pt x="1530001" y="1042736"/>
                </a:cubicBezTo>
                <a:cubicBezTo>
                  <a:pt x="1537259" y="1045590"/>
                  <a:pt x="1528792" y="1070087"/>
                  <a:pt x="1548749" y="1061286"/>
                </a:cubicBezTo>
                <a:cubicBezTo>
                  <a:pt x="1547539" y="1080076"/>
                  <a:pt x="1513068" y="1087210"/>
                  <a:pt x="1524559" y="1098626"/>
                </a:cubicBezTo>
                <a:cubicBezTo>
                  <a:pt x="1513674" y="1118605"/>
                  <a:pt x="1513674" y="1078887"/>
                  <a:pt x="1506416" y="1080313"/>
                </a:cubicBezTo>
                <a:cubicBezTo>
                  <a:pt x="1499159" y="1081741"/>
                  <a:pt x="1500974" y="1094822"/>
                  <a:pt x="1500369" y="1105287"/>
                </a:cubicBezTo>
                <a:cubicBezTo>
                  <a:pt x="1488879" y="1096011"/>
                  <a:pt x="1482226" y="1082930"/>
                  <a:pt x="1462875" y="1085547"/>
                </a:cubicBezTo>
                <a:cubicBezTo>
                  <a:pt x="1457432" y="1095535"/>
                  <a:pt x="1450175" y="1103145"/>
                  <a:pt x="1444732" y="1110995"/>
                </a:cubicBezTo>
                <a:cubicBezTo>
                  <a:pt x="1438080" y="1104097"/>
                  <a:pt x="1438685" y="1089590"/>
                  <a:pt x="1453200" y="1086736"/>
                </a:cubicBezTo>
                <a:cubicBezTo>
                  <a:pt x="1436266" y="1051774"/>
                  <a:pt x="1416914" y="1093870"/>
                  <a:pt x="1390911" y="1085547"/>
                </a:cubicBezTo>
                <a:cubicBezTo>
                  <a:pt x="1396353" y="1077460"/>
                  <a:pt x="1418729" y="1060812"/>
                  <a:pt x="1412077" y="1056054"/>
                </a:cubicBezTo>
                <a:cubicBezTo>
                  <a:pt x="1439290" y="1039644"/>
                  <a:pt x="1447756" y="1054628"/>
                  <a:pt x="1491298" y="1054152"/>
                </a:cubicBezTo>
                <a:cubicBezTo>
                  <a:pt x="1496741" y="1048444"/>
                  <a:pt x="1499159" y="1031321"/>
                  <a:pt x="1507021" y="1031082"/>
                </a:cubicBezTo>
                <a:close/>
                <a:moveTo>
                  <a:pt x="1668487" y="1027752"/>
                </a:moveTo>
                <a:cubicBezTo>
                  <a:pt x="1661836" y="1050822"/>
                  <a:pt x="1692073" y="1066995"/>
                  <a:pt x="1669092" y="1057006"/>
                </a:cubicBezTo>
                <a:cubicBezTo>
                  <a:pt x="1667278" y="1080552"/>
                  <a:pt x="1682397" y="1072465"/>
                  <a:pt x="1692073" y="1069373"/>
                </a:cubicBezTo>
                <a:cubicBezTo>
                  <a:pt x="1691468" y="1079124"/>
                  <a:pt x="1696306" y="1079600"/>
                  <a:pt x="1703563" y="1080313"/>
                </a:cubicBezTo>
                <a:cubicBezTo>
                  <a:pt x="1698120" y="1085784"/>
                  <a:pt x="1691468" y="1087210"/>
                  <a:pt x="1693282" y="1097200"/>
                </a:cubicBezTo>
                <a:cubicBezTo>
                  <a:pt x="1679372" y="1082217"/>
                  <a:pt x="1668487" y="1104810"/>
                  <a:pt x="1650951" y="1079838"/>
                </a:cubicBezTo>
                <a:cubicBezTo>
                  <a:pt x="1618899" y="1086973"/>
                  <a:pt x="1610432" y="1119318"/>
                  <a:pt x="1588057" y="1086021"/>
                </a:cubicBezTo>
                <a:cubicBezTo>
                  <a:pt x="1580195" y="1093157"/>
                  <a:pt x="1598338" y="1114562"/>
                  <a:pt x="1597733" y="1132399"/>
                </a:cubicBezTo>
                <a:cubicBezTo>
                  <a:pt x="1581404" y="1119081"/>
                  <a:pt x="1586242" y="1078174"/>
                  <a:pt x="1560239" y="1073892"/>
                </a:cubicBezTo>
                <a:cubicBezTo>
                  <a:pt x="1568100" y="1062951"/>
                  <a:pt x="1555400" y="1063666"/>
                  <a:pt x="1565682" y="1052725"/>
                </a:cubicBezTo>
                <a:cubicBezTo>
                  <a:pt x="1577172" y="1065568"/>
                  <a:pt x="1608012" y="1070087"/>
                  <a:pt x="1607408" y="1040357"/>
                </a:cubicBezTo>
                <a:cubicBezTo>
                  <a:pt x="1629179" y="1044163"/>
                  <a:pt x="1634622" y="1067946"/>
                  <a:pt x="1658811" y="1067946"/>
                </a:cubicBezTo>
                <a:cubicBezTo>
                  <a:pt x="1664255" y="1056769"/>
                  <a:pt x="1647926" y="1043450"/>
                  <a:pt x="1644902" y="1057006"/>
                </a:cubicBezTo>
                <a:cubicBezTo>
                  <a:pt x="1623736" y="1045352"/>
                  <a:pt x="1679977" y="1036314"/>
                  <a:pt x="1650951" y="1033936"/>
                </a:cubicBezTo>
                <a:cubicBezTo>
                  <a:pt x="1651555" y="1026087"/>
                  <a:pt x="1663045" y="1029180"/>
                  <a:pt x="1668487" y="1027752"/>
                </a:cubicBezTo>
                <a:close/>
                <a:moveTo>
                  <a:pt x="1920060" y="1018001"/>
                </a:moveTo>
                <a:cubicBezTo>
                  <a:pt x="1915827" y="1018001"/>
                  <a:pt x="1911595" y="1018477"/>
                  <a:pt x="1907965" y="1019666"/>
                </a:cubicBezTo>
                <a:cubicBezTo>
                  <a:pt x="1901314" y="1022044"/>
                  <a:pt x="1899499" y="1026802"/>
                  <a:pt x="1912199" y="1032984"/>
                </a:cubicBezTo>
                <a:cubicBezTo>
                  <a:pt x="1895266" y="1037503"/>
                  <a:pt x="1887405" y="1005158"/>
                  <a:pt x="1880753" y="1032271"/>
                </a:cubicBezTo>
                <a:cubicBezTo>
                  <a:pt x="1888009" y="1038931"/>
                  <a:pt x="1901918" y="1040120"/>
                  <a:pt x="1913409" y="1045114"/>
                </a:cubicBezTo>
                <a:cubicBezTo>
                  <a:pt x="1921271" y="1039882"/>
                  <a:pt x="1926713" y="1032034"/>
                  <a:pt x="1932156" y="1020618"/>
                </a:cubicBezTo>
                <a:cubicBezTo>
                  <a:pt x="1929131" y="1018953"/>
                  <a:pt x="1924898" y="1018239"/>
                  <a:pt x="1920060" y="1018001"/>
                </a:cubicBezTo>
                <a:close/>
                <a:moveTo>
                  <a:pt x="7298042" y="1017764"/>
                </a:moveTo>
                <a:cubicBezTo>
                  <a:pt x="7298042" y="1021807"/>
                  <a:pt x="7297438" y="1027991"/>
                  <a:pt x="7296833" y="1031795"/>
                </a:cubicBezTo>
                <a:cubicBezTo>
                  <a:pt x="7306508" y="1034649"/>
                  <a:pt x="7313766" y="1038931"/>
                  <a:pt x="7313160" y="1052725"/>
                </a:cubicBezTo>
                <a:cubicBezTo>
                  <a:pt x="7327070" y="1053914"/>
                  <a:pt x="7325860" y="1033936"/>
                  <a:pt x="7344608" y="1041547"/>
                </a:cubicBezTo>
                <a:cubicBezTo>
                  <a:pt x="7354283" y="1038455"/>
                  <a:pt x="7347027" y="1035601"/>
                  <a:pt x="7342793" y="1030131"/>
                </a:cubicBezTo>
                <a:cubicBezTo>
                  <a:pt x="7335537" y="1031082"/>
                  <a:pt x="7327675" y="1032510"/>
                  <a:pt x="7321022" y="1028228"/>
                </a:cubicBezTo>
                <a:cubicBezTo>
                  <a:pt x="7321022" y="1027515"/>
                  <a:pt x="7322231" y="1027515"/>
                  <a:pt x="7322231" y="1027039"/>
                </a:cubicBezTo>
                <a:cubicBezTo>
                  <a:pt x="7324047" y="1024185"/>
                  <a:pt x="7327070" y="1022758"/>
                  <a:pt x="7331303" y="1022283"/>
                </a:cubicBezTo>
                <a:cubicBezTo>
                  <a:pt x="7333117" y="1022044"/>
                  <a:pt x="7335537" y="1021807"/>
                  <a:pt x="7336746" y="1021569"/>
                </a:cubicBezTo>
                <a:cubicBezTo>
                  <a:pt x="7337955" y="1019904"/>
                  <a:pt x="7335537" y="1020380"/>
                  <a:pt x="7334932" y="1019666"/>
                </a:cubicBezTo>
                <a:cubicBezTo>
                  <a:pt x="7333721" y="1020618"/>
                  <a:pt x="7331908" y="1021093"/>
                  <a:pt x="7331303" y="1022283"/>
                </a:cubicBezTo>
                <a:cubicBezTo>
                  <a:pt x="7330698" y="1022283"/>
                  <a:pt x="7328884" y="1022044"/>
                  <a:pt x="7328884" y="1020142"/>
                </a:cubicBezTo>
                <a:cubicBezTo>
                  <a:pt x="7327070" y="1023947"/>
                  <a:pt x="7324651" y="1026087"/>
                  <a:pt x="7322231" y="1027039"/>
                </a:cubicBezTo>
                <a:cubicBezTo>
                  <a:pt x="7315580" y="1029656"/>
                  <a:pt x="7307113" y="1021569"/>
                  <a:pt x="7298042" y="1017764"/>
                </a:cubicBezTo>
                <a:close/>
                <a:moveTo>
                  <a:pt x="7448622" y="1013244"/>
                </a:moveTo>
                <a:cubicBezTo>
                  <a:pt x="7462533" y="1025612"/>
                  <a:pt x="7440762" y="1035125"/>
                  <a:pt x="7431691" y="1036314"/>
                </a:cubicBezTo>
                <a:cubicBezTo>
                  <a:pt x="7432900" y="1021331"/>
                  <a:pt x="7443785" y="1022283"/>
                  <a:pt x="7448622" y="1013244"/>
                </a:cubicBezTo>
                <a:close/>
                <a:moveTo>
                  <a:pt x="1224606" y="1005871"/>
                </a:moveTo>
                <a:cubicBezTo>
                  <a:pt x="1239724" y="1003493"/>
                  <a:pt x="1250610" y="1025850"/>
                  <a:pt x="1253634" y="1006347"/>
                </a:cubicBezTo>
                <a:cubicBezTo>
                  <a:pt x="1259076" y="1006823"/>
                  <a:pt x="1256657" y="1009914"/>
                  <a:pt x="1253634" y="1009677"/>
                </a:cubicBezTo>
                <a:cubicBezTo>
                  <a:pt x="1253030" y="1020380"/>
                  <a:pt x="1255449" y="1028228"/>
                  <a:pt x="1265124" y="1027277"/>
                </a:cubicBezTo>
                <a:cubicBezTo>
                  <a:pt x="1266938" y="1041547"/>
                  <a:pt x="1254844" y="1036790"/>
                  <a:pt x="1254239" y="1047493"/>
                </a:cubicBezTo>
                <a:cubicBezTo>
                  <a:pt x="1256053" y="1022520"/>
                  <a:pt x="1230653" y="1022520"/>
                  <a:pt x="1224606" y="1005871"/>
                </a:cubicBezTo>
                <a:close/>
                <a:moveTo>
                  <a:pt x="1718681" y="1003969"/>
                </a:moveTo>
                <a:cubicBezTo>
                  <a:pt x="1722309" y="1003969"/>
                  <a:pt x="1726543" y="1005397"/>
                  <a:pt x="1730171" y="1008725"/>
                </a:cubicBezTo>
                <a:cubicBezTo>
                  <a:pt x="1715053" y="1011579"/>
                  <a:pt x="1696306" y="1029893"/>
                  <a:pt x="1684211" y="1020618"/>
                </a:cubicBezTo>
                <a:cubicBezTo>
                  <a:pt x="1693887" y="1015385"/>
                  <a:pt x="1707191" y="1003969"/>
                  <a:pt x="1718681" y="1003969"/>
                </a:cubicBezTo>
                <a:close/>
                <a:moveTo>
                  <a:pt x="1656997" y="990175"/>
                </a:moveTo>
                <a:cubicBezTo>
                  <a:pt x="1655788" y="1009677"/>
                  <a:pt x="1629179" y="999450"/>
                  <a:pt x="1635831" y="1025374"/>
                </a:cubicBezTo>
                <a:cubicBezTo>
                  <a:pt x="1627971" y="1024661"/>
                  <a:pt x="1620108" y="1023709"/>
                  <a:pt x="1620108" y="1029417"/>
                </a:cubicBezTo>
                <a:cubicBezTo>
                  <a:pt x="1617688" y="1023472"/>
                  <a:pt x="1638250" y="992553"/>
                  <a:pt x="1656997" y="990175"/>
                </a:cubicBezTo>
                <a:close/>
                <a:moveTo>
                  <a:pt x="7273248" y="989461"/>
                </a:moveTo>
                <a:cubicBezTo>
                  <a:pt x="7270828" y="988985"/>
                  <a:pt x="7268409" y="989461"/>
                  <a:pt x="7266596" y="990651"/>
                </a:cubicBezTo>
                <a:cubicBezTo>
                  <a:pt x="7262363" y="993029"/>
                  <a:pt x="7259338" y="998261"/>
                  <a:pt x="7259943" y="1006347"/>
                </a:cubicBezTo>
                <a:cubicBezTo>
                  <a:pt x="7264781" y="1006823"/>
                  <a:pt x="7269619" y="1007536"/>
                  <a:pt x="7274458" y="1008012"/>
                </a:cubicBezTo>
                <a:cubicBezTo>
                  <a:pt x="7276876" y="1006110"/>
                  <a:pt x="7279899" y="1002067"/>
                  <a:pt x="7280504" y="994218"/>
                </a:cubicBezTo>
                <a:cubicBezTo>
                  <a:pt x="7278086" y="991364"/>
                  <a:pt x="7275062" y="989937"/>
                  <a:pt x="7273248" y="989461"/>
                </a:cubicBezTo>
                <a:close/>
                <a:moveTo>
                  <a:pt x="7365168" y="975667"/>
                </a:moveTo>
                <a:cubicBezTo>
                  <a:pt x="7383310" y="978997"/>
                  <a:pt x="7372425" y="987320"/>
                  <a:pt x="7371820" y="998737"/>
                </a:cubicBezTo>
                <a:cubicBezTo>
                  <a:pt x="7358517" y="999213"/>
                  <a:pt x="7356098" y="990888"/>
                  <a:pt x="7345817" y="988510"/>
                </a:cubicBezTo>
                <a:cubicBezTo>
                  <a:pt x="7345817" y="981851"/>
                  <a:pt x="7359121" y="986607"/>
                  <a:pt x="7366983" y="985656"/>
                </a:cubicBezTo>
                <a:close/>
                <a:moveTo>
                  <a:pt x="2034356" y="973289"/>
                </a:moveTo>
                <a:cubicBezTo>
                  <a:pt x="2028914" y="980423"/>
                  <a:pt x="2034961" y="1003969"/>
                  <a:pt x="2015610" y="996596"/>
                </a:cubicBezTo>
                <a:cubicBezTo>
                  <a:pt x="2014400" y="978997"/>
                  <a:pt x="2019239" y="972100"/>
                  <a:pt x="2034356" y="973289"/>
                </a:cubicBezTo>
                <a:close/>
                <a:moveTo>
                  <a:pt x="897440" y="972337"/>
                </a:moveTo>
                <a:cubicBezTo>
                  <a:pt x="916187" y="972813"/>
                  <a:pt x="929491" y="985181"/>
                  <a:pt x="950658" y="981375"/>
                </a:cubicBezTo>
                <a:cubicBezTo>
                  <a:pt x="947634" y="999926"/>
                  <a:pt x="928886" y="998261"/>
                  <a:pt x="914373" y="1004445"/>
                </a:cubicBezTo>
                <a:cubicBezTo>
                  <a:pt x="915582" y="991364"/>
                  <a:pt x="913163" y="983990"/>
                  <a:pt x="904092" y="981375"/>
                </a:cubicBezTo>
                <a:cubicBezTo>
                  <a:pt x="894416" y="989937"/>
                  <a:pt x="908325" y="994694"/>
                  <a:pt x="900464" y="1009201"/>
                </a:cubicBezTo>
                <a:lnTo>
                  <a:pt x="876878" y="1009201"/>
                </a:lnTo>
                <a:cubicBezTo>
                  <a:pt x="880507" y="992553"/>
                  <a:pt x="880507" y="992316"/>
                  <a:pt x="876878" y="976856"/>
                </a:cubicBezTo>
                <a:cubicBezTo>
                  <a:pt x="884136" y="973289"/>
                  <a:pt x="891393" y="972100"/>
                  <a:pt x="897440" y="972337"/>
                </a:cubicBezTo>
                <a:close/>
                <a:moveTo>
                  <a:pt x="1849911" y="964964"/>
                </a:moveTo>
                <a:cubicBezTo>
                  <a:pt x="1846282" y="964489"/>
                  <a:pt x="1842653" y="964727"/>
                  <a:pt x="1838421" y="965202"/>
                </a:cubicBezTo>
                <a:cubicBezTo>
                  <a:pt x="1830559" y="966392"/>
                  <a:pt x="1820883" y="968294"/>
                  <a:pt x="1807579" y="968057"/>
                </a:cubicBezTo>
                <a:cubicBezTo>
                  <a:pt x="1820278" y="998974"/>
                  <a:pt x="1840839" y="970911"/>
                  <a:pt x="1851725" y="997548"/>
                </a:cubicBezTo>
                <a:cubicBezTo>
                  <a:pt x="1847492" y="979234"/>
                  <a:pt x="1859587" y="980423"/>
                  <a:pt x="1860192" y="968532"/>
                </a:cubicBezTo>
                <a:cubicBezTo>
                  <a:pt x="1857167" y="966392"/>
                  <a:pt x="1853539" y="965440"/>
                  <a:pt x="1849911" y="964964"/>
                </a:cubicBezTo>
                <a:close/>
                <a:moveTo>
                  <a:pt x="1185298" y="961397"/>
                </a:moveTo>
                <a:cubicBezTo>
                  <a:pt x="1189530" y="960683"/>
                  <a:pt x="1208278" y="967343"/>
                  <a:pt x="1211907" y="970435"/>
                </a:cubicBezTo>
                <a:cubicBezTo>
                  <a:pt x="1211301" y="977569"/>
                  <a:pt x="1201626" y="974954"/>
                  <a:pt x="1194369" y="976143"/>
                </a:cubicBezTo>
                <a:lnTo>
                  <a:pt x="1193160" y="987083"/>
                </a:lnTo>
                <a:cubicBezTo>
                  <a:pt x="1176226" y="985656"/>
                  <a:pt x="1204045" y="966154"/>
                  <a:pt x="1187112" y="964727"/>
                </a:cubicBezTo>
                <a:cubicBezTo>
                  <a:pt x="1184088" y="962348"/>
                  <a:pt x="1183483" y="961635"/>
                  <a:pt x="1185298" y="961397"/>
                </a:cubicBezTo>
                <a:close/>
                <a:moveTo>
                  <a:pt x="1650951" y="959018"/>
                </a:moveTo>
                <a:cubicBezTo>
                  <a:pt x="1650346" y="977332"/>
                  <a:pt x="1634017" y="973289"/>
                  <a:pt x="1637645" y="994218"/>
                </a:cubicBezTo>
                <a:cubicBezTo>
                  <a:pt x="1625551" y="993029"/>
                  <a:pt x="1624341" y="974715"/>
                  <a:pt x="1604989" y="983277"/>
                </a:cubicBezTo>
                <a:cubicBezTo>
                  <a:pt x="1611037" y="965202"/>
                  <a:pt x="1635831" y="976143"/>
                  <a:pt x="1650951" y="959018"/>
                </a:cubicBezTo>
                <a:close/>
                <a:moveTo>
                  <a:pt x="2005330" y="939754"/>
                </a:moveTo>
                <a:cubicBezTo>
                  <a:pt x="2007144" y="944273"/>
                  <a:pt x="2008353" y="953549"/>
                  <a:pt x="2007749" y="964727"/>
                </a:cubicBezTo>
                <a:cubicBezTo>
                  <a:pt x="2000491" y="961872"/>
                  <a:pt x="1996864" y="950219"/>
                  <a:pt x="1985978" y="953786"/>
                </a:cubicBezTo>
                <a:cubicBezTo>
                  <a:pt x="1986582" y="938327"/>
                  <a:pt x="1996259" y="939041"/>
                  <a:pt x="2005330" y="939754"/>
                </a:cubicBezTo>
                <a:close/>
                <a:moveTo>
                  <a:pt x="1759199" y="931192"/>
                </a:moveTo>
                <a:cubicBezTo>
                  <a:pt x="1771294" y="936187"/>
                  <a:pt x="1751942" y="944035"/>
                  <a:pt x="1757385" y="958305"/>
                </a:cubicBezTo>
                <a:cubicBezTo>
                  <a:pt x="1748918" y="967343"/>
                  <a:pt x="1736219" y="978045"/>
                  <a:pt x="1733195" y="954262"/>
                </a:cubicBezTo>
                <a:cubicBezTo>
                  <a:pt x="1747104" y="963300"/>
                  <a:pt x="1756175" y="950456"/>
                  <a:pt x="1759199" y="931192"/>
                </a:cubicBezTo>
                <a:close/>
                <a:moveTo>
                  <a:pt x="1488274" y="928338"/>
                </a:moveTo>
                <a:cubicBezTo>
                  <a:pt x="1494322" y="938327"/>
                  <a:pt x="1502788" y="950695"/>
                  <a:pt x="1485250" y="950932"/>
                </a:cubicBezTo>
                <a:cubicBezTo>
                  <a:pt x="1487670" y="947365"/>
                  <a:pt x="1489484" y="941657"/>
                  <a:pt x="1487670" y="934046"/>
                </a:cubicBezTo>
                <a:cubicBezTo>
                  <a:pt x="1479203" y="933333"/>
                  <a:pt x="1472551" y="936424"/>
                  <a:pt x="1471945" y="945700"/>
                </a:cubicBezTo>
                <a:cubicBezTo>
                  <a:pt x="1459246" y="937138"/>
                  <a:pt x="1477389" y="925484"/>
                  <a:pt x="1488274" y="928338"/>
                </a:cubicBezTo>
                <a:close/>
                <a:moveTo>
                  <a:pt x="1613456" y="925008"/>
                </a:moveTo>
                <a:cubicBezTo>
                  <a:pt x="1614061" y="951645"/>
                  <a:pt x="1589267" y="932144"/>
                  <a:pt x="1582009" y="941181"/>
                </a:cubicBezTo>
                <a:cubicBezTo>
                  <a:pt x="1581404" y="950456"/>
                  <a:pt x="1597733" y="944749"/>
                  <a:pt x="1599547" y="952597"/>
                </a:cubicBezTo>
                <a:cubicBezTo>
                  <a:pt x="1595918" y="984466"/>
                  <a:pt x="1586242" y="983277"/>
                  <a:pt x="1582009" y="1019191"/>
                </a:cubicBezTo>
                <a:cubicBezTo>
                  <a:pt x="1569914" y="1018001"/>
                  <a:pt x="1563262" y="1021569"/>
                  <a:pt x="1562658" y="1031082"/>
                </a:cubicBezTo>
                <a:cubicBezTo>
                  <a:pt x="1555400" y="1028704"/>
                  <a:pt x="1558424" y="1017288"/>
                  <a:pt x="1559029" y="1008012"/>
                </a:cubicBezTo>
                <a:cubicBezTo>
                  <a:pt x="1563867" y="1008251"/>
                  <a:pt x="1561448" y="1015623"/>
                  <a:pt x="1563262" y="1019666"/>
                </a:cubicBezTo>
                <a:cubicBezTo>
                  <a:pt x="1585033" y="1012055"/>
                  <a:pt x="1572333" y="989937"/>
                  <a:pt x="1568705" y="968532"/>
                </a:cubicBezTo>
                <a:cubicBezTo>
                  <a:pt x="1550563" y="991840"/>
                  <a:pt x="1540282" y="964251"/>
                  <a:pt x="1516698" y="964251"/>
                </a:cubicBezTo>
                <a:cubicBezTo>
                  <a:pt x="1517302" y="956640"/>
                  <a:pt x="1530001" y="936662"/>
                  <a:pt x="1520325" y="935949"/>
                </a:cubicBezTo>
                <a:cubicBezTo>
                  <a:pt x="1540282" y="922393"/>
                  <a:pt x="1574752" y="940705"/>
                  <a:pt x="1613456" y="925008"/>
                </a:cubicBezTo>
                <a:close/>
                <a:moveTo>
                  <a:pt x="1048021" y="921204"/>
                </a:moveTo>
                <a:cubicBezTo>
                  <a:pt x="1046207" y="947841"/>
                  <a:pt x="1084911" y="922630"/>
                  <a:pt x="1088539" y="939278"/>
                </a:cubicBezTo>
                <a:cubicBezTo>
                  <a:pt x="1072210" y="949982"/>
                  <a:pt x="1086725" y="969721"/>
                  <a:pt x="1108496" y="961397"/>
                </a:cubicBezTo>
                <a:cubicBezTo>
                  <a:pt x="1104262" y="991602"/>
                  <a:pt x="1084911" y="961159"/>
                  <a:pt x="1075234" y="962348"/>
                </a:cubicBezTo>
                <a:cubicBezTo>
                  <a:pt x="1095796" y="972337"/>
                  <a:pt x="1067373" y="982564"/>
                  <a:pt x="1061325" y="973765"/>
                </a:cubicBezTo>
                <a:cubicBezTo>
                  <a:pt x="1057697" y="957116"/>
                  <a:pt x="1077654" y="966867"/>
                  <a:pt x="1072210" y="944035"/>
                </a:cubicBezTo>
                <a:cubicBezTo>
                  <a:pt x="1057093" y="924295"/>
                  <a:pt x="1028064" y="958305"/>
                  <a:pt x="1012945" y="938803"/>
                </a:cubicBezTo>
                <a:cubicBezTo>
                  <a:pt x="1026855" y="931668"/>
                  <a:pt x="1035322" y="938565"/>
                  <a:pt x="1048021" y="921204"/>
                </a:cubicBezTo>
                <a:close/>
                <a:moveTo>
                  <a:pt x="1400587" y="919063"/>
                </a:moveTo>
                <a:cubicBezTo>
                  <a:pt x="1396957" y="944749"/>
                  <a:pt x="1362487" y="936187"/>
                  <a:pt x="1346159" y="957116"/>
                </a:cubicBezTo>
                <a:cubicBezTo>
                  <a:pt x="1355835" y="933809"/>
                  <a:pt x="1382444" y="932381"/>
                  <a:pt x="1400587" y="919063"/>
                </a:cubicBezTo>
                <a:close/>
                <a:moveTo>
                  <a:pt x="1425381" y="916209"/>
                </a:moveTo>
                <a:cubicBezTo>
                  <a:pt x="1438080" y="931668"/>
                  <a:pt x="1438685" y="924532"/>
                  <a:pt x="1452595" y="916685"/>
                </a:cubicBezTo>
                <a:cubicBezTo>
                  <a:pt x="1449570" y="930955"/>
                  <a:pt x="1437476" y="935473"/>
                  <a:pt x="1421752" y="932144"/>
                </a:cubicBezTo>
                <a:cubicBezTo>
                  <a:pt x="1424171" y="928814"/>
                  <a:pt x="1424776" y="923343"/>
                  <a:pt x="1425381" y="916209"/>
                </a:cubicBezTo>
                <a:close/>
                <a:moveTo>
                  <a:pt x="1981139" y="915496"/>
                </a:moveTo>
                <a:cubicBezTo>
                  <a:pt x="1987187" y="939516"/>
                  <a:pt x="1970859" y="937851"/>
                  <a:pt x="1967835" y="952597"/>
                </a:cubicBezTo>
                <a:cubicBezTo>
                  <a:pt x="1954531" y="947128"/>
                  <a:pt x="1926108" y="957829"/>
                  <a:pt x="1928527" y="917398"/>
                </a:cubicBezTo>
                <a:cubicBezTo>
                  <a:pt x="1934575" y="930716"/>
                  <a:pt x="1943041" y="946176"/>
                  <a:pt x="1963602" y="941657"/>
                </a:cubicBezTo>
                <a:cubicBezTo>
                  <a:pt x="1944855" y="910025"/>
                  <a:pt x="1970254" y="948791"/>
                  <a:pt x="1981139" y="915496"/>
                </a:cubicBezTo>
                <a:close/>
                <a:moveTo>
                  <a:pt x="1684211" y="912641"/>
                </a:moveTo>
                <a:cubicBezTo>
                  <a:pt x="1691468" y="925008"/>
                  <a:pt x="1683606" y="920252"/>
                  <a:pt x="1683001" y="935949"/>
                </a:cubicBezTo>
                <a:cubicBezTo>
                  <a:pt x="1701749" y="923819"/>
                  <a:pt x="1722915" y="950932"/>
                  <a:pt x="1729566" y="970911"/>
                </a:cubicBezTo>
                <a:cubicBezTo>
                  <a:pt x="1716867" y="971862"/>
                  <a:pt x="1709005" y="969007"/>
                  <a:pt x="1704167" y="964727"/>
                </a:cubicBezTo>
                <a:cubicBezTo>
                  <a:pt x="1697515" y="991602"/>
                  <a:pt x="1723520" y="982564"/>
                  <a:pt x="1733195" y="993029"/>
                </a:cubicBezTo>
                <a:cubicBezTo>
                  <a:pt x="1738033" y="1003256"/>
                  <a:pt x="1705377" y="986607"/>
                  <a:pt x="1689654" y="998737"/>
                </a:cubicBezTo>
                <a:cubicBezTo>
                  <a:pt x="1683001" y="982564"/>
                  <a:pt x="1683606" y="974715"/>
                  <a:pt x="1689654" y="957829"/>
                </a:cubicBezTo>
                <a:cubicBezTo>
                  <a:pt x="1681792" y="960921"/>
                  <a:pt x="1661836" y="951645"/>
                  <a:pt x="1663650" y="963537"/>
                </a:cubicBezTo>
                <a:cubicBezTo>
                  <a:pt x="1655788" y="960921"/>
                  <a:pt x="1659416" y="945463"/>
                  <a:pt x="1644298" y="951884"/>
                </a:cubicBezTo>
                <a:cubicBezTo>
                  <a:pt x="1649741" y="942609"/>
                  <a:pt x="1669696" y="948078"/>
                  <a:pt x="1677558" y="941181"/>
                </a:cubicBezTo>
                <a:cubicBezTo>
                  <a:pt x="1684211" y="922154"/>
                  <a:pt x="1663045" y="935949"/>
                  <a:pt x="1669092" y="919063"/>
                </a:cubicBezTo>
                <a:cubicBezTo>
                  <a:pt x="1673930" y="919300"/>
                  <a:pt x="1673930" y="915733"/>
                  <a:pt x="1673930" y="913830"/>
                </a:cubicBezTo>
                <a:close/>
                <a:moveTo>
                  <a:pt x="1646112" y="909311"/>
                </a:moveTo>
                <a:cubicBezTo>
                  <a:pt x="1640669" y="923106"/>
                  <a:pt x="1637645" y="937376"/>
                  <a:pt x="1622527" y="938327"/>
                </a:cubicBezTo>
                <a:cubicBezTo>
                  <a:pt x="1630389" y="930716"/>
                  <a:pt x="1629179" y="907885"/>
                  <a:pt x="1646112" y="909311"/>
                </a:cubicBezTo>
                <a:close/>
                <a:moveTo>
                  <a:pt x="1545725" y="900036"/>
                </a:moveTo>
                <a:cubicBezTo>
                  <a:pt x="1551168" y="900749"/>
                  <a:pt x="1557820" y="902890"/>
                  <a:pt x="1560843" y="900988"/>
                </a:cubicBezTo>
                <a:cubicBezTo>
                  <a:pt x="1556610" y="906933"/>
                  <a:pt x="1557820" y="912879"/>
                  <a:pt x="1564472" y="911452"/>
                </a:cubicBezTo>
                <a:cubicBezTo>
                  <a:pt x="1554795" y="933809"/>
                  <a:pt x="1550563" y="897658"/>
                  <a:pt x="1534840" y="906933"/>
                </a:cubicBezTo>
                <a:cubicBezTo>
                  <a:pt x="1535444" y="899560"/>
                  <a:pt x="1540282" y="899323"/>
                  <a:pt x="1545725" y="900036"/>
                </a:cubicBezTo>
                <a:close/>
                <a:moveTo>
                  <a:pt x="12467993" y="897182"/>
                </a:moveTo>
                <a:cubicBezTo>
                  <a:pt x="12474644" y="905506"/>
                  <a:pt x="12473435" y="921441"/>
                  <a:pt x="12487948" y="922630"/>
                </a:cubicBezTo>
                <a:lnTo>
                  <a:pt x="12486134" y="957829"/>
                </a:lnTo>
                <a:cubicBezTo>
                  <a:pt x="12481901" y="949506"/>
                  <a:pt x="12463154" y="922393"/>
                  <a:pt x="12466177" y="958305"/>
                </a:cubicBezTo>
                <a:cubicBezTo>
                  <a:pt x="12457106" y="943559"/>
                  <a:pt x="12454687" y="945463"/>
                  <a:pt x="12439569" y="951884"/>
                </a:cubicBezTo>
                <a:cubicBezTo>
                  <a:pt x="12435940" y="935711"/>
                  <a:pt x="12455897" y="925484"/>
                  <a:pt x="12435940" y="927862"/>
                </a:cubicBezTo>
                <a:cubicBezTo>
                  <a:pt x="12437151" y="904079"/>
                  <a:pt x="12459526" y="912165"/>
                  <a:pt x="12467993" y="897182"/>
                </a:cubicBezTo>
                <a:close/>
                <a:moveTo>
                  <a:pt x="7210354" y="888620"/>
                </a:moveTo>
                <a:cubicBezTo>
                  <a:pt x="7214587" y="892426"/>
                  <a:pt x="7218820" y="899799"/>
                  <a:pt x="7220636" y="905268"/>
                </a:cubicBezTo>
                <a:cubicBezTo>
                  <a:pt x="7223054" y="901938"/>
                  <a:pt x="7227287" y="900512"/>
                  <a:pt x="7234544" y="899560"/>
                </a:cubicBezTo>
                <a:cubicBezTo>
                  <a:pt x="7238172" y="915496"/>
                  <a:pt x="7225473" y="909311"/>
                  <a:pt x="7216402" y="910263"/>
                </a:cubicBezTo>
                <a:cubicBezTo>
                  <a:pt x="7211564" y="906457"/>
                  <a:pt x="7209750" y="899084"/>
                  <a:pt x="7210354" y="888620"/>
                </a:cubicBezTo>
                <a:close/>
                <a:moveTo>
                  <a:pt x="1668487" y="885766"/>
                </a:moveTo>
                <a:cubicBezTo>
                  <a:pt x="1671511" y="886717"/>
                  <a:pt x="1675140" y="889333"/>
                  <a:pt x="1677558" y="893615"/>
                </a:cubicBezTo>
                <a:cubicBezTo>
                  <a:pt x="1668487" y="923106"/>
                  <a:pt x="1660626" y="878869"/>
                  <a:pt x="1639461" y="901701"/>
                </a:cubicBezTo>
                <a:cubicBezTo>
                  <a:pt x="1642484" y="895280"/>
                  <a:pt x="1649135" y="888620"/>
                  <a:pt x="1656997" y="886242"/>
                </a:cubicBezTo>
                <a:cubicBezTo>
                  <a:pt x="1660626" y="885053"/>
                  <a:pt x="1664859" y="884577"/>
                  <a:pt x="1668487" y="885766"/>
                </a:cubicBezTo>
                <a:close/>
                <a:moveTo>
                  <a:pt x="1692677" y="882436"/>
                </a:moveTo>
                <a:cubicBezTo>
                  <a:pt x="1698724" y="890047"/>
                  <a:pt x="1705377" y="893852"/>
                  <a:pt x="1705982" y="908122"/>
                </a:cubicBezTo>
                <a:cubicBezTo>
                  <a:pt x="1696306" y="907171"/>
                  <a:pt x="1691468" y="900036"/>
                  <a:pt x="1692677" y="882436"/>
                </a:cubicBezTo>
                <a:close/>
                <a:moveTo>
                  <a:pt x="1872286" y="871258"/>
                </a:moveTo>
                <a:cubicBezTo>
                  <a:pt x="1875309" y="871734"/>
                  <a:pt x="1877728" y="872686"/>
                  <a:pt x="1878937" y="874588"/>
                </a:cubicBezTo>
                <a:cubicBezTo>
                  <a:pt x="1872286" y="885053"/>
                  <a:pt x="1858982" y="886004"/>
                  <a:pt x="1848096" y="889572"/>
                </a:cubicBezTo>
                <a:cubicBezTo>
                  <a:pt x="1849911" y="880772"/>
                  <a:pt x="1856562" y="875301"/>
                  <a:pt x="1862610" y="872923"/>
                </a:cubicBezTo>
                <a:cubicBezTo>
                  <a:pt x="1866238" y="871734"/>
                  <a:pt x="1869263" y="871021"/>
                  <a:pt x="1872286" y="871258"/>
                </a:cubicBezTo>
                <a:close/>
                <a:moveTo>
                  <a:pt x="1192555" y="870545"/>
                </a:moveTo>
                <a:cubicBezTo>
                  <a:pt x="1201626" y="886717"/>
                  <a:pt x="1191951" y="922630"/>
                  <a:pt x="1198602" y="944511"/>
                </a:cubicBezTo>
                <a:cubicBezTo>
                  <a:pt x="1187112" y="927862"/>
                  <a:pt x="1180460" y="910025"/>
                  <a:pt x="1155061" y="921204"/>
                </a:cubicBezTo>
                <a:cubicBezTo>
                  <a:pt x="1163527" y="898847"/>
                  <a:pt x="1190741" y="899560"/>
                  <a:pt x="1192555" y="870545"/>
                </a:cubicBezTo>
                <a:close/>
                <a:moveTo>
                  <a:pt x="1423567" y="865313"/>
                </a:moveTo>
                <a:cubicBezTo>
                  <a:pt x="1429009" y="866739"/>
                  <a:pt x="1433243" y="884577"/>
                  <a:pt x="1436871" y="887669"/>
                </a:cubicBezTo>
                <a:cubicBezTo>
                  <a:pt x="1447151" y="884815"/>
                  <a:pt x="1453200" y="871497"/>
                  <a:pt x="1462270" y="881961"/>
                </a:cubicBezTo>
                <a:cubicBezTo>
                  <a:pt x="1459246" y="887669"/>
                  <a:pt x="1451990" y="889096"/>
                  <a:pt x="1453804" y="898847"/>
                </a:cubicBezTo>
                <a:cubicBezTo>
                  <a:pt x="1446547" y="894328"/>
                  <a:pt x="1434452" y="893615"/>
                  <a:pt x="1427195" y="889096"/>
                </a:cubicBezTo>
                <a:cubicBezTo>
                  <a:pt x="1427800" y="877442"/>
                  <a:pt x="1425381" y="873160"/>
                  <a:pt x="1418123" y="870545"/>
                </a:cubicBezTo>
                <a:cubicBezTo>
                  <a:pt x="1420543" y="866263"/>
                  <a:pt x="1421752" y="864837"/>
                  <a:pt x="1423567" y="865313"/>
                </a:cubicBezTo>
                <a:close/>
                <a:moveTo>
                  <a:pt x="322329" y="856275"/>
                </a:moveTo>
                <a:cubicBezTo>
                  <a:pt x="322933" y="855799"/>
                  <a:pt x="322933" y="856037"/>
                  <a:pt x="324143" y="856512"/>
                </a:cubicBezTo>
                <a:cubicBezTo>
                  <a:pt x="329586" y="859842"/>
                  <a:pt x="344705" y="877442"/>
                  <a:pt x="353776" y="865789"/>
                </a:cubicBezTo>
                <a:cubicBezTo>
                  <a:pt x="362242" y="868404"/>
                  <a:pt x="339262" y="879344"/>
                  <a:pt x="332005" y="882436"/>
                </a:cubicBezTo>
                <a:cubicBezTo>
                  <a:pt x="330796" y="871258"/>
                  <a:pt x="328982" y="863885"/>
                  <a:pt x="322933" y="859605"/>
                </a:cubicBezTo>
                <a:cubicBezTo>
                  <a:pt x="322329" y="857702"/>
                  <a:pt x="322329" y="856750"/>
                  <a:pt x="322329" y="856275"/>
                </a:cubicBezTo>
                <a:close/>
                <a:moveTo>
                  <a:pt x="11487098" y="856037"/>
                </a:moveTo>
                <a:cubicBezTo>
                  <a:pt x="11477423" y="857226"/>
                  <a:pt x="11470166" y="860556"/>
                  <a:pt x="11467142" y="868167"/>
                </a:cubicBezTo>
                <a:cubicBezTo>
                  <a:pt x="11482261" y="859605"/>
                  <a:pt x="11468352" y="888144"/>
                  <a:pt x="11485889" y="879583"/>
                </a:cubicBezTo>
                <a:close/>
                <a:moveTo>
                  <a:pt x="1794274" y="855561"/>
                </a:moveTo>
                <a:cubicBezTo>
                  <a:pt x="1806974" y="857226"/>
                  <a:pt x="1823907" y="863648"/>
                  <a:pt x="1835396" y="856037"/>
                </a:cubicBezTo>
                <a:cubicBezTo>
                  <a:pt x="1823907" y="892187"/>
                  <a:pt x="1802135" y="856037"/>
                  <a:pt x="1777341" y="869356"/>
                </a:cubicBezTo>
                <a:cubicBezTo>
                  <a:pt x="1777341" y="861507"/>
                  <a:pt x="1779760" y="857702"/>
                  <a:pt x="1783388" y="856037"/>
                </a:cubicBezTo>
                <a:cubicBezTo>
                  <a:pt x="1786413" y="854848"/>
                  <a:pt x="1790041" y="854848"/>
                  <a:pt x="1794274" y="855561"/>
                </a:cubicBezTo>
                <a:close/>
                <a:moveTo>
                  <a:pt x="7246639" y="854848"/>
                </a:moveTo>
                <a:cubicBezTo>
                  <a:pt x="7261758" y="864361"/>
                  <a:pt x="7272038" y="879820"/>
                  <a:pt x="7292600" y="881485"/>
                </a:cubicBezTo>
                <a:cubicBezTo>
                  <a:pt x="7291994" y="893615"/>
                  <a:pt x="7272038" y="881723"/>
                  <a:pt x="7275062" y="900512"/>
                </a:cubicBezTo>
                <a:cubicBezTo>
                  <a:pt x="7266596" y="889572"/>
                  <a:pt x="7260547" y="880772"/>
                  <a:pt x="7256919" y="868167"/>
                </a:cubicBezTo>
                <a:cubicBezTo>
                  <a:pt x="7250267" y="869593"/>
                  <a:pt x="7251478" y="879583"/>
                  <a:pt x="7250873" y="887669"/>
                </a:cubicBezTo>
                <a:cubicBezTo>
                  <a:pt x="7244824" y="879107"/>
                  <a:pt x="7241196" y="862696"/>
                  <a:pt x="7246639" y="854848"/>
                </a:cubicBezTo>
                <a:close/>
                <a:moveTo>
                  <a:pt x="1182879" y="847951"/>
                </a:moveTo>
                <a:cubicBezTo>
                  <a:pt x="1187716" y="847236"/>
                  <a:pt x="1192555" y="848901"/>
                  <a:pt x="1196183" y="853183"/>
                </a:cubicBezTo>
                <a:cubicBezTo>
                  <a:pt x="1189530" y="870306"/>
                  <a:pt x="1177436" y="855323"/>
                  <a:pt x="1158689" y="863648"/>
                </a:cubicBezTo>
                <a:cubicBezTo>
                  <a:pt x="1152642" y="867452"/>
                  <a:pt x="1168365" y="849853"/>
                  <a:pt x="1182879" y="847951"/>
                </a:cubicBezTo>
                <a:close/>
                <a:moveTo>
                  <a:pt x="7106339" y="837011"/>
                </a:moveTo>
                <a:cubicBezTo>
                  <a:pt x="7115410" y="838913"/>
                  <a:pt x="7123876" y="846523"/>
                  <a:pt x="7123271" y="857226"/>
                </a:cubicBezTo>
                <a:cubicBezTo>
                  <a:pt x="7111781" y="851994"/>
                  <a:pt x="7102709" y="846762"/>
                  <a:pt x="7085778" y="849853"/>
                </a:cubicBezTo>
                <a:cubicBezTo>
                  <a:pt x="7087591" y="839150"/>
                  <a:pt x="7097268" y="835107"/>
                  <a:pt x="7106339" y="837011"/>
                </a:cubicBezTo>
                <a:close/>
                <a:moveTo>
                  <a:pt x="1911595" y="827735"/>
                </a:moveTo>
                <a:cubicBezTo>
                  <a:pt x="1914013" y="821788"/>
                  <a:pt x="1927922" y="849616"/>
                  <a:pt x="1929131" y="864124"/>
                </a:cubicBezTo>
                <a:cubicBezTo>
                  <a:pt x="1928527" y="878393"/>
                  <a:pt x="1903733" y="869832"/>
                  <a:pt x="1901918" y="863648"/>
                </a:cubicBezTo>
                <a:cubicBezTo>
                  <a:pt x="1894057" y="862934"/>
                  <a:pt x="1932156" y="857940"/>
                  <a:pt x="1911595" y="827735"/>
                </a:cubicBezTo>
                <a:close/>
                <a:moveTo>
                  <a:pt x="11693920" y="823692"/>
                </a:moveTo>
                <a:cubicBezTo>
                  <a:pt x="11699364" y="824405"/>
                  <a:pt x="11706015" y="827735"/>
                  <a:pt x="11712668" y="829399"/>
                </a:cubicBezTo>
                <a:lnTo>
                  <a:pt x="11711481" y="832279"/>
                </a:lnTo>
                <a:lnTo>
                  <a:pt x="11711458" y="832253"/>
                </a:lnTo>
                <a:cubicBezTo>
                  <a:pt x="11711458" y="835346"/>
                  <a:pt x="11710249" y="837011"/>
                  <a:pt x="11709040" y="838200"/>
                </a:cubicBezTo>
                <a:lnTo>
                  <a:pt x="11711481" y="832279"/>
                </a:lnTo>
                <a:lnTo>
                  <a:pt x="11724234" y="846940"/>
                </a:lnTo>
                <a:cubicBezTo>
                  <a:pt x="11728089" y="853005"/>
                  <a:pt x="11730206" y="859605"/>
                  <a:pt x="11726576" y="864837"/>
                </a:cubicBezTo>
                <a:cubicBezTo>
                  <a:pt x="11709644" y="868880"/>
                  <a:pt x="11719925" y="845573"/>
                  <a:pt x="11701178" y="853183"/>
                </a:cubicBezTo>
                <a:cubicBezTo>
                  <a:pt x="11698759" y="843432"/>
                  <a:pt x="11703596" y="842004"/>
                  <a:pt x="11707225" y="839389"/>
                </a:cubicBezTo>
                <a:cubicBezTo>
                  <a:pt x="11700573" y="844621"/>
                  <a:pt x="11687874" y="842243"/>
                  <a:pt x="11682430" y="835821"/>
                </a:cubicBezTo>
                <a:cubicBezTo>
                  <a:pt x="11684244" y="825356"/>
                  <a:pt x="11688478" y="822977"/>
                  <a:pt x="11693920" y="823692"/>
                </a:cubicBezTo>
                <a:close/>
                <a:moveTo>
                  <a:pt x="1667278" y="806805"/>
                </a:moveTo>
                <a:cubicBezTo>
                  <a:pt x="1658206" y="819410"/>
                  <a:pt x="1653974" y="836296"/>
                  <a:pt x="1628575" y="834157"/>
                </a:cubicBezTo>
                <a:cubicBezTo>
                  <a:pt x="1646112" y="829875"/>
                  <a:pt x="1644298" y="806805"/>
                  <a:pt x="1667278" y="806805"/>
                </a:cubicBezTo>
                <a:close/>
                <a:moveTo>
                  <a:pt x="11360102" y="780881"/>
                </a:moveTo>
                <a:cubicBezTo>
                  <a:pt x="11364941" y="781595"/>
                  <a:pt x="11369173" y="784211"/>
                  <a:pt x="11370987" y="788254"/>
                </a:cubicBezTo>
                <a:cubicBezTo>
                  <a:pt x="11372197" y="800859"/>
                  <a:pt x="11367359" y="808470"/>
                  <a:pt x="11358893" y="805854"/>
                </a:cubicBezTo>
                <a:cubicBezTo>
                  <a:pt x="11357079" y="801573"/>
                  <a:pt x="11359497" y="800146"/>
                  <a:pt x="11363731" y="800622"/>
                </a:cubicBezTo>
                <a:cubicBezTo>
                  <a:pt x="11361916" y="800384"/>
                  <a:pt x="11335913" y="787541"/>
                  <a:pt x="11339541" y="806329"/>
                </a:cubicBezTo>
                <a:cubicBezTo>
                  <a:pt x="11325632" y="789682"/>
                  <a:pt x="11346193" y="778266"/>
                  <a:pt x="11360102" y="780881"/>
                </a:cubicBezTo>
                <a:close/>
                <a:moveTo>
                  <a:pt x="11534268" y="759952"/>
                </a:moveTo>
                <a:cubicBezTo>
                  <a:pt x="11533664" y="760428"/>
                  <a:pt x="11534268" y="761854"/>
                  <a:pt x="11537897" y="765184"/>
                </a:cubicBezTo>
                <a:cubicBezTo>
                  <a:pt x="11545154" y="765897"/>
                  <a:pt x="11537897" y="775411"/>
                  <a:pt x="11533059" y="776838"/>
                </a:cubicBezTo>
                <a:cubicBezTo>
                  <a:pt x="11514312" y="761380"/>
                  <a:pt x="11506450" y="770416"/>
                  <a:pt x="11486493" y="782546"/>
                </a:cubicBezTo>
                <a:cubicBezTo>
                  <a:pt x="11504636" y="800146"/>
                  <a:pt x="11512498" y="832967"/>
                  <a:pt x="11530640" y="850329"/>
                </a:cubicBezTo>
                <a:cubicBezTo>
                  <a:pt x="11546363" y="827735"/>
                  <a:pt x="11545154" y="807757"/>
                  <a:pt x="11556644" y="771130"/>
                </a:cubicBezTo>
                <a:cubicBezTo>
                  <a:pt x="11553620" y="768038"/>
                  <a:pt x="11536687" y="758763"/>
                  <a:pt x="11534268" y="759952"/>
                </a:cubicBezTo>
                <a:close/>
                <a:moveTo>
                  <a:pt x="1956950" y="751866"/>
                </a:moveTo>
                <a:cubicBezTo>
                  <a:pt x="1950902" y="754957"/>
                  <a:pt x="1953926" y="769466"/>
                  <a:pt x="1946670" y="771605"/>
                </a:cubicBezTo>
                <a:cubicBezTo>
                  <a:pt x="1941832" y="771368"/>
                  <a:pt x="1934575" y="771130"/>
                  <a:pt x="1931551" y="776838"/>
                </a:cubicBezTo>
                <a:cubicBezTo>
                  <a:pt x="1938807" y="779455"/>
                  <a:pt x="1940621" y="785163"/>
                  <a:pt x="1950902" y="782070"/>
                </a:cubicBezTo>
                <a:cubicBezTo>
                  <a:pt x="1951507" y="772320"/>
                  <a:pt x="1956345" y="768990"/>
                  <a:pt x="1966021" y="771605"/>
                </a:cubicBezTo>
                <a:lnTo>
                  <a:pt x="1966626" y="753768"/>
                </a:lnTo>
                <a:cubicBezTo>
                  <a:pt x="1962393" y="751390"/>
                  <a:pt x="1958764" y="750914"/>
                  <a:pt x="1956950" y="751866"/>
                </a:cubicBezTo>
                <a:close/>
                <a:moveTo>
                  <a:pt x="1666673" y="745682"/>
                </a:moveTo>
                <a:cubicBezTo>
                  <a:pt x="1683606" y="750677"/>
                  <a:pt x="1692073" y="762093"/>
                  <a:pt x="1708400" y="767088"/>
                </a:cubicBezTo>
                <a:cubicBezTo>
                  <a:pt x="1715657" y="765897"/>
                  <a:pt x="1709610" y="758287"/>
                  <a:pt x="1704772" y="756147"/>
                </a:cubicBezTo>
                <a:cubicBezTo>
                  <a:pt x="1721704" y="755672"/>
                  <a:pt x="1759199" y="762330"/>
                  <a:pt x="1765851" y="768277"/>
                </a:cubicBezTo>
                <a:cubicBezTo>
                  <a:pt x="1759199" y="765897"/>
                  <a:pt x="1756175" y="770655"/>
                  <a:pt x="1756175" y="778027"/>
                </a:cubicBezTo>
                <a:cubicBezTo>
                  <a:pt x="1710214" y="779455"/>
                  <a:pt x="1687235" y="768990"/>
                  <a:pt x="1632808" y="760665"/>
                </a:cubicBezTo>
                <a:cubicBezTo>
                  <a:pt x="1635831" y="746633"/>
                  <a:pt x="1656997" y="752103"/>
                  <a:pt x="1666673" y="745682"/>
                </a:cubicBezTo>
                <a:close/>
                <a:moveTo>
                  <a:pt x="11461699" y="739975"/>
                </a:moveTo>
                <a:cubicBezTo>
                  <a:pt x="11443557" y="744493"/>
                  <a:pt x="11465327" y="777314"/>
                  <a:pt x="11447790" y="789682"/>
                </a:cubicBezTo>
                <a:cubicBezTo>
                  <a:pt x="11471375" y="791821"/>
                  <a:pt x="11473189" y="767801"/>
                  <a:pt x="11472585" y="739975"/>
                </a:cubicBezTo>
                <a:cubicBezTo>
                  <a:pt x="11467747" y="739260"/>
                  <a:pt x="11464723" y="739260"/>
                  <a:pt x="11461699" y="739975"/>
                </a:cubicBezTo>
                <a:close/>
                <a:moveTo>
                  <a:pt x="1582009" y="739975"/>
                </a:moveTo>
                <a:cubicBezTo>
                  <a:pt x="1572938" y="755196"/>
                  <a:pt x="1554795" y="756385"/>
                  <a:pt x="1536654" y="754720"/>
                </a:cubicBezTo>
                <a:cubicBezTo>
                  <a:pt x="1550563" y="732126"/>
                  <a:pt x="1557820" y="748536"/>
                  <a:pt x="1582009" y="739975"/>
                </a:cubicBezTo>
                <a:close/>
                <a:moveTo>
                  <a:pt x="11412715" y="732839"/>
                </a:moveTo>
                <a:cubicBezTo>
                  <a:pt x="11380663" y="783735"/>
                  <a:pt x="11320795" y="740925"/>
                  <a:pt x="11277857" y="780881"/>
                </a:cubicBezTo>
                <a:cubicBezTo>
                  <a:pt x="11293581" y="796103"/>
                  <a:pt x="11322004" y="764708"/>
                  <a:pt x="11326841" y="806805"/>
                </a:cubicBezTo>
                <a:cubicBezTo>
                  <a:pt x="11311723" y="819410"/>
                  <a:pt x="11298418" y="794675"/>
                  <a:pt x="11296604" y="824167"/>
                </a:cubicBezTo>
                <a:cubicBezTo>
                  <a:pt x="11318375" y="818221"/>
                  <a:pt x="11322609" y="834394"/>
                  <a:pt x="11337122" y="837485"/>
                </a:cubicBezTo>
                <a:cubicBezTo>
                  <a:pt x="11356474" y="831302"/>
                  <a:pt x="11382477" y="795627"/>
                  <a:pt x="11407877" y="819649"/>
                </a:cubicBezTo>
                <a:cubicBezTo>
                  <a:pt x="11416949" y="788730"/>
                  <a:pt x="11424809" y="775649"/>
                  <a:pt x="11433276" y="746633"/>
                </a:cubicBezTo>
                <a:cubicBezTo>
                  <a:pt x="11416344" y="753293"/>
                  <a:pt x="11429648" y="726418"/>
                  <a:pt x="11412715" y="732839"/>
                </a:cubicBezTo>
                <a:close/>
                <a:moveTo>
                  <a:pt x="12148688" y="729748"/>
                </a:moveTo>
                <a:cubicBezTo>
                  <a:pt x="12152316" y="730224"/>
                  <a:pt x="12155340" y="731650"/>
                  <a:pt x="12157154" y="734741"/>
                </a:cubicBezTo>
                <a:cubicBezTo>
                  <a:pt x="12155945" y="753768"/>
                  <a:pt x="12137198" y="736882"/>
                  <a:pt x="12119055" y="746633"/>
                </a:cubicBezTo>
                <a:cubicBezTo>
                  <a:pt x="12120869" y="741164"/>
                  <a:pt x="12128731" y="734980"/>
                  <a:pt x="12136593" y="731887"/>
                </a:cubicBezTo>
                <a:cubicBezTo>
                  <a:pt x="12140826" y="730224"/>
                  <a:pt x="12145060" y="729509"/>
                  <a:pt x="12148688" y="729748"/>
                </a:cubicBezTo>
                <a:close/>
                <a:moveTo>
                  <a:pt x="1894057" y="725942"/>
                </a:moveTo>
                <a:cubicBezTo>
                  <a:pt x="1883776" y="733076"/>
                  <a:pt x="1900104" y="738310"/>
                  <a:pt x="1890429" y="743303"/>
                </a:cubicBezTo>
                <a:cubicBezTo>
                  <a:pt x="1880753" y="742590"/>
                  <a:pt x="1883776" y="727131"/>
                  <a:pt x="1871681" y="729985"/>
                </a:cubicBezTo>
                <a:cubicBezTo>
                  <a:pt x="1872891" y="748061"/>
                  <a:pt x="1845677" y="725466"/>
                  <a:pt x="1847492" y="741638"/>
                </a:cubicBezTo>
                <a:cubicBezTo>
                  <a:pt x="1858982" y="746396"/>
                  <a:pt x="1842049" y="750677"/>
                  <a:pt x="1851120" y="759476"/>
                </a:cubicBezTo>
                <a:cubicBezTo>
                  <a:pt x="1868052" y="759000"/>
                  <a:pt x="1888009" y="747347"/>
                  <a:pt x="1879543" y="766612"/>
                </a:cubicBezTo>
                <a:cubicBezTo>
                  <a:pt x="1901918" y="754482"/>
                  <a:pt x="1911595" y="790632"/>
                  <a:pt x="1922480" y="771605"/>
                </a:cubicBezTo>
                <a:cubicBezTo>
                  <a:pt x="1917641" y="769227"/>
                  <a:pt x="1912804" y="765184"/>
                  <a:pt x="1908570" y="760665"/>
                </a:cubicBezTo>
                <a:cubicBezTo>
                  <a:pt x="1920666" y="759715"/>
                  <a:pt x="1937598" y="763282"/>
                  <a:pt x="1938203" y="747585"/>
                </a:cubicBezTo>
                <a:cubicBezTo>
                  <a:pt x="1912804" y="733315"/>
                  <a:pt x="1924294" y="742114"/>
                  <a:pt x="1904337" y="754244"/>
                </a:cubicBezTo>
                <a:cubicBezTo>
                  <a:pt x="1904942" y="744493"/>
                  <a:pt x="1904942" y="736882"/>
                  <a:pt x="1907965" y="731174"/>
                </a:cubicBezTo>
                <a:cubicBezTo>
                  <a:pt x="1903128" y="730698"/>
                  <a:pt x="1898289" y="728320"/>
                  <a:pt x="1894057" y="725942"/>
                </a:cubicBezTo>
                <a:close/>
                <a:moveTo>
                  <a:pt x="1829349" y="724277"/>
                </a:moveTo>
                <a:cubicBezTo>
                  <a:pt x="1816650" y="733315"/>
                  <a:pt x="1806369" y="746157"/>
                  <a:pt x="1800926" y="759476"/>
                </a:cubicBezTo>
                <a:lnTo>
                  <a:pt x="1826931" y="759476"/>
                </a:lnTo>
                <a:cubicBezTo>
                  <a:pt x="1829954" y="747823"/>
                  <a:pt x="1845677" y="727844"/>
                  <a:pt x="1829349" y="724277"/>
                </a:cubicBezTo>
                <a:close/>
                <a:moveTo>
                  <a:pt x="1589872" y="705013"/>
                </a:moveTo>
                <a:cubicBezTo>
                  <a:pt x="1598338" y="707867"/>
                  <a:pt x="1608012" y="715240"/>
                  <a:pt x="1620108" y="714051"/>
                </a:cubicBezTo>
                <a:cubicBezTo>
                  <a:pt x="1603176" y="729509"/>
                  <a:pt x="1593499" y="714051"/>
                  <a:pt x="1568100" y="721423"/>
                </a:cubicBezTo>
                <a:cubicBezTo>
                  <a:pt x="1574752" y="703824"/>
                  <a:pt x="1581404" y="702159"/>
                  <a:pt x="1589872" y="705013"/>
                </a:cubicBezTo>
                <a:close/>
                <a:moveTo>
                  <a:pt x="2197638" y="702159"/>
                </a:moveTo>
                <a:cubicBezTo>
                  <a:pt x="2184938" y="713099"/>
                  <a:pt x="2207314" y="742828"/>
                  <a:pt x="2218199" y="725942"/>
                </a:cubicBezTo>
                <a:cubicBezTo>
                  <a:pt x="2206105" y="724990"/>
                  <a:pt x="2209732" y="703348"/>
                  <a:pt x="2197638" y="702159"/>
                </a:cubicBezTo>
                <a:close/>
                <a:moveTo>
                  <a:pt x="2132931" y="702159"/>
                </a:moveTo>
                <a:cubicBezTo>
                  <a:pt x="2136558" y="722375"/>
                  <a:pt x="2124464" y="723326"/>
                  <a:pt x="2128092" y="741638"/>
                </a:cubicBezTo>
                <a:cubicBezTo>
                  <a:pt x="2145630" y="734980"/>
                  <a:pt x="2134744" y="708817"/>
                  <a:pt x="2175262" y="720234"/>
                </a:cubicBezTo>
                <a:cubicBezTo>
                  <a:pt x="2171634" y="700018"/>
                  <a:pt x="2146840" y="705489"/>
                  <a:pt x="2132931" y="702159"/>
                </a:cubicBezTo>
                <a:close/>
                <a:moveTo>
                  <a:pt x="1666068" y="702159"/>
                </a:moveTo>
                <a:cubicBezTo>
                  <a:pt x="1672721" y="702872"/>
                  <a:pt x="1670301" y="716429"/>
                  <a:pt x="1669696" y="724277"/>
                </a:cubicBezTo>
                <a:cubicBezTo>
                  <a:pt x="1659416" y="739260"/>
                  <a:pt x="1628575" y="726655"/>
                  <a:pt x="1626760" y="754244"/>
                </a:cubicBezTo>
                <a:cubicBezTo>
                  <a:pt x="1610432" y="749012"/>
                  <a:pt x="1602570" y="764234"/>
                  <a:pt x="1595918" y="753768"/>
                </a:cubicBezTo>
                <a:cubicBezTo>
                  <a:pt x="1596523" y="749725"/>
                  <a:pt x="1598943" y="744255"/>
                  <a:pt x="1599547" y="736406"/>
                </a:cubicBezTo>
                <a:cubicBezTo>
                  <a:pt x="1605594" y="754720"/>
                  <a:pt x="1637645" y="735693"/>
                  <a:pt x="1618899" y="729985"/>
                </a:cubicBezTo>
                <a:cubicBezTo>
                  <a:pt x="1629179" y="715001"/>
                  <a:pt x="1664255" y="727844"/>
                  <a:pt x="1666068" y="702159"/>
                </a:cubicBezTo>
                <a:close/>
                <a:moveTo>
                  <a:pt x="10984557" y="700018"/>
                </a:moveTo>
                <a:cubicBezTo>
                  <a:pt x="10950086" y="716666"/>
                  <a:pt x="10906545" y="687651"/>
                  <a:pt x="10887798" y="717855"/>
                </a:cubicBezTo>
                <a:cubicBezTo>
                  <a:pt x="10913197" y="729985"/>
                  <a:pt x="10970043" y="738310"/>
                  <a:pt x="10984557" y="700018"/>
                </a:cubicBezTo>
                <a:close/>
                <a:moveTo>
                  <a:pt x="1558424" y="699305"/>
                </a:moveTo>
                <a:cubicBezTo>
                  <a:pt x="1568705" y="709293"/>
                  <a:pt x="1556006" y="741877"/>
                  <a:pt x="1537864" y="733552"/>
                </a:cubicBezTo>
                <a:cubicBezTo>
                  <a:pt x="1544515" y="720472"/>
                  <a:pt x="1557215" y="719520"/>
                  <a:pt x="1558424" y="699305"/>
                </a:cubicBezTo>
                <a:close/>
                <a:moveTo>
                  <a:pt x="11536687" y="696213"/>
                </a:moveTo>
                <a:cubicBezTo>
                  <a:pt x="11534268" y="695737"/>
                  <a:pt x="11531245" y="695975"/>
                  <a:pt x="11527616" y="696927"/>
                </a:cubicBezTo>
                <a:cubicBezTo>
                  <a:pt x="11524593" y="708580"/>
                  <a:pt x="11513102" y="735693"/>
                  <a:pt x="11522778" y="740449"/>
                </a:cubicBezTo>
                <a:cubicBezTo>
                  <a:pt x="11528825" y="721185"/>
                  <a:pt x="11547573" y="719044"/>
                  <a:pt x="11558458" y="704061"/>
                </a:cubicBezTo>
                <a:cubicBezTo>
                  <a:pt x="11549388" y="704774"/>
                  <a:pt x="11544549" y="697877"/>
                  <a:pt x="11536687" y="696213"/>
                </a:cubicBezTo>
                <a:close/>
                <a:moveTo>
                  <a:pt x="1727752" y="689553"/>
                </a:moveTo>
                <a:cubicBezTo>
                  <a:pt x="1719890" y="694786"/>
                  <a:pt x="1705982" y="691694"/>
                  <a:pt x="1700539" y="701207"/>
                </a:cubicBezTo>
                <a:cubicBezTo>
                  <a:pt x="1707795" y="703824"/>
                  <a:pt x="1698120" y="706915"/>
                  <a:pt x="1695096" y="712623"/>
                </a:cubicBezTo>
                <a:cubicBezTo>
                  <a:pt x="1697515" y="714764"/>
                  <a:pt x="1713239" y="727844"/>
                  <a:pt x="1714449" y="712147"/>
                </a:cubicBezTo>
                <a:cubicBezTo>
                  <a:pt x="1700539" y="705013"/>
                  <a:pt x="1738033" y="712147"/>
                  <a:pt x="1727752" y="689553"/>
                </a:cubicBezTo>
                <a:close/>
                <a:moveTo>
                  <a:pt x="7458905" y="682180"/>
                </a:moveTo>
                <a:cubicBezTo>
                  <a:pt x="7443785" y="682419"/>
                  <a:pt x="7426247" y="683132"/>
                  <a:pt x="7413548" y="682656"/>
                </a:cubicBezTo>
                <a:cubicBezTo>
                  <a:pt x="7408711" y="685510"/>
                  <a:pt x="7402662" y="685748"/>
                  <a:pt x="7397825" y="687888"/>
                </a:cubicBezTo>
                <a:cubicBezTo>
                  <a:pt x="7421410" y="692407"/>
                  <a:pt x="7442576" y="692407"/>
                  <a:pt x="7458905" y="682180"/>
                </a:cubicBezTo>
                <a:close/>
                <a:moveTo>
                  <a:pt x="7521796" y="681467"/>
                </a:moveTo>
                <a:cubicBezTo>
                  <a:pt x="7504260" y="681230"/>
                  <a:pt x="7490351" y="681943"/>
                  <a:pt x="7474023" y="682180"/>
                </a:cubicBezTo>
                <a:cubicBezTo>
                  <a:pt x="7489141" y="701446"/>
                  <a:pt x="7529658" y="703824"/>
                  <a:pt x="7548405" y="687413"/>
                </a:cubicBezTo>
                <a:cubicBezTo>
                  <a:pt x="7547801" y="686699"/>
                  <a:pt x="7547801" y="685034"/>
                  <a:pt x="7547801" y="684321"/>
                </a:cubicBezTo>
                <a:cubicBezTo>
                  <a:pt x="7538730" y="683845"/>
                  <a:pt x="7530263" y="681467"/>
                  <a:pt x="7521796" y="681467"/>
                </a:cubicBezTo>
                <a:close/>
                <a:moveTo>
                  <a:pt x="11422995" y="678137"/>
                </a:moveTo>
                <a:cubicBezTo>
                  <a:pt x="11419367" y="695499"/>
                  <a:pt x="11386711" y="679089"/>
                  <a:pt x="11387921" y="703111"/>
                </a:cubicBezTo>
                <a:cubicBezTo>
                  <a:pt x="11409087" y="708817"/>
                  <a:pt x="11436300" y="695024"/>
                  <a:pt x="11422995" y="678137"/>
                </a:cubicBezTo>
                <a:close/>
                <a:moveTo>
                  <a:pt x="2357063" y="677843"/>
                </a:moveTo>
                <a:cubicBezTo>
                  <a:pt x="2364433" y="679772"/>
                  <a:pt x="2371804" y="687888"/>
                  <a:pt x="2369991" y="697877"/>
                </a:cubicBezTo>
                <a:cubicBezTo>
                  <a:pt x="2353662" y="700018"/>
                  <a:pt x="2360314" y="682180"/>
                  <a:pt x="2343381" y="686223"/>
                </a:cubicBezTo>
                <a:cubicBezTo>
                  <a:pt x="2344590" y="681704"/>
                  <a:pt x="2347009" y="679326"/>
                  <a:pt x="2350033" y="678137"/>
                </a:cubicBezTo>
                <a:cubicBezTo>
                  <a:pt x="2352149" y="677246"/>
                  <a:pt x="2354606" y="677201"/>
                  <a:pt x="2357063" y="677843"/>
                </a:cubicBezTo>
                <a:close/>
                <a:moveTo>
                  <a:pt x="6989018" y="677424"/>
                </a:moveTo>
                <a:cubicBezTo>
                  <a:pt x="6988413" y="684321"/>
                  <a:pt x="6987204" y="692883"/>
                  <a:pt x="6983575" y="692645"/>
                </a:cubicBezTo>
                <a:cubicBezTo>
                  <a:pt x="7003532" y="678376"/>
                  <a:pt x="7004742" y="708343"/>
                  <a:pt x="7033769" y="698829"/>
                </a:cubicBezTo>
                <a:cubicBezTo>
                  <a:pt x="7039212" y="698353"/>
                  <a:pt x="7039212" y="691456"/>
                  <a:pt x="7041630" y="686223"/>
                </a:cubicBezTo>
                <a:cubicBezTo>
                  <a:pt x="7024094" y="681230"/>
                  <a:pt x="7006555" y="678852"/>
                  <a:pt x="6989018" y="677424"/>
                </a:cubicBezTo>
                <a:close/>
                <a:moveTo>
                  <a:pt x="11340750" y="675759"/>
                </a:moveTo>
                <a:cubicBezTo>
                  <a:pt x="11335308" y="677424"/>
                  <a:pt x="11331075" y="682656"/>
                  <a:pt x="11328655" y="690267"/>
                </a:cubicBezTo>
                <a:cubicBezTo>
                  <a:pt x="11340750" y="691218"/>
                  <a:pt x="11357079" y="694310"/>
                  <a:pt x="11358288" y="678613"/>
                </a:cubicBezTo>
                <a:cubicBezTo>
                  <a:pt x="11351031" y="675046"/>
                  <a:pt x="11345589" y="673857"/>
                  <a:pt x="11340750" y="675759"/>
                </a:cubicBezTo>
                <a:close/>
                <a:moveTo>
                  <a:pt x="6951525" y="675283"/>
                </a:moveTo>
                <a:cubicBezTo>
                  <a:pt x="6903144" y="677661"/>
                  <a:pt x="6852950" y="690981"/>
                  <a:pt x="6799128" y="709293"/>
                </a:cubicBezTo>
                <a:cubicBezTo>
                  <a:pt x="6800338" y="737121"/>
                  <a:pt x="6826947" y="731413"/>
                  <a:pt x="6822713" y="760665"/>
                </a:cubicBezTo>
                <a:cubicBezTo>
                  <a:pt x="6794291" y="758287"/>
                  <a:pt x="6773125" y="754244"/>
                  <a:pt x="6748935" y="754244"/>
                </a:cubicBezTo>
                <a:cubicBezTo>
                  <a:pt x="6746516" y="759952"/>
                  <a:pt x="6745911" y="765660"/>
                  <a:pt x="6745306" y="775649"/>
                </a:cubicBezTo>
                <a:cubicBezTo>
                  <a:pt x="6728374" y="776125"/>
                  <a:pt x="6728978" y="760665"/>
                  <a:pt x="6739259" y="755672"/>
                </a:cubicBezTo>
                <a:cubicBezTo>
                  <a:pt x="6717488" y="755672"/>
                  <a:pt x="6695717" y="757574"/>
                  <a:pt x="6666691" y="767088"/>
                </a:cubicBezTo>
                <a:cubicBezTo>
                  <a:pt x="6668504" y="775174"/>
                  <a:pt x="6672737" y="781833"/>
                  <a:pt x="6679390" y="784449"/>
                </a:cubicBezTo>
                <a:cubicBezTo>
                  <a:pt x="6685437" y="768990"/>
                  <a:pt x="6697533" y="769703"/>
                  <a:pt x="6706603" y="774460"/>
                </a:cubicBezTo>
                <a:cubicBezTo>
                  <a:pt x="6714464" y="765423"/>
                  <a:pt x="6725955" y="774460"/>
                  <a:pt x="6732608" y="784924"/>
                </a:cubicBezTo>
                <a:cubicBezTo>
                  <a:pt x="6735026" y="785163"/>
                  <a:pt x="6737445" y="783260"/>
                  <a:pt x="6737445" y="779216"/>
                </a:cubicBezTo>
                <a:cubicBezTo>
                  <a:pt x="6748935" y="788254"/>
                  <a:pt x="6763449" y="793249"/>
                  <a:pt x="6777358" y="796340"/>
                </a:cubicBezTo>
                <a:cubicBezTo>
                  <a:pt x="6774940" y="794201"/>
                  <a:pt x="6775544" y="794675"/>
                  <a:pt x="6773125" y="792536"/>
                </a:cubicBezTo>
                <a:cubicBezTo>
                  <a:pt x="6780986" y="787302"/>
                  <a:pt x="6779172" y="768751"/>
                  <a:pt x="6793687" y="769941"/>
                </a:cubicBezTo>
                <a:cubicBezTo>
                  <a:pt x="6785825" y="787065"/>
                  <a:pt x="6794896" y="793725"/>
                  <a:pt x="6806386" y="798719"/>
                </a:cubicBezTo>
                <a:cubicBezTo>
                  <a:pt x="6816062" y="799670"/>
                  <a:pt x="6825133" y="800859"/>
                  <a:pt x="6834809" y="801573"/>
                </a:cubicBezTo>
                <a:cubicBezTo>
                  <a:pt x="6834809" y="801573"/>
                  <a:pt x="6832390" y="798957"/>
                  <a:pt x="6830575" y="798719"/>
                </a:cubicBezTo>
                <a:cubicBezTo>
                  <a:pt x="6837832" y="789443"/>
                  <a:pt x="6842065" y="796340"/>
                  <a:pt x="6849322" y="804665"/>
                </a:cubicBezTo>
                <a:cubicBezTo>
                  <a:pt x="6860812" y="809659"/>
                  <a:pt x="6875327" y="816795"/>
                  <a:pt x="6888631" y="831778"/>
                </a:cubicBezTo>
                <a:cubicBezTo>
                  <a:pt x="6893469" y="828210"/>
                  <a:pt x="6883188" y="805616"/>
                  <a:pt x="6897703" y="803000"/>
                </a:cubicBezTo>
                <a:cubicBezTo>
                  <a:pt x="6893469" y="836296"/>
                  <a:pt x="6937010" y="825832"/>
                  <a:pt x="6954548" y="807519"/>
                </a:cubicBezTo>
                <a:cubicBezTo>
                  <a:pt x="6928545" y="846999"/>
                  <a:pt x="7001114" y="835821"/>
                  <a:pt x="7019860" y="849140"/>
                </a:cubicBezTo>
                <a:cubicBezTo>
                  <a:pt x="7019255" y="855086"/>
                  <a:pt x="7010184" y="851994"/>
                  <a:pt x="7011999" y="860080"/>
                </a:cubicBezTo>
                <a:cubicBezTo>
                  <a:pt x="7025907" y="871258"/>
                  <a:pt x="7040421" y="866978"/>
                  <a:pt x="7048283" y="849853"/>
                </a:cubicBezTo>
                <a:cubicBezTo>
                  <a:pt x="7057959" y="848664"/>
                  <a:pt x="7049492" y="869832"/>
                  <a:pt x="7053726" y="878155"/>
                </a:cubicBezTo>
                <a:cubicBezTo>
                  <a:pt x="7097268" y="873875"/>
                  <a:pt x="7128714" y="918111"/>
                  <a:pt x="7175279" y="902414"/>
                </a:cubicBezTo>
                <a:cubicBezTo>
                  <a:pt x="7172860" y="914544"/>
                  <a:pt x="7176488" y="919063"/>
                  <a:pt x="7178304" y="925960"/>
                </a:cubicBezTo>
                <a:cubicBezTo>
                  <a:pt x="7184350" y="925008"/>
                  <a:pt x="7190398" y="925008"/>
                  <a:pt x="7193422" y="927862"/>
                </a:cubicBezTo>
                <a:cubicBezTo>
                  <a:pt x="7191607" y="932619"/>
                  <a:pt x="7187978" y="934284"/>
                  <a:pt x="7184350" y="936424"/>
                </a:cubicBezTo>
                <a:cubicBezTo>
                  <a:pt x="7195840" y="936424"/>
                  <a:pt x="7209146" y="934522"/>
                  <a:pt x="7208541" y="948554"/>
                </a:cubicBezTo>
                <a:cubicBezTo>
                  <a:pt x="7213378" y="950932"/>
                  <a:pt x="7223659" y="931905"/>
                  <a:pt x="7213983" y="931192"/>
                </a:cubicBezTo>
                <a:cubicBezTo>
                  <a:pt x="7217611" y="915496"/>
                  <a:pt x="7223054" y="945463"/>
                  <a:pt x="7238172" y="936900"/>
                </a:cubicBezTo>
                <a:cubicBezTo>
                  <a:pt x="7244824" y="947365"/>
                  <a:pt x="7232126" y="948791"/>
                  <a:pt x="7241196" y="959494"/>
                </a:cubicBezTo>
                <a:cubicBezTo>
                  <a:pt x="7258734" y="941181"/>
                  <a:pt x="7291389" y="967343"/>
                  <a:pt x="7298042" y="942133"/>
                </a:cubicBezTo>
                <a:cubicBezTo>
                  <a:pt x="7298042" y="944035"/>
                  <a:pt x="7298042" y="944749"/>
                  <a:pt x="7298646" y="946176"/>
                </a:cubicBezTo>
                <a:cubicBezTo>
                  <a:pt x="7297438" y="928101"/>
                  <a:pt x="7319208" y="925723"/>
                  <a:pt x="7326465" y="934522"/>
                </a:cubicBezTo>
                <a:cubicBezTo>
                  <a:pt x="7323442" y="944511"/>
                  <a:pt x="7311951" y="947841"/>
                  <a:pt x="7299251" y="946889"/>
                </a:cubicBezTo>
                <a:cubicBezTo>
                  <a:pt x="7301670" y="960921"/>
                  <a:pt x="7306508" y="968532"/>
                  <a:pt x="7313160" y="972337"/>
                </a:cubicBezTo>
                <a:cubicBezTo>
                  <a:pt x="7342188" y="944273"/>
                  <a:pt x="7386335" y="967343"/>
                  <a:pt x="7417780" y="965678"/>
                </a:cubicBezTo>
                <a:cubicBezTo>
                  <a:pt x="7403267" y="942370"/>
                  <a:pt x="7419596" y="936900"/>
                  <a:pt x="7437737" y="944987"/>
                </a:cubicBezTo>
                <a:cubicBezTo>
                  <a:pt x="7423224" y="956878"/>
                  <a:pt x="7434109" y="967105"/>
                  <a:pt x="7428667" y="979947"/>
                </a:cubicBezTo>
                <a:cubicBezTo>
                  <a:pt x="7415967" y="963300"/>
                  <a:pt x="7402662" y="990888"/>
                  <a:pt x="7384520" y="987083"/>
                </a:cubicBezTo>
                <a:cubicBezTo>
                  <a:pt x="7379682" y="962348"/>
                  <a:pt x="7339770" y="966392"/>
                  <a:pt x="7330698" y="978997"/>
                </a:cubicBezTo>
                <a:cubicBezTo>
                  <a:pt x="7335537" y="980423"/>
                  <a:pt x="7339770" y="981375"/>
                  <a:pt x="7345817" y="984229"/>
                </a:cubicBezTo>
                <a:cubicBezTo>
                  <a:pt x="7342793" y="995883"/>
                  <a:pt x="7319208" y="986131"/>
                  <a:pt x="7307113" y="988985"/>
                </a:cubicBezTo>
                <a:cubicBezTo>
                  <a:pt x="7304090" y="1002543"/>
                  <a:pt x="7308323" y="1008251"/>
                  <a:pt x="7317394" y="1013244"/>
                </a:cubicBezTo>
                <a:cubicBezTo>
                  <a:pt x="7322836" y="1009677"/>
                  <a:pt x="7332512" y="1004682"/>
                  <a:pt x="7337350" y="1005158"/>
                </a:cubicBezTo>
                <a:cubicBezTo>
                  <a:pt x="7383915" y="1008964"/>
                  <a:pt x="7350655" y="1003969"/>
                  <a:pt x="7336746" y="1017288"/>
                </a:cubicBezTo>
                <a:cubicBezTo>
                  <a:pt x="7350050" y="1014672"/>
                  <a:pt x="7379078" y="1038692"/>
                  <a:pt x="7371820" y="1002780"/>
                </a:cubicBezTo>
                <a:lnTo>
                  <a:pt x="7384520" y="1001591"/>
                </a:lnTo>
                <a:cubicBezTo>
                  <a:pt x="7386335" y="1008251"/>
                  <a:pt x="7388754" y="1013007"/>
                  <a:pt x="7388149" y="1021569"/>
                </a:cubicBezTo>
                <a:cubicBezTo>
                  <a:pt x="7375450" y="1022520"/>
                  <a:pt x="7363354" y="1027515"/>
                  <a:pt x="7351260" y="1030606"/>
                </a:cubicBezTo>
                <a:cubicBezTo>
                  <a:pt x="7359726" y="1039882"/>
                  <a:pt x="7367588" y="1046304"/>
                  <a:pt x="7377264" y="1064140"/>
                </a:cubicBezTo>
                <a:cubicBezTo>
                  <a:pt x="7373030" y="1063666"/>
                  <a:pt x="7369402" y="1065092"/>
                  <a:pt x="7366379" y="1066520"/>
                </a:cubicBezTo>
                <a:cubicBezTo>
                  <a:pt x="7379078" y="1069135"/>
                  <a:pt x="7391172" y="1068898"/>
                  <a:pt x="7402058" y="1058908"/>
                </a:cubicBezTo>
                <a:cubicBezTo>
                  <a:pt x="7392987" y="1046304"/>
                  <a:pt x="7383310" y="1049395"/>
                  <a:pt x="7391777" y="1028228"/>
                </a:cubicBezTo>
                <a:cubicBezTo>
                  <a:pt x="7439553" y="1036314"/>
                  <a:pt x="7478256" y="1067709"/>
                  <a:pt x="7498212" y="1017764"/>
                </a:cubicBezTo>
                <a:cubicBezTo>
                  <a:pt x="7467370" y="1009201"/>
                  <a:pt x="7432900" y="1021807"/>
                  <a:pt x="7438343" y="962824"/>
                </a:cubicBezTo>
                <a:lnTo>
                  <a:pt x="7457694" y="962824"/>
                </a:lnTo>
                <a:cubicBezTo>
                  <a:pt x="7459509" y="933333"/>
                  <a:pt x="7448018" y="922630"/>
                  <a:pt x="7431691" y="913117"/>
                </a:cubicBezTo>
                <a:cubicBezTo>
                  <a:pt x="7417780" y="911928"/>
                  <a:pt x="7444994" y="930479"/>
                  <a:pt x="7428063" y="933094"/>
                </a:cubicBezTo>
                <a:cubicBezTo>
                  <a:pt x="7414757" y="874350"/>
                  <a:pt x="7336746" y="851518"/>
                  <a:pt x="7308928" y="918350"/>
                </a:cubicBezTo>
                <a:cubicBezTo>
                  <a:pt x="7291389" y="893139"/>
                  <a:pt x="7327675" y="884339"/>
                  <a:pt x="7342793" y="875777"/>
                </a:cubicBezTo>
                <a:cubicBezTo>
                  <a:pt x="7336746" y="851518"/>
                  <a:pt x="7310741" y="849140"/>
                  <a:pt x="7302275" y="826546"/>
                </a:cubicBezTo>
                <a:cubicBezTo>
                  <a:pt x="7294414" y="845810"/>
                  <a:pt x="7279899" y="834870"/>
                  <a:pt x="7279295" y="852707"/>
                </a:cubicBezTo>
                <a:cubicBezTo>
                  <a:pt x="7267200" y="849616"/>
                  <a:pt x="7278690" y="820838"/>
                  <a:pt x="7269014" y="816080"/>
                </a:cubicBezTo>
                <a:cubicBezTo>
                  <a:pt x="7256919" y="817032"/>
                  <a:pt x="7258734" y="836772"/>
                  <a:pt x="7244824" y="833681"/>
                </a:cubicBezTo>
                <a:cubicBezTo>
                  <a:pt x="7234544" y="797054"/>
                  <a:pt x="7208541" y="824643"/>
                  <a:pt x="7189189" y="832729"/>
                </a:cubicBezTo>
                <a:cubicBezTo>
                  <a:pt x="7159556" y="800622"/>
                  <a:pt x="7108153" y="820123"/>
                  <a:pt x="7088196" y="790632"/>
                </a:cubicBezTo>
                <a:cubicBezTo>
                  <a:pt x="7084568" y="792536"/>
                  <a:pt x="7081544" y="795627"/>
                  <a:pt x="7077916" y="798243"/>
                </a:cubicBezTo>
                <a:cubicBezTo>
                  <a:pt x="7085778" y="799670"/>
                  <a:pt x="7093640" y="801573"/>
                  <a:pt x="7096058" y="807519"/>
                </a:cubicBezTo>
                <a:cubicBezTo>
                  <a:pt x="7083358" y="804903"/>
                  <a:pt x="7076101" y="805616"/>
                  <a:pt x="7065216" y="806329"/>
                </a:cubicBezTo>
                <a:cubicBezTo>
                  <a:pt x="7065216" y="806805"/>
                  <a:pt x="7064611" y="807281"/>
                  <a:pt x="7064007" y="807519"/>
                </a:cubicBezTo>
                <a:cubicBezTo>
                  <a:pt x="7065216" y="808709"/>
                  <a:pt x="7067031" y="809183"/>
                  <a:pt x="7067031" y="810372"/>
                </a:cubicBezTo>
                <a:cubicBezTo>
                  <a:pt x="7064007" y="821075"/>
                  <a:pt x="7040421" y="811800"/>
                  <a:pt x="7028327" y="814415"/>
                </a:cubicBezTo>
                <a:cubicBezTo>
                  <a:pt x="7030745" y="807757"/>
                  <a:pt x="7036793" y="806568"/>
                  <a:pt x="7041630" y="804665"/>
                </a:cubicBezTo>
                <a:cubicBezTo>
                  <a:pt x="7037397" y="800622"/>
                  <a:pt x="7032560" y="795864"/>
                  <a:pt x="7033165" y="783974"/>
                </a:cubicBezTo>
                <a:cubicBezTo>
                  <a:pt x="6989624" y="786113"/>
                  <a:pt x="6979947" y="791108"/>
                  <a:pt x="6934591" y="791108"/>
                </a:cubicBezTo>
                <a:cubicBezTo>
                  <a:pt x="6935196" y="775411"/>
                  <a:pt x="6949710" y="778741"/>
                  <a:pt x="6964224" y="778027"/>
                </a:cubicBezTo>
                <a:cubicBezTo>
                  <a:pt x="6943058" y="768277"/>
                  <a:pt x="6934591" y="745444"/>
                  <a:pt x="6914030" y="735693"/>
                </a:cubicBezTo>
                <a:cubicBezTo>
                  <a:pt x="6908588" y="739260"/>
                  <a:pt x="6905564" y="747109"/>
                  <a:pt x="6902540" y="754720"/>
                </a:cubicBezTo>
                <a:cubicBezTo>
                  <a:pt x="6895887" y="746396"/>
                  <a:pt x="6884397" y="741877"/>
                  <a:pt x="6883188" y="723801"/>
                </a:cubicBezTo>
                <a:cubicBezTo>
                  <a:pt x="6891654" y="704774"/>
                  <a:pt x="6911611" y="735693"/>
                  <a:pt x="6907983" y="711671"/>
                </a:cubicBezTo>
                <a:cubicBezTo>
                  <a:pt x="6935196" y="721661"/>
                  <a:pt x="6980552" y="715953"/>
                  <a:pt x="6983575" y="677424"/>
                </a:cubicBezTo>
                <a:cubicBezTo>
                  <a:pt x="6972690" y="676948"/>
                  <a:pt x="6962410" y="674570"/>
                  <a:pt x="6951525" y="675283"/>
                </a:cubicBezTo>
                <a:close/>
                <a:moveTo>
                  <a:pt x="1610432" y="672905"/>
                </a:moveTo>
                <a:cubicBezTo>
                  <a:pt x="1616479" y="677187"/>
                  <a:pt x="1609223" y="685034"/>
                  <a:pt x="1609223" y="690742"/>
                </a:cubicBezTo>
                <a:cubicBezTo>
                  <a:pt x="1612851" y="696927"/>
                  <a:pt x="1617084" y="699305"/>
                  <a:pt x="1621318" y="701683"/>
                </a:cubicBezTo>
                <a:cubicBezTo>
                  <a:pt x="1611642" y="722375"/>
                  <a:pt x="1609828" y="684797"/>
                  <a:pt x="1591686" y="696927"/>
                </a:cubicBezTo>
                <a:cubicBezTo>
                  <a:pt x="1596523" y="687651"/>
                  <a:pt x="1607408" y="686223"/>
                  <a:pt x="1610432" y="672905"/>
                </a:cubicBezTo>
                <a:close/>
                <a:moveTo>
                  <a:pt x="11572972" y="661489"/>
                </a:moveTo>
                <a:lnTo>
                  <a:pt x="11558458" y="662440"/>
                </a:lnTo>
                <a:cubicBezTo>
                  <a:pt x="11557249" y="676235"/>
                  <a:pt x="11566924" y="680754"/>
                  <a:pt x="11556644" y="691932"/>
                </a:cubicBezTo>
                <a:cubicBezTo>
                  <a:pt x="11566320" y="690742"/>
                  <a:pt x="11575996" y="693359"/>
                  <a:pt x="11578414" y="685510"/>
                </a:cubicBezTo>
                <a:cubicBezTo>
                  <a:pt x="11557249" y="687651"/>
                  <a:pt x="11574786" y="673381"/>
                  <a:pt x="11572972" y="661489"/>
                </a:cubicBezTo>
                <a:close/>
                <a:moveTo>
                  <a:pt x="1522744" y="653402"/>
                </a:moveTo>
                <a:cubicBezTo>
                  <a:pt x="1541492" y="666008"/>
                  <a:pt x="1556610" y="664819"/>
                  <a:pt x="1578986" y="660062"/>
                </a:cubicBezTo>
                <a:cubicBezTo>
                  <a:pt x="1563262" y="680991"/>
                  <a:pt x="1529397" y="666959"/>
                  <a:pt x="1506416" y="673857"/>
                </a:cubicBezTo>
                <a:cubicBezTo>
                  <a:pt x="1504602" y="658160"/>
                  <a:pt x="1528792" y="676235"/>
                  <a:pt x="1522744" y="653402"/>
                </a:cubicBezTo>
                <a:close/>
                <a:moveTo>
                  <a:pt x="11064383" y="645792"/>
                </a:moveTo>
                <a:cubicBezTo>
                  <a:pt x="11060755" y="669338"/>
                  <a:pt x="11087363" y="669338"/>
                  <a:pt x="11083735" y="647457"/>
                </a:cubicBezTo>
                <a:close/>
                <a:moveTo>
                  <a:pt x="1654578" y="639846"/>
                </a:moveTo>
                <a:cubicBezTo>
                  <a:pt x="1641274" y="669338"/>
                  <a:pt x="1623132" y="641273"/>
                  <a:pt x="1601361" y="662440"/>
                </a:cubicBezTo>
                <a:cubicBezTo>
                  <a:pt x="1604989" y="637944"/>
                  <a:pt x="1638250" y="646030"/>
                  <a:pt x="1654578" y="639846"/>
                </a:cubicBezTo>
                <a:close/>
                <a:moveTo>
                  <a:pt x="1972674" y="633662"/>
                </a:moveTo>
                <a:cubicBezTo>
                  <a:pt x="1985978" y="635565"/>
                  <a:pt x="1996864" y="657208"/>
                  <a:pt x="2010772" y="658397"/>
                </a:cubicBezTo>
                <a:cubicBezTo>
                  <a:pt x="2004725" y="670051"/>
                  <a:pt x="1992629" y="650311"/>
                  <a:pt x="1979325" y="663392"/>
                </a:cubicBezTo>
                <a:cubicBezTo>
                  <a:pt x="1993234" y="648409"/>
                  <a:pt x="1975697" y="636517"/>
                  <a:pt x="1959369" y="639371"/>
                </a:cubicBezTo>
                <a:cubicBezTo>
                  <a:pt x="1964207" y="634138"/>
                  <a:pt x="1968440" y="632949"/>
                  <a:pt x="1972674" y="633662"/>
                </a:cubicBezTo>
                <a:close/>
                <a:moveTo>
                  <a:pt x="2013795" y="630808"/>
                </a:moveTo>
                <a:cubicBezTo>
                  <a:pt x="2018634" y="631047"/>
                  <a:pt x="2024076" y="633187"/>
                  <a:pt x="2027100" y="631284"/>
                </a:cubicBezTo>
                <a:cubicBezTo>
                  <a:pt x="2025286" y="663867"/>
                  <a:pt x="2013795" y="643176"/>
                  <a:pt x="2005934" y="638181"/>
                </a:cubicBezTo>
                <a:cubicBezTo>
                  <a:pt x="2005330" y="631760"/>
                  <a:pt x="2009563" y="630332"/>
                  <a:pt x="2013795" y="630808"/>
                </a:cubicBezTo>
                <a:close/>
                <a:moveTo>
                  <a:pt x="11031727" y="630095"/>
                </a:moveTo>
                <a:cubicBezTo>
                  <a:pt x="11024470" y="628430"/>
                  <a:pt x="11019028" y="630808"/>
                  <a:pt x="11019028" y="645792"/>
                </a:cubicBezTo>
                <a:cubicBezTo>
                  <a:pt x="11031122" y="648884"/>
                  <a:pt x="11051684" y="660300"/>
                  <a:pt x="11052893" y="640560"/>
                </a:cubicBezTo>
                <a:cubicBezTo>
                  <a:pt x="11046845" y="638181"/>
                  <a:pt x="11038380" y="631997"/>
                  <a:pt x="11031727" y="630095"/>
                </a:cubicBezTo>
                <a:close/>
                <a:moveTo>
                  <a:pt x="2680222" y="629382"/>
                </a:moveTo>
                <a:lnTo>
                  <a:pt x="2689294" y="630808"/>
                </a:lnTo>
                <a:cubicBezTo>
                  <a:pt x="2691108" y="634376"/>
                  <a:pt x="2695341" y="637706"/>
                  <a:pt x="2695341" y="644603"/>
                </a:cubicBezTo>
                <a:cubicBezTo>
                  <a:pt x="2672361" y="646030"/>
                  <a:pt x="2653614" y="657921"/>
                  <a:pt x="2635472" y="649598"/>
                </a:cubicBezTo>
                <a:cubicBezTo>
                  <a:pt x="2636077" y="642938"/>
                  <a:pt x="2645148" y="645316"/>
                  <a:pt x="2649985" y="643890"/>
                </a:cubicBezTo>
                <a:cubicBezTo>
                  <a:pt x="2649985" y="640560"/>
                  <a:pt x="2647567" y="640798"/>
                  <a:pt x="2645753" y="640560"/>
                </a:cubicBezTo>
                <a:cubicBezTo>
                  <a:pt x="2653010" y="632712"/>
                  <a:pt x="2687480" y="659110"/>
                  <a:pt x="2680222" y="629382"/>
                </a:cubicBezTo>
                <a:close/>
                <a:moveTo>
                  <a:pt x="1767061" y="627241"/>
                </a:moveTo>
                <a:cubicBezTo>
                  <a:pt x="1760408" y="661727"/>
                  <a:pt x="1738637" y="632712"/>
                  <a:pt x="1714449" y="638657"/>
                </a:cubicBezTo>
                <a:cubicBezTo>
                  <a:pt x="1724729" y="621296"/>
                  <a:pt x="1744685" y="639846"/>
                  <a:pt x="1767061" y="627241"/>
                </a:cubicBezTo>
                <a:close/>
                <a:moveTo>
                  <a:pt x="11512498" y="624150"/>
                </a:moveTo>
                <a:cubicBezTo>
                  <a:pt x="11520964" y="646744"/>
                  <a:pt x="11499798" y="635327"/>
                  <a:pt x="11503427" y="655306"/>
                </a:cubicBezTo>
                <a:cubicBezTo>
                  <a:pt x="11516126" y="652452"/>
                  <a:pt x="11523383" y="643414"/>
                  <a:pt x="11533664" y="636517"/>
                </a:cubicBezTo>
                <a:cubicBezTo>
                  <a:pt x="11519150" y="641036"/>
                  <a:pt x="11524593" y="625339"/>
                  <a:pt x="11512498" y="624150"/>
                </a:cubicBezTo>
                <a:close/>
                <a:moveTo>
                  <a:pt x="11257900" y="617014"/>
                </a:moveTo>
                <a:cubicBezTo>
                  <a:pt x="11251249" y="616063"/>
                  <a:pt x="11243387" y="620581"/>
                  <a:pt x="11242782" y="629382"/>
                </a:cubicBezTo>
                <a:cubicBezTo>
                  <a:pt x="11260320" y="627004"/>
                  <a:pt x="11256691" y="650074"/>
                  <a:pt x="11269391" y="635327"/>
                </a:cubicBezTo>
                <a:cubicBezTo>
                  <a:pt x="11271205" y="623674"/>
                  <a:pt x="11264553" y="617728"/>
                  <a:pt x="11257900" y="617014"/>
                </a:cubicBezTo>
                <a:close/>
                <a:moveTo>
                  <a:pt x="11323213" y="616063"/>
                </a:moveTo>
                <a:cubicBezTo>
                  <a:pt x="11284509" y="618679"/>
                  <a:pt x="11341961" y="665532"/>
                  <a:pt x="11334099" y="641036"/>
                </a:cubicBezTo>
                <a:lnTo>
                  <a:pt x="11324423" y="642225"/>
                </a:lnTo>
                <a:cubicBezTo>
                  <a:pt x="11332285" y="628906"/>
                  <a:pt x="11322609" y="633901"/>
                  <a:pt x="11323213" y="616063"/>
                </a:cubicBezTo>
                <a:close/>
                <a:moveTo>
                  <a:pt x="11662474" y="607025"/>
                </a:moveTo>
                <a:cubicBezTo>
                  <a:pt x="11680616" y="614636"/>
                  <a:pt x="11660660" y="630095"/>
                  <a:pt x="11672150" y="636992"/>
                </a:cubicBezTo>
                <a:cubicBezTo>
                  <a:pt x="11673964" y="650787"/>
                  <a:pt x="11657636" y="643652"/>
                  <a:pt x="11657032" y="655306"/>
                </a:cubicBezTo>
                <a:cubicBezTo>
                  <a:pt x="11660660" y="631997"/>
                  <a:pt x="11646751" y="621057"/>
                  <a:pt x="11628608" y="611782"/>
                </a:cubicBezTo>
                <a:cubicBezTo>
                  <a:pt x="11631632" y="598226"/>
                  <a:pt x="11660660" y="636517"/>
                  <a:pt x="11662474" y="607025"/>
                </a:cubicBezTo>
                <a:close/>
                <a:moveTo>
                  <a:pt x="11509474" y="594896"/>
                </a:moveTo>
                <a:cubicBezTo>
                  <a:pt x="11509474" y="596322"/>
                  <a:pt x="11509474" y="598463"/>
                  <a:pt x="11509474" y="600604"/>
                </a:cubicBezTo>
                <a:cubicBezTo>
                  <a:pt x="11508870" y="599652"/>
                  <a:pt x="11508265" y="598463"/>
                  <a:pt x="11507659" y="597037"/>
                </a:cubicBezTo>
                <a:cubicBezTo>
                  <a:pt x="11508265" y="596322"/>
                  <a:pt x="11508265" y="595609"/>
                  <a:pt x="11509474" y="594896"/>
                </a:cubicBezTo>
                <a:close/>
                <a:moveTo>
                  <a:pt x="11499798" y="593707"/>
                </a:moveTo>
                <a:cubicBezTo>
                  <a:pt x="11491936" y="602982"/>
                  <a:pt x="11460490" y="620107"/>
                  <a:pt x="11453233" y="611782"/>
                </a:cubicBezTo>
                <a:cubicBezTo>
                  <a:pt x="11467142" y="628669"/>
                  <a:pt x="11442952" y="620581"/>
                  <a:pt x="11441743" y="636517"/>
                </a:cubicBezTo>
                <a:cubicBezTo>
                  <a:pt x="11458676" y="639846"/>
                  <a:pt x="11497984" y="627241"/>
                  <a:pt x="11499798" y="593707"/>
                </a:cubicBezTo>
                <a:close/>
                <a:moveTo>
                  <a:pt x="2731626" y="570637"/>
                </a:moveTo>
                <a:cubicBezTo>
                  <a:pt x="2735255" y="570874"/>
                  <a:pt x="2739488" y="572063"/>
                  <a:pt x="2744326" y="573967"/>
                </a:cubicBezTo>
                <a:cubicBezTo>
                  <a:pt x="2729207" y="583004"/>
                  <a:pt x="2740697" y="591566"/>
                  <a:pt x="2735255" y="603458"/>
                </a:cubicBezTo>
                <a:cubicBezTo>
                  <a:pt x="2721950" y="589901"/>
                  <a:pt x="2711065" y="614160"/>
                  <a:pt x="2692318" y="610355"/>
                </a:cubicBezTo>
                <a:cubicBezTo>
                  <a:pt x="2686270" y="585382"/>
                  <a:pt x="2637891" y="591329"/>
                  <a:pt x="2634867" y="603458"/>
                </a:cubicBezTo>
                <a:cubicBezTo>
                  <a:pt x="2627610" y="604884"/>
                  <a:pt x="2626401" y="596322"/>
                  <a:pt x="2616725" y="597750"/>
                </a:cubicBezTo>
                <a:cubicBezTo>
                  <a:pt x="2644543" y="567307"/>
                  <a:pt x="2692923" y="591804"/>
                  <a:pt x="2723765" y="592518"/>
                </a:cubicBezTo>
                <a:cubicBezTo>
                  <a:pt x="2717112" y="581577"/>
                  <a:pt x="2718322" y="575393"/>
                  <a:pt x="2722556" y="572539"/>
                </a:cubicBezTo>
                <a:cubicBezTo>
                  <a:pt x="2724370" y="570874"/>
                  <a:pt x="2727394" y="570398"/>
                  <a:pt x="2731626" y="570637"/>
                </a:cubicBezTo>
                <a:close/>
                <a:moveTo>
                  <a:pt x="10548536" y="567307"/>
                </a:moveTo>
                <a:cubicBezTo>
                  <a:pt x="10525556" y="567783"/>
                  <a:pt x="10498344" y="580864"/>
                  <a:pt x="10474758" y="583242"/>
                </a:cubicBezTo>
                <a:cubicBezTo>
                  <a:pt x="10494714" y="608928"/>
                  <a:pt x="10553375" y="599891"/>
                  <a:pt x="10569098" y="571589"/>
                </a:cubicBezTo>
                <a:cubicBezTo>
                  <a:pt x="10563051" y="568020"/>
                  <a:pt x="10555794" y="567070"/>
                  <a:pt x="10548536" y="567307"/>
                </a:cubicBezTo>
                <a:close/>
                <a:moveTo>
                  <a:pt x="2627006" y="559221"/>
                </a:moveTo>
                <a:cubicBezTo>
                  <a:pt x="2629426" y="559934"/>
                  <a:pt x="2631239" y="561362"/>
                  <a:pt x="2633053" y="563502"/>
                </a:cubicBezTo>
                <a:cubicBezTo>
                  <a:pt x="2630634" y="571589"/>
                  <a:pt x="2620958" y="577058"/>
                  <a:pt x="2612492" y="576345"/>
                </a:cubicBezTo>
                <a:cubicBezTo>
                  <a:pt x="2611887" y="567070"/>
                  <a:pt x="2615516" y="561599"/>
                  <a:pt x="2619749" y="559696"/>
                </a:cubicBezTo>
                <a:cubicBezTo>
                  <a:pt x="2622168" y="558745"/>
                  <a:pt x="2624587" y="558507"/>
                  <a:pt x="2627006" y="559221"/>
                </a:cubicBezTo>
                <a:close/>
                <a:moveTo>
                  <a:pt x="11530036" y="557556"/>
                </a:moveTo>
                <a:cubicBezTo>
                  <a:pt x="11536083" y="559696"/>
                  <a:pt x="11538501" y="566831"/>
                  <a:pt x="11549388" y="563502"/>
                </a:cubicBezTo>
                <a:cubicBezTo>
                  <a:pt x="11549388" y="568972"/>
                  <a:pt x="11542735" y="566594"/>
                  <a:pt x="11540921" y="568259"/>
                </a:cubicBezTo>
                <a:cubicBezTo>
                  <a:pt x="11538501" y="573491"/>
                  <a:pt x="11542735" y="573728"/>
                  <a:pt x="11545154" y="573967"/>
                </a:cubicBezTo>
                <a:cubicBezTo>
                  <a:pt x="11544549" y="581339"/>
                  <a:pt x="11540316" y="577534"/>
                  <a:pt x="11540921" y="573967"/>
                </a:cubicBezTo>
                <a:cubicBezTo>
                  <a:pt x="11525802" y="570874"/>
                  <a:pt x="11531245" y="589664"/>
                  <a:pt x="11519150" y="584907"/>
                </a:cubicBezTo>
                <a:cubicBezTo>
                  <a:pt x="11521569" y="579675"/>
                  <a:pt x="11523383" y="570874"/>
                  <a:pt x="11522174" y="557794"/>
                </a:cubicBezTo>
                <a:cubicBezTo>
                  <a:pt x="11525802" y="556842"/>
                  <a:pt x="11527616" y="556842"/>
                  <a:pt x="11530036" y="557556"/>
                </a:cubicBezTo>
                <a:close/>
                <a:moveTo>
                  <a:pt x="10393723" y="555891"/>
                </a:moveTo>
                <a:cubicBezTo>
                  <a:pt x="10372557" y="557318"/>
                  <a:pt x="10347157" y="569924"/>
                  <a:pt x="10370742" y="594183"/>
                </a:cubicBezTo>
                <a:cubicBezTo>
                  <a:pt x="10379209" y="567307"/>
                  <a:pt x="10397956" y="586810"/>
                  <a:pt x="10419122" y="588475"/>
                </a:cubicBezTo>
                <a:cubicBezTo>
                  <a:pt x="10413075" y="572063"/>
                  <a:pt x="10422750" y="568735"/>
                  <a:pt x="10416098" y="564216"/>
                </a:cubicBezTo>
                <a:cubicBezTo>
                  <a:pt x="10407632" y="583242"/>
                  <a:pt x="10404608" y="555177"/>
                  <a:pt x="10411260" y="557794"/>
                </a:cubicBezTo>
                <a:cubicBezTo>
                  <a:pt x="10407632" y="556129"/>
                  <a:pt x="10400979" y="555177"/>
                  <a:pt x="10393723" y="555891"/>
                </a:cubicBezTo>
                <a:close/>
                <a:moveTo>
                  <a:pt x="2505453" y="554464"/>
                </a:moveTo>
                <a:cubicBezTo>
                  <a:pt x="2509080" y="554940"/>
                  <a:pt x="2512709" y="556129"/>
                  <a:pt x="2514524" y="557794"/>
                </a:cubicBezTo>
                <a:cubicBezTo>
                  <a:pt x="2508476" y="569209"/>
                  <a:pt x="2492147" y="569924"/>
                  <a:pt x="2476425" y="570637"/>
                </a:cubicBezTo>
                <a:cubicBezTo>
                  <a:pt x="2477029" y="561599"/>
                  <a:pt x="2484891" y="556842"/>
                  <a:pt x="2493358" y="554940"/>
                </a:cubicBezTo>
                <a:cubicBezTo>
                  <a:pt x="2497591" y="554226"/>
                  <a:pt x="2501824" y="553988"/>
                  <a:pt x="2505453" y="554464"/>
                </a:cubicBezTo>
                <a:close/>
                <a:moveTo>
                  <a:pt x="10625339" y="546854"/>
                </a:moveTo>
                <a:cubicBezTo>
                  <a:pt x="10620501" y="548043"/>
                  <a:pt x="10616268" y="551847"/>
                  <a:pt x="10615664" y="559696"/>
                </a:cubicBezTo>
                <a:cubicBezTo>
                  <a:pt x="10622316" y="568259"/>
                  <a:pt x="10634411" y="563502"/>
                  <a:pt x="10639853" y="552086"/>
                </a:cubicBezTo>
                <a:cubicBezTo>
                  <a:pt x="10636830" y="547804"/>
                  <a:pt x="10630782" y="545902"/>
                  <a:pt x="10625339" y="546854"/>
                </a:cubicBezTo>
                <a:close/>
                <a:moveTo>
                  <a:pt x="9253781" y="539957"/>
                </a:moveTo>
                <a:cubicBezTo>
                  <a:pt x="9269505" y="540194"/>
                  <a:pt x="9287043" y="545426"/>
                  <a:pt x="9287648" y="554464"/>
                </a:cubicBezTo>
                <a:cubicBezTo>
                  <a:pt x="9320908" y="529492"/>
                  <a:pt x="9353564" y="553751"/>
                  <a:pt x="9388034" y="542811"/>
                </a:cubicBezTo>
                <a:cubicBezTo>
                  <a:pt x="9389244" y="558745"/>
                  <a:pt x="9404968" y="548043"/>
                  <a:pt x="9418876" y="561123"/>
                </a:cubicBezTo>
                <a:cubicBezTo>
                  <a:pt x="9481165" y="532583"/>
                  <a:pt x="9540430" y="553988"/>
                  <a:pt x="9596066" y="556842"/>
                </a:cubicBezTo>
                <a:cubicBezTo>
                  <a:pt x="9594252" y="542811"/>
                  <a:pt x="9582157" y="541383"/>
                  <a:pt x="9570063" y="542335"/>
                </a:cubicBezTo>
                <a:cubicBezTo>
                  <a:pt x="9599090" y="540670"/>
                  <a:pt x="9642632" y="548993"/>
                  <a:pt x="9676497" y="549708"/>
                </a:cubicBezTo>
                <a:cubicBezTo>
                  <a:pt x="9661984" y="594420"/>
                  <a:pt x="9661984" y="548519"/>
                  <a:pt x="9640817" y="580388"/>
                </a:cubicBezTo>
                <a:cubicBezTo>
                  <a:pt x="9570667" y="582529"/>
                  <a:pt x="9467256" y="555416"/>
                  <a:pt x="9392873" y="584907"/>
                </a:cubicBezTo>
                <a:cubicBezTo>
                  <a:pt x="9401944" y="557794"/>
                  <a:pt x="9353564" y="595372"/>
                  <a:pt x="9338445" y="598226"/>
                </a:cubicBezTo>
                <a:cubicBezTo>
                  <a:pt x="9341470" y="588475"/>
                  <a:pt x="9351750" y="585858"/>
                  <a:pt x="9359611" y="580388"/>
                </a:cubicBezTo>
                <a:cubicBezTo>
                  <a:pt x="9328166" y="534010"/>
                  <a:pt x="9270110" y="570398"/>
                  <a:pt x="9232011" y="553275"/>
                </a:cubicBezTo>
                <a:cubicBezTo>
                  <a:pt x="9224150" y="543524"/>
                  <a:pt x="9238058" y="539481"/>
                  <a:pt x="9253781" y="539957"/>
                </a:cubicBezTo>
                <a:close/>
                <a:moveTo>
                  <a:pt x="9721248" y="538053"/>
                </a:moveTo>
                <a:cubicBezTo>
                  <a:pt x="9729110" y="538768"/>
                  <a:pt x="9743019" y="548280"/>
                  <a:pt x="9740600" y="558983"/>
                </a:cubicBezTo>
                <a:cubicBezTo>
                  <a:pt x="9726086" y="563740"/>
                  <a:pt x="9722457" y="582053"/>
                  <a:pt x="9701291" y="578247"/>
                </a:cubicBezTo>
                <a:cubicBezTo>
                  <a:pt x="9707339" y="554226"/>
                  <a:pt x="9690406" y="560886"/>
                  <a:pt x="9675893" y="559696"/>
                </a:cubicBezTo>
                <a:cubicBezTo>
                  <a:pt x="9678311" y="523070"/>
                  <a:pt x="9704920" y="558269"/>
                  <a:pt x="9716410" y="565405"/>
                </a:cubicBezTo>
                <a:cubicBezTo>
                  <a:pt x="9730924" y="564691"/>
                  <a:pt x="9724877" y="547330"/>
                  <a:pt x="9715201" y="540433"/>
                </a:cubicBezTo>
                <a:cubicBezTo>
                  <a:pt x="9716410" y="538529"/>
                  <a:pt x="9718225" y="537816"/>
                  <a:pt x="9721248" y="538053"/>
                </a:cubicBezTo>
                <a:close/>
                <a:moveTo>
                  <a:pt x="9094734" y="531870"/>
                </a:moveTo>
                <a:cubicBezTo>
                  <a:pt x="9143719" y="536151"/>
                  <a:pt x="9176979" y="529254"/>
                  <a:pt x="9222939" y="545189"/>
                </a:cubicBezTo>
                <a:cubicBezTo>
                  <a:pt x="9189679" y="558745"/>
                  <a:pt x="9148556" y="538768"/>
                  <a:pt x="9091106" y="552562"/>
                </a:cubicBezTo>
                <a:cubicBezTo>
                  <a:pt x="9089292" y="540670"/>
                  <a:pt x="9094129" y="541146"/>
                  <a:pt x="9094734" y="531870"/>
                </a:cubicBezTo>
                <a:close/>
                <a:moveTo>
                  <a:pt x="7528449" y="529492"/>
                </a:moveTo>
                <a:cubicBezTo>
                  <a:pt x="7535102" y="535914"/>
                  <a:pt x="7534497" y="551134"/>
                  <a:pt x="7546592" y="552086"/>
                </a:cubicBezTo>
                <a:lnTo>
                  <a:pt x="7547801" y="584431"/>
                </a:lnTo>
                <a:cubicBezTo>
                  <a:pt x="7542964" y="576345"/>
                  <a:pt x="7524821" y="551847"/>
                  <a:pt x="7527845" y="584431"/>
                </a:cubicBezTo>
                <a:cubicBezTo>
                  <a:pt x="7518773" y="572063"/>
                  <a:pt x="7515750" y="573967"/>
                  <a:pt x="7503050" y="578723"/>
                </a:cubicBezTo>
                <a:cubicBezTo>
                  <a:pt x="7496398" y="564691"/>
                  <a:pt x="7516959" y="555177"/>
                  <a:pt x="7497003" y="557318"/>
                </a:cubicBezTo>
                <a:cubicBezTo>
                  <a:pt x="7498212" y="536389"/>
                  <a:pt x="7519983" y="542096"/>
                  <a:pt x="7528449" y="529492"/>
                </a:cubicBezTo>
                <a:close/>
                <a:moveTo>
                  <a:pt x="10012130" y="529016"/>
                </a:moveTo>
                <a:lnTo>
                  <a:pt x="10035110" y="529016"/>
                </a:lnTo>
                <a:cubicBezTo>
                  <a:pt x="10033900" y="544000"/>
                  <a:pt x="10027853" y="551134"/>
                  <a:pt x="10010920" y="551610"/>
                </a:cubicBezTo>
                <a:close/>
                <a:moveTo>
                  <a:pt x="10081071" y="527113"/>
                </a:moveTo>
                <a:cubicBezTo>
                  <a:pt x="10091351" y="534248"/>
                  <a:pt x="10094979" y="552799"/>
                  <a:pt x="10107679" y="557794"/>
                </a:cubicBezTo>
                <a:cubicBezTo>
                  <a:pt x="10102841" y="565642"/>
                  <a:pt x="10077442" y="551372"/>
                  <a:pt x="10081071" y="527113"/>
                </a:cubicBezTo>
                <a:close/>
                <a:moveTo>
                  <a:pt x="2524803" y="518076"/>
                </a:moveTo>
                <a:cubicBezTo>
                  <a:pt x="2529038" y="521880"/>
                  <a:pt x="2531456" y="527351"/>
                  <a:pt x="2533270" y="532821"/>
                </a:cubicBezTo>
                <a:cubicBezTo>
                  <a:pt x="2536293" y="531394"/>
                  <a:pt x="2541132" y="528303"/>
                  <a:pt x="2548389" y="529016"/>
                </a:cubicBezTo>
                <a:cubicBezTo>
                  <a:pt x="2552018" y="545189"/>
                  <a:pt x="2537504" y="538529"/>
                  <a:pt x="2527828" y="539481"/>
                </a:cubicBezTo>
                <a:cubicBezTo>
                  <a:pt x="2522989" y="533773"/>
                  <a:pt x="2524199" y="526875"/>
                  <a:pt x="2524803" y="518076"/>
                </a:cubicBezTo>
                <a:close/>
                <a:moveTo>
                  <a:pt x="9082035" y="515222"/>
                </a:moveTo>
                <a:cubicBezTo>
                  <a:pt x="9091106" y="517837"/>
                  <a:pt x="9082035" y="543524"/>
                  <a:pt x="9086267" y="556842"/>
                </a:cubicBezTo>
                <a:cubicBezTo>
                  <a:pt x="9069940" y="557318"/>
                  <a:pt x="9056030" y="555653"/>
                  <a:pt x="9051797" y="544000"/>
                </a:cubicBezTo>
                <a:cubicBezTo>
                  <a:pt x="9057845" y="524021"/>
                  <a:pt x="9068731" y="542096"/>
                  <a:pt x="9080825" y="531870"/>
                </a:cubicBezTo>
                <a:close/>
                <a:moveTo>
                  <a:pt x="9859734" y="513794"/>
                </a:moveTo>
                <a:cubicBezTo>
                  <a:pt x="9857920" y="544476"/>
                  <a:pt x="9863363" y="543048"/>
                  <a:pt x="9876062" y="576821"/>
                </a:cubicBezTo>
                <a:cubicBezTo>
                  <a:pt x="9863363" y="579912"/>
                  <a:pt x="9863968" y="565642"/>
                  <a:pt x="9849453" y="570637"/>
                </a:cubicBezTo>
                <a:cubicBezTo>
                  <a:pt x="9849453" y="562551"/>
                  <a:pt x="9861549" y="565405"/>
                  <a:pt x="9868805" y="564216"/>
                </a:cubicBezTo>
                <a:cubicBezTo>
                  <a:pt x="9867596" y="551610"/>
                  <a:pt x="9850059" y="558507"/>
                  <a:pt x="9850664" y="546378"/>
                </a:cubicBezTo>
                <a:cubicBezTo>
                  <a:pt x="9826473" y="589425"/>
                  <a:pt x="9785351" y="581339"/>
                  <a:pt x="9747857" y="596561"/>
                </a:cubicBezTo>
                <a:cubicBezTo>
                  <a:pt x="9754509" y="574680"/>
                  <a:pt x="9781723" y="558269"/>
                  <a:pt x="9753299" y="545665"/>
                </a:cubicBezTo>
                <a:cubicBezTo>
                  <a:pt x="9776885" y="555891"/>
                  <a:pt x="9851268" y="572539"/>
                  <a:pt x="9859734" y="513794"/>
                </a:cubicBezTo>
                <a:close/>
                <a:moveTo>
                  <a:pt x="8890936" y="504757"/>
                </a:moveTo>
                <a:cubicBezTo>
                  <a:pt x="8895774" y="503330"/>
                  <a:pt x="8895169" y="506897"/>
                  <a:pt x="8897587" y="510940"/>
                </a:cubicBezTo>
                <a:cubicBezTo>
                  <a:pt x="8911498" y="516172"/>
                  <a:pt x="8937501" y="530681"/>
                  <a:pt x="8971366" y="529492"/>
                </a:cubicBezTo>
                <a:cubicBezTo>
                  <a:pt x="8966528" y="566831"/>
                  <a:pt x="8921778" y="501427"/>
                  <a:pt x="8926616" y="547567"/>
                </a:cubicBezTo>
                <a:cubicBezTo>
                  <a:pt x="8919963" y="537103"/>
                  <a:pt x="8898192" y="544713"/>
                  <a:pt x="8891541" y="534248"/>
                </a:cubicBezTo>
                <a:cubicBezTo>
                  <a:pt x="8901821" y="523070"/>
                  <a:pt x="8892146" y="520691"/>
                  <a:pt x="8890936" y="504757"/>
                </a:cubicBezTo>
                <a:close/>
                <a:moveTo>
                  <a:pt x="2070037" y="497860"/>
                </a:moveTo>
                <a:cubicBezTo>
                  <a:pt x="2085760" y="514509"/>
                  <a:pt x="2049476" y="526875"/>
                  <a:pt x="2032543" y="531394"/>
                </a:cubicBezTo>
                <a:cubicBezTo>
                  <a:pt x="2039195" y="512605"/>
                  <a:pt x="2068828" y="520930"/>
                  <a:pt x="2070037" y="497860"/>
                </a:cubicBezTo>
                <a:close/>
                <a:moveTo>
                  <a:pt x="2562298" y="490724"/>
                </a:moveTo>
                <a:cubicBezTo>
                  <a:pt x="2575602" y="499525"/>
                  <a:pt x="2585882" y="512130"/>
                  <a:pt x="2605839" y="513794"/>
                </a:cubicBezTo>
                <a:cubicBezTo>
                  <a:pt x="2605235" y="525449"/>
                  <a:pt x="2585882" y="514270"/>
                  <a:pt x="2589512" y="529967"/>
                </a:cubicBezTo>
                <a:cubicBezTo>
                  <a:pt x="2583464" y="521643"/>
                  <a:pt x="2576813" y="513320"/>
                  <a:pt x="2570764" y="501190"/>
                </a:cubicBezTo>
                <a:cubicBezTo>
                  <a:pt x="2566532" y="502616"/>
                  <a:pt x="2567741" y="512844"/>
                  <a:pt x="2565322" y="520454"/>
                </a:cubicBezTo>
                <a:cubicBezTo>
                  <a:pt x="2559275" y="512130"/>
                  <a:pt x="2555040" y="497860"/>
                  <a:pt x="2562298" y="490724"/>
                </a:cubicBezTo>
                <a:close/>
                <a:moveTo>
                  <a:pt x="8498457" y="489059"/>
                </a:moveTo>
                <a:cubicBezTo>
                  <a:pt x="8501481" y="489535"/>
                  <a:pt x="8503295" y="490724"/>
                  <a:pt x="8504504" y="492628"/>
                </a:cubicBezTo>
                <a:cubicBezTo>
                  <a:pt x="8499062" y="506422"/>
                  <a:pt x="8481524" y="512130"/>
                  <a:pt x="8474872" y="499525"/>
                </a:cubicBezTo>
                <a:cubicBezTo>
                  <a:pt x="8477292" y="495006"/>
                  <a:pt x="8483944" y="491200"/>
                  <a:pt x="8489990" y="489774"/>
                </a:cubicBezTo>
                <a:cubicBezTo>
                  <a:pt x="8493014" y="488822"/>
                  <a:pt x="8496039" y="488822"/>
                  <a:pt x="8498457" y="489059"/>
                </a:cubicBezTo>
                <a:close/>
                <a:moveTo>
                  <a:pt x="8599450" y="488346"/>
                </a:moveTo>
                <a:cubicBezTo>
                  <a:pt x="8587960" y="486444"/>
                  <a:pt x="8577679" y="487396"/>
                  <a:pt x="8568608" y="490250"/>
                </a:cubicBezTo>
                <a:cubicBezTo>
                  <a:pt x="8590378" y="500000"/>
                  <a:pt x="8613963" y="505946"/>
                  <a:pt x="8635734" y="495957"/>
                </a:cubicBezTo>
                <a:cubicBezTo>
                  <a:pt x="8624848" y="493578"/>
                  <a:pt x="8612149" y="490250"/>
                  <a:pt x="8599450" y="488346"/>
                </a:cubicBezTo>
                <a:close/>
                <a:moveTo>
                  <a:pt x="8601264" y="475028"/>
                </a:moveTo>
                <a:cubicBezTo>
                  <a:pt x="8616986" y="477406"/>
                  <a:pt x="8631501" y="485016"/>
                  <a:pt x="8636943" y="495006"/>
                </a:cubicBezTo>
                <a:cubicBezTo>
                  <a:pt x="8642387" y="492389"/>
                  <a:pt x="8647828" y="491200"/>
                  <a:pt x="8652062" y="486207"/>
                </a:cubicBezTo>
                <a:cubicBezTo>
                  <a:pt x="8702861" y="521406"/>
                  <a:pt x="8764544" y="493817"/>
                  <a:pt x="8811715" y="504043"/>
                </a:cubicBezTo>
                <a:cubicBezTo>
                  <a:pt x="8816552" y="541146"/>
                  <a:pt x="8857070" y="510227"/>
                  <a:pt x="8881865" y="530919"/>
                </a:cubicBezTo>
                <a:cubicBezTo>
                  <a:pt x="8853442" y="565166"/>
                  <a:pt x="8813528" y="512368"/>
                  <a:pt x="8772406" y="523308"/>
                </a:cubicBezTo>
                <a:cubicBezTo>
                  <a:pt x="8771801" y="531394"/>
                  <a:pt x="8773615" y="535914"/>
                  <a:pt x="8776035" y="535914"/>
                </a:cubicBezTo>
                <a:cubicBezTo>
                  <a:pt x="8751844" y="535914"/>
                  <a:pt x="8708908" y="534010"/>
                  <a:pt x="8673229" y="537103"/>
                </a:cubicBezTo>
                <a:cubicBezTo>
                  <a:pt x="8672624" y="543048"/>
                  <a:pt x="8678066" y="541859"/>
                  <a:pt x="8682904" y="542335"/>
                </a:cubicBezTo>
                <a:cubicBezTo>
                  <a:pt x="8644200" y="547091"/>
                  <a:pt x="8594006" y="544713"/>
                  <a:pt x="8547442" y="561123"/>
                </a:cubicBezTo>
                <a:cubicBezTo>
                  <a:pt x="8584936" y="533773"/>
                  <a:pt x="8560746" y="495243"/>
                  <a:pt x="8542604" y="479309"/>
                </a:cubicBezTo>
                <a:cubicBezTo>
                  <a:pt x="8548046" y="482401"/>
                  <a:pt x="8558327" y="485492"/>
                  <a:pt x="8565584" y="489059"/>
                </a:cubicBezTo>
                <a:cubicBezTo>
                  <a:pt x="8571026" y="476930"/>
                  <a:pt x="8586144" y="472887"/>
                  <a:pt x="8601264" y="475028"/>
                </a:cubicBezTo>
                <a:close/>
                <a:moveTo>
                  <a:pt x="2160748" y="474552"/>
                </a:moveTo>
                <a:cubicBezTo>
                  <a:pt x="2173448" y="479547"/>
                  <a:pt x="2177076" y="506660"/>
                  <a:pt x="2157120" y="502854"/>
                </a:cubicBezTo>
                <a:cubicBezTo>
                  <a:pt x="2152887" y="487157"/>
                  <a:pt x="2162563" y="488109"/>
                  <a:pt x="2160748" y="474552"/>
                </a:cubicBezTo>
                <a:close/>
                <a:moveTo>
                  <a:pt x="8458544" y="474077"/>
                </a:moveTo>
                <a:cubicBezTo>
                  <a:pt x="8457940" y="523070"/>
                  <a:pt x="8397465" y="500951"/>
                  <a:pt x="8359971" y="504043"/>
                </a:cubicBezTo>
                <a:cubicBezTo>
                  <a:pt x="8360575" y="493817"/>
                  <a:pt x="8356343" y="487633"/>
                  <a:pt x="8349085" y="485016"/>
                </a:cubicBezTo>
                <a:cubicBezTo>
                  <a:pt x="8374485" y="472887"/>
                  <a:pt x="8426493" y="510227"/>
                  <a:pt x="8458544" y="474077"/>
                </a:cubicBezTo>
                <a:close/>
                <a:moveTo>
                  <a:pt x="1651555" y="473601"/>
                </a:moveTo>
                <a:cubicBezTo>
                  <a:pt x="1656997" y="472174"/>
                  <a:pt x="1666068" y="473839"/>
                  <a:pt x="1678768" y="481212"/>
                </a:cubicBezTo>
                <a:cubicBezTo>
                  <a:pt x="1648530" y="506897"/>
                  <a:pt x="1635226" y="477406"/>
                  <a:pt x="1651555" y="473601"/>
                </a:cubicBezTo>
                <a:close/>
                <a:moveTo>
                  <a:pt x="1999887" y="452671"/>
                </a:moveTo>
                <a:cubicBezTo>
                  <a:pt x="1981744" y="467180"/>
                  <a:pt x="1982349" y="499049"/>
                  <a:pt x="1973278" y="524260"/>
                </a:cubicBezTo>
                <a:cubicBezTo>
                  <a:pt x="1970859" y="532108"/>
                  <a:pt x="1970859" y="446250"/>
                  <a:pt x="1999887" y="452671"/>
                </a:cubicBezTo>
                <a:close/>
                <a:moveTo>
                  <a:pt x="6476066" y="431777"/>
                </a:moveTo>
                <a:lnTo>
                  <a:pt x="6476801" y="431981"/>
                </a:lnTo>
                <a:cubicBezTo>
                  <a:pt x="6474382" y="431742"/>
                  <a:pt x="6469544" y="433407"/>
                  <a:pt x="6471963" y="437213"/>
                </a:cubicBezTo>
                <a:close/>
                <a:moveTo>
                  <a:pt x="7714105" y="421515"/>
                </a:moveTo>
                <a:cubicBezTo>
                  <a:pt x="7723782" y="423180"/>
                  <a:pt x="7732853" y="430553"/>
                  <a:pt x="7744343" y="436261"/>
                </a:cubicBezTo>
                <a:cubicBezTo>
                  <a:pt x="7726805" y="413428"/>
                  <a:pt x="7845939" y="438402"/>
                  <a:pt x="7772766" y="436261"/>
                </a:cubicBezTo>
                <a:cubicBezTo>
                  <a:pt x="7760065" y="454574"/>
                  <a:pt x="7744343" y="436261"/>
                  <a:pt x="7734062" y="450531"/>
                </a:cubicBezTo>
                <a:cubicBezTo>
                  <a:pt x="7729828" y="445774"/>
                  <a:pt x="7724991" y="438876"/>
                  <a:pt x="7723177" y="430077"/>
                </a:cubicBezTo>
                <a:cubicBezTo>
                  <a:pt x="7715920" y="440304"/>
                  <a:pt x="7705639" y="452671"/>
                  <a:pt x="7690521" y="431981"/>
                </a:cubicBezTo>
                <a:cubicBezTo>
                  <a:pt x="7695358" y="426510"/>
                  <a:pt x="7700197" y="423418"/>
                  <a:pt x="7704430" y="421991"/>
                </a:cubicBezTo>
                <a:cubicBezTo>
                  <a:pt x="7707453" y="421040"/>
                  <a:pt x="7711082" y="421040"/>
                  <a:pt x="7714105" y="421515"/>
                </a:cubicBezTo>
                <a:close/>
                <a:moveTo>
                  <a:pt x="7662098" y="417472"/>
                </a:moveTo>
                <a:cubicBezTo>
                  <a:pt x="7669355" y="418186"/>
                  <a:pt x="7677822" y="421040"/>
                  <a:pt x="7683868" y="419137"/>
                </a:cubicBezTo>
                <a:cubicBezTo>
                  <a:pt x="7679635" y="452671"/>
                  <a:pt x="7659679" y="428412"/>
                  <a:pt x="7645769" y="424845"/>
                </a:cubicBezTo>
                <a:cubicBezTo>
                  <a:pt x="7647584" y="417234"/>
                  <a:pt x="7654236" y="416521"/>
                  <a:pt x="7662098" y="417472"/>
                </a:cubicBezTo>
                <a:close/>
                <a:moveTo>
                  <a:pt x="6473172" y="416045"/>
                </a:moveTo>
                <a:cubicBezTo>
                  <a:pt x="6477405" y="416758"/>
                  <a:pt x="6481639" y="418661"/>
                  <a:pt x="6483453" y="421991"/>
                </a:cubicBezTo>
                <a:lnTo>
                  <a:pt x="6476066" y="431777"/>
                </a:lnTo>
                <a:lnTo>
                  <a:pt x="6463648" y="428353"/>
                </a:lnTo>
                <a:cubicBezTo>
                  <a:pt x="6457298" y="427581"/>
                  <a:pt x="6451402" y="428888"/>
                  <a:pt x="6453215" y="437213"/>
                </a:cubicBezTo>
                <a:cubicBezTo>
                  <a:pt x="6443540" y="427223"/>
                  <a:pt x="6449587" y="420326"/>
                  <a:pt x="6458659" y="417472"/>
                </a:cubicBezTo>
                <a:cubicBezTo>
                  <a:pt x="6462892" y="415807"/>
                  <a:pt x="6468335" y="415332"/>
                  <a:pt x="6473172" y="416045"/>
                </a:cubicBezTo>
                <a:close/>
                <a:moveTo>
                  <a:pt x="7600414" y="404153"/>
                </a:moveTo>
                <a:cubicBezTo>
                  <a:pt x="7607671" y="401775"/>
                  <a:pt x="7618556" y="411050"/>
                  <a:pt x="7624603" y="411763"/>
                </a:cubicBezTo>
                <a:cubicBezTo>
                  <a:pt x="7617347" y="432694"/>
                  <a:pt x="7602832" y="420564"/>
                  <a:pt x="7594970" y="411050"/>
                </a:cubicBezTo>
                <a:cubicBezTo>
                  <a:pt x="7596181" y="407007"/>
                  <a:pt x="7597995" y="404868"/>
                  <a:pt x="7600414" y="404153"/>
                </a:cubicBezTo>
                <a:close/>
                <a:moveTo>
                  <a:pt x="8652062" y="386078"/>
                </a:moveTo>
                <a:cubicBezTo>
                  <a:pt x="8656900" y="392975"/>
                  <a:pt x="8658714" y="404153"/>
                  <a:pt x="8658109" y="419137"/>
                </a:cubicBezTo>
                <a:cubicBezTo>
                  <a:pt x="8642991" y="422229"/>
                  <a:pt x="8643596" y="407007"/>
                  <a:pt x="8628476" y="412239"/>
                </a:cubicBezTo>
                <a:cubicBezTo>
                  <a:pt x="8629686" y="394878"/>
                  <a:pt x="8637548" y="384889"/>
                  <a:pt x="8652062" y="386078"/>
                </a:cubicBezTo>
                <a:close/>
                <a:moveTo>
                  <a:pt x="7502445" y="379894"/>
                </a:moveTo>
                <a:cubicBezTo>
                  <a:pt x="7525425" y="405105"/>
                  <a:pt x="7556267" y="386078"/>
                  <a:pt x="7587714" y="402251"/>
                </a:cubicBezTo>
                <a:cubicBezTo>
                  <a:pt x="7576829" y="416758"/>
                  <a:pt x="7542964" y="402488"/>
                  <a:pt x="7532683" y="415093"/>
                </a:cubicBezTo>
                <a:cubicBezTo>
                  <a:pt x="7526635" y="383461"/>
                  <a:pt x="7497607" y="416521"/>
                  <a:pt x="7491560" y="390834"/>
                </a:cubicBezTo>
                <a:cubicBezTo>
                  <a:pt x="7492165" y="385126"/>
                  <a:pt x="7501841" y="387505"/>
                  <a:pt x="7502445" y="379894"/>
                </a:cubicBezTo>
                <a:close/>
                <a:moveTo>
                  <a:pt x="6583236" y="373473"/>
                </a:moveTo>
                <a:cubicBezTo>
                  <a:pt x="6562070" y="371571"/>
                  <a:pt x="6566303" y="383937"/>
                  <a:pt x="6567512" y="397970"/>
                </a:cubicBezTo>
                <a:cubicBezTo>
                  <a:pt x="6569932" y="400110"/>
                  <a:pt x="6572349" y="402251"/>
                  <a:pt x="6574165" y="406531"/>
                </a:cubicBezTo>
                <a:cubicBezTo>
                  <a:pt x="6591097" y="405818"/>
                  <a:pt x="6556022" y="388932"/>
                  <a:pt x="6575979" y="382748"/>
                </a:cubicBezTo>
                <a:cubicBezTo>
                  <a:pt x="6580817" y="383224"/>
                  <a:pt x="6582632" y="383224"/>
                  <a:pt x="6582632" y="383224"/>
                </a:cubicBezTo>
                <a:cubicBezTo>
                  <a:pt x="6583236" y="379418"/>
                  <a:pt x="6583236" y="377279"/>
                  <a:pt x="6583236" y="373473"/>
                </a:cubicBezTo>
                <a:close/>
                <a:moveTo>
                  <a:pt x="7385125" y="370143"/>
                </a:moveTo>
                <a:cubicBezTo>
                  <a:pt x="7394196" y="376327"/>
                  <a:pt x="7396010" y="391073"/>
                  <a:pt x="7400244" y="398921"/>
                </a:cubicBezTo>
                <a:cubicBezTo>
                  <a:pt x="7422014" y="400823"/>
                  <a:pt x="7435924" y="397970"/>
                  <a:pt x="7434714" y="375851"/>
                </a:cubicBezTo>
                <a:cubicBezTo>
                  <a:pt x="7439553" y="379894"/>
                  <a:pt x="7450438" y="401299"/>
                  <a:pt x="7452252" y="377516"/>
                </a:cubicBezTo>
                <a:cubicBezTo>
                  <a:pt x="7472813" y="392262"/>
                  <a:pt x="7479464" y="396305"/>
                  <a:pt x="7490351" y="417472"/>
                </a:cubicBezTo>
                <a:cubicBezTo>
                  <a:pt x="7437737" y="420088"/>
                  <a:pt x="7383915" y="386078"/>
                  <a:pt x="7336141" y="420802"/>
                </a:cubicBezTo>
                <a:cubicBezTo>
                  <a:pt x="7341583" y="410100"/>
                  <a:pt x="7364563" y="388694"/>
                  <a:pt x="7335537" y="387980"/>
                </a:cubicBezTo>
                <a:cubicBezTo>
                  <a:pt x="7343398" y="372046"/>
                  <a:pt x="7387544" y="407007"/>
                  <a:pt x="7385125" y="370143"/>
                </a:cubicBezTo>
                <a:close/>
                <a:moveTo>
                  <a:pt x="6532966" y="368188"/>
                </a:moveTo>
                <a:cubicBezTo>
                  <a:pt x="6531682" y="366888"/>
                  <a:pt x="6529565" y="366576"/>
                  <a:pt x="6525785" y="368241"/>
                </a:cubicBezTo>
                <a:cubicBezTo>
                  <a:pt x="6496758" y="415332"/>
                  <a:pt x="6441725" y="374662"/>
                  <a:pt x="6398789" y="412715"/>
                </a:cubicBezTo>
                <a:cubicBezTo>
                  <a:pt x="6412093" y="427699"/>
                  <a:pt x="6440517" y="397019"/>
                  <a:pt x="6445354" y="437213"/>
                </a:cubicBezTo>
                <a:cubicBezTo>
                  <a:pt x="6430235" y="449817"/>
                  <a:pt x="6416932" y="426747"/>
                  <a:pt x="6415116" y="454336"/>
                </a:cubicBezTo>
                <a:cubicBezTo>
                  <a:pt x="6435074" y="448153"/>
                  <a:pt x="6439307" y="461709"/>
                  <a:pt x="6450797" y="464800"/>
                </a:cubicBezTo>
                <a:cubicBezTo>
                  <a:pt x="6476195" y="449104"/>
                  <a:pt x="6502805" y="438163"/>
                  <a:pt x="6518528" y="411763"/>
                </a:cubicBezTo>
                <a:cubicBezTo>
                  <a:pt x="6523366" y="412002"/>
                  <a:pt x="6528204" y="412002"/>
                  <a:pt x="6535461" y="412715"/>
                </a:cubicBezTo>
                <a:cubicBezTo>
                  <a:pt x="6538485" y="402964"/>
                  <a:pt x="6541507" y="393451"/>
                  <a:pt x="6544532" y="379894"/>
                </a:cubicBezTo>
                <a:cubicBezTo>
                  <a:pt x="6533194" y="384889"/>
                  <a:pt x="6536822" y="372091"/>
                  <a:pt x="6532966" y="368188"/>
                </a:cubicBezTo>
                <a:close/>
                <a:moveTo>
                  <a:pt x="7224868" y="364911"/>
                </a:moveTo>
                <a:cubicBezTo>
                  <a:pt x="7232126" y="365386"/>
                  <a:pt x="7238172" y="372284"/>
                  <a:pt x="7235149" y="387505"/>
                </a:cubicBezTo>
                <a:cubicBezTo>
                  <a:pt x="7232730" y="383700"/>
                  <a:pt x="7226077" y="384650"/>
                  <a:pt x="7220636" y="383700"/>
                </a:cubicBezTo>
                <a:cubicBezTo>
                  <a:pt x="7215192" y="383224"/>
                  <a:pt x="7207935" y="382511"/>
                  <a:pt x="7201888" y="387505"/>
                </a:cubicBezTo>
                <a:cubicBezTo>
                  <a:pt x="7203097" y="383224"/>
                  <a:pt x="7207935" y="379181"/>
                  <a:pt x="7212169" y="375851"/>
                </a:cubicBezTo>
                <a:cubicBezTo>
                  <a:pt x="7215192" y="368954"/>
                  <a:pt x="7220031" y="364435"/>
                  <a:pt x="7224868" y="364911"/>
                </a:cubicBezTo>
                <a:close/>
                <a:moveTo>
                  <a:pt x="7050097" y="353257"/>
                </a:moveTo>
                <a:cubicBezTo>
                  <a:pt x="7093640" y="370619"/>
                  <a:pt x="7102709" y="383224"/>
                  <a:pt x="7143833" y="365386"/>
                </a:cubicBezTo>
                <a:cubicBezTo>
                  <a:pt x="7149880" y="387267"/>
                  <a:pt x="7122666" y="368954"/>
                  <a:pt x="7123876" y="388456"/>
                </a:cubicBezTo>
                <a:cubicBezTo>
                  <a:pt x="7099081" y="374662"/>
                  <a:pt x="7071263" y="392262"/>
                  <a:pt x="7045864" y="382272"/>
                </a:cubicBezTo>
                <a:cubicBezTo>
                  <a:pt x="7051307" y="374901"/>
                  <a:pt x="7051307" y="367051"/>
                  <a:pt x="7050097" y="353257"/>
                </a:cubicBezTo>
                <a:close/>
                <a:moveTo>
                  <a:pt x="2018634" y="348262"/>
                </a:moveTo>
                <a:cubicBezTo>
                  <a:pt x="2028310" y="348977"/>
                  <a:pt x="2047058" y="366576"/>
                  <a:pt x="2053104" y="349214"/>
                </a:cubicBezTo>
                <a:cubicBezTo>
                  <a:pt x="2063989" y="374662"/>
                  <a:pt x="2030124" y="360392"/>
                  <a:pt x="2012586" y="367765"/>
                </a:cubicBezTo>
                <a:cubicBezTo>
                  <a:pt x="2015006" y="363484"/>
                  <a:pt x="2018029" y="357063"/>
                  <a:pt x="2018634" y="348262"/>
                </a:cubicBezTo>
                <a:close/>
                <a:moveTo>
                  <a:pt x="6119398" y="337798"/>
                </a:moveTo>
                <a:cubicBezTo>
                  <a:pt x="6084927" y="352781"/>
                  <a:pt x="6043805" y="323053"/>
                  <a:pt x="6027476" y="353257"/>
                </a:cubicBezTo>
                <a:cubicBezTo>
                  <a:pt x="6053480" y="365386"/>
                  <a:pt x="6107907" y="372521"/>
                  <a:pt x="6119398" y="337798"/>
                </a:cubicBezTo>
                <a:close/>
                <a:moveTo>
                  <a:pt x="6644920" y="333041"/>
                </a:moveTo>
                <a:cubicBezTo>
                  <a:pt x="6642501" y="332804"/>
                  <a:pt x="6639477" y="333041"/>
                  <a:pt x="6635849" y="334230"/>
                </a:cubicBezTo>
                <a:cubicBezTo>
                  <a:pt x="6635849" y="338036"/>
                  <a:pt x="6630405" y="347312"/>
                  <a:pt x="6629801" y="357300"/>
                </a:cubicBezTo>
                <a:cubicBezTo>
                  <a:pt x="6634638" y="355635"/>
                  <a:pt x="6639477" y="356348"/>
                  <a:pt x="6646734" y="354922"/>
                </a:cubicBezTo>
                <a:cubicBezTo>
                  <a:pt x="6652176" y="351355"/>
                  <a:pt x="6659434" y="346123"/>
                  <a:pt x="6664271" y="340652"/>
                </a:cubicBezTo>
                <a:cubicBezTo>
                  <a:pt x="6655806" y="339938"/>
                  <a:pt x="6652176" y="333993"/>
                  <a:pt x="6644920" y="333041"/>
                </a:cubicBezTo>
                <a:close/>
                <a:moveTo>
                  <a:pt x="6536672" y="315680"/>
                </a:moveTo>
                <a:cubicBezTo>
                  <a:pt x="6533042" y="333279"/>
                  <a:pt x="6502201" y="316869"/>
                  <a:pt x="6503409" y="338749"/>
                </a:cubicBezTo>
                <a:cubicBezTo>
                  <a:pt x="6522761" y="344457"/>
                  <a:pt x="6549974" y="330663"/>
                  <a:pt x="6536672" y="315680"/>
                </a:cubicBezTo>
                <a:close/>
                <a:moveTo>
                  <a:pt x="6458054" y="313301"/>
                </a:moveTo>
                <a:cubicBezTo>
                  <a:pt x="6453215" y="315204"/>
                  <a:pt x="6449587" y="320199"/>
                  <a:pt x="6446563" y="327809"/>
                </a:cubicBezTo>
                <a:cubicBezTo>
                  <a:pt x="6458659" y="326857"/>
                  <a:pt x="6473172" y="329950"/>
                  <a:pt x="6473777" y="316155"/>
                </a:cubicBezTo>
                <a:cubicBezTo>
                  <a:pt x="6467729" y="312588"/>
                  <a:pt x="6462892" y="311398"/>
                  <a:pt x="6458054" y="313301"/>
                </a:cubicBezTo>
                <a:close/>
                <a:moveTo>
                  <a:pt x="6664271" y="299031"/>
                </a:moveTo>
                <a:cubicBezTo>
                  <a:pt x="6666086" y="313063"/>
                  <a:pt x="6673342" y="317106"/>
                  <a:pt x="6665480" y="328285"/>
                </a:cubicBezTo>
                <a:cubicBezTo>
                  <a:pt x="6672737" y="327096"/>
                  <a:pt x="6682414" y="330425"/>
                  <a:pt x="6684832" y="322577"/>
                </a:cubicBezTo>
                <a:cubicBezTo>
                  <a:pt x="6665480" y="324955"/>
                  <a:pt x="6680599" y="310209"/>
                  <a:pt x="6678786" y="299983"/>
                </a:cubicBezTo>
                <a:close/>
                <a:moveTo>
                  <a:pt x="6194387" y="284523"/>
                </a:moveTo>
                <a:cubicBezTo>
                  <a:pt x="6190758" y="307831"/>
                  <a:pt x="6217367" y="308307"/>
                  <a:pt x="6213738" y="286188"/>
                </a:cubicBezTo>
                <a:close/>
                <a:moveTo>
                  <a:pt x="6164149" y="270016"/>
                </a:moveTo>
                <a:cubicBezTo>
                  <a:pt x="6156892" y="268588"/>
                  <a:pt x="6150845" y="270492"/>
                  <a:pt x="6151449" y="284523"/>
                </a:cubicBezTo>
                <a:cubicBezTo>
                  <a:pt x="6163544" y="287378"/>
                  <a:pt x="6181687" y="299268"/>
                  <a:pt x="6185315" y="279767"/>
                </a:cubicBezTo>
                <a:cubicBezTo>
                  <a:pt x="6179268" y="277150"/>
                  <a:pt x="6170801" y="271681"/>
                  <a:pt x="6164149" y="270016"/>
                </a:cubicBezTo>
                <a:close/>
                <a:moveTo>
                  <a:pt x="6623148" y="263594"/>
                </a:moveTo>
                <a:cubicBezTo>
                  <a:pt x="6629196" y="285950"/>
                  <a:pt x="6608635" y="274296"/>
                  <a:pt x="6612263" y="292610"/>
                </a:cubicBezTo>
                <a:cubicBezTo>
                  <a:pt x="6624359" y="289518"/>
                  <a:pt x="6631616" y="282383"/>
                  <a:pt x="6641895" y="275248"/>
                </a:cubicBezTo>
                <a:cubicBezTo>
                  <a:pt x="6629801" y="280242"/>
                  <a:pt x="6632825" y="264545"/>
                  <a:pt x="6623148" y="263594"/>
                </a:cubicBezTo>
                <a:close/>
                <a:moveTo>
                  <a:pt x="6441121" y="257886"/>
                </a:moveTo>
                <a:cubicBezTo>
                  <a:pt x="6404836" y="258837"/>
                  <a:pt x="6458054" y="302837"/>
                  <a:pt x="6452007" y="280480"/>
                </a:cubicBezTo>
                <a:lnTo>
                  <a:pt x="6442330" y="279767"/>
                </a:lnTo>
                <a:cubicBezTo>
                  <a:pt x="6450192" y="268588"/>
                  <a:pt x="6442330" y="273820"/>
                  <a:pt x="6441121" y="257886"/>
                </a:cubicBezTo>
                <a:close/>
                <a:moveTo>
                  <a:pt x="6378228" y="257410"/>
                </a:moveTo>
                <a:cubicBezTo>
                  <a:pt x="6372181" y="257410"/>
                  <a:pt x="6366738" y="261454"/>
                  <a:pt x="6366133" y="269301"/>
                </a:cubicBezTo>
                <a:cubicBezTo>
                  <a:pt x="6378228" y="266449"/>
                  <a:pt x="6380042" y="280242"/>
                  <a:pt x="6384879" y="278815"/>
                </a:cubicBezTo>
                <a:cubicBezTo>
                  <a:pt x="6380647" y="274296"/>
                  <a:pt x="6382461" y="272631"/>
                  <a:pt x="6390323" y="269301"/>
                </a:cubicBezTo>
                <a:cubicBezTo>
                  <a:pt x="6389113" y="261454"/>
                  <a:pt x="6383672" y="257410"/>
                  <a:pt x="6378228" y="257410"/>
                </a:cubicBezTo>
                <a:close/>
                <a:moveTo>
                  <a:pt x="6761030" y="248848"/>
                </a:moveTo>
                <a:cubicBezTo>
                  <a:pt x="6777963" y="256459"/>
                  <a:pt x="6759820" y="271205"/>
                  <a:pt x="6769496" y="278102"/>
                </a:cubicBezTo>
                <a:cubicBezTo>
                  <a:pt x="6771311" y="292610"/>
                  <a:pt x="6756796" y="285475"/>
                  <a:pt x="6756192" y="297605"/>
                </a:cubicBezTo>
                <a:cubicBezTo>
                  <a:pt x="6757401" y="275248"/>
                  <a:pt x="6745306" y="263594"/>
                  <a:pt x="6725955" y="253843"/>
                </a:cubicBezTo>
                <a:cubicBezTo>
                  <a:pt x="6729584" y="239810"/>
                  <a:pt x="6757401" y="277150"/>
                  <a:pt x="6761030" y="248848"/>
                </a:cubicBezTo>
                <a:close/>
                <a:moveTo>
                  <a:pt x="6608635" y="234817"/>
                </a:moveTo>
                <a:cubicBezTo>
                  <a:pt x="6603191" y="244092"/>
                  <a:pt x="6572955" y="261215"/>
                  <a:pt x="6566303" y="252654"/>
                </a:cubicBezTo>
                <a:cubicBezTo>
                  <a:pt x="6577188" y="267638"/>
                  <a:pt x="6556022" y="260026"/>
                  <a:pt x="6555418" y="275961"/>
                </a:cubicBezTo>
                <a:cubicBezTo>
                  <a:pt x="6569326" y="279053"/>
                  <a:pt x="6609240" y="266449"/>
                  <a:pt x="6608635" y="234817"/>
                </a:cubicBezTo>
                <a:close/>
                <a:moveTo>
                  <a:pt x="1190135" y="210082"/>
                </a:moveTo>
                <a:cubicBezTo>
                  <a:pt x="1202231" y="210558"/>
                  <a:pt x="1237910" y="222924"/>
                  <a:pt x="1232468" y="226730"/>
                </a:cubicBezTo>
                <a:lnTo>
                  <a:pt x="1200416" y="229584"/>
                </a:lnTo>
                <a:cubicBezTo>
                  <a:pt x="1196183" y="220546"/>
                  <a:pt x="1191951" y="217216"/>
                  <a:pt x="1187716" y="213886"/>
                </a:cubicBezTo>
                <a:cubicBezTo>
                  <a:pt x="1184088" y="210795"/>
                  <a:pt x="1185902" y="209843"/>
                  <a:pt x="1190135" y="210082"/>
                </a:cubicBezTo>
                <a:close/>
                <a:moveTo>
                  <a:pt x="5705148" y="208654"/>
                </a:moveTo>
                <a:cubicBezTo>
                  <a:pt x="5682773" y="209843"/>
                  <a:pt x="5657979" y="222211"/>
                  <a:pt x="5636208" y="224827"/>
                </a:cubicBezTo>
                <a:cubicBezTo>
                  <a:pt x="5653746" y="250276"/>
                  <a:pt x="5709382" y="240762"/>
                  <a:pt x="5725711" y="212460"/>
                </a:cubicBezTo>
                <a:cubicBezTo>
                  <a:pt x="5719058" y="209368"/>
                  <a:pt x="5712405" y="208417"/>
                  <a:pt x="5705148" y="208654"/>
                </a:cubicBezTo>
                <a:close/>
                <a:moveTo>
                  <a:pt x="6635849" y="199617"/>
                </a:moveTo>
                <a:cubicBezTo>
                  <a:pt x="6641895" y="201282"/>
                  <a:pt x="6644314" y="208417"/>
                  <a:pt x="6654595" y="206276"/>
                </a:cubicBezTo>
                <a:cubicBezTo>
                  <a:pt x="6654595" y="210319"/>
                  <a:pt x="6649757" y="209843"/>
                  <a:pt x="6647339" y="211508"/>
                </a:cubicBezTo>
                <a:cubicBezTo>
                  <a:pt x="6644920" y="215314"/>
                  <a:pt x="6647339" y="217692"/>
                  <a:pt x="6651573" y="218168"/>
                </a:cubicBezTo>
                <a:cubicBezTo>
                  <a:pt x="6649152" y="223637"/>
                  <a:pt x="6646734" y="221498"/>
                  <a:pt x="6646734" y="217455"/>
                </a:cubicBezTo>
                <a:cubicBezTo>
                  <a:pt x="6631010" y="212460"/>
                  <a:pt x="6637058" y="232200"/>
                  <a:pt x="6623753" y="229108"/>
                </a:cubicBezTo>
                <a:cubicBezTo>
                  <a:pt x="6628592" y="221735"/>
                  <a:pt x="6629196" y="213886"/>
                  <a:pt x="6627382" y="200093"/>
                </a:cubicBezTo>
                <a:cubicBezTo>
                  <a:pt x="6631010" y="198903"/>
                  <a:pt x="6633429" y="199141"/>
                  <a:pt x="6635849" y="199617"/>
                </a:cubicBezTo>
                <a:close/>
                <a:moveTo>
                  <a:pt x="5556383" y="199141"/>
                </a:moveTo>
                <a:cubicBezTo>
                  <a:pt x="5537030" y="200330"/>
                  <a:pt x="5512235" y="211747"/>
                  <a:pt x="5534611" y="236006"/>
                </a:cubicBezTo>
                <a:cubicBezTo>
                  <a:pt x="5545496" y="211271"/>
                  <a:pt x="5561221" y="228157"/>
                  <a:pt x="5582991" y="230060"/>
                </a:cubicBezTo>
                <a:cubicBezTo>
                  <a:pt x="5576340" y="215551"/>
                  <a:pt x="5586619" y="212697"/>
                  <a:pt x="5576943" y="205800"/>
                </a:cubicBezTo>
                <a:cubicBezTo>
                  <a:pt x="5568477" y="226967"/>
                  <a:pt x="5567872" y="198903"/>
                  <a:pt x="5572711" y="201282"/>
                </a:cubicBezTo>
                <a:cubicBezTo>
                  <a:pt x="5569081" y="199379"/>
                  <a:pt x="5563034" y="198665"/>
                  <a:pt x="5556383" y="199141"/>
                </a:cubicBezTo>
                <a:close/>
                <a:moveTo>
                  <a:pt x="5778323" y="190342"/>
                </a:moveTo>
                <a:cubicBezTo>
                  <a:pt x="5772879" y="190816"/>
                  <a:pt x="5767438" y="194622"/>
                  <a:pt x="5767438" y="202471"/>
                </a:cubicBezTo>
                <a:cubicBezTo>
                  <a:pt x="5776510" y="211271"/>
                  <a:pt x="5788604" y="205563"/>
                  <a:pt x="5791023" y="196050"/>
                </a:cubicBezTo>
                <a:cubicBezTo>
                  <a:pt x="5789207" y="191768"/>
                  <a:pt x="5783766" y="189627"/>
                  <a:pt x="5778323" y="190342"/>
                </a:cubicBezTo>
                <a:close/>
                <a:moveTo>
                  <a:pt x="4467845" y="189153"/>
                </a:moveTo>
                <a:cubicBezTo>
                  <a:pt x="4482963" y="189153"/>
                  <a:pt x="4499896" y="193196"/>
                  <a:pt x="4499291" y="201282"/>
                </a:cubicBezTo>
                <a:cubicBezTo>
                  <a:pt x="4531947" y="178212"/>
                  <a:pt x="4562185" y="202947"/>
                  <a:pt x="4596655" y="192007"/>
                </a:cubicBezTo>
                <a:cubicBezTo>
                  <a:pt x="4598470" y="208179"/>
                  <a:pt x="4611168" y="195098"/>
                  <a:pt x="4625078" y="208179"/>
                </a:cubicBezTo>
                <a:cubicBezTo>
                  <a:pt x="4684948" y="181541"/>
                  <a:pt x="4741793" y="202708"/>
                  <a:pt x="4792591" y="202947"/>
                </a:cubicBezTo>
                <a:cubicBezTo>
                  <a:pt x="4793196" y="195098"/>
                  <a:pt x="4785334" y="192244"/>
                  <a:pt x="4778077" y="191531"/>
                </a:cubicBezTo>
                <a:cubicBezTo>
                  <a:pt x="4805293" y="191768"/>
                  <a:pt x="4841576" y="196763"/>
                  <a:pt x="4870602" y="197239"/>
                </a:cubicBezTo>
                <a:cubicBezTo>
                  <a:pt x="4856089" y="239810"/>
                  <a:pt x="4856089" y="196050"/>
                  <a:pt x="4834924" y="226254"/>
                </a:cubicBezTo>
                <a:cubicBezTo>
                  <a:pt x="4769611" y="228395"/>
                  <a:pt x="4671643" y="203898"/>
                  <a:pt x="4602098" y="231962"/>
                </a:cubicBezTo>
                <a:cubicBezTo>
                  <a:pt x="4610563" y="206752"/>
                  <a:pt x="4562789" y="240762"/>
                  <a:pt x="4547670" y="243616"/>
                </a:cubicBezTo>
                <a:cubicBezTo>
                  <a:pt x="4553113" y="236006"/>
                  <a:pt x="4560370" y="232913"/>
                  <a:pt x="4568232" y="225541"/>
                </a:cubicBezTo>
                <a:cubicBezTo>
                  <a:pt x="4539205" y="183445"/>
                  <a:pt x="4483567" y="216027"/>
                  <a:pt x="4447888" y="202947"/>
                </a:cubicBezTo>
                <a:cubicBezTo>
                  <a:pt x="4440027" y="193433"/>
                  <a:pt x="4453331" y="189153"/>
                  <a:pt x="4467845" y="189153"/>
                </a:cubicBezTo>
                <a:close/>
                <a:moveTo>
                  <a:pt x="4914750" y="187249"/>
                </a:moveTo>
                <a:cubicBezTo>
                  <a:pt x="4922007" y="187249"/>
                  <a:pt x="4936520" y="195335"/>
                  <a:pt x="4934101" y="206276"/>
                </a:cubicBezTo>
                <a:cubicBezTo>
                  <a:pt x="4921402" y="209130"/>
                  <a:pt x="4915959" y="225541"/>
                  <a:pt x="4896003" y="221974"/>
                </a:cubicBezTo>
                <a:cubicBezTo>
                  <a:pt x="4902050" y="199854"/>
                  <a:pt x="4884513" y="206514"/>
                  <a:pt x="4872418" y="205325"/>
                </a:cubicBezTo>
                <a:cubicBezTo>
                  <a:pt x="4871812" y="173217"/>
                  <a:pt x="4902050" y="204136"/>
                  <a:pt x="4911726" y="210558"/>
                </a:cubicBezTo>
                <a:cubicBezTo>
                  <a:pt x="4924424" y="209843"/>
                  <a:pt x="4920192" y="194385"/>
                  <a:pt x="4910516" y="189627"/>
                </a:cubicBezTo>
                <a:cubicBezTo>
                  <a:pt x="4910516" y="187964"/>
                  <a:pt x="4912330" y="187012"/>
                  <a:pt x="4914750" y="187249"/>
                </a:cubicBezTo>
                <a:close/>
                <a:moveTo>
                  <a:pt x="4320288" y="181066"/>
                </a:moveTo>
                <a:cubicBezTo>
                  <a:pt x="4365038" y="184871"/>
                  <a:pt x="4398300" y="181304"/>
                  <a:pt x="4439422" y="193196"/>
                </a:cubicBezTo>
                <a:cubicBezTo>
                  <a:pt x="4410998" y="205087"/>
                  <a:pt x="4371690" y="187249"/>
                  <a:pt x="4314844" y="198903"/>
                </a:cubicBezTo>
                <a:cubicBezTo>
                  <a:pt x="4313030" y="190579"/>
                  <a:pt x="4320288" y="189390"/>
                  <a:pt x="4320288" y="181066"/>
                </a:cubicBezTo>
                <a:close/>
                <a:moveTo>
                  <a:pt x="5191117" y="175833"/>
                </a:moveTo>
                <a:lnTo>
                  <a:pt x="5213493" y="177498"/>
                </a:lnTo>
                <a:cubicBezTo>
                  <a:pt x="5212887" y="191768"/>
                  <a:pt x="5203817" y="199379"/>
                  <a:pt x="5189907" y="200093"/>
                </a:cubicBezTo>
                <a:close/>
                <a:moveTo>
                  <a:pt x="5250987" y="174644"/>
                </a:moveTo>
                <a:cubicBezTo>
                  <a:pt x="5264291" y="180115"/>
                  <a:pt x="5265501" y="199854"/>
                  <a:pt x="5279410" y="205325"/>
                </a:cubicBezTo>
                <a:cubicBezTo>
                  <a:pt x="5273967" y="213649"/>
                  <a:pt x="5249777" y="198428"/>
                  <a:pt x="5250987" y="174644"/>
                </a:cubicBezTo>
                <a:close/>
                <a:moveTo>
                  <a:pt x="5042351" y="163229"/>
                </a:moveTo>
                <a:cubicBezTo>
                  <a:pt x="5040536" y="191768"/>
                  <a:pt x="5045374" y="189866"/>
                  <a:pt x="5055050" y="221498"/>
                </a:cubicBezTo>
                <a:cubicBezTo>
                  <a:pt x="5043559" y="224589"/>
                  <a:pt x="5046584" y="210795"/>
                  <a:pt x="5032674" y="215790"/>
                </a:cubicBezTo>
                <a:cubicBezTo>
                  <a:pt x="5035093" y="207703"/>
                  <a:pt x="5044164" y="210558"/>
                  <a:pt x="5050817" y="211033"/>
                </a:cubicBezTo>
                <a:cubicBezTo>
                  <a:pt x="5049002" y="198665"/>
                  <a:pt x="5035093" y="205563"/>
                  <a:pt x="5033884" y="193196"/>
                </a:cubicBezTo>
                <a:cubicBezTo>
                  <a:pt x="5013322" y="234341"/>
                  <a:pt x="4974619" y="226967"/>
                  <a:pt x="4941964" y="240525"/>
                </a:cubicBezTo>
                <a:cubicBezTo>
                  <a:pt x="4948010" y="220546"/>
                  <a:pt x="4974015" y="204611"/>
                  <a:pt x="4947405" y="192007"/>
                </a:cubicBezTo>
                <a:cubicBezTo>
                  <a:pt x="4967362" y="201995"/>
                  <a:pt x="5034489" y="217692"/>
                  <a:pt x="5042351" y="163229"/>
                </a:cubicBezTo>
                <a:close/>
                <a:moveTo>
                  <a:pt x="4303354" y="161325"/>
                </a:moveTo>
                <a:cubicBezTo>
                  <a:pt x="4314844" y="164418"/>
                  <a:pt x="4305772" y="190816"/>
                  <a:pt x="4307586" y="200568"/>
                </a:cubicBezTo>
                <a:cubicBezTo>
                  <a:pt x="4293678" y="203422"/>
                  <a:pt x="4279770" y="202233"/>
                  <a:pt x="4276140" y="190342"/>
                </a:cubicBezTo>
                <a:cubicBezTo>
                  <a:pt x="4281584" y="169174"/>
                  <a:pt x="4291865" y="187488"/>
                  <a:pt x="4303960" y="178925"/>
                </a:cubicBezTo>
                <a:close/>
                <a:moveTo>
                  <a:pt x="4121325" y="157521"/>
                </a:moveTo>
                <a:cubicBezTo>
                  <a:pt x="4126769" y="156093"/>
                  <a:pt x="4126164" y="159660"/>
                  <a:pt x="4126164" y="161325"/>
                </a:cubicBezTo>
                <a:cubicBezTo>
                  <a:pt x="4141283" y="166320"/>
                  <a:pt x="4169102" y="181541"/>
                  <a:pt x="4202362" y="178925"/>
                </a:cubicBezTo>
                <a:cubicBezTo>
                  <a:pt x="4197524" y="213412"/>
                  <a:pt x="4152168" y="154428"/>
                  <a:pt x="4157611" y="195574"/>
                </a:cubicBezTo>
                <a:cubicBezTo>
                  <a:pt x="4150354" y="185584"/>
                  <a:pt x="4129794" y="192957"/>
                  <a:pt x="4122535" y="183206"/>
                </a:cubicBezTo>
                <a:cubicBezTo>
                  <a:pt x="4131003" y="172980"/>
                  <a:pt x="4123139" y="170601"/>
                  <a:pt x="4121325" y="157521"/>
                </a:cubicBezTo>
                <a:close/>
                <a:moveTo>
                  <a:pt x="6072228" y="156806"/>
                </a:moveTo>
                <a:cubicBezTo>
                  <a:pt x="6080693" y="179163"/>
                  <a:pt x="6093999" y="160851"/>
                  <a:pt x="6106094" y="161801"/>
                </a:cubicBezTo>
                <a:cubicBezTo>
                  <a:pt x="6161124" y="168461"/>
                  <a:pt x="6241556" y="173693"/>
                  <a:pt x="6306263" y="181066"/>
                </a:cubicBezTo>
                <a:cubicBezTo>
                  <a:pt x="6305054" y="202947"/>
                  <a:pt x="6298402" y="196050"/>
                  <a:pt x="6286307" y="193196"/>
                </a:cubicBezTo>
                <a:cubicBezTo>
                  <a:pt x="6285702" y="199141"/>
                  <a:pt x="6285702" y="203184"/>
                  <a:pt x="6280863" y="204849"/>
                </a:cubicBezTo>
                <a:cubicBezTo>
                  <a:pt x="6283283" y="211033"/>
                  <a:pt x="6290541" y="209368"/>
                  <a:pt x="6290541" y="203422"/>
                </a:cubicBezTo>
                <a:cubicBezTo>
                  <a:pt x="6304449" y="210558"/>
                  <a:pt x="6282074" y="220783"/>
                  <a:pt x="6295982" y="227919"/>
                </a:cubicBezTo>
                <a:cubicBezTo>
                  <a:pt x="6325615" y="174882"/>
                  <a:pt x="6375809" y="226730"/>
                  <a:pt x="6418745" y="228395"/>
                </a:cubicBezTo>
                <a:cubicBezTo>
                  <a:pt x="6418745" y="224589"/>
                  <a:pt x="6412093" y="221735"/>
                  <a:pt x="6409675" y="221498"/>
                </a:cubicBezTo>
                <a:cubicBezTo>
                  <a:pt x="6459264" y="196050"/>
                  <a:pt x="6526994" y="188201"/>
                  <a:pt x="6551790" y="218168"/>
                </a:cubicBezTo>
                <a:cubicBezTo>
                  <a:pt x="6565698" y="221259"/>
                  <a:pt x="6553603" y="187964"/>
                  <a:pt x="6572349" y="193670"/>
                </a:cubicBezTo>
                <a:cubicBezTo>
                  <a:pt x="6556627" y="212223"/>
                  <a:pt x="6588678" y="205087"/>
                  <a:pt x="6585050" y="228395"/>
                </a:cubicBezTo>
                <a:cubicBezTo>
                  <a:pt x="6597145" y="217692"/>
                  <a:pt x="6609240" y="220546"/>
                  <a:pt x="6618311" y="235292"/>
                </a:cubicBezTo>
                <a:cubicBezTo>
                  <a:pt x="6617102" y="236006"/>
                  <a:pt x="6617102" y="236719"/>
                  <a:pt x="6616497" y="237671"/>
                </a:cubicBezTo>
                <a:cubicBezTo>
                  <a:pt x="6621334" y="241951"/>
                  <a:pt x="6626172" y="246707"/>
                  <a:pt x="6626172" y="251702"/>
                </a:cubicBezTo>
                <a:lnTo>
                  <a:pt x="6618555" y="249603"/>
                </a:lnTo>
                <a:lnTo>
                  <a:pt x="6614681" y="240525"/>
                </a:lnTo>
                <a:cubicBezTo>
                  <a:pt x="6614985" y="243735"/>
                  <a:pt x="6615136" y="246886"/>
                  <a:pt x="6616572" y="249057"/>
                </a:cubicBezTo>
                <a:lnTo>
                  <a:pt x="6618555" y="249603"/>
                </a:lnTo>
                <a:lnTo>
                  <a:pt x="6620427" y="253991"/>
                </a:lnTo>
                <a:cubicBezTo>
                  <a:pt x="6624812" y="257945"/>
                  <a:pt x="6630405" y="261334"/>
                  <a:pt x="6633429" y="264069"/>
                </a:cubicBezTo>
                <a:cubicBezTo>
                  <a:pt x="6644314" y="243140"/>
                  <a:pt x="6660642" y="242664"/>
                  <a:pt x="6679994" y="240525"/>
                </a:cubicBezTo>
                <a:cubicBezTo>
                  <a:pt x="6679390" y="254319"/>
                  <a:pt x="6667296" y="253605"/>
                  <a:pt x="6660038" y="246946"/>
                </a:cubicBezTo>
                <a:cubicBezTo>
                  <a:pt x="6657014" y="262643"/>
                  <a:pt x="6652176" y="267875"/>
                  <a:pt x="6660038" y="292610"/>
                </a:cubicBezTo>
                <a:cubicBezTo>
                  <a:pt x="6671528" y="267638"/>
                  <a:pt x="6673947" y="303312"/>
                  <a:pt x="6693904" y="287378"/>
                </a:cubicBezTo>
                <a:cubicBezTo>
                  <a:pt x="6693299" y="295225"/>
                  <a:pt x="6693299" y="297129"/>
                  <a:pt x="6698137" y="299507"/>
                </a:cubicBezTo>
                <a:cubicBezTo>
                  <a:pt x="6687251" y="324479"/>
                  <a:pt x="6685437" y="348501"/>
                  <a:pt x="6668504" y="351116"/>
                </a:cubicBezTo>
                <a:cubicBezTo>
                  <a:pt x="6668504" y="353020"/>
                  <a:pt x="6670924" y="353020"/>
                  <a:pt x="6670924" y="354922"/>
                </a:cubicBezTo>
                <a:cubicBezTo>
                  <a:pt x="6695113" y="353020"/>
                  <a:pt x="6719303" y="351355"/>
                  <a:pt x="6736840" y="343030"/>
                </a:cubicBezTo>
                <a:cubicBezTo>
                  <a:pt x="6743493" y="347549"/>
                  <a:pt x="6748330" y="351831"/>
                  <a:pt x="6750145" y="362057"/>
                </a:cubicBezTo>
                <a:cubicBezTo>
                  <a:pt x="6836019" y="323766"/>
                  <a:pt x="6899516" y="384176"/>
                  <a:pt x="6981762" y="373473"/>
                </a:cubicBezTo>
                <a:cubicBezTo>
                  <a:pt x="6992647" y="398208"/>
                  <a:pt x="7005951" y="385841"/>
                  <a:pt x="7034374" y="390359"/>
                </a:cubicBezTo>
                <a:cubicBezTo>
                  <a:pt x="7033769" y="402251"/>
                  <a:pt x="7038002" y="402251"/>
                  <a:pt x="7037397" y="413904"/>
                </a:cubicBezTo>
                <a:cubicBezTo>
                  <a:pt x="7088801" y="396543"/>
                  <a:pt x="7122666" y="445299"/>
                  <a:pt x="7175279" y="443871"/>
                </a:cubicBezTo>
                <a:lnTo>
                  <a:pt x="7174070" y="461233"/>
                </a:lnTo>
                <a:cubicBezTo>
                  <a:pt x="7204307" y="440067"/>
                  <a:pt x="7201888" y="475503"/>
                  <a:pt x="7232126" y="454336"/>
                </a:cubicBezTo>
                <a:cubicBezTo>
                  <a:pt x="7235754" y="472412"/>
                  <a:pt x="7255106" y="474552"/>
                  <a:pt x="7267200" y="467654"/>
                </a:cubicBezTo>
                <a:cubicBezTo>
                  <a:pt x="7264176" y="483114"/>
                  <a:pt x="7276271" y="482401"/>
                  <a:pt x="7273248" y="495957"/>
                </a:cubicBezTo>
                <a:cubicBezTo>
                  <a:pt x="7287156" y="501190"/>
                  <a:pt x="7283528" y="480736"/>
                  <a:pt x="7298042" y="484066"/>
                </a:cubicBezTo>
                <a:cubicBezTo>
                  <a:pt x="7329488" y="520454"/>
                  <a:pt x="7385125" y="554702"/>
                  <a:pt x="7438343" y="547567"/>
                </a:cubicBezTo>
                <a:cubicBezTo>
                  <a:pt x="7450438" y="580150"/>
                  <a:pt x="7475836" y="598463"/>
                  <a:pt x="7504260" y="612733"/>
                </a:cubicBezTo>
                <a:cubicBezTo>
                  <a:pt x="7498816" y="624150"/>
                  <a:pt x="7498212" y="640322"/>
                  <a:pt x="7494584" y="653878"/>
                </a:cubicBezTo>
                <a:cubicBezTo>
                  <a:pt x="7506678" y="669338"/>
                  <a:pt x="7525425" y="671478"/>
                  <a:pt x="7544777" y="671716"/>
                </a:cubicBezTo>
                <a:cubicBezTo>
                  <a:pt x="7544777" y="670765"/>
                  <a:pt x="7544173" y="670765"/>
                  <a:pt x="7544777" y="669575"/>
                </a:cubicBezTo>
                <a:cubicBezTo>
                  <a:pt x="7603437" y="642938"/>
                  <a:pt x="7649398" y="684558"/>
                  <a:pt x="7683868" y="622009"/>
                </a:cubicBezTo>
                <a:cubicBezTo>
                  <a:pt x="7668750" y="598939"/>
                  <a:pt x="7663911" y="641749"/>
                  <a:pt x="7642746" y="634138"/>
                </a:cubicBezTo>
                <a:cubicBezTo>
                  <a:pt x="7687496" y="566594"/>
                  <a:pt x="7793931" y="639133"/>
                  <a:pt x="7848963" y="592518"/>
                </a:cubicBezTo>
                <a:cubicBezTo>
                  <a:pt x="7882828" y="638895"/>
                  <a:pt x="7919113" y="552562"/>
                  <a:pt x="7933021" y="603458"/>
                </a:cubicBezTo>
                <a:cubicBezTo>
                  <a:pt x="7942699" y="602269"/>
                  <a:pt x="7949955" y="599176"/>
                  <a:pt x="7952373" y="591329"/>
                </a:cubicBezTo>
                <a:cubicBezTo>
                  <a:pt x="7962051" y="598226"/>
                  <a:pt x="7970517" y="606549"/>
                  <a:pt x="7977169" y="615112"/>
                </a:cubicBezTo>
                <a:cubicBezTo>
                  <a:pt x="7984425" y="613685"/>
                  <a:pt x="7989868" y="603934"/>
                  <a:pt x="7983215" y="603458"/>
                </a:cubicBezTo>
                <a:cubicBezTo>
                  <a:pt x="7997730" y="594659"/>
                  <a:pt x="8006801" y="602030"/>
                  <a:pt x="8018291" y="617014"/>
                </a:cubicBezTo>
                <a:cubicBezTo>
                  <a:pt x="8078161" y="614160"/>
                  <a:pt x="8120493" y="596085"/>
                  <a:pt x="8179153" y="617014"/>
                </a:cubicBezTo>
                <a:cubicBezTo>
                  <a:pt x="8217251" y="584431"/>
                  <a:pt x="8287401" y="613923"/>
                  <a:pt x="8332153" y="623674"/>
                </a:cubicBezTo>
                <a:cubicBezTo>
                  <a:pt x="8437378" y="597037"/>
                  <a:pt x="8537766" y="647457"/>
                  <a:pt x="8612149" y="612258"/>
                </a:cubicBezTo>
                <a:cubicBezTo>
                  <a:pt x="8610940" y="626052"/>
                  <a:pt x="8620616" y="624626"/>
                  <a:pt x="8616986" y="642225"/>
                </a:cubicBezTo>
                <a:cubicBezTo>
                  <a:pt x="8633920" y="645555"/>
                  <a:pt x="8632106" y="629858"/>
                  <a:pt x="8633315" y="612258"/>
                </a:cubicBezTo>
                <a:cubicBezTo>
                  <a:pt x="8649643" y="619631"/>
                  <a:pt x="8641782" y="630571"/>
                  <a:pt x="8648433" y="642938"/>
                </a:cubicBezTo>
                <a:cubicBezTo>
                  <a:pt x="8654481" y="617728"/>
                  <a:pt x="8659318" y="627717"/>
                  <a:pt x="8678066" y="635327"/>
                </a:cubicBezTo>
                <a:cubicBezTo>
                  <a:pt x="8684114" y="610117"/>
                  <a:pt x="8653877" y="629143"/>
                  <a:pt x="8658109" y="605836"/>
                </a:cubicBezTo>
                <a:cubicBezTo>
                  <a:pt x="8676252" y="617252"/>
                  <a:pt x="8719189" y="627478"/>
                  <a:pt x="8713140" y="648646"/>
                </a:cubicBezTo>
                <a:cubicBezTo>
                  <a:pt x="8729469" y="654117"/>
                  <a:pt x="8727655" y="639608"/>
                  <a:pt x="8726446" y="623674"/>
                </a:cubicBezTo>
                <a:cubicBezTo>
                  <a:pt x="8785710" y="628906"/>
                  <a:pt x="8797805" y="671716"/>
                  <a:pt x="8861908" y="643414"/>
                </a:cubicBezTo>
                <a:cubicBezTo>
                  <a:pt x="8857070" y="651024"/>
                  <a:pt x="8858884" y="653402"/>
                  <a:pt x="8861304" y="661489"/>
                </a:cubicBezTo>
                <a:cubicBezTo>
                  <a:pt x="8880051" y="665057"/>
                  <a:pt x="8887912" y="655543"/>
                  <a:pt x="8890936" y="643890"/>
                </a:cubicBezTo>
                <a:cubicBezTo>
                  <a:pt x="8907869" y="639371"/>
                  <a:pt x="8904845" y="658873"/>
                  <a:pt x="8916335" y="661965"/>
                </a:cubicBezTo>
                <a:cubicBezTo>
                  <a:pt x="8942944" y="662203"/>
                  <a:pt x="8939919" y="628430"/>
                  <a:pt x="8966528" y="630808"/>
                </a:cubicBezTo>
                <a:cubicBezTo>
                  <a:pt x="8950200" y="662916"/>
                  <a:pt x="9001603" y="643176"/>
                  <a:pt x="9012489" y="661965"/>
                </a:cubicBezTo>
                <a:cubicBezTo>
                  <a:pt x="9027004" y="659110"/>
                  <a:pt x="9030632" y="638181"/>
                  <a:pt x="9047565" y="637706"/>
                </a:cubicBezTo>
                <a:cubicBezTo>
                  <a:pt x="9049379" y="651739"/>
                  <a:pt x="9032445" y="644365"/>
                  <a:pt x="9031841" y="656256"/>
                </a:cubicBezTo>
                <a:cubicBezTo>
                  <a:pt x="9084453" y="664581"/>
                  <a:pt x="9099573" y="651976"/>
                  <a:pt x="9151580" y="662440"/>
                </a:cubicBezTo>
                <a:cubicBezTo>
                  <a:pt x="9175165" y="666484"/>
                  <a:pt x="9207216" y="657208"/>
                  <a:pt x="9221125" y="662440"/>
                </a:cubicBezTo>
                <a:cubicBezTo>
                  <a:pt x="9238058" y="667911"/>
                  <a:pt x="9241082" y="690029"/>
                  <a:pt x="9255595" y="693121"/>
                </a:cubicBezTo>
                <a:cubicBezTo>
                  <a:pt x="9281600" y="701207"/>
                  <a:pt x="9328770" y="677424"/>
                  <a:pt x="9336631" y="705963"/>
                </a:cubicBezTo>
                <a:cubicBezTo>
                  <a:pt x="9385616" y="692170"/>
                  <a:pt x="9432786" y="703824"/>
                  <a:pt x="9495075" y="705013"/>
                </a:cubicBezTo>
                <a:cubicBezTo>
                  <a:pt x="9501726" y="679802"/>
                  <a:pt x="9552525" y="706439"/>
                  <a:pt x="9567038" y="711671"/>
                </a:cubicBezTo>
                <a:cubicBezTo>
                  <a:pt x="9579134" y="706678"/>
                  <a:pt x="9571877" y="703824"/>
                  <a:pt x="9570667" y="687888"/>
                </a:cubicBezTo>
                <a:cubicBezTo>
                  <a:pt x="9584576" y="693121"/>
                  <a:pt x="9593647" y="710006"/>
                  <a:pt x="9615418" y="705963"/>
                </a:cubicBezTo>
                <a:cubicBezTo>
                  <a:pt x="9632351" y="703348"/>
                  <a:pt x="9623280" y="690981"/>
                  <a:pt x="9622071" y="676948"/>
                </a:cubicBezTo>
                <a:cubicBezTo>
                  <a:pt x="9631747" y="673857"/>
                  <a:pt x="9631142" y="685510"/>
                  <a:pt x="9630536" y="695499"/>
                </a:cubicBezTo>
                <a:cubicBezTo>
                  <a:pt x="9679521" y="715477"/>
                  <a:pt x="9730319" y="660300"/>
                  <a:pt x="9776279" y="701683"/>
                </a:cubicBezTo>
                <a:cubicBezTo>
                  <a:pt x="9794422" y="679565"/>
                  <a:pt x="9845220" y="723801"/>
                  <a:pt x="9859734" y="677424"/>
                </a:cubicBezTo>
                <a:cubicBezTo>
                  <a:pt x="9868805" y="684321"/>
                  <a:pt x="9882715" y="683132"/>
                  <a:pt x="9879691" y="700731"/>
                </a:cubicBezTo>
                <a:cubicBezTo>
                  <a:pt x="9893600" y="701920"/>
                  <a:pt x="9892996" y="684321"/>
                  <a:pt x="9900252" y="676948"/>
                </a:cubicBezTo>
                <a:cubicBezTo>
                  <a:pt x="9900252" y="720472"/>
                  <a:pt x="9955284" y="683132"/>
                  <a:pt x="9979474" y="683369"/>
                </a:cubicBezTo>
                <a:cubicBezTo>
                  <a:pt x="10000640" y="685034"/>
                  <a:pt x="10023015" y="718569"/>
                  <a:pt x="10039343" y="684321"/>
                </a:cubicBezTo>
                <a:cubicBezTo>
                  <a:pt x="10062928" y="727844"/>
                  <a:pt x="10098608" y="691694"/>
                  <a:pt x="10139730" y="691218"/>
                </a:cubicBezTo>
                <a:cubicBezTo>
                  <a:pt x="10146987" y="690029"/>
                  <a:pt x="10144569" y="680278"/>
                  <a:pt x="10145173" y="672429"/>
                </a:cubicBezTo>
                <a:cubicBezTo>
                  <a:pt x="10201414" y="695024"/>
                  <a:pt x="10239513" y="670289"/>
                  <a:pt x="10280636" y="661965"/>
                </a:cubicBezTo>
                <a:cubicBezTo>
                  <a:pt x="10297568" y="661489"/>
                  <a:pt x="10303616" y="675522"/>
                  <a:pt x="10310268" y="691932"/>
                </a:cubicBezTo>
                <a:cubicBezTo>
                  <a:pt x="10333853" y="697877"/>
                  <a:pt x="10337481" y="674332"/>
                  <a:pt x="10354414" y="673857"/>
                </a:cubicBezTo>
                <a:cubicBezTo>
                  <a:pt x="10350182" y="701207"/>
                  <a:pt x="10397956" y="669575"/>
                  <a:pt x="10393723" y="696927"/>
                </a:cubicBezTo>
                <a:cubicBezTo>
                  <a:pt x="10414284" y="675046"/>
                  <a:pt x="10442707" y="687413"/>
                  <a:pt x="10463873" y="691218"/>
                </a:cubicBezTo>
                <a:cubicBezTo>
                  <a:pt x="10449359" y="688127"/>
                  <a:pt x="10486854" y="709293"/>
                  <a:pt x="10498948" y="710245"/>
                </a:cubicBezTo>
                <a:cubicBezTo>
                  <a:pt x="10513462" y="711434"/>
                  <a:pt x="10523742" y="698353"/>
                  <a:pt x="10540071" y="697877"/>
                </a:cubicBezTo>
                <a:cubicBezTo>
                  <a:pt x="10554584" y="697164"/>
                  <a:pt x="10572727" y="720472"/>
                  <a:pt x="10589054" y="723801"/>
                </a:cubicBezTo>
                <a:cubicBezTo>
                  <a:pt x="10612640" y="727844"/>
                  <a:pt x="10662833" y="737834"/>
                  <a:pt x="10704560" y="729509"/>
                </a:cubicBezTo>
                <a:cubicBezTo>
                  <a:pt x="10710608" y="744017"/>
                  <a:pt x="10713027" y="740212"/>
                  <a:pt x="10706980" y="759476"/>
                </a:cubicBezTo>
                <a:cubicBezTo>
                  <a:pt x="10748103" y="715477"/>
                  <a:pt x="10769873" y="766612"/>
                  <a:pt x="10808576" y="759952"/>
                </a:cubicBezTo>
                <a:cubicBezTo>
                  <a:pt x="10804343" y="743779"/>
                  <a:pt x="10787410" y="744493"/>
                  <a:pt x="10788621" y="724990"/>
                </a:cubicBezTo>
                <a:cubicBezTo>
                  <a:pt x="10804948" y="771844"/>
                  <a:pt x="10879331" y="737121"/>
                  <a:pt x="10919245" y="750439"/>
                </a:cubicBezTo>
                <a:cubicBezTo>
                  <a:pt x="10916221" y="722375"/>
                  <a:pt x="10873889" y="742114"/>
                  <a:pt x="10878727" y="706915"/>
                </a:cubicBezTo>
                <a:cubicBezTo>
                  <a:pt x="10857561" y="740688"/>
                  <a:pt x="10827928" y="706439"/>
                  <a:pt x="10798295" y="717855"/>
                </a:cubicBezTo>
                <a:cubicBezTo>
                  <a:pt x="10875099" y="680754"/>
                  <a:pt x="10988186" y="686462"/>
                  <a:pt x="11048659" y="675759"/>
                </a:cubicBezTo>
                <a:cubicBezTo>
                  <a:pt x="11025074" y="622246"/>
                  <a:pt x="10925292" y="689077"/>
                  <a:pt x="10904731" y="627954"/>
                </a:cubicBezTo>
                <a:cubicBezTo>
                  <a:pt x="10870260" y="640798"/>
                  <a:pt x="10866027" y="638181"/>
                  <a:pt x="10843652" y="650311"/>
                </a:cubicBezTo>
                <a:cubicBezTo>
                  <a:pt x="10849094" y="634851"/>
                  <a:pt x="10847280" y="622961"/>
                  <a:pt x="10833371" y="613685"/>
                </a:cubicBezTo>
                <a:cubicBezTo>
                  <a:pt x="10804343" y="660775"/>
                  <a:pt x="10736007" y="603695"/>
                  <a:pt x="10718470" y="649598"/>
                </a:cubicBezTo>
                <a:cubicBezTo>
                  <a:pt x="10708794" y="617014"/>
                  <a:pt x="10682790" y="646744"/>
                  <a:pt x="10668881" y="637706"/>
                </a:cubicBezTo>
                <a:cubicBezTo>
                  <a:pt x="10671904" y="630095"/>
                  <a:pt x="10685209" y="637468"/>
                  <a:pt x="10683394" y="627241"/>
                </a:cubicBezTo>
                <a:cubicBezTo>
                  <a:pt x="10682790" y="593707"/>
                  <a:pt x="10614454" y="617014"/>
                  <a:pt x="10618687" y="631284"/>
                </a:cubicBezTo>
                <a:cubicBezTo>
                  <a:pt x="10596312" y="597750"/>
                  <a:pt x="10561237" y="624150"/>
                  <a:pt x="10524347" y="636992"/>
                </a:cubicBezTo>
                <a:cubicBezTo>
                  <a:pt x="10504390" y="615349"/>
                  <a:pt x="10414284" y="592279"/>
                  <a:pt x="10390094" y="631760"/>
                </a:cubicBezTo>
                <a:cubicBezTo>
                  <a:pt x="10381023" y="628906"/>
                  <a:pt x="10379209" y="620820"/>
                  <a:pt x="10379813" y="607025"/>
                </a:cubicBezTo>
                <a:cubicBezTo>
                  <a:pt x="10326596" y="610355"/>
                  <a:pt x="10295149" y="617490"/>
                  <a:pt x="10241327" y="592994"/>
                </a:cubicBezTo>
                <a:cubicBezTo>
                  <a:pt x="10287892" y="577058"/>
                  <a:pt x="10324782" y="606312"/>
                  <a:pt x="10355624" y="569209"/>
                </a:cubicBezTo>
                <a:cubicBezTo>
                  <a:pt x="10351391" y="563027"/>
                  <a:pt x="10344134" y="564216"/>
                  <a:pt x="10344739" y="550421"/>
                </a:cubicBezTo>
                <a:cubicBezTo>
                  <a:pt x="10325387" y="554702"/>
                  <a:pt x="10325387" y="556605"/>
                  <a:pt x="10311478" y="545665"/>
                </a:cubicBezTo>
                <a:cubicBezTo>
                  <a:pt x="10293940" y="559934"/>
                  <a:pt x="10261284" y="573252"/>
                  <a:pt x="10246166" y="552086"/>
                </a:cubicBezTo>
                <a:cubicBezTo>
                  <a:pt x="10229837" y="582529"/>
                  <a:pt x="10202623" y="563740"/>
                  <a:pt x="10181457" y="593707"/>
                </a:cubicBezTo>
                <a:cubicBezTo>
                  <a:pt x="10204439" y="569924"/>
                  <a:pt x="10172991" y="573015"/>
                  <a:pt x="10156059" y="567783"/>
                </a:cubicBezTo>
                <a:cubicBezTo>
                  <a:pt x="10237699" y="531156"/>
                  <a:pt x="10325387" y="546854"/>
                  <a:pt x="10391908" y="526638"/>
                </a:cubicBezTo>
                <a:cubicBezTo>
                  <a:pt x="10400979" y="533297"/>
                  <a:pt x="10420936" y="563027"/>
                  <a:pt x="10429402" y="534248"/>
                </a:cubicBezTo>
                <a:cubicBezTo>
                  <a:pt x="10443916" y="539242"/>
                  <a:pt x="10447545" y="556842"/>
                  <a:pt x="10461454" y="564216"/>
                </a:cubicBezTo>
                <a:cubicBezTo>
                  <a:pt x="10454801" y="551610"/>
                  <a:pt x="10466897" y="554702"/>
                  <a:pt x="10479596" y="539957"/>
                </a:cubicBezTo>
                <a:cubicBezTo>
                  <a:pt x="10489272" y="540670"/>
                  <a:pt x="10483829" y="560172"/>
                  <a:pt x="10495924" y="557318"/>
                </a:cubicBezTo>
                <a:cubicBezTo>
                  <a:pt x="10517090" y="563027"/>
                  <a:pt x="10504995" y="528303"/>
                  <a:pt x="10526161" y="534248"/>
                </a:cubicBezTo>
                <a:cubicBezTo>
                  <a:pt x="10523138" y="543761"/>
                  <a:pt x="10529790" y="546615"/>
                  <a:pt x="10534628" y="546854"/>
                </a:cubicBezTo>
                <a:cubicBezTo>
                  <a:pt x="10578169" y="503092"/>
                  <a:pt x="10666462" y="554464"/>
                  <a:pt x="10705771" y="535914"/>
                </a:cubicBezTo>
                <a:cubicBezTo>
                  <a:pt x="10745078" y="567070"/>
                  <a:pt x="10790435" y="523070"/>
                  <a:pt x="10849094" y="548043"/>
                </a:cubicBezTo>
                <a:cubicBezTo>
                  <a:pt x="10873889" y="534248"/>
                  <a:pt x="10913197" y="523784"/>
                  <a:pt x="10919245" y="548043"/>
                </a:cubicBezTo>
                <a:cubicBezTo>
                  <a:pt x="10931339" y="544950"/>
                  <a:pt x="10936782" y="535438"/>
                  <a:pt x="10944039" y="529967"/>
                </a:cubicBezTo>
                <a:cubicBezTo>
                  <a:pt x="10942225" y="524021"/>
                  <a:pt x="10934968" y="523308"/>
                  <a:pt x="10935573" y="511655"/>
                </a:cubicBezTo>
                <a:cubicBezTo>
                  <a:pt x="10944039" y="534010"/>
                  <a:pt x="10956739" y="517363"/>
                  <a:pt x="10971252" y="518552"/>
                </a:cubicBezTo>
                <a:cubicBezTo>
                  <a:pt x="11028704" y="523545"/>
                  <a:pt x="11112158" y="528778"/>
                  <a:pt x="11179284" y="536627"/>
                </a:cubicBezTo>
                <a:cubicBezTo>
                  <a:pt x="11180494" y="560410"/>
                  <a:pt x="11173236" y="551610"/>
                  <a:pt x="11159328" y="548519"/>
                </a:cubicBezTo>
                <a:cubicBezTo>
                  <a:pt x="11161142" y="556605"/>
                  <a:pt x="11158723" y="560410"/>
                  <a:pt x="11153281" y="562075"/>
                </a:cubicBezTo>
                <a:cubicBezTo>
                  <a:pt x="11155699" y="570161"/>
                  <a:pt x="11164771" y="567070"/>
                  <a:pt x="11165375" y="561123"/>
                </a:cubicBezTo>
                <a:cubicBezTo>
                  <a:pt x="11179284" y="568496"/>
                  <a:pt x="11157514" y="578010"/>
                  <a:pt x="11169004" y="584907"/>
                </a:cubicBezTo>
                <a:cubicBezTo>
                  <a:pt x="11201055" y="530205"/>
                  <a:pt x="11255482" y="587047"/>
                  <a:pt x="11298418" y="586810"/>
                </a:cubicBezTo>
                <a:cubicBezTo>
                  <a:pt x="11299023" y="582766"/>
                  <a:pt x="11291767" y="579912"/>
                  <a:pt x="11289348" y="579675"/>
                </a:cubicBezTo>
                <a:cubicBezTo>
                  <a:pt x="11341356" y="552562"/>
                  <a:pt x="11413924" y="544713"/>
                  <a:pt x="11438719" y="574443"/>
                </a:cubicBezTo>
                <a:cubicBezTo>
                  <a:pt x="11455651" y="578010"/>
                  <a:pt x="11439929" y="545189"/>
                  <a:pt x="11459280" y="550897"/>
                </a:cubicBezTo>
                <a:cubicBezTo>
                  <a:pt x="11443557" y="571350"/>
                  <a:pt x="11477423" y="563740"/>
                  <a:pt x="11473794" y="587285"/>
                </a:cubicBezTo>
                <a:cubicBezTo>
                  <a:pt x="11485889" y="575393"/>
                  <a:pt x="11499194" y="581101"/>
                  <a:pt x="11507659" y="597037"/>
                </a:cubicBezTo>
                <a:cubicBezTo>
                  <a:pt x="11496774" y="608452"/>
                  <a:pt x="11518546" y="619392"/>
                  <a:pt x="11524593" y="625576"/>
                </a:cubicBezTo>
                <a:cubicBezTo>
                  <a:pt x="11537897" y="602982"/>
                  <a:pt x="11554830" y="602269"/>
                  <a:pt x="11574182" y="599891"/>
                </a:cubicBezTo>
                <a:cubicBezTo>
                  <a:pt x="11572972" y="613685"/>
                  <a:pt x="11561482" y="615112"/>
                  <a:pt x="11554830" y="606549"/>
                </a:cubicBezTo>
                <a:cubicBezTo>
                  <a:pt x="11548782" y="623911"/>
                  <a:pt x="11543340" y="629619"/>
                  <a:pt x="11554225" y="656256"/>
                </a:cubicBezTo>
                <a:cubicBezTo>
                  <a:pt x="11565110" y="629382"/>
                  <a:pt x="11568134" y="665294"/>
                  <a:pt x="11588090" y="649122"/>
                </a:cubicBezTo>
                <a:cubicBezTo>
                  <a:pt x="11587486" y="656971"/>
                  <a:pt x="11589300" y="661251"/>
                  <a:pt x="11591720" y="661489"/>
                </a:cubicBezTo>
                <a:cubicBezTo>
                  <a:pt x="11580833" y="688127"/>
                  <a:pt x="11579624" y="711910"/>
                  <a:pt x="11562692" y="716190"/>
                </a:cubicBezTo>
                <a:cubicBezTo>
                  <a:pt x="11566924" y="722612"/>
                  <a:pt x="11566320" y="730461"/>
                  <a:pt x="11568134" y="740449"/>
                </a:cubicBezTo>
                <a:cubicBezTo>
                  <a:pt x="11575391" y="741164"/>
                  <a:pt x="11578414" y="733315"/>
                  <a:pt x="11587486" y="734267"/>
                </a:cubicBezTo>
                <a:cubicBezTo>
                  <a:pt x="11584462" y="749725"/>
                  <a:pt x="11594138" y="754244"/>
                  <a:pt x="11606233" y="753293"/>
                </a:cubicBezTo>
                <a:cubicBezTo>
                  <a:pt x="11593534" y="765897"/>
                  <a:pt x="11597162" y="786589"/>
                  <a:pt x="11605628" y="801097"/>
                </a:cubicBezTo>
                <a:cubicBezTo>
                  <a:pt x="11598976" y="794675"/>
                  <a:pt x="11594138" y="793725"/>
                  <a:pt x="11586276" y="801097"/>
                </a:cubicBezTo>
                <a:cubicBezTo>
                  <a:pt x="11597162" y="817984"/>
                  <a:pt x="11586276" y="843193"/>
                  <a:pt x="11571763" y="849853"/>
                </a:cubicBezTo>
                <a:cubicBezTo>
                  <a:pt x="11575391" y="867928"/>
                  <a:pt x="11584462" y="842719"/>
                  <a:pt x="11595952" y="849853"/>
                </a:cubicBezTo>
                <a:lnTo>
                  <a:pt x="11595348" y="892902"/>
                </a:lnTo>
                <a:cubicBezTo>
                  <a:pt x="11574182" y="883150"/>
                  <a:pt x="11575391" y="905031"/>
                  <a:pt x="11549388" y="892902"/>
                </a:cubicBezTo>
                <a:cubicBezTo>
                  <a:pt x="11543944" y="904317"/>
                  <a:pt x="11538501" y="918111"/>
                  <a:pt x="11530640" y="929290"/>
                </a:cubicBezTo>
                <a:cubicBezTo>
                  <a:pt x="11521569" y="918587"/>
                  <a:pt x="11519150" y="928101"/>
                  <a:pt x="11504636" y="928814"/>
                </a:cubicBezTo>
                <a:cubicBezTo>
                  <a:pt x="11503427" y="910976"/>
                  <a:pt x="11471980" y="910263"/>
                  <a:pt x="11464118" y="915496"/>
                </a:cubicBezTo>
                <a:cubicBezTo>
                  <a:pt x="11468352" y="925723"/>
                  <a:pt x="11473189" y="936187"/>
                  <a:pt x="11485284" y="935235"/>
                </a:cubicBezTo>
                <a:cubicBezTo>
                  <a:pt x="11468956" y="963775"/>
                  <a:pt x="11485284" y="973052"/>
                  <a:pt x="11511288" y="983277"/>
                </a:cubicBezTo>
                <a:cubicBezTo>
                  <a:pt x="11516731" y="977808"/>
                  <a:pt x="11519150" y="968057"/>
                  <a:pt x="11524593" y="960683"/>
                </a:cubicBezTo>
                <a:cubicBezTo>
                  <a:pt x="11534268" y="1004921"/>
                  <a:pt x="11575996" y="978521"/>
                  <a:pt x="11588695" y="1009201"/>
                </a:cubicBezTo>
                <a:cubicBezTo>
                  <a:pt x="11603814" y="994694"/>
                  <a:pt x="11625585" y="957353"/>
                  <a:pt x="11598976" y="953073"/>
                </a:cubicBezTo>
                <a:cubicBezTo>
                  <a:pt x="11602605" y="933570"/>
                  <a:pt x="11631027" y="947602"/>
                  <a:pt x="11640098" y="954262"/>
                </a:cubicBezTo>
                <a:cubicBezTo>
                  <a:pt x="11643728" y="974478"/>
                  <a:pt x="11623166" y="962586"/>
                  <a:pt x="11620142" y="972337"/>
                </a:cubicBezTo>
                <a:cubicBezTo>
                  <a:pt x="11618932" y="988034"/>
                  <a:pt x="11644937" y="994456"/>
                  <a:pt x="11625585" y="1002780"/>
                </a:cubicBezTo>
                <a:cubicBezTo>
                  <a:pt x="11634656" y="1007536"/>
                  <a:pt x="11638284" y="1018001"/>
                  <a:pt x="11647960" y="1020618"/>
                </a:cubicBezTo>
                <a:cubicBezTo>
                  <a:pt x="11644937" y="1026326"/>
                  <a:pt x="11642517" y="1031795"/>
                  <a:pt x="11649774" y="1032271"/>
                </a:cubicBezTo>
                <a:cubicBezTo>
                  <a:pt x="11645843" y="1036909"/>
                  <a:pt x="11636621" y="1042618"/>
                  <a:pt x="11629818" y="1048296"/>
                </a:cubicBezTo>
                <a:lnTo>
                  <a:pt x="11624996" y="1062335"/>
                </a:lnTo>
                <a:lnTo>
                  <a:pt x="11624376" y="1062714"/>
                </a:lnTo>
                <a:lnTo>
                  <a:pt x="11624783" y="1062955"/>
                </a:lnTo>
                <a:lnTo>
                  <a:pt x="11624376" y="1064140"/>
                </a:lnTo>
                <a:cubicBezTo>
                  <a:pt x="11601999" y="1076033"/>
                  <a:pt x="11580833" y="1058195"/>
                  <a:pt x="11554225" y="1069849"/>
                </a:cubicBezTo>
                <a:cubicBezTo>
                  <a:pt x="11557853" y="1090064"/>
                  <a:pt x="11572972" y="1077222"/>
                  <a:pt x="11585067" y="1076271"/>
                </a:cubicBezTo>
                <a:cubicBezTo>
                  <a:pt x="11579019" y="1099578"/>
                  <a:pt x="11598371" y="1093633"/>
                  <a:pt x="11594138" y="1119081"/>
                </a:cubicBezTo>
                <a:cubicBezTo>
                  <a:pt x="11589300" y="1124550"/>
                  <a:pt x="11548782" y="1116703"/>
                  <a:pt x="11562087" y="1135729"/>
                </a:cubicBezTo>
                <a:cubicBezTo>
                  <a:pt x="11548177" y="1128594"/>
                  <a:pt x="11539106" y="1124313"/>
                  <a:pt x="11508265" y="1123599"/>
                </a:cubicBezTo>
                <a:cubicBezTo>
                  <a:pt x="11495565" y="1172118"/>
                  <a:pt x="11458071" y="1153091"/>
                  <a:pt x="11432671" y="1178539"/>
                </a:cubicBezTo>
                <a:cubicBezTo>
                  <a:pt x="11453233" y="1194236"/>
                  <a:pt x="11457466" y="1164506"/>
                  <a:pt x="11482865" y="1178539"/>
                </a:cubicBezTo>
                <a:cubicBezTo>
                  <a:pt x="11484075" y="1200420"/>
                  <a:pt x="11464118" y="1175209"/>
                  <a:pt x="11462304" y="1202798"/>
                </a:cubicBezTo>
                <a:cubicBezTo>
                  <a:pt x="11458676" y="1186625"/>
                  <a:pt x="11453233" y="1193760"/>
                  <a:pt x="11456257" y="1221825"/>
                </a:cubicBezTo>
                <a:cubicBezTo>
                  <a:pt x="11449605" y="1215165"/>
                  <a:pt x="11438115" y="1206603"/>
                  <a:pt x="11448395" y="1197566"/>
                </a:cubicBezTo>
                <a:cubicBezTo>
                  <a:pt x="11429043" y="1197803"/>
                  <a:pt x="11421786" y="1200895"/>
                  <a:pt x="11413319" y="1225868"/>
                </a:cubicBezTo>
                <a:cubicBezTo>
                  <a:pt x="11390339" y="1208030"/>
                  <a:pt x="11373407" y="1240851"/>
                  <a:pt x="11351637" y="1244895"/>
                </a:cubicBezTo>
                <a:cubicBezTo>
                  <a:pt x="11364941" y="1265823"/>
                  <a:pt x="11410901" y="1307207"/>
                  <a:pt x="11421786" y="1288418"/>
                </a:cubicBezTo>
                <a:cubicBezTo>
                  <a:pt x="11437510" y="1301736"/>
                  <a:pt x="11410296" y="1313152"/>
                  <a:pt x="11411505" y="1330990"/>
                </a:cubicBezTo>
                <a:cubicBezTo>
                  <a:pt x="11420577" y="1347638"/>
                  <a:pt x="11421181" y="1373562"/>
                  <a:pt x="11439929" y="1379271"/>
                </a:cubicBezTo>
                <a:cubicBezTo>
                  <a:pt x="11447186" y="1377843"/>
                  <a:pt x="11442952" y="1373324"/>
                  <a:pt x="11440533" y="1373086"/>
                </a:cubicBezTo>
                <a:cubicBezTo>
                  <a:pt x="11446581" y="1355962"/>
                  <a:pt x="11454442" y="1382124"/>
                  <a:pt x="11466538" y="1373086"/>
                </a:cubicBezTo>
                <a:cubicBezTo>
                  <a:pt x="11476213" y="1375941"/>
                  <a:pt x="11465932" y="1355012"/>
                  <a:pt x="11461095" y="1354773"/>
                </a:cubicBezTo>
                <a:cubicBezTo>
                  <a:pt x="11466538" y="1345260"/>
                  <a:pt x="11498589" y="1358579"/>
                  <a:pt x="11500403" y="1374514"/>
                </a:cubicBezTo>
                <a:cubicBezTo>
                  <a:pt x="11530640" y="1349303"/>
                  <a:pt x="11609861" y="1354060"/>
                  <a:pt x="11620746" y="1325282"/>
                </a:cubicBezTo>
                <a:cubicBezTo>
                  <a:pt x="11626794" y="1311963"/>
                  <a:pt x="11641912" y="1343119"/>
                  <a:pt x="11646146" y="1351443"/>
                </a:cubicBezTo>
                <a:cubicBezTo>
                  <a:pt x="11650984" y="1349779"/>
                  <a:pt x="11650984" y="1343357"/>
                  <a:pt x="11655822" y="1343833"/>
                </a:cubicBezTo>
                <a:cubicBezTo>
                  <a:pt x="11664289" y="1326709"/>
                  <a:pt x="11635261" y="1332179"/>
                  <a:pt x="11652193" y="1325758"/>
                </a:cubicBezTo>
                <a:cubicBezTo>
                  <a:pt x="11654613" y="1322190"/>
                  <a:pt x="11660055" y="1318385"/>
                  <a:pt x="11666708" y="1319098"/>
                </a:cubicBezTo>
                <a:cubicBezTo>
                  <a:pt x="11666103" y="1370470"/>
                  <a:pt x="11755604" y="1330514"/>
                  <a:pt x="11779795" y="1320525"/>
                </a:cubicBezTo>
                <a:cubicBezTo>
                  <a:pt x="11795518" y="1337887"/>
                  <a:pt x="11826359" y="1354773"/>
                  <a:pt x="11842083" y="1326471"/>
                </a:cubicBezTo>
                <a:cubicBezTo>
                  <a:pt x="11859015" y="1325758"/>
                  <a:pt x="11842083" y="1332179"/>
                  <a:pt x="11845711" y="1344309"/>
                </a:cubicBezTo>
                <a:cubicBezTo>
                  <a:pt x="11860830" y="1331703"/>
                  <a:pt x="11858411" y="1337411"/>
                  <a:pt x="11880181" y="1333368"/>
                </a:cubicBezTo>
                <a:cubicBezTo>
                  <a:pt x="11857201" y="1315531"/>
                  <a:pt x="11865063" y="1298407"/>
                  <a:pt x="11852364" y="1271532"/>
                </a:cubicBezTo>
                <a:cubicBezTo>
                  <a:pt x="11842083" y="1284374"/>
                  <a:pt x="11837849" y="1268202"/>
                  <a:pt x="11820916" y="1272721"/>
                </a:cubicBezTo>
                <a:cubicBezTo>
                  <a:pt x="11840873" y="1256548"/>
                  <a:pt x="11872924" y="1253457"/>
                  <a:pt x="11906186" y="1254407"/>
                </a:cubicBezTo>
                <a:cubicBezTo>
                  <a:pt x="11910419" y="1268440"/>
                  <a:pt x="11921304" y="1285326"/>
                  <a:pt x="11911023" y="1296504"/>
                </a:cubicBezTo>
                <a:cubicBezTo>
                  <a:pt x="11925538" y="1297693"/>
                  <a:pt x="11929771" y="1266299"/>
                  <a:pt x="11915257" y="1267013"/>
                </a:cubicBezTo>
                <a:cubicBezTo>
                  <a:pt x="11921304" y="1245845"/>
                  <a:pt x="11960008" y="1282948"/>
                  <a:pt x="11936423" y="1278905"/>
                </a:cubicBezTo>
                <a:cubicBezTo>
                  <a:pt x="11940051" y="1295077"/>
                  <a:pt x="11950937" y="1270580"/>
                  <a:pt x="11966659" y="1279855"/>
                </a:cubicBezTo>
                <a:cubicBezTo>
                  <a:pt x="11972103" y="1313866"/>
                  <a:pt x="11985407" y="1338363"/>
                  <a:pt x="12020482" y="1351443"/>
                </a:cubicBezTo>
                <a:cubicBezTo>
                  <a:pt x="12009597" y="1376178"/>
                  <a:pt x="11946704" y="1335509"/>
                  <a:pt x="11934608" y="1340504"/>
                </a:cubicBezTo>
                <a:cubicBezTo>
                  <a:pt x="11950937" y="1353584"/>
                  <a:pt x="11959403" y="1375941"/>
                  <a:pt x="11985407" y="1376416"/>
                </a:cubicBezTo>
                <a:cubicBezTo>
                  <a:pt x="11981779" y="1397821"/>
                  <a:pt x="11957589" y="1398059"/>
                  <a:pt x="11943679" y="1394730"/>
                </a:cubicBezTo>
                <a:cubicBezTo>
                  <a:pt x="11949123" y="1421128"/>
                  <a:pt x="11971498" y="1406621"/>
                  <a:pt x="11989640" y="1425886"/>
                </a:cubicBezTo>
                <a:cubicBezTo>
                  <a:pt x="11979360" y="1437064"/>
                  <a:pt x="11941261" y="1435875"/>
                  <a:pt x="11944889" y="1412566"/>
                </a:cubicBezTo>
                <a:cubicBezTo>
                  <a:pt x="11918885" y="1414231"/>
                  <a:pt x="11927957" y="1454663"/>
                  <a:pt x="11900743" y="1436351"/>
                </a:cubicBezTo>
                <a:cubicBezTo>
                  <a:pt x="11911628" y="1451334"/>
                  <a:pt x="11920095" y="1467744"/>
                  <a:pt x="11938842" y="1473452"/>
                </a:cubicBezTo>
                <a:cubicBezTo>
                  <a:pt x="11936423" y="1479160"/>
                  <a:pt x="11934003" y="1484393"/>
                  <a:pt x="11938237" y="1484868"/>
                </a:cubicBezTo>
                <a:cubicBezTo>
                  <a:pt x="11937633" y="1498663"/>
                  <a:pt x="11916467" y="1487247"/>
                  <a:pt x="11918281" y="1503182"/>
                </a:cubicBezTo>
                <a:cubicBezTo>
                  <a:pt x="11921304" y="1527441"/>
                  <a:pt x="11937633" y="1534575"/>
                  <a:pt x="11944284" y="1552889"/>
                </a:cubicBezTo>
                <a:cubicBezTo>
                  <a:pt x="11982988" y="1544327"/>
                  <a:pt x="12020482" y="1561212"/>
                  <a:pt x="12068861" y="1559547"/>
                </a:cubicBezTo>
                <a:cubicBezTo>
                  <a:pt x="12057976" y="1572391"/>
                  <a:pt x="12074304" y="1582142"/>
                  <a:pt x="12080956" y="1590704"/>
                </a:cubicBezTo>
                <a:cubicBezTo>
                  <a:pt x="12068257" y="1567872"/>
                  <a:pt x="12083980" y="1580952"/>
                  <a:pt x="12083980" y="1547181"/>
                </a:cubicBezTo>
                <a:cubicBezTo>
                  <a:pt x="12087004" y="1573342"/>
                  <a:pt x="12103937" y="1570964"/>
                  <a:pt x="12118450" y="1572153"/>
                </a:cubicBezTo>
                <a:cubicBezTo>
                  <a:pt x="12124498" y="1588564"/>
                  <a:pt x="12102122" y="1598314"/>
                  <a:pt x="12116636" y="1603548"/>
                </a:cubicBezTo>
                <a:cubicBezTo>
                  <a:pt x="12116032" y="1611395"/>
                  <a:pt x="12102122" y="1604022"/>
                  <a:pt x="12101517" y="1613773"/>
                </a:cubicBezTo>
                <a:cubicBezTo>
                  <a:pt x="12093052" y="1638747"/>
                  <a:pt x="12123289" y="1617579"/>
                  <a:pt x="12122079" y="1633276"/>
                </a:cubicBezTo>
                <a:cubicBezTo>
                  <a:pt x="12120869" y="1653016"/>
                  <a:pt x="12102122" y="1643503"/>
                  <a:pt x="12097284" y="1638984"/>
                </a:cubicBezTo>
                <a:cubicBezTo>
                  <a:pt x="12077933" y="1643265"/>
                  <a:pt x="12099099" y="1699156"/>
                  <a:pt x="12070071" y="1694637"/>
                </a:cubicBezTo>
                <a:lnTo>
                  <a:pt x="12071886" y="1668714"/>
                </a:lnTo>
                <a:cubicBezTo>
                  <a:pt x="12045277" y="1672281"/>
                  <a:pt x="12072490" y="1702486"/>
                  <a:pt x="12050114" y="1712474"/>
                </a:cubicBezTo>
                <a:cubicBezTo>
                  <a:pt x="12056162" y="1730788"/>
                  <a:pt x="12058581" y="1697491"/>
                  <a:pt x="12072490" y="1706766"/>
                </a:cubicBezTo>
                <a:cubicBezTo>
                  <a:pt x="12073095" y="1736496"/>
                  <a:pt x="12035601" y="1715328"/>
                  <a:pt x="12036205" y="1743156"/>
                </a:cubicBezTo>
                <a:cubicBezTo>
                  <a:pt x="12042858" y="1753620"/>
                  <a:pt x="12051929" y="1762182"/>
                  <a:pt x="12065838" y="1767415"/>
                </a:cubicBezTo>
                <a:cubicBezTo>
                  <a:pt x="12062210" y="1792863"/>
                  <a:pt x="12071886" y="1877056"/>
                  <a:pt x="12119660" y="1841381"/>
                </a:cubicBezTo>
                <a:cubicBezTo>
                  <a:pt x="12113007" y="1833056"/>
                  <a:pt x="12108774" y="1822354"/>
                  <a:pt x="12094866" y="1821165"/>
                </a:cubicBezTo>
                <a:cubicBezTo>
                  <a:pt x="12105146" y="1808322"/>
                  <a:pt x="12132359" y="1824495"/>
                  <a:pt x="12144455" y="1827349"/>
                </a:cubicBezTo>
                <a:cubicBezTo>
                  <a:pt x="12126917" y="1841856"/>
                  <a:pt x="12146874" y="1877056"/>
                  <a:pt x="12133570" y="1895844"/>
                </a:cubicBezTo>
                <a:lnTo>
                  <a:pt x="12103332" y="1878006"/>
                </a:lnTo>
                <a:cubicBezTo>
                  <a:pt x="12088818" y="1876580"/>
                  <a:pt x="12079142" y="1881099"/>
                  <a:pt x="12073095" y="1894655"/>
                </a:cubicBezTo>
                <a:cubicBezTo>
                  <a:pt x="12091841" y="1906071"/>
                  <a:pt x="12111193" y="1904169"/>
                  <a:pt x="12128126" y="1901552"/>
                </a:cubicBezTo>
                <a:cubicBezTo>
                  <a:pt x="12111798" y="1933898"/>
                  <a:pt x="12091841" y="1904406"/>
                  <a:pt x="12062814" y="1907736"/>
                </a:cubicBezTo>
                <a:cubicBezTo>
                  <a:pt x="12062210" y="1913681"/>
                  <a:pt x="12064628" y="1917725"/>
                  <a:pt x="12069466" y="1918200"/>
                </a:cubicBezTo>
                <a:cubicBezTo>
                  <a:pt x="12073095" y="1934374"/>
                  <a:pt x="12044672" y="1894179"/>
                  <a:pt x="12034996" y="1889422"/>
                </a:cubicBezTo>
                <a:cubicBezTo>
                  <a:pt x="12015644" y="1901552"/>
                  <a:pt x="12027739" y="1934374"/>
                  <a:pt x="12004154" y="1930330"/>
                </a:cubicBezTo>
                <a:cubicBezTo>
                  <a:pt x="12012621" y="1945076"/>
                  <a:pt x="12024111" y="1956254"/>
                  <a:pt x="12043462" y="1956017"/>
                </a:cubicBezTo>
                <a:cubicBezTo>
                  <a:pt x="12034996" y="1975043"/>
                  <a:pt x="12021692" y="1949832"/>
                  <a:pt x="12009597" y="1954590"/>
                </a:cubicBezTo>
                <a:cubicBezTo>
                  <a:pt x="11999316" y="1965768"/>
                  <a:pt x="11998106" y="1985270"/>
                  <a:pt x="11988431" y="1992405"/>
                </a:cubicBezTo>
                <a:cubicBezTo>
                  <a:pt x="11987825" y="1996209"/>
                  <a:pt x="11992664" y="1998826"/>
                  <a:pt x="11992664" y="2004773"/>
                </a:cubicBezTo>
                <a:cubicBezTo>
                  <a:pt x="12010202" y="1994546"/>
                  <a:pt x="12078537" y="1964577"/>
                  <a:pt x="12063419" y="1973141"/>
                </a:cubicBezTo>
                <a:cubicBezTo>
                  <a:pt x="12061000" y="1982654"/>
                  <a:pt x="12067652" y="1985746"/>
                  <a:pt x="12067652" y="1991692"/>
                </a:cubicBezTo>
                <a:cubicBezTo>
                  <a:pt x="12084585" y="1990979"/>
                  <a:pt x="12090632" y="1975519"/>
                  <a:pt x="12114218" y="1979562"/>
                </a:cubicBezTo>
                <a:cubicBezTo>
                  <a:pt x="12115427" y="1999541"/>
                  <a:pt x="12103332" y="1998350"/>
                  <a:pt x="12106960" y="2016664"/>
                </a:cubicBezTo>
                <a:cubicBezTo>
                  <a:pt x="12118450" y="2019518"/>
                  <a:pt x="12119660" y="2005486"/>
                  <a:pt x="12112403" y="2004773"/>
                </a:cubicBezTo>
                <a:cubicBezTo>
                  <a:pt x="12125103" y="1997876"/>
                  <a:pt x="12161992" y="2021183"/>
                  <a:pt x="12172272" y="2004297"/>
                </a:cubicBezTo>
                <a:cubicBezTo>
                  <a:pt x="12165621" y="1995734"/>
                  <a:pt x="12169249" y="1978135"/>
                  <a:pt x="12152316" y="1980751"/>
                </a:cubicBezTo>
                <a:cubicBezTo>
                  <a:pt x="12140221" y="1981703"/>
                  <a:pt x="12158968" y="1990979"/>
                  <a:pt x="12153525" y="2004297"/>
                </a:cubicBezTo>
                <a:cubicBezTo>
                  <a:pt x="12129336" y="2006199"/>
                  <a:pt x="12145060" y="1981940"/>
                  <a:pt x="12148083" y="1968385"/>
                </a:cubicBezTo>
                <a:cubicBezTo>
                  <a:pt x="12155340" y="1969096"/>
                  <a:pt x="12162596" y="1970048"/>
                  <a:pt x="12163201" y="1962201"/>
                </a:cubicBezTo>
                <a:cubicBezTo>
                  <a:pt x="12172877" y="1962914"/>
                  <a:pt x="12166830" y="1982178"/>
                  <a:pt x="12178925" y="1981227"/>
                </a:cubicBezTo>
                <a:cubicBezTo>
                  <a:pt x="12184367" y="1969810"/>
                  <a:pt x="12184972" y="1961962"/>
                  <a:pt x="12188601" y="1938418"/>
                </a:cubicBezTo>
                <a:cubicBezTo>
                  <a:pt x="12195857" y="1941033"/>
                  <a:pt x="12192229" y="1952449"/>
                  <a:pt x="12191624" y="1962201"/>
                </a:cubicBezTo>
                <a:lnTo>
                  <a:pt x="12218234" y="1962675"/>
                </a:lnTo>
                <a:cubicBezTo>
                  <a:pt x="12233352" y="1957919"/>
                  <a:pt x="12233352" y="1916535"/>
                  <a:pt x="12253913" y="1937940"/>
                </a:cubicBezTo>
                <a:cubicBezTo>
                  <a:pt x="12253308" y="1947930"/>
                  <a:pt x="12238795" y="1940796"/>
                  <a:pt x="12238190" y="1950784"/>
                </a:cubicBezTo>
                <a:cubicBezTo>
                  <a:pt x="12250285" y="1955779"/>
                  <a:pt x="12253913" y="1969810"/>
                  <a:pt x="12267822" y="1975043"/>
                </a:cubicBezTo>
                <a:cubicBezTo>
                  <a:pt x="12248471" y="1983130"/>
                  <a:pt x="12259961" y="1983843"/>
                  <a:pt x="12233352" y="1993357"/>
                </a:cubicBezTo>
                <a:cubicBezTo>
                  <a:pt x="12233956" y="1975756"/>
                  <a:pt x="12224280" y="1980989"/>
                  <a:pt x="12232142" y="1967909"/>
                </a:cubicBezTo>
                <a:lnTo>
                  <a:pt x="12222466" y="1969096"/>
                </a:lnTo>
                <a:cubicBezTo>
                  <a:pt x="12220048" y="1969096"/>
                  <a:pt x="12217629" y="1970524"/>
                  <a:pt x="12217629" y="1974330"/>
                </a:cubicBezTo>
                <a:cubicBezTo>
                  <a:pt x="12220048" y="1974567"/>
                  <a:pt x="12224885" y="1975043"/>
                  <a:pt x="12222466" y="1980751"/>
                </a:cubicBezTo>
                <a:cubicBezTo>
                  <a:pt x="12215209" y="1980038"/>
                  <a:pt x="12209767" y="1985746"/>
                  <a:pt x="12207348" y="1993357"/>
                </a:cubicBezTo>
                <a:cubicBezTo>
                  <a:pt x="12218838" y="1994546"/>
                  <a:pt x="12223071" y="2004534"/>
                  <a:pt x="12233352" y="1993357"/>
                </a:cubicBezTo>
                <a:cubicBezTo>
                  <a:pt x="12226699" y="2020707"/>
                  <a:pt x="12240609" y="2028080"/>
                  <a:pt x="12262380" y="2024037"/>
                </a:cubicBezTo>
                <a:cubicBezTo>
                  <a:pt x="12252099" y="1997400"/>
                  <a:pt x="12269031" y="2004534"/>
                  <a:pt x="12272660" y="2024513"/>
                </a:cubicBezTo>
                <a:cubicBezTo>
                  <a:pt x="12294431" y="2022611"/>
                  <a:pt x="12300479" y="1999541"/>
                  <a:pt x="12326482" y="2005723"/>
                </a:cubicBezTo>
                <a:cubicBezTo>
                  <a:pt x="12330110" y="2019757"/>
                  <a:pt x="12321039" y="2017140"/>
                  <a:pt x="12311364" y="2018329"/>
                </a:cubicBezTo>
                <a:cubicBezTo>
                  <a:pt x="12313178" y="2026415"/>
                  <a:pt x="12320434" y="2026891"/>
                  <a:pt x="12322249" y="2036880"/>
                </a:cubicBezTo>
                <a:cubicBezTo>
                  <a:pt x="12357324" y="2012145"/>
                  <a:pt x="12401470" y="2027842"/>
                  <a:pt x="12427475" y="2000491"/>
                </a:cubicBezTo>
                <a:cubicBezTo>
                  <a:pt x="12434126" y="2008815"/>
                  <a:pt x="12435940" y="2024989"/>
                  <a:pt x="12457712" y="2018805"/>
                </a:cubicBezTo>
                <a:cubicBezTo>
                  <a:pt x="12454083" y="2034501"/>
                  <a:pt x="12438965" y="2047344"/>
                  <a:pt x="12432312" y="2036880"/>
                </a:cubicBezTo>
                <a:cubicBezTo>
                  <a:pt x="12429289" y="2054479"/>
                  <a:pt x="12433521" y="2058284"/>
                  <a:pt x="12446221" y="2055430"/>
                </a:cubicBezTo>
                <a:cubicBezTo>
                  <a:pt x="12462549" y="2062566"/>
                  <a:pt x="12433521" y="2062089"/>
                  <a:pt x="12426265" y="2061614"/>
                </a:cubicBezTo>
                <a:cubicBezTo>
                  <a:pt x="12442593" y="2108467"/>
                  <a:pt x="12517581" y="2067560"/>
                  <a:pt x="12486739" y="2019518"/>
                </a:cubicBezTo>
                <a:lnTo>
                  <a:pt x="12500649" y="2018805"/>
                </a:lnTo>
                <a:cubicBezTo>
                  <a:pt x="12498833" y="2014762"/>
                  <a:pt x="12491577" y="2009528"/>
                  <a:pt x="12487343" y="2007151"/>
                </a:cubicBezTo>
                <a:cubicBezTo>
                  <a:pt x="12493996" y="1974091"/>
                  <a:pt x="12521815" y="1990740"/>
                  <a:pt x="12541166" y="1982415"/>
                </a:cubicBezTo>
                <a:cubicBezTo>
                  <a:pt x="12527861" y="2001204"/>
                  <a:pt x="12554471" y="2009291"/>
                  <a:pt x="12565961" y="2014286"/>
                </a:cubicBezTo>
                <a:cubicBezTo>
                  <a:pt x="12578055" y="2013334"/>
                  <a:pt x="12574427" y="1991216"/>
                  <a:pt x="12582289" y="1984081"/>
                </a:cubicBezTo>
                <a:cubicBezTo>
                  <a:pt x="12595593" y="1997161"/>
                  <a:pt x="12602849" y="1995734"/>
                  <a:pt x="12615550" y="1982891"/>
                </a:cubicBezTo>
                <a:cubicBezTo>
                  <a:pt x="12620992" y="2013097"/>
                  <a:pt x="12617968" y="2028793"/>
                  <a:pt x="12642158" y="2026891"/>
                </a:cubicBezTo>
                <a:cubicBezTo>
                  <a:pt x="12636716" y="2042349"/>
                  <a:pt x="12637320" y="2067797"/>
                  <a:pt x="12616154" y="2062089"/>
                </a:cubicBezTo>
                <a:cubicBezTo>
                  <a:pt x="12654253" y="2065420"/>
                  <a:pt x="12692956" y="2100381"/>
                  <a:pt x="12699609" y="2160315"/>
                </a:cubicBezTo>
                <a:cubicBezTo>
                  <a:pt x="12710494" y="2177201"/>
                  <a:pt x="12727427" y="2172206"/>
                  <a:pt x="12740127" y="2161504"/>
                </a:cubicBezTo>
                <a:cubicBezTo>
                  <a:pt x="12723194" y="2201699"/>
                  <a:pt x="12682071" y="2166975"/>
                  <a:pt x="12692956" y="2233331"/>
                </a:cubicBezTo>
                <a:cubicBezTo>
                  <a:pt x="12706865" y="2236422"/>
                  <a:pt x="12699004" y="2209548"/>
                  <a:pt x="12712913" y="2214780"/>
                </a:cubicBezTo>
                <a:cubicBezTo>
                  <a:pt x="12703237" y="2257590"/>
                  <a:pt x="12744964" y="2201936"/>
                  <a:pt x="12703842" y="2204314"/>
                </a:cubicBezTo>
                <a:cubicBezTo>
                  <a:pt x="12715332" y="2171731"/>
                  <a:pt x="12747988" y="2233806"/>
                  <a:pt x="12723194" y="2245460"/>
                </a:cubicBezTo>
                <a:cubicBezTo>
                  <a:pt x="12726822" y="2265676"/>
                  <a:pt x="12737103" y="2254735"/>
                  <a:pt x="12749198" y="2251644"/>
                </a:cubicBezTo>
                <a:cubicBezTo>
                  <a:pt x="12743150" y="2267102"/>
                  <a:pt x="12723798" y="2277329"/>
                  <a:pt x="12712308" y="2264487"/>
                </a:cubicBezTo>
                <a:cubicBezTo>
                  <a:pt x="12717146" y="2268767"/>
                  <a:pt x="12716541" y="2280897"/>
                  <a:pt x="12723194" y="2283513"/>
                </a:cubicBezTo>
                <a:cubicBezTo>
                  <a:pt x="12705656" y="2299686"/>
                  <a:pt x="12700214" y="2269006"/>
                  <a:pt x="12673605" y="2270671"/>
                </a:cubicBezTo>
                <a:cubicBezTo>
                  <a:pt x="12677838" y="2277092"/>
                  <a:pt x="12682676" y="2281848"/>
                  <a:pt x="12686910" y="2288270"/>
                </a:cubicBezTo>
                <a:cubicBezTo>
                  <a:pt x="12678443" y="2307296"/>
                  <a:pt x="12651834" y="2278994"/>
                  <a:pt x="12663929" y="2270195"/>
                </a:cubicBezTo>
                <a:cubicBezTo>
                  <a:pt x="12656672" y="2275427"/>
                  <a:pt x="12644578" y="2276378"/>
                  <a:pt x="12637320" y="2281611"/>
                </a:cubicBezTo>
                <a:cubicBezTo>
                  <a:pt x="12636716" y="2293502"/>
                  <a:pt x="12643367" y="2294215"/>
                  <a:pt x="12642763" y="2306107"/>
                </a:cubicBezTo>
                <a:cubicBezTo>
                  <a:pt x="12628854" y="2293026"/>
                  <a:pt x="12631877" y="2291361"/>
                  <a:pt x="12617968" y="2288270"/>
                </a:cubicBezTo>
                <a:cubicBezTo>
                  <a:pt x="12624015" y="2264963"/>
                  <a:pt x="12624621" y="2253070"/>
                  <a:pt x="12598012" y="2250691"/>
                </a:cubicBezTo>
                <a:cubicBezTo>
                  <a:pt x="12596803" y="2238563"/>
                  <a:pt x="12607688" y="2243556"/>
                  <a:pt x="12608293" y="2233806"/>
                </a:cubicBezTo>
                <a:cubicBezTo>
                  <a:pt x="12606478" y="2225720"/>
                  <a:pt x="12596803" y="2228812"/>
                  <a:pt x="12589545" y="2226195"/>
                </a:cubicBezTo>
                <a:cubicBezTo>
                  <a:pt x="12575637" y="2225006"/>
                  <a:pt x="12592570" y="2262109"/>
                  <a:pt x="12573822" y="2250691"/>
                </a:cubicBezTo>
                <a:cubicBezTo>
                  <a:pt x="12582289" y="2235471"/>
                  <a:pt x="12572613" y="2232617"/>
                  <a:pt x="12578055" y="2215254"/>
                </a:cubicBezTo>
                <a:cubicBezTo>
                  <a:pt x="12597407" y="2218823"/>
                  <a:pt x="12601640" y="2223103"/>
                  <a:pt x="12614945" y="2208358"/>
                </a:cubicBezTo>
                <a:cubicBezTo>
                  <a:pt x="12604060" y="2189569"/>
                  <a:pt x="12582894" y="2221677"/>
                  <a:pt x="12579869" y="2195514"/>
                </a:cubicBezTo>
                <a:cubicBezTo>
                  <a:pt x="12565356" y="2196228"/>
                  <a:pt x="12544795" y="2220249"/>
                  <a:pt x="12563542" y="2225720"/>
                </a:cubicBezTo>
                <a:cubicBezTo>
                  <a:pt x="12532700" y="2221201"/>
                  <a:pt x="12500649" y="2234520"/>
                  <a:pt x="12450455" y="2226195"/>
                </a:cubicBezTo>
                <a:cubicBezTo>
                  <a:pt x="12443197" y="2231664"/>
                  <a:pt x="12449850" y="2235946"/>
                  <a:pt x="12444407" y="2251168"/>
                </a:cubicBezTo>
                <a:cubicBezTo>
                  <a:pt x="12427475" y="2249740"/>
                  <a:pt x="12411751" y="2236659"/>
                  <a:pt x="12399051" y="2249502"/>
                </a:cubicBezTo>
                <a:cubicBezTo>
                  <a:pt x="12419613" y="2267102"/>
                  <a:pt x="12386352" y="2297784"/>
                  <a:pt x="12413565" y="2286367"/>
                </a:cubicBezTo>
                <a:cubicBezTo>
                  <a:pt x="12419613" y="2300875"/>
                  <a:pt x="12396028" y="2290887"/>
                  <a:pt x="12383932" y="2299686"/>
                </a:cubicBezTo>
                <a:cubicBezTo>
                  <a:pt x="12385143" y="2319426"/>
                  <a:pt x="12407518" y="2307772"/>
                  <a:pt x="12419613" y="2304918"/>
                </a:cubicBezTo>
                <a:cubicBezTo>
                  <a:pt x="12416589" y="2316335"/>
                  <a:pt x="12418403" y="2324421"/>
                  <a:pt x="12428079" y="2323232"/>
                </a:cubicBezTo>
                <a:cubicBezTo>
                  <a:pt x="12413565" y="2323945"/>
                  <a:pt x="12399051" y="2328701"/>
                  <a:pt x="12393004" y="2353912"/>
                </a:cubicBezTo>
                <a:cubicBezTo>
                  <a:pt x="12394819" y="2358192"/>
                  <a:pt x="12397237" y="2360333"/>
                  <a:pt x="12397237" y="2366279"/>
                </a:cubicBezTo>
                <a:cubicBezTo>
                  <a:pt x="12414170" y="2357718"/>
                  <a:pt x="12426870" y="2348917"/>
                  <a:pt x="12443802" y="2342496"/>
                </a:cubicBezTo>
                <a:cubicBezTo>
                  <a:pt x="12449245" y="2372700"/>
                  <a:pt x="12505486" y="2403380"/>
                  <a:pt x="12507905" y="2353912"/>
                </a:cubicBezTo>
                <a:cubicBezTo>
                  <a:pt x="12524233" y="2365328"/>
                  <a:pt x="12532700" y="2385544"/>
                  <a:pt x="12541166" y="2404094"/>
                </a:cubicBezTo>
                <a:cubicBezTo>
                  <a:pt x="12556889" y="2374604"/>
                  <a:pt x="12582289" y="2398861"/>
                  <a:pt x="12604060" y="2389587"/>
                </a:cubicBezTo>
                <a:cubicBezTo>
                  <a:pt x="12584708" y="2415748"/>
                  <a:pt x="12615550" y="2464504"/>
                  <a:pt x="12575637" y="2476633"/>
                </a:cubicBezTo>
                <a:cubicBezTo>
                  <a:pt x="12585917" y="2499227"/>
                  <a:pt x="12573218" y="2514210"/>
                  <a:pt x="12576241" y="2544177"/>
                </a:cubicBezTo>
                <a:cubicBezTo>
                  <a:pt x="12549632" y="2547745"/>
                  <a:pt x="12535723" y="2538469"/>
                  <a:pt x="12524838" y="2525627"/>
                </a:cubicBezTo>
                <a:cubicBezTo>
                  <a:pt x="12520000" y="2525389"/>
                  <a:pt x="12521815" y="2535141"/>
                  <a:pt x="12521210" y="2543227"/>
                </a:cubicBezTo>
                <a:cubicBezTo>
                  <a:pt x="12495205" y="2537043"/>
                  <a:pt x="12471016" y="2531335"/>
                  <a:pt x="12460735" y="2506600"/>
                </a:cubicBezTo>
                <a:cubicBezTo>
                  <a:pt x="12452269" y="2519918"/>
                  <a:pt x="12447431" y="2537043"/>
                  <a:pt x="12421427" y="2530859"/>
                </a:cubicBezTo>
                <a:cubicBezTo>
                  <a:pt x="12415380" y="2546318"/>
                  <a:pt x="12436546" y="2555594"/>
                  <a:pt x="12421427" y="2560350"/>
                </a:cubicBezTo>
                <a:cubicBezTo>
                  <a:pt x="12430498" y="2572956"/>
                  <a:pt x="12439569" y="2579615"/>
                  <a:pt x="12465573" y="2585798"/>
                </a:cubicBezTo>
                <a:cubicBezTo>
                  <a:pt x="12438360" y="2599355"/>
                  <a:pt x="12467388" y="2607917"/>
                  <a:pt x="12460131" y="2646921"/>
                </a:cubicBezTo>
                <a:cubicBezTo>
                  <a:pt x="12483111" y="2623138"/>
                  <a:pt x="12493996" y="2640024"/>
                  <a:pt x="12529675" y="2641213"/>
                </a:cubicBezTo>
                <a:cubicBezTo>
                  <a:pt x="12511534" y="2663332"/>
                  <a:pt x="12477669" y="2628846"/>
                  <a:pt x="12468597" y="2665711"/>
                </a:cubicBezTo>
                <a:cubicBezTo>
                  <a:pt x="12461945" y="2655246"/>
                  <a:pt x="12439569" y="2659289"/>
                  <a:pt x="12425661" y="2658100"/>
                </a:cubicBezTo>
                <a:cubicBezTo>
                  <a:pt x="12366395" y="2726358"/>
                  <a:pt x="12481297" y="2735872"/>
                  <a:pt x="12497624" y="2786768"/>
                </a:cubicBezTo>
                <a:cubicBezTo>
                  <a:pt x="12502463" y="2781297"/>
                  <a:pt x="12509720" y="2780108"/>
                  <a:pt x="12516976" y="2780584"/>
                </a:cubicBezTo>
                <a:cubicBezTo>
                  <a:pt x="12516371" y="2788433"/>
                  <a:pt x="12518790" y="2792714"/>
                  <a:pt x="12523629" y="2793189"/>
                </a:cubicBezTo>
                <a:cubicBezTo>
                  <a:pt x="12529675" y="2813405"/>
                  <a:pt x="12506091" y="2797708"/>
                  <a:pt x="12512139" y="2818162"/>
                </a:cubicBezTo>
                <a:cubicBezTo>
                  <a:pt x="12526652" y="2819351"/>
                  <a:pt x="12521815" y="2826486"/>
                  <a:pt x="12527257" y="2848842"/>
                </a:cubicBezTo>
                <a:cubicBezTo>
                  <a:pt x="12566565" y="2834334"/>
                  <a:pt x="12602849" y="2835286"/>
                  <a:pt x="12617364" y="2878095"/>
                </a:cubicBezTo>
                <a:cubicBezTo>
                  <a:pt x="12619783" y="2874528"/>
                  <a:pt x="12627040" y="2873339"/>
                  <a:pt x="12636716" y="2874052"/>
                </a:cubicBezTo>
                <a:cubicBezTo>
                  <a:pt x="12635506" y="2899739"/>
                  <a:pt x="12656672" y="2897598"/>
                  <a:pt x="12660300" y="2915673"/>
                </a:cubicBezTo>
                <a:cubicBezTo>
                  <a:pt x="12659091" y="2982980"/>
                  <a:pt x="12617364" y="2997488"/>
                  <a:pt x="12604664" y="3049812"/>
                </a:cubicBezTo>
                <a:cubicBezTo>
                  <a:pt x="12649415" y="3071454"/>
                  <a:pt x="12665744" y="3033163"/>
                  <a:pt x="12718356" y="3037682"/>
                </a:cubicBezTo>
                <a:cubicBezTo>
                  <a:pt x="12712308" y="3013423"/>
                  <a:pt x="12701423" y="2998201"/>
                  <a:pt x="12694771" y="2989877"/>
                </a:cubicBezTo>
                <a:cubicBezTo>
                  <a:pt x="12704446" y="2982743"/>
                  <a:pt x="12710494" y="3007239"/>
                  <a:pt x="12714122" y="2989877"/>
                </a:cubicBezTo>
                <a:cubicBezTo>
                  <a:pt x="12726822" y="3014612"/>
                  <a:pt x="12747383" y="3032211"/>
                  <a:pt x="12783668" y="3025553"/>
                </a:cubicBezTo>
                <a:cubicBezTo>
                  <a:pt x="12792135" y="3041963"/>
                  <a:pt x="12780645" y="3044579"/>
                  <a:pt x="12789110" y="3063130"/>
                </a:cubicBezTo>
                <a:cubicBezTo>
                  <a:pt x="12858656" y="3059324"/>
                  <a:pt x="12917317" y="3086437"/>
                  <a:pt x="12966905" y="3138285"/>
                </a:cubicBezTo>
                <a:cubicBezTo>
                  <a:pt x="13027984" y="3143517"/>
                  <a:pt x="13062455" y="3212014"/>
                  <a:pt x="13061849" y="3279558"/>
                </a:cubicBezTo>
                <a:cubicBezTo>
                  <a:pt x="13061849" y="3320228"/>
                  <a:pt x="13049150" y="3360421"/>
                  <a:pt x="13022542" y="3386345"/>
                </a:cubicBezTo>
                <a:cubicBezTo>
                  <a:pt x="13020728" y="3374216"/>
                  <a:pt x="13014075" y="3363514"/>
                  <a:pt x="13015285" y="3343773"/>
                </a:cubicBezTo>
                <a:cubicBezTo>
                  <a:pt x="12988677" y="3347579"/>
                  <a:pt x="12980210" y="3329265"/>
                  <a:pt x="12959044" y="3325461"/>
                </a:cubicBezTo>
                <a:cubicBezTo>
                  <a:pt x="12911269" y="3363038"/>
                  <a:pt x="12862284" y="3325222"/>
                  <a:pt x="12809067" y="3336638"/>
                </a:cubicBezTo>
                <a:cubicBezTo>
                  <a:pt x="12811487" y="3332832"/>
                  <a:pt x="12814510" y="3330693"/>
                  <a:pt x="12814510" y="3324985"/>
                </a:cubicBezTo>
                <a:cubicBezTo>
                  <a:pt x="12772178" y="3315233"/>
                  <a:pt x="12739522" y="3330930"/>
                  <a:pt x="12721380" y="3313331"/>
                </a:cubicBezTo>
                <a:cubicBezTo>
                  <a:pt x="12711704" y="3318563"/>
                  <a:pt x="12706261" y="3327600"/>
                  <a:pt x="12696586" y="3330693"/>
                </a:cubicBezTo>
                <a:cubicBezTo>
                  <a:pt x="12682071" y="3331406"/>
                  <a:pt x="12683281" y="3313806"/>
                  <a:pt x="12676629" y="3305482"/>
                </a:cubicBezTo>
                <a:cubicBezTo>
                  <a:pt x="12658486" y="3327600"/>
                  <a:pt x="12590755" y="3285979"/>
                  <a:pt x="12594988" y="3335925"/>
                </a:cubicBezTo>
                <a:cubicBezTo>
                  <a:pt x="12581683" y="3320703"/>
                  <a:pt x="12574427" y="3328315"/>
                  <a:pt x="12550237" y="3329978"/>
                </a:cubicBezTo>
                <a:cubicBezTo>
                  <a:pt x="12559308" y="3295255"/>
                  <a:pt x="12577451" y="3312855"/>
                  <a:pt x="12594988" y="3292639"/>
                </a:cubicBezTo>
                <a:cubicBezTo>
                  <a:pt x="12648810" y="3241743"/>
                  <a:pt x="12622201" y="3167776"/>
                  <a:pt x="12584103" y="3110935"/>
                </a:cubicBezTo>
                <a:cubicBezTo>
                  <a:pt x="12560517" y="3109031"/>
                  <a:pt x="12546609" y="3098092"/>
                  <a:pt x="12530281" y="3090719"/>
                </a:cubicBezTo>
                <a:cubicBezTo>
                  <a:pt x="12518185" y="3097616"/>
                  <a:pt x="12514557" y="3109270"/>
                  <a:pt x="12513953" y="3129010"/>
                </a:cubicBezTo>
                <a:cubicBezTo>
                  <a:pt x="12561728" y="3085487"/>
                  <a:pt x="12588336" y="3171343"/>
                  <a:pt x="12561728" y="3214630"/>
                </a:cubicBezTo>
                <a:cubicBezTo>
                  <a:pt x="12549632" y="3215581"/>
                  <a:pt x="12552656" y="3201311"/>
                  <a:pt x="12538142" y="3207970"/>
                </a:cubicBezTo>
                <a:cubicBezTo>
                  <a:pt x="12530886" y="3209397"/>
                  <a:pt x="12529675" y="3217246"/>
                  <a:pt x="12522419" y="3218435"/>
                </a:cubicBezTo>
                <a:cubicBezTo>
                  <a:pt x="12533909" y="3235321"/>
                  <a:pt x="12531491" y="3241505"/>
                  <a:pt x="12536933" y="3267666"/>
                </a:cubicBezTo>
                <a:cubicBezTo>
                  <a:pt x="12527257" y="3264813"/>
                  <a:pt x="12524838" y="3272900"/>
                  <a:pt x="12517581" y="3274089"/>
                </a:cubicBezTo>
                <a:cubicBezTo>
                  <a:pt x="12568379" y="3312142"/>
                  <a:pt x="12501253" y="3341870"/>
                  <a:pt x="12491577" y="3378735"/>
                </a:cubicBezTo>
                <a:cubicBezTo>
                  <a:pt x="12483111" y="3368032"/>
                  <a:pt x="12465573" y="3372551"/>
                  <a:pt x="12464968" y="3390151"/>
                </a:cubicBezTo>
                <a:cubicBezTo>
                  <a:pt x="12473435" y="3408702"/>
                  <a:pt x="12484320" y="3381826"/>
                  <a:pt x="12500649" y="3389199"/>
                </a:cubicBezTo>
                <a:cubicBezTo>
                  <a:pt x="12500044" y="3401091"/>
                  <a:pt x="12495205" y="3402518"/>
                  <a:pt x="12494601" y="3414410"/>
                </a:cubicBezTo>
                <a:cubicBezTo>
                  <a:pt x="12487948" y="3403945"/>
                  <a:pt x="12471016" y="3408939"/>
                  <a:pt x="12457106" y="3407513"/>
                </a:cubicBezTo>
                <a:cubicBezTo>
                  <a:pt x="12455897" y="3427253"/>
                  <a:pt x="12469807" y="3426301"/>
                  <a:pt x="12466177" y="3449847"/>
                </a:cubicBezTo>
                <a:cubicBezTo>
                  <a:pt x="12461340" y="3455317"/>
                  <a:pt x="12454083" y="3456268"/>
                  <a:pt x="12444407" y="3455555"/>
                </a:cubicBezTo>
                <a:cubicBezTo>
                  <a:pt x="12450455" y="3473868"/>
                  <a:pt x="12447431" y="3480052"/>
                  <a:pt x="12439569" y="3493132"/>
                </a:cubicBezTo>
                <a:cubicBezTo>
                  <a:pt x="12443802" y="3509305"/>
                  <a:pt x="12460735" y="3508592"/>
                  <a:pt x="12469807" y="3517391"/>
                </a:cubicBezTo>
                <a:cubicBezTo>
                  <a:pt x="12469202" y="3568763"/>
                  <a:pt x="12461340" y="3578040"/>
                  <a:pt x="12468597" y="3620136"/>
                </a:cubicBezTo>
                <a:cubicBezTo>
                  <a:pt x="12460735" y="3627508"/>
                  <a:pt x="12448641" y="3626795"/>
                  <a:pt x="12443197" y="3634168"/>
                </a:cubicBezTo>
                <a:cubicBezTo>
                  <a:pt x="12445012" y="3644395"/>
                  <a:pt x="12452873" y="3646773"/>
                  <a:pt x="12462549" y="3645584"/>
                </a:cubicBezTo>
                <a:cubicBezTo>
                  <a:pt x="12463759" y="3661757"/>
                  <a:pt x="12442593" y="3649627"/>
                  <a:pt x="12448641" y="3669843"/>
                </a:cubicBezTo>
                <a:cubicBezTo>
                  <a:pt x="12434731" y="3664611"/>
                  <a:pt x="12425661" y="3659853"/>
                  <a:pt x="12417194" y="3675075"/>
                </a:cubicBezTo>
                <a:cubicBezTo>
                  <a:pt x="12437151" y="3658903"/>
                  <a:pt x="12443802" y="3750944"/>
                  <a:pt x="12406309" y="3735960"/>
                </a:cubicBezTo>
                <a:cubicBezTo>
                  <a:pt x="12408123" y="3710275"/>
                  <a:pt x="12425055" y="3701712"/>
                  <a:pt x="12407518" y="3676264"/>
                </a:cubicBezTo>
                <a:cubicBezTo>
                  <a:pt x="12391794" y="3698858"/>
                  <a:pt x="12379699" y="3705993"/>
                  <a:pt x="12373047" y="3731204"/>
                </a:cubicBezTo>
                <a:cubicBezTo>
                  <a:pt x="12399051" y="3739527"/>
                  <a:pt x="12403889" y="3783289"/>
                  <a:pt x="12367605" y="3786143"/>
                </a:cubicBezTo>
                <a:cubicBezTo>
                  <a:pt x="12368814" y="3803980"/>
                  <a:pt x="12380909" y="3810878"/>
                  <a:pt x="12386957" y="3827289"/>
                </a:cubicBezTo>
                <a:cubicBezTo>
                  <a:pt x="12386352" y="3835137"/>
                  <a:pt x="12377281" y="3832521"/>
                  <a:pt x="12372442" y="3833948"/>
                </a:cubicBezTo>
                <a:cubicBezTo>
                  <a:pt x="12368814" y="3847505"/>
                  <a:pt x="12378490" y="3846078"/>
                  <a:pt x="12385747" y="3846791"/>
                </a:cubicBezTo>
                <a:cubicBezTo>
                  <a:pt x="12386957" y="3862727"/>
                  <a:pt x="12370628" y="3859634"/>
                  <a:pt x="12369419" y="3877472"/>
                </a:cubicBezTo>
                <a:cubicBezTo>
                  <a:pt x="12382723" y="3892455"/>
                  <a:pt x="12382723" y="3860586"/>
                  <a:pt x="12401470" y="3864153"/>
                </a:cubicBezTo>
                <a:cubicBezTo>
                  <a:pt x="12378490" y="3891979"/>
                  <a:pt x="12377281" y="3947394"/>
                  <a:pt x="12365791" y="3985924"/>
                </a:cubicBezTo>
                <a:cubicBezTo>
                  <a:pt x="12353696" y="3986875"/>
                  <a:pt x="12350672" y="3996627"/>
                  <a:pt x="12334344" y="3991156"/>
                </a:cubicBezTo>
                <a:cubicBezTo>
                  <a:pt x="12333135" y="4010896"/>
                  <a:pt x="12339786" y="4017080"/>
                  <a:pt x="12348858" y="4021836"/>
                </a:cubicBezTo>
                <a:cubicBezTo>
                  <a:pt x="12330715" y="4042052"/>
                  <a:pt x="12346439" y="4071544"/>
                  <a:pt x="12324063" y="4089381"/>
                </a:cubicBezTo>
                <a:cubicBezTo>
                  <a:pt x="12310154" y="4082246"/>
                  <a:pt x="12325273" y="4063695"/>
                  <a:pt x="12323459" y="4053707"/>
                </a:cubicBezTo>
                <a:cubicBezTo>
                  <a:pt x="12308944" y="4050377"/>
                  <a:pt x="12303502" y="4059652"/>
                  <a:pt x="12298059" y="4071069"/>
                </a:cubicBezTo>
                <a:cubicBezTo>
                  <a:pt x="12285360" y="4046095"/>
                  <a:pt x="12319830" y="4031587"/>
                  <a:pt x="12330715" y="4016604"/>
                </a:cubicBezTo>
                <a:cubicBezTo>
                  <a:pt x="12307130" y="4004713"/>
                  <a:pt x="12298059" y="3948584"/>
                  <a:pt x="12309549" y="3917903"/>
                </a:cubicBezTo>
                <a:cubicBezTo>
                  <a:pt x="12298059" y="3906963"/>
                  <a:pt x="12276893" y="3906726"/>
                  <a:pt x="12260565" y="3899352"/>
                </a:cubicBezTo>
                <a:cubicBezTo>
                  <a:pt x="12262380" y="3905537"/>
                  <a:pt x="12267217" y="3903872"/>
                  <a:pt x="12271451" y="3906250"/>
                </a:cubicBezTo>
                <a:cubicBezTo>
                  <a:pt x="12270241" y="3928130"/>
                  <a:pt x="12250890" y="3932650"/>
                  <a:pt x="12249680" y="3954292"/>
                </a:cubicBezTo>
                <a:cubicBezTo>
                  <a:pt x="12242423" y="3955481"/>
                  <a:pt x="12242423" y="3949535"/>
                  <a:pt x="12235770" y="3949059"/>
                </a:cubicBezTo>
                <a:cubicBezTo>
                  <a:pt x="12223071" y="3955957"/>
                  <a:pt x="12235770" y="3980691"/>
                  <a:pt x="12235770" y="3990680"/>
                </a:cubicBezTo>
                <a:cubicBezTo>
                  <a:pt x="12230933" y="3982356"/>
                  <a:pt x="12214000" y="3956670"/>
                  <a:pt x="12216418" y="3990680"/>
                </a:cubicBezTo>
                <a:cubicBezTo>
                  <a:pt x="12175296" y="4000907"/>
                  <a:pt x="12153525" y="3955719"/>
                  <a:pt x="12125708" y="3984972"/>
                </a:cubicBezTo>
                <a:cubicBezTo>
                  <a:pt x="12136593" y="3962141"/>
                  <a:pt x="12128731" y="3937882"/>
                  <a:pt x="12105751" y="3953578"/>
                </a:cubicBezTo>
                <a:cubicBezTo>
                  <a:pt x="12116636" y="3934789"/>
                  <a:pt x="12114218" y="3936930"/>
                  <a:pt x="12108170" y="3918616"/>
                </a:cubicBezTo>
                <a:cubicBezTo>
                  <a:pt x="12127522" y="3910293"/>
                  <a:pt x="12140826" y="3936693"/>
                  <a:pt x="12146874" y="3911482"/>
                </a:cubicBezTo>
                <a:cubicBezTo>
                  <a:pt x="12145664" y="3893644"/>
                  <a:pt x="12105146" y="3920044"/>
                  <a:pt x="12116636" y="3887460"/>
                </a:cubicBezTo>
                <a:cubicBezTo>
                  <a:pt x="12097889" y="3885797"/>
                  <a:pt x="12092447" y="3902682"/>
                  <a:pt x="12073095" y="3905061"/>
                </a:cubicBezTo>
                <a:cubicBezTo>
                  <a:pt x="12074304" y="3925039"/>
                  <a:pt x="12082771" y="3935741"/>
                  <a:pt x="12091841" y="3948584"/>
                </a:cubicBezTo>
                <a:cubicBezTo>
                  <a:pt x="12088818" y="3958098"/>
                  <a:pt x="12059185" y="3927893"/>
                  <a:pt x="12046486" y="3946681"/>
                </a:cubicBezTo>
                <a:cubicBezTo>
                  <a:pt x="12051929" y="3969038"/>
                  <a:pt x="12055557" y="3951200"/>
                  <a:pt x="12072490" y="3952627"/>
                </a:cubicBezTo>
                <a:cubicBezTo>
                  <a:pt x="12078537" y="3964995"/>
                  <a:pt x="12068257" y="3978076"/>
                  <a:pt x="12082166" y="3991156"/>
                </a:cubicBezTo>
                <a:cubicBezTo>
                  <a:pt x="12068861" y="4011848"/>
                  <a:pt x="12068861" y="3968562"/>
                  <a:pt x="12061605" y="3965945"/>
                </a:cubicBezTo>
                <a:cubicBezTo>
                  <a:pt x="12047695" y="3960713"/>
                  <a:pt x="12065233" y="3993773"/>
                  <a:pt x="12050720" y="3990680"/>
                </a:cubicBezTo>
                <a:cubicBezTo>
                  <a:pt x="12064024" y="4013513"/>
                  <a:pt x="12068861" y="4007804"/>
                  <a:pt x="12079747" y="4026594"/>
                </a:cubicBezTo>
                <a:cubicBezTo>
                  <a:pt x="12065233" y="4031112"/>
                  <a:pt x="12060395" y="4070593"/>
                  <a:pt x="12050114" y="4043956"/>
                </a:cubicBezTo>
                <a:cubicBezTo>
                  <a:pt x="12032577" y="4050377"/>
                  <a:pt x="12047091" y="4056085"/>
                  <a:pt x="12045881" y="4075825"/>
                </a:cubicBezTo>
                <a:lnTo>
                  <a:pt x="12070071" y="4075825"/>
                </a:lnTo>
                <a:cubicBezTo>
                  <a:pt x="12053138" y="4113878"/>
                  <a:pt x="12037415" y="4056798"/>
                  <a:pt x="12015644" y="4062982"/>
                </a:cubicBezTo>
                <a:cubicBezTo>
                  <a:pt x="12014435" y="4082722"/>
                  <a:pt x="12018667" y="4091046"/>
                  <a:pt x="12035601" y="4088430"/>
                </a:cubicBezTo>
                <a:cubicBezTo>
                  <a:pt x="12025320" y="4097467"/>
                  <a:pt x="12041648" y="4104603"/>
                  <a:pt x="12028948" y="4117446"/>
                </a:cubicBezTo>
                <a:cubicBezTo>
                  <a:pt x="12021692" y="4116732"/>
                  <a:pt x="12034996" y="4097943"/>
                  <a:pt x="12021087" y="4092949"/>
                </a:cubicBezTo>
                <a:cubicBezTo>
                  <a:pt x="12002340" y="4087241"/>
                  <a:pt x="12012621" y="4116019"/>
                  <a:pt x="11995687" y="4112689"/>
                </a:cubicBezTo>
                <a:cubicBezTo>
                  <a:pt x="11992059" y="4098419"/>
                  <a:pt x="11979965" y="4091284"/>
                  <a:pt x="11990245" y="4080344"/>
                </a:cubicBezTo>
                <a:cubicBezTo>
                  <a:pt x="11958799" y="4085576"/>
                  <a:pt x="11966055" y="4042766"/>
                  <a:pt x="11932189" y="4049664"/>
                </a:cubicBezTo>
                <a:cubicBezTo>
                  <a:pt x="11938237" y="4073923"/>
                  <a:pt x="11949123" y="4090808"/>
                  <a:pt x="11960008" y="4111500"/>
                </a:cubicBezTo>
                <a:cubicBezTo>
                  <a:pt x="11967265" y="4110311"/>
                  <a:pt x="11965450" y="4096517"/>
                  <a:pt x="11966055" y="4086528"/>
                </a:cubicBezTo>
                <a:cubicBezTo>
                  <a:pt x="11973312" y="4091284"/>
                  <a:pt x="11977546" y="4095327"/>
                  <a:pt x="11984197" y="4099847"/>
                </a:cubicBezTo>
                <a:cubicBezTo>
                  <a:pt x="11983593" y="4111737"/>
                  <a:pt x="11963031" y="4099847"/>
                  <a:pt x="11964241" y="4117921"/>
                </a:cubicBezTo>
                <a:cubicBezTo>
                  <a:pt x="11978755" y="4113165"/>
                  <a:pt x="11972103" y="4150029"/>
                  <a:pt x="11990850" y="4153834"/>
                </a:cubicBezTo>
                <a:cubicBezTo>
                  <a:pt x="11979965" y="4176666"/>
                  <a:pt x="11979965" y="4179045"/>
                  <a:pt x="11985407" y="4209249"/>
                </a:cubicBezTo>
                <a:cubicBezTo>
                  <a:pt x="11978755" y="4196644"/>
                  <a:pt x="11962427" y="4194741"/>
                  <a:pt x="11955774" y="4184277"/>
                </a:cubicBezTo>
                <a:cubicBezTo>
                  <a:pt x="11956380" y="4168342"/>
                  <a:pt x="11975126" y="4176428"/>
                  <a:pt x="11973312" y="4160494"/>
                </a:cubicBezTo>
                <a:cubicBezTo>
                  <a:pt x="11964241" y="4151932"/>
                  <a:pt x="11952751" y="4146699"/>
                  <a:pt x="11970289" y="4136235"/>
                </a:cubicBezTo>
                <a:cubicBezTo>
                  <a:pt x="11966055" y="4124105"/>
                  <a:pt x="11932189" y="4135046"/>
                  <a:pt x="11950332" y="4110787"/>
                </a:cubicBezTo>
                <a:cubicBezTo>
                  <a:pt x="11933399" y="4113402"/>
                  <a:pt x="11923723" y="4108407"/>
                  <a:pt x="11909209" y="4105079"/>
                </a:cubicBezTo>
                <a:cubicBezTo>
                  <a:pt x="11915862" y="4073923"/>
                  <a:pt x="11918885" y="4027068"/>
                  <a:pt x="11891671" y="4006853"/>
                </a:cubicBezTo>
                <a:cubicBezTo>
                  <a:pt x="11912837" y="4006615"/>
                  <a:pt x="11932189" y="4004237"/>
                  <a:pt x="11931585" y="3976411"/>
                </a:cubicBezTo>
                <a:cubicBezTo>
                  <a:pt x="11931585" y="3970464"/>
                  <a:pt x="11922513" y="3971416"/>
                  <a:pt x="11917676" y="3971179"/>
                </a:cubicBezTo>
                <a:cubicBezTo>
                  <a:pt x="11915862" y="3957146"/>
                  <a:pt x="11918885" y="3947633"/>
                  <a:pt x="11921909" y="3940023"/>
                </a:cubicBezTo>
                <a:cubicBezTo>
                  <a:pt x="11940656" y="3951438"/>
                  <a:pt x="11946099" y="3940023"/>
                  <a:pt x="11962427" y="3947394"/>
                </a:cubicBezTo>
                <a:cubicBezTo>
                  <a:pt x="11966055" y="3963567"/>
                  <a:pt x="11951541" y="3958335"/>
                  <a:pt x="11950937" y="3972129"/>
                </a:cubicBezTo>
                <a:cubicBezTo>
                  <a:pt x="11970893" y="4003524"/>
                  <a:pt x="12004759" y="3963092"/>
                  <a:pt x="12022296" y="3952627"/>
                </a:cubicBezTo>
                <a:cubicBezTo>
                  <a:pt x="12005363" y="3947394"/>
                  <a:pt x="11996897" y="3928368"/>
                  <a:pt x="11968475" y="3921946"/>
                </a:cubicBezTo>
                <a:cubicBezTo>
                  <a:pt x="11967265" y="3898163"/>
                  <a:pt x="11975126" y="3925039"/>
                  <a:pt x="11987825" y="3916238"/>
                </a:cubicBezTo>
                <a:cubicBezTo>
                  <a:pt x="11989036" y="3896498"/>
                  <a:pt x="11972103" y="3898877"/>
                  <a:pt x="11967870" y="3886510"/>
                </a:cubicBezTo>
                <a:cubicBezTo>
                  <a:pt x="11950937" y="3891029"/>
                  <a:pt x="11967265" y="3900066"/>
                  <a:pt x="11956984" y="3909104"/>
                </a:cubicBezTo>
                <a:cubicBezTo>
                  <a:pt x="11935817" y="3895547"/>
                  <a:pt x="11923118" y="3870575"/>
                  <a:pt x="11918281" y="3836326"/>
                </a:cubicBezTo>
                <a:cubicBezTo>
                  <a:pt x="11903161" y="3847029"/>
                  <a:pt x="11896510" y="3839181"/>
                  <a:pt x="11879577" y="3837753"/>
                </a:cubicBezTo>
                <a:cubicBezTo>
                  <a:pt x="11894696" y="3821105"/>
                  <a:pt x="11879577" y="3799700"/>
                  <a:pt x="11878972" y="3769970"/>
                </a:cubicBezTo>
                <a:cubicBezTo>
                  <a:pt x="11866273" y="3772824"/>
                  <a:pt x="11867482" y="3794705"/>
                  <a:pt x="11848130" y="3793279"/>
                </a:cubicBezTo>
                <a:cubicBezTo>
                  <a:pt x="11854178" y="3819440"/>
                  <a:pt x="11833617" y="3841321"/>
                  <a:pt x="11854783" y="3849170"/>
                </a:cubicBezTo>
                <a:cubicBezTo>
                  <a:pt x="11849944" y="3856543"/>
                  <a:pt x="11842083" y="3859873"/>
                  <a:pt x="11834826" y="3861299"/>
                </a:cubicBezTo>
                <a:cubicBezTo>
                  <a:pt x="11836640" y="3839657"/>
                  <a:pt x="11829383" y="3827050"/>
                  <a:pt x="11823336" y="3812780"/>
                </a:cubicBezTo>
                <a:cubicBezTo>
                  <a:pt x="11808217" y="3819440"/>
                  <a:pt x="11785842" y="3829191"/>
                  <a:pt x="11770119" y="3817775"/>
                </a:cubicBezTo>
                <a:cubicBezTo>
                  <a:pt x="11764071" y="3841083"/>
                  <a:pt x="11781004" y="3836564"/>
                  <a:pt x="11795518" y="3835850"/>
                </a:cubicBezTo>
                <a:cubicBezTo>
                  <a:pt x="11785842" y="3840846"/>
                  <a:pt x="11776770" y="3864153"/>
                  <a:pt x="11793703" y="3867483"/>
                </a:cubicBezTo>
                <a:cubicBezTo>
                  <a:pt x="11777375" y="3856304"/>
                  <a:pt x="11744719" y="3886986"/>
                  <a:pt x="11734438" y="3854402"/>
                </a:cubicBezTo>
                <a:cubicBezTo>
                  <a:pt x="11729601" y="3852024"/>
                  <a:pt x="11732624" y="3888175"/>
                  <a:pt x="11739881" y="3890790"/>
                </a:cubicBezTo>
                <a:cubicBezTo>
                  <a:pt x="11728996" y="3903633"/>
                  <a:pt x="11709644" y="3907676"/>
                  <a:pt x="11695130" y="3914336"/>
                </a:cubicBezTo>
                <a:cubicBezTo>
                  <a:pt x="11694525" y="3926228"/>
                  <a:pt x="11706621" y="3923850"/>
                  <a:pt x="11702992" y="3939308"/>
                </a:cubicBezTo>
                <a:cubicBezTo>
                  <a:pt x="11684244" y="3931936"/>
                  <a:pt x="11678802" y="3943351"/>
                  <a:pt x="11664893" y="3934076"/>
                </a:cubicBezTo>
                <a:cubicBezTo>
                  <a:pt x="11640098" y="3953816"/>
                  <a:pt x="11680012" y="3966660"/>
                  <a:pt x="11678198" y="3994249"/>
                </a:cubicBezTo>
                <a:cubicBezTo>
                  <a:pt x="11690292" y="3989491"/>
                  <a:pt x="11692711" y="3993297"/>
                  <a:pt x="11707830" y="3980691"/>
                </a:cubicBezTo>
                <a:cubicBezTo>
                  <a:pt x="11725972" y="3996151"/>
                  <a:pt x="11684849" y="4001146"/>
                  <a:pt x="11703596" y="4012799"/>
                </a:cubicBezTo>
                <a:cubicBezTo>
                  <a:pt x="11695734" y="4019934"/>
                  <a:pt x="11690897" y="4028972"/>
                  <a:pt x="11678802" y="4029923"/>
                </a:cubicBezTo>
                <a:cubicBezTo>
                  <a:pt x="11685455" y="4036345"/>
                  <a:pt x="11687269" y="4052518"/>
                  <a:pt x="11701782" y="4049664"/>
                </a:cubicBezTo>
                <a:cubicBezTo>
                  <a:pt x="11705410" y="4069879"/>
                  <a:pt x="11699364" y="4083198"/>
                  <a:pt x="11687269" y="4086052"/>
                </a:cubicBezTo>
                <a:cubicBezTo>
                  <a:pt x="11714482" y="4114116"/>
                  <a:pt x="11705410" y="4067739"/>
                  <a:pt x="11727182" y="4061555"/>
                </a:cubicBezTo>
                <a:cubicBezTo>
                  <a:pt x="11727182" y="4059652"/>
                  <a:pt x="11744114" y="4110787"/>
                  <a:pt x="11717506" y="4104603"/>
                </a:cubicBezTo>
                <a:cubicBezTo>
                  <a:pt x="11739277" y="4106505"/>
                  <a:pt x="11767094" y="4115067"/>
                  <a:pt x="11787656" y="4098895"/>
                </a:cubicBezTo>
                <a:cubicBezTo>
                  <a:pt x="11783423" y="4126245"/>
                  <a:pt x="11796122" y="4123391"/>
                  <a:pt x="11811846" y="4140515"/>
                </a:cubicBezTo>
                <a:cubicBezTo>
                  <a:pt x="11792494" y="4138850"/>
                  <a:pt x="11793099" y="4133142"/>
                  <a:pt x="11775561" y="4141467"/>
                </a:cubicBezTo>
                <a:lnTo>
                  <a:pt x="11776770" y="4121965"/>
                </a:lnTo>
                <a:cubicBezTo>
                  <a:pt x="11747742" y="4123391"/>
                  <a:pt x="11753790" y="4139802"/>
                  <a:pt x="11730810" y="4121965"/>
                </a:cubicBezTo>
                <a:cubicBezTo>
                  <a:pt x="11741696" y="4146699"/>
                  <a:pt x="11770119" y="4150504"/>
                  <a:pt x="11801565" y="4147175"/>
                </a:cubicBezTo>
                <a:cubicBezTo>
                  <a:pt x="11806403" y="4147650"/>
                  <a:pt x="11803379" y="4153834"/>
                  <a:pt x="11805798" y="4160018"/>
                </a:cubicBezTo>
                <a:lnTo>
                  <a:pt x="11805193" y="4171672"/>
                </a:lnTo>
                <a:cubicBezTo>
                  <a:pt x="11797936" y="4173099"/>
                  <a:pt x="11797936" y="4165250"/>
                  <a:pt x="11790680" y="4164774"/>
                </a:cubicBezTo>
                <a:cubicBezTo>
                  <a:pt x="11790075" y="4180471"/>
                  <a:pt x="11802170" y="4179045"/>
                  <a:pt x="11806403" y="4189509"/>
                </a:cubicBezTo>
                <a:cubicBezTo>
                  <a:pt x="11803379" y="4199023"/>
                  <a:pt x="11798541" y="4204730"/>
                  <a:pt x="11790680" y="4208060"/>
                </a:cubicBezTo>
                <a:cubicBezTo>
                  <a:pt x="11774956" y="4190937"/>
                  <a:pt x="11762257" y="4205445"/>
                  <a:pt x="11745928" y="4188320"/>
                </a:cubicBezTo>
                <a:cubicBezTo>
                  <a:pt x="11742300" y="4170245"/>
                  <a:pt x="11768304" y="4184514"/>
                  <a:pt x="11771328" y="4170958"/>
                </a:cubicBezTo>
                <a:cubicBezTo>
                  <a:pt x="11760443" y="4158116"/>
                  <a:pt x="11735043" y="4179521"/>
                  <a:pt x="11715691" y="4177856"/>
                </a:cubicBezTo>
                <a:lnTo>
                  <a:pt x="11716296" y="4207347"/>
                </a:lnTo>
                <a:cubicBezTo>
                  <a:pt x="11718715" y="4211390"/>
                  <a:pt x="11744114" y="4229941"/>
                  <a:pt x="11719925" y="4231843"/>
                </a:cubicBezTo>
                <a:cubicBezTo>
                  <a:pt x="11725367" y="4256102"/>
                  <a:pt x="11732020" y="4230654"/>
                  <a:pt x="11745928" y="4231843"/>
                </a:cubicBezTo>
                <a:cubicBezTo>
                  <a:pt x="11750767" y="4238027"/>
                  <a:pt x="11747138" y="4255865"/>
                  <a:pt x="11739881" y="4262999"/>
                </a:cubicBezTo>
                <a:cubicBezTo>
                  <a:pt x="11757418" y="4292253"/>
                  <a:pt x="11790075" y="4253724"/>
                  <a:pt x="11785237" y="4219476"/>
                </a:cubicBezTo>
                <a:cubicBezTo>
                  <a:pt x="11796122" y="4238266"/>
                  <a:pt x="11791889" y="4233508"/>
                  <a:pt x="11810637" y="4238979"/>
                </a:cubicBezTo>
                <a:cubicBezTo>
                  <a:pt x="11814265" y="4259195"/>
                  <a:pt x="11793703" y="4248016"/>
                  <a:pt x="11786446" y="4251346"/>
                </a:cubicBezTo>
                <a:cubicBezTo>
                  <a:pt x="11790680" y="4261573"/>
                  <a:pt x="11784632" y="4282978"/>
                  <a:pt x="11799146" y="4280124"/>
                </a:cubicBezTo>
                <a:cubicBezTo>
                  <a:pt x="11785237" y="4310804"/>
                  <a:pt x="11781004" y="4343864"/>
                  <a:pt x="11793099" y="4378587"/>
                </a:cubicBezTo>
                <a:cubicBezTo>
                  <a:pt x="11784027" y="4367884"/>
                  <a:pt x="11777375" y="4353376"/>
                  <a:pt x="11768908" y="4340771"/>
                </a:cubicBezTo>
                <a:cubicBezTo>
                  <a:pt x="11746533" y="4346955"/>
                  <a:pt x="11760443" y="4361938"/>
                  <a:pt x="11764676" y="4378111"/>
                </a:cubicBezTo>
                <a:cubicBezTo>
                  <a:pt x="11747742" y="4378587"/>
                  <a:pt x="11740486" y="4366458"/>
                  <a:pt x="11728996" y="4359560"/>
                </a:cubicBezTo>
                <a:cubicBezTo>
                  <a:pt x="11725367" y="4337442"/>
                  <a:pt x="11751371" y="4353139"/>
                  <a:pt x="11754395" y="4341485"/>
                </a:cubicBezTo>
                <a:cubicBezTo>
                  <a:pt x="11752581" y="4333398"/>
                  <a:pt x="11745324" y="4333161"/>
                  <a:pt x="11743510" y="4323172"/>
                </a:cubicBezTo>
                <a:cubicBezTo>
                  <a:pt x="11730810" y="4330069"/>
                  <a:pt x="11727787" y="4347431"/>
                  <a:pt x="11719925" y="4360511"/>
                </a:cubicBezTo>
                <a:cubicBezTo>
                  <a:pt x="11706015" y="4349572"/>
                  <a:pt x="11725972" y="4333161"/>
                  <a:pt x="11719925" y="4310804"/>
                </a:cubicBezTo>
                <a:cubicBezTo>
                  <a:pt x="11703596" y="4305572"/>
                  <a:pt x="11709644" y="4327452"/>
                  <a:pt x="11695130" y="4322220"/>
                </a:cubicBezTo>
                <a:cubicBezTo>
                  <a:pt x="11701782" y="4293205"/>
                  <a:pt x="11672150" y="4269183"/>
                  <a:pt x="11651588" y="4255389"/>
                </a:cubicBezTo>
                <a:cubicBezTo>
                  <a:pt x="11652193" y="4243735"/>
                  <a:pt x="11670336" y="4251108"/>
                  <a:pt x="11666708" y="4231130"/>
                </a:cubicBezTo>
                <a:cubicBezTo>
                  <a:pt x="11663683" y="4204969"/>
                  <a:pt x="11644332" y="4201401"/>
                  <a:pt x="11631027" y="4188320"/>
                </a:cubicBezTo>
                <a:cubicBezTo>
                  <a:pt x="11632236" y="4162633"/>
                  <a:pt x="11649774" y="4196169"/>
                  <a:pt x="11655822" y="4176904"/>
                </a:cubicBezTo>
                <a:cubicBezTo>
                  <a:pt x="11655218" y="4186655"/>
                  <a:pt x="11663683" y="4203304"/>
                  <a:pt x="11685455" y="4201163"/>
                </a:cubicBezTo>
                <a:cubicBezTo>
                  <a:pt x="11660660" y="4179045"/>
                  <a:pt x="11643122" y="4146224"/>
                  <a:pt x="11623166" y="4116732"/>
                </a:cubicBezTo>
                <a:cubicBezTo>
                  <a:pt x="11624980" y="4087241"/>
                  <a:pt x="11649170" y="4083198"/>
                  <a:pt x="11677593" y="4085576"/>
                </a:cubicBezTo>
                <a:cubicBezTo>
                  <a:pt x="11683035" y="4084148"/>
                  <a:pt x="11681221" y="4074160"/>
                  <a:pt x="11688478" y="4072734"/>
                </a:cubicBezTo>
                <a:cubicBezTo>
                  <a:pt x="11686664" y="4060841"/>
                  <a:pt x="11659450" y="4068452"/>
                  <a:pt x="11661264" y="4080344"/>
                </a:cubicBezTo>
                <a:cubicBezTo>
                  <a:pt x="11655822" y="4056085"/>
                  <a:pt x="11641308" y="4050853"/>
                  <a:pt x="11627399" y="4049664"/>
                </a:cubicBezTo>
                <a:cubicBezTo>
                  <a:pt x="11629818" y="4042052"/>
                  <a:pt x="11635261" y="4036345"/>
                  <a:pt x="11642517" y="4037058"/>
                </a:cubicBezTo>
                <a:cubicBezTo>
                  <a:pt x="11640098" y="4030874"/>
                  <a:pt x="11633447" y="4026118"/>
                  <a:pt x="11628608" y="4023740"/>
                </a:cubicBezTo>
                <a:cubicBezTo>
                  <a:pt x="11613490" y="4030398"/>
                  <a:pt x="11634656" y="4040388"/>
                  <a:pt x="11622562" y="4049188"/>
                </a:cubicBezTo>
                <a:cubicBezTo>
                  <a:pt x="11599580" y="4021599"/>
                  <a:pt x="11574786" y="4038723"/>
                  <a:pt x="11542735" y="4047760"/>
                </a:cubicBezTo>
                <a:cubicBezTo>
                  <a:pt x="11553620" y="4034917"/>
                  <a:pt x="11545154" y="4014464"/>
                  <a:pt x="11533059" y="4011372"/>
                </a:cubicBezTo>
                <a:cubicBezTo>
                  <a:pt x="11507055" y="4007329"/>
                  <a:pt x="11480446" y="4058463"/>
                  <a:pt x="11473189" y="4010421"/>
                </a:cubicBezTo>
                <a:cubicBezTo>
                  <a:pt x="11487098" y="3985924"/>
                  <a:pt x="11565110" y="4008280"/>
                  <a:pt x="11550597" y="3969275"/>
                </a:cubicBezTo>
                <a:cubicBezTo>
                  <a:pt x="11557853" y="3960000"/>
                  <a:pt x="11585672" y="3980216"/>
                  <a:pt x="11594138" y="3951438"/>
                </a:cubicBezTo>
                <a:cubicBezTo>
                  <a:pt x="11592324" y="3939308"/>
                  <a:pt x="11575391" y="3946205"/>
                  <a:pt x="11578414" y="3926703"/>
                </a:cubicBezTo>
                <a:cubicBezTo>
                  <a:pt x="11559667" y="3926941"/>
                  <a:pt x="11556039" y="3946444"/>
                  <a:pt x="11534268" y="3944540"/>
                </a:cubicBezTo>
                <a:cubicBezTo>
                  <a:pt x="11552411" y="3930271"/>
                  <a:pt x="11541526" y="3901255"/>
                  <a:pt x="11514917" y="3906963"/>
                </a:cubicBezTo>
                <a:cubicBezTo>
                  <a:pt x="11517940" y="3901255"/>
                  <a:pt x="11525197" y="3897926"/>
                  <a:pt x="11530036" y="3896498"/>
                </a:cubicBezTo>
                <a:cubicBezTo>
                  <a:pt x="11521569" y="3883893"/>
                  <a:pt x="11517335" y="3867959"/>
                  <a:pt x="11505845" y="3858921"/>
                </a:cubicBezTo>
                <a:cubicBezTo>
                  <a:pt x="11483470" y="3874856"/>
                  <a:pt x="11462909" y="3892931"/>
                  <a:pt x="11453837" y="3925752"/>
                </a:cubicBezTo>
                <a:cubicBezTo>
                  <a:pt x="11446581" y="3925276"/>
                  <a:pt x="11452628" y="3905774"/>
                  <a:pt x="11445976" y="3901255"/>
                </a:cubicBezTo>
                <a:cubicBezTo>
                  <a:pt x="11405459" y="3895785"/>
                  <a:pt x="11407273" y="3945492"/>
                  <a:pt x="11375826" y="3950724"/>
                </a:cubicBezTo>
                <a:cubicBezTo>
                  <a:pt x="11375221" y="3956670"/>
                  <a:pt x="11384897" y="3955719"/>
                  <a:pt x="11389735" y="3955957"/>
                </a:cubicBezTo>
                <a:cubicBezTo>
                  <a:pt x="11371592" y="3978313"/>
                  <a:pt x="11355265" y="4012085"/>
                  <a:pt x="11363731" y="4034680"/>
                </a:cubicBezTo>
                <a:cubicBezTo>
                  <a:pt x="11339541" y="4036582"/>
                  <a:pt x="11359497" y="3982832"/>
                  <a:pt x="11335308" y="3986637"/>
                </a:cubicBezTo>
                <a:cubicBezTo>
                  <a:pt x="11335913" y="3976886"/>
                  <a:pt x="11347403" y="3981643"/>
                  <a:pt x="11354660" y="3980216"/>
                </a:cubicBezTo>
                <a:cubicBezTo>
                  <a:pt x="11358288" y="3958811"/>
                  <a:pt x="11351637" y="3948822"/>
                  <a:pt x="11340145" y="3943827"/>
                </a:cubicBezTo>
                <a:cubicBezTo>
                  <a:pt x="11343170" y="3936217"/>
                  <a:pt x="11352846" y="3938832"/>
                  <a:pt x="11360102" y="3937643"/>
                </a:cubicBezTo>
                <a:cubicBezTo>
                  <a:pt x="11344984" y="3904585"/>
                  <a:pt x="11345589" y="3930509"/>
                  <a:pt x="11355265" y="3889601"/>
                </a:cubicBezTo>
                <a:cubicBezTo>
                  <a:pt x="11343775" y="3880802"/>
                  <a:pt x="11325027" y="3876759"/>
                  <a:pt x="11331680" y="3845840"/>
                </a:cubicBezTo>
                <a:cubicBezTo>
                  <a:pt x="11306280" y="3829667"/>
                  <a:pt x="11288742" y="3840132"/>
                  <a:pt x="11257900" y="3833472"/>
                </a:cubicBezTo>
                <a:cubicBezTo>
                  <a:pt x="11251853" y="3850835"/>
                  <a:pt x="11263948" y="3849883"/>
                  <a:pt x="11263343" y="3863677"/>
                </a:cubicBezTo>
                <a:cubicBezTo>
                  <a:pt x="11237340" y="3853450"/>
                  <a:pt x="11255482" y="3827289"/>
                  <a:pt x="11237340" y="3808024"/>
                </a:cubicBezTo>
                <a:cubicBezTo>
                  <a:pt x="11227664" y="3809213"/>
                  <a:pt x="11233711" y="3829667"/>
                  <a:pt x="11226455" y="3832997"/>
                </a:cubicBezTo>
                <a:cubicBezTo>
                  <a:pt x="11219802" y="3828478"/>
                  <a:pt x="11217383" y="3818013"/>
                  <a:pt x="11218593" y="3802315"/>
                </a:cubicBezTo>
                <a:cubicBezTo>
                  <a:pt x="11207103" y="3803267"/>
                  <a:pt x="11214964" y="3826574"/>
                  <a:pt x="11207707" y="3831569"/>
                </a:cubicBezTo>
                <a:cubicBezTo>
                  <a:pt x="11210731" y="3831807"/>
                  <a:pt x="11211336" y="3832521"/>
                  <a:pt x="11215568" y="3832997"/>
                </a:cubicBezTo>
                <a:cubicBezTo>
                  <a:pt x="11225849" y="3839418"/>
                  <a:pt x="11178680" y="3855830"/>
                  <a:pt x="11173236" y="3832521"/>
                </a:cubicBezTo>
                <a:cubicBezTo>
                  <a:pt x="11142999" y="3857493"/>
                  <a:pt x="11130300" y="3908391"/>
                  <a:pt x="11121228" y="3948584"/>
                </a:cubicBezTo>
                <a:cubicBezTo>
                  <a:pt x="11109738" y="3945492"/>
                  <a:pt x="11098248" y="3932650"/>
                  <a:pt x="11101273" y="3960713"/>
                </a:cubicBezTo>
                <a:cubicBezTo>
                  <a:pt x="11089177" y="3959763"/>
                  <a:pt x="11062569" y="3965471"/>
                  <a:pt x="11077687" y="3949059"/>
                </a:cubicBezTo>
                <a:cubicBezTo>
                  <a:pt x="11060755" y="3953578"/>
                  <a:pt x="11077082" y="3962617"/>
                  <a:pt x="11066802" y="3971653"/>
                </a:cubicBezTo>
                <a:cubicBezTo>
                  <a:pt x="11057730" y="3962854"/>
                  <a:pt x="11056521" y="3943590"/>
                  <a:pt x="11042612" y="3942162"/>
                </a:cubicBezTo>
                <a:cubicBezTo>
                  <a:pt x="11030518" y="3943114"/>
                  <a:pt x="11041403" y="3961665"/>
                  <a:pt x="11046240" y="3960238"/>
                </a:cubicBezTo>
                <a:cubicBezTo>
                  <a:pt x="11036564" y="3965232"/>
                  <a:pt x="11026889" y="3966184"/>
                  <a:pt x="11007538" y="3960713"/>
                </a:cubicBezTo>
                <a:cubicBezTo>
                  <a:pt x="11026284" y="3974270"/>
                  <a:pt x="11002094" y="3976411"/>
                  <a:pt x="10998466" y="3960238"/>
                </a:cubicBezTo>
                <a:cubicBezTo>
                  <a:pt x="10990604" y="3967373"/>
                  <a:pt x="10987581" y="3976886"/>
                  <a:pt x="10973671" y="3971653"/>
                </a:cubicBezTo>
                <a:cubicBezTo>
                  <a:pt x="10982138" y="3992108"/>
                  <a:pt x="10992418" y="3977600"/>
                  <a:pt x="11011166" y="3979265"/>
                </a:cubicBezTo>
                <a:cubicBezTo>
                  <a:pt x="11000885" y="3992108"/>
                  <a:pt x="11017213" y="3997577"/>
                  <a:pt x="11026889" y="4002335"/>
                </a:cubicBezTo>
                <a:cubicBezTo>
                  <a:pt x="11028098" y="4016367"/>
                  <a:pt x="11012375" y="4008994"/>
                  <a:pt x="11011166" y="4020886"/>
                </a:cubicBezTo>
                <a:cubicBezTo>
                  <a:pt x="11003908" y="3990443"/>
                  <a:pt x="10999071" y="4027307"/>
                  <a:pt x="10985766" y="4002335"/>
                </a:cubicBezTo>
                <a:cubicBezTo>
                  <a:pt x="10979719" y="4029448"/>
                  <a:pt x="10976696" y="4007804"/>
                  <a:pt x="10967624" y="4038723"/>
                </a:cubicBezTo>
                <a:cubicBezTo>
                  <a:pt x="10967020" y="4044669"/>
                  <a:pt x="10971857" y="4044906"/>
                  <a:pt x="10971252" y="4050614"/>
                </a:cubicBezTo>
                <a:cubicBezTo>
                  <a:pt x="10996651" y="4025166"/>
                  <a:pt x="11022656" y="4033491"/>
                  <a:pt x="11046845" y="4027544"/>
                </a:cubicBezTo>
                <a:cubicBezTo>
                  <a:pt x="11044426" y="4031350"/>
                  <a:pt x="11042008" y="4032777"/>
                  <a:pt x="11041403" y="4038723"/>
                </a:cubicBezTo>
                <a:cubicBezTo>
                  <a:pt x="11072245" y="4045382"/>
                  <a:pt x="11080712" y="4024453"/>
                  <a:pt x="11110343" y="4015178"/>
                </a:cubicBezTo>
                <a:cubicBezTo>
                  <a:pt x="11111552" y="4034917"/>
                  <a:pt x="11125462" y="4038009"/>
                  <a:pt x="11139976" y="4039198"/>
                </a:cubicBezTo>
                <a:cubicBezTo>
                  <a:pt x="11146024" y="4059652"/>
                  <a:pt x="11125462" y="4044431"/>
                  <a:pt x="11131509" y="4064885"/>
                </a:cubicBezTo>
                <a:cubicBezTo>
                  <a:pt x="11114577" y="4067263"/>
                  <a:pt x="11115182" y="4052992"/>
                  <a:pt x="11104901" y="4063933"/>
                </a:cubicBezTo>
                <a:cubicBezTo>
                  <a:pt x="11111552" y="4080344"/>
                  <a:pt x="11131509" y="4064647"/>
                  <a:pt x="11141185" y="4063458"/>
                </a:cubicBezTo>
                <a:cubicBezTo>
                  <a:pt x="11140580" y="4073447"/>
                  <a:pt x="11139976" y="4081057"/>
                  <a:pt x="11144814" y="4081533"/>
                </a:cubicBezTo>
                <a:cubicBezTo>
                  <a:pt x="11121228" y="4077490"/>
                  <a:pt x="11113972" y="4118159"/>
                  <a:pt x="11113368" y="4161920"/>
                </a:cubicBezTo>
                <a:cubicBezTo>
                  <a:pt x="11098853" y="4168580"/>
                  <a:pt x="11091597" y="4177617"/>
                  <a:pt x="11100062" y="4198309"/>
                </a:cubicBezTo>
                <a:cubicBezTo>
                  <a:pt x="11080712" y="4202590"/>
                  <a:pt x="11073454" y="4204255"/>
                  <a:pt x="11059546" y="4191174"/>
                </a:cubicBezTo>
                <a:cubicBezTo>
                  <a:pt x="11051079" y="4214244"/>
                  <a:pt x="11000885" y="4202115"/>
                  <a:pt x="11019632" y="4253249"/>
                </a:cubicBezTo>
                <a:cubicBezTo>
                  <a:pt x="11014189" y="4260621"/>
                  <a:pt x="11002699" y="4259432"/>
                  <a:pt x="10990604" y="4258243"/>
                </a:cubicBezTo>
                <a:cubicBezTo>
                  <a:pt x="10991209" y="4250395"/>
                  <a:pt x="10998466" y="4253249"/>
                  <a:pt x="11005723" y="4251822"/>
                </a:cubicBezTo>
                <a:cubicBezTo>
                  <a:pt x="11006327" y="4239929"/>
                  <a:pt x="11001490" y="4233747"/>
                  <a:pt x="10989395" y="4234697"/>
                </a:cubicBezTo>
                <a:cubicBezTo>
                  <a:pt x="10993023" y="4217098"/>
                  <a:pt x="11016608" y="4225422"/>
                  <a:pt x="11015398" y="4203541"/>
                </a:cubicBezTo>
                <a:cubicBezTo>
                  <a:pt x="11001490" y="4190461"/>
                  <a:pt x="10961577" y="4174288"/>
                  <a:pt x="10956134" y="4191650"/>
                </a:cubicBezTo>
                <a:cubicBezTo>
                  <a:pt x="10949482" y="4173336"/>
                  <a:pt x="10942829" y="4169293"/>
                  <a:pt x="10925292" y="4179758"/>
                </a:cubicBezTo>
                <a:cubicBezTo>
                  <a:pt x="10926502" y="4168342"/>
                  <a:pt x="10922268" y="4164298"/>
                  <a:pt x="10917430" y="4161920"/>
                </a:cubicBezTo>
                <a:cubicBezTo>
                  <a:pt x="10911987" y="4170720"/>
                  <a:pt x="10896869" y="4167628"/>
                  <a:pt x="10887193" y="4172861"/>
                </a:cubicBezTo>
                <a:cubicBezTo>
                  <a:pt x="10890821" y="4149078"/>
                  <a:pt x="10867841" y="4099371"/>
                  <a:pt x="10839418" y="4110787"/>
                </a:cubicBezTo>
                <a:cubicBezTo>
                  <a:pt x="10840627" y="4082959"/>
                  <a:pt x="10850908" y="4103651"/>
                  <a:pt x="10870260" y="4099371"/>
                </a:cubicBezTo>
                <a:cubicBezTo>
                  <a:pt x="10866632" y="4115067"/>
                  <a:pt x="10878727" y="4116019"/>
                  <a:pt x="10888403" y="4116732"/>
                </a:cubicBezTo>
                <a:cubicBezTo>
                  <a:pt x="10875099" y="4147175"/>
                  <a:pt x="10911383" y="4139089"/>
                  <a:pt x="10917430" y="4160494"/>
                </a:cubicBezTo>
                <a:cubicBezTo>
                  <a:pt x="10923477" y="4140278"/>
                  <a:pt x="10923477" y="4175239"/>
                  <a:pt x="10935573" y="4166439"/>
                </a:cubicBezTo>
                <a:cubicBezTo>
                  <a:pt x="10941015" y="4160970"/>
                  <a:pt x="10922873" y="4133857"/>
                  <a:pt x="10905940" y="4136235"/>
                </a:cubicBezTo>
                <a:cubicBezTo>
                  <a:pt x="10908964" y="4130527"/>
                  <a:pt x="10911383" y="4122678"/>
                  <a:pt x="10912592" y="4110787"/>
                </a:cubicBezTo>
                <a:cubicBezTo>
                  <a:pt x="10882960" y="4120300"/>
                  <a:pt x="10868446" y="4081533"/>
                  <a:pt x="10832767" y="4080344"/>
                </a:cubicBezTo>
                <a:cubicBezTo>
                  <a:pt x="10815833" y="4082959"/>
                  <a:pt x="10846071" y="4105316"/>
                  <a:pt x="10821881" y="4099371"/>
                </a:cubicBezTo>
                <a:cubicBezTo>
                  <a:pt x="10810391" y="4092473"/>
                  <a:pt x="10826114" y="4069879"/>
                  <a:pt x="10787410" y="4074397"/>
                </a:cubicBezTo>
                <a:cubicBezTo>
                  <a:pt x="10791039" y="4052992"/>
                  <a:pt x="10776525" y="4052042"/>
                  <a:pt x="10777734" y="4032302"/>
                </a:cubicBezTo>
                <a:cubicBezTo>
                  <a:pt x="10763221" y="4033015"/>
                  <a:pt x="10752940" y="4040388"/>
                  <a:pt x="10756568" y="4062506"/>
                </a:cubicBezTo>
                <a:cubicBezTo>
                  <a:pt x="10743869" y="4069404"/>
                  <a:pt x="10728146" y="4063220"/>
                  <a:pt x="10727541" y="4037534"/>
                </a:cubicBezTo>
                <a:cubicBezTo>
                  <a:pt x="10741450" y="4038723"/>
                  <a:pt x="10732379" y="4064171"/>
                  <a:pt x="10752335" y="4055846"/>
                </a:cubicBezTo>
                <a:cubicBezTo>
                  <a:pt x="10755057" y="4041221"/>
                  <a:pt x="10738389" y="4031543"/>
                  <a:pt x="10726568" y="4032436"/>
                </a:cubicBezTo>
                <a:lnTo>
                  <a:pt x="10717555" y="4036913"/>
                </a:lnTo>
                <a:lnTo>
                  <a:pt x="10717639" y="4034620"/>
                </a:lnTo>
                <a:cubicBezTo>
                  <a:pt x="10718622" y="4028972"/>
                  <a:pt x="10722098" y="4021362"/>
                  <a:pt x="10732983" y="4020410"/>
                </a:cubicBezTo>
                <a:cubicBezTo>
                  <a:pt x="10708794" y="3978551"/>
                  <a:pt x="10653763" y="4016128"/>
                  <a:pt x="10645296" y="3957859"/>
                </a:cubicBezTo>
                <a:cubicBezTo>
                  <a:pt x="10631386" y="3982356"/>
                  <a:pt x="10630782" y="3964519"/>
                  <a:pt x="10615664" y="3971179"/>
                </a:cubicBezTo>
                <a:cubicBezTo>
                  <a:pt x="10618082" y="3975222"/>
                  <a:pt x="10619896" y="3980691"/>
                  <a:pt x="10624735" y="3983070"/>
                </a:cubicBezTo>
                <a:cubicBezTo>
                  <a:pt x="10612640" y="3989967"/>
                  <a:pt x="10586031" y="3980216"/>
                  <a:pt x="10559423" y="3987826"/>
                </a:cubicBezTo>
                <a:lnTo>
                  <a:pt x="10560027" y="4013750"/>
                </a:lnTo>
                <a:cubicBezTo>
                  <a:pt x="10569702" y="4016604"/>
                  <a:pt x="10568493" y="4004713"/>
                  <a:pt x="10568493" y="3994723"/>
                </a:cubicBezTo>
                <a:cubicBezTo>
                  <a:pt x="10583612" y="3992108"/>
                  <a:pt x="10586031" y="4029448"/>
                  <a:pt x="10599335" y="4006853"/>
                </a:cubicBezTo>
                <a:cubicBezTo>
                  <a:pt x="10596312" y="4008518"/>
                  <a:pt x="10593893" y="4055846"/>
                  <a:pt x="10598730" y="4054420"/>
                </a:cubicBezTo>
                <a:cubicBezTo>
                  <a:pt x="10614454" y="4075588"/>
                  <a:pt x="10669486" y="4036820"/>
                  <a:pt x="10688233" y="4044431"/>
                </a:cubicBezTo>
                <a:cubicBezTo>
                  <a:pt x="10665857" y="4062268"/>
                  <a:pt x="10621106" y="4084387"/>
                  <a:pt x="10583008" y="4079155"/>
                </a:cubicBezTo>
                <a:cubicBezTo>
                  <a:pt x="10577564" y="4084624"/>
                  <a:pt x="10589054" y="4099371"/>
                  <a:pt x="10588450" y="4103175"/>
                </a:cubicBezTo>
                <a:cubicBezTo>
                  <a:pt x="10587845" y="4113165"/>
                  <a:pt x="10559423" y="4112451"/>
                  <a:pt x="10578169" y="4121965"/>
                </a:cubicBezTo>
                <a:cubicBezTo>
                  <a:pt x="10574541" y="4139564"/>
                  <a:pt x="10561237" y="4118635"/>
                  <a:pt x="10553980" y="4121965"/>
                </a:cubicBezTo>
                <a:cubicBezTo>
                  <a:pt x="10564865" y="4144797"/>
                  <a:pt x="10595707" y="4145510"/>
                  <a:pt x="10592079" y="4170958"/>
                </a:cubicBezTo>
                <a:cubicBezTo>
                  <a:pt x="10613849" y="4166915"/>
                  <a:pt x="10615664" y="4182850"/>
                  <a:pt x="10631992" y="4184277"/>
                </a:cubicBezTo>
                <a:cubicBezTo>
                  <a:pt x="10643482" y="4155499"/>
                  <a:pt x="10581193" y="4154073"/>
                  <a:pt x="10587845" y="4123154"/>
                </a:cubicBezTo>
                <a:cubicBezTo>
                  <a:pt x="10602359" y="4122202"/>
                  <a:pt x="10598126" y="4141704"/>
                  <a:pt x="10612640" y="4140991"/>
                </a:cubicBezTo>
                <a:cubicBezTo>
                  <a:pt x="10622921" y="4131953"/>
                  <a:pt x="10602359" y="4114591"/>
                  <a:pt x="10603569" y="4098895"/>
                </a:cubicBezTo>
                <a:cubicBezTo>
                  <a:pt x="10624735" y="4108646"/>
                  <a:pt x="10635015" y="4133142"/>
                  <a:pt x="10643482" y="4159542"/>
                </a:cubicBezTo>
                <a:cubicBezTo>
                  <a:pt x="10653158" y="4152408"/>
                  <a:pt x="10652552" y="4160494"/>
                  <a:pt x="10667671" y="4153834"/>
                </a:cubicBezTo>
                <a:cubicBezTo>
                  <a:pt x="10659810" y="4163109"/>
                  <a:pt x="10661019" y="4180471"/>
                  <a:pt x="10677952" y="4177856"/>
                </a:cubicBezTo>
                <a:cubicBezTo>
                  <a:pt x="10668276" y="4181186"/>
                  <a:pt x="10676138" y="4206158"/>
                  <a:pt x="10666462" y="4209249"/>
                </a:cubicBezTo>
                <a:cubicBezTo>
                  <a:pt x="10680976" y="4202590"/>
                  <a:pt x="10674324" y="4248967"/>
                  <a:pt x="10685209" y="4261810"/>
                </a:cubicBezTo>
                <a:cubicBezTo>
                  <a:pt x="10710608" y="4240168"/>
                  <a:pt x="10726937" y="4249919"/>
                  <a:pt x="10750521" y="4257767"/>
                </a:cubicBezTo>
                <a:cubicBezTo>
                  <a:pt x="10763221" y="4243022"/>
                  <a:pt x="10743869" y="4245163"/>
                  <a:pt x="10746893" y="4227563"/>
                </a:cubicBezTo>
                <a:cubicBezTo>
                  <a:pt x="10756568" y="4236362"/>
                  <a:pt x="10768059" y="4241357"/>
                  <a:pt x="10766849" y="4262999"/>
                </a:cubicBezTo>
                <a:cubicBezTo>
                  <a:pt x="10746893" y="4277270"/>
                  <a:pt x="10719075" y="4298437"/>
                  <a:pt x="10700327" y="4292966"/>
                </a:cubicBezTo>
                <a:cubicBezTo>
                  <a:pt x="10701537" y="4306999"/>
                  <a:pt x="10713632" y="4306048"/>
                  <a:pt x="10725726" y="4305096"/>
                </a:cubicBezTo>
                <a:cubicBezTo>
                  <a:pt x="10713027" y="4321983"/>
                  <a:pt x="10687628" y="4303669"/>
                  <a:pt x="10691861" y="4280124"/>
                </a:cubicBezTo>
                <a:cubicBezTo>
                  <a:pt x="10668881" y="4297961"/>
                  <a:pt x="10657995" y="4285356"/>
                  <a:pt x="10635620" y="4293442"/>
                </a:cubicBezTo>
                <a:cubicBezTo>
                  <a:pt x="10641667" y="4311756"/>
                  <a:pt x="10644691" y="4300339"/>
                  <a:pt x="10656786" y="4299389"/>
                </a:cubicBezTo>
                <a:cubicBezTo>
                  <a:pt x="10653763" y="4311042"/>
                  <a:pt x="10641667" y="4311756"/>
                  <a:pt x="10641062" y="4323648"/>
                </a:cubicBezTo>
                <a:cubicBezTo>
                  <a:pt x="10633806" y="4315086"/>
                  <a:pt x="10630782" y="4293205"/>
                  <a:pt x="10635620" y="4287734"/>
                </a:cubicBezTo>
                <a:lnTo>
                  <a:pt x="10626549" y="4286784"/>
                </a:lnTo>
                <a:cubicBezTo>
                  <a:pt x="10612035" y="4285356"/>
                  <a:pt x="10639853" y="4305334"/>
                  <a:pt x="10620501" y="4305572"/>
                </a:cubicBezTo>
                <a:cubicBezTo>
                  <a:pt x="10617478" y="4317225"/>
                  <a:pt x="10621106" y="4292253"/>
                  <a:pt x="10612035" y="4281551"/>
                </a:cubicBezTo>
                <a:cubicBezTo>
                  <a:pt x="10599335" y="4290351"/>
                  <a:pt x="10581193" y="4314372"/>
                  <a:pt x="10566679" y="4281551"/>
                </a:cubicBezTo>
                <a:cubicBezTo>
                  <a:pt x="10580589" y="4280837"/>
                  <a:pt x="10599940" y="4284167"/>
                  <a:pt x="10607802" y="4274891"/>
                </a:cubicBezTo>
                <a:cubicBezTo>
                  <a:pt x="10581193" y="4274654"/>
                  <a:pt x="10552166" y="4234697"/>
                  <a:pt x="10527976" y="4238503"/>
                </a:cubicBezTo>
                <a:cubicBezTo>
                  <a:pt x="10532209" y="4250870"/>
                  <a:pt x="10546118" y="4254438"/>
                  <a:pt x="10552770" y="4268707"/>
                </a:cubicBezTo>
                <a:cubicBezTo>
                  <a:pt x="10538861" y="4297248"/>
                  <a:pt x="10494714" y="4279172"/>
                  <a:pt x="10462663" y="4298199"/>
                </a:cubicBezTo>
                <a:cubicBezTo>
                  <a:pt x="10466897" y="4304383"/>
                  <a:pt x="10468711" y="4312469"/>
                  <a:pt x="10468106" y="4322220"/>
                </a:cubicBezTo>
                <a:cubicBezTo>
                  <a:pt x="10443916" y="4324122"/>
                  <a:pt x="10443916" y="4328166"/>
                  <a:pt x="10422750" y="4322220"/>
                </a:cubicBezTo>
                <a:cubicBezTo>
                  <a:pt x="10426379" y="4338631"/>
                  <a:pt x="10445731" y="4334588"/>
                  <a:pt x="10446940" y="4352425"/>
                </a:cubicBezTo>
                <a:cubicBezTo>
                  <a:pt x="10433031" y="4351235"/>
                  <a:pt x="10405818" y="4321031"/>
                  <a:pt x="10396746" y="4346003"/>
                </a:cubicBezTo>
                <a:cubicBezTo>
                  <a:pt x="10400979" y="4364079"/>
                  <a:pt x="10407027" y="4341247"/>
                  <a:pt x="10416703" y="4346003"/>
                </a:cubicBezTo>
                <a:cubicBezTo>
                  <a:pt x="10400375" y="4374305"/>
                  <a:pt x="10397956" y="4372403"/>
                  <a:pt x="10376185" y="4370501"/>
                </a:cubicBezTo>
                <a:cubicBezTo>
                  <a:pt x="10398560" y="4358609"/>
                  <a:pt x="10384652" y="4349333"/>
                  <a:pt x="10376185" y="4328880"/>
                </a:cubicBezTo>
                <a:cubicBezTo>
                  <a:pt x="10362276" y="4323648"/>
                  <a:pt x="10368323" y="4345766"/>
                  <a:pt x="10351996" y="4340295"/>
                </a:cubicBezTo>
                <a:cubicBezTo>
                  <a:pt x="10341110" y="4319605"/>
                  <a:pt x="10312083" y="4321268"/>
                  <a:pt x="10303616" y="4298674"/>
                </a:cubicBezTo>
                <a:cubicBezTo>
                  <a:pt x="10338691" y="4323409"/>
                  <a:pt x="10400375" y="4328641"/>
                  <a:pt x="10442707" y="4298674"/>
                </a:cubicBezTo>
                <a:cubicBezTo>
                  <a:pt x="10430612" y="4301528"/>
                  <a:pt x="10400979" y="4287021"/>
                  <a:pt x="10373162" y="4304383"/>
                </a:cubicBezTo>
                <a:cubicBezTo>
                  <a:pt x="10374371" y="4288686"/>
                  <a:pt x="10353810" y="4299150"/>
                  <a:pt x="10357438" y="4279648"/>
                </a:cubicBezTo>
                <a:cubicBezTo>
                  <a:pt x="10309059" y="4285356"/>
                  <a:pt x="10281241" y="4269183"/>
                  <a:pt x="10253422" y="4290588"/>
                </a:cubicBezTo>
                <a:cubicBezTo>
                  <a:pt x="10248585" y="4290112"/>
                  <a:pt x="10249189" y="4280124"/>
                  <a:pt x="10249794" y="4272037"/>
                </a:cubicBezTo>
                <a:cubicBezTo>
                  <a:pt x="10224999" y="4289875"/>
                  <a:pt x="10207462" y="4264427"/>
                  <a:pt x="10189319" y="4290588"/>
                </a:cubicBezTo>
                <a:cubicBezTo>
                  <a:pt x="10182667" y="4313897"/>
                  <a:pt x="10210485" y="4292729"/>
                  <a:pt x="10204439" y="4316036"/>
                </a:cubicBezTo>
                <a:cubicBezTo>
                  <a:pt x="10191133" y="4332923"/>
                  <a:pt x="10187505" y="4308426"/>
                  <a:pt x="10173597" y="4309139"/>
                </a:cubicBezTo>
                <a:cubicBezTo>
                  <a:pt x="10160896" y="4313182"/>
                  <a:pt x="10172386" y="4321983"/>
                  <a:pt x="10172991" y="4334112"/>
                </a:cubicBezTo>
                <a:cubicBezTo>
                  <a:pt x="10176015" y="4334350"/>
                  <a:pt x="10177225" y="4335777"/>
                  <a:pt x="10182062" y="4335063"/>
                </a:cubicBezTo>
                <a:cubicBezTo>
                  <a:pt x="10184482" y="4354328"/>
                  <a:pt x="10157268" y="4353139"/>
                  <a:pt x="10151220" y="4339820"/>
                </a:cubicBezTo>
                <a:cubicBezTo>
                  <a:pt x="10145173" y="4336728"/>
                  <a:pt x="10139730" y="4330545"/>
                  <a:pt x="10134288" y="4321744"/>
                </a:cubicBezTo>
                <a:cubicBezTo>
                  <a:pt x="10075628" y="4334588"/>
                  <a:pt x="10055671" y="4348620"/>
                  <a:pt x="10084094" y="4394760"/>
                </a:cubicBezTo>
                <a:cubicBezTo>
                  <a:pt x="10101027" y="4392143"/>
                  <a:pt x="10104655" y="4376446"/>
                  <a:pt x="10114936" y="4363365"/>
                </a:cubicBezTo>
                <a:cubicBezTo>
                  <a:pt x="10108888" y="4345053"/>
                  <a:pt x="10098003" y="4368123"/>
                  <a:pt x="10088327" y="4363365"/>
                </a:cubicBezTo>
                <a:cubicBezTo>
                  <a:pt x="10096794" y="4344338"/>
                  <a:pt x="10103446" y="4354565"/>
                  <a:pt x="10113727" y="4345529"/>
                </a:cubicBezTo>
                <a:cubicBezTo>
                  <a:pt x="10115541" y="4353615"/>
                  <a:pt x="10119774" y="4358371"/>
                  <a:pt x="10134288" y="4363365"/>
                </a:cubicBezTo>
                <a:cubicBezTo>
                  <a:pt x="10131265" y="4373116"/>
                  <a:pt x="10121589" y="4368598"/>
                  <a:pt x="10114331" y="4370025"/>
                </a:cubicBezTo>
                <a:cubicBezTo>
                  <a:pt x="10114331" y="4377874"/>
                  <a:pt x="10111308" y="4381441"/>
                  <a:pt x="10108888" y="4383106"/>
                </a:cubicBezTo>
                <a:cubicBezTo>
                  <a:pt x="10114936" y="4399516"/>
                  <a:pt x="10139126" y="4397614"/>
                  <a:pt x="10142755" y="4376209"/>
                </a:cubicBezTo>
                <a:cubicBezTo>
                  <a:pt x="10146987" y="4394284"/>
                  <a:pt x="10180853" y="4392857"/>
                  <a:pt x="10179643" y="4370977"/>
                </a:cubicBezTo>
                <a:cubicBezTo>
                  <a:pt x="10187505" y="4399516"/>
                  <a:pt x="10206253" y="4407126"/>
                  <a:pt x="10228628" y="4395236"/>
                </a:cubicBezTo>
                <a:cubicBezTo>
                  <a:pt x="10226814" y="4383106"/>
                  <a:pt x="10209881" y="4390003"/>
                  <a:pt x="10213509" y="4370501"/>
                </a:cubicBezTo>
                <a:cubicBezTo>
                  <a:pt x="10240118" y="4358847"/>
                  <a:pt x="10263703" y="4370501"/>
                  <a:pt x="10281845" y="4381917"/>
                </a:cubicBezTo>
                <a:cubicBezTo>
                  <a:pt x="10270355" y="4464206"/>
                  <a:pt x="10400375" y="4451601"/>
                  <a:pt x="10445126" y="4463256"/>
                </a:cubicBezTo>
                <a:cubicBezTo>
                  <a:pt x="10437264" y="4474671"/>
                  <a:pt x="10425170" y="4477525"/>
                  <a:pt x="10419726" y="4492984"/>
                </a:cubicBezTo>
                <a:cubicBezTo>
                  <a:pt x="10442707" y="4473245"/>
                  <a:pt x="10457221" y="4469915"/>
                  <a:pt x="10486249" y="4468488"/>
                </a:cubicBezTo>
                <a:lnTo>
                  <a:pt x="10485038" y="4494649"/>
                </a:lnTo>
                <a:cubicBezTo>
                  <a:pt x="10469316" y="4471342"/>
                  <a:pt x="10442102" y="4484898"/>
                  <a:pt x="10435450" y="4512011"/>
                </a:cubicBezTo>
                <a:cubicBezTo>
                  <a:pt x="10454197" y="4519622"/>
                  <a:pt x="10464477" y="4508681"/>
                  <a:pt x="10450568" y="4543167"/>
                </a:cubicBezTo>
                <a:cubicBezTo>
                  <a:pt x="10471734" y="4551016"/>
                  <a:pt x="10463873" y="4522238"/>
                  <a:pt x="10464477" y="4504401"/>
                </a:cubicBezTo>
                <a:cubicBezTo>
                  <a:pt x="10483224" y="4517957"/>
                  <a:pt x="10489877" y="4517006"/>
                  <a:pt x="10505600" y="4500595"/>
                </a:cubicBezTo>
                <a:cubicBezTo>
                  <a:pt x="10519510" y="4505827"/>
                  <a:pt x="10510438" y="4541978"/>
                  <a:pt x="10519510" y="4554584"/>
                </a:cubicBezTo>
                <a:cubicBezTo>
                  <a:pt x="10518300" y="4559340"/>
                  <a:pt x="10515880" y="4562433"/>
                  <a:pt x="10514066" y="4566476"/>
                </a:cubicBezTo>
                <a:cubicBezTo>
                  <a:pt x="10514671" y="4552681"/>
                  <a:pt x="10505600" y="4549351"/>
                  <a:pt x="10509229" y="4529849"/>
                </a:cubicBezTo>
                <a:cubicBezTo>
                  <a:pt x="10482620" y="4527708"/>
                  <a:pt x="10491086" y="4550303"/>
                  <a:pt x="10474153" y="4548875"/>
                </a:cubicBezTo>
                <a:cubicBezTo>
                  <a:pt x="10478387" y="4557199"/>
                  <a:pt x="10498344" y="4546973"/>
                  <a:pt x="10494714" y="4566476"/>
                </a:cubicBezTo>
                <a:lnTo>
                  <a:pt x="10514066" y="4566476"/>
                </a:lnTo>
                <a:cubicBezTo>
                  <a:pt x="10508624" y="4578367"/>
                  <a:pt x="10500158" y="4586691"/>
                  <a:pt x="10484434" y="4585264"/>
                </a:cubicBezTo>
                <a:lnTo>
                  <a:pt x="10484434" y="4621176"/>
                </a:lnTo>
                <a:cubicBezTo>
                  <a:pt x="10469316" y="4625934"/>
                  <a:pt x="10470525" y="4611901"/>
                  <a:pt x="10457826" y="4614755"/>
                </a:cubicBezTo>
                <a:cubicBezTo>
                  <a:pt x="10478387" y="4638301"/>
                  <a:pt x="10457826" y="4666603"/>
                  <a:pt x="10433635" y="4670409"/>
                </a:cubicBezTo>
                <a:cubicBezTo>
                  <a:pt x="10429402" y="4654236"/>
                  <a:pt x="10443916" y="4657327"/>
                  <a:pt x="10444522" y="4645435"/>
                </a:cubicBezTo>
                <a:cubicBezTo>
                  <a:pt x="10349576" y="4663036"/>
                  <a:pt x="10270960" y="4616896"/>
                  <a:pt x="10212299" y="4590020"/>
                </a:cubicBezTo>
                <a:cubicBezTo>
                  <a:pt x="10199600" y="4598821"/>
                  <a:pt x="10189319" y="4611901"/>
                  <a:pt x="10165735" y="4608096"/>
                </a:cubicBezTo>
                <a:cubicBezTo>
                  <a:pt x="10166339" y="4598106"/>
                  <a:pt x="10162106" y="4591924"/>
                  <a:pt x="10157268" y="4589546"/>
                </a:cubicBezTo>
                <a:cubicBezTo>
                  <a:pt x="10157873" y="4583599"/>
                  <a:pt x="10164525" y="4583837"/>
                  <a:pt x="10171782" y="4582410"/>
                </a:cubicBezTo>
                <a:cubicBezTo>
                  <a:pt x="10145778" y="4542691"/>
                  <a:pt x="10133079" y="4551016"/>
                  <a:pt x="10077442" y="4552205"/>
                </a:cubicBezTo>
                <a:cubicBezTo>
                  <a:pt x="10073814" y="4573848"/>
                  <a:pt x="10098608" y="4560292"/>
                  <a:pt x="10092561" y="4583599"/>
                </a:cubicBezTo>
                <a:cubicBezTo>
                  <a:pt x="10081071" y="4574562"/>
                  <a:pt x="10084094" y="4570756"/>
                  <a:pt x="10066556" y="4577177"/>
                </a:cubicBezTo>
                <a:cubicBezTo>
                  <a:pt x="10067161" y="4567426"/>
                  <a:pt x="10071999" y="4566237"/>
                  <a:pt x="10071999" y="4558389"/>
                </a:cubicBezTo>
                <a:cubicBezTo>
                  <a:pt x="10047204" y="4577891"/>
                  <a:pt x="10042972" y="4527708"/>
                  <a:pt x="10017573" y="4551254"/>
                </a:cubicBezTo>
                <a:cubicBezTo>
                  <a:pt x="9998826" y="4545784"/>
                  <a:pt x="10035714" y="4529136"/>
                  <a:pt x="10018782" y="4527708"/>
                </a:cubicBezTo>
                <a:cubicBezTo>
                  <a:pt x="10019992" y="4513913"/>
                  <a:pt x="10042972" y="4526043"/>
                  <a:pt x="10052648" y="4522951"/>
                </a:cubicBezTo>
                <a:cubicBezTo>
                  <a:pt x="10052648" y="4487276"/>
                  <a:pt x="10019387" y="4516293"/>
                  <a:pt x="10007897" y="4503449"/>
                </a:cubicBezTo>
                <a:cubicBezTo>
                  <a:pt x="10032691" y="4489654"/>
                  <a:pt x="9995196" y="4484185"/>
                  <a:pt x="10007897" y="4467536"/>
                </a:cubicBezTo>
                <a:cubicBezTo>
                  <a:pt x="9977055" y="4464920"/>
                  <a:pt x="9975845" y="4486563"/>
                  <a:pt x="9957703" y="4461352"/>
                </a:cubicBezTo>
                <a:cubicBezTo>
                  <a:pt x="9946213" y="4460163"/>
                  <a:pt x="9943188" y="4470153"/>
                  <a:pt x="9940165" y="4479666"/>
                </a:cubicBezTo>
                <a:cubicBezTo>
                  <a:pt x="9937142" y="4491319"/>
                  <a:pt x="9960122" y="4498930"/>
                  <a:pt x="9963750" y="4485374"/>
                </a:cubicBezTo>
                <a:cubicBezTo>
                  <a:pt x="9949236" y="4525806"/>
                  <a:pt x="9915371" y="4455883"/>
                  <a:pt x="9874853" y="4448510"/>
                </a:cubicBezTo>
                <a:cubicBezTo>
                  <a:pt x="9899042" y="4406889"/>
                  <a:pt x="9941374" y="4462067"/>
                  <a:pt x="9983706" y="4429959"/>
                </a:cubicBezTo>
                <a:cubicBezTo>
                  <a:pt x="10006083" y="4461591"/>
                  <a:pt x="10013944" y="4412597"/>
                  <a:pt x="10039343" y="4430672"/>
                </a:cubicBezTo>
                <a:cubicBezTo>
                  <a:pt x="10038134" y="4434478"/>
                  <a:pt x="10036319" y="4437332"/>
                  <a:pt x="10034505" y="4439472"/>
                </a:cubicBezTo>
                <a:cubicBezTo>
                  <a:pt x="10042367" y="4436856"/>
                  <a:pt x="10050229" y="4438283"/>
                  <a:pt x="10058090" y="4441375"/>
                </a:cubicBezTo>
                <a:cubicBezTo>
                  <a:pt x="10045390" y="4427581"/>
                  <a:pt x="10032691" y="4412597"/>
                  <a:pt x="10018782" y="4400944"/>
                </a:cubicBezTo>
                <a:cubicBezTo>
                  <a:pt x="10004872" y="4395711"/>
                  <a:pt x="10008501" y="4415927"/>
                  <a:pt x="9994592" y="4412597"/>
                </a:cubicBezTo>
                <a:lnTo>
                  <a:pt x="9995196" y="4392857"/>
                </a:lnTo>
                <a:cubicBezTo>
                  <a:pt x="9974030" y="4389051"/>
                  <a:pt x="9977660" y="4413548"/>
                  <a:pt x="9954075" y="4405700"/>
                </a:cubicBezTo>
                <a:cubicBezTo>
                  <a:pt x="9974030" y="4393332"/>
                  <a:pt x="9952864" y="4387624"/>
                  <a:pt x="9954075" y="4364079"/>
                </a:cubicBezTo>
                <a:cubicBezTo>
                  <a:pt x="9925652" y="4359560"/>
                  <a:pt x="9946213" y="4379300"/>
                  <a:pt x="9935328" y="4394046"/>
                </a:cubicBezTo>
                <a:cubicBezTo>
                  <a:pt x="9896624" y="4398803"/>
                  <a:pt x="9871225" y="4380728"/>
                  <a:pt x="9840383" y="4381917"/>
                </a:cubicBezTo>
                <a:cubicBezTo>
                  <a:pt x="9833126" y="4383343"/>
                  <a:pt x="9836754" y="4395236"/>
                  <a:pt x="9836149" y="4404987"/>
                </a:cubicBezTo>
                <a:cubicBezTo>
                  <a:pt x="9848849" y="4396186"/>
                  <a:pt x="9873039" y="4386911"/>
                  <a:pt x="9884529" y="4405700"/>
                </a:cubicBezTo>
                <a:cubicBezTo>
                  <a:pt x="9879691" y="4399279"/>
                  <a:pt x="9825869" y="4422110"/>
                  <a:pt x="9853687" y="4436380"/>
                </a:cubicBezTo>
                <a:cubicBezTo>
                  <a:pt x="9839174" y="4443040"/>
                  <a:pt x="9836754" y="4443040"/>
                  <a:pt x="9816193" y="4467061"/>
                </a:cubicBezTo>
                <a:cubicBezTo>
                  <a:pt x="9814379" y="4454931"/>
                  <a:pt x="9821636" y="4453505"/>
                  <a:pt x="9819822" y="4441375"/>
                </a:cubicBezTo>
                <a:cubicBezTo>
                  <a:pt x="9812564" y="4440899"/>
                  <a:pt x="9812564" y="4447083"/>
                  <a:pt x="9805307" y="4448510"/>
                </a:cubicBezTo>
                <a:cubicBezTo>
                  <a:pt x="9802888" y="4483946"/>
                  <a:pt x="9808332" y="4478001"/>
                  <a:pt x="9818611" y="4502736"/>
                </a:cubicBezTo>
                <a:cubicBezTo>
                  <a:pt x="9814983" y="4488465"/>
                  <a:pt x="9801074" y="4515341"/>
                  <a:pt x="9795027" y="4496790"/>
                </a:cubicBezTo>
                <a:cubicBezTo>
                  <a:pt x="9758742" y="4549113"/>
                  <a:pt x="9721853" y="4597393"/>
                  <a:pt x="9655331" y="4587642"/>
                </a:cubicBezTo>
                <a:cubicBezTo>
                  <a:pt x="9631142" y="4631166"/>
                  <a:pt x="9575505" y="4636636"/>
                  <a:pt x="9549501" y="4678019"/>
                </a:cubicBezTo>
                <a:cubicBezTo>
                  <a:pt x="9531963" y="4680397"/>
                  <a:pt x="9506565" y="4670409"/>
                  <a:pt x="9510193" y="4696333"/>
                </a:cubicBezTo>
                <a:cubicBezTo>
                  <a:pt x="9500517" y="4695618"/>
                  <a:pt x="9493260" y="4692764"/>
                  <a:pt x="9491446" y="4684678"/>
                </a:cubicBezTo>
                <a:cubicBezTo>
                  <a:pt x="9474512" y="4685392"/>
                  <a:pt x="9509588" y="4704180"/>
                  <a:pt x="9489632" y="4708462"/>
                </a:cubicBezTo>
                <a:cubicBezTo>
                  <a:pt x="9467861" y="4712505"/>
                  <a:pt x="9495075" y="4696807"/>
                  <a:pt x="9480560" y="4695618"/>
                </a:cubicBezTo>
                <a:cubicBezTo>
                  <a:pt x="9472698" y="4708938"/>
                  <a:pt x="9467256" y="4722256"/>
                  <a:pt x="9459394" y="4733434"/>
                </a:cubicBezTo>
                <a:cubicBezTo>
                  <a:pt x="9425529" y="4742234"/>
                  <a:pt x="9355983" y="4732482"/>
                  <a:pt x="9321513" y="4751272"/>
                </a:cubicBezTo>
                <a:cubicBezTo>
                  <a:pt x="9314256" y="4746753"/>
                  <a:pt x="9310023" y="4740331"/>
                  <a:pt x="9305789" y="4732008"/>
                </a:cubicBezTo>
                <a:cubicBezTo>
                  <a:pt x="9214474" y="4771725"/>
                  <a:pt x="9149161" y="4708699"/>
                  <a:pt x="9064497" y="4719402"/>
                </a:cubicBezTo>
                <a:cubicBezTo>
                  <a:pt x="9051193" y="4692527"/>
                  <a:pt x="9037889" y="4707273"/>
                  <a:pt x="9009465" y="4700850"/>
                </a:cubicBezTo>
                <a:cubicBezTo>
                  <a:pt x="9010070" y="4688959"/>
                  <a:pt x="9003418" y="4688484"/>
                  <a:pt x="9004022" y="4676591"/>
                </a:cubicBezTo>
                <a:cubicBezTo>
                  <a:pt x="8950200" y="4693954"/>
                  <a:pt x="8914521" y="4645435"/>
                  <a:pt x="8858884" y="4646863"/>
                </a:cubicBezTo>
                <a:lnTo>
                  <a:pt x="8860699" y="4626884"/>
                </a:lnTo>
                <a:cubicBezTo>
                  <a:pt x="8828043" y="4648052"/>
                  <a:pt x="8832275" y="4612139"/>
                  <a:pt x="8800225" y="4633306"/>
                </a:cubicBezTo>
                <a:cubicBezTo>
                  <a:pt x="8793571" y="4614755"/>
                  <a:pt x="8777244" y="4611425"/>
                  <a:pt x="8762125" y="4619987"/>
                </a:cubicBezTo>
                <a:cubicBezTo>
                  <a:pt x="8765754" y="4604290"/>
                  <a:pt x="8753054" y="4605718"/>
                  <a:pt x="8756683" y="4590020"/>
                </a:cubicBezTo>
                <a:cubicBezTo>
                  <a:pt x="8739750" y="4586691"/>
                  <a:pt x="8746403" y="4607382"/>
                  <a:pt x="8731888" y="4602150"/>
                </a:cubicBezTo>
                <a:cubicBezTo>
                  <a:pt x="8695604" y="4565524"/>
                  <a:pt x="8638153" y="4528660"/>
                  <a:pt x="8582516" y="4535557"/>
                </a:cubicBezTo>
                <a:cubicBezTo>
                  <a:pt x="8574654" y="4513913"/>
                  <a:pt x="8560141" y="4500120"/>
                  <a:pt x="8544417" y="4488228"/>
                </a:cubicBezTo>
                <a:cubicBezTo>
                  <a:pt x="8534742" y="4490369"/>
                  <a:pt x="8528090" y="4495125"/>
                  <a:pt x="8528694" y="4509157"/>
                </a:cubicBezTo>
                <a:cubicBezTo>
                  <a:pt x="8524461" y="4504877"/>
                  <a:pt x="8513575" y="4483946"/>
                  <a:pt x="8514785" y="4509633"/>
                </a:cubicBezTo>
                <a:cubicBezTo>
                  <a:pt x="8494223" y="4492033"/>
                  <a:pt x="8486967" y="4489180"/>
                  <a:pt x="8476082" y="4468488"/>
                </a:cubicBezTo>
                <a:cubicBezTo>
                  <a:pt x="8493014" y="4467536"/>
                  <a:pt x="8508134" y="4472055"/>
                  <a:pt x="8523856" y="4475147"/>
                </a:cubicBezTo>
                <a:cubicBezTo>
                  <a:pt x="8520228" y="4473245"/>
                  <a:pt x="8517809" y="4470153"/>
                  <a:pt x="8514180" y="4468488"/>
                </a:cubicBezTo>
                <a:cubicBezTo>
                  <a:pt x="8519624" y="4457072"/>
                  <a:pt x="8520228" y="4439472"/>
                  <a:pt x="8523856" y="4425916"/>
                </a:cubicBezTo>
                <a:cubicBezTo>
                  <a:pt x="8487572" y="4381202"/>
                  <a:pt x="8405931" y="4431385"/>
                  <a:pt x="8375089" y="4383106"/>
                </a:cubicBezTo>
                <a:cubicBezTo>
                  <a:pt x="8450682" y="4401657"/>
                  <a:pt x="8542604" y="4393332"/>
                  <a:pt x="8609730" y="4395236"/>
                </a:cubicBezTo>
                <a:cubicBezTo>
                  <a:pt x="8716165" y="4336966"/>
                  <a:pt x="8833485" y="4382867"/>
                  <a:pt x="8947177" y="4372879"/>
                </a:cubicBezTo>
                <a:cubicBezTo>
                  <a:pt x="9042726" y="4420684"/>
                  <a:pt x="9142509" y="4403559"/>
                  <a:pt x="9254991" y="4367647"/>
                </a:cubicBezTo>
                <a:cubicBezTo>
                  <a:pt x="9254386" y="4337917"/>
                  <a:pt x="9227173" y="4344814"/>
                  <a:pt x="9229592" y="4311518"/>
                </a:cubicBezTo>
                <a:cubicBezTo>
                  <a:pt x="9293694" y="4318890"/>
                  <a:pt x="9326955" y="4325787"/>
                  <a:pt x="9392873" y="4305572"/>
                </a:cubicBezTo>
                <a:cubicBezTo>
                  <a:pt x="9391059" y="4297485"/>
                  <a:pt x="9386825" y="4291777"/>
                  <a:pt x="9379568" y="4287259"/>
                </a:cubicBezTo>
                <a:cubicBezTo>
                  <a:pt x="9365659" y="4327691"/>
                  <a:pt x="9320908" y="4265853"/>
                  <a:pt x="9319094" y="4293442"/>
                </a:cubicBezTo>
                <a:cubicBezTo>
                  <a:pt x="9270714" y="4253724"/>
                  <a:pt x="9210845" y="4294394"/>
                  <a:pt x="9161255" y="4238503"/>
                </a:cubicBezTo>
                <a:cubicBezTo>
                  <a:pt x="9153999" y="4241833"/>
                  <a:pt x="9167303" y="4264664"/>
                  <a:pt x="9150370" y="4269183"/>
                </a:cubicBezTo>
                <a:cubicBezTo>
                  <a:pt x="9154604" y="4233984"/>
                  <a:pt x="9110458" y="4244211"/>
                  <a:pt x="9090501" y="4262286"/>
                </a:cubicBezTo>
                <a:cubicBezTo>
                  <a:pt x="9118923" y="4223044"/>
                  <a:pt x="9044540" y="4234223"/>
                  <a:pt x="9023374" y="4220665"/>
                </a:cubicBezTo>
                <a:cubicBezTo>
                  <a:pt x="9023979" y="4212816"/>
                  <a:pt x="9033050" y="4215433"/>
                  <a:pt x="9030632" y="4207347"/>
                </a:cubicBezTo>
                <a:cubicBezTo>
                  <a:pt x="9017327" y="4196169"/>
                  <a:pt x="9002813" y="4201163"/>
                  <a:pt x="8991928" y="4220189"/>
                </a:cubicBezTo>
                <a:cubicBezTo>
                  <a:pt x="8982251" y="4221141"/>
                  <a:pt x="8990718" y="4198547"/>
                  <a:pt x="8986485" y="4190222"/>
                </a:cubicBezTo>
                <a:cubicBezTo>
                  <a:pt x="8985880" y="4190222"/>
                  <a:pt x="8985276" y="4190222"/>
                  <a:pt x="8984672" y="4190222"/>
                </a:cubicBezTo>
                <a:cubicBezTo>
                  <a:pt x="8970761" y="4194980"/>
                  <a:pt x="8959876" y="4205682"/>
                  <a:pt x="8959876" y="4225184"/>
                </a:cubicBezTo>
                <a:cubicBezTo>
                  <a:pt x="8951409" y="4244448"/>
                  <a:pt x="8953225" y="4208773"/>
                  <a:pt x="8958062" y="4209249"/>
                </a:cubicBezTo>
                <a:cubicBezTo>
                  <a:pt x="8938106" y="4223282"/>
                  <a:pt x="8939919" y="4194028"/>
                  <a:pt x="8910892" y="4203541"/>
                </a:cubicBezTo>
                <a:cubicBezTo>
                  <a:pt x="8901215" y="4204493"/>
                  <a:pt x="8907264" y="4224709"/>
                  <a:pt x="8892750" y="4219476"/>
                </a:cubicBezTo>
                <a:cubicBezTo>
                  <a:pt x="8892146" y="4231368"/>
                  <a:pt x="8897587" y="4231843"/>
                  <a:pt x="8896983" y="4243735"/>
                </a:cubicBezTo>
                <a:cubicBezTo>
                  <a:pt x="8877631" y="4240168"/>
                  <a:pt x="8834695" y="4232082"/>
                  <a:pt x="8826228" y="4261097"/>
                </a:cubicBezTo>
                <a:cubicBezTo>
                  <a:pt x="8800225" y="4245163"/>
                  <a:pt x="8763334" y="4263951"/>
                  <a:pt x="8740959" y="4232319"/>
                </a:cubicBezTo>
                <a:cubicBezTo>
                  <a:pt x="8721607" y="4272276"/>
                  <a:pt x="8672019" y="4218763"/>
                  <a:pt x="8659923" y="4255389"/>
                </a:cubicBezTo>
                <a:cubicBezTo>
                  <a:pt x="8650853" y="4248730"/>
                  <a:pt x="8654481" y="4230893"/>
                  <a:pt x="8650249" y="4220665"/>
                </a:cubicBezTo>
                <a:cubicBezTo>
                  <a:pt x="8646619" y="4240168"/>
                  <a:pt x="8636943" y="4243498"/>
                  <a:pt x="8636338" y="4219476"/>
                </a:cubicBezTo>
                <a:cubicBezTo>
                  <a:pt x="8592193" y="4229703"/>
                  <a:pt x="8527485" y="4188083"/>
                  <a:pt x="8499062" y="4225184"/>
                </a:cubicBezTo>
                <a:cubicBezTo>
                  <a:pt x="8485758" y="4200450"/>
                  <a:pt x="8440401" y="4196882"/>
                  <a:pt x="8422260" y="4213292"/>
                </a:cubicBezTo>
                <a:cubicBezTo>
                  <a:pt x="8424678" y="4219476"/>
                  <a:pt x="8426493" y="4223044"/>
                  <a:pt x="8426493" y="4231130"/>
                </a:cubicBezTo>
                <a:cubicBezTo>
                  <a:pt x="8369647" y="4255865"/>
                  <a:pt x="8326105" y="4216622"/>
                  <a:pt x="8294053" y="4277270"/>
                </a:cubicBezTo>
                <a:cubicBezTo>
                  <a:pt x="8306753" y="4298199"/>
                  <a:pt x="8312197" y="4257292"/>
                  <a:pt x="8330944" y="4266805"/>
                </a:cubicBezTo>
                <a:cubicBezTo>
                  <a:pt x="8288612" y="4330782"/>
                  <a:pt x="8189433" y="4260621"/>
                  <a:pt x="8136216" y="4305572"/>
                </a:cubicBezTo>
                <a:cubicBezTo>
                  <a:pt x="8102955" y="4261097"/>
                  <a:pt x="8071508" y="4341723"/>
                  <a:pt x="8055181" y="4294870"/>
                </a:cubicBezTo>
                <a:cubicBezTo>
                  <a:pt x="8047923" y="4296059"/>
                  <a:pt x="8040666" y="4297485"/>
                  <a:pt x="8037643" y="4305096"/>
                </a:cubicBezTo>
                <a:cubicBezTo>
                  <a:pt x="8028572" y="4298437"/>
                  <a:pt x="8021919" y="4289875"/>
                  <a:pt x="8012245" y="4282978"/>
                </a:cubicBezTo>
                <a:cubicBezTo>
                  <a:pt x="8007406" y="4284643"/>
                  <a:pt x="8000149" y="4292253"/>
                  <a:pt x="8007406" y="4294870"/>
                </a:cubicBezTo>
                <a:cubicBezTo>
                  <a:pt x="7994705" y="4303669"/>
                  <a:pt x="7985635" y="4296772"/>
                  <a:pt x="7974145" y="4282026"/>
                </a:cubicBezTo>
                <a:cubicBezTo>
                  <a:pt x="7916694" y="4284880"/>
                  <a:pt x="7877387" y="4301053"/>
                  <a:pt x="7822959" y="4282502"/>
                </a:cubicBezTo>
                <a:cubicBezTo>
                  <a:pt x="7785465" y="4312945"/>
                  <a:pt x="7719549" y="4283929"/>
                  <a:pt x="7677216" y="4276319"/>
                </a:cubicBezTo>
                <a:cubicBezTo>
                  <a:pt x="7576829" y="4301528"/>
                  <a:pt x="7481280" y="4251584"/>
                  <a:pt x="7409920" y="4287259"/>
                </a:cubicBezTo>
                <a:cubicBezTo>
                  <a:pt x="7412943" y="4273702"/>
                  <a:pt x="7400244" y="4274178"/>
                  <a:pt x="7403872" y="4256578"/>
                </a:cubicBezTo>
                <a:cubicBezTo>
                  <a:pt x="7389359" y="4255389"/>
                  <a:pt x="7388754" y="4269183"/>
                  <a:pt x="7389963" y="4287259"/>
                </a:cubicBezTo>
                <a:cubicBezTo>
                  <a:pt x="7373635" y="4279886"/>
                  <a:pt x="7381497" y="4270611"/>
                  <a:pt x="7377264" y="4258243"/>
                </a:cubicBezTo>
                <a:cubicBezTo>
                  <a:pt x="7368797" y="4281313"/>
                  <a:pt x="7364563" y="4271324"/>
                  <a:pt x="7348236" y="4263951"/>
                </a:cubicBezTo>
                <a:cubicBezTo>
                  <a:pt x="7342188" y="4289399"/>
                  <a:pt x="7370007" y="4269422"/>
                  <a:pt x="7366379" y="4292966"/>
                </a:cubicBezTo>
                <a:cubicBezTo>
                  <a:pt x="7350050" y="4279648"/>
                  <a:pt x="7309532" y="4272513"/>
                  <a:pt x="7315580" y="4251346"/>
                </a:cubicBezTo>
                <a:cubicBezTo>
                  <a:pt x="7299251" y="4245876"/>
                  <a:pt x="7298042" y="4259432"/>
                  <a:pt x="7299856" y="4275605"/>
                </a:cubicBezTo>
                <a:cubicBezTo>
                  <a:pt x="7242406" y="4268707"/>
                  <a:pt x="7235149" y="4230179"/>
                  <a:pt x="7171046" y="4256578"/>
                </a:cubicBezTo>
                <a:cubicBezTo>
                  <a:pt x="7178908" y="4249206"/>
                  <a:pt x="7174070" y="4247302"/>
                  <a:pt x="7172255" y="4238979"/>
                </a:cubicBezTo>
                <a:cubicBezTo>
                  <a:pt x="7155927" y="4235649"/>
                  <a:pt x="7148066" y="4244924"/>
                  <a:pt x="7145041" y="4256578"/>
                </a:cubicBezTo>
                <a:cubicBezTo>
                  <a:pt x="7128110" y="4258956"/>
                  <a:pt x="7131133" y="4241357"/>
                  <a:pt x="7119038" y="4240405"/>
                </a:cubicBezTo>
                <a:cubicBezTo>
                  <a:pt x="7094849" y="4240405"/>
                  <a:pt x="7098477" y="4272513"/>
                  <a:pt x="7072472" y="4268233"/>
                </a:cubicBezTo>
                <a:cubicBezTo>
                  <a:pt x="7088801" y="4237790"/>
                  <a:pt x="7039212" y="4257054"/>
                  <a:pt x="7030745" y="4238503"/>
                </a:cubicBezTo>
                <a:cubicBezTo>
                  <a:pt x="7015627" y="4241357"/>
                  <a:pt x="7011999" y="4261097"/>
                  <a:pt x="6995670" y="4261810"/>
                </a:cubicBezTo>
                <a:cubicBezTo>
                  <a:pt x="6996275" y="4249919"/>
                  <a:pt x="7010184" y="4254913"/>
                  <a:pt x="7010788" y="4245163"/>
                </a:cubicBezTo>
                <a:cubicBezTo>
                  <a:pt x="6961200" y="4236838"/>
                  <a:pt x="6946081" y="4249206"/>
                  <a:pt x="6895887" y="4238979"/>
                </a:cubicBezTo>
                <a:cubicBezTo>
                  <a:pt x="6874723" y="4233271"/>
                  <a:pt x="6842670" y="4242070"/>
                  <a:pt x="6831180" y="4238979"/>
                </a:cubicBezTo>
                <a:cubicBezTo>
                  <a:pt x="6814852" y="4231843"/>
                  <a:pt x="6811223" y="4213768"/>
                  <a:pt x="6796710" y="4208536"/>
                </a:cubicBezTo>
                <a:cubicBezTo>
                  <a:pt x="6773125" y="4202590"/>
                  <a:pt x="6728374" y="4224709"/>
                  <a:pt x="6720513" y="4198309"/>
                </a:cubicBezTo>
                <a:cubicBezTo>
                  <a:pt x="6673947" y="4210201"/>
                  <a:pt x="6629196" y="4199974"/>
                  <a:pt x="6569326" y="4196882"/>
                </a:cubicBezTo>
                <a:cubicBezTo>
                  <a:pt x="6565093" y="4222330"/>
                  <a:pt x="6514295" y="4196169"/>
                  <a:pt x="6502201" y="4191174"/>
                </a:cubicBezTo>
                <a:cubicBezTo>
                  <a:pt x="6490106" y="4196169"/>
                  <a:pt x="6496758" y="4198785"/>
                  <a:pt x="6498571" y="4214957"/>
                </a:cubicBezTo>
                <a:cubicBezTo>
                  <a:pt x="6484664" y="4207823"/>
                  <a:pt x="6478010" y="4193552"/>
                  <a:pt x="6456239" y="4197833"/>
                </a:cubicBezTo>
                <a:cubicBezTo>
                  <a:pt x="6439307" y="4200212"/>
                  <a:pt x="6448378" y="4212816"/>
                  <a:pt x="6450192" y="4224709"/>
                </a:cubicBezTo>
                <a:cubicBezTo>
                  <a:pt x="6439912" y="4227800"/>
                  <a:pt x="6441121" y="4218050"/>
                  <a:pt x="6441725" y="4208060"/>
                </a:cubicBezTo>
                <a:cubicBezTo>
                  <a:pt x="6394555" y="4186179"/>
                  <a:pt x="6345571" y="4241594"/>
                  <a:pt x="6302635" y="4202115"/>
                </a:cubicBezTo>
                <a:cubicBezTo>
                  <a:pt x="6286911" y="4220665"/>
                  <a:pt x="6236114" y="4180471"/>
                  <a:pt x="6221600" y="4224709"/>
                </a:cubicBezTo>
                <a:cubicBezTo>
                  <a:pt x="6214946" y="4218287"/>
                  <a:pt x="6201038" y="4219239"/>
                  <a:pt x="6204061" y="4201639"/>
                </a:cubicBezTo>
                <a:cubicBezTo>
                  <a:pt x="6190153" y="4200450"/>
                  <a:pt x="6190758" y="4218050"/>
                  <a:pt x="6183500" y="4223519"/>
                </a:cubicBezTo>
                <a:cubicBezTo>
                  <a:pt x="6185315" y="4184040"/>
                  <a:pt x="6130888" y="4219000"/>
                  <a:pt x="6109117" y="4217335"/>
                </a:cubicBezTo>
                <a:cubicBezTo>
                  <a:pt x="6089765" y="4217574"/>
                  <a:pt x="6067995" y="4184277"/>
                  <a:pt x="6051667" y="4218525"/>
                </a:cubicBezTo>
                <a:cubicBezTo>
                  <a:pt x="6029895" y="4176904"/>
                  <a:pt x="5997240" y="4209488"/>
                  <a:pt x="5956117" y="4212103"/>
                </a:cubicBezTo>
                <a:cubicBezTo>
                  <a:pt x="5951279" y="4211627"/>
                  <a:pt x="5953094" y="4222093"/>
                  <a:pt x="5952489" y="4229941"/>
                </a:cubicBezTo>
                <a:cubicBezTo>
                  <a:pt x="5898667" y="4207584"/>
                  <a:pt x="5861173" y="4231606"/>
                  <a:pt x="5824283" y="4240405"/>
                </a:cubicBezTo>
                <a:cubicBezTo>
                  <a:pt x="5807955" y="4238979"/>
                  <a:pt x="5798884" y="4226374"/>
                  <a:pt x="5795257" y="4210201"/>
                </a:cubicBezTo>
                <a:cubicBezTo>
                  <a:pt x="5771671" y="4204255"/>
                  <a:pt x="5770462" y="4226136"/>
                  <a:pt x="5753529" y="4228752"/>
                </a:cubicBezTo>
                <a:cubicBezTo>
                  <a:pt x="5754738" y="4200926"/>
                  <a:pt x="5712405" y="4230654"/>
                  <a:pt x="5714220" y="4204969"/>
                </a:cubicBezTo>
                <a:cubicBezTo>
                  <a:pt x="5696076" y="4225184"/>
                  <a:pt x="5667655" y="4215196"/>
                  <a:pt x="5648908" y="4209725"/>
                </a:cubicBezTo>
                <a:cubicBezTo>
                  <a:pt x="5660399" y="4214720"/>
                  <a:pt x="5625928" y="4193790"/>
                  <a:pt x="5616251" y="4193076"/>
                </a:cubicBezTo>
                <a:cubicBezTo>
                  <a:pt x="5601738" y="4191887"/>
                  <a:pt x="5590853" y="4204730"/>
                  <a:pt x="5576943" y="4203541"/>
                </a:cubicBezTo>
                <a:cubicBezTo>
                  <a:pt x="5560011" y="4204017"/>
                  <a:pt x="5544287" y="4184514"/>
                  <a:pt x="5530378" y="4181423"/>
                </a:cubicBezTo>
                <a:cubicBezTo>
                  <a:pt x="5506794" y="4175239"/>
                  <a:pt x="5459019" y="4165963"/>
                  <a:pt x="5420314" y="4174526"/>
                </a:cubicBezTo>
                <a:cubicBezTo>
                  <a:pt x="5413662" y="4160018"/>
                  <a:pt x="5410640" y="4163585"/>
                  <a:pt x="5416686" y="4146224"/>
                </a:cubicBezTo>
                <a:cubicBezTo>
                  <a:pt x="5377982" y="4188557"/>
                  <a:pt x="5357423" y="4139089"/>
                  <a:pt x="5320531" y="4143845"/>
                </a:cubicBezTo>
                <a:cubicBezTo>
                  <a:pt x="5324765" y="4160018"/>
                  <a:pt x="5341699" y="4159305"/>
                  <a:pt x="5340488" y="4179045"/>
                </a:cubicBezTo>
                <a:cubicBezTo>
                  <a:pt x="5323556" y="4133857"/>
                  <a:pt x="5254614" y="4168342"/>
                  <a:pt x="5217121" y="4157164"/>
                </a:cubicBezTo>
                <a:cubicBezTo>
                  <a:pt x="5217726" y="4183088"/>
                  <a:pt x="5260058" y="4162633"/>
                  <a:pt x="5252801" y="4197833"/>
                </a:cubicBezTo>
                <a:cubicBezTo>
                  <a:pt x="5273967" y="4163824"/>
                  <a:pt x="5301180" y="4195931"/>
                  <a:pt x="5330209" y="4186418"/>
                </a:cubicBezTo>
                <a:cubicBezTo>
                  <a:pt x="5256429" y="4219952"/>
                  <a:pt x="5148785" y="4216146"/>
                  <a:pt x="5093149" y="4225184"/>
                </a:cubicBezTo>
                <a:cubicBezTo>
                  <a:pt x="5114315" y="4276794"/>
                  <a:pt x="5208655" y="4213292"/>
                  <a:pt x="5229216" y="4272750"/>
                </a:cubicBezTo>
                <a:cubicBezTo>
                  <a:pt x="5261267" y="4257530"/>
                  <a:pt x="5266104" y="4262525"/>
                  <a:pt x="5286061" y="4250157"/>
                </a:cubicBezTo>
                <a:cubicBezTo>
                  <a:pt x="5280015" y="4265616"/>
                  <a:pt x="5284852" y="4275843"/>
                  <a:pt x="5296343" y="4284880"/>
                </a:cubicBezTo>
                <a:cubicBezTo>
                  <a:pt x="5325370" y="4239692"/>
                  <a:pt x="5388868" y="4294394"/>
                  <a:pt x="5405801" y="4250157"/>
                </a:cubicBezTo>
                <a:cubicBezTo>
                  <a:pt x="5416081" y="4280837"/>
                  <a:pt x="5439666" y="4253011"/>
                  <a:pt x="5453576" y="4262286"/>
                </a:cubicBezTo>
                <a:cubicBezTo>
                  <a:pt x="5450551" y="4269896"/>
                  <a:pt x="5439061" y="4263475"/>
                  <a:pt x="5438458" y="4273465"/>
                </a:cubicBezTo>
                <a:cubicBezTo>
                  <a:pt x="5441482" y="4305334"/>
                  <a:pt x="5505584" y="4282978"/>
                  <a:pt x="5501350" y="4268707"/>
                </a:cubicBezTo>
                <a:cubicBezTo>
                  <a:pt x="5523726" y="4300339"/>
                  <a:pt x="5555777" y="4275129"/>
                  <a:pt x="5590247" y="4262286"/>
                </a:cubicBezTo>
                <a:cubicBezTo>
                  <a:pt x="5610810" y="4283929"/>
                  <a:pt x="5696076" y="4304858"/>
                  <a:pt x="5719663" y="4269183"/>
                </a:cubicBezTo>
                <a:cubicBezTo>
                  <a:pt x="5726919" y="4269896"/>
                  <a:pt x="5728734" y="4277983"/>
                  <a:pt x="5728129" y="4292016"/>
                </a:cubicBezTo>
                <a:cubicBezTo>
                  <a:pt x="5778927" y="4288210"/>
                  <a:pt x="5807955" y="4280837"/>
                  <a:pt x="5861776" y="4303432"/>
                </a:cubicBezTo>
                <a:cubicBezTo>
                  <a:pt x="5815212" y="4319129"/>
                  <a:pt x="5780742" y="4292253"/>
                  <a:pt x="5752319" y="4327452"/>
                </a:cubicBezTo>
                <a:cubicBezTo>
                  <a:pt x="5754738" y="4331734"/>
                  <a:pt x="5761389" y="4332685"/>
                  <a:pt x="5760786" y="4344338"/>
                </a:cubicBezTo>
                <a:cubicBezTo>
                  <a:pt x="5780137" y="4340058"/>
                  <a:pt x="5780137" y="4340058"/>
                  <a:pt x="5794046" y="4351235"/>
                </a:cubicBezTo>
                <a:cubicBezTo>
                  <a:pt x="5811583" y="4336966"/>
                  <a:pt x="5841820" y="4325312"/>
                  <a:pt x="5857543" y="4344338"/>
                </a:cubicBezTo>
                <a:cubicBezTo>
                  <a:pt x="5870848" y="4315799"/>
                  <a:pt x="5898667" y="4331971"/>
                  <a:pt x="5917414" y="4303907"/>
                </a:cubicBezTo>
                <a:cubicBezTo>
                  <a:pt x="5896852" y="4326026"/>
                  <a:pt x="5925881" y="4322933"/>
                  <a:pt x="5942208" y="4328404"/>
                </a:cubicBezTo>
                <a:cubicBezTo>
                  <a:pt x="5862986" y="4365268"/>
                  <a:pt x="5780137" y="4348144"/>
                  <a:pt x="5718453" y="4368598"/>
                </a:cubicBezTo>
                <a:cubicBezTo>
                  <a:pt x="5706962" y="4361701"/>
                  <a:pt x="5689425" y="4334112"/>
                  <a:pt x="5680354" y="4360987"/>
                </a:cubicBezTo>
                <a:cubicBezTo>
                  <a:pt x="5666445" y="4355993"/>
                  <a:pt x="5665237" y="4337917"/>
                  <a:pt x="5651327" y="4332685"/>
                </a:cubicBezTo>
                <a:cubicBezTo>
                  <a:pt x="5657979" y="4343149"/>
                  <a:pt x="5645884" y="4342675"/>
                  <a:pt x="5633184" y="4355279"/>
                </a:cubicBezTo>
                <a:cubicBezTo>
                  <a:pt x="5623508" y="4354565"/>
                  <a:pt x="5628951" y="4336966"/>
                  <a:pt x="5616856" y="4337917"/>
                </a:cubicBezTo>
                <a:cubicBezTo>
                  <a:pt x="5598110" y="4332447"/>
                  <a:pt x="5608391" y="4364793"/>
                  <a:pt x="5589642" y="4360987"/>
                </a:cubicBezTo>
                <a:cubicBezTo>
                  <a:pt x="5592667" y="4351474"/>
                  <a:pt x="5585410" y="4348857"/>
                  <a:pt x="5580572" y="4348381"/>
                </a:cubicBezTo>
                <a:cubicBezTo>
                  <a:pt x="5540053" y="4388576"/>
                  <a:pt x="5453576" y="4341723"/>
                  <a:pt x="5419106" y="4360511"/>
                </a:cubicBezTo>
                <a:cubicBezTo>
                  <a:pt x="5382215" y="4329593"/>
                  <a:pt x="5336255" y="4371927"/>
                  <a:pt x="5280015" y="4349096"/>
                </a:cubicBezTo>
                <a:cubicBezTo>
                  <a:pt x="5257639" y="4361225"/>
                  <a:pt x="5221354" y="4371690"/>
                  <a:pt x="5215308" y="4347192"/>
                </a:cubicBezTo>
                <a:cubicBezTo>
                  <a:pt x="5205630" y="4350522"/>
                  <a:pt x="5197769" y="4360036"/>
                  <a:pt x="5190512" y="4365268"/>
                </a:cubicBezTo>
                <a:cubicBezTo>
                  <a:pt x="5192327" y="4371451"/>
                  <a:pt x="5202608" y="4371690"/>
                  <a:pt x="5199583" y="4381441"/>
                </a:cubicBezTo>
                <a:cubicBezTo>
                  <a:pt x="5193536" y="4359084"/>
                  <a:pt x="5180232" y="4377874"/>
                  <a:pt x="5165717" y="4376685"/>
                </a:cubicBezTo>
                <a:cubicBezTo>
                  <a:pt x="5110686" y="4370025"/>
                  <a:pt x="5032069" y="4365268"/>
                  <a:pt x="4967967" y="4357658"/>
                </a:cubicBezTo>
                <a:cubicBezTo>
                  <a:pt x="4969177" y="4336015"/>
                  <a:pt x="4975223" y="4342436"/>
                  <a:pt x="4987319" y="4345529"/>
                </a:cubicBezTo>
                <a:cubicBezTo>
                  <a:pt x="4985504" y="4339345"/>
                  <a:pt x="4987923" y="4335777"/>
                  <a:pt x="4990342" y="4334112"/>
                </a:cubicBezTo>
                <a:cubicBezTo>
                  <a:pt x="4990947" y="4328166"/>
                  <a:pt x="4981270" y="4329117"/>
                  <a:pt x="4981270" y="4335063"/>
                </a:cubicBezTo>
                <a:cubicBezTo>
                  <a:pt x="4969782" y="4328166"/>
                  <a:pt x="4988528" y="4319842"/>
                  <a:pt x="4977038" y="4310804"/>
                </a:cubicBezTo>
                <a:cubicBezTo>
                  <a:pt x="4944986" y="4365744"/>
                  <a:pt x="4895398" y="4311756"/>
                  <a:pt x="4854880" y="4310329"/>
                </a:cubicBezTo>
                <a:cubicBezTo>
                  <a:pt x="4852461" y="4314134"/>
                  <a:pt x="4861533" y="4318890"/>
                  <a:pt x="4863951" y="4317225"/>
                </a:cubicBezTo>
                <a:cubicBezTo>
                  <a:pt x="4814362" y="4344577"/>
                  <a:pt x="4744816" y="4350761"/>
                  <a:pt x="4720021" y="4320794"/>
                </a:cubicBezTo>
                <a:cubicBezTo>
                  <a:pt x="4705509" y="4319605"/>
                  <a:pt x="4718208" y="4350285"/>
                  <a:pt x="4701274" y="4345053"/>
                </a:cubicBezTo>
                <a:cubicBezTo>
                  <a:pt x="4716998" y="4326502"/>
                  <a:pt x="4683133" y="4333161"/>
                  <a:pt x="4686762" y="4309615"/>
                </a:cubicBezTo>
                <a:cubicBezTo>
                  <a:pt x="4676481" y="4320555"/>
                  <a:pt x="4661967" y="4319842"/>
                  <a:pt x="4653501" y="4303432"/>
                </a:cubicBezTo>
                <a:cubicBezTo>
                  <a:pt x="4671039" y="4292966"/>
                  <a:pt x="4645034" y="4280837"/>
                  <a:pt x="4640801" y="4274415"/>
                </a:cubicBezTo>
                <a:cubicBezTo>
                  <a:pt x="4627497" y="4295107"/>
                  <a:pt x="4610563" y="4295583"/>
                  <a:pt x="4593631" y="4298199"/>
                </a:cubicBezTo>
                <a:cubicBezTo>
                  <a:pt x="4594841" y="4284405"/>
                  <a:pt x="4606330" y="4284880"/>
                  <a:pt x="4610563" y="4291064"/>
                </a:cubicBezTo>
                <a:cubicBezTo>
                  <a:pt x="4616611" y="4275843"/>
                  <a:pt x="4622053" y="4270848"/>
                  <a:pt x="4611168" y="4246113"/>
                </a:cubicBezTo>
                <a:cubicBezTo>
                  <a:pt x="4600283" y="4270848"/>
                  <a:pt x="4597864" y="4234936"/>
                  <a:pt x="4580327" y="4251346"/>
                </a:cubicBezTo>
                <a:cubicBezTo>
                  <a:pt x="4580327" y="4245400"/>
                  <a:pt x="4577907" y="4240881"/>
                  <a:pt x="4573675" y="4238503"/>
                </a:cubicBezTo>
                <a:cubicBezTo>
                  <a:pt x="4584560" y="4215670"/>
                  <a:pt x="4588189" y="4190461"/>
                  <a:pt x="4602702" y="4187844"/>
                </a:cubicBezTo>
                <a:cubicBezTo>
                  <a:pt x="4602702" y="4187844"/>
                  <a:pt x="4602702" y="4185703"/>
                  <a:pt x="4602702" y="4183564"/>
                </a:cubicBezTo>
                <a:cubicBezTo>
                  <a:pt x="4576094" y="4185466"/>
                  <a:pt x="4552509" y="4187368"/>
                  <a:pt x="4537390" y="4195931"/>
                </a:cubicBezTo>
                <a:cubicBezTo>
                  <a:pt x="4530133" y="4193315"/>
                  <a:pt x="4525900" y="4186894"/>
                  <a:pt x="4521666" y="4178569"/>
                </a:cubicBezTo>
                <a:cubicBezTo>
                  <a:pt x="4435793" y="4214720"/>
                  <a:pt x="4371085" y="4155975"/>
                  <a:pt x="4291260" y="4166915"/>
                </a:cubicBezTo>
                <a:cubicBezTo>
                  <a:pt x="4280979" y="4140278"/>
                  <a:pt x="4268280" y="4152883"/>
                  <a:pt x="4239856" y="4148602"/>
                </a:cubicBezTo>
                <a:cubicBezTo>
                  <a:pt x="4240461" y="4138613"/>
                  <a:pt x="4233204" y="4135996"/>
                  <a:pt x="4233810" y="4124105"/>
                </a:cubicBezTo>
                <a:cubicBezTo>
                  <a:pt x="4184824" y="4141704"/>
                  <a:pt x="4151564" y="4095327"/>
                  <a:pt x="4098950" y="4094614"/>
                </a:cubicBezTo>
                <a:lnTo>
                  <a:pt x="4097137" y="4079155"/>
                </a:lnTo>
                <a:cubicBezTo>
                  <a:pt x="4067504" y="4098419"/>
                  <a:pt x="4071738" y="4062982"/>
                  <a:pt x="4042106" y="4084387"/>
                </a:cubicBezTo>
                <a:cubicBezTo>
                  <a:pt x="4035453" y="4065836"/>
                  <a:pt x="4018521" y="4064171"/>
                  <a:pt x="4004006" y="4072734"/>
                </a:cubicBezTo>
                <a:cubicBezTo>
                  <a:pt x="4007030" y="4055372"/>
                  <a:pt x="3997959" y="4056561"/>
                  <a:pt x="3998563" y="4042766"/>
                </a:cubicBezTo>
                <a:cubicBezTo>
                  <a:pt x="3984653" y="4039437"/>
                  <a:pt x="3990702" y="4060128"/>
                  <a:pt x="3976187" y="4054896"/>
                </a:cubicBezTo>
                <a:cubicBezTo>
                  <a:pt x="3942322" y="4018269"/>
                  <a:pt x="3886685" y="3983546"/>
                  <a:pt x="3835887" y="3991156"/>
                </a:cubicBezTo>
                <a:cubicBezTo>
                  <a:pt x="3820769" y="3958098"/>
                  <a:pt x="3797788" y="3940260"/>
                  <a:pt x="3769970" y="3925752"/>
                </a:cubicBezTo>
                <a:cubicBezTo>
                  <a:pt x="3775413" y="3916477"/>
                  <a:pt x="3776019" y="3898639"/>
                  <a:pt x="3779042" y="3885082"/>
                </a:cubicBezTo>
                <a:cubicBezTo>
                  <a:pt x="3745780" y="3844413"/>
                  <a:pt x="3665955" y="3891029"/>
                  <a:pt x="3637532" y="3844889"/>
                </a:cubicBezTo>
                <a:cubicBezTo>
                  <a:pt x="3708288" y="3862964"/>
                  <a:pt x="3798394" y="3854878"/>
                  <a:pt x="3858263" y="3856067"/>
                </a:cubicBezTo>
                <a:cubicBezTo>
                  <a:pt x="3962279" y="3801602"/>
                  <a:pt x="4072947" y="3844651"/>
                  <a:pt x="4181196" y="3833948"/>
                </a:cubicBezTo>
                <a:cubicBezTo>
                  <a:pt x="4272512" y="3881515"/>
                  <a:pt x="4366853" y="3865818"/>
                  <a:pt x="4474497" y="3829428"/>
                </a:cubicBezTo>
                <a:cubicBezTo>
                  <a:pt x="4473891" y="3803505"/>
                  <a:pt x="4446678" y="3809451"/>
                  <a:pt x="4450912" y="3778057"/>
                </a:cubicBezTo>
                <a:cubicBezTo>
                  <a:pt x="4479939" y="3780435"/>
                  <a:pt x="4501105" y="3784003"/>
                  <a:pt x="4522877" y="3783765"/>
                </a:cubicBezTo>
                <a:cubicBezTo>
                  <a:pt x="4525296" y="3778057"/>
                  <a:pt x="4528319" y="3772587"/>
                  <a:pt x="4526505" y="3762360"/>
                </a:cubicBezTo>
                <a:cubicBezTo>
                  <a:pt x="4543437" y="3761884"/>
                  <a:pt x="4542228" y="3777581"/>
                  <a:pt x="4534366" y="3784954"/>
                </a:cubicBezTo>
                <a:cubicBezTo>
                  <a:pt x="4553717" y="3784478"/>
                  <a:pt x="4578513" y="3780673"/>
                  <a:pt x="4605121" y="3771159"/>
                </a:cubicBezTo>
                <a:cubicBezTo>
                  <a:pt x="4603308" y="3763073"/>
                  <a:pt x="4599074" y="3759030"/>
                  <a:pt x="4591817" y="3754511"/>
                </a:cubicBezTo>
                <a:cubicBezTo>
                  <a:pt x="4585770" y="3771874"/>
                  <a:pt x="4576698" y="3768544"/>
                  <a:pt x="4565208" y="3763549"/>
                </a:cubicBezTo>
                <a:cubicBezTo>
                  <a:pt x="4559766" y="3773063"/>
                  <a:pt x="4547670" y="3764262"/>
                  <a:pt x="4538600" y="3753560"/>
                </a:cubicBezTo>
                <a:cubicBezTo>
                  <a:pt x="4536181" y="3755463"/>
                  <a:pt x="4536181" y="3757128"/>
                  <a:pt x="4535575" y="3761171"/>
                </a:cubicBezTo>
                <a:cubicBezTo>
                  <a:pt x="4522271" y="3749993"/>
                  <a:pt x="4508362" y="3745235"/>
                  <a:pt x="4496267" y="3742144"/>
                </a:cubicBezTo>
                <a:cubicBezTo>
                  <a:pt x="4496267" y="3744046"/>
                  <a:pt x="4498687" y="3744285"/>
                  <a:pt x="4498687" y="3746424"/>
                </a:cubicBezTo>
                <a:cubicBezTo>
                  <a:pt x="4490825" y="3753560"/>
                  <a:pt x="4492033" y="3769257"/>
                  <a:pt x="4480543" y="3768305"/>
                </a:cubicBezTo>
                <a:cubicBezTo>
                  <a:pt x="4485986" y="3750944"/>
                  <a:pt x="4479335" y="3744285"/>
                  <a:pt x="4467239" y="3739290"/>
                </a:cubicBezTo>
                <a:cubicBezTo>
                  <a:pt x="4458168" y="3738577"/>
                  <a:pt x="4446073" y="3737864"/>
                  <a:pt x="4437003" y="3736912"/>
                </a:cubicBezTo>
                <a:cubicBezTo>
                  <a:pt x="4438817" y="3737149"/>
                  <a:pt x="4438817" y="3739053"/>
                  <a:pt x="4441236" y="3739290"/>
                </a:cubicBezTo>
                <a:cubicBezTo>
                  <a:pt x="4435793" y="3748804"/>
                  <a:pt x="4429142" y="3742381"/>
                  <a:pt x="4424908" y="3734058"/>
                </a:cubicBezTo>
                <a:cubicBezTo>
                  <a:pt x="4410393" y="3728825"/>
                  <a:pt x="4396484" y="3721928"/>
                  <a:pt x="4385599" y="3706945"/>
                </a:cubicBezTo>
                <a:cubicBezTo>
                  <a:pt x="4378342" y="3710512"/>
                  <a:pt x="4391042" y="3733106"/>
                  <a:pt x="4374109" y="3737388"/>
                </a:cubicBezTo>
                <a:cubicBezTo>
                  <a:pt x="4378342" y="3704091"/>
                  <a:pt x="4336615" y="3714318"/>
                  <a:pt x="4319076" y="3730728"/>
                </a:cubicBezTo>
                <a:cubicBezTo>
                  <a:pt x="4342663" y="3693150"/>
                  <a:pt x="4273116" y="3703377"/>
                  <a:pt x="4251951" y="3689583"/>
                </a:cubicBezTo>
                <a:cubicBezTo>
                  <a:pt x="4254976" y="3683875"/>
                  <a:pt x="4261627" y="3686492"/>
                  <a:pt x="4262231" y="3678643"/>
                </a:cubicBezTo>
                <a:cubicBezTo>
                  <a:pt x="4248322" y="3669605"/>
                  <a:pt x="4233810" y="3672221"/>
                  <a:pt x="4222923" y="3689107"/>
                </a:cubicBezTo>
                <a:cubicBezTo>
                  <a:pt x="4213247" y="3690296"/>
                  <a:pt x="4221713" y="3668891"/>
                  <a:pt x="4219900" y="3660805"/>
                </a:cubicBezTo>
                <a:cubicBezTo>
                  <a:pt x="4202968" y="3663183"/>
                  <a:pt x="4187243" y="3657238"/>
                  <a:pt x="4172730" y="3650341"/>
                </a:cubicBezTo>
                <a:cubicBezTo>
                  <a:pt x="4139469" y="3666037"/>
                  <a:pt x="4088065" y="3649865"/>
                  <a:pt x="4061457" y="3641778"/>
                </a:cubicBezTo>
                <a:cubicBezTo>
                  <a:pt x="4080205" y="3622514"/>
                  <a:pt x="4124350" y="3649389"/>
                  <a:pt x="4166078" y="3647487"/>
                </a:cubicBezTo>
                <a:cubicBezTo>
                  <a:pt x="4144912" y="3637498"/>
                  <a:pt x="4123139" y="3627984"/>
                  <a:pt x="4096531" y="3636546"/>
                </a:cubicBezTo>
                <a:cubicBezTo>
                  <a:pt x="4099556" y="3618946"/>
                  <a:pt x="4088065" y="3619898"/>
                  <a:pt x="4091089" y="3602299"/>
                </a:cubicBezTo>
                <a:cubicBezTo>
                  <a:pt x="4078995" y="3603249"/>
                  <a:pt x="4064480" y="3605627"/>
                  <a:pt x="4063271" y="3589693"/>
                </a:cubicBezTo>
                <a:cubicBezTo>
                  <a:pt x="4058433" y="3589217"/>
                  <a:pt x="4048151" y="3606342"/>
                  <a:pt x="4059642" y="3607531"/>
                </a:cubicBezTo>
                <a:cubicBezTo>
                  <a:pt x="4054201" y="3622752"/>
                  <a:pt x="4051176" y="3592547"/>
                  <a:pt x="4036059" y="3601110"/>
                </a:cubicBezTo>
                <a:cubicBezTo>
                  <a:pt x="4026987" y="3590406"/>
                  <a:pt x="4039080" y="3592071"/>
                  <a:pt x="4030011" y="3579229"/>
                </a:cubicBezTo>
                <a:cubicBezTo>
                  <a:pt x="4011868" y="3597541"/>
                  <a:pt x="3982840" y="3570904"/>
                  <a:pt x="3973770" y="3595876"/>
                </a:cubicBezTo>
                <a:cubicBezTo>
                  <a:pt x="3968931" y="3555920"/>
                  <a:pt x="3951998" y="3566385"/>
                  <a:pt x="3928413" y="3554255"/>
                </a:cubicBezTo>
                <a:cubicBezTo>
                  <a:pt x="3931437" y="3542602"/>
                  <a:pt x="3955022" y="3552829"/>
                  <a:pt x="3964698" y="3549736"/>
                </a:cubicBezTo>
                <a:cubicBezTo>
                  <a:pt x="3967722" y="3538083"/>
                  <a:pt x="3963488" y="3529996"/>
                  <a:pt x="3956232" y="3525477"/>
                </a:cubicBezTo>
                <a:cubicBezTo>
                  <a:pt x="3948975" y="3528807"/>
                  <a:pt x="3938694" y="3533802"/>
                  <a:pt x="3936275" y="3533564"/>
                </a:cubicBezTo>
                <a:cubicBezTo>
                  <a:pt x="3884267" y="3529046"/>
                  <a:pt x="3932043" y="3536656"/>
                  <a:pt x="3939903" y="3515489"/>
                </a:cubicBezTo>
                <a:cubicBezTo>
                  <a:pt x="3942322" y="3515727"/>
                  <a:pt x="3942322" y="3517867"/>
                  <a:pt x="3942322" y="3517867"/>
                </a:cubicBezTo>
                <a:cubicBezTo>
                  <a:pt x="3950184" y="3502646"/>
                  <a:pt x="3961673" y="3517867"/>
                  <a:pt x="3973770" y="3520721"/>
                </a:cubicBezTo>
                <a:cubicBezTo>
                  <a:pt x="3973770" y="3516916"/>
                  <a:pt x="3974374" y="3510970"/>
                  <a:pt x="3974374" y="3506927"/>
                </a:cubicBezTo>
                <a:cubicBezTo>
                  <a:pt x="3967117" y="3504311"/>
                  <a:pt x="3958046" y="3501694"/>
                  <a:pt x="3961070" y="3486235"/>
                </a:cubicBezTo>
                <a:cubicBezTo>
                  <a:pt x="3946556" y="3485046"/>
                  <a:pt x="3948369" y="3504311"/>
                  <a:pt x="3927203" y="3496701"/>
                </a:cubicBezTo>
                <a:cubicBezTo>
                  <a:pt x="3914503" y="3501457"/>
                  <a:pt x="3938694" y="3505976"/>
                  <a:pt x="3932646" y="3521197"/>
                </a:cubicBezTo>
                <a:cubicBezTo>
                  <a:pt x="3914503" y="3501933"/>
                  <a:pt x="3910271" y="3499079"/>
                  <a:pt x="3894548" y="3473868"/>
                </a:cubicBezTo>
                <a:cubicBezTo>
                  <a:pt x="3906643" y="3475057"/>
                  <a:pt x="3911481" y="3471727"/>
                  <a:pt x="3914503" y="3461976"/>
                </a:cubicBezTo>
                <a:cubicBezTo>
                  <a:pt x="3915109" y="3452225"/>
                  <a:pt x="3910271" y="3451750"/>
                  <a:pt x="3907852" y="3445566"/>
                </a:cubicBezTo>
                <a:cubicBezTo>
                  <a:pt x="3887897" y="3463641"/>
                  <a:pt x="3889104" y="3440334"/>
                  <a:pt x="3867335" y="3450322"/>
                </a:cubicBezTo>
                <a:cubicBezTo>
                  <a:pt x="3880033" y="3439382"/>
                  <a:pt x="3878825" y="3415362"/>
                  <a:pt x="3852216" y="3420831"/>
                </a:cubicBezTo>
                <a:cubicBezTo>
                  <a:pt x="3838306" y="3411793"/>
                  <a:pt x="3875801" y="3417264"/>
                  <a:pt x="3885477" y="3416312"/>
                </a:cubicBezTo>
                <a:cubicBezTo>
                  <a:pt x="3860682" y="3394194"/>
                  <a:pt x="3838910" y="3400140"/>
                  <a:pt x="3810488" y="3397761"/>
                </a:cubicBezTo>
                <a:cubicBezTo>
                  <a:pt x="3811093" y="3379924"/>
                  <a:pt x="3799602" y="3371124"/>
                  <a:pt x="3818955" y="3368746"/>
                </a:cubicBezTo>
                <a:cubicBezTo>
                  <a:pt x="3792951" y="3360660"/>
                  <a:pt x="3770575" y="3370411"/>
                  <a:pt x="3763924" y="3403470"/>
                </a:cubicBezTo>
                <a:cubicBezTo>
                  <a:pt x="3750015" y="3402280"/>
                  <a:pt x="3727034" y="3374454"/>
                  <a:pt x="3720986" y="3397761"/>
                </a:cubicBezTo>
                <a:cubicBezTo>
                  <a:pt x="3712520" y="3418929"/>
                  <a:pt x="3735499" y="3401329"/>
                  <a:pt x="3734895" y="3415123"/>
                </a:cubicBezTo>
                <a:cubicBezTo>
                  <a:pt x="3719173" y="3437717"/>
                  <a:pt x="3714939" y="3381589"/>
                  <a:pt x="3696192" y="3373978"/>
                </a:cubicBezTo>
                <a:cubicBezTo>
                  <a:pt x="3691353" y="3373740"/>
                  <a:pt x="3680468" y="3392529"/>
                  <a:pt x="3692563" y="3391577"/>
                </a:cubicBezTo>
                <a:cubicBezTo>
                  <a:pt x="3684701" y="3402756"/>
                  <a:pt x="3672001" y="3378022"/>
                  <a:pt x="3686516" y="3369459"/>
                </a:cubicBezTo>
                <a:cubicBezTo>
                  <a:pt x="3678050" y="3350909"/>
                  <a:pt x="3652046" y="3388249"/>
                  <a:pt x="3659302" y="3345200"/>
                </a:cubicBezTo>
                <a:cubicBezTo>
                  <a:pt x="3646604" y="3354000"/>
                  <a:pt x="3647812" y="3373978"/>
                  <a:pt x="3645393" y="3381589"/>
                </a:cubicBezTo>
                <a:cubicBezTo>
                  <a:pt x="3633299" y="3380637"/>
                  <a:pt x="3602457" y="3372075"/>
                  <a:pt x="3587943" y="3368746"/>
                </a:cubicBezTo>
                <a:cubicBezTo>
                  <a:pt x="3590967" y="3363038"/>
                  <a:pt x="3593990" y="3363038"/>
                  <a:pt x="3596409" y="3361373"/>
                </a:cubicBezTo>
                <a:cubicBezTo>
                  <a:pt x="3586734" y="3360421"/>
                  <a:pt x="3584919" y="3344487"/>
                  <a:pt x="3578268" y="3339968"/>
                </a:cubicBezTo>
                <a:cubicBezTo>
                  <a:pt x="3587943" y="3330930"/>
                  <a:pt x="3600037" y="3338066"/>
                  <a:pt x="3621204" y="3339968"/>
                </a:cubicBezTo>
                <a:cubicBezTo>
                  <a:pt x="3621204" y="3344011"/>
                  <a:pt x="3618785" y="3347103"/>
                  <a:pt x="3618179" y="3349005"/>
                </a:cubicBezTo>
                <a:cubicBezTo>
                  <a:pt x="3629066" y="3332119"/>
                  <a:pt x="3635113" y="3350670"/>
                  <a:pt x="3634508" y="3356617"/>
                </a:cubicBezTo>
                <a:cubicBezTo>
                  <a:pt x="3649021" y="3359945"/>
                  <a:pt x="3647208" y="3345914"/>
                  <a:pt x="3650231" y="3334260"/>
                </a:cubicBezTo>
                <a:cubicBezTo>
                  <a:pt x="3568591" y="3331169"/>
                  <a:pt x="3447642" y="3267429"/>
                  <a:pt x="3357536" y="3287407"/>
                </a:cubicBezTo>
                <a:cubicBezTo>
                  <a:pt x="3369027" y="3246737"/>
                  <a:pt x="3283152" y="3241505"/>
                  <a:pt x="3272266" y="3264337"/>
                </a:cubicBezTo>
                <a:cubicBezTo>
                  <a:pt x="3265615" y="3257677"/>
                  <a:pt x="3266220" y="3243883"/>
                  <a:pt x="3256544" y="3241029"/>
                </a:cubicBezTo>
                <a:cubicBezTo>
                  <a:pt x="3245658" y="3264099"/>
                  <a:pt x="3240820" y="3231753"/>
                  <a:pt x="3225702" y="3246261"/>
                </a:cubicBezTo>
                <a:cubicBezTo>
                  <a:pt x="3206955" y="3236748"/>
                  <a:pt x="3244449" y="3247689"/>
                  <a:pt x="3233564" y="3228899"/>
                </a:cubicBezTo>
                <a:cubicBezTo>
                  <a:pt x="3220864" y="3197982"/>
                  <a:pt x="3213607" y="3249115"/>
                  <a:pt x="3197883" y="3227949"/>
                </a:cubicBezTo>
                <a:cubicBezTo>
                  <a:pt x="3198488" y="3222002"/>
                  <a:pt x="3205139" y="3224856"/>
                  <a:pt x="3205745" y="3217009"/>
                </a:cubicBezTo>
                <a:cubicBezTo>
                  <a:pt x="3191835" y="3201786"/>
                  <a:pt x="3153737" y="3196554"/>
                  <a:pt x="3154342" y="3228424"/>
                </a:cubicBezTo>
                <a:cubicBezTo>
                  <a:pt x="3142246" y="3193700"/>
                  <a:pt x="3148294" y="3172058"/>
                  <a:pt x="3122290" y="3157788"/>
                </a:cubicBezTo>
                <a:cubicBezTo>
                  <a:pt x="3105962" y="3154458"/>
                  <a:pt x="3112010" y="3175388"/>
                  <a:pt x="3097495" y="3170154"/>
                </a:cubicBezTo>
                <a:cubicBezTo>
                  <a:pt x="3091448" y="3151604"/>
                  <a:pt x="3067864" y="3147799"/>
                  <a:pt x="3055768" y="3152555"/>
                </a:cubicBezTo>
                <a:cubicBezTo>
                  <a:pt x="3049721" y="3092621"/>
                  <a:pt x="2989851" y="3130675"/>
                  <a:pt x="2972314" y="3105227"/>
                </a:cubicBezTo>
                <a:cubicBezTo>
                  <a:pt x="2942076" y="3126631"/>
                  <a:pt x="2858623" y="3108081"/>
                  <a:pt x="2847738" y="3089291"/>
                </a:cubicBezTo>
                <a:cubicBezTo>
                  <a:pt x="2856203" y="3070027"/>
                  <a:pt x="2865274" y="3082394"/>
                  <a:pt x="2871322" y="3094999"/>
                </a:cubicBezTo>
                <a:cubicBezTo>
                  <a:pt x="2884022" y="3088102"/>
                  <a:pt x="2863460" y="3068838"/>
                  <a:pt x="2885231" y="3070740"/>
                </a:cubicBezTo>
                <a:cubicBezTo>
                  <a:pt x="2879789" y="3080254"/>
                  <a:pt x="2879183" y="3091669"/>
                  <a:pt x="2885836" y="3100232"/>
                </a:cubicBezTo>
                <a:cubicBezTo>
                  <a:pt x="2891279" y="3082870"/>
                  <a:pt x="2911841" y="3098567"/>
                  <a:pt x="2928772" y="3100232"/>
                </a:cubicBezTo>
                <a:cubicBezTo>
                  <a:pt x="2931191" y="3098329"/>
                  <a:pt x="2936634" y="3094524"/>
                  <a:pt x="2936634" y="3088578"/>
                </a:cubicBezTo>
                <a:cubicBezTo>
                  <a:pt x="2931797" y="3056470"/>
                  <a:pt x="2880393" y="3060276"/>
                  <a:pt x="2870717" y="3071216"/>
                </a:cubicBezTo>
                <a:cubicBezTo>
                  <a:pt x="2863460" y="3066697"/>
                  <a:pt x="2842899" y="3048860"/>
                  <a:pt x="2835037" y="3065984"/>
                </a:cubicBezTo>
                <a:cubicBezTo>
                  <a:pt x="2816894" y="3050525"/>
                  <a:pt x="2852575" y="3053855"/>
                  <a:pt x="2861647" y="3054568"/>
                </a:cubicBezTo>
                <a:lnTo>
                  <a:pt x="2863460" y="3030546"/>
                </a:lnTo>
                <a:cubicBezTo>
                  <a:pt x="2848947" y="3029357"/>
                  <a:pt x="2852575" y="3049812"/>
                  <a:pt x="2838060" y="3048622"/>
                </a:cubicBezTo>
                <a:cubicBezTo>
                  <a:pt x="2859227" y="3020558"/>
                  <a:pt x="2827175" y="3025553"/>
                  <a:pt x="2805404" y="3029596"/>
                </a:cubicBezTo>
                <a:cubicBezTo>
                  <a:pt x="2806615" y="3005813"/>
                  <a:pt x="2841690" y="3025314"/>
                  <a:pt x="2856808" y="3018655"/>
                </a:cubicBezTo>
                <a:cubicBezTo>
                  <a:pt x="2850761" y="3000342"/>
                  <a:pt x="2852575" y="3004385"/>
                  <a:pt x="2844108" y="2989877"/>
                </a:cubicBezTo>
                <a:cubicBezTo>
                  <a:pt x="2847132" y="3021747"/>
                  <a:pt x="2758840" y="3009617"/>
                  <a:pt x="2743116" y="2988450"/>
                </a:cubicBezTo>
                <a:cubicBezTo>
                  <a:pt x="2708646" y="3011282"/>
                  <a:pt x="2647567" y="2980839"/>
                  <a:pt x="2622168" y="3002483"/>
                </a:cubicBezTo>
                <a:cubicBezTo>
                  <a:pt x="2628819" y="3016990"/>
                  <a:pt x="2638496" y="3011282"/>
                  <a:pt x="2650591" y="3006526"/>
                </a:cubicBezTo>
                <a:cubicBezTo>
                  <a:pt x="2654824" y="3024601"/>
                  <a:pt x="2637891" y="3017228"/>
                  <a:pt x="2630634" y="3018655"/>
                </a:cubicBezTo>
                <a:cubicBezTo>
                  <a:pt x="2627006" y="3036254"/>
                  <a:pt x="2637286" y="3037206"/>
                  <a:pt x="2643938" y="3041725"/>
                </a:cubicBezTo>
                <a:cubicBezTo>
                  <a:pt x="2649985" y="3020558"/>
                  <a:pt x="2665710" y="3045768"/>
                  <a:pt x="2664499" y="3023888"/>
                </a:cubicBezTo>
                <a:cubicBezTo>
                  <a:pt x="2671151" y="3028407"/>
                  <a:pt x="2673571" y="3036254"/>
                  <a:pt x="2672361" y="3048147"/>
                </a:cubicBezTo>
                <a:lnTo>
                  <a:pt x="2648171" y="3048147"/>
                </a:lnTo>
                <a:cubicBezTo>
                  <a:pt x="2649985" y="3064082"/>
                  <a:pt x="2677200" y="3050762"/>
                  <a:pt x="2673571" y="3070265"/>
                </a:cubicBezTo>
                <a:cubicBezTo>
                  <a:pt x="2621563" y="3057898"/>
                  <a:pt x="2631239" y="3050525"/>
                  <a:pt x="2568346" y="3059087"/>
                </a:cubicBezTo>
                <a:cubicBezTo>
                  <a:pt x="2574393" y="3043628"/>
                  <a:pt x="2585882" y="3045055"/>
                  <a:pt x="2578022" y="3024364"/>
                </a:cubicBezTo>
                <a:cubicBezTo>
                  <a:pt x="2594954" y="3016039"/>
                  <a:pt x="2599188" y="3028168"/>
                  <a:pt x="2612492" y="3013423"/>
                </a:cubicBezTo>
                <a:cubicBezTo>
                  <a:pt x="2606444" y="2993207"/>
                  <a:pt x="2605839" y="2993207"/>
                  <a:pt x="2601607" y="2978937"/>
                </a:cubicBezTo>
                <a:cubicBezTo>
                  <a:pt x="2597373" y="2978461"/>
                  <a:pt x="2599188" y="2984407"/>
                  <a:pt x="2601607" y="2984645"/>
                </a:cubicBezTo>
                <a:cubicBezTo>
                  <a:pt x="2591326" y="3005574"/>
                  <a:pt x="2561693" y="2967284"/>
                  <a:pt x="2559879" y="2995110"/>
                </a:cubicBezTo>
                <a:cubicBezTo>
                  <a:pt x="2553227" y="2982504"/>
                  <a:pt x="2551413" y="2984645"/>
                  <a:pt x="2536899" y="2989402"/>
                </a:cubicBezTo>
                <a:cubicBezTo>
                  <a:pt x="2545365" y="2970138"/>
                  <a:pt x="2513918" y="2969186"/>
                  <a:pt x="2535690" y="2967284"/>
                </a:cubicBezTo>
                <a:cubicBezTo>
                  <a:pt x="2516338" y="2963478"/>
                  <a:pt x="2475215" y="2972040"/>
                  <a:pt x="2441955" y="2967284"/>
                </a:cubicBezTo>
                <a:cubicBezTo>
                  <a:pt x="2503637" y="2934700"/>
                  <a:pt x="2342777" y="2930895"/>
                  <a:pt x="2313144" y="2948257"/>
                </a:cubicBezTo>
                <a:cubicBezTo>
                  <a:pt x="2288349" y="2926137"/>
                  <a:pt x="2215176" y="2939456"/>
                  <a:pt x="2181915" y="2936365"/>
                </a:cubicBezTo>
                <a:cubicBezTo>
                  <a:pt x="2177681" y="2920192"/>
                  <a:pt x="2161354" y="2919003"/>
                  <a:pt x="2149863" y="2914008"/>
                </a:cubicBezTo>
                <a:cubicBezTo>
                  <a:pt x="2134744" y="2920668"/>
                  <a:pt x="2172239" y="2928279"/>
                  <a:pt x="2152282" y="2942549"/>
                </a:cubicBezTo>
                <a:cubicBezTo>
                  <a:pt x="2148048" y="2932084"/>
                  <a:pt x="2144421" y="2919716"/>
                  <a:pt x="2125068" y="2926137"/>
                </a:cubicBezTo>
                <a:cubicBezTo>
                  <a:pt x="2127487" y="2920431"/>
                  <a:pt x="2129907" y="2916862"/>
                  <a:pt x="2130512" y="2909015"/>
                </a:cubicBezTo>
                <a:cubicBezTo>
                  <a:pt x="2115392" y="2921381"/>
                  <a:pt x="2086969" y="2918766"/>
                  <a:pt x="2078504" y="2896170"/>
                </a:cubicBezTo>
                <a:cubicBezTo>
                  <a:pt x="2029519" y="2913771"/>
                  <a:pt x="1982954" y="2885944"/>
                  <a:pt x="1941832" y="2890464"/>
                </a:cubicBezTo>
                <a:cubicBezTo>
                  <a:pt x="1947274" y="2873101"/>
                  <a:pt x="1917037" y="2862399"/>
                  <a:pt x="1917641" y="2896170"/>
                </a:cubicBezTo>
                <a:cubicBezTo>
                  <a:pt x="1908570" y="2883567"/>
                  <a:pt x="1901314" y="2887134"/>
                  <a:pt x="1907361" y="2867868"/>
                </a:cubicBezTo>
                <a:cubicBezTo>
                  <a:pt x="1878333" y="2871198"/>
                  <a:pt x="1862005" y="2858117"/>
                  <a:pt x="1832977" y="2861447"/>
                </a:cubicBezTo>
                <a:cubicBezTo>
                  <a:pt x="1834187" y="2877620"/>
                  <a:pt x="1865029" y="2888084"/>
                  <a:pt x="1875914" y="2873101"/>
                </a:cubicBezTo>
                <a:cubicBezTo>
                  <a:pt x="1889218" y="2891890"/>
                  <a:pt x="1841444" y="2879998"/>
                  <a:pt x="1838421" y="2895696"/>
                </a:cubicBezTo>
                <a:lnTo>
                  <a:pt x="1836606" y="2879285"/>
                </a:lnTo>
                <a:cubicBezTo>
                  <a:pt x="1817254" y="2887371"/>
                  <a:pt x="1805765" y="2875004"/>
                  <a:pt x="1776132" y="2890464"/>
                </a:cubicBezTo>
                <a:cubicBezTo>
                  <a:pt x="1736824" y="2863351"/>
                  <a:pt x="1712030" y="2837427"/>
                  <a:pt x="1666673" y="2867394"/>
                </a:cubicBezTo>
                <a:cubicBezTo>
                  <a:pt x="1666068" y="2881187"/>
                  <a:pt x="1675745" y="2885469"/>
                  <a:pt x="1677558" y="2895696"/>
                </a:cubicBezTo>
                <a:cubicBezTo>
                  <a:pt x="1692073" y="2889036"/>
                  <a:pt x="1675745" y="2873339"/>
                  <a:pt x="1699934" y="2873576"/>
                </a:cubicBezTo>
                <a:cubicBezTo>
                  <a:pt x="1679372" y="2897598"/>
                  <a:pt x="1733195" y="2923759"/>
                  <a:pt x="1727752" y="2889749"/>
                </a:cubicBezTo>
                <a:cubicBezTo>
                  <a:pt x="1745290" y="2922809"/>
                  <a:pt x="1786413" y="2916862"/>
                  <a:pt x="1813625" y="2901404"/>
                </a:cubicBezTo>
                <a:cubicBezTo>
                  <a:pt x="1815440" y="2913295"/>
                  <a:pt x="1810602" y="2916862"/>
                  <a:pt x="1807579" y="2924474"/>
                </a:cubicBezTo>
                <a:cubicBezTo>
                  <a:pt x="1811811" y="2938743"/>
                  <a:pt x="1846886" y="2906160"/>
                  <a:pt x="1842653" y="2943501"/>
                </a:cubicBezTo>
                <a:cubicBezTo>
                  <a:pt x="1849911" y="2940171"/>
                  <a:pt x="1852934" y="2930181"/>
                  <a:pt x="1865029" y="2931370"/>
                </a:cubicBezTo>
                <a:cubicBezTo>
                  <a:pt x="1862005" y="2937078"/>
                  <a:pt x="1857167" y="2940884"/>
                  <a:pt x="1852329" y="2942549"/>
                </a:cubicBezTo>
                <a:cubicBezTo>
                  <a:pt x="1860796" y="2961100"/>
                  <a:pt x="1871681" y="2948018"/>
                  <a:pt x="1895266" y="2953965"/>
                </a:cubicBezTo>
                <a:cubicBezTo>
                  <a:pt x="1887405" y="2963240"/>
                  <a:pt x="1874705" y="2966094"/>
                  <a:pt x="1869263" y="2977510"/>
                </a:cubicBezTo>
                <a:cubicBezTo>
                  <a:pt x="1848702" y="2961813"/>
                  <a:pt x="1819673" y="2969662"/>
                  <a:pt x="1814835" y="2977035"/>
                </a:cubicBezTo>
                <a:cubicBezTo>
                  <a:pt x="1805159" y="2976320"/>
                  <a:pt x="1803345" y="2961813"/>
                  <a:pt x="1793669" y="2960862"/>
                </a:cubicBezTo>
                <a:cubicBezTo>
                  <a:pt x="1779155" y="2957769"/>
                  <a:pt x="1780365" y="2977748"/>
                  <a:pt x="1770689" y="2982743"/>
                </a:cubicBezTo>
                <a:cubicBezTo>
                  <a:pt x="1756780" y="2971803"/>
                  <a:pt x="1751942" y="2973229"/>
                  <a:pt x="1732591" y="2977510"/>
                </a:cubicBezTo>
                <a:cubicBezTo>
                  <a:pt x="1728962" y="2959435"/>
                  <a:pt x="1750128" y="2968948"/>
                  <a:pt x="1748314" y="2954916"/>
                </a:cubicBezTo>
                <a:cubicBezTo>
                  <a:pt x="1749523" y="2939219"/>
                  <a:pt x="1739847" y="2936841"/>
                  <a:pt x="1732591" y="2930181"/>
                </a:cubicBezTo>
                <a:cubicBezTo>
                  <a:pt x="1730171" y="2933987"/>
                  <a:pt x="1725333" y="2937078"/>
                  <a:pt x="1718076" y="2936365"/>
                </a:cubicBezTo>
                <a:cubicBezTo>
                  <a:pt x="1717472" y="2944451"/>
                  <a:pt x="1736219" y="2950159"/>
                  <a:pt x="1724124" y="2954916"/>
                </a:cubicBezTo>
                <a:cubicBezTo>
                  <a:pt x="1705982" y="2937554"/>
                  <a:pt x="1701749" y="2923283"/>
                  <a:pt x="1675745" y="2924949"/>
                </a:cubicBezTo>
                <a:cubicBezTo>
                  <a:pt x="1672721" y="2926852"/>
                  <a:pt x="1672721" y="2931133"/>
                  <a:pt x="1668487" y="2930656"/>
                </a:cubicBezTo>
                <a:cubicBezTo>
                  <a:pt x="1662440" y="2950159"/>
                  <a:pt x="1682397" y="2935652"/>
                  <a:pt x="1676349" y="2954916"/>
                </a:cubicBezTo>
                <a:cubicBezTo>
                  <a:pt x="1660020" y="2947544"/>
                  <a:pt x="1647321" y="2916862"/>
                  <a:pt x="1629179" y="2943025"/>
                </a:cubicBezTo>
                <a:cubicBezTo>
                  <a:pt x="1632808" y="2959197"/>
                  <a:pt x="1643693" y="2934463"/>
                  <a:pt x="1657602" y="2943501"/>
                </a:cubicBezTo>
                <a:cubicBezTo>
                  <a:pt x="1667882" y="2972277"/>
                  <a:pt x="1635831" y="2951587"/>
                  <a:pt x="1635226" y="2965380"/>
                </a:cubicBezTo>
                <a:cubicBezTo>
                  <a:pt x="1626760" y="2938982"/>
                  <a:pt x="1606198" y="2954916"/>
                  <a:pt x="1586848" y="2959197"/>
                </a:cubicBezTo>
                <a:cubicBezTo>
                  <a:pt x="1592894" y="2939695"/>
                  <a:pt x="1611037" y="2955867"/>
                  <a:pt x="1609828" y="2937792"/>
                </a:cubicBezTo>
                <a:cubicBezTo>
                  <a:pt x="1598338" y="2932798"/>
                  <a:pt x="1571124" y="2940408"/>
                  <a:pt x="1568705" y="2902354"/>
                </a:cubicBezTo>
                <a:cubicBezTo>
                  <a:pt x="1575963" y="2904971"/>
                  <a:pt x="1598338" y="2930895"/>
                  <a:pt x="1599547" y="2903068"/>
                </a:cubicBezTo>
                <a:cubicBezTo>
                  <a:pt x="1609223" y="2908063"/>
                  <a:pt x="1608618" y="2921620"/>
                  <a:pt x="1615270" y="2932084"/>
                </a:cubicBezTo>
                <a:cubicBezTo>
                  <a:pt x="1629784" y="2933273"/>
                  <a:pt x="1664859" y="2902831"/>
                  <a:pt x="1658206" y="2932084"/>
                </a:cubicBezTo>
                <a:cubicBezTo>
                  <a:pt x="1665464" y="2930656"/>
                  <a:pt x="1668487" y="2920905"/>
                  <a:pt x="1666673" y="2909015"/>
                </a:cubicBezTo>
                <a:cubicBezTo>
                  <a:pt x="1667278" y="2899024"/>
                  <a:pt x="1634017" y="2897835"/>
                  <a:pt x="1633412" y="2907587"/>
                </a:cubicBezTo>
                <a:cubicBezTo>
                  <a:pt x="1624341" y="2898787"/>
                  <a:pt x="1649135" y="2886895"/>
                  <a:pt x="1633412" y="2867868"/>
                </a:cubicBezTo>
                <a:cubicBezTo>
                  <a:pt x="1624946" y="2884993"/>
                  <a:pt x="1623736" y="2870961"/>
                  <a:pt x="1614665" y="2860258"/>
                </a:cubicBezTo>
                <a:cubicBezTo>
                  <a:pt x="1588057" y="2860021"/>
                  <a:pt x="1617084" y="2894744"/>
                  <a:pt x="1591080" y="2890464"/>
                </a:cubicBezTo>
                <a:cubicBezTo>
                  <a:pt x="1595918" y="2882852"/>
                  <a:pt x="1597127" y="2869296"/>
                  <a:pt x="1599547" y="2861447"/>
                </a:cubicBezTo>
                <a:lnTo>
                  <a:pt x="1578381" y="2861447"/>
                </a:lnTo>
                <a:cubicBezTo>
                  <a:pt x="1569310" y="2892603"/>
                  <a:pt x="1537259" y="2865966"/>
                  <a:pt x="1516092" y="2862161"/>
                </a:cubicBezTo>
                <a:cubicBezTo>
                  <a:pt x="1509440" y="2887371"/>
                  <a:pt x="1536654" y="2874052"/>
                  <a:pt x="1530001" y="2903068"/>
                </a:cubicBezTo>
                <a:cubicBezTo>
                  <a:pt x="1544515" y="2906398"/>
                  <a:pt x="1536049" y="2881663"/>
                  <a:pt x="1552377" y="2890938"/>
                </a:cubicBezTo>
                <a:cubicBezTo>
                  <a:pt x="1548749" y="2908539"/>
                  <a:pt x="1561448" y="2907350"/>
                  <a:pt x="1557820" y="2924949"/>
                </a:cubicBezTo>
                <a:cubicBezTo>
                  <a:pt x="1554795" y="2930656"/>
                  <a:pt x="1540886" y="2927327"/>
                  <a:pt x="1545119" y="2943501"/>
                </a:cubicBezTo>
                <a:cubicBezTo>
                  <a:pt x="1507021" y="2936365"/>
                  <a:pt x="1484041" y="2916862"/>
                  <a:pt x="1453804" y="2902354"/>
                </a:cubicBezTo>
                <a:cubicBezTo>
                  <a:pt x="1433847" y="2912582"/>
                  <a:pt x="1363697" y="2910204"/>
                  <a:pt x="1346763" y="2873101"/>
                </a:cubicBezTo>
                <a:cubicBezTo>
                  <a:pt x="1352812" y="2891414"/>
                  <a:pt x="1414496" y="2907111"/>
                  <a:pt x="1425986" y="2872387"/>
                </a:cubicBezTo>
                <a:cubicBezTo>
                  <a:pt x="1451990" y="2880712"/>
                  <a:pt x="1470131" y="2905685"/>
                  <a:pt x="1492507" y="2889749"/>
                </a:cubicBezTo>
                <a:cubicBezTo>
                  <a:pt x="1493717" y="2865966"/>
                  <a:pt x="1471945" y="2879998"/>
                  <a:pt x="1482832" y="2855026"/>
                </a:cubicBezTo>
                <a:cubicBezTo>
                  <a:pt x="1470736" y="2851935"/>
                  <a:pt x="1465899" y="2857404"/>
                  <a:pt x="1469527" y="2873576"/>
                </a:cubicBezTo>
                <a:lnTo>
                  <a:pt x="1445337" y="2873576"/>
                </a:lnTo>
                <a:cubicBezTo>
                  <a:pt x="1448361" y="2867868"/>
                  <a:pt x="1451385" y="2860496"/>
                  <a:pt x="1449570" y="2850270"/>
                </a:cubicBezTo>
                <a:cubicBezTo>
                  <a:pt x="1413891" y="2879048"/>
                  <a:pt x="1350998" y="2855977"/>
                  <a:pt x="1298385" y="2843609"/>
                </a:cubicBezTo>
                <a:cubicBezTo>
                  <a:pt x="1283870" y="2848367"/>
                  <a:pt x="1292337" y="2866679"/>
                  <a:pt x="1294151" y="2878809"/>
                </a:cubicBezTo>
                <a:cubicBezTo>
                  <a:pt x="1284476" y="2877858"/>
                  <a:pt x="1283870" y="2885944"/>
                  <a:pt x="1274194" y="2885230"/>
                </a:cubicBezTo>
                <a:cubicBezTo>
                  <a:pt x="1289918" y="2866679"/>
                  <a:pt x="1273590" y="2860971"/>
                  <a:pt x="1279033" y="2843609"/>
                </a:cubicBezTo>
                <a:cubicBezTo>
                  <a:pt x="1263309" y="2868107"/>
                  <a:pt x="1256657" y="2853837"/>
                  <a:pt x="1228235" y="2849318"/>
                </a:cubicBezTo>
                <a:cubicBezTo>
                  <a:pt x="1241539" y="2830529"/>
                  <a:pt x="1210092" y="2831956"/>
                  <a:pt x="1213721" y="2810551"/>
                </a:cubicBezTo>
                <a:cubicBezTo>
                  <a:pt x="1182275" y="2813881"/>
                  <a:pt x="1181670" y="2819589"/>
                  <a:pt x="1153246" y="2815307"/>
                </a:cubicBezTo>
                <a:cubicBezTo>
                  <a:pt x="1133894" y="2819589"/>
                  <a:pt x="1152642" y="2835047"/>
                  <a:pt x="1142361" y="2844085"/>
                </a:cubicBezTo>
                <a:cubicBezTo>
                  <a:pt x="1138127" y="2835762"/>
                  <a:pt x="1123614" y="2838140"/>
                  <a:pt x="1124218" y="2820540"/>
                </a:cubicBezTo>
                <a:cubicBezTo>
                  <a:pt x="1109101" y="2833145"/>
                  <a:pt x="1121195" y="2834097"/>
                  <a:pt x="1124823" y="2850270"/>
                </a:cubicBezTo>
                <a:cubicBezTo>
                  <a:pt x="1095796" y="2857880"/>
                  <a:pt x="1094586" y="2831719"/>
                  <a:pt x="1067978" y="2839329"/>
                </a:cubicBezTo>
                <a:cubicBezTo>
                  <a:pt x="1071002" y="2829815"/>
                  <a:pt x="1073420" y="2823870"/>
                  <a:pt x="1076444" y="2816259"/>
                </a:cubicBezTo>
                <a:cubicBezTo>
                  <a:pt x="1057093" y="2818637"/>
                  <a:pt x="1048021" y="2809599"/>
                  <a:pt x="1014760" y="2808649"/>
                </a:cubicBezTo>
                <a:cubicBezTo>
                  <a:pt x="1014156" y="2818637"/>
                  <a:pt x="1018389" y="2821729"/>
                  <a:pt x="1025646" y="2822205"/>
                </a:cubicBezTo>
                <a:cubicBezTo>
                  <a:pt x="1018389" y="2829578"/>
                  <a:pt x="1008108" y="2832194"/>
                  <a:pt x="996014" y="2833145"/>
                </a:cubicBezTo>
                <a:cubicBezTo>
                  <a:pt x="996618" y="2825297"/>
                  <a:pt x="997222" y="2823870"/>
                  <a:pt x="1002060" y="2822205"/>
                </a:cubicBezTo>
                <a:cubicBezTo>
                  <a:pt x="966985" y="2797470"/>
                  <a:pt x="879298" y="2773687"/>
                  <a:pt x="830313" y="2799135"/>
                </a:cubicBezTo>
                <a:cubicBezTo>
                  <a:pt x="817614" y="2760368"/>
                  <a:pt x="752907" y="2802465"/>
                  <a:pt x="755325" y="2768930"/>
                </a:cubicBezTo>
                <a:cubicBezTo>
                  <a:pt x="712994" y="2785103"/>
                  <a:pt x="671266" y="2756088"/>
                  <a:pt x="637400" y="2765124"/>
                </a:cubicBezTo>
                <a:cubicBezTo>
                  <a:pt x="656147" y="2734920"/>
                  <a:pt x="707550" y="2762985"/>
                  <a:pt x="741416" y="2757990"/>
                </a:cubicBezTo>
                <a:cubicBezTo>
                  <a:pt x="746254" y="2756562"/>
                  <a:pt x="751092" y="2752995"/>
                  <a:pt x="751696" y="2747050"/>
                </a:cubicBezTo>
                <a:cubicBezTo>
                  <a:pt x="732344" y="2739439"/>
                  <a:pt x="705736" y="2754660"/>
                  <a:pt x="679732" y="2746574"/>
                </a:cubicBezTo>
                <a:cubicBezTo>
                  <a:pt x="684570" y="2738963"/>
                  <a:pt x="685175" y="2725645"/>
                  <a:pt x="690617" y="2718272"/>
                </a:cubicBezTo>
                <a:cubicBezTo>
                  <a:pt x="671266" y="2718509"/>
                  <a:pt x="664009" y="2731114"/>
                  <a:pt x="651309" y="2740153"/>
                </a:cubicBezTo>
                <a:cubicBezTo>
                  <a:pt x="644052" y="2737536"/>
                  <a:pt x="654938" y="2710899"/>
                  <a:pt x="671266" y="2718272"/>
                </a:cubicBezTo>
                <a:cubicBezTo>
                  <a:pt x="643447" y="2701862"/>
                  <a:pt x="601721" y="2718272"/>
                  <a:pt x="575113" y="2723980"/>
                </a:cubicBezTo>
                <a:cubicBezTo>
                  <a:pt x="571483" y="2745385"/>
                  <a:pt x="593858" y="2733255"/>
                  <a:pt x="590231" y="2752758"/>
                </a:cubicBezTo>
                <a:cubicBezTo>
                  <a:pt x="577531" y="2769643"/>
                  <a:pt x="579345" y="2735872"/>
                  <a:pt x="567250" y="2734920"/>
                </a:cubicBezTo>
                <a:cubicBezTo>
                  <a:pt x="562412" y="2736346"/>
                  <a:pt x="561807" y="2746337"/>
                  <a:pt x="561203" y="2752282"/>
                </a:cubicBezTo>
                <a:cubicBezTo>
                  <a:pt x="541850" y="2718747"/>
                  <a:pt x="469886" y="2720650"/>
                  <a:pt x="472306" y="2677127"/>
                </a:cubicBezTo>
                <a:cubicBezTo>
                  <a:pt x="445697" y="2680694"/>
                  <a:pt x="423926" y="2673321"/>
                  <a:pt x="405179" y="2665711"/>
                </a:cubicBezTo>
                <a:cubicBezTo>
                  <a:pt x="400342" y="2671180"/>
                  <a:pt x="397317" y="2681170"/>
                  <a:pt x="391874" y="2688542"/>
                </a:cubicBezTo>
                <a:cubicBezTo>
                  <a:pt x="371313" y="2676888"/>
                  <a:pt x="356195" y="2693537"/>
                  <a:pt x="329586" y="2689257"/>
                </a:cubicBezTo>
                <a:cubicBezTo>
                  <a:pt x="339867" y="2678316"/>
                  <a:pt x="327772" y="2676651"/>
                  <a:pt x="325958" y="2666662"/>
                </a:cubicBezTo>
                <a:cubicBezTo>
                  <a:pt x="306606" y="2667137"/>
                  <a:pt x="319305" y="2696391"/>
                  <a:pt x="306606" y="2671419"/>
                </a:cubicBezTo>
                <a:cubicBezTo>
                  <a:pt x="292092" y="2678077"/>
                  <a:pt x="307815" y="2695202"/>
                  <a:pt x="283625" y="2694964"/>
                </a:cubicBezTo>
                <a:cubicBezTo>
                  <a:pt x="302372" y="2664997"/>
                  <a:pt x="260645" y="2687115"/>
                  <a:pt x="273950" y="2660478"/>
                </a:cubicBezTo>
                <a:cubicBezTo>
                  <a:pt x="258831" y="2673084"/>
                  <a:pt x="249760" y="2664522"/>
                  <a:pt x="241898" y="2677602"/>
                </a:cubicBezTo>
                <a:cubicBezTo>
                  <a:pt x="227385" y="2678316"/>
                  <a:pt x="214080" y="2656911"/>
                  <a:pt x="231013" y="2654533"/>
                </a:cubicBezTo>
                <a:cubicBezTo>
                  <a:pt x="217709" y="2629559"/>
                  <a:pt x="190496" y="2640976"/>
                  <a:pt x="171143" y="2649300"/>
                </a:cubicBezTo>
                <a:cubicBezTo>
                  <a:pt x="172957" y="2655484"/>
                  <a:pt x="180820" y="2654294"/>
                  <a:pt x="179609" y="2666186"/>
                </a:cubicBezTo>
                <a:cubicBezTo>
                  <a:pt x="153001" y="2669754"/>
                  <a:pt x="165096" y="2627181"/>
                  <a:pt x="141511" y="2625040"/>
                </a:cubicBezTo>
                <a:cubicBezTo>
                  <a:pt x="122159" y="2625517"/>
                  <a:pt x="71361" y="2666424"/>
                  <a:pt x="71361" y="2620998"/>
                </a:cubicBezTo>
                <a:cubicBezTo>
                  <a:pt x="78618" y="2627419"/>
                  <a:pt x="83455" y="2628133"/>
                  <a:pt x="91317" y="2620998"/>
                </a:cubicBezTo>
                <a:cubicBezTo>
                  <a:pt x="89503" y="2610772"/>
                  <a:pt x="70755" y="2601496"/>
                  <a:pt x="89503" y="2603160"/>
                </a:cubicBezTo>
                <a:cubicBezTo>
                  <a:pt x="85269" y="2594836"/>
                  <a:pt x="75594" y="2593885"/>
                  <a:pt x="66523" y="2591030"/>
                </a:cubicBezTo>
                <a:cubicBezTo>
                  <a:pt x="68337" y="2601020"/>
                  <a:pt x="52613" y="2619808"/>
                  <a:pt x="47171" y="2591506"/>
                </a:cubicBezTo>
                <a:cubicBezTo>
                  <a:pt x="77408" y="2568199"/>
                  <a:pt x="107646" y="2626229"/>
                  <a:pt x="131231" y="2590556"/>
                </a:cubicBezTo>
                <a:cubicBezTo>
                  <a:pt x="140301" y="2599117"/>
                  <a:pt x="142116" y="2613150"/>
                  <a:pt x="151187" y="2619808"/>
                </a:cubicBezTo>
                <a:cubicBezTo>
                  <a:pt x="159049" y="2618619"/>
                  <a:pt x="151791" y="2604350"/>
                  <a:pt x="154815" y="2596739"/>
                </a:cubicBezTo>
                <a:cubicBezTo>
                  <a:pt x="154815" y="2596739"/>
                  <a:pt x="225570" y="2616480"/>
                  <a:pt x="249155" y="2624566"/>
                </a:cubicBezTo>
                <a:cubicBezTo>
                  <a:pt x="256412" y="2623138"/>
                  <a:pt x="254598" y="2611009"/>
                  <a:pt x="255203" y="2603160"/>
                </a:cubicBezTo>
                <a:cubicBezTo>
                  <a:pt x="276974" y="2640738"/>
                  <a:pt x="359219" y="2633841"/>
                  <a:pt x="382803" y="2635981"/>
                </a:cubicBezTo>
                <a:cubicBezTo>
                  <a:pt x="411227" y="2652154"/>
                  <a:pt x="501333" y="2668089"/>
                  <a:pt x="538223" y="2653342"/>
                </a:cubicBezTo>
                <a:cubicBezTo>
                  <a:pt x="554550" y="2656911"/>
                  <a:pt x="558179" y="2684499"/>
                  <a:pt x="575716" y="2669991"/>
                </a:cubicBezTo>
                <a:cubicBezTo>
                  <a:pt x="579950" y="2678316"/>
                  <a:pt x="582368" y="2686878"/>
                  <a:pt x="581159" y="2700671"/>
                </a:cubicBezTo>
                <a:lnTo>
                  <a:pt x="595672" y="2699721"/>
                </a:lnTo>
                <a:cubicBezTo>
                  <a:pt x="600511" y="2698056"/>
                  <a:pt x="601116" y="2688542"/>
                  <a:pt x="596278" y="2688067"/>
                </a:cubicBezTo>
                <a:cubicBezTo>
                  <a:pt x="642238" y="2685926"/>
                  <a:pt x="703317" y="2704715"/>
                  <a:pt x="769234" y="2688542"/>
                </a:cubicBezTo>
                <a:cubicBezTo>
                  <a:pt x="744440" y="2658576"/>
                  <a:pt x="682151" y="2693299"/>
                  <a:pt x="676709" y="2631225"/>
                </a:cubicBezTo>
                <a:cubicBezTo>
                  <a:pt x="659775" y="2625992"/>
                  <a:pt x="668242" y="2648586"/>
                  <a:pt x="660381" y="2654057"/>
                </a:cubicBezTo>
                <a:cubicBezTo>
                  <a:pt x="653728" y="2647397"/>
                  <a:pt x="654938" y="2631700"/>
                  <a:pt x="648286" y="2625040"/>
                </a:cubicBezTo>
                <a:cubicBezTo>
                  <a:pt x="633167" y="2637646"/>
                  <a:pt x="635586" y="2631938"/>
                  <a:pt x="613815" y="2635981"/>
                </a:cubicBezTo>
                <a:cubicBezTo>
                  <a:pt x="599907" y="2628846"/>
                  <a:pt x="633167" y="2633841"/>
                  <a:pt x="633772" y="2624090"/>
                </a:cubicBezTo>
                <a:cubicBezTo>
                  <a:pt x="625305" y="2607442"/>
                  <a:pt x="599907" y="2630987"/>
                  <a:pt x="595672" y="2618858"/>
                </a:cubicBezTo>
                <a:cubicBezTo>
                  <a:pt x="594463" y="2594836"/>
                  <a:pt x="610792" y="2600306"/>
                  <a:pt x="589625" y="2590556"/>
                </a:cubicBezTo>
                <a:cubicBezTo>
                  <a:pt x="585997" y="2574144"/>
                  <a:pt x="615629" y="2606014"/>
                  <a:pt x="627724" y="2607203"/>
                </a:cubicBezTo>
                <a:cubicBezTo>
                  <a:pt x="631958" y="2571766"/>
                  <a:pt x="671266" y="2646446"/>
                  <a:pt x="708760" y="2618143"/>
                </a:cubicBezTo>
                <a:cubicBezTo>
                  <a:pt x="696665" y="2613150"/>
                  <a:pt x="685780" y="2596501"/>
                  <a:pt x="714203" y="2600781"/>
                </a:cubicBezTo>
                <a:cubicBezTo>
                  <a:pt x="699084" y="2567960"/>
                  <a:pt x="630143" y="2605777"/>
                  <a:pt x="638006" y="2548935"/>
                </a:cubicBezTo>
                <a:cubicBezTo>
                  <a:pt x="642843" y="2549173"/>
                  <a:pt x="645262" y="2547270"/>
                  <a:pt x="647681" y="2543702"/>
                </a:cubicBezTo>
                <a:cubicBezTo>
                  <a:pt x="646471" y="2567247"/>
                  <a:pt x="691827" y="2539658"/>
                  <a:pt x="690013" y="2567247"/>
                </a:cubicBezTo>
                <a:cubicBezTo>
                  <a:pt x="705131" y="2554642"/>
                  <a:pt x="718436" y="2573669"/>
                  <a:pt x="726903" y="2554642"/>
                </a:cubicBezTo>
                <a:cubicBezTo>
                  <a:pt x="740206" y="2571529"/>
                  <a:pt x="768629" y="2569625"/>
                  <a:pt x="784958" y="2582944"/>
                </a:cubicBezTo>
                <a:cubicBezTo>
                  <a:pt x="789795" y="2581280"/>
                  <a:pt x="783144" y="2577237"/>
                  <a:pt x="783748" y="2567247"/>
                </a:cubicBezTo>
                <a:cubicBezTo>
                  <a:pt x="807333" y="2569388"/>
                  <a:pt x="818219" y="2590080"/>
                  <a:pt x="821242" y="2618143"/>
                </a:cubicBezTo>
                <a:cubicBezTo>
                  <a:pt x="830918" y="2616954"/>
                  <a:pt x="831523" y="2608868"/>
                  <a:pt x="832128" y="2595073"/>
                </a:cubicBezTo>
                <a:cubicBezTo>
                  <a:pt x="839385" y="2597690"/>
                  <a:pt x="844222" y="2604111"/>
                  <a:pt x="850875" y="2606490"/>
                </a:cubicBezTo>
                <a:cubicBezTo>
                  <a:pt x="848456" y="2612198"/>
                  <a:pt x="840594" y="2611485"/>
                  <a:pt x="840594" y="2617430"/>
                </a:cubicBezTo>
                <a:cubicBezTo>
                  <a:pt x="847247" y="2627894"/>
                  <a:pt x="867808" y="2604111"/>
                  <a:pt x="877483" y="2600781"/>
                </a:cubicBezTo>
                <a:cubicBezTo>
                  <a:pt x="896835" y="2602446"/>
                  <a:pt x="885345" y="2639311"/>
                  <a:pt x="912559" y="2629798"/>
                </a:cubicBezTo>
                <a:cubicBezTo>
                  <a:pt x="899860" y="2598879"/>
                  <a:pt x="884740" y="2607679"/>
                  <a:pt x="898649" y="2577237"/>
                </a:cubicBezTo>
                <a:cubicBezTo>
                  <a:pt x="893811" y="2568912"/>
                  <a:pt x="889578" y="2564393"/>
                  <a:pt x="882322" y="2559874"/>
                </a:cubicBezTo>
                <a:cubicBezTo>
                  <a:pt x="870227" y="2566534"/>
                  <a:pt x="890788" y="2580329"/>
                  <a:pt x="878693" y="2589128"/>
                </a:cubicBezTo>
                <a:cubicBezTo>
                  <a:pt x="841803" y="2564156"/>
                  <a:pt x="793423" y="2522297"/>
                  <a:pt x="746254" y="2553929"/>
                </a:cubicBezTo>
                <a:cubicBezTo>
                  <a:pt x="748069" y="2522535"/>
                  <a:pt x="789795" y="2537756"/>
                  <a:pt x="794028" y="2508265"/>
                </a:cubicBezTo>
                <a:cubicBezTo>
                  <a:pt x="812775" y="2511832"/>
                  <a:pt x="810962" y="2513736"/>
                  <a:pt x="827290" y="2519205"/>
                </a:cubicBezTo>
                <a:cubicBezTo>
                  <a:pt x="832128" y="2517540"/>
                  <a:pt x="843013" y="2496612"/>
                  <a:pt x="825475" y="2503033"/>
                </a:cubicBezTo>
                <a:cubicBezTo>
                  <a:pt x="846038" y="2489001"/>
                  <a:pt x="849060" y="2515399"/>
                  <a:pt x="870227" y="2525151"/>
                </a:cubicBezTo>
                <a:cubicBezTo>
                  <a:pt x="881112" y="2502319"/>
                  <a:pt x="888974" y="2534426"/>
                  <a:pt x="911350" y="2520394"/>
                </a:cubicBezTo>
                <a:cubicBezTo>
                  <a:pt x="894416" y="2560826"/>
                  <a:pt x="853898" y="2515399"/>
                  <a:pt x="817009" y="2526102"/>
                </a:cubicBezTo>
                <a:cubicBezTo>
                  <a:pt x="877483" y="2561063"/>
                  <a:pt x="928886" y="2543940"/>
                  <a:pt x="987546" y="2566772"/>
                </a:cubicBezTo>
                <a:cubicBezTo>
                  <a:pt x="1000246" y="2553929"/>
                  <a:pt x="987546" y="2528956"/>
                  <a:pt x="977870" y="2526102"/>
                </a:cubicBezTo>
                <a:cubicBezTo>
                  <a:pt x="970614" y="2531572"/>
                  <a:pt x="967590" y="2545129"/>
                  <a:pt x="953076" y="2541799"/>
                </a:cubicBezTo>
                <a:cubicBezTo>
                  <a:pt x="953681" y="2532048"/>
                  <a:pt x="958519" y="2532524"/>
                  <a:pt x="963357" y="2530859"/>
                </a:cubicBezTo>
                <a:cubicBezTo>
                  <a:pt x="950052" y="2513973"/>
                  <a:pt x="921026" y="2557020"/>
                  <a:pt x="910744" y="2530383"/>
                </a:cubicBezTo>
                <a:cubicBezTo>
                  <a:pt x="916187" y="2517064"/>
                  <a:pt x="928886" y="2508028"/>
                  <a:pt x="940982" y="2503033"/>
                </a:cubicBezTo>
                <a:cubicBezTo>
                  <a:pt x="925258" y="2481865"/>
                  <a:pt x="886554" y="2483054"/>
                  <a:pt x="864783" y="2491141"/>
                </a:cubicBezTo>
                <a:cubicBezTo>
                  <a:pt x="845432" y="2447855"/>
                  <a:pt x="813381" y="2474492"/>
                  <a:pt x="790400" y="2496373"/>
                </a:cubicBezTo>
                <a:cubicBezTo>
                  <a:pt x="794633" y="2462839"/>
                  <a:pt x="825475" y="2459510"/>
                  <a:pt x="817009" y="2439056"/>
                </a:cubicBezTo>
                <a:cubicBezTo>
                  <a:pt x="830918" y="2450233"/>
                  <a:pt x="842408" y="2461174"/>
                  <a:pt x="859342" y="2466644"/>
                </a:cubicBezTo>
                <a:cubicBezTo>
                  <a:pt x="859946" y="2448807"/>
                  <a:pt x="881717" y="2452374"/>
                  <a:pt x="894416" y="2443575"/>
                </a:cubicBezTo>
                <a:cubicBezTo>
                  <a:pt x="887763" y="2429067"/>
                  <a:pt x="859946" y="2446666"/>
                  <a:pt x="856317" y="2432634"/>
                </a:cubicBezTo>
                <a:cubicBezTo>
                  <a:pt x="856317" y="2424548"/>
                  <a:pt x="868413" y="2431445"/>
                  <a:pt x="869017" y="2421694"/>
                </a:cubicBezTo>
                <a:cubicBezTo>
                  <a:pt x="867808" y="2403619"/>
                  <a:pt x="837571" y="2420981"/>
                  <a:pt x="841803" y="2397435"/>
                </a:cubicBezTo>
                <a:cubicBezTo>
                  <a:pt x="860551" y="2402904"/>
                  <a:pt x="885345" y="2426689"/>
                  <a:pt x="908325" y="2408851"/>
                </a:cubicBezTo>
                <a:cubicBezTo>
                  <a:pt x="905906" y="2398861"/>
                  <a:pt x="894416" y="2398148"/>
                  <a:pt x="897440" y="2380549"/>
                </a:cubicBezTo>
                <a:cubicBezTo>
                  <a:pt x="893207" y="2368182"/>
                  <a:pt x="876273" y="2376506"/>
                  <a:pt x="874459" y="2362474"/>
                </a:cubicBezTo>
                <a:cubicBezTo>
                  <a:pt x="869622" y="2370085"/>
                  <a:pt x="855107" y="2365090"/>
                  <a:pt x="859342" y="2381262"/>
                </a:cubicBezTo>
                <a:cubicBezTo>
                  <a:pt x="844222" y="2386020"/>
                  <a:pt x="845432" y="2371750"/>
                  <a:pt x="835757" y="2369133"/>
                </a:cubicBezTo>
                <a:cubicBezTo>
                  <a:pt x="860551" y="2353436"/>
                  <a:pt x="882926" y="2349632"/>
                  <a:pt x="910744" y="2363901"/>
                </a:cubicBezTo>
                <a:cubicBezTo>
                  <a:pt x="912559" y="2330366"/>
                  <a:pt x="878693" y="2339166"/>
                  <a:pt x="855107" y="2333220"/>
                </a:cubicBezTo>
                <a:cubicBezTo>
                  <a:pt x="873250" y="2303016"/>
                  <a:pt x="809752" y="2281848"/>
                  <a:pt x="812171" y="2321804"/>
                </a:cubicBezTo>
                <a:lnTo>
                  <a:pt x="788587" y="2321804"/>
                </a:lnTo>
                <a:cubicBezTo>
                  <a:pt x="794633" y="2292552"/>
                  <a:pt x="749883" y="2316572"/>
                  <a:pt x="735369" y="2311340"/>
                </a:cubicBezTo>
                <a:cubicBezTo>
                  <a:pt x="736579" y="2289696"/>
                  <a:pt x="765606" y="2301588"/>
                  <a:pt x="764397" y="2281611"/>
                </a:cubicBezTo>
                <a:cubicBezTo>
                  <a:pt x="765001" y="2269719"/>
                  <a:pt x="745045" y="2279946"/>
                  <a:pt x="740811" y="2269719"/>
                </a:cubicBezTo>
                <a:cubicBezTo>
                  <a:pt x="735974" y="2273286"/>
                  <a:pt x="732950" y="2283038"/>
                  <a:pt x="732344" y="2292789"/>
                </a:cubicBezTo>
                <a:cubicBezTo>
                  <a:pt x="689408" y="2285178"/>
                  <a:pt x="666428" y="2305156"/>
                  <a:pt x="628934" y="2293978"/>
                </a:cubicBezTo>
                <a:cubicBezTo>
                  <a:pt x="645866" y="2285416"/>
                  <a:pt x="642238" y="2275190"/>
                  <a:pt x="623491" y="2269719"/>
                </a:cubicBezTo>
                <a:cubicBezTo>
                  <a:pt x="633167" y="2260681"/>
                  <a:pt x="657961" y="2250454"/>
                  <a:pt x="667032" y="2259254"/>
                </a:cubicBezTo>
                <a:cubicBezTo>
                  <a:pt x="674895" y="2248076"/>
                  <a:pt x="671266" y="2224292"/>
                  <a:pt x="679127" y="2212876"/>
                </a:cubicBezTo>
                <a:cubicBezTo>
                  <a:pt x="673685" y="2188617"/>
                  <a:pt x="654938" y="2215017"/>
                  <a:pt x="646471" y="2194564"/>
                </a:cubicBezTo>
                <a:cubicBezTo>
                  <a:pt x="666428" y="2184337"/>
                  <a:pt x="726903" y="2179103"/>
                  <a:pt x="746859" y="2200747"/>
                </a:cubicBezTo>
                <a:cubicBezTo>
                  <a:pt x="761977" y="2198130"/>
                  <a:pt x="755930" y="2165785"/>
                  <a:pt x="780119" y="2171969"/>
                </a:cubicBezTo>
                <a:cubicBezTo>
                  <a:pt x="783748" y="2150327"/>
                  <a:pt x="761373" y="2162456"/>
                  <a:pt x="764397" y="2142953"/>
                </a:cubicBezTo>
                <a:cubicBezTo>
                  <a:pt x="777701" y="2126305"/>
                  <a:pt x="815800" y="2176726"/>
                  <a:pt x="817614" y="2137245"/>
                </a:cubicBezTo>
                <a:cubicBezTo>
                  <a:pt x="832128" y="2142478"/>
                  <a:pt x="821847" y="2149851"/>
                  <a:pt x="817009" y="2159363"/>
                </a:cubicBezTo>
                <a:cubicBezTo>
                  <a:pt x="839385" y="2183148"/>
                  <a:pt x="898046" y="2170066"/>
                  <a:pt x="925863" y="2182196"/>
                </a:cubicBezTo>
                <a:cubicBezTo>
                  <a:pt x="937957" y="2181245"/>
                  <a:pt x="929491" y="2156985"/>
                  <a:pt x="922235" y="2160315"/>
                </a:cubicBezTo>
                <a:cubicBezTo>
                  <a:pt x="932516" y="2145569"/>
                  <a:pt x="956705" y="2145569"/>
                  <a:pt x="958519" y="2119884"/>
                </a:cubicBezTo>
                <a:cubicBezTo>
                  <a:pt x="967590" y="2120597"/>
                  <a:pt x="959124" y="2143667"/>
                  <a:pt x="973638" y="2142953"/>
                </a:cubicBezTo>
                <a:cubicBezTo>
                  <a:pt x="979685" y="2125592"/>
                  <a:pt x="994199" y="2073031"/>
                  <a:pt x="1029274" y="2089917"/>
                </a:cubicBezTo>
                <a:cubicBezTo>
                  <a:pt x="1040764" y="2063042"/>
                  <a:pt x="1028064" y="2113937"/>
                  <a:pt x="1006899" y="2102046"/>
                </a:cubicBezTo>
                <a:lnTo>
                  <a:pt x="1006294" y="2118219"/>
                </a:lnTo>
                <a:cubicBezTo>
                  <a:pt x="1017179" y="2135106"/>
                  <a:pt x="1055883" y="2134154"/>
                  <a:pt x="1069187" y="2119408"/>
                </a:cubicBezTo>
                <a:cubicBezTo>
                  <a:pt x="1083096" y="2126542"/>
                  <a:pt x="1065559" y="2134867"/>
                  <a:pt x="1081887" y="2136295"/>
                </a:cubicBezTo>
                <a:cubicBezTo>
                  <a:pt x="1081282" y="2150089"/>
                  <a:pt x="1069792" y="2148899"/>
                  <a:pt x="1062534" y="2142478"/>
                </a:cubicBezTo>
                <a:cubicBezTo>
                  <a:pt x="1063744" y="2170305"/>
                  <a:pt x="1076444" y="2147710"/>
                  <a:pt x="1095191" y="2153418"/>
                </a:cubicBezTo>
                <a:cubicBezTo>
                  <a:pt x="1102448" y="2151990"/>
                  <a:pt x="1101238" y="2140099"/>
                  <a:pt x="1101843" y="2130348"/>
                </a:cubicBezTo>
                <a:cubicBezTo>
                  <a:pt x="1099424" y="2122262"/>
                  <a:pt x="1090353" y="2125116"/>
                  <a:pt x="1083096" y="2124640"/>
                </a:cubicBezTo>
                <a:cubicBezTo>
                  <a:pt x="1092167" y="2093484"/>
                  <a:pt x="1118172" y="2141289"/>
                  <a:pt x="1105472" y="2154132"/>
                </a:cubicBezTo>
                <a:cubicBezTo>
                  <a:pt x="1135708" y="2127019"/>
                  <a:pt x="1148408" y="2149851"/>
                  <a:pt x="1180460" y="2140575"/>
                </a:cubicBezTo>
                <a:cubicBezTo>
                  <a:pt x="1188926" y="2163169"/>
                  <a:pt x="1174412" y="2161980"/>
                  <a:pt x="1165946" y="2183148"/>
                </a:cubicBezTo>
                <a:cubicBezTo>
                  <a:pt x="1135104" y="2176488"/>
                  <a:pt x="1128452" y="2168164"/>
                  <a:pt x="1106682" y="2170305"/>
                </a:cubicBezTo>
                <a:cubicBezTo>
                  <a:pt x="1108496" y="2176488"/>
                  <a:pt x="1110914" y="2184574"/>
                  <a:pt x="1110310" y="2194564"/>
                </a:cubicBezTo>
                <a:cubicBezTo>
                  <a:pt x="1093377" y="2193136"/>
                  <a:pt x="1108496" y="2180294"/>
                  <a:pt x="1097004" y="2171256"/>
                </a:cubicBezTo>
                <a:cubicBezTo>
                  <a:pt x="1084911" y="2172206"/>
                  <a:pt x="1081887" y="2181959"/>
                  <a:pt x="1073420" y="2171256"/>
                </a:cubicBezTo>
                <a:cubicBezTo>
                  <a:pt x="1060116" y="2186239"/>
                  <a:pt x="1047416" y="2202888"/>
                  <a:pt x="1038950" y="2223817"/>
                </a:cubicBezTo>
                <a:cubicBezTo>
                  <a:pt x="1048021" y="2232617"/>
                  <a:pt x="1064953" y="2232141"/>
                  <a:pt x="1058302" y="2257351"/>
                </a:cubicBezTo>
                <a:cubicBezTo>
                  <a:pt x="1138127" y="2210735"/>
                  <a:pt x="1169575" y="2366279"/>
                  <a:pt x="1253030" y="2298021"/>
                </a:cubicBezTo>
                <a:cubicBezTo>
                  <a:pt x="1254239" y="2323945"/>
                  <a:pt x="1223397" y="2309199"/>
                  <a:pt x="1213116" y="2322280"/>
                </a:cubicBezTo>
                <a:cubicBezTo>
                  <a:pt x="1214326" y="2340118"/>
                  <a:pt x="1239120" y="2332031"/>
                  <a:pt x="1251214" y="2333220"/>
                </a:cubicBezTo>
                <a:cubicBezTo>
                  <a:pt x="1237305" y="2361760"/>
                  <a:pt x="1264520" y="2352486"/>
                  <a:pt x="1276009" y="2363425"/>
                </a:cubicBezTo>
                <a:cubicBezTo>
                  <a:pt x="1270566" y="2368896"/>
                  <a:pt x="1274194" y="2382927"/>
                  <a:pt x="1262704" y="2380073"/>
                </a:cubicBezTo>
                <a:cubicBezTo>
                  <a:pt x="1273590" y="2392916"/>
                  <a:pt x="1289918" y="2403856"/>
                  <a:pt x="1285685" y="2437153"/>
                </a:cubicBezTo>
                <a:cubicBezTo>
                  <a:pt x="1271171" y="2441910"/>
                  <a:pt x="1279638" y="2417412"/>
                  <a:pt x="1262704" y="2425737"/>
                </a:cubicBezTo>
                <a:cubicBezTo>
                  <a:pt x="1280847" y="2435250"/>
                  <a:pt x="1274194" y="2472114"/>
                  <a:pt x="1303223" y="2466644"/>
                </a:cubicBezTo>
                <a:cubicBezTo>
                  <a:pt x="1295967" y="2471877"/>
                  <a:pt x="1258471" y="2492568"/>
                  <a:pt x="1237910" y="2478774"/>
                </a:cubicBezTo>
                <a:cubicBezTo>
                  <a:pt x="1227630" y="2482104"/>
                  <a:pt x="1236096" y="2508741"/>
                  <a:pt x="1219768" y="2501605"/>
                </a:cubicBezTo>
                <a:cubicBezTo>
                  <a:pt x="1232468" y="2530383"/>
                  <a:pt x="1258471" y="2494947"/>
                  <a:pt x="1280243" y="2496849"/>
                </a:cubicBezTo>
                <a:cubicBezTo>
                  <a:pt x="1279638" y="2502796"/>
                  <a:pt x="1274800" y="2499941"/>
                  <a:pt x="1269962" y="2501605"/>
                </a:cubicBezTo>
                <a:cubicBezTo>
                  <a:pt x="1272380" y="2507552"/>
                  <a:pt x="1277219" y="2506600"/>
                  <a:pt x="1279638" y="2506600"/>
                </a:cubicBezTo>
                <a:cubicBezTo>
                  <a:pt x="1279033" y="2518492"/>
                  <a:pt x="1264520" y="2511119"/>
                  <a:pt x="1266334" y="2525151"/>
                </a:cubicBezTo>
                <a:cubicBezTo>
                  <a:pt x="1270566" y="2539421"/>
                  <a:pt x="1292941" y="2527767"/>
                  <a:pt x="1295967" y="2519918"/>
                </a:cubicBezTo>
                <a:cubicBezTo>
                  <a:pt x="1302618" y="2524437"/>
                  <a:pt x="1301408" y="2542037"/>
                  <a:pt x="1318342" y="2535615"/>
                </a:cubicBezTo>
                <a:cubicBezTo>
                  <a:pt x="1315317" y="2549173"/>
                  <a:pt x="1303223" y="2551789"/>
                  <a:pt x="1299594" y="2565582"/>
                </a:cubicBezTo>
                <a:cubicBezTo>
                  <a:pt x="1292941" y="2560826"/>
                  <a:pt x="1291733" y="2553215"/>
                  <a:pt x="1289314" y="2543227"/>
                </a:cubicBezTo>
                <a:cubicBezTo>
                  <a:pt x="1256657" y="2570101"/>
                  <a:pt x="1168971" y="2546318"/>
                  <a:pt x="1142966" y="2572004"/>
                </a:cubicBezTo>
                <a:cubicBezTo>
                  <a:pt x="1145990" y="2566297"/>
                  <a:pt x="1153851" y="2565106"/>
                  <a:pt x="1152037" y="2555118"/>
                </a:cubicBezTo>
                <a:cubicBezTo>
                  <a:pt x="1137522" y="2549885"/>
                  <a:pt x="1143571" y="2570101"/>
                  <a:pt x="1133894" y="2571291"/>
                </a:cubicBezTo>
                <a:cubicBezTo>
                  <a:pt x="1118172" y="2550124"/>
                  <a:pt x="1089144" y="2553453"/>
                  <a:pt x="1066768" y="2565582"/>
                </a:cubicBezTo>
                <a:cubicBezTo>
                  <a:pt x="1088539" y="2523725"/>
                  <a:pt x="1025041" y="2542037"/>
                  <a:pt x="1024435" y="2508265"/>
                </a:cubicBezTo>
                <a:cubicBezTo>
                  <a:pt x="1008108" y="2504935"/>
                  <a:pt x="998432" y="2510167"/>
                  <a:pt x="1002060" y="2530383"/>
                </a:cubicBezTo>
                <a:cubicBezTo>
                  <a:pt x="1025041" y="2546318"/>
                  <a:pt x="1049230" y="2540610"/>
                  <a:pt x="1067978" y="2553929"/>
                </a:cubicBezTo>
                <a:cubicBezTo>
                  <a:pt x="1061325" y="2583182"/>
                  <a:pt x="1032298" y="2548459"/>
                  <a:pt x="1021412" y="2565582"/>
                </a:cubicBezTo>
                <a:cubicBezTo>
                  <a:pt x="1069792" y="2601496"/>
                  <a:pt x="1155666" y="2572956"/>
                  <a:pt x="1203440" y="2612911"/>
                </a:cubicBezTo>
                <a:cubicBezTo>
                  <a:pt x="1207673" y="2627181"/>
                  <a:pt x="1182275" y="2606966"/>
                  <a:pt x="1185902" y="2623138"/>
                </a:cubicBezTo>
                <a:cubicBezTo>
                  <a:pt x="1194974" y="2635981"/>
                  <a:pt x="1222186" y="2624327"/>
                  <a:pt x="1228235" y="2640738"/>
                </a:cubicBezTo>
                <a:cubicBezTo>
                  <a:pt x="1238515" y="2625755"/>
                  <a:pt x="1249400" y="2613150"/>
                  <a:pt x="1266334" y="2606490"/>
                </a:cubicBezTo>
                <a:cubicBezTo>
                  <a:pt x="1254239" y="2611485"/>
                  <a:pt x="1253634" y="2581755"/>
                  <a:pt x="1236701" y="2578188"/>
                </a:cubicBezTo>
                <a:cubicBezTo>
                  <a:pt x="1245167" y="2562967"/>
                  <a:pt x="1272985" y="2575096"/>
                  <a:pt x="1289918" y="2570577"/>
                </a:cubicBezTo>
                <a:cubicBezTo>
                  <a:pt x="1309875" y="2606014"/>
                  <a:pt x="1355231" y="2574144"/>
                  <a:pt x="1398771" y="2566058"/>
                </a:cubicBezTo>
                <a:cubicBezTo>
                  <a:pt x="1394539" y="2559637"/>
                  <a:pt x="1394539" y="2551789"/>
                  <a:pt x="1392725" y="2541799"/>
                </a:cubicBezTo>
                <a:cubicBezTo>
                  <a:pt x="1419333" y="2540134"/>
                  <a:pt x="1442919" y="2506837"/>
                  <a:pt x="1470131" y="2489238"/>
                </a:cubicBezTo>
                <a:cubicBezTo>
                  <a:pt x="1479807" y="2492092"/>
                  <a:pt x="1459246" y="2508028"/>
                  <a:pt x="1449570" y="2507313"/>
                </a:cubicBezTo>
                <a:cubicBezTo>
                  <a:pt x="1460455" y="2535854"/>
                  <a:pt x="1479203" y="2503509"/>
                  <a:pt x="1493717" y="2500655"/>
                </a:cubicBezTo>
                <a:cubicBezTo>
                  <a:pt x="1490693" y="2512308"/>
                  <a:pt x="1478598" y="2513260"/>
                  <a:pt x="1487670" y="2523962"/>
                </a:cubicBezTo>
                <a:cubicBezTo>
                  <a:pt x="1507021" y="2519681"/>
                  <a:pt x="1522139" y="2507552"/>
                  <a:pt x="1525769" y="2484006"/>
                </a:cubicBezTo>
                <a:cubicBezTo>
                  <a:pt x="1539678" y="2491141"/>
                  <a:pt x="1549353" y="2486147"/>
                  <a:pt x="1564472" y="2479487"/>
                </a:cubicBezTo>
                <a:cubicBezTo>
                  <a:pt x="1540282" y="2441671"/>
                  <a:pt x="1490088" y="2478774"/>
                  <a:pt x="1474365" y="2461412"/>
                </a:cubicBezTo>
                <a:cubicBezTo>
                  <a:pt x="1466504" y="2470688"/>
                  <a:pt x="1443523" y="2500655"/>
                  <a:pt x="1440499" y="2466644"/>
                </a:cubicBezTo>
                <a:cubicBezTo>
                  <a:pt x="1435661" y="2470212"/>
                  <a:pt x="1430219" y="2475920"/>
                  <a:pt x="1427195" y="2483530"/>
                </a:cubicBezTo>
                <a:cubicBezTo>
                  <a:pt x="1417519" y="2486623"/>
                  <a:pt x="1439290" y="2444288"/>
                  <a:pt x="1412077" y="2453802"/>
                </a:cubicBezTo>
                <a:cubicBezTo>
                  <a:pt x="1412681" y="2438104"/>
                  <a:pt x="1425381" y="2437153"/>
                  <a:pt x="1436871" y="2438342"/>
                </a:cubicBezTo>
                <a:cubicBezTo>
                  <a:pt x="1433243" y="2457845"/>
                  <a:pt x="1440499" y="2466406"/>
                  <a:pt x="1449570" y="2473066"/>
                </a:cubicBezTo>
                <a:cubicBezTo>
                  <a:pt x="1461666" y="2468309"/>
                  <a:pt x="1463480" y="2432634"/>
                  <a:pt x="1449570" y="2431445"/>
                </a:cubicBezTo>
                <a:cubicBezTo>
                  <a:pt x="1447756" y="2419553"/>
                  <a:pt x="1488274" y="2430732"/>
                  <a:pt x="1469527" y="2419316"/>
                </a:cubicBezTo>
                <a:cubicBezTo>
                  <a:pt x="1487065" y="2410753"/>
                  <a:pt x="1519116" y="2430017"/>
                  <a:pt x="1525769" y="2396959"/>
                </a:cubicBezTo>
                <a:cubicBezTo>
                  <a:pt x="1487065" y="2359857"/>
                  <a:pt x="1441104" y="2366993"/>
                  <a:pt x="1402401" y="2367706"/>
                </a:cubicBezTo>
                <a:cubicBezTo>
                  <a:pt x="1388491" y="2362712"/>
                  <a:pt x="1398167" y="2359857"/>
                  <a:pt x="1399377" y="2344161"/>
                </a:cubicBezTo>
                <a:cubicBezTo>
                  <a:pt x="1382444" y="2346539"/>
                  <a:pt x="1373373" y="2337739"/>
                  <a:pt x="1361883" y="2332744"/>
                </a:cubicBezTo>
                <a:cubicBezTo>
                  <a:pt x="1371559" y="2327512"/>
                  <a:pt x="1372163" y="2311815"/>
                  <a:pt x="1384258" y="2308961"/>
                </a:cubicBezTo>
                <a:cubicBezTo>
                  <a:pt x="1380630" y="2296832"/>
                  <a:pt x="1355835" y="2308486"/>
                  <a:pt x="1341927" y="2303253"/>
                </a:cubicBezTo>
                <a:cubicBezTo>
                  <a:pt x="1347974" y="2279946"/>
                  <a:pt x="1304432" y="2272573"/>
                  <a:pt x="1304432" y="2240704"/>
                </a:cubicBezTo>
                <a:cubicBezTo>
                  <a:pt x="1272985" y="2244032"/>
                  <a:pt x="1220977" y="2233568"/>
                  <a:pt x="1190741" y="2252833"/>
                </a:cubicBezTo>
                <a:cubicBezTo>
                  <a:pt x="1175017" y="2231664"/>
                  <a:pt x="1151432" y="2223817"/>
                  <a:pt x="1133290" y="2245936"/>
                </a:cubicBezTo>
                <a:cubicBezTo>
                  <a:pt x="1126637" y="2243319"/>
                  <a:pt x="1135104" y="2218584"/>
                  <a:pt x="1126032" y="2217633"/>
                </a:cubicBezTo>
                <a:cubicBezTo>
                  <a:pt x="1167760" y="2239039"/>
                  <a:pt x="1238515" y="2215493"/>
                  <a:pt x="1290523" y="2230001"/>
                </a:cubicBezTo>
                <a:cubicBezTo>
                  <a:pt x="1295361" y="2226433"/>
                  <a:pt x="1294151" y="2213828"/>
                  <a:pt x="1294151" y="2205979"/>
                </a:cubicBezTo>
                <a:cubicBezTo>
                  <a:pt x="1302618" y="2224530"/>
                  <a:pt x="1323179" y="2212402"/>
                  <a:pt x="1332855" y="2211211"/>
                </a:cubicBezTo>
                <a:cubicBezTo>
                  <a:pt x="1322574" y="2184574"/>
                  <a:pt x="1278429" y="2186715"/>
                  <a:pt x="1256657" y="2188856"/>
                </a:cubicBezTo>
                <a:cubicBezTo>
                  <a:pt x="1253030" y="2168640"/>
                  <a:pt x="1243958" y="2158174"/>
                  <a:pt x="1242749" y="2136295"/>
                </a:cubicBezTo>
                <a:cubicBezTo>
                  <a:pt x="1252424" y="2142953"/>
                  <a:pt x="1264520" y="2143905"/>
                  <a:pt x="1265729" y="2159839"/>
                </a:cubicBezTo>
                <a:cubicBezTo>
                  <a:pt x="1321365" y="2118932"/>
                  <a:pt x="1349788" y="2196704"/>
                  <a:pt x="1393329" y="2152942"/>
                </a:cubicBezTo>
                <a:cubicBezTo>
                  <a:pt x="1400587" y="2155559"/>
                  <a:pt x="1397562" y="2167451"/>
                  <a:pt x="1399377" y="2175537"/>
                </a:cubicBezTo>
                <a:cubicBezTo>
                  <a:pt x="1411472" y="2176488"/>
                  <a:pt x="1414496" y="2166975"/>
                  <a:pt x="1416914" y="2159363"/>
                </a:cubicBezTo>
                <a:cubicBezTo>
                  <a:pt x="1424171" y="2157937"/>
                  <a:pt x="1418123" y="2187191"/>
                  <a:pt x="1428405" y="2170305"/>
                </a:cubicBezTo>
                <a:cubicBezTo>
                  <a:pt x="1435661" y="2178866"/>
                  <a:pt x="1422357" y="2195039"/>
                  <a:pt x="1441104" y="2198606"/>
                </a:cubicBezTo>
                <a:cubicBezTo>
                  <a:pt x="1448361" y="2197417"/>
                  <a:pt x="1448965" y="2189569"/>
                  <a:pt x="1456222" y="2188380"/>
                </a:cubicBezTo>
                <a:cubicBezTo>
                  <a:pt x="1451990" y="2180055"/>
                  <a:pt x="1447756" y="2173396"/>
                  <a:pt x="1440499" y="2170780"/>
                </a:cubicBezTo>
                <a:cubicBezTo>
                  <a:pt x="1452595" y="2163882"/>
                  <a:pt x="1490693" y="2177201"/>
                  <a:pt x="1488879" y="2205027"/>
                </a:cubicBezTo>
                <a:lnTo>
                  <a:pt x="1470131" y="2205504"/>
                </a:lnTo>
                <a:cubicBezTo>
                  <a:pt x="1471341" y="2217395"/>
                  <a:pt x="1481017" y="2218108"/>
                  <a:pt x="1493111" y="2217157"/>
                </a:cubicBezTo>
                <a:cubicBezTo>
                  <a:pt x="1490088" y="2230714"/>
                  <a:pt x="1489484" y="2232855"/>
                  <a:pt x="1493717" y="2247125"/>
                </a:cubicBezTo>
                <a:cubicBezTo>
                  <a:pt x="1503394" y="2247838"/>
                  <a:pt x="1508230" y="2242130"/>
                  <a:pt x="1507021" y="2228098"/>
                </a:cubicBezTo>
                <a:cubicBezTo>
                  <a:pt x="1513674" y="2232617"/>
                  <a:pt x="1515488" y="2241178"/>
                  <a:pt x="1517302" y="2251168"/>
                </a:cubicBezTo>
                <a:cubicBezTo>
                  <a:pt x="1485855" y="2254498"/>
                  <a:pt x="1443523" y="2243081"/>
                  <a:pt x="1418729" y="2258779"/>
                </a:cubicBezTo>
                <a:cubicBezTo>
                  <a:pt x="1419937" y="2274714"/>
                  <a:pt x="1412681" y="2279708"/>
                  <a:pt x="1412077" y="2291600"/>
                </a:cubicBezTo>
                <a:cubicBezTo>
                  <a:pt x="1422357" y="2316335"/>
                  <a:pt x="1461060" y="2307772"/>
                  <a:pt x="1479807" y="2321091"/>
                </a:cubicBezTo>
                <a:cubicBezTo>
                  <a:pt x="1471341" y="2300638"/>
                  <a:pt x="1481017" y="2303253"/>
                  <a:pt x="1490088" y="2316096"/>
                </a:cubicBezTo>
                <a:cubicBezTo>
                  <a:pt x="1494926" y="2314432"/>
                  <a:pt x="1505812" y="2289459"/>
                  <a:pt x="1494322" y="2286367"/>
                </a:cubicBezTo>
                <a:cubicBezTo>
                  <a:pt x="1506416" y="2281373"/>
                  <a:pt x="1509440" y="2266152"/>
                  <a:pt x="1517302" y="2256875"/>
                </a:cubicBezTo>
                <a:cubicBezTo>
                  <a:pt x="1558424" y="2256399"/>
                  <a:pt x="1536654" y="2298021"/>
                  <a:pt x="1574752" y="2297308"/>
                </a:cubicBezTo>
                <a:cubicBezTo>
                  <a:pt x="1574148" y="2307059"/>
                  <a:pt x="1569310" y="2308724"/>
                  <a:pt x="1569310" y="2314670"/>
                </a:cubicBezTo>
                <a:cubicBezTo>
                  <a:pt x="1591686" y="2300638"/>
                  <a:pt x="1591080" y="2307059"/>
                  <a:pt x="1611642" y="2322756"/>
                </a:cubicBezTo>
                <a:cubicBezTo>
                  <a:pt x="1621922" y="2317761"/>
                  <a:pt x="1608618" y="2290648"/>
                  <a:pt x="1606803" y="2280659"/>
                </a:cubicBezTo>
                <a:cubicBezTo>
                  <a:pt x="1582009" y="2302301"/>
                  <a:pt x="1546330" y="2251644"/>
                  <a:pt x="1518511" y="2241417"/>
                </a:cubicBezTo>
                <a:cubicBezTo>
                  <a:pt x="1540282" y="2233331"/>
                  <a:pt x="1562658" y="2221201"/>
                  <a:pt x="1573543" y="2200272"/>
                </a:cubicBezTo>
                <a:lnTo>
                  <a:pt x="1574148" y="2228098"/>
                </a:lnTo>
                <a:cubicBezTo>
                  <a:pt x="1588662" y="2229287"/>
                  <a:pt x="1589267" y="2215017"/>
                  <a:pt x="1603780" y="2216443"/>
                </a:cubicBezTo>
                <a:cubicBezTo>
                  <a:pt x="1600757" y="2222152"/>
                  <a:pt x="1598338" y="2225957"/>
                  <a:pt x="1598338" y="2233806"/>
                </a:cubicBezTo>
                <a:cubicBezTo>
                  <a:pt x="1617688" y="2227622"/>
                  <a:pt x="1612246" y="2235233"/>
                  <a:pt x="1630994" y="2240704"/>
                </a:cubicBezTo>
                <a:cubicBezTo>
                  <a:pt x="1643088" y="2241893"/>
                  <a:pt x="1645507" y="2232617"/>
                  <a:pt x="1648530" y="2222866"/>
                </a:cubicBezTo>
                <a:cubicBezTo>
                  <a:pt x="1629784" y="2217395"/>
                  <a:pt x="1614061" y="2207644"/>
                  <a:pt x="1597733" y="2200272"/>
                </a:cubicBezTo>
                <a:cubicBezTo>
                  <a:pt x="1603176" y="2195277"/>
                  <a:pt x="1614665" y="2192899"/>
                  <a:pt x="1622527" y="2188856"/>
                </a:cubicBezTo>
                <a:cubicBezTo>
                  <a:pt x="1628575" y="2185287"/>
                  <a:pt x="1632808" y="2180531"/>
                  <a:pt x="1625551" y="2170780"/>
                </a:cubicBezTo>
                <a:cubicBezTo>
                  <a:pt x="1620713" y="2172445"/>
                  <a:pt x="1622527" y="2181007"/>
                  <a:pt x="1622527" y="2188856"/>
                </a:cubicBezTo>
                <a:cubicBezTo>
                  <a:pt x="1597127" y="2168877"/>
                  <a:pt x="1563867" y="2159839"/>
                  <a:pt x="1545119" y="2194088"/>
                </a:cubicBezTo>
                <a:cubicBezTo>
                  <a:pt x="1520930" y="2195990"/>
                  <a:pt x="1572938" y="2160554"/>
                  <a:pt x="1537259" y="2159363"/>
                </a:cubicBezTo>
                <a:cubicBezTo>
                  <a:pt x="1560239" y="2131537"/>
                  <a:pt x="1588662" y="2144143"/>
                  <a:pt x="1626760" y="2141527"/>
                </a:cubicBezTo>
                <a:cubicBezTo>
                  <a:pt x="1611037" y="2130111"/>
                  <a:pt x="1640065" y="2130587"/>
                  <a:pt x="1626155" y="2123451"/>
                </a:cubicBezTo>
                <a:cubicBezTo>
                  <a:pt x="1630994" y="2119884"/>
                  <a:pt x="1655788" y="2139861"/>
                  <a:pt x="1655183" y="2106089"/>
                </a:cubicBezTo>
                <a:cubicBezTo>
                  <a:pt x="1674535" y="2111560"/>
                  <a:pt x="1674535" y="2111797"/>
                  <a:pt x="1691468" y="2107278"/>
                </a:cubicBezTo>
                <a:cubicBezTo>
                  <a:pt x="1608012" y="2096338"/>
                  <a:pt x="1513674" y="2109656"/>
                  <a:pt x="1436266" y="2077074"/>
                </a:cubicBezTo>
                <a:cubicBezTo>
                  <a:pt x="1427800" y="2094436"/>
                  <a:pt x="1412077" y="2087300"/>
                  <a:pt x="1399982" y="2084208"/>
                </a:cubicBezTo>
                <a:cubicBezTo>
                  <a:pt x="1387886" y="2083258"/>
                  <a:pt x="1395748" y="2107993"/>
                  <a:pt x="1395143" y="2117743"/>
                </a:cubicBezTo>
                <a:cubicBezTo>
                  <a:pt x="1381235" y="2114651"/>
                  <a:pt x="1378816" y="2120121"/>
                  <a:pt x="1380026" y="2136295"/>
                </a:cubicBezTo>
                <a:cubicBezTo>
                  <a:pt x="1368536" y="2133202"/>
                  <a:pt x="1358859" y="2132013"/>
                  <a:pt x="1362487" y="2112511"/>
                </a:cubicBezTo>
                <a:cubicBezTo>
                  <a:pt x="1419937" y="2115603"/>
                  <a:pt x="1355835" y="2050674"/>
                  <a:pt x="1326808" y="2054004"/>
                </a:cubicBezTo>
                <a:cubicBezTo>
                  <a:pt x="1337089" y="2046870"/>
                  <a:pt x="1316528" y="2027367"/>
                  <a:pt x="1342531" y="2031647"/>
                </a:cubicBezTo>
                <a:cubicBezTo>
                  <a:pt x="1310479" y="2005010"/>
                  <a:pt x="1295361" y="2064944"/>
                  <a:pt x="1277219" y="2043540"/>
                </a:cubicBezTo>
                <a:cubicBezTo>
                  <a:pt x="1280847" y="2024037"/>
                  <a:pt x="1285081" y="2040685"/>
                  <a:pt x="1299594" y="2037831"/>
                </a:cubicBezTo>
                <a:lnTo>
                  <a:pt x="1300804" y="2018805"/>
                </a:lnTo>
                <a:cubicBezTo>
                  <a:pt x="1294757" y="2007151"/>
                  <a:pt x="1289314" y="2004297"/>
                  <a:pt x="1289314" y="2004297"/>
                </a:cubicBezTo>
                <a:cubicBezTo>
                  <a:pt x="1289314" y="2004297"/>
                  <a:pt x="1296571" y="2005010"/>
                  <a:pt x="1304432" y="2005723"/>
                </a:cubicBezTo>
                <a:lnTo>
                  <a:pt x="1303827" y="2015949"/>
                </a:lnTo>
                <a:cubicBezTo>
                  <a:pt x="1327413" y="2020946"/>
                  <a:pt x="1358859" y="2016425"/>
                  <a:pt x="1366116" y="2001918"/>
                </a:cubicBezTo>
                <a:cubicBezTo>
                  <a:pt x="1359464" y="1993594"/>
                  <a:pt x="1328018" y="2002869"/>
                  <a:pt x="1317737" y="2007864"/>
                </a:cubicBezTo>
                <a:cubicBezTo>
                  <a:pt x="1321365" y="1992405"/>
                  <a:pt x="1300199" y="1978135"/>
                  <a:pt x="1281451" y="1972665"/>
                </a:cubicBezTo>
                <a:cubicBezTo>
                  <a:pt x="1286895" y="1965055"/>
                  <a:pt x="1285081" y="1951259"/>
                  <a:pt x="1290523" y="1943648"/>
                </a:cubicBezTo>
                <a:cubicBezTo>
                  <a:pt x="1297175" y="1954114"/>
                  <a:pt x="1298385" y="1970048"/>
                  <a:pt x="1310479" y="1973141"/>
                </a:cubicBezTo>
                <a:cubicBezTo>
                  <a:pt x="1314713" y="1941746"/>
                  <a:pt x="1321969" y="1980275"/>
                  <a:pt x="1337693" y="1961725"/>
                </a:cubicBezTo>
                <a:cubicBezTo>
                  <a:pt x="1346763" y="1964577"/>
                  <a:pt x="1349183" y="1970763"/>
                  <a:pt x="1343741" y="1978373"/>
                </a:cubicBezTo>
                <a:cubicBezTo>
                  <a:pt x="1364907" y="1982178"/>
                  <a:pt x="1370954" y="1968622"/>
                  <a:pt x="1384258" y="1979562"/>
                </a:cubicBezTo>
                <a:cubicBezTo>
                  <a:pt x="1396353" y="1976707"/>
                  <a:pt x="1378211" y="1969096"/>
                  <a:pt x="1386072" y="1956017"/>
                </a:cubicBezTo>
                <a:cubicBezTo>
                  <a:pt x="1448361" y="1961249"/>
                  <a:pt x="1468317" y="1978849"/>
                  <a:pt x="1513674" y="1978849"/>
                </a:cubicBezTo>
                <a:cubicBezTo>
                  <a:pt x="1517302" y="2006913"/>
                  <a:pt x="1523349" y="2019518"/>
                  <a:pt x="1565076" y="2013097"/>
                </a:cubicBezTo>
                <a:cubicBezTo>
                  <a:pt x="1565682" y="1999302"/>
                  <a:pt x="1546330" y="2009291"/>
                  <a:pt x="1551772" y="1990027"/>
                </a:cubicBezTo>
                <a:cubicBezTo>
                  <a:pt x="1540282" y="1983130"/>
                  <a:pt x="1526978" y="2003820"/>
                  <a:pt x="1527583" y="1990027"/>
                </a:cubicBezTo>
                <a:cubicBezTo>
                  <a:pt x="1529397" y="1966244"/>
                  <a:pt x="1569310" y="1981227"/>
                  <a:pt x="1578381" y="1984081"/>
                </a:cubicBezTo>
                <a:cubicBezTo>
                  <a:pt x="1575963" y="1989788"/>
                  <a:pt x="1573543" y="1993833"/>
                  <a:pt x="1575357" y="2001918"/>
                </a:cubicBezTo>
                <a:cubicBezTo>
                  <a:pt x="1599547" y="1996209"/>
                  <a:pt x="1619504" y="1983843"/>
                  <a:pt x="1632203" y="2014762"/>
                </a:cubicBezTo>
                <a:cubicBezTo>
                  <a:pt x="1674535" y="2030221"/>
                  <a:pt x="1657602" y="1985270"/>
                  <a:pt x="1679372" y="1949357"/>
                </a:cubicBezTo>
                <a:cubicBezTo>
                  <a:pt x="1680583" y="1919865"/>
                  <a:pt x="1661836" y="1950070"/>
                  <a:pt x="1663650" y="1926288"/>
                </a:cubicBezTo>
                <a:cubicBezTo>
                  <a:pt x="1668487" y="1926763"/>
                  <a:pt x="1669092" y="1918676"/>
                  <a:pt x="1669092" y="1914871"/>
                </a:cubicBezTo>
                <a:cubicBezTo>
                  <a:pt x="1678768" y="1917725"/>
                  <a:pt x="1678163" y="1931758"/>
                  <a:pt x="1692677" y="1927001"/>
                </a:cubicBezTo>
                <a:cubicBezTo>
                  <a:pt x="1697515" y="1925574"/>
                  <a:pt x="1695096" y="1915346"/>
                  <a:pt x="1702353" y="1915822"/>
                </a:cubicBezTo>
                <a:cubicBezTo>
                  <a:pt x="1698120" y="1907497"/>
                  <a:pt x="1690862" y="1902980"/>
                  <a:pt x="1679372" y="1903930"/>
                </a:cubicBezTo>
                <a:cubicBezTo>
                  <a:pt x="1673326" y="1881575"/>
                  <a:pt x="1701145" y="1899650"/>
                  <a:pt x="1697515" y="1879434"/>
                </a:cubicBezTo>
                <a:cubicBezTo>
                  <a:pt x="1707191" y="1884190"/>
                  <a:pt x="1699329" y="1891563"/>
                  <a:pt x="1699329" y="1897509"/>
                </a:cubicBezTo>
                <a:cubicBezTo>
                  <a:pt x="1722915" y="1907260"/>
                  <a:pt x="1724729" y="1870158"/>
                  <a:pt x="1740452" y="1885379"/>
                </a:cubicBezTo>
                <a:cubicBezTo>
                  <a:pt x="1722309" y="1903693"/>
                  <a:pt x="1695701" y="1909401"/>
                  <a:pt x="1698120" y="1951259"/>
                </a:cubicBezTo>
                <a:cubicBezTo>
                  <a:pt x="1690862" y="1952687"/>
                  <a:pt x="1689048" y="1944124"/>
                  <a:pt x="1684211" y="1943648"/>
                </a:cubicBezTo>
                <a:cubicBezTo>
                  <a:pt x="1679977" y="1982891"/>
                  <a:pt x="1669696" y="1980514"/>
                  <a:pt x="1677558" y="2018805"/>
                </a:cubicBezTo>
                <a:lnTo>
                  <a:pt x="1715657" y="2019994"/>
                </a:lnTo>
                <a:cubicBezTo>
                  <a:pt x="1716262" y="2010005"/>
                  <a:pt x="1712030" y="2007627"/>
                  <a:pt x="1712634" y="1995734"/>
                </a:cubicBezTo>
                <a:cubicBezTo>
                  <a:pt x="1727147" y="1995022"/>
                  <a:pt x="1721100" y="2014286"/>
                  <a:pt x="1725333" y="2024513"/>
                </a:cubicBezTo>
                <a:cubicBezTo>
                  <a:pt x="1708400" y="2021183"/>
                  <a:pt x="1705377" y="2034976"/>
                  <a:pt x="1688444" y="2031647"/>
                </a:cubicBezTo>
                <a:cubicBezTo>
                  <a:pt x="1686025" y="2041399"/>
                  <a:pt x="1692677" y="2041873"/>
                  <a:pt x="1692677" y="2047820"/>
                </a:cubicBezTo>
                <a:cubicBezTo>
                  <a:pt x="1716867" y="2039972"/>
                  <a:pt x="1752546" y="2009528"/>
                  <a:pt x="1777341" y="2037356"/>
                </a:cubicBezTo>
                <a:cubicBezTo>
                  <a:pt x="1769479" y="2044729"/>
                  <a:pt x="1745895" y="2040685"/>
                  <a:pt x="1754966" y="2055430"/>
                </a:cubicBezTo>
                <a:cubicBezTo>
                  <a:pt x="1720495" y="2062328"/>
                  <a:pt x="1696910" y="2054241"/>
                  <a:pt x="1648530" y="2054004"/>
                </a:cubicBezTo>
                <a:cubicBezTo>
                  <a:pt x="1653974" y="2092057"/>
                  <a:pt x="1723520" y="2050437"/>
                  <a:pt x="1725939" y="2090392"/>
                </a:cubicBezTo>
                <a:cubicBezTo>
                  <a:pt x="1751942" y="2062804"/>
                  <a:pt x="1774317" y="2090868"/>
                  <a:pt x="1816044" y="2078500"/>
                </a:cubicBezTo>
                <a:cubicBezTo>
                  <a:pt x="1813625" y="2070414"/>
                  <a:pt x="1809393" y="2065420"/>
                  <a:pt x="1802135" y="2066847"/>
                </a:cubicBezTo>
                <a:cubicBezTo>
                  <a:pt x="1798508" y="2050674"/>
                  <a:pt x="1825720" y="2078739"/>
                  <a:pt x="1840839" y="2066133"/>
                </a:cubicBezTo>
                <a:cubicBezTo>
                  <a:pt x="1840839" y="2060425"/>
                  <a:pt x="1838421" y="2056382"/>
                  <a:pt x="1834187" y="2054004"/>
                </a:cubicBezTo>
                <a:cubicBezTo>
                  <a:pt x="1841444" y="2046631"/>
                  <a:pt x="1862005" y="2070177"/>
                  <a:pt x="1875914" y="2071366"/>
                </a:cubicBezTo>
                <a:cubicBezTo>
                  <a:pt x="1893452" y="2058999"/>
                  <a:pt x="1875309" y="2043540"/>
                  <a:pt x="1906151" y="2054004"/>
                </a:cubicBezTo>
                <a:cubicBezTo>
                  <a:pt x="1878937" y="2019994"/>
                  <a:pt x="1837816" y="2034263"/>
                  <a:pt x="1796693" y="2042588"/>
                </a:cubicBezTo>
                <a:cubicBezTo>
                  <a:pt x="1802135" y="2023324"/>
                  <a:pt x="1782179" y="2035452"/>
                  <a:pt x="1777946" y="2025226"/>
                </a:cubicBezTo>
                <a:cubicBezTo>
                  <a:pt x="1797903" y="2007151"/>
                  <a:pt x="1805765" y="2039496"/>
                  <a:pt x="1830559" y="2025702"/>
                </a:cubicBezTo>
                <a:cubicBezTo>
                  <a:pt x="1817254" y="2008578"/>
                  <a:pt x="1790645" y="2010243"/>
                  <a:pt x="1797903" y="1973141"/>
                </a:cubicBezTo>
                <a:cubicBezTo>
                  <a:pt x="1803950" y="1993357"/>
                  <a:pt x="1828745" y="2023800"/>
                  <a:pt x="1849911" y="2025702"/>
                </a:cubicBezTo>
                <a:cubicBezTo>
                  <a:pt x="1854748" y="2024037"/>
                  <a:pt x="1852934" y="2013810"/>
                  <a:pt x="1857773" y="2014286"/>
                </a:cubicBezTo>
                <a:cubicBezTo>
                  <a:pt x="1891638" y="2013097"/>
                  <a:pt x="1912199" y="2032599"/>
                  <a:pt x="1933970" y="2024513"/>
                </a:cubicBezTo>
                <a:cubicBezTo>
                  <a:pt x="1929736" y="2014286"/>
                  <a:pt x="1917641" y="2015475"/>
                  <a:pt x="1910989" y="2009053"/>
                </a:cubicBezTo>
                <a:cubicBezTo>
                  <a:pt x="1932761" y="1999065"/>
                  <a:pt x="1972068" y="2038069"/>
                  <a:pt x="2004119" y="2018805"/>
                </a:cubicBezTo>
                <a:cubicBezTo>
                  <a:pt x="2005330" y="2001204"/>
                  <a:pt x="1985374" y="2009053"/>
                  <a:pt x="1981139" y="1996687"/>
                </a:cubicBezTo>
                <a:cubicBezTo>
                  <a:pt x="2002305" y="2010480"/>
                  <a:pt x="2045242" y="1980751"/>
                  <a:pt x="2061570" y="1990027"/>
                </a:cubicBezTo>
                <a:cubicBezTo>
                  <a:pt x="2076084" y="1985270"/>
                  <a:pt x="2054918" y="1975756"/>
                  <a:pt x="2067618" y="1966957"/>
                </a:cubicBezTo>
                <a:cubicBezTo>
                  <a:pt x="2074270" y="1977421"/>
                  <a:pt x="2091203" y="1972428"/>
                  <a:pt x="2105112" y="1973617"/>
                </a:cubicBezTo>
                <a:cubicBezTo>
                  <a:pt x="2113578" y="1996209"/>
                  <a:pt x="2094831" y="2026654"/>
                  <a:pt x="2076690" y="2013097"/>
                </a:cubicBezTo>
                <a:cubicBezTo>
                  <a:pt x="2076690" y="2050913"/>
                  <a:pt x="2094831" y="2028555"/>
                  <a:pt x="2114183" y="2032123"/>
                </a:cubicBezTo>
                <a:lnTo>
                  <a:pt x="2115392" y="2008578"/>
                </a:lnTo>
                <a:cubicBezTo>
                  <a:pt x="2128698" y="2023561"/>
                  <a:pt x="2142606" y="1990979"/>
                  <a:pt x="2160748" y="2008578"/>
                </a:cubicBezTo>
                <a:cubicBezTo>
                  <a:pt x="2162563" y="2020470"/>
                  <a:pt x="2143816" y="2011194"/>
                  <a:pt x="2138977" y="2014762"/>
                </a:cubicBezTo>
                <a:cubicBezTo>
                  <a:pt x="2142606" y="2036880"/>
                  <a:pt x="2164377" y="2026654"/>
                  <a:pt x="2186148" y="2026415"/>
                </a:cubicBezTo>
                <a:cubicBezTo>
                  <a:pt x="2190985" y="2026891"/>
                  <a:pt x="2187962" y="2040685"/>
                  <a:pt x="2189776" y="2048770"/>
                </a:cubicBezTo>
                <a:cubicBezTo>
                  <a:pt x="2201266" y="2057810"/>
                  <a:pt x="2207314" y="2034263"/>
                  <a:pt x="2209128" y="2048296"/>
                </a:cubicBezTo>
                <a:cubicBezTo>
                  <a:pt x="2221222" y="2047344"/>
                  <a:pt x="2202476" y="2039972"/>
                  <a:pt x="2207918" y="2026415"/>
                </a:cubicBezTo>
                <a:cubicBezTo>
                  <a:pt x="2229084" y="2030221"/>
                  <a:pt x="2242993" y="2041636"/>
                  <a:pt x="2269603" y="2037831"/>
                </a:cubicBezTo>
                <a:cubicBezTo>
                  <a:pt x="2271416" y="2051863"/>
                  <a:pt x="2278069" y="2056145"/>
                  <a:pt x="2265974" y="2061139"/>
                </a:cubicBezTo>
                <a:cubicBezTo>
                  <a:pt x="2270207" y="2069463"/>
                  <a:pt x="2279883" y="2068512"/>
                  <a:pt x="2288954" y="2073268"/>
                </a:cubicBezTo>
                <a:cubicBezTo>
                  <a:pt x="2264765" y="2035452"/>
                  <a:pt x="2306492" y="2064944"/>
                  <a:pt x="2321610" y="2048296"/>
                </a:cubicBezTo>
                <a:cubicBezTo>
                  <a:pt x="2325843" y="2056619"/>
                  <a:pt x="2325843" y="2064469"/>
                  <a:pt x="2337334" y="2073268"/>
                </a:cubicBezTo>
                <a:cubicBezTo>
                  <a:pt x="2352452" y="2064706"/>
                  <a:pt x="2336124" y="2049009"/>
                  <a:pt x="2350638" y="2048296"/>
                </a:cubicBezTo>
                <a:cubicBezTo>
                  <a:pt x="2357894" y="2050913"/>
                  <a:pt x="2348219" y="2056145"/>
                  <a:pt x="2350033" y="2066133"/>
                </a:cubicBezTo>
                <a:cubicBezTo>
                  <a:pt x="2375432" y="2076361"/>
                  <a:pt x="2360314" y="2041399"/>
                  <a:pt x="2379666" y="2043064"/>
                </a:cubicBezTo>
                <a:cubicBezTo>
                  <a:pt x="2373013" y="2078263"/>
                  <a:pt x="2385108" y="2041636"/>
                  <a:pt x="2383294" y="2031647"/>
                </a:cubicBezTo>
                <a:cubicBezTo>
                  <a:pt x="2383899" y="2019757"/>
                  <a:pt x="2363942" y="2029744"/>
                  <a:pt x="2359709" y="2019518"/>
                </a:cubicBezTo>
                <a:cubicBezTo>
                  <a:pt x="2365152" y="2010005"/>
                  <a:pt x="2388132" y="2021896"/>
                  <a:pt x="2397808" y="2024513"/>
                </a:cubicBezTo>
                <a:cubicBezTo>
                  <a:pt x="2395389" y="2030458"/>
                  <a:pt x="2394179" y="2042112"/>
                  <a:pt x="2389342" y="2043540"/>
                </a:cubicBezTo>
                <a:cubicBezTo>
                  <a:pt x="2388736" y="2055430"/>
                  <a:pt x="2400832" y="2054955"/>
                  <a:pt x="2407483" y="2061614"/>
                </a:cubicBezTo>
                <a:cubicBezTo>
                  <a:pt x="2425021" y="2055193"/>
                  <a:pt x="2397203" y="2026415"/>
                  <a:pt x="2411717" y="2025702"/>
                </a:cubicBezTo>
                <a:cubicBezTo>
                  <a:pt x="2433488" y="2021657"/>
                  <a:pt x="2403856" y="2041399"/>
                  <a:pt x="2425626" y="2037356"/>
                </a:cubicBezTo>
                <a:cubicBezTo>
                  <a:pt x="2425021" y="2053052"/>
                  <a:pt x="2412927" y="2053765"/>
                  <a:pt x="2411717" y="2071366"/>
                </a:cubicBezTo>
                <a:cubicBezTo>
                  <a:pt x="2397203" y="2074218"/>
                  <a:pt x="2392971" y="2063755"/>
                  <a:pt x="2383294" y="2061139"/>
                </a:cubicBezTo>
                <a:cubicBezTo>
                  <a:pt x="2382085" y="2086824"/>
                  <a:pt x="2399017" y="2084684"/>
                  <a:pt x="2411717" y="2077787"/>
                </a:cubicBezTo>
                <a:cubicBezTo>
                  <a:pt x="2394784" y="2115840"/>
                  <a:pt x="2434697" y="2089441"/>
                  <a:pt x="2439535" y="2089917"/>
                </a:cubicBezTo>
                <a:cubicBezTo>
                  <a:pt x="2465540" y="2094197"/>
                  <a:pt x="2509685" y="2123927"/>
                  <a:pt x="2526619" y="2083732"/>
                </a:cubicBezTo>
                <a:cubicBezTo>
                  <a:pt x="2527223" y="2073744"/>
                  <a:pt x="2521780" y="2072793"/>
                  <a:pt x="2517547" y="2072555"/>
                </a:cubicBezTo>
                <a:cubicBezTo>
                  <a:pt x="2516338" y="2067560"/>
                  <a:pt x="2517547" y="2064469"/>
                  <a:pt x="2519361" y="2061139"/>
                </a:cubicBezTo>
                <a:cubicBezTo>
                  <a:pt x="2515734" y="2071603"/>
                  <a:pt x="2507267" y="2074218"/>
                  <a:pt x="2495172" y="2072079"/>
                </a:cubicBezTo>
                <a:cubicBezTo>
                  <a:pt x="2494567" y="2079215"/>
                  <a:pt x="2490938" y="2084923"/>
                  <a:pt x="2478238" y="2083019"/>
                </a:cubicBezTo>
                <a:cubicBezTo>
                  <a:pt x="2478844" y="2075646"/>
                  <a:pt x="2486705" y="2075646"/>
                  <a:pt x="2490938" y="2071366"/>
                </a:cubicBezTo>
                <a:cubicBezTo>
                  <a:pt x="2481262" y="2069463"/>
                  <a:pt x="2470981" y="2068273"/>
                  <a:pt x="2460701" y="2068512"/>
                </a:cubicBezTo>
                <a:cubicBezTo>
                  <a:pt x="2464935" y="2074694"/>
                  <a:pt x="2468563" y="2077311"/>
                  <a:pt x="2479449" y="2072079"/>
                </a:cubicBezTo>
                <a:cubicBezTo>
                  <a:pt x="2480657" y="2078263"/>
                  <a:pt x="2480053" y="2081116"/>
                  <a:pt x="2478238" y="2083019"/>
                </a:cubicBezTo>
                <a:cubicBezTo>
                  <a:pt x="2473400" y="2088727"/>
                  <a:pt x="2457677" y="2078026"/>
                  <a:pt x="2458887" y="2090868"/>
                </a:cubicBezTo>
                <a:cubicBezTo>
                  <a:pt x="2452235" y="2086111"/>
                  <a:pt x="2444978" y="2081592"/>
                  <a:pt x="2446187" y="2066847"/>
                </a:cubicBezTo>
                <a:cubicBezTo>
                  <a:pt x="2429859" y="2061139"/>
                  <a:pt x="2440140" y="2091582"/>
                  <a:pt x="2421393" y="2085873"/>
                </a:cubicBezTo>
                <a:cubicBezTo>
                  <a:pt x="2420183" y="2070653"/>
                  <a:pt x="2422602" y="2060425"/>
                  <a:pt x="2427440" y="2054479"/>
                </a:cubicBezTo>
                <a:cubicBezTo>
                  <a:pt x="2446187" y="2068750"/>
                  <a:pt x="2449815" y="2050198"/>
                  <a:pt x="2469167" y="2041160"/>
                </a:cubicBezTo>
                <a:cubicBezTo>
                  <a:pt x="2466144" y="2051626"/>
                  <a:pt x="2461305" y="2057334"/>
                  <a:pt x="2455863" y="2061139"/>
                </a:cubicBezTo>
                <a:cubicBezTo>
                  <a:pt x="2457073" y="2063042"/>
                  <a:pt x="2457677" y="2062804"/>
                  <a:pt x="2458282" y="2064469"/>
                </a:cubicBezTo>
                <a:cubicBezTo>
                  <a:pt x="2463121" y="2061614"/>
                  <a:pt x="2467353" y="2058284"/>
                  <a:pt x="2473400" y="2056858"/>
                </a:cubicBezTo>
                <a:cubicBezTo>
                  <a:pt x="2473400" y="2054955"/>
                  <a:pt x="2472797" y="2054241"/>
                  <a:pt x="2472797" y="2050674"/>
                </a:cubicBezTo>
                <a:cubicBezTo>
                  <a:pt x="2487310" y="2053765"/>
                  <a:pt x="2485496" y="2042588"/>
                  <a:pt x="2497591" y="2045442"/>
                </a:cubicBezTo>
                <a:cubicBezTo>
                  <a:pt x="2496381" y="2046870"/>
                  <a:pt x="2497591" y="2050913"/>
                  <a:pt x="2497591" y="2053528"/>
                </a:cubicBezTo>
                <a:cubicBezTo>
                  <a:pt x="2504848" y="2053052"/>
                  <a:pt x="2511499" y="2052102"/>
                  <a:pt x="2520571" y="2051626"/>
                </a:cubicBezTo>
                <a:cubicBezTo>
                  <a:pt x="2520571" y="2050674"/>
                  <a:pt x="2521175" y="2050437"/>
                  <a:pt x="2521175" y="2049248"/>
                </a:cubicBezTo>
                <a:cubicBezTo>
                  <a:pt x="2535690" y="2044729"/>
                  <a:pt x="2527223" y="2067323"/>
                  <a:pt x="2534479" y="2072079"/>
                </a:cubicBezTo>
                <a:cubicBezTo>
                  <a:pt x="2544155" y="2064944"/>
                  <a:pt x="2558065" y="2075885"/>
                  <a:pt x="2564112" y="2054479"/>
                </a:cubicBezTo>
                <a:cubicBezTo>
                  <a:pt x="2584069" y="2080165"/>
                  <a:pt x="2609468" y="2060900"/>
                  <a:pt x="2630634" y="2066847"/>
                </a:cubicBezTo>
                <a:cubicBezTo>
                  <a:pt x="2631239" y="2053052"/>
                  <a:pt x="2621563" y="2054004"/>
                  <a:pt x="2625191" y="2038307"/>
                </a:cubicBezTo>
                <a:cubicBezTo>
                  <a:pt x="2643938" y="2045918"/>
                  <a:pt x="2627006" y="2010480"/>
                  <a:pt x="2645753" y="2019994"/>
                </a:cubicBezTo>
                <a:cubicBezTo>
                  <a:pt x="2644543" y="2037593"/>
                  <a:pt x="2634262" y="2044966"/>
                  <a:pt x="2635472" y="2066847"/>
                </a:cubicBezTo>
                <a:lnTo>
                  <a:pt x="2645148" y="2065658"/>
                </a:lnTo>
                <a:cubicBezTo>
                  <a:pt x="2654219" y="2068512"/>
                  <a:pt x="2646357" y="2046155"/>
                  <a:pt x="2649381" y="2038307"/>
                </a:cubicBezTo>
                <a:cubicBezTo>
                  <a:pt x="2657847" y="2060900"/>
                  <a:pt x="2683247" y="2029507"/>
                  <a:pt x="2681433" y="2061139"/>
                </a:cubicBezTo>
                <a:cubicBezTo>
                  <a:pt x="2698970" y="2046631"/>
                  <a:pt x="2703203" y="2056858"/>
                  <a:pt x="2719531" y="2066133"/>
                </a:cubicBezTo>
                <a:cubicBezTo>
                  <a:pt x="2717717" y="2052339"/>
                  <a:pt x="2714089" y="2040210"/>
                  <a:pt x="2707436" y="2031647"/>
                </a:cubicBezTo>
                <a:cubicBezTo>
                  <a:pt x="2712880" y="2016188"/>
                  <a:pt x="2723159" y="2040447"/>
                  <a:pt x="2720136" y="2054004"/>
                </a:cubicBezTo>
                <a:cubicBezTo>
                  <a:pt x="2750978" y="2054717"/>
                  <a:pt x="2790891" y="2080641"/>
                  <a:pt x="2814476" y="2044966"/>
                </a:cubicBezTo>
                <a:cubicBezTo>
                  <a:pt x="2828385" y="2050198"/>
                  <a:pt x="2839875" y="2060663"/>
                  <a:pt x="2848342" y="2073268"/>
                </a:cubicBezTo>
                <a:cubicBezTo>
                  <a:pt x="2861042" y="2066371"/>
                  <a:pt x="2840480" y="2050437"/>
                  <a:pt x="2853180" y="2043540"/>
                </a:cubicBezTo>
                <a:cubicBezTo>
                  <a:pt x="2872532" y="2041399"/>
                  <a:pt x="2867693" y="2041399"/>
                  <a:pt x="2886441" y="2044966"/>
                </a:cubicBezTo>
                <a:cubicBezTo>
                  <a:pt x="2888254" y="2062804"/>
                  <a:pt x="2875555" y="2061853"/>
                  <a:pt x="2884626" y="2072555"/>
                </a:cubicBezTo>
                <a:cubicBezTo>
                  <a:pt x="2896721" y="2069463"/>
                  <a:pt x="2907002" y="2064469"/>
                  <a:pt x="2914863" y="2055430"/>
                </a:cubicBezTo>
                <a:cubicBezTo>
                  <a:pt x="2888254" y="2053052"/>
                  <a:pt x="2906397" y="2034501"/>
                  <a:pt x="2899140" y="2037831"/>
                </a:cubicBezTo>
                <a:cubicBezTo>
                  <a:pt x="2889463" y="2031171"/>
                  <a:pt x="2907606" y="2008815"/>
                  <a:pt x="2923935" y="2014286"/>
                </a:cubicBezTo>
                <a:cubicBezTo>
                  <a:pt x="2902164" y="2024274"/>
                  <a:pt x="2917887" y="2039258"/>
                  <a:pt x="2923935" y="2061614"/>
                </a:cubicBezTo>
                <a:cubicBezTo>
                  <a:pt x="2920910" y="2033550"/>
                  <a:pt x="2941472" y="2047581"/>
                  <a:pt x="2947520" y="2020470"/>
                </a:cubicBezTo>
                <a:cubicBezTo>
                  <a:pt x="2994084" y="2010480"/>
                  <a:pt x="3013436" y="2049724"/>
                  <a:pt x="3060606" y="2019994"/>
                </a:cubicBezTo>
                <a:cubicBezTo>
                  <a:pt x="3054559" y="2003584"/>
                  <a:pt x="3035813" y="2035929"/>
                  <a:pt x="3038231" y="2004297"/>
                </a:cubicBezTo>
                <a:cubicBezTo>
                  <a:pt x="3056979" y="2004058"/>
                  <a:pt x="3071492" y="2010718"/>
                  <a:pt x="3075120" y="2026891"/>
                </a:cubicBezTo>
                <a:cubicBezTo>
                  <a:pt x="3085401" y="2015949"/>
                  <a:pt x="3079959" y="2015712"/>
                  <a:pt x="3089030" y="2026415"/>
                </a:cubicBezTo>
                <a:cubicBezTo>
                  <a:pt x="3104148" y="2015712"/>
                  <a:pt x="3075725" y="2009528"/>
                  <a:pt x="3084797" y="1986459"/>
                </a:cubicBezTo>
                <a:cubicBezTo>
                  <a:pt x="3089635" y="1982891"/>
                  <a:pt x="3094472" y="1981465"/>
                  <a:pt x="3094472" y="1975519"/>
                </a:cubicBezTo>
                <a:cubicBezTo>
                  <a:pt x="3127733" y="1980275"/>
                  <a:pt x="3166437" y="1983130"/>
                  <a:pt x="3184579" y="1956967"/>
                </a:cubicBezTo>
                <a:cubicBezTo>
                  <a:pt x="3173694" y="1940081"/>
                  <a:pt x="3150108" y="1972189"/>
                  <a:pt x="3151318" y="1946504"/>
                </a:cubicBezTo>
                <a:cubicBezTo>
                  <a:pt x="3139222" y="1945552"/>
                  <a:pt x="3136804" y="1955303"/>
                  <a:pt x="3131362" y="1962675"/>
                </a:cubicBezTo>
                <a:cubicBezTo>
                  <a:pt x="3119872" y="1957680"/>
                  <a:pt x="3139222" y="1949595"/>
                  <a:pt x="3133176" y="1935088"/>
                </a:cubicBezTo>
                <a:lnTo>
                  <a:pt x="3123500" y="1933898"/>
                </a:lnTo>
                <a:cubicBezTo>
                  <a:pt x="3115033" y="1996687"/>
                  <a:pt x="3061211" y="1923195"/>
                  <a:pt x="3029160" y="1904406"/>
                </a:cubicBezTo>
                <a:cubicBezTo>
                  <a:pt x="3030369" y="1926288"/>
                  <a:pt x="3054559" y="1920341"/>
                  <a:pt x="3053349" y="1946028"/>
                </a:cubicBezTo>
                <a:lnTo>
                  <a:pt x="3024321" y="1945552"/>
                </a:lnTo>
                <a:cubicBezTo>
                  <a:pt x="3018275" y="1961011"/>
                  <a:pt x="3047303" y="1961249"/>
                  <a:pt x="3023113" y="1963151"/>
                </a:cubicBezTo>
                <a:cubicBezTo>
                  <a:pt x="3020089" y="1978849"/>
                  <a:pt x="3032183" y="1973854"/>
                  <a:pt x="3036417" y="1980038"/>
                </a:cubicBezTo>
                <a:cubicBezTo>
                  <a:pt x="3023113" y="2006675"/>
                  <a:pt x="3014041" y="1952211"/>
                  <a:pt x="3003156" y="1973141"/>
                </a:cubicBezTo>
                <a:cubicBezTo>
                  <a:pt x="3000132" y="1903454"/>
                  <a:pt x="2923935" y="1931043"/>
                  <a:pt x="2862251" y="1921769"/>
                </a:cubicBezTo>
                <a:cubicBezTo>
                  <a:pt x="2861647" y="1937703"/>
                  <a:pt x="2873136" y="1938418"/>
                  <a:pt x="2885231" y="1939607"/>
                </a:cubicBezTo>
                <a:cubicBezTo>
                  <a:pt x="2865274" y="1953638"/>
                  <a:pt x="2841085" y="1925574"/>
                  <a:pt x="2835037" y="1903217"/>
                </a:cubicBezTo>
                <a:cubicBezTo>
                  <a:pt x="2847132" y="1904169"/>
                  <a:pt x="2856203" y="1905119"/>
                  <a:pt x="2864065" y="1897985"/>
                </a:cubicBezTo>
                <a:cubicBezTo>
                  <a:pt x="2854994" y="1881336"/>
                  <a:pt x="2841690" y="1904169"/>
                  <a:pt x="2830200" y="1899174"/>
                </a:cubicBezTo>
                <a:cubicBezTo>
                  <a:pt x="2824757" y="1904645"/>
                  <a:pt x="2826570" y="1916535"/>
                  <a:pt x="2830804" y="1932709"/>
                </a:cubicBezTo>
                <a:cubicBezTo>
                  <a:pt x="2816290" y="1929617"/>
                  <a:pt x="2822942" y="1904406"/>
                  <a:pt x="2806009" y="1904882"/>
                </a:cubicBezTo>
                <a:cubicBezTo>
                  <a:pt x="2808429" y="1899174"/>
                  <a:pt x="2811453" y="1895368"/>
                  <a:pt x="2811453" y="1887520"/>
                </a:cubicBezTo>
                <a:cubicBezTo>
                  <a:pt x="2828990" y="1881099"/>
                  <a:pt x="2842899" y="1886093"/>
                  <a:pt x="2871927" y="1880860"/>
                </a:cubicBezTo>
                <a:cubicBezTo>
                  <a:pt x="2888859" y="1921769"/>
                  <a:pt x="2961429" y="1914157"/>
                  <a:pt x="3014647" y="1904882"/>
                </a:cubicBezTo>
                <a:cubicBezTo>
                  <a:pt x="3006180" y="1892277"/>
                  <a:pt x="2988037" y="1906547"/>
                  <a:pt x="2998922" y="1881812"/>
                </a:cubicBezTo>
                <a:cubicBezTo>
                  <a:pt x="2980175" y="1874202"/>
                  <a:pt x="2979571" y="1889898"/>
                  <a:pt x="2967476" y="1892752"/>
                </a:cubicBezTo>
                <a:cubicBezTo>
                  <a:pt x="2985619" y="1864450"/>
                  <a:pt x="2911236" y="1860644"/>
                  <a:pt x="2938448" y="1853034"/>
                </a:cubicBezTo>
                <a:cubicBezTo>
                  <a:pt x="2927563" y="1832105"/>
                  <a:pt x="2916678" y="1858980"/>
                  <a:pt x="2916073" y="1870872"/>
                </a:cubicBezTo>
                <a:cubicBezTo>
                  <a:pt x="2908816" y="1866353"/>
                  <a:pt x="2904583" y="1861596"/>
                  <a:pt x="2897326" y="1857077"/>
                </a:cubicBezTo>
                <a:cubicBezTo>
                  <a:pt x="2898535" y="1845185"/>
                  <a:pt x="2914259" y="1852797"/>
                  <a:pt x="2914863" y="1840905"/>
                </a:cubicBezTo>
                <a:cubicBezTo>
                  <a:pt x="2906397" y="1826397"/>
                  <a:pt x="2889463" y="1824732"/>
                  <a:pt x="2877974" y="1817835"/>
                </a:cubicBezTo>
                <a:cubicBezTo>
                  <a:pt x="2868298" y="1819024"/>
                  <a:pt x="2881603" y="1838051"/>
                  <a:pt x="2891279" y="1834959"/>
                </a:cubicBezTo>
                <a:cubicBezTo>
                  <a:pt x="2890674" y="1842807"/>
                  <a:pt x="2881603" y="1839953"/>
                  <a:pt x="2882207" y="1834007"/>
                </a:cubicBezTo>
                <a:cubicBezTo>
                  <a:pt x="2874345" y="1837337"/>
                  <a:pt x="2886441" y="1844235"/>
                  <a:pt x="2876764" y="1845424"/>
                </a:cubicBezTo>
                <a:cubicBezTo>
                  <a:pt x="2854994" y="1803803"/>
                  <a:pt x="2821128" y="1797382"/>
                  <a:pt x="2797544" y="1789533"/>
                </a:cubicBezTo>
                <a:cubicBezTo>
                  <a:pt x="2812661" y="1822354"/>
                  <a:pt x="2844713" y="1807132"/>
                  <a:pt x="2852575" y="1841381"/>
                </a:cubicBezTo>
                <a:cubicBezTo>
                  <a:pt x="2845922" y="1833056"/>
                  <a:pt x="2828385" y="1841381"/>
                  <a:pt x="2829594" y="1823543"/>
                </a:cubicBezTo>
                <a:cubicBezTo>
                  <a:pt x="2807824" y="1825684"/>
                  <a:pt x="2805404" y="1833532"/>
                  <a:pt x="2793310" y="1834483"/>
                </a:cubicBezTo>
                <a:cubicBezTo>
                  <a:pt x="2792100" y="1846375"/>
                  <a:pt x="2804195" y="1845424"/>
                  <a:pt x="2811453" y="1851845"/>
                </a:cubicBezTo>
                <a:cubicBezTo>
                  <a:pt x="2827781" y="1859218"/>
                  <a:pt x="2824152" y="1836861"/>
                  <a:pt x="2838060" y="1840191"/>
                </a:cubicBezTo>
                <a:lnTo>
                  <a:pt x="2839271" y="1870396"/>
                </a:lnTo>
                <a:cubicBezTo>
                  <a:pt x="2825966" y="1849467"/>
                  <a:pt x="2827175" y="1869207"/>
                  <a:pt x="2809638" y="1875628"/>
                </a:cubicBezTo>
                <a:cubicBezTo>
                  <a:pt x="2804195" y="1847802"/>
                  <a:pt x="2780610" y="1843759"/>
                  <a:pt x="2769120" y="1824019"/>
                </a:cubicBezTo>
                <a:cubicBezTo>
                  <a:pt x="2764282" y="1835672"/>
                  <a:pt x="2746745" y="1852797"/>
                  <a:pt x="2774563" y="1851369"/>
                </a:cubicBezTo>
                <a:cubicBezTo>
                  <a:pt x="2767911" y="1876341"/>
                  <a:pt x="2747954" y="1853034"/>
                  <a:pt x="2737674" y="1844235"/>
                </a:cubicBezTo>
                <a:cubicBezTo>
                  <a:pt x="2747954" y="1837575"/>
                  <a:pt x="2752188" y="1823543"/>
                  <a:pt x="2769120" y="1822115"/>
                </a:cubicBezTo>
                <a:cubicBezTo>
                  <a:pt x="2766097" y="1816408"/>
                  <a:pt x="2763678" y="1809986"/>
                  <a:pt x="2763678" y="1800473"/>
                </a:cubicBezTo>
                <a:cubicBezTo>
                  <a:pt x="2742511" y="1792624"/>
                  <a:pt x="2718926" y="1818548"/>
                  <a:pt x="2720740" y="1788820"/>
                </a:cubicBezTo>
                <a:cubicBezTo>
                  <a:pt x="2744931" y="1789057"/>
                  <a:pt x="2747350" y="1795002"/>
                  <a:pt x="2769120" y="1788820"/>
                </a:cubicBezTo>
                <a:cubicBezTo>
                  <a:pt x="2766097" y="1800473"/>
                  <a:pt x="2789682" y="1808322"/>
                  <a:pt x="2777587" y="1811413"/>
                </a:cubicBezTo>
                <a:cubicBezTo>
                  <a:pt x="2781819" y="1819500"/>
                  <a:pt x="2793914" y="1820452"/>
                  <a:pt x="2800567" y="1823067"/>
                </a:cubicBezTo>
                <a:cubicBezTo>
                  <a:pt x="2809638" y="1797856"/>
                  <a:pt x="2784843" y="1807608"/>
                  <a:pt x="2788472" y="1788105"/>
                </a:cubicBezTo>
                <a:cubicBezTo>
                  <a:pt x="2798148" y="1785014"/>
                  <a:pt x="2801172" y="1773597"/>
                  <a:pt x="2815685" y="1776690"/>
                </a:cubicBezTo>
                <a:cubicBezTo>
                  <a:pt x="2813266" y="1770506"/>
                  <a:pt x="2806009" y="1768128"/>
                  <a:pt x="2801776" y="1765750"/>
                </a:cubicBezTo>
                <a:cubicBezTo>
                  <a:pt x="2788472" y="1748863"/>
                  <a:pt x="2819919" y="1776927"/>
                  <a:pt x="2821128" y="1759328"/>
                </a:cubicBezTo>
                <a:cubicBezTo>
                  <a:pt x="2825362" y="1767652"/>
                  <a:pt x="2839271" y="1776690"/>
                  <a:pt x="2828990" y="1787630"/>
                </a:cubicBezTo>
                <a:cubicBezTo>
                  <a:pt x="2835641" y="1796193"/>
                  <a:pt x="2853180" y="1790009"/>
                  <a:pt x="2854994" y="1806181"/>
                </a:cubicBezTo>
                <a:cubicBezTo>
                  <a:pt x="2860437" y="1796667"/>
                  <a:pt x="2861042" y="1780495"/>
                  <a:pt x="2877974" y="1781922"/>
                </a:cubicBezTo>
                <a:cubicBezTo>
                  <a:pt x="2880998" y="1809986"/>
                  <a:pt x="2913049" y="1796906"/>
                  <a:pt x="2920910" y="1829251"/>
                </a:cubicBezTo>
                <a:cubicBezTo>
                  <a:pt x="2919701" y="1807370"/>
                  <a:pt x="2940262" y="1827349"/>
                  <a:pt x="2954172" y="1834483"/>
                </a:cubicBezTo>
                <a:cubicBezTo>
                  <a:pt x="2960824" y="1837099"/>
                  <a:pt x="2960219" y="1802851"/>
                  <a:pt x="2947520" y="1811889"/>
                </a:cubicBezTo>
                <a:cubicBezTo>
                  <a:pt x="2960219" y="1800949"/>
                  <a:pt x="2980175" y="1796667"/>
                  <a:pt x="3000132" y="1782398"/>
                </a:cubicBezTo>
                <a:cubicBezTo>
                  <a:pt x="3006785" y="1786916"/>
                  <a:pt x="3008599" y="1801425"/>
                  <a:pt x="3020694" y="1800473"/>
                </a:cubicBezTo>
                <a:cubicBezTo>
                  <a:pt x="3027345" y="1775025"/>
                  <a:pt x="3007994" y="1769554"/>
                  <a:pt x="2986829" y="1765750"/>
                </a:cubicBezTo>
                <a:cubicBezTo>
                  <a:pt x="2978361" y="1785014"/>
                  <a:pt x="2963848" y="1783825"/>
                  <a:pt x="2943891" y="1794052"/>
                </a:cubicBezTo>
                <a:cubicBezTo>
                  <a:pt x="2946915" y="1790484"/>
                  <a:pt x="2955986" y="1763133"/>
                  <a:pt x="2943891" y="1760042"/>
                </a:cubicBezTo>
                <a:cubicBezTo>
                  <a:pt x="2942076" y="1750053"/>
                  <a:pt x="2970500" y="1748625"/>
                  <a:pt x="2962639" y="1765750"/>
                </a:cubicBezTo>
                <a:cubicBezTo>
                  <a:pt x="2967476" y="1764322"/>
                  <a:pt x="2967476" y="1760279"/>
                  <a:pt x="2972314" y="1758852"/>
                </a:cubicBezTo>
                <a:cubicBezTo>
                  <a:pt x="2973524" y="1742917"/>
                  <a:pt x="2951752" y="1742917"/>
                  <a:pt x="2978361" y="1743156"/>
                </a:cubicBezTo>
                <a:cubicBezTo>
                  <a:pt x="2969290" y="1730550"/>
                  <a:pt x="2969290" y="1738398"/>
                  <a:pt x="2972314" y="1718897"/>
                </a:cubicBezTo>
                <a:cubicBezTo>
                  <a:pt x="2954172" y="1745058"/>
                  <a:pt x="2946310" y="1714378"/>
                  <a:pt x="2939053" y="1753620"/>
                </a:cubicBezTo>
                <a:cubicBezTo>
                  <a:pt x="2922726" y="1750053"/>
                  <a:pt x="2953567" y="1724842"/>
                  <a:pt x="2931191" y="1731026"/>
                </a:cubicBezTo>
                <a:cubicBezTo>
                  <a:pt x="2929377" y="1724842"/>
                  <a:pt x="2936029" y="1726031"/>
                  <a:pt x="2939053" y="1724129"/>
                </a:cubicBezTo>
                <a:cubicBezTo>
                  <a:pt x="2936634" y="1716043"/>
                  <a:pt x="2924539" y="1718897"/>
                  <a:pt x="2929982" y="1701534"/>
                </a:cubicBezTo>
                <a:cubicBezTo>
                  <a:pt x="2917282" y="1718182"/>
                  <a:pt x="2904583" y="1735069"/>
                  <a:pt x="2895512" y="1760042"/>
                </a:cubicBezTo>
                <a:cubicBezTo>
                  <a:pt x="2881603" y="1754809"/>
                  <a:pt x="2894302" y="1747912"/>
                  <a:pt x="2893093" y="1729836"/>
                </a:cubicBezTo>
                <a:cubicBezTo>
                  <a:pt x="2880393" y="1738637"/>
                  <a:pt x="2877369" y="1742441"/>
                  <a:pt x="2881603" y="1758852"/>
                </a:cubicBezTo>
                <a:cubicBezTo>
                  <a:pt x="2871927" y="1757901"/>
                  <a:pt x="2866483" y="1761468"/>
                  <a:pt x="2868298" y="1771458"/>
                </a:cubicBezTo>
                <a:cubicBezTo>
                  <a:pt x="2851366" y="1774073"/>
                  <a:pt x="2847132" y="1767415"/>
                  <a:pt x="2835641" y="1764561"/>
                </a:cubicBezTo>
                <a:cubicBezTo>
                  <a:pt x="2836247" y="1750766"/>
                  <a:pt x="2850156" y="1764085"/>
                  <a:pt x="2854994" y="1764561"/>
                </a:cubicBezTo>
                <a:cubicBezTo>
                  <a:pt x="2859832" y="1762896"/>
                  <a:pt x="2857412" y="1750528"/>
                  <a:pt x="2858017" y="1742680"/>
                </a:cubicBezTo>
                <a:cubicBezTo>
                  <a:pt x="2837457" y="1762657"/>
                  <a:pt x="2811453" y="1726745"/>
                  <a:pt x="2807219" y="1754096"/>
                </a:cubicBezTo>
                <a:cubicBezTo>
                  <a:pt x="2795124" y="1756949"/>
                  <a:pt x="2792100" y="1727220"/>
                  <a:pt x="2783634" y="1748388"/>
                </a:cubicBezTo>
                <a:cubicBezTo>
                  <a:pt x="2764886" y="1738874"/>
                  <a:pt x="2793914" y="1739113"/>
                  <a:pt x="2787263" y="1724604"/>
                </a:cubicBezTo>
                <a:cubicBezTo>
                  <a:pt x="2791496" y="1731026"/>
                  <a:pt x="2806615" y="1726507"/>
                  <a:pt x="2802986" y="1742204"/>
                </a:cubicBezTo>
                <a:cubicBezTo>
                  <a:pt x="2820524" y="1727696"/>
                  <a:pt x="2856808" y="1734355"/>
                  <a:pt x="2862856" y="1707242"/>
                </a:cubicBezTo>
                <a:cubicBezTo>
                  <a:pt x="2880393" y="1698680"/>
                  <a:pt x="2866483" y="1727696"/>
                  <a:pt x="2878578" y="1724604"/>
                </a:cubicBezTo>
                <a:cubicBezTo>
                  <a:pt x="2883417" y="1723177"/>
                  <a:pt x="2881603" y="1719134"/>
                  <a:pt x="2879183" y="1718897"/>
                </a:cubicBezTo>
                <a:cubicBezTo>
                  <a:pt x="2879789" y="1701059"/>
                  <a:pt x="2888254" y="1723653"/>
                  <a:pt x="2895512" y="1718421"/>
                </a:cubicBezTo>
                <a:cubicBezTo>
                  <a:pt x="2876160" y="1681081"/>
                  <a:pt x="2843503" y="1705816"/>
                  <a:pt x="2821733" y="1712000"/>
                </a:cubicBezTo>
                <a:cubicBezTo>
                  <a:pt x="2829594" y="1698680"/>
                  <a:pt x="2803590" y="1690593"/>
                  <a:pt x="2801776" y="1672519"/>
                </a:cubicBezTo>
                <a:cubicBezTo>
                  <a:pt x="2794519" y="1677989"/>
                  <a:pt x="2787263" y="1681318"/>
                  <a:pt x="2789077" y="1695351"/>
                </a:cubicBezTo>
                <a:cubicBezTo>
                  <a:pt x="2776378" y="1690593"/>
                  <a:pt x="2790286" y="1681794"/>
                  <a:pt x="2784238" y="1674897"/>
                </a:cubicBezTo>
                <a:cubicBezTo>
                  <a:pt x="2772144" y="1672043"/>
                  <a:pt x="2769120" y="1681081"/>
                  <a:pt x="2770934" y="1696777"/>
                </a:cubicBezTo>
                <a:cubicBezTo>
                  <a:pt x="2760654" y="1692021"/>
                  <a:pt x="2761863" y="1675135"/>
                  <a:pt x="2749164" y="1673946"/>
                </a:cubicBezTo>
                <a:cubicBezTo>
                  <a:pt x="2746140" y="1683459"/>
                  <a:pt x="2730416" y="1683459"/>
                  <a:pt x="2734650" y="1701534"/>
                </a:cubicBezTo>
                <a:cubicBezTo>
                  <a:pt x="2725579" y="1687026"/>
                  <a:pt x="2707436" y="1681794"/>
                  <a:pt x="2703203" y="1661817"/>
                </a:cubicBezTo>
                <a:cubicBezTo>
                  <a:pt x="2720740" y="1671092"/>
                  <a:pt x="2718926" y="1667286"/>
                  <a:pt x="2731021" y="1680129"/>
                </a:cubicBezTo>
                <a:cubicBezTo>
                  <a:pt x="2741302" y="1681081"/>
                  <a:pt x="2746745" y="1675610"/>
                  <a:pt x="2744931" y="1661817"/>
                </a:cubicBezTo>
                <a:cubicBezTo>
                  <a:pt x="2757630" y="1664671"/>
                  <a:pt x="2761259" y="1684648"/>
                  <a:pt x="2764886" y="1657535"/>
                </a:cubicBezTo>
                <a:cubicBezTo>
                  <a:pt x="2776982" y="1656822"/>
                  <a:pt x="2779401" y="1663719"/>
                  <a:pt x="2783029" y="1672519"/>
                </a:cubicBezTo>
                <a:cubicBezTo>
                  <a:pt x="2795728" y="1661817"/>
                  <a:pt x="2795124" y="1632324"/>
                  <a:pt x="2815685" y="1649925"/>
                </a:cubicBezTo>
                <a:cubicBezTo>
                  <a:pt x="2800567" y="1622812"/>
                  <a:pt x="2767306" y="1653255"/>
                  <a:pt x="2744931" y="1631611"/>
                </a:cubicBezTo>
                <a:cubicBezTo>
                  <a:pt x="2752792" y="1618293"/>
                  <a:pt x="2771539" y="1620671"/>
                  <a:pt x="2784238" y="1613773"/>
                </a:cubicBezTo>
                <a:cubicBezTo>
                  <a:pt x="2769725" y="1614488"/>
                  <a:pt x="2758840" y="1599029"/>
                  <a:pt x="2732230" y="1602596"/>
                </a:cubicBezTo>
                <a:cubicBezTo>
                  <a:pt x="2728602" y="1624238"/>
                  <a:pt x="2737069" y="1633039"/>
                  <a:pt x="2746140" y="1643741"/>
                </a:cubicBezTo>
                <a:cubicBezTo>
                  <a:pt x="2738279" y="1657059"/>
                  <a:pt x="2720740" y="1629709"/>
                  <a:pt x="2731021" y="1660389"/>
                </a:cubicBezTo>
                <a:cubicBezTo>
                  <a:pt x="2709250" y="1656583"/>
                  <a:pt x="2721950" y="1643741"/>
                  <a:pt x="2720740" y="1625903"/>
                </a:cubicBezTo>
                <a:cubicBezTo>
                  <a:pt x="2717112" y="1609493"/>
                  <a:pt x="2694737" y="1621622"/>
                  <a:pt x="2694132" y="1631611"/>
                </a:cubicBezTo>
                <a:cubicBezTo>
                  <a:pt x="2695946" y="1641601"/>
                  <a:pt x="2709250" y="1627092"/>
                  <a:pt x="2712880" y="1643265"/>
                </a:cubicBezTo>
                <a:cubicBezTo>
                  <a:pt x="2707436" y="1660626"/>
                  <a:pt x="2702599" y="1654205"/>
                  <a:pt x="2683247" y="1660389"/>
                </a:cubicBezTo>
                <a:cubicBezTo>
                  <a:pt x="2684456" y="1640649"/>
                  <a:pt x="2664499" y="1647071"/>
                  <a:pt x="2665710" y="1625190"/>
                </a:cubicBezTo>
                <a:cubicBezTo>
                  <a:pt x="2656638" y="1624477"/>
                  <a:pt x="2655428" y="1632324"/>
                  <a:pt x="2645753" y="1631611"/>
                </a:cubicBezTo>
                <a:cubicBezTo>
                  <a:pt x="2651800" y="1612108"/>
                  <a:pt x="2649381" y="1615677"/>
                  <a:pt x="2640915" y="1601168"/>
                </a:cubicBezTo>
                <a:cubicBezTo>
                  <a:pt x="2617329" y="1591180"/>
                  <a:pt x="2590722" y="1634941"/>
                  <a:pt x="2611887" y="1642790"/>
                </a:cubicBezTo>
                <a:cubicBezTo>
                  <a:pt x="2608864" y="1650400"/>
                  <a:pt x="2601607" y="1653255"/>
                  <a:pt x="2594349" y="1654681"/>
                </a:cubicBezTo>
                <a:cubicBezTo>
                  <a:pt x="2596768" y="1648973"/>
                  <a:pt x="2599792" y="1641125"/>
                  <a:pt x="2597977" y="1630898"/>
                </a:cubicBezTo>
                <a:cubicBezTo>
                  <a:pt x="2583464" y="1631850"/>
                  <a:pt x="2570160" y="1668714"/>
                  <a:pt x="2564717" y="1630422"/>
                </a:cubicBezTo>
                <a:cubicBezTo>
                  <a:pt x="2576813" y="1631611"/>
                  <a:pt x="2581045" y="1641601"/>
                  <a:pt x="2588907" y="1630422"/>
                </a:cubicBezTo>
                <a:cubicBezTo>
                  <a:pt x="2587092" y="1620433"/>
                  <a:pt x="2567136" y="1630422"/>
                  <a:pt x="2575602" y="1607352"/>
                </a:cubicBezTo>
                <a:cubicBezTo>
                  <a:pt x="2556856" y="1599742"/>
                  <a:pt x="2548994" y="1615201"/>
                  <a:pt x="2537504" y="1596412"/>
                </a:cubicBezTo>
                <a:cubicBezTo>
                  <a:pt x="2522989" y="1599029"/>
                  <a:pt x="2515734" y="1608065"/>
                  <a:pt x="2514524" y="1625903"/>
                </a:cubicBezTo>
                <a:cubicBezTo>
                  <a:pt x="2518152" y="1642076"/>
                  <a:pt x="2519966" y="1610682"/>
                  <a:pt x="2531456" y="1619482"/>
                </a:cubicBezTo>
                <a:cubicBezTo>
                  <a:pt x="2538713" y="1620195"/>
                  <a:pt x="2518152" y="1639936"/>
                  <a:pt x="2504244" y="1636843"/>
                </a:cubicBezTo>
                <a:cubicBezTo>
                  <a:pt x="2510895" y="1603548"/>
                  <a:pt x="2518757" y="1598790"/>
                  <a:pt x="2518152" y="1566921"/>
                </a:cubicBezTo>
                <a:cubicBezTo>
                  <a:pt x="2538713" y="1580715"/>
                  <a:pt x="2545365" y="1584995"/>
                  <a:pt x="2574997" y="1579526"/>
                </a:cubicBezTo>
                <a:cubicBezTo>
                  <a:pt x="2559275" y="1560262"/>
                  <a:pt x="2518152" y="1561212"/>
                  <a:pt x="2493358" y="1566921"/>
                </a:cubicBezTo>
                <a:cubicBezTo>
                  <a:pt x="2501824" y="1543851"/>
                  <a:pt x="2530851" y="1552174"/>
                  <a:pt x="2542341" y="1560975"/>
                </a:cubicBezTo>
                <a:cubicBezTo>
                  <a:pt x="2556856" y="1550511"/>
                  <a:pt x="2516943" y="1540997"/>
                  <a:pt x="2532060" y="1526489"/>
                </a:cubicBezTo>
                <a:cubicBezTo>
                  <a:pt x="2495172" y="1537192"/>
                  <a:pt x="2474611" y="1519355"/>
                  <a:pt x="2446187" y="1515073"/>
                </a:cubicBezTo>
                <a:cubicBezTo>
                  <a:pt x="2434093" y="1517927"/>
                  <a:pt x="2452840" y="1527678"/>
                  <a:pt x="2447396" y="1539094"/>
                </a:cubicBezTo>
                <a:cubicBezTo>
                  <a:pt x="2432883" y="1541948"/>
                  <a:pt x="2428650" y="1525537"/>
                  <a:pt x="2418369" y="1538619"/>
                </a:cubicBezTo>
                <a:cubicBezTo>
                  <a:pt x="2418369" y="1544564"/>
                  <a:pt x="2432279" y="1557645"/>
                  <a:pt x="2432883" y="1543851"/>
                </a:cubicBezTo>
                <a:cubicBezTo>
                  <a:pt x="2444373" y="1550748"/>
                  <a:pt x="2421998" y="1564780"/>
                  <a:pt x="2409902" y="1561688"/>
                </a:cubicBezTo>
                <a:cubicBezTo>
                  <a:pt x="2406879" y="1571440"/>
                  <a:pt x="2435302" y="1571916"/>
                  <a:pt x="2433488" y="1561688"/>
                </a:cubicBezTo>
                <a:cubicBezTo>
                  <a:pt x="2438930" y="1558358"/>
                  <a:pt x="2429859" y="1592845"/>
                  <a:pt x="2443164" y="1572153"/>
                </a:cubicBezTo>
                <a:cubicBezTo>
                  <a:pt x="2454654" y="1577148"/>
                  <a:pt x="2430463" y="1587375"/>
                  <a:pt x="2438930" y="1607828"/>
                </a:cubicBezTo>
                <a:cubicBezTo>
                  <a:pt x="2434697" y="1591655"/>
                  <a:pt x="2409902" y="1601407"/>
                  <a:pt x="2408693" y="1585471"/>
                </a:cubicBezTo>
                <a:cubicBezTo>
                  <a:pt x="2391760" y="1589990"/>
                  <a:pt x="2408088" y="1598790"/>
                  <a:pt x="2404460" y="1618293"/>
                </a:cubicBezTo>
                <a:cubicBezTo>
                  <a:pt x="2397808" y="1603785"/>
                  <a:pt x="2386318" y="1597364"/>
                  <a:pt x="2366966" y="1601644"/>
                </a:cubicBezTo>
                <a:cubicBezTo>
                  <a:pt x="2372409" y="1584282"/>
                  <a:pt x="2391760" y="1585947"/>
                  <a:pt x="2404460" y="1579050"/>
                </a:cubicBezTo>
                <a:cubicBezTo>
                  <a:pt x="2380875" y="1572866"/>
                  <a:pt x="2365152" y="1585471"/>
                  <a:pt x="2342172" y="1567634"/>
                </a:cubicBezTo>
                <a:cubicBezTo>
                  <a:pt x="2337334" y="1569061"/>
                  <a:pt x="2341567" y="1577624"/>
                  <a:pt x="2346404" y="1577861"/>
                </a:cubicBezTo>
                <a:cubicBezTo>
                  <a:pt x="2330681" y="1602357"/>
                  <a:pt x="2328263" y="1560737"/>
                  <a:pt x="2308911" y="1566921"/>
                </a:cubicBezTo>
                <a:cubicBezTo>
                  <a:pt x="2299235" y="1568110"/>
                  <a:pt x="2310120" y="1582617"/>
                  <a:pt x="2319797" y="1579526"/>
                </a:cubicBezTo>
                <a:cubicBezTo>
                  <a:pt x="2321005" y="1599504"/>
                  <a:pt x="2293792" y="1581428"/>
                  <a:pt x="2290768" y="1596888"/>
                </a:cubicBezTo>
                <a:cubicBezTo>
                  <a:pt x="2276859" y="1585710"/>
                  <a:pt x="2301049" y="1577861"/>
                  <a:pt x="2299840" y="1565732"/>
                </a:cubicBezTo>
                <a:cubicBezTo>
                  <a:pt x="2299840" y="1561688"/>
                  <a:pt x="2295003" y="1561688"/>
                  <a:pt x="2295003" y="1555743"/>
                </a:cubicBezTo>
                <a:cubicBezTo>
                  <a:pt x="2276255" y="1552174"/>
                  <a:pt x="2276859" y="1578098"/>
                  <a:pt x="2265974" y="1555267"/>
                </a:cubicBezTo>
                <a:cubicBezTo>
                  <a:pt x="2268393" y="1599029"/>
                  <a:pt x="2206105" y="1563829"/>
                  <a:pt x="2220618" y="1596888"/>
                </a:cubicBezTo>
                <a:cubicBezTo>
                  <a:pt x="2203684" y="1601407"/>
                  <a:pt x="2209128" y="1579763"/>
                  <a:pt x="2200056" y="1579050"/>
                </a:cubicBezTo>
                <a:cubicBezTo>
                  <a:pt x="2197638" y="1578813"/>
                  <a:pt x="2195219" y="1584521"/>
                  <a:pt x="2190380" y="1584282"/>
                </a:cubicBezTo>
                <a:cubicBezTo>
                  <a:pt x="2192196" y="1590228"/>
                  <a:pt x="2199452" y="1589277"/>
                  <a:pt x="2206105" y="1589990"/>
                </a:cubicBezTo>
                <a:cubicBezTo>
                  <a:pt x="2181310" y="1609493"/>
                  <a:pt x="2164377" y="1575959"/>
                  <a:pt x="2140188" y="1577861"/>
                </a:cubicBezTo>
                <a:lnTo>
                  <a:pt x="2139583" y="1589990"/>
                </a:lnTo>
                <a:cubicBezTo>
                  <a:pt x="2148048" y="1604498"/>
                  <a:pt x="2163772" y="1582142"/>
                  <a:pt x="2177681" y="1595223"/>
                </a:cubicBezTo>
                <a:cubicBezTo>
                  <a:pt x="2157120" y="1617103"/>
                  <a:pt x="2184334" y="1599742"/>
                  <a:pt x="2201266" y="1601168"/>
                </a:cubicBezTo>
                <a:cubicBezTo>
                  <a:pt x="2204290" y="1635178"/>
                  <a:pt x="2177076" y="1595223"/>
                  <a:pt x="2175867" y="1624714"/>
                </a:cubicBezTo>
                <a:cubicBezTo>
                  <a:pt x="2150468" y="1606639"/>
                  <a:pt x="2122650" y="1592131"/>
                  <a:pt x="2114183" y="1565732"/>
                </a:cubicBezTo>
                <a:cubicBezTo>
                  <a:pt x="2109346" y="1569299"/>
                  <a:pt x="2111160" y="1581428"/>
                  <a:pt x="2110555" y="1589277"/>
                </a:cubicBezTo>
                <a:cubicBezTo>
                  <a:pt x="2103902" y="1584758"/>
                  <a:pt x="2096040" y="1581904"/>
                  <a:pt x="2097251" y="1566207"/>
                </a:cubicBezTo>
                <a:cubicBezTo>
                  <a:pt x="2102088" y="1566683"/>
                  <a:pt x="2109346" y="1567634"/>
                  <a:pt x="2109346" y="1561688"/>
                </a:cubicBezTo>
                <a:cubicBezTo>
                  <a:pt x="2109950" y="1551937"/>
                  <a:pt x="2085760" y="1561688"/>
                  <a:pt x="2087575" y="1573818"/>
                </a:cubicBezTo>
                <a:cubicBezTo>
                  <a:pt x="2077899" y="1570964"/>
                  <a:pt x="2078504" y="1557408"/>
                  <a:pt x="2069433" y="1556693"/>
                </a:cubicBezTo>
                <a:cubicBezTo>
                  <a:pt x="2060966" y="1569775"/>
                  <a:pt x="2051290" y="1576435"/>
                  <a:pt x="2034356" y="1579050"/>
                </a:cubicBezTo>
                <a:cubicBezTo>
                  <a:pt x="2025890" y="1552413"/>
                  <a:pt x="2051894" y="1568348"/>
                  <a:pt x="2054918" y="1554791"/>
                </a:cubicBezTo>
                <a:cubicBezTo>
                  <a:pt x="2043428" y="1547894"/>
                  <a:pt x="2018029" y="1537905"/>
                  <a:pt x="2011981" y="1555267"/>
                </a:cubicBezTo>
                <a:cubicBezTo>
                  <a:pt x="1974488" y="1502467"/>
                  <a:pt x="1921875" y="1576909"/>
                  <a:pt x="1892847" y="1536716"/>
                </a:cubicBezTo>
                <a:cubicBezTo>
                  <a:pt x="1876519" y="1565256"/>
                  <a:pt x="1852934" y="1555980"/>
                  <a:pt x="1835396" y="1572153"/>
                </a:cubicBezTo>
                <a:cubicBezTo>
                  <a:pt x="1819069" y="1560975"/>
                  <a:pt x="1850515" y="1559547"/>
                  <a:pt x="1851120" y="1549559"/>
                </a:cubicBezTo>
                <a:cubicBezTo>
                  <a:pt x="1847492" y="1533386"/>
                  <a:pt x="1795484" y="1556693"/>
                  <a:pt x="1811207" y="1532197"/>
                </a:cubicBezTo>
                <a:cubicBezTo>
                  <a:pt x="1789436" y="1536240"/>
                  <a:pt x="1757385" y="1555267"/>
                  <a:pt x="1741056" y="1538143"/>
                </a:cubicBezTo>
                <a:cubicBezTo>
                  <a:pt x="1756175" y="1527441"/>
                  <a:pt x="1784598" y="1533862"/>
                  <a:pt x="1778551" y="1515549"/>
                </a:cubicBezTo>
                <a:cubicBezTo>
                  <a:pt x="1779760" y="1495809"/>
                  <a:pt x="1765851" y="1530295"/>
                  <a:pt x="1764642" y="1508414"/>
                </a:cubicBezTo>
                <a:cubicBezTo>
                  <a:pt x="1765851" y="1526489"/>
                  <a:pt x="1742266" y="1522446"/>
                  <a:pt x="1741056" y="1496522"/>
                </a:cubicBezTo>
                <a:cubicBezTo>
                  <a:pt x="1733800" y="1499852"/>
                  <a:pt x="1728962" y="1505084"/>
                  <a:pt x="1721704" y="1508414"/>
                </a:cubicBezTo>
                <a:cubicBezTo>
                  <a:pt x="1751942" y="1519116"/>
                  <a:pt x="1730171" y="1521257"/>
                  <a:pt x="1708400" y="1525300"/>
                </a:cubicBezTo>
                <a:cubicBezTo>
                  <a:pt x="1709005" y="1513646"/>
                  <a:pt x="1707191" y="1503419"/>
                  <a:pt x="1702958" y="1496998"/>
                </a:cubicBezTo>
                <a:cubicBezTo>
                  <a:pt x="1658206" y="1519116"/>
                  <a:pt x="1617084" y="1481538"/>
                  <a:pt x="1565682" y="1496998"/>
                </a:cubicBezTo>
                <a:cubicBezTo>
                  <a:pt x="1573543" y="1485819"/>
                  <a:pt x="1563867" y="1487009"/>
                  <a:pt x="1565076" y="1467268"/>
                </a:cubicBezTo>
                <a:lnTo>
                  <a:pt x="1584428" y="1466792"/>
                </a:lnTo>
                <a:cubicBezTo>
                  <a:pt x="1583823" y="1476782"/>
                  <a:pt x="1569310" y="1469409"/>
                  <a:pt x="1571124" y="1479636"/>
                </a:cubicBezTo>
                <a:cubicBezTo>
                  <a:pt x="1589872" y="1495096"/>
                  <a:pt x="1600152" y="1484630"/>
                  <a:pt x="1626760" y="1484868"/>
                </a:cubicBezTo>
                <a:cubicBezTo>
                  <a:pt x="1638854" y="1483917"/>
                  <a:pt x="1628575" y="1455377"/>
                  <a:pt x="1638250" y="1450145"/>
                </a:cubicBezTo>
                <a:cubicBezTo>
                  <a:pt x="1637645" y="1466079"/>
                  <a:pt x="1640669" y="1483679"/>
                  <a:pt x="1659416" y="1491290"/>
                </a:cubicBezTo>
                <a:cubicBezTo>
                  <a:pt x="1682397" y="1471311"/>
                  <a:pt x="1669696" y="1484155"/>
                  <a:pt x="1694491" y="1474404"/>
                </a:cubicBezTo>
                <a:lnTo>
                  <a:pt x="1693282" y="1490101"/>
                </a:lnTo>
                <a:cubicBezTo>
                  <a:pt x="1707795" y="1487247"/>
                  <a:pt x="1709610" y="1497948"/>
                  <a:pt x="1721704" y="1496998"/>
                </a:cubicBezTo>
                <a:cubicBezTo>
                  <a:pt x="1736219" y="1496285"/>
                  <a:pt x="1728357" y="1465366"/>
                  <a:pt x="1745290" y="1466792"/>
                </a:cubicBezTo>
                <a:cubicBezTo>
                  <a:pt x="1739242" y="1486295"/>
                  <a:pt x="1746499" y="1484868"/>
                  <a:pt x="1755571" y="1497474"/>
                </a:cubicBezTo>
                <a:cubicBezTo>
                  <a:pt x="1773713" y="1479160"/>
                  <a:pt x="1770084" y="1495096"/>
                  <a:pt x="1794274" y="1496998"/>
                </a:cubicBezTo>
                <a:cubicBezTo>
                  <a:pt x="1797903" y="1513171"/>
                  <a:pt x="1783993" y="1508414"/>
                  <a:pt x="1783388" y="1520068"/>
                </a:cubicBezTo>
                <a:cubicBezTo>
                  <a:pt x="1785202" y="1526252"/>
                  <a:pt x="1787623" y="1526013"/>
                  <a:pt x="1790041" y="1532197"/>
                </a:cubicBezTo>
                <a:cubicBezTo>
                  <a:pt x="1819069" y="1524824"/>
                  <a:pt x="1797298" y="1487247"/>
                  <a:pt x="1835396" y="1490577"/>
                </a:cubicBezTo>
                <a:cubicBezTo>
                  <a:pt x="1838421" y="1477019"/>
                  <a:pt x="1797903" y="1469409"/>
                  <a:pt x="1803950" y="1491766"/>
                </a:cubicBezTo>
                <a:cubicBezTo>
                  <a:pt x="1793669" y="1506749"/>
                  <a:pt x="1802740" y="1474165"/>
                  <a:pt x="1802740" y="1468220"/>
                </a:cubicBezTo>
                <a:cubicBezTo>
                  <a:pt x="1791250" y="1465129"/>
                  <a:pt x="1785808" y="1470361"/>
                  <a:pt x="1787623" y="1484393"/>
                </a:cubicBezTo>
                <a:cubicBezTo>
                  <a:pt x="1774923" y="1455377"/>
                  <a:pt x="1742266" y="1474879"/>
                  <a:pt x="1731985" y="1450145"/>
                </a:cubicBezTo>
                <a:cubicBezTo>
                  <a:pt x="1716867" y="1458945"/>
                  <a:pt x="1739847" y="1476544"/>
                  <a:pt x="1727752" y="1485344"/>
                </a:cubicBezTo>
                <a:cubicBezTo>
                  <a:pt x="1718076" y="1480587"/>
                  <a:pt x="1713843" y="1469885"/>
                  <a:pt x="1712634" y="1455853"/>
                </a:cubicBezTo>
                <a:cubicBezTo>
                  <a:pt x="1690862" y="1456090"/>
                  <a:pt x="1669092" y="1456804"/>
                  <a:pt x="1660626" y="1473928"/>
                </a:cubicBezTo>
                <a:cubicBezTo>
                  <a:pt x="1646716" y="1468696"/>
                  <a:pt x="1661836" y="1453950"/>
                  <a:pt x="1664859" y="1450145"/>
                </a:cubicBezTo>
                <a:cubicBezTo>
                  <a:pt x="1660626" y="1432069"/>
                  <a:pt x="1630389" y="1457280"/>
                  <a:pt x="1630994" y="1445626"/>
                </a:cubicBezTo>
                <a:cubicBezTo>
                  <a:pt x="1627971" y="1462988"/>
                  <a:pt x="1608012" y="1465603"/>
                  <a:pt x="1580195" y="1457280"/>
                </a:cubicBezTo>
                <a:cubicBezTo>
                  <a:pt x="1580195" y="1451334"/>
                  <a:pt x="1589872" y="1451334"/>
                  <a:pt x="1590476" y="1445626"/>
                </a:cubicBezTo>
                <a:cubicBezTo>
                  <a:pt x="1562053" y="1433258"/>
                  <a:pt x="1520325" y="1405908"/>
                  <a:pt x="1499159" y="1443722"/>
                </a:cubicBezTo>
                <a:cubicBezTo>
                  <a:pt x="1492507" y="1435161"/>
                  <a:pt x="1483436" y="1428740"/>
                  <a:pt x="1484646" y="1408999"/>
                </a:cubicBezTo>
                <a:cubicBezTo>
                  <a:pt x="1467713" y="1411616"/>
                  <a:pt x="1453200" y="1410427"/>
                  <a:pt x="1451990" y="1392350"/>
                </a:cubicBezTo>
                <a:cubicBezTo>
                  <a:pt x="1449570" y="1394254"/>
                  <a:pt x="1446547" y="1398059"/>
                  <a:pt x="1441710" y="1397583"/>
                </a:cubicBezTo>
                <a:cubicBezTo>
                  <a:pt x="1445337" y="1425647"/>
                  <a:pt x="1476784" y="1413994"/>
                  <a:pt x="1474970" y="1443722"/>
                </a:cubicBezTo>
                <a:cubicBezTo>
                  <a:pt x="1425986" y="1421604"/>
                  <a:pt x="1389097" y="1400913"/>
                  <a:pt x="1328622" y="1409713"/>
                </a:cubicBezTo>
                <a:cubicBezTo>
                  <a:pt x="1329227" y="1401627"/>
                  <a:pt x="1333459" y="1400437"/>
                  <a:pt x="1334064" y="1392350"/>
                </a:cubicBezTo>
                <a:cubicBezTo>
                  <a:pt x="1326202" y="1399724"/>
                  <a:pt x="1289314" y="1417800"/>
                  <a:pt x="1286290" y="1391637"/>
                </a:cubicBezTo>
                <a:cubicBezTo>
                  <a:pt x="1304432" y="1411140"/>
                  <a:pt x="1308665" y="1378319"/>
                  <a:pt x="1324388" y="1393540"/>
                </a:cubicBezTo>
                <a:cubicBezTo>
                  <a:pt x="1320760" y="1381173"/>
                  <a:pt x="1315923" y="1370946"/>
                  <a:pt x="1301408" y="1375465"/>
                </a:cubicBezTo>
                <a:cubicBezTo>
                  <a:pt x="1301408" y="1327899"/>
                  <a:pt x="1335878" y="1368330"/>
                  <a:pt x="1339508" y="1386405"/>
                </a:cubicBezTo>
                <a:cubicBezTo>
                  <a:pt x="1368536" y="1383075"/>
                  <a:pt x="1363697" y="1380697"/>
                  <a:pt x="1380630" y="1380221"/>
                </a:cubicBezTo>
                <a:cubicBezTo>
                  <a:pt x="1374582" y="1359768"/>
                  <a:pt x="1352812" y="1356201"/>
                  <a:pt x="1344345" y="1341454"/>
                </a:cubicBezTo>
                <a:cubicBezTo>
                  <a:pt x="1338298" y="1362859"/>
                  <a:pt x="1298989" y="1335509"/>
                  <a:pt x="1271171" y="1357151"/>
                </a:cubicBezTo>
                <a:cubicBezTo>
                  <a:pt x="1260285" y="1342168"/>
                  <a:pt x="1308061" y="1348114"/>
                  <a:pt x="1305038" y="1321952"/>
                </a:cubicBezTo>
                <a:cubicBezTo>
                  <a:pt x="1305642" y="1306255"/>
                  <a:pt x="1291733" y="1336935"/>
                  <a:pt x="1295967" y="1311487"/>
                </a:cubicBezTo>
                <a:cubicBezTo>
                  <a:pt x="1308061" y="1306731"/>
                  <a:pt x="1324388" y="1307920"/>
                  <a:pt x="1334064" y="1310774"/>
                </a:cubicBezTo>
                <a:cubicBezTo>
                  <a:pt x="1334669" y="1338600"/>
                  <a:pt x="1315317" y="1309109"/>
                  <a:pt x="1309270" y="1322428"/>
                </a:cubicBezTo>
                <a:cubicBezTo>
                  <a:pt x="1327413" y="1349779"/>
                  <a:pt x="1364907" y="1315769"/>
                  <a:pt x="1375792" y="1340504"/>
                </a:cubicBezTo>
                <a:cubicBezTo>
                  <a:pt x="1366721" y="1325758"/>
                  <a:pt x="1398167" y="1323855"/>
                  <a:pt x="1406029" y="1310774"/>
                </a:cubicBezTo>
                <a:cubicBezTo>
                  <a:pt x="1412681" y="1323141"/>
                  <a:pt x="1405425" y="1318860"/>
                  <a:pt x="1404820" y="1334796"/>
                </a:cubicBezTo>
                <a:cubicBezTo>
                  <a:pt x="1418729" y="1337887"/>
                  <a:pt x="1410867" y="1315531"/>
                  <a:pt x="1429613" y="1322904"/>
                </a:cubicBezTo>
                <a:cubicBezTo>
                  <a:pt x="1426590" y="1336698"/>
                  <a:pt x="1412077" y="1333368"/>
                  <a:pt x="1413286" y="1351443"/>
                </a:cubicBezTo>
                <a:cubicBezTo>
                  <a:pt x="1406029" y="1350730"/>
                  <a:pt x="1399377" y="1348114"/>
                  <a:pt x="1395143" y="1339789"/>
                </a:cubicBezTo>
                <a:cubicBezTo>
                  <a:pt x="1385467" y="1340979"/>
                  <a:pt x="1387282" y="1355249"/>
                  <a:pt x="1381839" y="1364524"/>
                </a:cubicBezTo>
                <a:cubicBezTo>
                  <a:pt x="1399377" y="1391876"/>
                  <a:pt x="1434452" y="1362859"/>
                  <a:pt x="1448361" y="1364048"/>
                </a:cubicBezTo>
                <a:cubicBezTo>
                  <a:pt x="1446547" y="1355962"/>
                  <a:pt x="1434452" y="1359292"/>
                  <a:pt x="1429613" y="1358816"/>
                </a:cubicBezTo>
                <a:cubicBezTo>
                  <a:pt x="1453200" y="1321239"/>
                  <a:pt x="1480413" y="1354773"/>
                  <a:pt x="1505208" y="1380697"/>
                </a:cubicBezTo>
                <a:cubicBezTo>
                  <a:pt x="1517302" y="1379746"/>
                  <a:pt x="1509440" y="1353347"/>
                  <a:pt x="1528188" y="1357151"/>
                </a:cubicBezTo>
                <a:cubicBezTo>
                  <a:pt x="1527583" y="1368806"/>
                  <a:pt x="1515488" y="1365952"/>
                  <a:pt x="1519721" y="1380221"/>
                </a:cubicBezTo>
                <a:cubicBezTo>
                  <a:pt x="1561448" y="1365952"/>
                  <a:pt x="1620108" y="1340979"/>
                  <a:pt x="1665464" y="1350730"/>
                </a:cubicBezTo>
                <a:cubicBezTo>
                  <a:pt x="1664255" y="1332892"/>
                  <a:pt x="1639461" y="1345022"/>
                  <a:pt x="1643088" y="1323617"/>
                </a:cubicBezTo>
                <a:cubicBezTo>
                  <a:pt x="1654578" y="1330514"/>
                  <a:pt x="1673930" y="1330038"/>
                  <a:pt x="1674535" y="1351919"/>
                </a:cubicBezTo>
                <a:cubicBezTo>
                  <a:pt x="1704167" y="1346449"/>
                  <a:pt x="1744685" y="1397583"/>
                  <a:pt x="1780969" y="1357151"/>
                </a:cubicBezTo>
                <a:cubicBezTo>
                  <a:pt x="1777341" y="1370708"/>
                  <a:pt x="1794274" y="1368092"/>
                  <a:pt x="1802740" y="1380697"/>
                </a:cubicBezTo>
                <a:cubicBezTo>
                  <a:pt x="1815440" y="1375941"/>
                  <a:pt x="1812417" y="1355725"/>
                  <a:pt x="1823302" y="1374514"/>
                </a:cubicBezTo>
                <a:cubicBezTo>
                  <a:pt x="1835396" y="1371660"/>
                  <a:pt x="1814230" y="1359768"/>
                  <a:pt x="1817254" y="1346211"/>
                </a:cubicBezTo>
                <a:cubicBezTo>
                  <a:pt x="1834187" y="1345498"/>
                  <a:pt x="1825116" y="1376892"/>
                  <a:pt x="1842049" y="1376416"/>
                </a:cubicBezTo>
                <a:cubicBezTo>
                  <a:pt x="1849306" y="1373086"/>
                  <a:pt x="1842049" y="1370232"/>
                  <a:pt x="1837211" y="1369757"/>
                </a:cubicBezTo>
                <a:cubicBezTo>
                  <a:pt x="1852934" y="1351206"/>
                  <a:pt x="1921875" y="1406384"/>
                  <a:pt x="1936389" y="1364048"/>
                </a:cubicBezTo>
                <a:cubicBezTo>
                  <a:pt x="1941226" y="1364524"/>
                  <a:pt x="1940621" y="1374276"/>
                  <a:pt x="1940017" y="1380221"/>
                </a:cubicBezTo>
                <a:cubicBezTo>
                  <a:pt x="1955136" y="1373562"/>
                  <a:pt x="1978116" y="1387833"/>
                  <a:pt x="1997468" y="1393540"/>
                </a:cubicBezTo>
                <a:cubicBezTo>
                  <a:pt x="2013795" y="1392826"/>
                  <a:pt x="1988397" y="1373086"/>
                  <a:pt x="2002910" y="1376416"/>
                </a:cubicBezTo>
                <a:cubicBezTo>
                  <a:pt x="2023471" y="1388070"/>
                  <a:pt x="2084550" y="1414707"/>
                  <a:pt x="2093017" y="1351919"/>
                </a:cubicBezTo>
                <a:cubicBezTo>
                  <a:pt x="2109950" y="1357151"/>
                  <a:pt x="2092412" y="1365476"/>
                  <a:pt x="2098460" y="1385929"/>
                </a:cubicBezTo>
                <a:cubicBezTo>
                  <a:pt x="2097855" y="1393778"/>
                  <a:pt x="2107532" y="1390687"/>
                  <a:pt x="2107532" y="1398773"/>
                </a:cubicBezTo>
                <a:cubicBezTo>
                  <a:pt x="2116602" y="1399486"/>
                  <a:pt x="2108137" y="1376892"/>
                  <a:pt x="2111160" y="1369281"/>
                </a:cubicBezTo>
                <a:cubicBezTo>
                  <a:pt x="2140188" y="1367854"/>
                  <a:pt x="2164982" y="1358103"/>
                  <a:pt x="2178890" y="1323617"/>
                </a:cubicBezTo>
                <a:cubicBezTo>
                  <a:pt x="2174657" y="1317196"/>
                  <a:pt x="2169820" y="1314580"/>
                  <a:pt x="2162563" y="1311963"/>
                </a:cubicBezTo>
                <a:cubicBezTo>
                  <a:pt x="2157724" y="1313628"/>
                  <a:pt x="2159538" y="1325758"/>
                  <a:pt x="2158934" y="1335746"/>
                </a:cubicBezTo>
                <a:cubicBezTo>
                  <a:pt x="2152887" y="1317434"/>
                  <a:pt x="2144421" y="1330277"/>
                  <a:pt x="2135349" y="1323617"/>
                </a:cubicBezTo>
                <a:cubicBezTo>
                  <a:pt x="2129907" y="1330990"/>
                  <a:pt x="2129907" y="1337174"/>
                  <a:pt x="2139583" y="1339789"/>
                </a:cubicBezTo>
                <a:cubicBezTo>
                  <a:pt x="2131721" y="1353108"/>
                  <a:pt x="2121440" y="1366189"/>
                  <a:pt x="2107532" y="1357151"/>
                </a:cubicBezTo>
                <a:cubicBezTo>
                  <a:pt x="2119627" y="1350254"/>
                  <a:pt x="2131721" y="1345260"/>
                  <a:pt x="2121440" y="1322428"/>
                </a:cubicBezTo>
                <a:cubicBezTo>
                  <a:pt x="2135349" y="1323617"/>
                  <a:pt x="2142606" y="1316719"/>
                  <a:pt x="2152887" y="1311487"/>
                </a:cubicBezTo>
                <a:cubicBezTo>
                  <a:pt x="2153492" y="1297693"/>
                  <a:pt x="2138977" y="1300547"/>
                  <a:pt x="2125068" y="1299358"/>
                </a:cubicBezTo>
                <a:cubicBezTo>
                  <a:pt x="2146840" y="1287228"/>
                  <a:pt x="2123254" y="1283185"/>
                  <a:pt x="2122045" y="1265110"/>
                </a:cubicBezTo>
                <a:cubicBezTo>
                  <a:pt x="2111160" y="1284137"/>
                  <a:pt x="2119022" y="1278905"/>
                  <a:pt x="2102693" y="1271532"/>
                </a:cubicBezTo>
                <a:cubicBezTo>
                  <a:pt x="2103902" y="1293412"/>
                  <a:pt x="2123254" y="1293174"/>
                  <a:pt x="2129907" y="1305542"/>
                </a:cubicBezTo>
                <a:cubicBezTo>
                  <a:pt x="2126882" y="1315293"/>
                  <a:pt x="2109346" y="1311963"/>
                  <a:pt x="2102088" y="1317196"/>
                </a:cubicBezTo>
                <a:cubicBezTo>
                  <a:pt x="2105717" y="1301736"/>
                  <a:pt x="2093622" y="1306255"/>
                  <a:pt x="2088783" y="1299834"/>
                </a:cubicBezTo>
                <a:cubicBezTo>
                  <a:pt x="2091808" y="1294126"/>
                  <a:pt x="2098460" y="1292699"/>
                  <a:pt x="2096646" y="1282709"/>
                </a:cubicBezTo>
                <a:cubicBezTo>
                  <a:pt x="2088179" y="1267964"/>
                  <a:pt x="2061570" y="1279618"/>
                  <a:pt x="2044637" y="1276051"/>
                </a:cubicBezTo>
                <a:cubicBezTo>
                  <a:pt x="2047662" y="1268440"/>
                  <a:pt x="2054918" y="1267489"/>
                  <a:pt x="2054918" y="1259402"/>
                </a:cubicBezTo>
                <a:cubicBezTo>
                  <a:pt x="2032543" y="1271532"/>
                  <a:pt x="2017424" y="1250127"/>
                  <a:pt x="2018029" y="1281759"/>
                </a:cubicBezTo>
                <a:cubicBezTo>
                  <a:pt x="2008958" y="1273197"/>
                  <a:pt x="2001701" y="1260829"/>
                  <a:pt x="1987792" y="1259402"/>
                </a:cubicBezTo>
                <a:cubicBezTo>
                  <a:pt x="1980535" y="1260829"/>
                  <a:pt x="1989606" y="1265586"/>
                  <a:pt x="1989001" y="1277477"/>
                </a:cubicBezTo>
                <a:cubicBezTo>
                  <a:pt x="1977511" y="1266537"/>
                  <a:pt x="1966626" y="1257975"/>
                  <a:pt x="1959974" y="1241565"/>
                </a:cubicBezTo>
                <a:cubicBezTo>
                  <a:pt x="1945460" y="1250127"/>
                  <a:pt x="1909781" y="1284850"/>
                  <a:pt x="1894661" y="1253694"/>
                </a:cubicBezTo>
                <a:cubicBezTo>
                  <a:pt x="1882567" y="1252742"/>
                  <a:pt x="1877123" y="1257975"/>
                  <a:pt x="1878937" y="1269867"/>
                </a:cubicBezTo>
                <a:cubicBezTo>
                  <a:pt x="1865633" y="1256785"/>
                  <a:pt x="1852934" y="1262256"/>
                  <a:pt x="1822092" y="1259402"/>
                </a:cubicBezTo>
                <a:cubicBezTo>
                  <a:pt x="1818464" y="1235381"/>
                  <a:pt x="1839630" y="1242754"/>
                  <a:pt x="1854143" y="1242040"/>
                </a:cubicBezTo>
                <a:cubicBezTo>
                  <a:pt x="1850515" y="1219921"/>
                  <a:pt x="1835396" y="1242516"/>
                  <a:pt x="1821487" y="1229435"/>
                </a:cubicBezTo>
                <a:cubicBezTo>
                  <a:pt x="1816650" y="1228959"/>
                  <a:pt x="1806369" y="1246321"/>
                  <a:pt x="1818464" y="1247273"/>
                </a:cubicBezTo>
                <a:cubicBezTo>
                  <a:pt x="1813021" y="1254646"/>
                  <a:pt x="1805765" y="1253694"/>
                  <a:pt x="1798508" y="1247273"/>
                </a:cubicBezTo>
                <a:cubicBezTo>
                  <a:pt x="1791855" y="1242754"/>
                  <a:pt x="1787623" y="1234430"/>
                  <a:pt x="1788227" y="1224679"/>
                </a:cubicBezTo>
                <a:cubicBezTo>
                  <a:pt x="1766456" y="1224679"/>
                  <a:pt x="1748314" y="1211360"/>
                  <a:pt x="1732591" y="1229911"/>
                </a:cubicBezTo>
                <a:cubicBezTo>
                  <a:pt x="1731985" y="1245608"/>
                  <a:pt x="1750733" y="1215641"/>
                  <a:pt x="1746499" y="1241089"/>
                </a:cubicBezTo>
                <a:cubicBezTo>
                  <a:pt x="1726543" y="1251316"/>
                  <a:pt x="1716262" y="1228483"/>
                  <a:pt x="1694491" y="1230624"/>
                </a:cubicBezTo>
                <a:cubicBezTo>
                  <a:pt x="1687235" y="1232051"/>
                  <a:pt x="1696306" y="1237046"/>
                  <a:pt x="1693282" y="1248462"/>
                </a:cubicBezTo>
                <a:cubicBezTo>
                  <a:pt x="1620713" y="1212549"/>
                  <a:pt x="1549353" y="1237759"/>
                  <a:pt x="1481017" y="1212073"/>
                </a:cubicBezTo>
                <a:cubicBezTo>
                  <a:pt x="1491298" y="1207079"/>
                  <a:pt x="1499764" y="1193999"/>
                  <a:pt x="1510649" y="1206841"/>
                </a:cubicBezTo>
                <a:cubicBezTo>
                  <a:pt x="1497950" y="1182106"/>
                  <a:pt x="1517906" y="1199705"/>
                  <a:pt x="1519116" y="1178063"/>
                </a:cubicBezTo>
                <a:cubicBezTo>
                  <a:pt x="1526373" y="1178776"/>
                  <a:pt x="1530606" y="1188766"/>
                  <a:pt x="1527583" y="1200420"/>
                </a:cubicBezTo>
                <a:cubicBezTo>
                  <a:pt x="1545725" y="1184009"/>
                  <a:pt x="1551168" y="1216354"/>
                  <a:pt x="1570519" y="1212073"/>
                </a:cubicBezTo>
                <a:cubicBezTo>
                  <a:pt x="1582614" y="1211122"/>
                  <a:pt x="1566286" y="1197566"/>
                  <a:pt x="1561448" y="1195188"/>
                </a:cubicBezTo>
                <a:cubicBezTo>
                  <a:pt x="1566892" y="1181869"/>
                  <a:pt x="1580195" y="1205176"/>
                  <a:pt x="1586242" y="1183771"/>
                </a:cubicBezTo>
                <a:cubicBezTo>
                  <a:pt x="1624341" y="1193047"/>
                  <a:pt x="1647321" y="1214927"/>
                  <a:pt x="1684815" y="1184247"/>
                </a:cubicBezTo>
                <a:lnTo>
                  <a:pt x="1686025" y="1205652"/>
                </a:lnTo>
                <a:cubicBezTo>
                  <a:pt x="1693887" y="1196377"/>
                  <a:pt x="1698120" y="1206841"/>
                  <a:pt x="1707795" y="1205652"/>
                </a:cubicBezTo>
                <a:cubicBezTo>
                  <a:pt x="1717472" y="1202560"/>
                  <a:pt x="1696910" y="1186863"/>
                  <a:pt x="1695096" y="1176874"/>
                </a:cubicBezTo>
                <a:cubicBezTo>
                  <a:pt x="1704772" y="1171642"/>
                  <a:pt x="1714449" y="1166886"/>
                  <a:pt x="1708400" y="1142625"/>
                </a:cubicBezTo>
                <a:cubicBezTo>
                  <a:pt x="1718076" y="1141436"/>
                  <a:pt x="1735614" y="1176636"/>
                  <a:pt x="1736824" y="1149048"/>
                </a:cubicBezTo>
                <a:cubicBezTo>
                  <a:pt x="1750733" y="1156183"/>
                  <a:pt x="1735614" y="1176636"/>
                  <a:pt x="1732591" y="1184247"/>
                </a:cubicBezTo>
                <a:cubicBezTo>
                  <a:pt x="1751337" y="1199705"/>
                  <a:pt x="1759199" y="1182344"/>
                  <a:pt x="1770689" y="1153566"/>
                </a:cubicBezTo>
                <a:cubicBezTo>
                  <a:pt x="1777946" y="1154280"/>
                  <a:pt x="1790041" y="1157609"/>
                  <a:pt x="1790041" y="1149761"/>
                </a:cubicBezTo>
                <a:cubicBezTo>
                  <a:pt x="1804554" y="1154993"/>
                  <a:pt x="1784598" y="1164982"/>
                  <a:pt x="1774923" y="1160226"/>
                </a:cubicBezTo>
                <a:cubicBezTo>
                  <a:pt x="1752546" y="1211835"/>
                  <a:pt x="1825116" y="1213976"/>
                  <a:pt x="1836606" y="1177350"/>
                </a:cubicBezTo>
                <a:cubicBezTo>
                  <a:pt x="1855957" y="1179015"/>
                  <a:pt x="1827535" y="1205889"/>
                  <a:pt x="1856562" y="1200420"/>
                </a:cubicBezTo>
                <a:cubicBezTo>
                  <a:pt x="1853539" y="1208030"/>
                  <a:pt x="1846886" y="1205889"/>
                  <a:pt x="1842049" y="1207554"/>
                </a:cubicBezTo>
                <a:cubicBezTo>
                  <a:pt x="1854748" y="1230387"/>
                  <a:pt x="1866843" y="1188052"/>
                  <a:pt x="1880148" y="1206841"/>
                </a:cubicBezTo>
                <a:cubicBezTo>
                  <a:pt x="1885590" y="1201370"/>
                  <a:pt x="1878333" y="1198755"/>
                  <a:pt x="1884381" y="1183296"/>
                </a:cubicBezTo>
                <a:cubicBezTo>
                  <a:pt x="1909781" y="1201370"/>
                  <a:pt x="1915827" y="1176161"/>
                  <a:pt x="1936389" y="1195662"/>
                </a:cubicBezTo>
                <a:cubicBezTo>
                  <a:pt x="1935180" y="1169977"/>
                  <a:pt x="1955740" y="1191619"/>
                  <a:pt x="1969045" y="1166886"/>
                </a:cubicBezTo>
                <a:cubicBezTo>
                  <a:pt x="1978116" y="1179490"/>
                  <a:pt x="1969045" y="1172592"/>
                  <a:pt x="1966021" y="1184247"/>
                </a:cubicBezTo>
                <a:cubicBezTo>
                  <a:pt x="1972068" y="1196853"/>
                  <a:pt x="1999282" y="1184961"/>
                  <a:pt x="1998072" y="1166886"/>
                </a:cubicBezTo>
                <a:cubicBezTo>
                  <a:pt x="2016820" y="1170453"/>
                  <a:pt x="2002305" y="1183296"/>
                  <a:pt x="2016215" y="1188528"/>
                </a:cubicBezTo>
                <a:cubicBezTo>
                  <a:pt x="2037986" y="1184485"/>
                  <a:pt x="2027100" y="1165934"/>
                  <a:pt x="2045242" y="1183296"/>
                </a:cubicBezTo>
                <a:cubicBezTo>
                  <a:pt x="2062780" y="1166886"/>
                  <a:pt x="2037381" y="1156658"/>
                  <a:pt x="2035567" y="1142625"/>
                </a:cubicBezTo>
                <a:cubicBezTo>
                  <a:pt x="2050685" y="1135967"/>
                  <a:pt x="2054918" y="1138345"/>
                  <a:pt x="2063989" y="1149048"/>
                </a:cubicBezTo>
                <a:cubicBezTo>
                  <a:pt x="2069433" y="1135491"/>
                  <a:pt x="2088179" y="1139534"/>
                  <a:pt x="2094227" y="1125978"/>
                </a:cubicBezTo>
                <a:cubicBezTo>
                  <a:pt x="2092412" y="1110043"/>
                  <a:pt x="2083946" y="1132875"/>
                  <a:pt x="2074875" y="1125978"/>
                </a:cubicBezTo>
                <a:cubicBezTo>
                  <a:pt x="2081527" y="1094822"/>
                  <a:pt x="2080318" y="1114799"/>
                  <a:pt x="2070037" y="1090064"/>
                </a:cubicBezTo>
                <a:cubicBezTo>
                  <a:pt x="2097855" y="1102432"/>
                  <a:pt x="2114788" y="1095772"/>
                  <a:pt x="2129907" y="1124789"/>
                </a:cubicBezTo>
                <a:cubicBezTo>
                  <a:pt x="2150468" y="1102670"/>
                  <a:pt x="2177681" y="1093157"/>
                  <a:pt x="2201871" y="1091253"/>
                </a:cubicBezTo>
                <a:cubicBezTo>
                  <a:pt x="2190380" y="1123837"/>
                  <a:pt x="2143816" y="1098151"/>
                  <a:pt x="2149259" y="1130496"/>
                </a:cubicBezTo>
                <a:cubicBezTo>
                  <a:pt x="2164982" y="1145718"/>
                  <a:pt x="2186148" y="1153566"/>
                  <a:pt x="2186752" y="1183296"/>
                </a:cubicBezTo>
                <a:cubicBezTo>
                  <a:pt x="2165586" y="1181393"/>
                  <a:pt x="2157724" y="1150950"/>
                  <a:pt x="2121440" y="1147859"/>
                </a:cubicBezTo>
                <a:cubicBezTo>
                  <a:pt x="2127487" y="1166171"/>
                  <a:pt x="2149863" y="1162128"/>
                  <a:pt x="2158329" y="1176874"/>
                </a:cubicBezTo>
                <a:cubicBezTo>
                  <a:pt x="2136558" y="1186863"/>
                  <a:pt x="2092412" y="1151902"/>
                  <a:pt x="2060362" y="1172831"/>
                </a:cubicBezTo>
                <a:cubicBezTo>
                  <a:pt x="2064594" y="1181155"/>
                  <a:pt x="2084550" y="1202322"/>
                  <a:pt x="2069433" y="1218971"/>
                </a:cubicBezTo>
                <a:cubicBezTo>
                  <a:pt x="2082132" y="1239900"/>
                  <a:pt x="2105112" y="1223966"/>
                  <a:pt x="2136558" y="1224679"/>
                </a:cubicBezTo>
                <a:cubicBezTo>
                  <a:pt x="2137163" y="1214689"/>
                  <a:pt x="2129907" y="1212311"/>
                  <a:pt x="2130512" y="1200420"/>
                </a:cubicBezTo>
                <a:cubicBezTo>
                  <a:pt x="2142606" y="1203511"/>
                  <a:pt x="2146840" y="1213500"/>
                  <a:pt x="2145630" y="1189480"/>
                </a:cubicBezTo>
                <a:cubicBezTo>
                  <a:pt x="2152282" y="1199944"/>
                  <a:pt x="2161354" y="1204939"/>
                  <a:pt x="2173448" y="1208030"/>
                </a:cubicBezTo>
                <a:cubicBezTo>
                  <a:pt x="2174657" y="1207793"/>
                  <a:pt x="2174657" y="1206841"/>
                  <a:pt x="2175262" y="1206128"/>
                </a:cubicBezTo>
                <a:cubicBezTo>
                  <a:pt x="2168610" y="1204224"/>
                  <a:pt x="2164982" y="1193284"/>
                  <a:pt x="2161354" y="1192808"/>
                </a:cubicBezTo>
                <a:cubicBezTo>
                  <a:pt x="2165586" y="1180680"/>
                  <a:pt x="2169215" y="1192571"/>
                  <a:pt x="2175867" y="1205652"/>
                </a:cubicBezTo>
                <a:cubicBezTo>
                  <a:pt x="2177681" y="1203274"/>
                  <a:pt x="2177681" y="1199944"/>
                  <a:pt x="2174053" y="1198042"/>
                </a:cubicBezTo>
                <a:cubicBezTo>
                  <a:pt x="2202476" y="1204463"/>
                  <a:pt x="2233319" y="1209219"/>
                  <a:pt x="2278674" y="1213263"/>
                </a:cubicBezTo>
                <a:cubicBezTo>
                  <a:pt x="2283512" y="1211598"/>
                  <a:pt x="2281697" y="1201370"/>
                  <a:pt x="2286534" y="1201846"/>
                </a:cubicBezTo>
                <a:cubicBezTo>
                  <a:pt x="2282302" y="1193523"/>
                  <a:pt x="2275649" y="1189004"/>
                  <a:pt x="2263554" y="1189955"/>
                </a:cubicBezTo>
                <a:cubicBezTo>
                  <a:pt x="2285326" y="1182106"/>
                  <a:pt x="2272021" y="1164506"/>
                  <a:pt x="2255089" y="1161177"/>
                </a:cubicBezTo>
                <a:cubicBezTo>
                  <a:pt x="2247832" y="1170453"/>
                  <a:pt x="2258112" y="1189480"/>
                  <a:pt x="2238760" y="1195662"/>
                </a:cubicBezTo>
                <a:cubicBezTo>
                  <a:pt x="2229689" y="1187101"/>
                  <a:pt x="2244808" y="1170453"/>
                  <a:pt x="2233923" y="1153566"/>
                </a:cubicBezTo>
                <a:cubicBezTo>
                  <a:pt x="2219409" y="1158323"/>
                  <a:pt x="2227875" y="1180917"/>
                  <a:pt x="2220013" y="1184247"/>
                </a:cubicBezTo>
                <a:cubicBezTo>
                  <a:pt x="2194615" y="1166171"/>
                  <a:pt x="2221222" y="1128832"/>
                  <a:pt x="2182519" y="1137393"/>
                </a:cubicBezTo>
                <a:cubicBezTo>
                  <a:pt x="2178890" y="1117416"/>
                  <a:pt x="2201871" y="1129070"/>
                  <a:pt x="2211546" y="1125978"/>
                </a:cubicBezTo>
                <a:cubicBezTo>
                  <a:pt x="2216385" y="1130496"/>
                  <a:pt x="2216385" y="1138108"/>
                  <a:pt x="2215780" y="1147859"/>
                </a:cubicBezTo>
                <a:cubicBezTo>
                  <a:pt x="2260531" y="1159750"/>
                  <a:pt x="2252064" y="1091968"/>
                  <a:pt x="2207918" y="1108141"/>
                </a:cubicBezTo>
                <a:cubicBezTo>
                  <a:pt x="2210337" y="1104335"/>
                  <a:pt x="2213361" y="1098389"/>
                  <a:pt x="2206105" y="1095772"/>
                </a:cubicBezTo>
                <a:cubicBezTo>
                  <a:pt x="2209128" y="1092205"/>
                  <a:pt x="2247227" y="1091016"/>
                  <a:pt x="2244203" y="1108616"/>
                </a:cubicBezTo>
                <a:cubicBezTo>
                  <a:pt x="2258717" y="1101957"/>
                  <a:pt x="2235737" y="1088399"/>
                  <a:pt x="2250855" y="1079838"/>
                </a:cubicBezTo>
                <a:cubicBezTo>
                  <a:pt x="2213966" y="1086497"/>
                  <a:pt x="2206105" y="1060097"/>
                  <a:pt x="2169215" y="1066995"/>
                </a:cubicBezTo>
                <a:cubicBezTo>
                  <a:pt x="2171029" y="1079124"/>
                  <a:pt x="2144421" y="1088399"/>
                  <a:pt x="2154096" y="1091253"/>
                </a:cubicBezTo>
                <a:cubicBezTo>
                  <a:pt x="2129907" y="1089114"/>
                  <a:pt x="2101484" y="1078649"/>
                  <a:pt x="2074875" y="1078411"/>
                </a:cubicBezTo>
                <a:cubicBezTo>
                  <a:pt x="2089994" y="1069849"/>
                  <a:pt x="2097855" y="1064855"/>
                  <a:pt x="2084550" y="1043925"/>
                </a:cubicBezTo>
                <a:cubicBezTo>
                  <a:pt x="2099065" y="1041071"/>
                  <a:pt x="2105717" y="1051060"/>
                  <a:pt x="2097855" y="1062238"/>
                </a:cubicBezTo>
                <a:cubicBezTo>
                  <a:pt x="2110555" y="1053439"/>
                  <a:pt x="2126882" y="1057006"/>
                  <a:pt x="2115997" y="1073892"/>
                </a:cubicBezTo>
                <a:cubicBezTo>
                  <a:pt x="2132931" y="1079362"/>
                  <a:pt x="2125068" y="1055104"/>
                  <a:pt x="2136558" y="1056054"/>
                </a:cubicBezTo>
                <a:cubicBezTo>
                  <a:pt x="2135349" y="1040120"/>
                  <a:pt x="2102693" y="1060812"/>
                  <a:pt x="2103298" y="1045114"/>
                </a:cubicBezTo>
                <a:cubicBezTo>
                  <a:pt x="2097251" y="1022758"/>
                  <a:pt x="2123254" y="1038931"/>
                  <a:pt x="2126278" y="1027277"/>
                </a:cubicBezTo>
                <a:cubicBezTo>
                  <a:pt x="2126882" y="1013244"/>
                  <a:pt x="2112369" y="1020142"/>
                  <a:pt x="2112974" y="1010390"/>
                </a:cubicBezTo>
                <a:cubicBezTo>
                  <a:pt x="2116602" y="1026563"/>
                  <a:pt x="2086969" y="1034173"/>
                  <a:pt x="2068828" y="1020618"/>
                </a:cubicBezTo>
                <a:cubicBezTo>
                  <a:pt x="2086969" y="1042022"/>
                  <a:pt x="2074875" y="1038692"/>
                  <a:pt x="2054918" y="1050822"/>
                </a:cubicBezTo>
                <a:cubicBezTo>
                  <a:pt x="2067014" y="1012294"/>
                  <a:pt x="1997468" y="1018001"/>
                  <a:pt x="1988397" y="1048920"/>
                </a:cubicBezTo>
                <a:cubicBezTo>
                  <a:pt x="1968440" y="1057245"/>
                  <a:pt x="1969649" y="1037979"/>
                  <a:pt x="1955136" y="1038692"/>
                </a:cubicBezTo>
                <a:cubicBezTo>
                  <a:pt x="1953322" y="1024661"/>
                  <a:pt x="1970254" y="1031795"/>
                  <a:pt x="1970254" y="1022044"/>
                </a:cubicBezTo>
                <a:cubicBezTo>
                  <a:pt x="1966626" y="1003732"/>
                  <a:pt x="1958159" y="1028941"/>
                  <a:pt x="1946670" y="1022044"/>
                </a:cubicBezTo>
                <a:cubicBezTo>
                  <a:pt x="1938807" y="1023233"/>
                  <a:pt x="1945460" y="1037503"/>
                  <a:pt x="1935784" y="1038692"/>
                </a:cubicBezTo>
                <a:cubicBezTo>
                  <a:pt x="1944855" y="1045352"/>
                  <a:pt x="1953926" y="1052487"/>
                  <a:pt x="1966021" y="1055580"/>
                </a:cubicBezTo>
                <a:cubicBezTo>
                  <a:pt x="1962393" y="1069135"/>
                  <a:pt x="1957555" y="1078174"/>
                  <a:pt x="1961183" y="1096486"/>
                </a:cubicBezTo>
                <a:cubicBezTo>
                  <a:pt x="1962997" y="1104573"/>
                  <a:pt x="1970254" y="1107189"/>
                  <a:pt x="1979930" y="1108141"/>
                </a:cubicBezTo>
                <a:cubicBezTo>
                  <a:pt x="1959974" y="1076746"/>
                  <a:pt x="2013191" y="1109091"/>
                  <a:pt x="2011981" y="1091253"/>
                </a:cubicBezTo>
                <a:cubicBezTo>
                  <a:pt x="2008353" y="1116703"/>
                  <a:pt x="2034961" y="1110995"/>
                  <a:pt x="2051894" y="1114323"/>
                </a:cubicBezTo>
                <a:cubicBezTo>
                  <a:pt x="2054918" y="1096724"/>
                  <a:pt x="2042823" y="1099578"/>
                  <a:pt x="2046453" y="1086021"/>
                </a:cubicBezTo>
                <a:cubicBezTo>
                  <a:pt x="2065198" y="1093633"/>
                  <a:pt x="2051894" y="1104097"/>
                  <a:pt x="2060362" y="1124789"/>
                </a:cubicBezTo>
                <a:lnTo>
                  <a:pt x="2021658" y="1125264"/>
                </a:lnTo>
                <a:cubicBezTo>
                  <a:pt x="2021053" y="1135015"/>
                  <a:pt x="2025890" y="1145479"/>
                  <a:pt x="2030124" y="1147859"/>
                </a:cubicBezTo>
                <a:cubicBezTo>
                  <a:pt x="2034356" y="1164032"/>
                  <a:pt x="2013191" y="1154518"/>
                  <a:pt x="2012586" y="1166410"/>
                </a:cubicBezTo>
                <a:cubicBezTo>
                  <a:pt x="1998677" y="1159274"/>
                  <a:pt x="2027705" y="1153804"/>
                  <a:pt x="2021658" y="1137393"/>
                </a:cubicBezTo>
                <a:cubicBezTo>
                  <a:pt x="2016820" y="1137156"/>
                  <a:pt x="2018029" y="1145242"/>
                  <a:pt x="2015610" y="1149048"/>
                </a:cubicBezTo>
                <a:cubicBezTo>
                  <a:pt x="2016215" y="1137156"/>
                  <a:pt x="1985978" y="1126453"/>
                  <a:pt x="1993840" y="1154993"/>
                </a:cubicBezTo>
                <a:cubicBezTo>
                  <a:pt x="1981744" y="1155945"/>
                  <a:pt x="1980535" y="1141912"/>
                  <a:pt x="1978721" y="1131686"/>
                </a:cubicBezTo>
                <a:cubicBezTo>
                  <a:pt x="1959369" y="1130021"/>
                  <a:pt x="1946065" y="1146907"/>
                  <a:pt x="1935784" y="1125978"/>
                </a:cubicBezTo>
                <a:cubicBezTo>
                  <a:pt x="1927922" y="1127405"/>
                  <a:pt x="1937598" y="1132399"/>
                  <a:pt x="1936993" y="1142151"/>
                </a:cubicBezTo>
                <a:cubicBezTo>
                  <a:pt x="1912199" y="1118129"/>
                  <a:pt x="1861401" y="1123599"/>
                  <a:pt x="1836606" y="1143101"/>
                </a:cubicBezTo>
                <a:cubicBezTo>
                  <a:pt x="1805765" y="1132637"/>
                  <a:pt x="1790645" y="1137632"/>
                  <a:pt x="1741056" y="1119555"/>
                </a:cubicBezTo>
                <a:cubicBezTo>
                  <a:pt x="1740452" y="1129307"/>
                  <a:pt x="1747709" y="1131924"/>
                  <a:pt x="1747104" y="1143816"/>
                </a:cubicBezTo>
                <a:cubicBezTo>
                  <a:pt x="1738637" y="1119318"/>
                  <a:pt x="1721100" y="1141675"/>
                  <a:pt x="1712634" y="1113373"/>
                </a:cubicBezTo>
                <a:cubicBezTo>
                  <a:pt x="1710214" y="1116940"/>
                  <a:pt x="1705377" y="1120270"/>
                  <a:pt x="1698120" y="1119555"/>
                </a:cubicBezTo>
                <a:cubicBezTo>
                  <a:pt x="1695701" y="1119318"/>
                  <a:pt x="1685420" y="1138582"/>
                  <a:pt x="1695096" y="1137393"/>
                </a:cubicBezTo>
                <a:cubicBezTo>
                  <a:pt x="1681792" y="1152377"/>
                  <a:pt x="1684211" y="1112421"/>
                  <a:pt x="1679977" y="1108141"/>
                </a:cubicBezTo>
                <a:cubicBezTo>
                  <a:pt x="1689654" y="1105048"/>
                  <a:pt x="1716262" y="1095535"/>
                  <a:pt x="1716867" y="1119555"/>
                </a:cubicBezTo>
                <a:cubicBezTo>
                  <a:pt x="1729566" y="1108616"/>
                  <a:pt x="1753757" y="1114323"/>
                  <a:pt x="1766456" y="1101481"/>
                </a:cubicBezTo>
                <a:cubicBezTo>
                  <a:pt x="1773713" y="1104097"/>
                  <a:pt x="1775527" y="1112660"/>
                  <a:pt x="1774317" y="1126453"/>
                </a:cubicBezTo>
                <a:cubicBezTo>
                  <a:pt x="1809393" y="1107665"/>
                  <a:pt x="1846886" y="1126453"/>
                  <a:pt x="1865029" y="1096486"/>
                </a:cubicBezTo>
                <a:cubicBezTo>
                  <a:pt x="1851120" y="1087210"/>
                  <a:pt x="1824511" y="1092918"/>
                  <a:pt x="1793669" y="1090064"/>
                </a:cubicBezTo>
                <a:cubicBezTo>
                  <a:pt x="1799717" y="1068898"/>
                  <a:pt x="1834792" y="1085547"/>
                  <a:pt x="1847492" y="1072703"/>
                </a:cubicBezTo>
                <a:cubicBezTo>
                  <a:pt x="1840235" y="1064140"/>
                  <a:pt x="1816650" y="1068184"/>
                  <a:pt x="1832373" y="1049633"/>
                </a:cubicBezTo>
                <a:cubicBezTo>
                  <a:pt x="1814835" y="1052011"/>
                  <a:pt x="1814835" y="1056293"/>
                  <a:pt x="1803345" y="1043212"/>
                </a:cubicBezTo>
                <a:cubicBezTo>
                  <a:pt x="1834187" y="1052011"/>
                  <a:pt x="1861401" y="1002543"/>
                  <a:pt x="1823302" y="991364"/>
                </a:cubicBezTo>
                <a:cubicBezTo>
                  <a:pt x="1806369" y="995883"/>
                  <a:pt x="1824511" y="1009677"/>
                  <a:pt x="1814835" y="1020618"/>
                </a:cubicBezTo>
                <a:cubicBezTo>
                  <a:pt x="1805159" y="1019904"/>
                  <a:pt x="1802740" y="1011342"/>
                  <a:pt x="1803345" y="997548"/>
                </a:cubicBezTo>
                <a:cubicBezTo>
                  <a:pt x="1787623" y="1019904"/>
                  <a:pt x="1777946" y="985894"/>
                  <a:pt x="1771898" y="1009201"/>
                </a:cubicBezTo>
                <a:cubicBezTo>
                  <a:pt x="1750733" y="1003493"/>
                  <a:pt x="1771294" y="984942"/>
                  <a:pt x="1767665" y="962824"/>
                </a:cubicBezTo>
                <a:cubicBezTo>
                  <a:pt x="1768875" y="976856"/>
                  <a:pt x="1783388" y="1008012"/>
                  <a:pt x="1794274" y="987083"/>
                </a:cubicBezTo>
                <a:cubicBezTo>
                  <a:pt x="1794274" y="987083"/>
                  <a:pt x="1772503" y="963300"/>
                  <a:pt x="1798508" y="969483"/>
                </a:cubicBezTo>
                <a:cubicBezTo>
                  <a:pt x="1796693" y="955451"/>
                  <a:pt x="1771898" y="967343"/>
                  <a:pt x="1775527" y="945700"/>
                </a:cubicBezTo>
                <a:cubicBezTo>
                  <a:pt x="1792459" y="941181"/>
                  <a:pt x="1796089" y="955451"/>
                  <a:pt x="1803950" y="946176"/>
                </a:cubicBezTo>
                <a:cubicBezTo>
                  <a:pt x="1804554" y="936424"/>
                  <a:pt x="1800321" y="934046"/>
                  <a:pt x="1795484" y="933570"/>
                </a:cubicBezTo>
                <a:cubicBezTo>
                  <a:pt x="1795484" y="929527"/>
                  <a:pt x="1819673" y="931668"/>
                  <a:pt x="1823302" y="916209"/>
                </a:cubicBezTo>
                <a:cubicBezTo>
                  <a:pt x="1832373" y="926673"/>
                  <a:pt x="1817254" y="933333"/>
                  <a:pt x="1828140" y="946176"/>
                </a:cubicBezTo>
                <a:cubicBezTo>
                  <a:pt x="1838421" y="933333"/>
                  <a:pt x="1857773" y="940944"/>
                  <a:pt x="1856562" y="956640"/>
                </a:cubicBezTo>
                <a:cubicBezTo>
                  <a:pt x="1863819" y="955214"/>
                  <a:pt x="1866843" y="947602"/>
                  <a:pt x="1865029" y="933570"/>
                </a:cubicBezTo>
                <a:cubicBezTo>
                  <a:pt x="1886195" y="949267"/>
                  <a:pt x="1903733" y="933094"/>
                  <a:pt x="1917037" y="951884"/>
                </a:cubicBezTo>
                <a:cubicBezTo>
                  <a:pt x="1918851" y="964013"/>
                  <a:pt x="1901918" y="954499"/>
                  <a:pt x="1894661" y="957829"/>
                </a:cubicBezTo>
                <a:cubicBezTo>
                  <a:pt x="1898895" y="1005634"/>
                  <a:pt x="1929131" y="943322"/>
                  <a:pt x="1942436" y="964251"/>
                </a:cubicBezTo>
                <a:cubicBezTo>
                  <a:pt x="1939412" y="971862"/>
                  <a:pt x="1927922" y="964727"/>
                  <a:pt x="1927317" y="974715"/>
                </a:cubicBezTo>
                <a:cubicBezTo>
                  <a:pt x="1931551" y="984942"/>
                  <a:pt x="1943646" y="985894"/>
                  <a:pt x="1950902" y="992316"/>
                </a:cubicBezTo>
                <a:cubicBezTo>
                  <a:pt x="1958159" y="990888"/>
                  <a:pt x="1953926" y="974954"/>
                  <a:pt x="1961183" y="975667"/>
                </a:cubicBezTo>
                <a:cubicBezTo>
                  <a:pt x="1959369" y="967581"/>
                  <a:pt x="1952111" y="968770"/>
                  <a:pt x="1951507" y="974715"/>
                </a:cubicBezTo>
                <a:cubicBezTo>
                  <a:pt x="1930945" y="960921"/>
                  <a:pt x="1966021" y="965916"/>
                  <a:pt x="1964207" y="957829"/>
                </a:cubicBezTo>
                <a:cubicBezTo>
                  <a:pt x="1966626" y="957829"/>
                  <a:pt x="1975092" y="984705"/>
                  <a:pt x="1960579" y="981375"/>
                </a:cubicBezTo>
                <a:cubicBezTo>
                  <a:pt x="1959974" y="997072"/>
                  <a:pt x="1971464" y="998499"/>
                  <a:pt x="1970254" y="1016337"/>
                </a:cubicBezTo>
                <a:cubicBezTo>
                  <a:pt x="1984768" y="1017526"/>
                  <a:pt x="1985978" y="1005397"/>
                  <a:pt x="2002305" y="1008725"/>
                </a:cubicBezTo>
                <a:cubicBezTo>
                  <a:pt x="1998677" y="988510"/>
                  <a:pt x="1987792" y="1011579"/>
                  <a:pt x="1979325" y="997072"/>
                </a:cubicBezTo>
                <a:cubicBezTo>
                  <a:pt x="1981744" y="989224"/>
                  <a:pt x="1991420" y="993742"/>
                  <a:pt x="1998677" y="992316"/>
                </a:cubicBezTo>
                <a:cubicBezTo>
                  <a:pt x="2010168" y="993267"/>
                  <a:pt x="1995049" y="966392"/>
                  <a:pt x="2013795" y="973765"/>
                </a:cubicBezTo>
                <a:cubicBezTo>
                  <a:pt x="2010772" y="985418"/>
                  <a:pt x="2010168" y="993742"/>
                  <a:pt x="2002910" y="997072"/>
                </a:cubicBezTo>
                <a:cubicBezTo>
                  <a:pt x="2005934" y="1021093"/>
                  <a:pt x="2033752" y="1015623"/>
                  <a:pt x="2054918" y="1015385"/>
                </a:cubicBezTo>
                <a:cubicBezTo>
                  <a:pt x="2060362" y="1003969"/>
                  <a:pt x="2065803" y="988748"/>
                  <a:pt x="2054918" y="969959"/>
                </a:cubicBezTo>
                <a:cubicBezTo>
                  <a:pt x="2067014" y="973052"/>
                  <a:pt x="2075479" y="991602"/>
                  <a:pt x="2065198" y="1004445"/>
                </a:cubicBezTo>
                <a:cubicBezTo>
                  <a:pt x="2073665" y="1021093"/>
                  <a:pt x="2091808" y="1000402"/>
                  <a:pt x="2099065" y="997072"/>
                </a:cubicBezTo>
                <a:cubicBezTo>
                  <a:pt x="2085155" y="991840"/>
                  <a:pt x="2095436" y="979234"/>
                  <a:pt x="2088179" y="974715"/>
                </a:cubicBezTo>
                <a:cubicBezTo>
                  <a:pt x="2100879" y="963775"/>
                  <a:pt x="2089389" y="998737"/>
                  <a:pt x="2113578" y="998737"/>
                </a:cubicBezTo>
                <a:cubicBezTo>
                  <a:pt x="2131116" y="988510"/>
                  <a:pt x="2108741" y="954738"/>
                  <a:pt x="2135349" y="950932"/>
                </a:cubicBezTo>
                <a:cubicBezTo>
                  <a:pt x="2133536" y="938803"/>
                  <a:pt x="2109346" y="946413"/>
                  <a:pt x="2113578" y="956640"/>
                </a:cubicBezTo>
                <a:cubicBezTo>
                  <a:pt x="2101484" y="953786"/>
                  <a:pt x="2102088" y="948078"/>
                  <a:pt x="2107532" y="940468"/>
                </a:cubicBezTo>
                <a:cubicBezTo>
                  <a:pt x="2100274" y="937851"/>
                  <a:pt x="2099670" y="943559"/>
                  <a:pt x="2099065" y="951408"/>
                </a:cubicBezTo>
                <a:cubicBezTo>
                  <a:pt x="2087575" y="948554"/>
                  <a:pt x="2087575" y="943084"/>
                  <a:pt x="2093017" y="933570"/>
                </a:cubicBezTo>
                <a:cubicBezTo>
                  <a:pt x="2062780" y="920965"/>
                  <a:pt x="2041009" y="920728"/>
                  <a:pt x="2012586" y="910263"/>
                </a:cubicBezTo>
                <a:cubicBezTo>
                  <a:pt x="2008958" y="894091"/>
                  <a:pt x="2018634" y="895041"/>
                  <a:pt x="2016820" y="881009"/>
                </a:cubicBezTo>
                <a:cubicBezTo>
                  <a:pt x="2042218" y="906933"/>
                  <a:pt x="2060966" y="874825"/>
                  <a:pt x="2079108" y="894328"/>
                </a:cubicBezTo>
                <a:cubicBezTo>
                  <a:pt x="2065198" y="837485"/>
                  <a:pt x="2001096" y="822027"/>
                  <a:pt x="1960579" y="818460"/>
                </a:cubicBezTo>
                <a:cubicBezTo>
                  <a:pt x="1955136" y="829875"/>
                  <a:pt x="1959974" y="834157"/>
                  <a:pt x="1951507" y="851280"/>
                </a:cubicBezTo>
                <a:cubicBezTo>
                  <a:pt x="1946670" y="850805"/>
                  <a:pt x="1940017" y="842956"/>
                  <a:pt x="1947274" y="841767"/>
                </a:cubicBezTo>
                <a:cubicBezTo>
                  <a:pt x="1941226" y="823216"/>
                  <a:pt x="1935180" y="840339"/>
                  <a:pt x="1926713" y="823692"/>
                </a:cubicBezTo>
                <a:cubicBezTo>
                  <a:pt x="1929131" y="816080"/>
                  <a:pt x="1938807" y="818697"/>
                  <a:pt x="1946670" y="817269"/>
                </a:cubicBezTo>
                <a:cubicBezTo>
                  <a:pt x="1924898" y="813465"/>
                  <a:pt x="1893452" y="775411"/>
                  <a:pt x="1884381" y="806329"/>
                </a:cubicBezTo>
                <a:cubicBezTo>
                  <a:pt x="1877728" y="795864"/>
                  <a:pt x="1892847" y="785400"/>
                  <a:pt x="1888613" y="771130"/>
                </a:cubicBezTo>
                <a:cubicBezTo>
                  <a:pt x="1837816" y="778741"/>
                  <a:pt x="1840839" y="776838"/>
                  <a:pt x="1780969" y="771605"/>
                </a:cubicBezTo>
                <a:cubicBezTo>
                  <a:pt x="1795484" y="763043"/>
                  <a:pt x="1796693" y="743066"/>
                  <a:pt x="1776737" y="753293"/>
                </a:cubicBezTo>
                <a:cubicBezTo>
                  <a:pt x="1768875" y="726655"/>
                  <a:pt x="1799112" y="745444"/>
                  <a:pt x="1804554" y="729985"/>
                </a:cubicBezTo>
                <a:cubicBezTo>
                  <a:pt x="1800321" y="723801"/>
                  <a:pt x="1768875" y="729272"/>
                  <a:pt x="1765851" y="742828"/>
                </a:cubicBezTo>
                <a:cubicBezTo>
                  <a:pt x="1759199" y="734267"/>
                  <a:pt x="1749523" y="727369"/>
                  <a:pt x="1748314" y="713336"/>
                </a:cubicBezTo>
                <a:cubicBezTo>
                  <a:pt x="1740452" y="722612"/>
                  <a:pt x="1724124" y="717380"/>
                  <a:pt x="1722915" y="737121"/>
                </a:cubicBezTo>
                <a:cubicBezTo>
                  <a:pt x="1706586" y="723801"/>
                  <a:pt x="1698724" y="733076"/>
                  <a:pt x="1679977" y="725466"/>
                </a:cubicBezTo>
                <a:cubicBezTo>
                  <a:pt x="1683606" y="711671"/>
                  <a:pt x="1693887" y="690505"/>
                  <a:pt x="1672116" y="694786"/>
                </a:cubicBezTo>
                <a:cubicBezTo>
                  <a:pt x="1672721" y="684797"/>
                  <a:pt x="1684815" y="685986"/>
                  <a:pt x="1681187" y="665770"/>
                </a:cubicBezTo>
                <a:cubicBezTo>
                  <a:pt x="1695096" y="676948"/>
                  <a:pt x="1721100" y="685034"/>
                  <a:pt x="1729566" y="660062"/>
                </a:cubicBezTo>
                <a:cubicBezTo>
                  <a:pt x="1765247" y="702872"/>
                  <a:pt x="1777946" y="702159"/>
                  <a:pt x="1838421" y="685510"/>
                </a:cubicBezTo>
                <a:cubicBezTo>
                  <a:pt x="1840235" y="697640"/>
                  <a:pt x="1828140" y="692407"/>
                  <a:pt x="1827535" y="702159"/>
                </a:cubicBezTo>
                <a:cubicBezTo>
                  <a:pt x="1832977" y="700731"/>
                  <a:pt x="1832373" y="704537"/>
                  <a:pt x="1832373" y="706439"/>
                </a:cubicBezTo>
                <a:cubicBezTo>
                  <a:pt x="1844467" y="707391"/>
                  <a:pt x="1842653" y="693834"/>
                  <a:pt x="1843863" y="678137"/>
                </a:cubicBezTo>
                <a:cubicBezTo>
                  <a:pt x="1853539" y="680754"/>
                  <a:pt x="1846886" y="699781"/>
                  <a:pt x="1856562" y="700731"/>
                </a:cubicBezTo>
                <a:cubicBezTo>
                  <a:pt x="1871077" y="695975"/>
                  <a:pt x="1862005" y="693121"/>
                  <a:pt x="1860192" y="679089"/>
                </a:cubicBezTo>
                <a:cubicBezTo>
                  <a:pt x="1880148" y="712623"/>
                  <a:pt x="1899499" y="674807"/>
                  <a:pt x="1909175" y="713336"/>
                </a:cubicBezTo>
                <a:cubicBezTo>
                  <a:pt x="1932761" y="717380"/>
                  <a:pt x="1938203" y="700018"/>
                  <a:pt x="1955136" y="695499"/>
                </a:cubicBezTo>
                <a:cubicBezTo>
                  <a:pt x="1961787" y="704061"/>
                  <a:pt x="1961787" y="717855"/>
                  <a:pt x="1971464" y="718569"/>
                </a:cubicBezTo>
                <a:cubicBezTo>
                  <a:pt x="1979325" y="705489"/>
                  <a:pt x="1961183" y="689791"/>
                  <a:pt x="1971464" y="672905"/>
                </a:cubicBezTo>
                <a:cubicBezTo>
                  <a:pt x="1981139" y="673618"/>
                  <a:pt x="1977511" y="689077"/>
                  <a:pt x="1990211" y="684321"/>
                </a:cubicBezTo>
                <a:cubicBezTo>
                  <a:pt x="1979930" y="693359"/>
                  <a:pt x="1975697" y="715240"/>
                  <a:pt x="1999887" y="713336"/>
                </a:cubicBezTo>
                <a:cubicBezTo>
                  <a:pt x="1991420" y="694786"/>
                  <a:pt x="1987792" y="680278"/>
                  <a:pt x="2010168" y="672429"/>
                </a:cubicBezTo>
                <a:cubicBezTo>
                  <a:pt x="1998072" y="709056"/>
                  <a:pt x="2032543" y="697877"/>
                  <a:pt x="2042218" y="690742"/>
                </a:cubicBezTo>
                <a:cubicBezTo>
                  <a:pt x="2049476" y="691456"/>
                  <a:pt x="2036172" y="714288"/>
                  <a:pt x="2055523" y="714051"/>
                </a:cubicBezTo>
                <a:cubicBezTo>
                  <a:pt x="2068828" y="687413"/>
                  <a:pt x="2036776" y="662678"/>
                  <a:pt x="2014400" y="678613"/>
                </a:cubicBezTo>
                <a:cubicBezTo>
                  <a:pt x="2027705" y="651976"/>
                  <a:pt x="2050685" y="675759"/>
                  <a:pt x="2060966" y="666721"/>
                </a:cubicBezTo>
                <a:cubicBezTo>
                  <a:pt x="2065198" y="674807"/>
                  <a:pt x="2062780" y="712386"/>
                  <a:pt x="2079108" y="719758"/>
                </a:cubicBezTo>
                <a:cubicBezTo>
                  <a:pt x="2091808" y="714764"/>
                  <a:pt x="2101484" y="705963"/>
                  <a:pt x="2097855" y="683845"/>
                </a:cubicBezTo>
                <a:cubicBezTo>
                  <a:pt x="2083342" y="688364"/>
                  <a:pt x="2089994" y="702635"/>
                  <a:pt x="2080318" y="701683"/>
                </a:cubicBezTo>
                <a:cubicBezTo>
                  <a:pt x="2057943" y="675997"/>
                  <a:pt x="2108137" y="675046"/>
                  <a:pt x="2079713" y="666721"/>
                </a:cubicBezTo>
                <a:cubicBezTo>
                  <a:pt x="2085155" y="653165"/>
                  <a:pt x="2108741" y="664581"/>
                  <a:pt x="2123254" y="661965"/>
                </a:cubicBezTo>
                <a:cubicBezTo>
                  <a:pt x="2120836" y="671478"/>
                  <a:pt x="2088783" y="670765"/>
                  <a:pt x="2108741" y="702159"/>
                </a:cubicBezTo>
                <a:cubicBezTo>
                  <a:pt x="2125673" y="705726"/>
                  <a:pt x="2133536" y="696688"/>
                  <a:pt x="2136558" y="685034"/>
                </a:cubicBezTo>
                <a:cubicBezTo>
                  <a:pt x="2140188" y="699305"/>
                  <a:pt x="2174053" y="698353"/>
                  <a:pt x="2171029" y="672429"/>
                </a:cubicBezTo>
                <a:cubicBezTo>
                  <a:pt x="2195219" y="672429"/>
                  <a:pt x="2223037" y="680515"/>
                  <a:pt x="2222433" y="648646"/>
                </a:cubicBezTo>
                <a:cubicBezTo>
                  <a:pt x="2229689" y="651263"/>
                  <a:pt x="2224247" y="666484"/>
                  <a:pt x="2230899" y="667197"/>
                </a:cubicBezTo>
                <a:cubicBezTo>
                  <a:pt x="2201266" y="684321"/>
                  <a:pt x="2223641" y="710721"/>
                  <a:pt x="2231503" y="737121"/>
                </a:cubicBezTo>
                <a:cubicBezTo>
                  <a:pt x="2251460" y="726894"/>
                  <a:pt x="2239970" y="715477"/>
                  <a:pt x="2246622" y="690267"/>
                </a:cubicBezTo>
                <a:cubicBezTo>
                  <a:pt x="2257507" y="703111"/>
                  <a:pt x="2282302" y="701207"/>
                  <a:pt x="2288349" y="719758"/>
                </a:cubicBezTo>
                <a:cubicBezTo>
                  <a:pt x="2327658" y="699305"/>
                  <a:pt x="2364547" y="726655"/>
                  <a:pt x="2392366" y="701207"/>
                </a:cubicBezTo>
                <a:cubicBezTo>
                  <a:pt x="2395389" y="687651"/>
                  <a:pt x="2375432" y="697640"/>
                  <a:pt x="2379062" y="678137"/>
                </a:cubicBezTo>
                <a:cubicBezTo>
                  <a:pt x="2383899" y="682419"/>
                  <a:pt x="2392971" y="686938"/>
                  <a:pt x="2393575" y="679089"/>
                </a:cubicBezTo>
                <a:cubicBezTo>
                  <a:pt x="2398412" y="679565"/>
                  <a:pt x="2398412" y="689553"/>
                  <a:pt x="2397808" y="695499"/>
                </a:cubicBezTo>
                <a:cubicBezTo>
                  <a:pt x="2419578" y="695261"/>
                  <a:pt x="2425021" y="675997"/>
                  <a:pt x="2446792" y="673857"/>
                </a:cubicBezTo>
                <a:cubicBezTo>
                  <a:pt x="2443769" y="681467"/>
                  <a:pt x="2436511" y="682894"/>
                  <a:pt x="2436511" y="690742"/>
                </a:cubicBezTo>
                <a:cubicBezTo>
                  <a:pt x="2520571" y="688127"/>
                  <a:pt x="2560484" y="703585"/>
                  <a:pt x="2643938" y="708817"/>
                </a:cubicBezTo>
                <a:cubicBezTo>
                  <a:pt x="2628215" y="697402"/>
                  <a:pt x="2613701" y="692407"/>
                  <a:pt x="2601607" y="691218"/>
                </a:cubicBezTo>
                <a:cubicBezTo>
                  <a:pt x="2633053" y="646505"/>
                  <a:pt x="2677804" y="709532"/>
                  <a:pt x="2711065" y="678613"/>
                </a:cubicBezTo>
                <a:cubicBezTo>
                  <a:pt x="2701995" y="667911"/>
                  <a:pt x="2694737" y="669338"/>
                  <a:pt x="2703203" y="650311"/>
                </a:cubicBezTo>
                <a:cubicBezTo>
                  <a:pt x="2747954" y="658160"/>
                  <a:pt x="2784843" y="686938"/>
                  <a:pt x="2801776" y="638657"/>
                </a:cubicBezTo>
                <a:cubicBezTo>
                  <a:pt x="2773353" y="632473"/>
                  <a:pt x="2741906" y="643414"/>
                  <a:pt x="2744931" y="586334"/>
                </a:cubicBezTo>
                <a:lnTo>
                  <a:pt x="2764282" y="586334"/>
                </a:lnTo>
                <a:cubicBezTo>
                  <a:pt x="2765492" y="560648"/>
                  <a:pt x="2754607" y="547567"/>
                  <a:pt x="2740697" y="540433"/>
                </a:cubicBezTo>
                <a:cubicBezTo>
                  <a:pt x="2726183" y="539242"/>
                  <a:pt x="2751582" y="557080"/>
                  <a:pt x="2737069" y="557794"/>
                </a:cubicBezTo>
                <a:cubicBezTo>
                  <a:pt x="2723765" y="501190"/>
                  <a:pt x="2649985" y="481449"/>
                  <a:pt x="2622168" y="546378"/>
                </a:cubicBezTo>
                <a:cubicBezTo>
                  <a:pt x="2607049" y="521406"/>
                  <a:pt x="2640915" y="511892"/>
                  <a:pt x="2656033" y="505233"/>
                </a:cubicBezTo>
                <a:cubicBezTo>
                  <a:pt x="2649985" y="480973"/>
                  <a:pt x="2626401" y="479071"/>
                  <a:pt x="2617934" y="458379"/>
                </a:cubicBezTo>
                <a:cubicBezTo>
                  <a:pt x="2607049" y="475503"/>
                  <a:pt x="2595559" y="466465"/>
                  <a:pt x="2592535" y="482163"/>
                </a:cubicBezTo>
                <a:cubicBezTo>
                  <a:pt x="2582859" y="479309"/>
                  <a:pt x="2594349" y="450293"/>
                  <a:pt x="2584673" y="447439"/>
                </a:cubicBezTo>
                <a:cubicBezTo>
                  <a:pt x="2572579" y="448391"/>
                  <a:pt x="2576813" y="466465"/>
                  <a:pt x="2559879" y="463137"/>
                </a:cubicBezTo>
                <a:cubicBezTo>
                  <a:pt x="2552622" y="428888"/>
                  <a:pt x="2526619" y="456239"/>
                  <a:pt x="2509080" y="464800"/>
                </a:cubicBezTo>
                <a:cubicBezTo>
                  <a:pt x="2480053" y="432455"/>
                  <a:pt x="2431069" y="450293"/>
                  <a:pt x="2413531" y="423180"/>
                </a:cubicBezTo>
                <a:cubicBezTo>
                  <a:pt x="2399017" y="427699"/>
                  <a:pt x="2392971" y="443158"/>
                  <a:pt x="2376037" y="447439"/>
                </a:cubicBezTo>
                <a:cubicBezTo>
                  <a:pt x="2374223" y="433644"/>
                  <a:pt x="2359709" y="436498"/>
                  <a:pt x="2360918" y="416758"/>
                </a:cubicBezTo>
                <a:cubicBezTo>
                  <a:pt x="2319797" y="417234"/>
                  <a:pt x="2310120" y="422229"/>
                  <a:pt x="2266579" y="422467"/>
                </a:cubicBezTo>
                <a:cubicBezTo>
                  <a:pt x="2267788" y="408672"/>
                  <a:pt x="2281697" y="412002"/>
                  <a:pt x="2293792" y="411050"/>
                </a:cubicBezTo>
                <a:cubicBezTo>
                  <a:pt x="2275045" y="401538"/>
                  <a:pt x="2267184" y="380609"/>
                  <a:pt x="2248436" y="371095"/>
                </a:cubicBezTo>
                <a:cubicBezTo>
                  <a:pt x="2242993" y="374662"/>
                  <a:pt x="2240574" y="382272"/>
                  <a:pt x="2237551" y="387980"/>
                </a:cubicBezTo>
                <a:cubicBezTo>
                  <a:pt x="2228480" y="381322"/>
                  <a:pt x="2219409" y="376564"/>
                  <a:pt x="2218199" y="358489"/>
                </a:cubicBezTo>
                <a:cubicBezTo>
                  <a:pt x="2226061" y="341365"/>
                  <a:pt x="2246017" y="370857"/>
                  <a:pt x="2242389" y="346836"/>
                </a:cubicBezTo>
                <a:cubicBezTo>
                  <a:pt x="2268393" y="358965"/>
                  <a:pt x="2313748" y="353020"/>
                  <a:pt x="2313748" y="313301"/>
                </a:cubicBezTo>
                <a:cubicBezTo>
                  <a:pt x="2319797" y="294036"/>
                  <a:pt x="2319797" y="329950"/>
                  <a:pt x="2312539" y="331376"/>
                </a:cubicBezTo>
                <a:cubicBezTo>
                  <a:pt x="2333100" y="317106"/>
                  <a:pt x="2333705" y="344695"/>
                  <a:pt x="2360918" y="337084"/>
                </a:cubicBezTo>
                <a:cubicBezTo>
                  <a:pt x="2370595" y="333755"/>
                  <a:pt x="2363942" y="314015"/>
                  <a:pt x="2380875" y="319247"/>
                </a:cubicBezTo>
                <a:cubicBezTo>
                  <a:pt x="2381481" y="309496"/>
                  <a:pt x="2374223" y="306642"/>
                  <a:pt x="2374827" y="294751"/>
                </a:cubicBezTo>
                <a:cubicBezTo>
                  <a:pt x="2396598" y="298555"/>
                  <a:pt x="2439535" y="306166"/>
                  <a:pt x="2448001" y="279291"/>
                </a:cubicBezTo>
                <a:cubicBezTo>
                  <a:pt x="2473400" y="293323"/>
                  <a:pt x="2508476" y="274296"/>
                  <a:pt x="2533270" y="308069"/>
                </a:cubicBezTo>
                <a:cubicBezTo>
                  <a:pt x="2550203" y="265973"/>
                  <a:pt x="2599188" y="321864"/>
                  <a:pt x="2613701" y="283334"/>
                </a:cubicBezTo>
                <a:cubicBezTo>
                  <a:pt x="2620354" y="289993"/>
                  <a:pt x="2619144" y="309496"/>
                  <a:pt x="2623377" y="319723"/>
                </a:cubicBezTo>
                <a:cubicBezTo>
                  <a:pt x="2624587" y="298079"/>
                  <a:pt x="2634262" y="297129"/>
                  <a:pt x="2637891" y="319247"/>
                </a:cubicBezTo>
                <a:cubicBezTo>
                  <a:pt x="2679618" y="309020"/>
                  <a:pt x="2744326" y="350403"/>
                  <a:pt x="2775169" y="313301"/>
                </a:cubicBezTo>
                <a:cubicBezTo>
                  <a:pt x="2785449" y="338036"/>
                  <a:pt x="2831409" y="341603"/>
                  <a:pt x="2851366" y="325431"/>
                </a:cubicBezTo>
                <a:cubicBezTo>
                  <a:pt x="2849551" y="321388"/>
                  <a:pt x="2844713" y="314966"/>
                  <a:pt x="2845318" y="307117"/>
                </a:cubicBezTo>
                <a:cubicBezTo>
                  <a:pt x="2904583" y="282383"/>
                  <a:pt x="2945101" y="321864"/>
                  <a:pt x="2980175" y="261215"/>
                </a:cubicBezTo>
                <a:cubicBezTo>
                  <a:pt x="2964452" y="240049"/>
                  <a:pt x="2962033" y="281193"/>
                  <a:pt x="2940867" y="273583"/>
                </a:cubicBezTo>
                <a:cubicBezTo>
                  <a:pt x="2982594" y="209606"/>
                  <a:pt x="3084797" y="278339"/>
                  <a:pt x="3135595" y="233152"/>
                </a:cubicBezTo>
                <a:cubicBezTo>
                  <a:pt x="3168855" y="277626"/>
                  <a:pt x="3202722" y="197239"/>
                  <a:pt x="3216630" y="244092"/>
                </a:cubicBezTo>
                <a:cubicBezTo>
                  <a:pt x="3226306" y="245042"/>
                  <a:pt x="3232958" y="241475"/>
                  <a:pt x="3235982" y="233627"/>
                </a:cubicBezTo>
                <a:cubicBezTo>
                  <a:pt x="3245054" y="240525"/>
                  <a:pt x="3251705" y="248848"/>
                  <a:pt x="3258358" y="257410"/>
                </a:cubicBezTo>
                <a:cubicBezTo>
                  <a:pt x="3266220" y="254080"/>
                  <a:pt x="3271662" y="246707"/>
                  <a:pt x="3264405" y="244092"/>
                </a:cubicBezTo>
                <a:cubicBezTo>
                  <a:pt x="3277104" y="235292"/>
                  <a:pt x="3287990" y="244092"/>
                  <a:pt x="3297062" y="256935"/>
                </a:cubicBezTo>
                <a:cubicBezTo>
                  <a:pt x="3355117" y="253843"/>
                  <a:pt x="3394425" y="237195"/>
                  <a:pt x="3450666" y="257886"/>
                </a:cubicBezTo>
                <a:cubicBezTo>
                  <a:pt x="3488765" y="225541"/>
                  <a:pt x="3554077" y="255032"/>
                  <a:pt x="3597013" y="262643"/>
                </a:cubicBezTo>
                <a:cubicBezTo>
                  <a:pt x="3694378" y="239097"/>
                  <a:pt x="3790532" y="287139"/>
                  <a:pt x="3861891" y="251702"/>
                </a:cubicBezTo>
                <a:cubicBezTo>
                  <a:pt x="3861287" y="265497"/>
                  <a:pt x="3870963" y="264069"/>
                  <a:pt x="3867335" y="281669"/>
                </a:cubicBezTo>
                <a:cubicBezTo>
                  <a:pt x="3881848" y="282858"/>
                  <a:pt x="3882452" y="269301"/>
                  <a:pt x="3881244" y="253129"/>
                </a:cubicBezTo>
                <a:cubicBezTo>
                  <a:pt x="3897573" y="260502"/>
                  <a:pt x="3889710" y="269540"/>
                  <a:pt x="3896362" y="282145"/>
                </a:cubicBezTo>
                <a:cubicBezTo>
                  <a:pt x="3904828" y="256935"/>
                  <a:pt x="3909062" y="269064"/>
                  <a:pt x="3925389" y="276437"/>
                </a:cubicBezTo>
                <a:cubicBezTo>
                  <a:pt x="3931437" y="251226"/>
                  <a:pt x="3901805" y="268588"/>
                  <a:pt x="3905433" y="246946"/>
                </a:cubicBezTo>
                <a:cubicBezTo>
                  <a:pt x="3924181" y="258362"/>
                  <a:pt x="3964092" y="265973"/>
                  <a:pt x="3958651" y="287378"/>
                </a:cubicBezTo>
                <a:cubicBezTo>
                  <a:pt x="3974979" y="292610"/>
                  <a:pt x="3973164" y="279053"/>
                  <a:pt x="3971351" y="265021"/>
                </a:cubicBezTo>
                <a:cubicBezTo>
                  <a:pt x="4028800" y="269777"/>
                  <a:pt x="4038476" y="308069"/>
                  <a:pt x="4100159" y="281669"/>
                </a:cubicBezTo>
                <a:cubicBezTo>
                  <a:pt x="4094718" y="289042"/>
                  <a:pt x="4097137" y="291421"/>
                  <a:pt x="4098950" y="299507"/>
                </a:cubicBezTo>
                <a:cubicBezTo>
                  <a:pt x="4115884" y="302837"/>
                  <a:pt x="4123745" y="293561"/>
                  <a:pt x="4129188" y="282145"/>
                </a:cubicBezTo>
                <a:cubicBezTo>
                  <a:pt x="4143701" y="279291"/>
                  <a:pt x="4140679" y="297129"/>
                  <a:pt x="4152168" y="299983"/>
                </a:cubicBezTo>
                <a:cubicBezTo>
                  <a:pt x="4176358" y="300220"/>
                  <a:pt x="4173333" y="266449"/>
                  <a:pt x="4199338" y="270729"/>
                </a:cubicBezTo>
                <a:cubicBezTo>
                  <a:pt x="4185428" y="301172"/>
                  <a:pt x="4235017" y="281432"/>
                  <a:pt x="4243485" y="299983"/>
                </a:cubicBezTo>
                <a:cubicBezTo>
                  <a:pt x="4257998" y="297366"/>
                  <a:pt x="4259208" y="277389"/>
                  <a:pt x="4276140" y="276913"/>
                </a:cubicBezTo>
                <a:cubicBezTo>
                  <a:pt x="4277350" y="290945"/>
                  <a:pt x="4261022" y="283810"/>
                  <a:pt x="4262836" y="293799"/>
                </a:cubicBezTo>
                <a:cubicBezTo>
                  <a:pt x="4313030" y="302122"/>
                  <a:pt x="4327545" y="291421"/>
                  <a:pt x="4375319" y="299507"/>
                </a:cubicBezTo>
                <a:cubicBezTo>
                  <a:pt x="4398904" y="305452"/>
                  <a:pt x="4428536" y="296177"/>
                  <a:pt x="4443050" y="301409"/>
                </a:cubicBezTo>
                <a:cubicBezTo>
                  <a:pt x="4456959" y="306404"/>
                  <a:pt x="4460587" y="326381"/>
                  <a:pt x="4474497" y="329711"/>
                </a:cubicBezTo>
                <a:cubicBezTo>
                  <a:pt x="4498687" y="335658"/>
                  <a:pt x="4545251" y="314015"/>
                  <a:pt x="4551299" y="342079"/>
                </a:cubicBezTo>
                <a:cubicBezTo>
                  <a:pt x="4597259" y="328285"/>
                  <a:pt x="4642010" y="339938"/>
                  <a:pt x="4701880" y="341128"/>
                </a:cubicBezTo>
                <a:cubicBezTo>
                  <a:pt x="4707928" y="317820"/>
                  <a:pt x="4757517" y="341841"/>
                  <a:pt x="4769007" y="348738"/>
                </a:cubicBezTo>
                <a:cubicBezTo>
                  <a:pt x="4783520" y="342079"/>
                  <a:pt x="4774449" y="339463"/>
                  <a:pt x="4775053" y="325431"/>
                </a:cubicBezTo>
                <a:cubicBezTo>
                  <a:pt x="4788964" y="330663"/>
                  <a:pt x="4795615" y="345171"/>
                  <a:pt x="4817385" y="343030"/>
                </a:cubicBezTo>
                <a:cubicBezTo>
                  <a:pt x="4831900" y="338273"/>
                  <a:pt x="4823434" y="328046"/>
                  <a:pt x="4821619" y="314015"/>
                </a:cubicBezTo>
                <a:cubicBezTo>
                  <a:pt x="4831295" y="310923"/>
                  <a:pt x="4830691" y="322577"/>
                  <a:pt x="4832504" y="330663"/>
                </a:cubicBezTo>
                <a:cubicBezTo>
                  <a:pt x="4877255" y="352305"/>
                  <a:pt x="4928054" y="297129"/>
                  <a:pt x="4969177" y="338273"/>
                </a:cubicBezTo>
                <a:cubicBezTo>
                  <a:pt x="4987319" y="318058"/>
                  <a:pt x="5035093" y="357538"/>
                  <a:pt x="5049606" y="315204"/>
                </a:cubicBezTo>
                <a:cubicBezTo>
                  <a:pt x="5056259" y="321625"/>
                  <a:pt x="5070772" y="319247"/>
                  <a:pt x="5069565" y="337084"/>
                </a:cubicBezTo>
                <a:cubicBezTo>
                  <a:pt x="5081657" y="338036"/>
                  <a:pt x="5080450" y="321864"/>
                  <a:pt x="5087707" y="314728"/>
                </a:cubicBezTo>
                <a:cubicBezTo>
                  <a:pt x="5088310" y="354209"/>
                  <a:pt x="5140924" y="319247"/>
                  <a:pt x="5165114" y="321388"/>
                </a:cubicBezTo>
                <a:cubicBezTo>
                  <a:pt x="5183860" y="321149"/>
                  <a:pt x="5203212" y="354446"/>
                  <a:pt x="5221959" y="320436"/>
                </a:cubicBezTo>
                <a:cubicBezTo>
                  <a:pt x="5241311" y="363721"/>
                  <a:pt x="5276992" y="328761"/>
                  <a:pt x="5315693" y="326144"/>
                </a:cubicBezTo>
                <a:cubicBezTo>
                  <a:pt x="5320531" y="326381"/>
                  <a:pt x="5321137" y="316869"/>
                  <a:pt x="5321742" y="310923"/>
                </a:cubicBezTo>
                <a:cubicBezTo>
                  <a:pt x="5375564" y="331376"/>
                  <a:pt x="5410640" y="306166"/>
                  <a:pt x="5449343" y="297605"/>
                </a:cubicBezTo>
                <a:cubicBezTo>
                  <a:pt x="5466277" y="299031"/>
                  <a:pt x="5472927" y="311636"/>
                  <a:pt x="5476556" y="327809"/>
                </a:cubicBezTo>
                <a:cubicBezTo>
                  <a:pt x="5500140" y="333993"/>
                  <a:pt x="5503770" y="312350"/>
                  <a:pt x="5520703" y="309971"/>
                </a:cubicBezTo>
                <a:cubicBezTo>
                  <a:pt x="5517073" y="337322"/>
                  <a:pt x="5561824" y="307117"/>
                  <a:pt x="5557591" y="334706"/>
                </a:cubicBezTo>
                <a:cubicBezTo>
                  <a:pt x="5575734" y="312350"/>
                  <a:pt x="5603553" y="323053"/>
                  <a:pt x="5625323" y="328998"/>
                </a:cubicBezTo>
                <a:cubicBezTo>
                  <a:pt x="5610810" y="325668"/>
                  <a:pt x="5645884" y="344695"/>
                  <a:pt x="5657979" y="345884"/>
                </a:cubicBezTo>
                <a:cubicBezTo>
                  <a:pt x="5672493" y="347073"/>
                  <a:pt x="5682169" y="336133"/>
                  <a:pt x="5696683" y="335419"/>
                </a:cubicBezTo>
                <a:cubicBezTo>
                  <a:pt x="5711197" y="334706"/>
                  <a:pt x="5727525" y="355635"/>
                  <a:pt x="5743852" y="359202"/>
                </a:cubicBezTo>
                <a:cubicBezTo>
                  <a:pt x="5767438" y="363008"/>
                  <a:pt x="5812793" y="372760"/>
                  <a:pt x="5851497" y="364197"/>
                </a:cubicBezTo>
                <a:cubicBezTo>
                  <a:pt x="5860569" y="378944"/>
                  <a:pt x="5862382" y="374901"/>
                  <a:pt x="5856940" y="394164"/>
                </a:cubicBezTo>
                <a:cubicBezTo>
                  <a:pt x="5892620" y="351592"/>
                  <a:pt x="5916810" y="401299"/>
                  <a:pt x="5950674" y="394164"/>
                </a:cubicBezTo>
                <a:cubicBezTo>
                  <a:pt x="5949466" y="378229"/>
                  <a:pt x="5931928" y="378944"/>
                  <a:pt x="5933137" y="359202"/>
                </a:cubicBezTo>
                <a:cubicBezTo>
                  <a:pt x="5947046" y="406057"/>
                  <a:pt x="6019010" y="372760"/>
                  <a:pt x="6057110" y="383700"/>
                </a:cubicBezTo>
                <a:cubicBezTo>
                  <a:pt x="6054085" y="355874"/>
                  <a:pt x="6014172" y="376327"/>
                  <a:pt x="6018406" y="343030"/>
                </a:cubicBezTo>
                <a:cubicBezTo>
                  <a:pt x="5999658" y="375138"/>
                  <a:pt x="5970026" y="342793"/>
                  <a:pt x="5943417" y="354446"/>
                </a:cubicBezTo>
                <a:cubicBezTo>
                  <a:pt x="6017197" y="319009"/>
                  <a:pt x="6123026" y="324003"/>
                  <a:pt x="6181081" y="315204"/>
                </a:cubicBezTo>
                <a:cubicBezTo>
                  <a:pt x="6157496" y="263594"/>
                  <a:pt x="6062552" y="326620"/>
                  <a:pt x="6041990" y="267162"/>
                </a:cubicBezTo>
                <a:cubicBezTo>
                  <a:pt x="6012358" y="280718"/>
                  <a:pt x="6007519" y="276198"/>
                  <a:pt x="5985144" y="290232"/>
                </a:cubicBezTo>
                <a:cubicBezTo>
                  <a:pt x="5991192" y="274772"/>
                  <a:pt x="5989378" y="263119"/>
                  <a:pt x="5977887" y="255983"/>
                </a:cubicBezTo>
                <a:cubicBezTo>
                  <a:pt x="5946441" y="299031"/>
                  <a:pt x="5882339" y="243853"/>
                  <a:pt x="5867825" y="290232"/>
                </a:cubicBezTo>
                <a:cubicBezTo>
                  <a:pt x="5857543" y="257648"/>
                  <a:pt x="5831540" y="285237"/>
                  <a:pt x="5820049" y="278102"/>
                </a:cubicBezTo>
                <a:cubicBezTo>
                  <a:pt x="5820655" y="268351"/>
                  <a:pt x="5834563" y="275485"/>
                  <a:pt x="5832750" y="265497"/>
                </a:cubicBezTo>
                <a:cubicBezTo>
                  <a:pt x="5832146" y="233627"/>
                  <a:pt x="5766228" y="258124"/>
                  <a:pt x="5772879" y="272394"/>
                </a:cubicBezTo>
                <a:cubicBezTo>
                  <a:pt x="5750504" y="238860"/>
                  <a:pt x="5715430" y="263356"/>
                  <a:pt x="5680960" y="276437"/>
                </a:cubicBezTo>
                <a:cubicBezTo>
                  <a:pt x="5663421" y="255032"/>
                  <a:pt x="5575734" y="233389"/>
                  <a:pt x="5554568" y="269301"/>
                </a:cubicBezTo>
                <a:cubicBezTo>
                  <a:pt x="5544892" y="268588"/>
                  <a:pt x="5542473" y="260265"/>
                  <a:pt x="5543682" y="246470"/>
                </a:cubicBezTo>
                <a:cubicBezTo>
                  <a:pt x="5492884" y="250037"/>
                  <a:pt x="5463856" y="257648"/>
                  <a:pt x="5411848" y="235292"/>
                </a:cubicBezTo>
                <a:cubicBezTo>
                  <a:pt x="5455995" y="219120"/>
                  <a:pt x="5493488" y="246233"/>
                  <a:pt x="5521912" y="212936"/>
                </a:cubicBezTo>
                <a:cubicBezTo>
                  <a:pt x="5517073" y="206514"/>
                  <a:pt x="5509817" y="206038"/>
                  <a:pt x="5512840" y="194385"/>
                </a:cubicBezTo>
                <a:cubicBezTo>
                  <a:pt x="5493488" y="198665"/>
                  <a:pt x="5491070" y="198665"/>
                  <a:pt x="5479580" y="189627"/>
                </a:cubicBezTo>
                <a:cubicBezTo>
                  <a:pt x="5462041" y="202233"/>
                  <a:pt x="5432410" y="214838"/>
                  <a:pt x="5416686" y="193670"/>
                </a:cubicBezTo>
                <a:cubicBezTo>
                  <a:pt x="5400963" y="221974"/>
                  <a:pt x="5375564" y="206276"/>
                  <a:pt x="5354397" y="234341"/>
                </a:cubicBezTo>
                <a:cubicBezTo>
                  <a:pt x="5377377" y="212460"/>
                  <a:pt x="5345931" y="215790"/>
                  <a:pt x="5332022" y="210558"/>
                </a:cubicBezTo>
                <a:cubicBezTo>
                  <a:pt x="5410640" y="175596"/>
                  <a:pt x="5494093" y="190816"/>
                  <a:pt x="5555172" y="172266"/>
                </a:cubicBezTo>
                <a:cubicBezTo>
                  <a:pt x="5564244" y="177023"/>
                  <a:pt x="5584805" y="206514"/>
                  <a:pt x="5593271" y="177498"/>
                </a:cubicBezTo>
                <a:cubicBezTo>
                  <a:pt x="5604761" y="184395"/>
                  <a:pt x="5608995" y="200806"/>
                  <a:pt x="5620484" y="207703"/>
                </a:cubicBezTo>
                <a:cubicBezTo>
                  <a:pt x="5616251" y="195335"/>
                  <a:pt x="5625323" y="197714"/>
                  <a:pt x="5641046" y="183206"/>
                </a:cubicBezTo>
                <a:cubicBezTo>
                  <a:pt x="5648303" y="183919"/>
                  <a:pt x="5641650" y="203660"/>
                  <a:pt x="5654350" y="200568"/>
                </a:cubicBezTo>
                <a:cubicBezTo>
                  <a:pt x="5673097" y="206276"/>
                  <a:pt x="5662816" y="173455"/>
                  <a:pt x="5682169" y="177023"/>
                </a:cubicBezTo>
                <a:cubicBezTo>
                  <a:pt x="5681564" y="186773"/>
                  <a:pt x="5686402" y="189153"/>
                  <a:pt x="5693658" y="189627"/>
                </a:cubicBezTo>
                <a:cubicBezTo>
                  <a:pt x="5734177" y="149672"/>
                  <a:pt x="5817631" y="196763"/>
                  <a:pt x="5855126" y="177974"/>
                </a:cubicBezTo>
                <a:cubicBezTo>
                  <a:pt x="5891409" y="208893"/>
                  <a:pt x="5934950" y="168937"/>
                  <a:pt x="5991192" y="191531"/>
                </a:cubicBezTo>
                <a:cubicBezTo>
                  <a:pt x="6013568" y="177498"/>
                  <a:pt x="6050457" y="168937"/>
                  <a:pt x="6058318" y="191531"/>
                </a:cubicBezTo>
                <a:cubicBezTo>
                  <a:pt x="6068599" y="188438"/>
                  <a:pt x="6073437" y="178925"/>
                  <a:pt x="6081299" y="173693"/>
                </a:cubicBezTo>
                <a:cubicBezTo>
                  <a:pt x="6078880" y="167509"/>
                  <a:pt x="6071624" y="168461"/>
                  <a:pt x="6072228" y="156806"/>
                </a:cubicBezTo>
                <a:close/>
                <a:moveTo>
                  <a:pt x="2495172" y="141109"/>
                </a:moveTo>
                <a:cubicBezTo>
                  <a:pt x="2507267" y="160612"/>
                  <a:pt x="2470981" y="150148"/>
                  <a:pt x="2461910" y="156806"/>
                </a:cubicBezTo>
                <a:cubicBezTo>
                  <a:pt x="2449815" y="137066"/>
                  <a:pt x="2486705" y="143964"/>
                  <a:pt x="2495172" y="141109"/>
                </a:cubicBezTo>
                <a:close/>
                <a:moveTo>
                  <a:pt x="3745175" y="140396"/>
                </a:moveTo>
                <a:cubicBezTo>
                  <a:pt x="3747595" y="140634"/>
                  <a:pt x="3749409" y="141585"/>
                  <a:pt x="3750619" y="143488"/>
                </a:cubicBezTo>
                <a:cubicBezTo>
                  <a:pt x="3745780" y="157521"/>
                  <a:pt x="3732477" y="163466"/>
                  <a:pt x="3727638" y="150861"/>
                </a:cubicBezTo>
                <a:cubicBezTo>
                  <a:pt x="3729452" y="146342"/>
                  <a:pt x="3734290" y="142774"/>
                  <a:pt x="3739129" y="141109"/>
                </a:cubicBezTo>
                <a:cubicBezTo>
                  <a:pt x="3740943" y="140159"/>
                  <a:pt x="3743361" y="139920"/>
                  <a:pt x="3745175" y="140396"/>
                </a:cubicBezTo>
                <a:close/>
                <a:moveTo>
                  <a:pt x="3851006" y="123986"/>
                </a:moveTo>
                <a:cubicBezTo>
                  <a:pt x="3864312" y="125889"/>
                  <a:pt x="3875801" y="133262"/>
                  <a:pt x="3881244" y="142299"/>
                </a:cubicBezTo>
                <a:cubicBezTo>
                  <a:pt x="3885477" y="139683"/>
                  <a:pt x="3890314" y="138731"/>
                  <a:pt x="3894548" y="134212"/>
                </a:cubicBezTo>
                <a:cubicBezTo>
                  <a:pt x="3940509" y="167509"/>
                  <a:pt x="4002192" y="141585"/>
                  <a:pt x="4046944" y="153715"/>
                </a:cubicBezTo>
                <a:cubicBezTo>
                  <a:pt x="4052386" y="189866"/>
                  <a:pt x="4087461" y="159186"/>
                  <a:pt x="4112860" y="177974"/>
                </a:cubicBezTo>
                <a:cubicBezTo>
                  <a:pt x="4084437" y="211271"/>
                  <a:pt x="4049363" y="162277"/>
                  <a:pt x="4007634" y="171315"/>
                </a:cubicBezTo>
                <a:cubicBezTo>
                  <a:pt x="4007030" y="179639"/>
                  <a:pt x="4009449" y="182255"/>
                  <a:pt x="4011263" y="184634"/>
                </a:cubicBezTo>
                <a:cubicBezTo>
                  <a:pt x="3987678" y="184634"/>
                  <a:pt x="3946556" y="180590"/>
                  <a:pt x="3912690" y="183919"/>
                </a:cubicBezTo>
                <a:cubicBezTo>
                  <a:pt x="3912086" y="190342"/>
                  <a:pt x="3917528" y="189153"/>
                  <a:pt x="3922366" y="191531"/>
                </a:cubicBezTo>
                <a:cubicBezTo>
                  <a:pt x="3886082" y="194622"/>
                  <a:pt x="3837702" y="192007"/>
                  <a:pt x="3793555" y="209130"/>
                </a:cubicBezTo>
                <a:cubicBezTo>
                  <a:pt x="3829236" y="180828"/>
                  <a:pt x="3806859" y="145867"/>
                  <a:pt x="3788113" y="129693"/>
                </a:cubicBezTo>
                <a:cubicBezTo>
                  <a:pt x="3808068" y="142061"/>
                  <a:pt x="3848587" y="159660"/>
                  <a:pt x="3878825" y="143488"/>
                </a:cubicBezTo>
                <a:cubicBezTo>
                  <a:pt x="3858867" y="136590"/>
                  <a:pt x="3834074" y="128980"/>
                  <a:pt x="3817745" y="139444"/>
                </a:cubicBezTo>
                <a:cubicBezTo>
                  <a:pt x="3821978" y="125650"/>
                  <a:pt x="3836493" y="121607"/>
                  <a:pt x="3851006" y="123986"/>
                </a:cubicBezTo>
                <a:close/>
                <a:moveTo>
                  <a:pt x="4390135" y="123867"/>
                </a:moveTo>
                <a:cubicBezTo>
                  <a:pt x="4391949" y="124343"/>
                  <a:pt x="4394066" y="125413"/>
                  <a:pt x="4396484" y="127315"/>
                </a:cubicBezTo>
                <a:cubicBezTo>
                  <a:pt x="4398300" y="138970"/>
                  <a:pt x="4393462" y="143013"/>
                  <a:pt x="4391042" y="150385"/>
                </a:cubicBezTo>
                <a:cubicBezTo>
                  <a:pt x="4381970" y="145391"/>
                  <a:pt x="4378342" y="126602"/>
                  <a:pt x="4385599" y="123986"/>
                </a:cubicBezTo>
                <a:cubicBezTo>
                  <a:pt x="4386809" y="123510"/>
                  <a:pt x="4388321" y="123391"/>
                  <a:pt x="4390135" y="123867"/>
                </a:cubicBezTo>
                <a:close/>
                <a:moveTo>
                  <a:pt x="3709497" y="122559"/>
                </a:moveTo>
                <a:cubicBezTo>
                  <a:pt x="3711916" y="171790"/>
                  <a:pt x="3652650" y="152288"/>
                  <a:pt x="3618179" y="155617"/>
                </a:cubicBezTo>
                <a:cubicBezTo>
                  <a:pt x="3618785" y="145153"/>
                  <a:pt x="3616972" y="138018"/>
                  <a:pt x="3609713" y="135401"/>
                </a:cubicBezTo>
                <a:cubicBezTo>
                  <a:pt x="3632694" y="122321"/>
                  <a:pt x="3683491" y="160851"/>
                  <a:pt x="3709497" y="122559"/>
                </a:cubicBezTo>
                <a:close/>
                <a:moveTo>
                  <a:pt x="4391042" y="89024"/>
                </a:moveTo>
                <a:lnTo>
                  <a:pt x="4391647" y="119705"/>
                </a:lnTo>
                <a:cubicBezTo>
                  <a:pt x="4386809" y="115185"/>
                  <a:pt x="4381970" y="112570"/>
                  <a:pt x="4377134" y="112094"/>
                </a:cubicBezTo>
                <a:cubicBezTo>
                  <a:pt x="4377738" y="102106"/>
                  <a:pt x="4378342" y="88072"/>
                  <a:pt x="4391042" y="89024"/>
                </a:cubicBezTo>
                <a:close/>
                <a:moveTo>
                  <a:pt x="2994690" y="77608"/>
                </a:moveTo>
                <a:cubicBezTo>
                  <a:pt x="2998922" y="76419"/>
                  <a:pt x="3003156" y="76419"/>
                  <a:pt x="3007389" y="77608"/>
                </a:cubicBezTo>
                <a:cubicBezTo>
                  <a:pt x="3015251" y="79749"/>
                  <a:pt x="3023113" y="85694"/>
                  <a:pt x="3032183" y="90451"/>
                </a:cubicBezTo>
                <a:cubicBezTo>
                  <a:pt x="3014647" y="69522"/>
                  <a:pt x="3128337" y="94732"/>
                  <a:pt x="3060606" y="90927"/>
                </a:cubicBezTo>
                <a:cubicBezTo>
                  <a:pt x="3045488" y="105197"/>
                  <a:pt x="3032183" y="90451"/>
                  <a:pt x="3021903" y="103056"/>
                </a:cubicBezTo>
                <a:cubicBezTo>
                  <a:pt x="3017670" y="98776"/>
                  <a:pt x="3015856" y="90689"/>
                  <a:pt x="3014041" y="84744"/>
                </a:cubicBezTo>
                <a:cubicBezTo>
                  <a:pt x="3006180" y="93781"/>
                  <a:pt x="2995899" y="104484"/>
                  <a:pt x="2980780" y="85694"/>
                </a:cubicBezTo>
                <a:cubicBezTo>
                  <a:pt x="2985619" y="81175"/>
                  <a:pt x="2990456" y="78797"/>
                  <a:pt x="2994690" y="77608"/>
                </a:cubicBezTo>
                <a:close/>
                <a:moveTo>
                  <a:pt x="1165341" y="73328"/>
                </a:moveTo>
                <a:cubicBezTo>
                  <a:pt x="1189530" y="70235"/>
                  <a:pt x="1220977" y="80462"/>
                  <a:pt x="1239724" y="99013"/>
                </a:cubicBezTo>
                <a:cubicBezTo>
                  <a:pt x="1210092" y="111381"/>
                  <a:pt x="1188321" y="67857"/>
                  <a:pt x="1144175" y="80938"/>
                </a:cubicBezTo>
                <a:cubicBezTo>
                  <a:pt x="1149618" y="76895"/>
                  <a:pt x="1157479" y="74517"/>
                  <a:pt x="1165341" y="73328"/>
                </a:cubicBezTo>
                <a:close/>
                <a:moveTo>
                  <a:pt x="2951752" y="69046"/>
                </a:moveTo>
                <a:cubicBezTo>
                  <a:pt x="2959614" y="69760"/>
                  <a:pt x="2968081" y="71187"/>
                  <a:pt x="2974129" y="69522"/>
                </a:cubicBezTo>
                <a:cubicBezTo>
                  <a:pt x="2969290" y="103056"/>
                  <a:pt x="2949938" y="79273"/>
                  <a:pt x="2936634" y="75706"/>
                </a:cubicBezTo>
                <a:cubicBezTo>
                  <a:pt x="2937843" y="69046"/>
                  <a:pt x="2944496" y="68333"/>
                  <a:pt x="2951752" y="69046"/>
                </a:cubicBezTo>
                <a:close/>
                <a:moveTo>
                  <a:pt x="2903836" y="58444"/>
                </a:moveTo>
                <a:cubicBezTo>
                  <a:pt x="2910101" y="60082"/>
                  <a:pt x="2917131" y="65835"/>
                  <a:pt x="2922121" y="64765"/>
                </a:cubicBezTo>
                <a:cubicBezTo>
                  <a:pt x="2914863" y="85457"/>
                  <a:pt x="2900351" y="74993"/>
                  <a:pt x="2892488" y="67144"/>
                </a:cubicBezTo>
                <a:cubicBezTo>
                  <a:pt x="2893697" y="61911"/>
                  <a:pt x="2895512" y="59770"/>
                  <a:pt x="2897931" y="58581"/>
                </a:cubicBezTo>
                <a:cubicBezTo>
                  <a:pt x="2899744" y="57809"/>
                  <a:pt x="2901748" y="57898"/>
                  <a:pt x="2903836" y="58444"/>
                </a:cubicBezTo>
                <a:close/>
                <a:moveTo>
                  <a:pt x="2807219" y="39317"/>
                </a:moveTo>
                <a:cubicBezTo>
                  <a:pt x="2826570" y="63576"/>
                  <a:pt x="2855598" y="45739"/>
                  <a:pt x="2885231" y="62624"/>
                </a:cubicBezTo>
                <a:cubicBezTo>
                  <a:pt x="2874950" y="75943"/>
                  <a:pt x="2845318" y="63100"/>
                  <a:pt x="2833223" y="74278"/>
                </a:cubicBezTo>
                <a:cubicBezTo>
                  <a:pt x="2830200" y="43361"/>
                  <a:pt x="2802381" y="75467"/>
                  <a:pt x="2796334" y="50495"/>
                </a:cubicBezTo>
                <a:cubicBezTo>
                  <a:pt x="2796939" y="44550"/>
                  <a:pt x="2806615" y="45501"/>
                  <a:pt x="2807219" y="39317"/>
                </a:cubicBezTo>
                <a:close/>
                <a:moveTo>
                  <a:pt x="2697156" y="23858"/>
                </a:moveTo>
                <a:cubicBezTo>
                  <a:pt x="2703808" y="30042"/>
                  <a:pt x="2705622" y="43598"/>
                  <a:pt x="2709855" y="51684"/>
                </a:cubicBezTo>
                <a:cubicBezTo>
                  <a:pt x="2729207" y="55014"/>
                  <a:pt x="2744326" y="50495"/>
                  <a:pt x="2744931" y="29803"/>
                </a:cubicBezTo>
                <a:cubicBezTo>
                  <a:pt x="2747350" y="33847"/>
                  <a:pt x="2758235" y="53588"/>
                  <a:pt x="2759444" y="30755"/>
                </a:cubicBezTo>
                <a:cubicBezTo>
                  <a:pt x="2780006" y="45976"/>
                  <a:pt x="2784843" y="48354"/>
                  <a:pt x="2795728" y="68333"/>
                </a:cubicBezTo>
                <a:cubicBezTo>
                  <a:pt x="2744931" y="71424"/>
                  <a:pt x="2694132" y="38604"/>
                  <a:pt x="2648776" y="74754"/>
                </a:cubicBezTo>
                <a:cubicBezTo>
                  <a:pt x="2656638" y="64052"/>
                  <a:pt x="2674781" y="42885"/>
                  <a:pt x="2648171" y="40744"/>
                </a:cubicBezTo>
                <a:cubicBezTo>
                  <a:pt x="2656638" y="26236"/>
                  <a:pt x="2697760" y="60009"/>
                  <a:pt x="2697156" y="23858"/>
                </a:cubicBezTo>
                <a:close/>
                <a:moveTo>
                  <a:pt x="2537504" y="19815"/>
                </a:moveTo>
                <a:cubicBezTo>
                  <a:pt x="2544760" y="20291"/>
                  <a:pt x="2552018" y="26475"/>
                  <a:pt x="2549599" y="41696"/>
                </a:cubicBezTo>
                <a:cubicBezTo>
                  <a:pt x="2543551" y="35036"/>
                  <a:pt x="2533875" y="36463"/>
                  <a:pt x="2522385" y="35512"/>
                </a:cubicBezTo>
                <a:cubicBezTo>
                  <a:pt x="2522989" y="25284"/>
                  <a:pt x="2530851" y="19577"/>
                  <a:pt x="2537504" y="19815"/>
                </a:cubicBezTo>
                <a:close/>
                <a:moveTo>
                  <a:pt x="2372409" y="8161"/>
                </a:moveTo>
                <a:cubicBezTo>
                  <a:pt x="2410507" y="25760"/>
                  <a:pt x="2418974" y="38841"/>
                  <a:pt x="2458887" y="19815"/>
                </a:cubicBezTo>
                <a:cubicBezTo>
                  <a:pt x="2462515" y="42647"/>
                  <a:pt x="2438325" y="25999"/>
                  <a:pt x="2439535" y="44550"/>
                </a:cubicBezTo>
                <a:cubicBezTo>
                  <a:pt x="2414741" y="30279"/>
                  <a:pt x="2390551" y="46691"/>
                  <a:pt x="2365756" y="38366"/>
                </a:cubicBezTo>
                <a:cubicBezTo>
                  <a:pt x="2371199" y="32657"/>
                  <a:pt x="2374223" y="22669"/>
                  <a:pt x="2372409" y="8161"/>
                </a:cubicBezTo>
                <a:close/>
                <a:moveTo>
                  <a:pt x="4369876" y="75"/>
                </a:moveTo>
                <a:cubicBezTo>
                  <a:pt x="4372900" y="-1353"/>
                  <a:pt x="4378947" y="18388"/>
                  <a:pt x="4391042" y="10539"/>
                </a:cubicBezTo>
                <a:cubicBezTo>
                  <a:pt x="4388019" y="22193"/>
                  <a:pt x="4395879" y="46215"/>
                  <a:pt x="4380156" y="38841"/>
                </a:cubicBezTo>
                <a:lnTo>
                  <a:pt x="4381366" y="21480"/>
                </a:lnTo>
                <a:cubicBezTo>
                  <a:pt x="4379553" y="13393"/>
                  <a:pt x="4367457" y="20291"/>
                  <a:pt x="4368062" y="10539"/>
                </a:cubicBezTo>
                <a:cubicBezTo>
                  <a:pt x="4368062" y="3642"/>
                  <a:pt x="4368666" y="551"/>
                  <a:pt x="4369876" y="7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536720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09286" y="3200400"/>
            <a:ext cx="23365428" cy="45466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61216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1" y="1676401"/>
            <a:ext cx="27536674" cy="10142670"/>
          </a:xfrm>
          <a:custGeom>
            <a:avLst/>
            <a:gdLst>
              <a:gd name="connsiteX0" fmla="*/ 7822922 w 13768337"/>
              <a:gd name="connsiteY0" fmla="*/ 5025764 h 5071335"/>
              <a:gd name="connsiteX1" fmla="*/ 7819679 w 13768337"/>
              <a:gd name="connsiteY1" fmla="*/ 5045554 h 5071335"/>
              <a:gd name="connsiteX2" fmla="*/ 7798362 w 13768337"/>
              <a:gd name="connsiteY2" fmla="*/ 5044718 h 5071335"/>
              <a:gd name="connsiteX3" fmla="*/ 7805313 w 13768337"/>
              <a:gd name="connsiteY3" fmla="*/ 5039004 h 5071335"/>
              <a:gd name="connsiteX4" fmla="*/ 7802070 w 13768337"/>
              <a:gd name="connsiteY4" fmla="*/ 5035241 h 5071335"/>
              <a:gd name="connsiteX5" fmla="*/ 7805313 w 13768337"/>
              <a:gd name="connsiteY5" fmla="*/ 5035241 h 5071335"/>
              <a:gd name="connsiteX6" fmla="*/ 7822922 w 13768337"/>
              <a:gd name="connsiteY6" fmla="*/ 5025764 h 5071335"/>
              <a:gd name="connsiteX7" fmla="*/ 7825703 w 13768337"/>
              <a:gd name="connsiteY7" fmla="*/ 5018100 h 5071335"/>
              <a:gd name="connsiteX8" fmla="*/ 7827093 w 13768337"/>
              <a:gd name="connsiteY8" fmla="*/ 5020330 h 5071335"/>
              <a:gd name="connsiteX9" fmla="*/ 7826629 w 13768337"/>
              <a:gd name="connsiteY9" fmla="*/ 5021305 h 5071335"/>
              <a:gd name="connsiteX10" fmla="*/ 7825703 w 13768337"/>
              <a:gd name="connsiteY10" fmla="*/ 5018100 h 5071335"/>
              <a:gd name="connsiteX11" fmla="*/ 9492066 w 13768337"/>
              <a:gd name="connsiteY11" fmla="*/ 5013222 h 5071335"/>
              <a:gd name="connsiteX12" fmla="*/ 9485579 w 13768337"/>
              <a:gd name="connsiteY12" fmla="*/ 5027855 h 5071335"/>
              <a:gd name="connsiteX13" fmla="*/ 9500871 w 13768337"/>
              <a:gd name="connsiteY13" fmla="*/ 5026879 h 5071335"/>
              <a:gd name="connsiteX14" fmla="*/ 9492066 w 13768337"/>
              <a:gd name="connsiteY14" fmla="*/ 5013222 h 5071335"/>
              <a:gd name="connsiteX15" fmla="*/ 9631547 w 13768337"/>
              <a:gd name="connsiteY15" fmla="*/ 5005836 h 5071335"/>
              <a:gd name="connsiteX16" fmla="*/ 9632475 w 13768337"/>
              <a:gd name="connsiteY16" fmla="*/ 5005836 h 5071335"/>
              <a:gd name="connsiteX17" fmla="*/ 9631547 w 13768337"/>
              <a:gd name="connsiteY17" fmla="*/ 5006254 h 5071335"/>
              <a:gd name="connsiteX18" fmla="*/ 9631547 w 13768337"/>
              <a:gd name="connsiteY18" fmla="*/ 5005836 h 5071335"/>
              <a:gd name="connsiteX19" fmla="*/ 9469823 w 13768337"/>
              <a:gd name="connsiteY19" fmla="*/ 4993990 h 5071335"/>
              <a:gd name="connsiteX20" fmla="*/ 9468896 w 13768337"/>
              <a:gd name="connsiteY20" fmla="*/ 4994966 h 5071335"/>
              <a:gd name="connsiteX21" fmla="*/ 9469823 w 13768337"/>
              <a:gd name="connsiteY21" fmla="*/ 4994966 h 5071335"/>
              <a:gd name="connsiteX22" fmla="*/ 9469823 w 13768337"/>
              <a:gd name="connsiteY22" fmla="*/ 4993990 h 5071335"/>
              <a:gd name="connsiteX23" fmla="*/ 10393367 w 13768337"/>
              <a:gd name="connsiteY23" fmla="*/ 4992178 h 5071335"/>
              <a:gd name="connsiteX24" fmla="*/ 10386880 w 13768337"/>
              <a:gd name="connsiteY24" fmla="*/ 5000261 h 5071335"/>
              <a:gd name="connsiteX25" fmla="*/ 10403564 w 13768337"/>
              <a:gd name="connsiteY25" fmla="*/ 5013640 h 5071335"/>
              <a:gd name="connsiteX26" fmla="*/ 10423951 w 13768337"/>
              <a:gd name="connsiteY26" fmla="*/ 5001516 h 5071335"/>
              <a:gd name="connsiteX27" fmla="*/ 10393367 w 13768337"/>
              <a:gd name="connsiteY27" fmla="*/ 4992178 h 5071335"/>
              <a:gd name="connsiteX28" fmla="*/ 8399848 w 13768337"/>
              <a:gd name="connsiteY28" fmla="*/ 4991620 h 5071335"/>
              <a:gd name="connsiteX29" fmla="*/ 8394749 w 13768337"/>
              <a:gd name="connsiteY29" fmla="*/ 4992178 h 5071335"/>
              <a:gd name="connsiteX30" fmla="*/ 8388262 w 13768337"/>
              <a:gd name="connsiteY30" fmla="*/ 5000261 h 5071335"/>
              <a:gd name="connsiteX31" fmla="*/ 8404480 w 13768337"/>
              <a:gd name="connsiteY31" fmla="*/ 4994547 h 5071335"/>
              <a:gd name="connsiteX32" fmla="*/ 8399848 w 13768337"/>
              <a:gd name="connsiteY32" fmla="*/ 4991620 h 5071335"/>
              <a:gd name="connsiteX33" fmla="*/ 7866481 w 13768337"/>
              <a:gd name="connsiteY33" fmla="*/ 4990367 h 5071335"/>
              <a:gd name="connsiteX34" fmla="*/ 7833117 w 13768337"/>
              <a:gd name="connsiteY34" fmla="*/ 5021305 h 5071335"/>
              <a:gd name="connsiteX35" fmla="*/ 7861383 w 13768337"/>
              <a:gd name="connsiteY35" fmla="*/ 5006672 h 5071335"/>
              <a:gd name="connsiteX36" fmla="*/ 7866481 w 13768337"/>
              <a:gd name="connsiteY36" fmla="*/ 4990367 h 5071335"/>
              <a:gd name="connsiteX37" fmla="*/ 7727464 w 13768337"/>
              <a:gd name="connsiteY37" fmla="*/ 4987440 h 5071335"/>
              <a:gd name="connsiteX38" fmla="*/ 7749243 w 13768337"/>
              <a:gd name="connsiteY38" fmla="*/ 5015034 h 5071335"/>
              <a:gd name="connsiteX39" fmla="*/ 7726073 w 13768337"/>
              <a:gd name="connsiteY39" fmla="*/ 5020747 h 5071335"/>
              <a:gd name="connsiteX40" fmla="*/ 7717732 w 13768337"/>
              <a:gd name="connsiteY40" fmla="*/ 4999704 h 5071335"/>
              <a:gd name="connsiteX41" fmla="*/ 7727464 w 13768337"/>
              <a:gd name="connsiteY41" fmla="*/ 4987440 h 5071335"/>
              <a:gd name="connsiteX42" fmla="*/ 9490675 w 13768337"/>
              <a:gd name="connsiteY42" fmla="*/ 4984235 h 5071335"/>
              <a:gd name="connsiteX43" fmla="*/ 9480017 w 13768337"/>
              <a:gd name="connsiteY43" fmla="*/ 4993154 h 5071335"/>
              <a:gd name="connsiteX44" fmla="*/ 9492530 w 13768337"/>
              <a:gd name="connsiteY44" fmla="*/ 4984235 h 5071335"/>
              <a:gd name="connsiteX45" fmla="*/ 9490675 w 13768337"/>
              <a:gd name="connsiteY45" fmla="*/ 4984235 h 5071335"/>
              <a:gd name="connsiteX46" fmla="*/ 7826629 w 13768337"/>
              <a:gd name="connsiteY46" fmla="*/ 4981030 h 5071335"/>
              <a:gd name="connsiteX47" fmla="*/ 7809020 w 13768337"/>
              <a:gd name="connsiteY47" fmla="*/ 4994547 h 5071335"/>
              <a:gd name="connsiteX48" fmla="*/ 7821995 w 13768337"/>
              <a:gd name="connsiteY48" fmla="*/ 5001098 h 5071335"/>
              <a:gd name="connsiteX49" fmla="*/ 7826629 w 13768337"/>
              <a:gd name="connsiteY49" fmla="*/ 4981030 h 5071335"/>
              <a:gd name="connsiteX50" fmla="*/ 7983718 w 13768337"/>
              <a:gd name="connsiteY50" fmla="*/ 4977406 h 5071335"/>
              <a:gd name="connsiteX51" fmla="*/ 7980011 w 13768337"/>
              <a:gd name="connsiteY51" fmla="*/ 4981030 h 5071335"/>
              <a:gd name="connsiteX52" fmla="*/ 7995767 w 13768337"/>
              <a:gd name="connsiteY52" fmla="*/ 4983677 h 5071335"/>
              <a:gd name="connsiteX53" fmla="*/ 7986500 w 13768337"/>
              <a:gd name="connsiteY53" fmla="*/ 4979497 h 5071335"/>
              <a:gd name="connsiteX54" fmla="*/ 7983718 w 13768337"/>
              <a:gd name="connsiteY54" fmla="*/ 4977406 h 5071335"/>
              <a:gd name="connsiteX55" fmla="*/ 7939697 w 13768337"/>
              <a:gd name="connsiteY55" fmla="*/ 4975874 h 5071335"/>
              <a:gd name="connsiteX56" fmla="*/ 7936917 w 13768337"/>
              <a:gd name="connsiteY56" fmla="*/ 4980054 h 5071335"/>
              <a:gd name="connsiteX57" fmla="*/ 7942941 w 13768337"/>
              <a:gd name="connsiteY57" fmla="*/ 4980054 h 5071335"/>
              <a:gd name="connsiteX58" fmla="*/ 7944793 w 13768337"/>
              <a:gd name="connsiteY58" fmla="*/ 4995801 h 5071335"/>
              <a:gd name="connsiteX59" fmla="*/ 7939697 w 13768337"/>
              <a:gd name="connsiteY59" fmla="*/ 4975874 h 5071335"/>
              <a:gd name="connsiteX60" fmla="*/ 9391046 w 13768337"/>
              <a:gd name="connsiteY60" fmla="*/ 4973504 h 5071335"/>
              <a:gd name="connsiteX61" fmla="*/ 9409582 w 13768337"/>
              <a:gd name="connsiteY61" fmla="*/ 4988415 h 5071335"/>
              <a:gd name="connsiteX62" fmla="*/ 9389193 w 13768337"/>
              <a:gd name="connsiteY62" fmla="*/ 4985629 h 5071335"/>
              <a:gd name="connsiteX63" fmla="*/ 9391046 w 13768337"/>
              <a:gd name="connsiteY63" fmla="*/ 4973504 h 5071335"/>
              <a:gd name="connsiteX64" fmla="*/ 9578257 w 13768337"/>
              <a:gd name="connsiteY64" fmla="*/ 4969742 h 5071335"/>
              <a:gd name="connsiteX65" fmla="*/ 9497627 w 13768337"/>
              <a:gd name="connsiteY65" fmla="*/ 4982424 h 5071335"/>
              <a:gd name="connsiteX66" fmla="*/ 9514772 w 13768337"/>
              <a:gd name="connsiteY66" fmla="*/ 4995801 h 5071335"/>
              <a:gd name="connsiteX67" fmla="*/ 9570380 w 13768337"/>
              <a:gd name="connsiteY67" fmla="*/ 5000261 h 5071335"/>
              <a:gd name="connsiteX68" fmla="*/ 9578257 w 13768337"/>
              <a:gd name="connsiteY68" fmla="*/ 4969742 h 5071335"/>
              <a:gd name="connsiteX69" fmla="*/ 6806236 w 13768337"/>
              <a:gd name="connsiteY69" fmla="*/ 4963749 h 5071335"/>
              <a:gd name="connsiteX70" fmla="*/ 6842845 w 13768337"/>
              <a:gd name="connsiteY70" fmla="*/ 4992596 h 5071335"/>
              <a:gd name="connsiteX71" fmla="*/ 6855819 w 13768337"/>
              <a:gd name="connsiteY71" fmla="*/ 4979497 h 5071335"/>
              <a:gd name="connsiteX72" fmla="*/ 6887330 w 13768337"/>
              <a:gd name="connsiteY72" fmla="*/ 4988973 h 5071335"/>
              <a:gd name="connsiteX73" fmla="*/ 6897526 w 13768337"/>
              <a:gd name="connsiteY73" fmla="*/ 5000540 h 5071335"/>
              <a:gd name="connsiteX74" fmla="*/ 6891964 w 13768337"/>
              <a:gd name="connsiteY74" fmla="*/ 5016010 h 5071335"/>
              <a:gd name="connsiteX75" fmla="*/ 6908184 w 13768337"/>
              <a:gd name="connsiteY75" fmla="*/ 5022559 h 5071335"/>
              <a:gd name="connsiteX76" fmla="*/ 6850722 w 13768337"/>
              <a:gd name="connsiteY76" fmla="*/ 5038446 h 5071335"/>
              <a:gd name="connsiteX77" fmla="*/ 6828479 w 13768337"/>
              <a:gd name="connsiteY77" fmla="*/ 5029248 h 5071335"/>
              <a:gd name="connsiteX78" fmla="*/ 6842845 w 13768337"/>
              <a:gd name="connsiteY78" fmla="*/ 5016010 h 5071335"/>
              <a:gd name="connsiteX79" fmla="*/ 6817358 w 13768337"/>
              <a:gd name="connsiteY79" fmla="*/ 5007090 h 5071335"/>
              <a:gd name="connsiteX80" fmla="*/ 6806236 w 13768337"/>
              <a:gd name="connsiteY80" fmla="*/ 4963749 h 5071335"/>
              <a:gd name="connsiteX81" fmla="*/ 8465650 w 13768337"/>
              <a:gd name="connsiteY81" fmla="*/ 4962495 h 5071335"/>
              <a:gd name="connsiteX82" fmla="*/ 8432749 w 13768337"/>
              <a:gd name="connsiteY82" fmla="*/ 4983677 h 5071335"/>
              <a:gd name="connsiteX83" fmla="*/ 8493452 w 13768337"/>
              <a:gd name="connsiteY83" fmla="*/ 4970299 h 5071335"/>
              <a:gd name="connsiteX84" fmla="*/ 8479088 w 13768337"/>
              <a:gd name="connsiteY84" fmla="*/ 4962634 h 5071335"/>
              <a:gd name="connsiteX85" fmla="*/ 8465650 w 13768337"/>
              <a:gd name="connsiteY85" fmla="*/ 4962495 h 5071335"/>
              <a:gd name="connsiteX86" fmla="*/ 8790488 w 13768337"/>
              <a:gd name="connsiteY86" fmla="*/ 4962215 h 5071335"/>
              <a:gd name="connsiteX87" fmla="*/ 8792341 w 13768337"/>
              <a:gd name="connsiteY87" fmla="*/ 4977685 h 5071335"/>
              <a:gd name="connsiteX88" fmla="*/ 8777975 w 13768337"/>
              <a:gd name="connsiteY88" fmla="*/ 4979217 h 5071335"/>
              <a:gd name="connsiteX89" fmla="*/ 8790488 w 13768337"/>
              <a:gd name="connsiteY89" fmla="*/ 4962215 h 5071335"/>
              <a:gd name="connsiteX90" fmla="*/ 8736271 w 13768337"/>
              <a:gd name="connsiteY90" fmla="*/ 4961798 h 5071335"/>
              <a:gd name="connsiteX91" fmla="*/ 8750636 w 13768337"/>
              <a:gd name="connsiteY91" fmla="*/ 4979217 h 5071335"/>
              <a:gd name="connsiteX92" fmla="*/ 8732101 w 13768337"/>
              <a:gd name="connsiteY92" fmla="*/ 4963191 h 5071335"/>
              <a:gd name="connsiteX93" fmla="*/ 8736271 w 13768337"/>
              <a:gd name="connsiteY93" fmla="*/ 4961798 h 5071335"/>
              <a:gd name="connsiteX94" fmla="*/ 7791411 w 13768337"/>
              <a:gd name="connsiteY94" fmla="*/ 4959986 h 5071335"/>
              <a:gd name="connsiteX95" fmla="*/ 7778900 w 13768337"/>
              <a:gd name="connsiteY95" fmla="*/ 4965003 h 5071335"/>
              <a:gd name="connsiteX96" fmla="*/ 7782144 w 13768337"/>
              <a:gd name="connsiteY96" fmla="*/ 4981030 h 5071335"/>
              <a:gd name="connsiteX97" fmla="*/ 7791411 w 13768337"/>
              <a:gd name="connsiteY97" fmla="*/ 4980054 h 5071335"/>
              <a:gd name="connsiteX98" fmla="*/ 7791411 w 13768337"/>
              <a:gd name="connsiteY98" fmla="*/ 4959986 h 5071335"/>
              <a:gd name="connsiteX99" fmla="*/ 8560645 w 13768337"/>
              <a:gd name="connsiteY99" fmla="*/ 4957059 h 5071335"/>
              <a:gd name="connsiteX100" fmla="*/ 8528670 w 13768337"/>
              <a:gd name="connsiteY100" fmla="*/ 4963749 h 5071335"/>
              <a:gd name="connsiteX101" fmla="*/ 8531914 w 13768337"/>
              <a:gd name="connsiteY101" fmla="*/ 4980054 h 5071335"/>
              <a:gd name="connsiteX102" fmla="*/ 8537011 w 13768337"/>
              <a:gd name="connsiteY102" fmla="*/ 4983677 h 5071335"/>
              <a:gd name="connsiteX103" fmla="*/ 8560645 w 13768337"/>
              <a:gd name="connsiteY103" fmla="*/ 4957059 h 5071335"/>
              <a:gd name="connsiteX104" fmla="*/ 8126445 w 13768337"/>
              <a:gd name="connsiteY104" fmla="*/ 4956641 h 5071335"/>
              <a:gd name="connsiteX105" fmla="*/ 8117177 w 13768337"/>
              <a:gd name="connsiteY105" fmla="*/ 4965003 h 5071335"/>
              <a:gd name="connsiteX106" fmla="*/ 8139419 w 13768337"/>
              <a:gd name="connsiteY106" fmla="*/ 4959986 h 5071335"/>
              <a:gd name="connsiteX107" fmla="*/ 8126445 w 13768337"/>
              <a:gd name="connsiteY107" fmla="*/ 4956641 h 5071335"/>
              <a:gd name="connsiteX108" fmla="*/ 7423014 w 13768337"/>
              <a:gd name="connsiteY108" fmla="*/ 4951624 h 5071335"/>
              <a:gd name="connsiteX109" fmla="*/ 7398454 w 13768337"/>
              <a:gd name="connsiteY109" fmla="*/ 4963749 h 5071335"/>
              <a:gd name="connsiteX110" fmla="*/ 7423014 w 13768337"/>
              <a:gd name="connsiteY110" fmla="*/ 4951624 h 5071335"/>
              <a:gd name="connsiteX111" fmla="*/ 8103275 w 13768337"/>
              <a:gd name="connsiteY111" fmla="*/ 4951067 h 5071335"/>
              <a:gd name="connsiteX112" fmla="*/ 8097714 w 13768337"/>
              <a:gd name="connsiteY112" fmla="*/ 4963749 h 5071335"/>
              <a:gd name="connsiteX113" fmla="*/ 8110690 w 13768337"/>
              <a:gd name="connsiteY113" fmla="*/ 4962215 h 5071335"/>
              <a:gd name="connsiteX114" fmla="*/ 8103275 w 13768337"/>
              <a:gd name="connsiteY114" fmla="*/ 4951067 h 5071335"/>
              <a:gd name="connsiteX115" fmla="*/ 7938306 w 13768337"/>
              <a:gd name="connsiteY115" fmla="*/ 4947722 h 5071335"/>
              <a:gd name="connsiteX116" fmla="*/ 7920699 w 13768337"/>
              <a:gd name="connsiteY116" fmla="*/ 4957059 h 5071335"/>
              <a:gd name="connsiteX117" fmla="*/ 7938306 w 13768337"/>
              <a:gd name="connsiteY117" fmla="*/ 4947722 h 5071335"/>
              <a:gd name="connsiteX118" fmla="*/ 8883629 w 13768337"/>
              <a:gd name="connsiteY118" fmla="*/ 4944796 h 5071335"/>
              <a:gd name="connsiteX119" fmla="*/ 8884095 w 13768337"/>
              <a:gd name="connsiteY119" fmla="*/ 4944796 h 5071335"/>
              <a:gd name="connsiteX120" fmla="*/ 8884095 w 13768337"/>
              <a:gd name="connsiteY120" fmla="*/ 4945911 h 5071335"/>
              <a:gd name="connsiteX121" fmla="*/ 8883629 w 13768337"/>
              <a:gd name="connsiteY121" fmla="*/ 4944796 h 5071335"/>
              <a:gd name="connsiteX122" fmla="*/ 7889650 w 13768337"/>
              <a:gd name="connsiteY122" fmla="*/ 4943262 h 5071335"/>
              <a:gd name="connsiteX123" fmla="*/ 7877603 w 13768337"/>
              <a:gd name="connsiteY123" fmla="*/ 4960822 h 5071335"/>
              <a:gd name="connsiteX124" fmla="*/ 7899844 w 13768337"/>
              <a:gd name="connsiteY124" fmla="*/ 4943542 h 5071335"/>
              <a:gd name="connsiteX125" fmla="*/ 7889650 w 13768337"/>
              <a:gd name="connsiteY125" fmla="*/ 4943262 h 5071335"/>
              <a:gd name="connsiteX126" fmla="*/ 8880850 w 13768337"/>
              <a:gd name="connsiteY126" fmla="*/ 4936573 h 5071335"/>
              <a:gd name="connsiteX127" fmla="*/ 8896140 w 13768337"/>
              <a:gd name="connsiteY127" fmla="*/ 4939220 h 5071335"/>
              <a:gd name="connsiteX128" fmla="*/ 8884095 w 13768337"/>
              <a:gd name="connsiteY128" fmla="*/ 4944796 h 5071335"/>
              <a:gd name="connsiteX129" fmla="*/ 8880850 w 13768337"/>
              <a:gd name="connsiteY129" fmla="*/ 4936573 h 5071335"/>
              <a:gd name="connsiteX130" fmla="*/ 8991138 w 13768337"/>
              <a:gd name="connsiteY130" fmla="*/ 4930302 h 5071335"/>
              <a:gd name="connsiteX131" fmla="*/ 9007356 w 13768337"/>
              <a:gd name="connsiteY131" fmla="*/ 4940754 h 5071335"/>
              <a:gd name="connsiteX132" fmla="*/ 8980942 w 13768337"/>
              <a:gd name="connsiteY132" fmla="*/ 4937967 h 5071335"/>
              <a:gd name="connsiteX133" fmla="*/ 8982796 w 13768337"/>
              <a:gd name="connsiteY133" fmla="*/ 4953436 h 5071335"/>
              <a:gd name="connsiteX134" fmla="*/ 8964259 w 13768337"/>
              <a:gd name="connsiteY134" fmla="*/ 4942984 h 5071335"/>
              <a:gd name="connsiteX135" fmla="*/ 8991138 w 13768337"/>
              <a:gd name="connsiteY135" fmla="*/ 4930302 h 5071335"/>
              <a:gd name="connsiteX136" fmla="*/ 7812264 w 13768337"/>
              <a:gd name="connsiteY136" fmla="*/ 4926121 h 5071335"/>
              <a:gd name="connsiteX137" fmla="*/ 7790021 w 13768337"/>
              <a:gd name="connsiteY137" fmla="*/ 4951624 h 5071335"/>
              <a:gd name="connsiteX138" fmla="*/ 7810410 w 13768337"/>
              <a:gd name="connsiteY138" fmla="*/ 4954272 h 5071335"/>
              <a:gd name="connsiteX139" fmla="*/ 7812264 w 13768337"/>
              <a:gd name="connsiteY139" fmla="*/ 4926121 h 5071335"/>
              <a:gd name="connsiteX140" fmla="*/ 9522186 w 13768337"/>
              <a:gd name="connsiteY140" fmla="*/ 4925843 h 5071335"/>
              <a:gd name="connsiteX141" fmla="*/ 9517089 w 13768337"/>
              <a:gd name="connsiteY141" fmla="*/ 4926121 h 5071335"/>
              <a:gd name="connsiteX142" fmla="*/ 9518017 w 13768337"/>
              <a:gd name="connsiteY142" fmla="*/ 4930302 h 5071335"/>
              <a:gd name="connsiteX143" fmla="*/ 9516162 w 13768337"/>
              <a:gd name="connsiteY143" fmla="*/ 4928212 h 5071335"/>
              <a:gd name="connsiteX144" fmla="*/ 9512455 w 13768337"/>
              <a:gd name="connsiteY144" fmla="*/ 4937409 h 5071335"/>
              <a:gd name="connsiteX145" fmla="*/ 9537942 w 13768337"/>
              <a:gd name="connsiteY145" fmla="*/ 4942705 h 5071335"/>
              <a:gd name="connsiteX146" fmla="*/ 9530065 w 13768337"/>
              <a:gd name="connsiteY146" fmla="*/ 4951624 h 5071335"/>
              <a:gd name="connsiteX147" fmla="*/ 9572697 w 13768337"/>
              <a:gd name="connsiteY147" fmla="*/ 4941590 h 5071335"/>
              <a:gd name="connsiteX148" fmla="*/ 9522186 w 13768337"/>
              <a:gd name="connsiteY148" fmla="*/ 4925843 h 5071335"/>
              <a:gd name="connsiteX149" fmla="*/ 8959627 w 13768337"/>
              <a:gd name="connsiteY149" fmla="*/ 4916923 h 5071335"/>
              <a:gd name="connsiteX150" fmla="*/ 8957773 w 13768337"/>
              <a:gd name="connsiteY150" fmla="*/ 4951902 h 5071335"/>
              <a:gd name="connsiteX151" fmla="*/ 8891508 w 13768337"/>
              <a:gd name="connsiteY151" fmla="*/ 4979217 h 5071335"/>
              <a:gd name="connsiteX152" fmla="*/ 8884095 w 13768337"/>
              <a:gd name="connsiteY152" fmla="*/ 4945911 h 5071335"/>
              <a:gd name="connsiteX153" fmla="*/ 8897995 w 13768337"/>
              <a:gd name="connsiteY153" fmla="*/ 4956083 h 5071335"/>
              <a:gd name="connsiteX154" fmla="*/ 8959627 w 13768337"/>
              <a:gd name="connsiteY154" fmla="*/ 4916923 h 5071335"/>
              <a:gd name="connsiteX155" fmla="*/ 10582433 w 13768337"/>
              <a:gd name="connsiteY155" fmla="*/ 4914554 h 5071335"/>
              <a:gd name="connsiteX156" fmla="*/ 10512923 w 13768337"/>
              <a:gd name="connsiteY156" fmla="*/ 4930302 h 5071335"/>
              <a:gd name="connsiteX157" fmla="*/ 10550923 w 13768337"/>
              <a:gd name="connsiteY157" fmla="*/ 4946886 h 5071335"/>
              <a:gd name="connsiteX158" fmla="*/ 10552775 w 13768337"/>
              <a:gd name="connsiteY158" fmla="*/ 4970577 h 5071335"/>
              <a:gd name="connsiteX159" fmla="*/ 10609773 w 13768337"/>
              <a:gd name="connsiteY159" fmla="*/ 4951067 h 5071335"/>
              <a:gd name="connsiteX160" fmla="*/ 10608383 w 13768337"/>
              <a:gd name="connsiteY160" fmla="*/ 4931834 h 5071335"/>
              <a:gd name="connsiteX161" fmla="*/ 10597262 w 13768337"/>
              <a:gd name="connsiteY161" fmla="*/ 4927097 h 5071335"/>
              <a:gd name="connsiteX162" fmla="*/ 10588920 w 13768337"/>
              <a:gd name="connsiteY162" fmla="*/ 4916923 h 5071335"/>
              <a:gd name="connsiteX163" fmla="*/ 10582433 w 13768337"/>
              <a:gd name="connsiteY163" fmla="*/ 4914554 h 5071335"/>
              <a:gd name="connsiteX164" fmla="*/ 9349803 w 13768337"/>
              <a:gd name="connsiteY164" fmla="*/ 4911349 h 5071335"/>
              <a:gd name="connsiteX165" fmla="*/ 9347488 w 13768337"/>
              <a:gd name="connsiteY165" fmla="*/ 4916366 h 5071335"/>
              <a:gd name="connsiteX166" fmla="*/ 9353048 w 13768337"/>
              <a:gd name="connsiteY166" fmla="*/ 4915947 h 5071335"/>
              <a:gd name="connsiteX167" fmla="*/ 9349803 w 13768337"/>
              <a:gd name="connsiteY167" fmla="*/ 4911349 h 5071335"/>
              <a:gd name="connsiteX168" fmla="*/ 9497164 w 13768337"/>
              <a:gd name="connsiteY168" fmla="*/ 4903824 h 5071335"/>
              <a:gd name="connsiteX169" fmla="*/ 9501797 w 13768337"/>
              <a:gd name="connsiteY169" fmla="*/ 4904799 h 5071335"/>
              <a:gd name="connsiteX170" fmla="*/ 9502724 w 13768337"/>
              <a:gd name="connsiteY170" fmla="*/ 4904241 h 5071335"/>
              <a:gd name="connsiteX171" fmla="*/ 9497164 w 13768337"/>
              <a:gd name="connsiteY171" fmla="*/ 4903824 h 5071335"/>
              <a:gd name="connsiteX172" fmla="*/ 8206148 w 13768337"/>
              <a:gd name="connsiteY172" fmla="*/ 4901175 h 5071335"/>
              <a:gd name="connsiteX173" fmla="*/ 8187613 w 13768337"/>
              <a:gd name="connsiteY173" fmla="*/ 4901454 h 5071335"/>
              <a:gd name="connsiteX174" fmla="*/ 8161663 w 13768337"/>
              <a:gd name="connsiteY174" fmla="*/ 4921940 h 5071335"/>
              <a:gd name="connsiteX175" fmla="*/ 8222368 w 13768337"/>
              <a:gd name="connsiteY175" fmla="*/ 4904799 h 5071335"/>
              <a:gd name="connsiteX176" fmla="*/ 8206148 w 13768337"/>
              <a:gd name="connsiteY176" fmla="*/ 4901175 h 5071335"/>
              <a:gd name="connsiteX177" fmla="*/ 9485579 w 13768337"/>
              <a:gd name="connsiteY177" fmla="*/ 4894904 h 5071335"/>
              <a:gd name="connsiteX178" fmla="*/ 9491140 w 13768337"/>
              <a:gd name="connsiteY178" fmla="*/ 4911627 h 5071335"/>
              <a:gd name="connsiteX179" fmla="*/ 9490213 w 13768337"/>
              <a:gd name="connsiteY179" fmla="*/ 4900060 h 5071335"/>
              <a:gd name="connsiteX180" fmla="*/ 9485579 w 13768337"/>
              <a:gd name="connsiteY180" fmla="*/ 4894904 h 5071335"/>
              <a:gd name="connsiteX181" fmla="*/ 7858140 w 13768337"/>
              <a:gd name="connsiteY181" fmla="*/ 4889747 h 5071335"/>
              <a:gd name="connsiteX182" fmla="*/ 7844238 w 13768337"/>
              <a:gd name="connsiteY182" fmla="*/ 4923474 h 5071335"/>
              <a:gd name="connsiteX183" fmla="*/ 7858140 w 13768337"/>
              <a:gd name="connsiteY183" fmla="*/ 4889747 h 5071335"/>
              <a:gd name="connsiteX184" fmla="*/ 8856753 w 13768337"/>
              <a:gd name="connsiteY184" fmla="*/ 4881665 h 5071335"/>
              <a:gd name="connsiteX185" fmla="*/ 8858143 w 13768337"/>
              <a:gd name="connsiteY185" fmla="*/ 4883198 h 5071335"/>
              <a:gd name="connsiteX186" fmla="*/ 8858607 w 13768337"/>
              <a:gd name="connsiteY186" fmla="*/ 4882640 h 5071335"/>
              <a:gd name="connsiteX187" fmla="*/ 8856753 w 13768337"/>
              <a:gd name="connsiteY187" fmla="*/ 4881665 h 5071335"/>
              <a:gd name="connsiteX188" fmla="*/ 7912820 w 13768337"/>
              <a:gd name="connsiteY188" fmla="*/ 4872467 h 5071335"/>
              <a:gd name="connsiteX189" fmla="*/ 7909245 w 13768337"/>
              <a:gd name="connsiteY189" fmla="*/ 4876673 h 5071335"/>
              <a:gd name="connsiteX190" fmla="*/ 7909113 w 13768337"/>
              <a:gd name="connsiteY190" fmla="*/ 4876648 h 5071335"/>
              <a:gd name="connsiteX191" fmla="*/ 7912820 w 13768337"/>
              <a:gd name="connsiteY191" fmla="*/ 4872467 h 5071335"/>
              <a:gd name="connsiteX192" fmla="*/ 7926258 w 13768337"/>
              <a:gd name="connsiteY192" fmla="*/ 4871073 h 5071335"/>
              <a:gd name="connsiteX193" fmla="*/ 7902162 w 13768337"/>
              <a:gd name="connsiteY193" fmla="*/ 4885009 h 5071335"/>
              <a:gd name="connsiteX194" fmla="*/ 7909245 w 13768337"/>
              <a:gd name="connsiteY194" fmla="*/ 4876673 h 5071335"/>
              <a:gd name="connsiteX195" fmla="*/ 7918902 w 13768337"/>
              <a:gd name="connsiteY195" fmla="*/ 4878511 h 5071335"/>
              <a:gd name="connsiteX196" fmla="*/ 7926258 w 13768337"/>
              <a:gd name="connsiteY196" fmla="*/ 4871073 h 5071335"/>
              <a:gd name="connsiteX197" fmla="*/ 7802532 w 13768337"/>
              <a:gd name="connsiteY197" fmla="*/ 4855046 h 5071335"/>
              <a:gd name="connsiteX198" fmla="*/ 7788168 w 13768337"/>
              <a:gd name="connsiteY198" fmla="*/ 4907446 h 5071335"/>
              <a:gd name="connsiteX199" fmla="*/ 7801143 w 13768337"/>
              <a:gd name="connsiteY199" fmla="*/ 4911349 h 5071335"/>
              <a:gd name="connsiteX200" fmla="*/ 7804386 w 13768337"/>
              <a:gd name="connsiteY200" fmla="*/ 4901872 h 5071335"/>
              <a:gd name="connsiteX201" fmla="*/ 7833117 w 13768337"/>
              <a:gd name="connsiteY201" fmla="*/ 4896716 h 5071335"/>
              <a:gd name="connsiteX202" fmla="*/ 7802532 w 13768337"/>
              <a:gd name="connsiteY202" fmla="*/ 4855046 h 5071335"/>
              <a:gd name="connsiteX203" fmla="*/ 7929038 w 13768337"/>
              <a:gd name="connsiteY203" fmla="*/ 4852259 h 5071335"/>
              <a:gd name="connsiteX204" fmla="*/ 7884090 w 13768337"/>
              <a:gd name="connsiteY204" fmla="*/ 4868286 h 5071335"/>
              <a:gd name="connsiteX205" fmla="*/ 7869725 w 13768337"/>
              <a:gd name="connsiteY205" fmla="*/ 4916923 h 5071335"/>
              <a:gd name="connsiteX206" fmla="*/ 7882700 w 13768337"/>
              <a:gd name="connsiteY206" fmla="*/ 4924867 h 5071335"/>
              <a:gd name="connsiteX207" fmla="*/ 7968890 w 13768337"/>
              <a:gd name="connsiteY207" fmla="*/ 4884591 h 5071335"/>
              <a:gd name="connsiteX208" fmla="*/ 7935062 w 13768337"/>
              <a:gd name="connsiteY208" fmla="*/ 4871073 h 5071335"/>
              <a:gd name="connsiteX209" fmla="*/ 7954062 w 13768337"/>
              <a:gd name="connsiteY209" fmla="*/ 4857415 h 5071335"/>
              <a:gd name="connsiteX210" fmla="*/ 7929038 w 13768337"/>
              <a:gd name="connsiteY210" fmla="*/ 4852259 h 5071335"/>
              <a:gd name="connsiteX211" fmla="*/ 7675099 w 13768337"/>
              <a:gd name="connsiteY211" fmla="*/ 4850448 h 5071335"/>
              <a:gd name="connsiteX212" fmla="*/ 7691781 w 13768337"/>
              <a:gd name="connsiteY212" fmla="*/ 4856998 h 5071335"/>
              <a:gd name="connsiteX213" fmla="*/ 7689002 w 13768337"/>
              <a:gd name="connsiteY213" fmla="*/ 4868704 h 5071335"/>
              <a:gd name="connsiteX214" fmla="*/ 7693173 w 13768337"/>
              <a:gd name="connsiteY214" fmla="*/ 4866335 h 5071335"/>
              <a:gd name="connsiteX215" fmla="*/ 7704757 w 13768337"/>
              <a:gd name="connsiteY215" fmla="*/ 4869540 h 5071335"/>
              <a:gd name="connsiteX216" fmla="*/ 7684831 w 13768337"/>
              <a:gd name="connsiteY216" fmla="*/ 4877205 h 5071335"/>
              <a:gd name="connsiteX217" fmla="*/ 7685295 w 13768337"/>
              <a:gd name="connsiteY217" fmla="*/ 4874975 h 5071335"/>
              <a:gd name="connsiteX218" fmla="*/ 7675099 w 13768337"/>
              <a:gd name="connsiteY218" fmla="*/ 4850448 h 5071335"/>
              <a:gd name="connsiteX219" fmla="*/ 9409582 w 13768337"/>
              <a:gd name="connsiteY219" fmla="*/ 4841947 h 5071335"/>
              <a:gd name="connsiteX220" fmla="*/ 9400777 w 13768337"/>
              <a:gd name="connsiteY220" fmla="*/ 4851702 h 5071335"/>
              <a:gd name="connsiteX221" fmla="*/ 9409582 w 13768337"/>
              <a:gd name="connsiteY221" fmla="*/ 4846685 h 5071335"/>
              <a:gd name="connsiteX222" fmla="*/ 9409582 w 13768337"/>
              <a:gd name="connsiteY222" fmla="*/ 4841947 h 5071335"/>
              <a:gd name="connsiteX223" fmla="*/ 9487433 w 13768337"/>
              <a:gd name="connsiteY223" fmla="*/ 4837765 h 5071335"/>
              <a:gd name="connsiteX224" fmla="*/ 9465653 w 13768337"/>
              <a:gd name="connsiteY224" fmla="*/ 4853793 h 5071335"/>
              <a:gd name="connsiteX225" fmla="*/ 9448970 w 13768337"/>
              <a:gd name="connsiteY225" fmla="*/ 4841111 h 5071335"/>
              <a:gd name="connsiteX226" fmla="*/ 9442019 w 13768337"/>
              <a:gd name="connsiteY226" fmla="*/ 4848078 h 5071335"/>
              <a:gd name="connsiteX227" fmla="*/ 9497627 w 13768337"/>
              <a:gd name="connsiteY227" fmla="*/ 4844873 h 5071335"/>
              <a:gd name="connsiteX228" fmla="*/ 9487433 w 13768337"/>
              <a:gd name="connsiteY228" fmla="*/ 4837765 h 5071335"/>
              <a:gd name="connsiteX229" fmla="*/ 7193634 w 13768337"/>
              <a:gd name="connsiteY229" fmla="*/ 4833585 h 5071335"/>
              <a:gd name="connsiteX230" fmla="*/ 7210779 w 13768337"/>
              <a:gd name="connsiteY230" fmla="*/ 4836372 h 5071335"/>
              <a:gd name="connsiteX231" fmla="*/ 7215414 w 13768337"/>
              <a:gd name="connsiteY231" fmla="*/ 4853235 h 5071335"/>
              <a:gd name="connsiteX232" fmla="*/ 7195950 w 13768337"/>
              <a:gd name="connsiteY232" fmla="*/ 4875115 h 5071335"/>
              <a:gd name="connsiteX233" fmla="*/ 7182512 w 13768337"/>
              <a:gd name="connsiteY233" fmla="*/ 4859785 h 5071335"/>
              <a:gd name="connsiteX234" fmla="*/ 7180658 w 13768337"/>
              <a:gd name="connsiteY234" fmla="*/ 4834839 h 5071335"/>
              <a:gd name="connsiteX235" fmla="*/ 7193634 w 13768337"/>
              <a:gd name="connsiteY235" fmla="*/ 4833585 h 5071335"/>
              <a:gd name="connsiteX236" fmla="*/ 7834971 w 13768337"/>
              <a:gd name="connsiteY236" fmla="*/ 4831634 h 5071335"/>
              <a:gd name="connsiteX237" fmla="*/ 7829873 w 13768337"/>
              <a:gd name="connsiteY237" fmla="*/ 4832191 h 5071335"/>
              <a:gd name="connsiteX238" fmla="*/ 7831726 w 13768337"/>
              <a:gd name="connsiteY238" fmla="*/ 4848078 h 5071335"/>
              <a:gd name="connsiteX239" fmla="*/ 7842385 w 13768337"/>
              <a:gd name="connsiteY239" fmla="*/ 4838741 h 5071335"/>
              <a:gd name="connsiteX240" fmla="*/ 7834971 w 13768337"/>
              <a:gd name="connsiteY240" fmla="*/ 4831634 h 5071335"/>
              <a:gd name="connsiteX241" fmla="*/ 11482343 w 13768337"/>
              <a:gd name="connsiteY241" fmla="*/ 4793588 h 5071335"/>
              <a:gd name="connsiteX242" fmla="*/ 11490222 w 13768337"/>
              <a:gd name="connsiteY242" fmla="*/ 4793867 h 5071335"/>
              <a:gd name="connsiteX243" fmla="*/ 11543513 w 13768337"/>
              <a:gd name="connsiteY243" fmla="*/ 4801671 h 5071335"/>
              <a:gd name="connsiteX244" fmla="*/ 11474466 w 13768337"/>
              <a:gd name="connsiteY244" fmla="*/ 4796097 h 5071335"/>
              <a:gd name="connsiteX245" fmla="*/ 11482343 w 13768337"/>
              <a:gd name="connsiteY245" fmla="*/ 4793588 h 5071335"/>
              <a:gd name="connsiteX246" fmla="*/ 6780750 w 13768337"/>
              <a:gd name="connsiteY246" fmla="*/ 4786202 h 5071335"/>
              <a:gd name="connsiteX247" fmla="*/ 6761750 w 13768337"/>
              <a:gd name="connsiteY247" fmla="*/ 4793310 h 5071335"/>
              <a:gd name="connsiteX248" fmla="*/ 6802066 w 13768337"/>
              <a:gd name="connsiteY248" fmla="*/ 4788572 h 5071335"/>
              <a:gd name="connsiteX249" fmla="*/ 6780750 w 13768337"/>
              <a:gd name="connsiteY249" fmla="*/ 4786202 h 5071335"/>
              <a:gd name="connsiteX250" fmla="*/ 12069927 w 13768337"/>
              <a:gd name="connsiteY250" fmla="*/ 4774635 h 5071335"/>
              <a:gd name="connsiteX251" fmla="*/ 12097268 w 13768337"/>
              <a:gd name="connsiteY251" fmla="*/ 4789547 h 5071335"/>
              <a:gd name="connsiteX252" fmla="*/ 12037490 w 13768337"/>
              <a:gd name="connsiteY252" fmla="*/ 4780628 h 5071335"/>
              <a:gd name="connsiteX253" fmla="*/ 12069927 w 13768337"/>
              <a:gd name="connsiteY253" fmla="*/ 4774635 h 5071335"/>
              <a:gd name="connsiteX254" fmla="*/ 6974911 w 13768337"/>
              <a:gd name="connsiteY254" fmla="*/ 4767528 h 5071335"/>
              <a:gd name="connsiteX255" fmla="*/ 6938767 w 13768337"/>
              <a:gd name="connsiteY255" fmla="*/ 4785366 h 5071335"/>
              <a:gd name="connsiteX256" fmla="*/ 6979546 w 13768337"/>
              <a:gd name="connsiteY256" fmla="*/ 4786202 h 5071335"/>
              <a:gd name="connsiteX257" fmla="*/ 6974911 w 13768337"/>
              <a:gd name="connsiteY257" fmla="*/ 4767528 h 5071335"/>
              <a:gd name="connsiteX258" fmla="*/ 6947572 w 13768337"/>
              <a:gd name="connsiteY258" fmla="*/ 4741467 h 5071335"/>
              <a:gd name="connsiteX259" fmla="*/ 6919767 w 13768337"/>
              <a:gd name="connsiteY259" fmla="*/ 4743279 h 5071335"/>
              <a:gd name="connsiteX260" fmla="*/ 6947572 w 13768337"/>
              <a:gd name="connsiteY260" fmla="*/ 4741467 h 5071335"/>
              <a:gd name="connsiteX261" fmla="*/ 11624143 w 13768337"/>
              <a:gd name="connsiteY261" fmla="*/ 4719448 h 5071335"/>
              <a:gd name="connsiteX262" fmla="*/ 11642215 w 13768337"/>
              <a:gd name="connsiteY262" fmla="*/ 4726417 h 5071335"/>
              <a:gd name="connsiteX263" fmla="*/ 11624143 w 13768337"/>
              <a:gd name="connsiteY263" fmla="*/ 4719448 h 5071335"/>
              <a:gd name="connsiteX264" fmla="*/ 11551854 w 13768337"/>
              <a:gd name="connsiteY264" fmla="*/ 4711923 h 5071335"/>
              <a:gd name="connsiteX265" fmla="*/ 11575023 w 13768337"/>
              <a:gd name="connsiteY265" fmla="*/ 4713316 h 5071335"/>
              <a:gd name="connsiteX266" fmla="*/ 11551854 w 13768337"/>
              <a:gd name="connsiteY266" fmla="*/ 4711923 h 5071335"/>
              <a:gd name="connsiteX267" fmla="*/ 7714488 w 13768337"/>
              <a:gd name="connsiteY267" fmla="*/ 4710947 h 5071335"/>
              <a:gd name="connsiteX268" fmla="*/ 7719123 w 13768337"/>
              <a:gd name="connsiteY268" fmla="*/ 4718054 h 5071335"/>
              <a:gd name="connsiteX269" fmla="*/ 7729780 w 13768337"/>
              <a:gd name="connsiteY269" fmla="*/ 4718054 h 5071335"/>
              <a:gd name="connsiteX270" fmla="*/ 7714488 w 13768337"/>
              <a:gd name="connsiteY270" fmla="*/ 4710947 h 5071335"/>
              <a:gd name="connsiteX271" fmla="*/ 7162122 w 13768337"/>
              <a:gd name="connsiteY271" fmla="*/ 4705930 h 5071335"/>
              <a:gd name="connsiteX272" fmla="*/ 7132002 w 13768337"/>
              <a:gd name="connsiteY272" fmla="*/ 4713316 h 5071335"/>
              <a:gd name="connsiteX273" fmla="*/ 7196878 w 13768337"/>
              <a:gd name="connsiteY273" fmla="*/ 4706767 h 5071335"/>
              <a:gd name="connsiteX274" fmla="*/ 7162122 w 13768337"/>
              <a:gd name="connsiteY274" fmla="*/ 4705930 h 5071335"/>
              <a:gd name="connsiteX275" fmla="*/ 4777498 w 13768337"/>
              <a:gd name="connsiteY275" fmla="*/ 4695478 h 5071335"/>
              <a:gd name="connsiteX276" fmla="*/ 4771010 w 13768337"/>
              <a:gd name="connsiteY276" fmla="*/ 4697847 h 5071335"/>
              <a:gd name="connsiteX277" fmla="*/ 4771937 w 13768337"/>
              <a:gd name="connsiteY277" fmla="*/ 4700634 h 5071335"/>
              <a:gd name="connsiteX278" fmla="*/ 4779352 w 13768337"/>
              <a:gd name="connsiteY278" fmla="*/ 4698823 h 5071335"/>
              <a:gd name="connsiteX279" fmla="*/ 4777498 w 13768337"/>
              <a:gd name="connsiteY279" fmla="*/ 4695478 h 5071335"/>
              <a:gd name="connsiteX280" fmla="*/ 4798814 w 13768337"/>
              <a:gd name="connsiteY280" fmla="*/ 4694642 h 5071335"/>
              <a:gd name="connsiteX281" fmla="*/ 4799278 w 13768337"/>
              <a:gd name="connsiteY281" fmla="*/ 4697010 h 5071335"/>
              <a:gd name="connsiteX282" fmla="*/ 4800205 w 13768337"/>
              <a:gd name="connsiteY282" fmla="*/ 4697010 h 5071335"/>
              <a:gd name="connsiteX283" fmla="*/ 4798814 w 13768337"/>
              <a:gd name="connsiteY283" fmla="*/ 4694642 h 5071335"/>
              <a:gd name="connsiteX284" fmla="*/ 7797899 w 13768337"/>
              <a:gd name="connsiteY284" fmla="*/ 4693666 h 5071335"/>
              <a:gd name="connsiteX285" fmla="*/ 7782144 w 13768337"/>
              <a:gd name="connsiteY285" fmla="*/ 4707323 h 5071335"/>
              <a:gd name="connsiteX286" fmla="*/ 7799289 w 13768337"/>
              <a:gd name="connsiteY286" fmla="*/ 4722236 h 5071335"/>
              <a:gd name="connsiteX287" fmla="*/ 7797899 w 13768337"/>
              <a:gd name="connsiteY287" fmla="*/ 4693666 h 5071335"/>
              <a:gd name="connsiteX288" fmla="*/ 7465646 w 13768337"/>
              <a:gd name="connsiteY288" fmla="*/ 4691297 h 5071335"/>
              <a:gd name="connsiteX289" fmla="*/ 7445256 w 13768337"/>
              <a:gd name="connsiteY289" fmla="*/ 4703560 h 5071335"/>
              <a:gd name="connsiteX290" fmla="*/ 7465646 w 13768337"/>
              <a:gd name="connsiteY290" fmla="*/ 4691297 h 5071335"/>
              <a:gd name="connsiteX291" fmla="*/ 6800213 w 13768337"/>
              <a:gd name="connsiteY291" fmla="*/ 4690461 h 5071335"/>
              <a:gd name="connsiteX292" fmla="*/ 6786773 w 13768337"/>
              <a:gd name="connsiteY292" fmla="*/ 4701749 h 5071335"/>
              <a:gd name="connsiteX293" fmla="*/ 6811798 w 13768337"/>
              <a:gd name="connsiteY293" fmla="*/ 4703840 h 5071335"/>
              <a:gd name="connsiteX294" fmla="*/ 6800213 w 13768337"/>
              <a:gd name="connsiteY294" fmla="*/ 4690461 h 5071335"/>
              <a:gd name="connsiteX295" fmla="*/ 4908175 w 13768337"/>
              <a:gd name="connsiteY295" fmla="*/ 4690461 h 5071335"/>
              <a:gd name="connsiteX296" fmla="*/ 4887785 w 13768337"/>
              <a:gd name="connsiteY296" fmla="*/ 4699380 h 5071335"/>
              <a:gd name="connsiteX297" fmla="*/ 4881298 w 13768337"/>
              <a:gd name="connsiteY297" fmla="*/ 4714710 h 5071335"/>
              <a:gd name="connsiteX298" fmla="*/ 4924858 w 13768337"/>
              <a:gd name="connsiteY298" fmla="*/ 4700634 h 5071335"/>
              <a:gd name="connsiteX299" fmla="*/ 4908175 w 13768337"/>
              <a:gd name="connsiteY299" fmla="*/ 4690461 h 5071335"/>
              <a:gd name="connsiteX300" fmla="*/ 6321526 w 13768337"/>
              <a:gd name="connsiteY300" fmla="*/ 4657572 h 5071335"/>
              <a:gd name="connsiteX301" fmla="*/ 6270090 w 13768337"/>
              <a:gd name="connsiteY301" fmla="*/ 4676803 h 5071335"/>
              <a:gd name="connsiteX302" fmla="*/ 6321526 w 13768337"/>
              <a:gd name="connsiteY302" fmla="*/ 4657572 h 5071335"/>
              <a:gd name="connsiteX303" fmla="*/ 11142213 w 13768337"/>
              <a:gd name="connsiteY303" fmla="*/ 4651021 h 5071335"/>
              <a:gd name="connsiteX304" fmla="*/ 11100044 w 13768337"/>
              <a:gd name="connsiteY304" fmla="*/ 4659941 h 5071335"/>
              <a:gd name="connsiteX305" fmla="*/ 11149628 w 13768337"/>
              <a:gd name="connsiteY305" fmla="*/ 4659105 h 5071335"/>
              <a:gd name="connsiteX306" fmla="*/ 11142213 w 13768337"/>
              <a:gd name="connsiteY306" fmla="*/ 4651021 h 5071335"/>
              <a:gd name="connsiteX307" fmla="*/ 10915149 w 13768337"/>
              <a:gd name="connsiteY307" fmla="*/ 4620779 h 5071335"/>
              <a:gd name="connsiteX308" fmla="*/ 10883176 w 13768337"/>
              <a:gd name="connsiteY308" fmla="*/ 4622592 h 5071335"/>
              <a:gd name="connsiteX309" fmla="*/ 10865103 w 13768337"/>
              <a:gd name="connsiteY309" fmla="*/ 4630953 h 5071335"/>
              <a:gd name="connsiteX310" fmla="*/ 10911443 w 13768337"/>
              <a:gd name="connsiteY310" fmla="*/ 4676246 h 5071335"/>
              <a:gd name="connsiteX311" fmla="*/ 10917467 w 13768337"/>
              <a:gd name="connsiteY311" fmla="*/ 4663843 h 5071335"/>
              <a:gd name="connsiteX312" fmla="*/ 10917467 w 13768337"/>
              <a:gd name="connsiteY312" fmla="*/ 4663286 h 5071335"/>
              <a:gd name="connsiteX313" fmla="*/ 10915149 w 13768337"/>
              <a:gd name="connsiteY313" fmla="*/ 4620779 h 5071335"/>
              <a:gd name="connsiteX314" fmla="*/ 11950834 w 13768337"/>
              <a:gd name="connsiteY314" fmla="*/ 4594162 h 5071335"/>
              <a:gd name="connsiteX315" fmla="*/ 11952688 w 13768337"/>
              <a:gd name="connsiteY315" fmla="*/ 4618829 h 5071335"/>
              <a:gd name="connsiteX316" fmla="*/ 11903105 w 13768337"/>
              <a:gd name="connsiteY316" fmla="*/ 4620223 h 5071335"/>
              <a:gd name="connsiteX317" fmla="*/ 11926739 w 13768337"/>
              <a:gd name="connsiteY317" fmla="*/ 4600991 h 5071335"/>
              <a:gd name="connsiteX318" fmla="*/ 11934153 w 13768337"/>
              <a:gd name="connsiteY318" fmla="*/ 4617296 h 5071335"/>
              <a:gd name="connsiteX319" fmla="*/ 11935543 w 13768337"/>
              <a:gd name="connsiteY319" fmla="*/ 4596810 h 5071335"/>
              <a:gd name="connsiteX320" fmla="*/ 3912341 w 13768337"/>
              <a:gd name="connsiteY320" fmla="*/ 4590957 h 5071335"/>
              <a:gd name="connsiteX321" fmla="*/ 3904463 w 13768337"/>
              <a:gd name="connsiteY321" fmla="*/ 4591793 h 5071335"/>
              <a:gd name="connsiteX322" fmla="*/ 3897512 w 13768337"/>
              <a:gd name="connsiteY322" fmla="*/ 4613115 h 5071335"/>
              <a:gd name="connsiteX323" fmla="*/ 3925780 w 13768337"/>
              <a:gd name="connsiteY323" fmla="*/ 4609492 h 5071335"/>
              <a:gd name="connsiteX324" fmla="*/ 3921145 w 13768337"/>
              <a:gd name="connsiteY324" fmla="*/ 4599179 h 5071335"/>
              <a:gd name="connsiteX325" fmla="*/ 3933193 w 13768337"/>
              <a:gd name="connsiteY325" fmla="*/ 4593605 h 5071335"/>
              <a:gd name="connsiteX326" fmla="*/ 3912341 w 13768337"/>
              <a:gd name="connsiteY326" fmla="*/ 4590957 h 5071335"/>
              <a:gd name="connsiteX327" fmla="*/ 3617159 w 13768337"/>
              <a:gd name="connsiteY327" fmla="*/ 4462047 h 5071335"/>
              <a:gd name="connsiteX328" fmla="*/ 3631061 w 13768337"/>
              <a:gd name="connsiteY328" fmla="*/ 4462047 h 5071335"/>
              <a:gd name="connsiteX329" fmla="*/ 3625964 w 13768337"/>
              <a:gd name="connsiteY329" fmla="*/ 4477934 h 5071335"/>
              <a:gd name="connsiteX330" fmla="*/ 3607891 w 13768337"/>
              <a:gd name="connsiteY330" fmla="*/ 4467204 h 5071335"/>
              <a:gd name="connsiteX331" fmla="*/ 3617159 w 13768337"/>
              <a:gd name="connsiteY331" fmla="*/ 4462047 h 5071335"/>
              <a:gd name="connsiteX332" fmla="*/ 3522163 w 13768337"/>
              <a:gd name="connsiteY332" fmla="*/ 4454522 h 5071335"/>
              <a:gd name="connsiteX333" fmla="*/ 3573600 w 13768337"/>
              <a:gd name="connsiteY333" fmla="*/ 4457866 h 5071335"/>
              <a:gd name="connsiteX334" fmla="*/ 3573600 w 13768337"/>
              <a:gd name="connsiteY334" fmla="*/ 4477934 h 5071335"/>
              <a:gd name="connsiteX335" fmla="*/ 3509188 w 13768337"/>
              <a:gd name="connsiteY335" fmla="*/ 4463023 h 5071335"/>
              <a:gd name="connsiteX336" fmla="*/ 3522163 w 13768337"/>
              <a:gd name="connsiteY336" fmla="*/ 4454522 h 5071335"/>
              <a:gd name="connsiteX337" fmla="*/ 3644036 w 13768337"/>
              <a:gd name="connsiteY337" fmla="*/ 4436405 h 5071335"/>
              <a:gd name="connsiteX338" fmla="*/ 3663963 w 13768337"/>
              <a:gd name="connsiteY338" fmla="*/ 4436405 h 5071335"/>
              <a:gd name="connsiteX339" fmla="*/ 3649133 w 13768337"/>
              <a:gd name="connsiteY339" fmla="*/ 4456891 h 5071335"/>
              <a:gd name="connsiteX340" fmla="*/ 3644036 w 13768337"/>
              <a:gd name="connsiteY340" fmla="*/ 4436405 h 5071335"/>
              <a:gd name="connsiteX341" fmla="*/ 3538382 w 13768337"/>
              <a:gd name="connsiteY341" fmla="*/ 4428740 h 5071335"/>
              <a:gd name="connsiteX342" fmla="*/ 3558308 w 13768337"/>
              <a:gd name="connsiteY342" fmla="*/ 4432085 h 5071335"/>
              <a:gd name="connsiteX343" fmla="*/ 3518920 w 13768337"/>
              <a:gd name="connsiteY343" fmla="*/ 4440029 h 5071335"/>
              <a:gd name="connsiteX344" fmla="*/ 3538382 w 13768337"/>
              <a:gd name="connsiteY344" fmla="*/ 4428740 h 5071335"/>
              <a:gd name="connsiteX345" fmla="*/ 3080549 w 13768337"/>
              <a:gd name="connsiteY345" fmla="*/ 4426929 h 5071335"/>
              <a:gd name="connsiteX346" fmla="*/ 3104182 w 13768337"/>
              <a:gd name="connsiteY346" fmla="*/ 4431110 h 5071335"/>
              <a:gd name="connsiteX347" fmla="*/ 3064330 w 13768337"/>
              <a:gd name="connsiteY347" fmla="*/ 4438635 h 5071335"/>
              <a:gd name="connsiteX348" fmla="*/ 3080549 w 13768337"/>
              <a:gd name="connsiteY348" fmla="*/ 4426929 h 5071335"/>
              <a:gd name="connsiteX349" fmla="*/ 4084261 w 13768337"/>
              <a:gd name="connsiteY349" fmla="*/ 4414804 h 5071335"/>
              <a:gd name="connsiteX350" fmla="*/ 4056457 w 13768337"/>
              <a:gd name="connsiteY350" fmla="*/ 4426929 h 5071335"/>
              <a:gd name="connsiteX351" fmla="*/ 4062944 w 13768337"/>
              <a:gd name="connsiteY351" fmla="*/ 4437381 h 5071335"/>
              <a:gd name="connsiteX352" fmla="*/ 4084261 w 13768337"/>
              <a:gd name="connsiteY352" fmla="*/ 4414804 h 5071335"/>
              <a:gd name="connsiteX353" fmla="*/ 3534675 w 13768337"/>
              <a:gd name="connsiteY353" fmla="*/ 4352092 h 5071335"/>
              <a:gd name="connsiteX354" fmla="*/ 3549967 w 13768337"/>
              <a:gd name="connsiteY354" fmla="*/ 4354042 h 5071335"/>
              <a:gd name="connsiteX355" fmla="*/ 3542089 w 13768337"/>
              <a:gd name="connsiteY355" fmla="*/ 4386374 h 5071335"/>
              <a:gd name="connsiteX356" fmla="*/ 3756177 w 13768337"/>
              <a:gd name="connsiteY356" fmla="*/ 4411877 h 5071335"/>
              <a:gd name="connsiteX357" fmla="*/ 3634768 w 13768337"/>
              <a:gd name="connsiteY357" fmla="*/ 4418566 h 5071335"/>
              <a:gd name="connsiteX358" fmla="*/ 3621793 w 13768337"/>
              <a:gd name="connsiteY358" fmla="*/ 4417173 h 5071335"/>
              <a:gd name="connsiteX359" fmla="*/ 3489262 w 13768337"/>
              <a:gd name="connsiteY359" fmla="*/ 4389023 h 5071335"/>
              <a:gd name="connsiteX360" fmla="*/ 3524944 w 13768337"/>
              <a:gd name="connsiteY360" fmla="*/ 4386374 h 5071335"/>
              <a:gd name="connsiteX361" fmla="*/ 3532358 w 13768337"/>
              <a:gd name="connsiteY361" fmla="*/ 4369511 h 5071335"/>
              <a:gd name="connsiteX362" fmla="*/ 3498994 w 13768337"/>
              <a:gd name="connsiteY362" fmla="*/ 4364216 h 5071335"/>
              <a:gd name="connsiteX363" fmla="*/ 3522627 w 13768337"/>
              <a:gd name="connsiteY363" fmla="*/ 4353485 h 5071335"/>
              <a:gd name="connsiteX364" fmla="*/ 3534675 w 13768337"/>
              <a:gd name="connsiteY364" fmla="*/ 4352092 h 5071335"/>
              <a:gd name="connsiteX365" fmla="*/ 4139868 w 13768337"/>
              <a:gd name="connsiteY365" fmla="*/ 4329654 h 5071335"/>
              <a:gd name="connsiteX366" fmla="*/ 4135233 w 13768337"/>
              <a:gd name="connsiteY366" fmla="*/ 4331048 h 5071335"/>
              <a:gd name="connsiteX367" fmla="*/ 4135697 w 13768337"/>
              <a:gd name="connsiteY367" fmla="*/ 4332442 h 5071335"/>
              <a:gd name="connsiteX368" fmla="*/ 4141258 w 13768337"/>
              <a:gd name="connsiteY368" fmla="*/ 4331466 h 5071335"/>
              <a:gd name="connsiteX369" fmla="*/ 4139868 w 13768337"/>
              <a:gd name="connsiteY369" fmla="*/ 4329654 h 5071335"/>
              <a:gd name="connsiteX370" fmla="*/ 4167209 w 13768337"/>
              <a:gd name="connsiteY370" fmla="*/ 4324079 h 5071335"/>
              <a:gd name="connsiteX371" fmla="*/ 4153306 w 13768337"/>
              <a:gd name="connsiteY371" fmla="*/ 4326868 h 5071335"/>
              <a:gd name="connsiteX372" fmla="*/ 4151916 w 13768337"/>
              <a:gd name="connsiteY372" fmla="*/ 4329235 h 5071335"/>
              <a:gd name="connsiteX373" fmla="*/ 4166744 w 13768337"/>
              <a:gd name="connsiteY373" fmla="*/ 4325055 h 5071335"/>
              <a:gd name="connsiteX374" fmla="*/ 4167209 w 13768337"/>
              <a:gd name="connsiteY374" fmla="*/ 4324079 h 5071335"/>
              <a:gd name="connsiteX375" fmla="*/ 4090748 w 13768337"/>
              <a:gd name="connsiteY375" fmla="*/ 4324079 h 5071335"/>
              <a:gd name="connsiteX376" fmla="*/ 4077773 w 13768337"/>
              <a:gd name="connsiteY376" fmla="*/ 4349861 h 5071335"/>
              <a:gd name="connsiteX377" fmla="*/ 4095845 w 13768337"/>
              <a:gd name="connsiteY377" fmla="*/ 4358781 h 5071335"/>
              <a:gd name="connsiteX378" fmla="*/ 4104186 w 13768337"/>
              <a:gd name="connsiteY378" fmla="*/ 4354879 h 5071335"/>
              <a:gd name="connsiteX379" fmla="*/ 4104649 w 13768337"/>
              <a:gd name="connsiteY379" fmla="*/ 4349861 h 5071335"/>
              <a:gd name="connsiteX380" fmla="*/ 4108820 w 13768337"/>
              <a:gd name="connsiteY380" fmla="*/ 4351116 h 5071335"/>
              <a:gd name="connsiteX381" fmla="*/ 4109747 w 13768337"/>
              <a:gd name="connsiteY381" fmla="*/ 4339828 h 5071335"/>
              <a:gd name="connsiteX382" fmla="*/ 4104649 w 13768337"/>
              <a:gd name="connsiteY382" fmla="*/ 4338992 h 5071335"/>
              <a:gd name="connsiteX383" fmla="*/ 4090748 w 13768337"/>
              <a:gd name="connsiteY383" fmla="*/ 4324079 h 5071335"/>
              <a:gd name="connsiteX384" fmla="*/ 4178329 w 13768337"/>
              <a:gd name="connsiteY384" fmla="*/ 4317529 h 5071335"/>
              <a:gd name="connsiteX385" fmla="*/ 4175085 w 13768337"/>
              <a:gd name="connsiteY385" fmla="*/ 4320317 h 5071335"/>
              <a:gd name="connsiteX386" fmla="*/ 4178329 w 13768337"/>
              <a:gd name="connsiteY386" fmla="*/ 4318784 h 5071335"/>
              <a:gd name="connsiteX387" fmla="*/ 4178329 w 13768337"/>
              <a:gd name="connsiteY387" fmla="*/ 4317529 h 5071335"/>
              <a:gd name="connsiteX388" fmla="*/ 4169524 w 13768337"/>
              <a:gd name="connsiteY388" fmla="*/ 4315021 h 5071335"/>
              <a:gd name="connsiteX389" fmla="*/ 4162574 w 13768337"/>
              <a:gd name="connsiteY389" fmla="*/ 4318784 h 5071335"/>
              <a:gd name="connsiteX390" fmla="*/ 4176939 w 13768337"/>
              <a:gd name="connsiteY390" fmla="*/ 4316136 h 5071335"/>
              <a:gd name="connsiteX391" fmla="*/ 4169524 w 13768337"/>
              <a:gd name="connsiteY391" fmla="*/ 4315021 h 5071335"/>
              <a:gd name="connsiteX392" fmla="*/ 4098625 w 13768337"/>
              <a:gd name="connsiteY392" fmla="*/ 4290354 h 5071335"/>
              <a:gd name="connsiteX393" fmla="*/ 4087504 w 13768337"/>
              <a:gd name="connsiteY393" fmla="*/ 4291747 h 5071335"/>
              <a:gd name="connsiteX394" fmla="*/ 4085651 w 13768337"/>
              <a:gd name="connsiteY394" fmla="*/ 4291747 h 5071335"/>
              <a:gd name="connsiteX395" fmla="*/ 4082870 w 13768337"/>
              <a:gd name="connsiteY395" fmla="*/ 4291747 h 5071335"/>
              <a:gd name="connsiteX396" fmla="*/ 4052287 w 13768337"/>
              <a:gd name="connsiteY396" fmla="*/ 4291747 h 5071335"/>
              <a:gd name="connsiteX397" fmla="*/ 4031896 w 13768337"/>
              <a:gd name="connsiteY397" fmla="*/ 4313209 h 5071335"/>
              <a:gd name="connsiteX398" fmla="*/ 4114845 w 13768337"/>
              <a:gd name="connsiteY398" fmla="*/ 4297461 h 5071335"/>
              <a:gd name="connsiteX399" fmla="*/ 4098625 w 13768337"/>
              <a:gd name="connsiteY399" fmla="*/ 4290354 h 5071335"/>
              <a:gd name="connsiteX400" fmla="*/ 3187593 w 13768337"/>
              <a:gd name="connsiteY400" fmla="*/ 4273491 h 5071335"/>
              <a:gd name="connsiteX401" fmla="*/ 3212616 w 13768337"/>
              <a:gd name="connsiteY401" fmla="*/ 4290912 h 5071335"/>
              <a:gd name="connsiteX402" fmla="*/ 3177861 w 13768337"/>
              <a:gd name="connsiteY402" fmla="*/ 4279623 h 5071335"/>
              <a:gd name="connsiteX403" fmla="*/ 3187593 w 13768337"/>
              <a:gd name="connsiteY403" fmla="*/ 4273491 h 5071335"/>
              <a:gd name="connsiteX404" fmla="*/ 3232542 w 13768337"/>
              <a:gd name="connsiteY404" fmla="*/ 4270147 h 5071335"/>
              <a:gd name="connsiteX405" fmla="*/ 3254785 w 13768337"/>
              <a:gd name="connsiteY405" fmla="*/ 4270147 h 5071335"/>
              <a:gd name="connsiteX406" fmla="*/ 3245517 w 13768337"/>
              <a:gd name="connsiteY406" fmla="*/ 4274884 h 5071335"/>
              <a:gd name="connsiteX407" fmla="*/ 3250151 w 13768337"/>
              <a:gd name="connsiteY407" fmla="*/ 4283804 h 5071335"/>
              <a:gd name="connsiteX408" fmla="*/ 3254785 w 13768337"/>
              <a:gd name="connsiteY408" fmla="*/ 4280041 h 5071335"/>
              <a:gd name="connsiteX409" fmla="*/ 3250151 w 13768337"/>
              <a:gd name="connsiteY409" fmla="*/ 4294117 h 5071335"/>
              <a:gd name="connsiteX410" fmla="*/ 3227908 w 13768337"/>
              <a:gd name="connsiteY410" fmla="*/ 4299273 h 5071335"/>
              <a:gd name="connsiteX411" fmla="*/ 3218640 w 13768337"/>
              <a:gd name="connsiteY411" fmla="*/ 4299273 h 5071335"/>
              <a:gd name="connsiteX412" fmla="*/ 3232542 w 13768337"/>
              <a:gd name="connsiteY412" fmla="*/ 4270147 h 5071335"/>
              <a:gd name="connsiteX413" fmla="*/ 3802053 w 13768337"/>
              <a:gd name="connsiteY413" fmla="*/ 4269310 h 5071335"/>
              <a:gd name="connsiteX414" fmla="*/ 3810394 w 13768337"/>
              <a:gd name="connsiteY414" fmla="*/ 4275860 h 5071335"/>
              <a:gd name="connsiteX415" fmla="*/ 3841905 w 13768337"/>
              <a:gd name="connsiteY415" fmla="*/ 4273073 h 5071335"/>
              <a:gd name="connsiteX416" fmla="*/ 3802053 w 13768337"/>
              <a:gd name="connsiteY416" fmla="*/ 4269310 h 5071335"/>
              <a:gd name="connsiteX417" fmla="*/ 4073140 w 13768337"/>
              <a:gd name="connsiteY417" fmla="*/ 4264154 h 5071335"/>
              <a:gd name="connsiteX418" fmla="*/ 4050433 w 13768337"/>
              <a:gd name="connsiteY418" fmla="*/ 4265129 h 5071335"/>
              <a:gd name="connsiteX419" fmla="*/ 4093528 w 13768337"/>
              <a:gd name="connsiteY419" fmla="*/ 4270147 h 5071335"/>
              <a:gd name="connsiteX420" fmla="*/ 4073140 w 13768337"/>
              <a:gd name="connsiteY420" fmla="*/ 4264154 h 5071335"/>
              <a:gd name="connsiteX421" fmla="*/ 3644036 w 13768337"/>
              <a:gd name="connsiteY421" fmla="*/ 4263597 h 5071335"/>
              <a:gd name="connsiteX422" fmla="*/ 3637549 w 13768337"/>
              <a:gd name="connsiteY422" fmla="*/ 4266523 h 5071335"/>
              <a:gd name="connsiteX423" fmla="*/ 3645426 w 13768337"/>
              <a:gd name="connsiteY423" fmla="*/ 4266523 h 5071335"/>
              <a:gd name="connsiteX424" fmla="*/ 3644036 w 13768337"/>
              <a:gd name="connsiteY424" fmla="*/ 4263597 h 5071335"/>
              <a:gd name="connsiteX425" fmla="*/ 4104649 w 13768337"/>
              <a:gd name="connsiteY425" fmla="*/ 4260948 h 5071335"/>
              <a:gd name="connsiteX426" fmla="*/ 4103260 w 13768337"/>
              <a:gd name="connsiteY426" fmla="*/ 4271679 h 5071335"/>
              <a:gd name="connsiteX427" fmla="*/ 4128745 w 13768337"/>
              <a:gd name="connsiteY427" fmla="*/ 4274327 h 5071335"/>
              <a:gd name="connsiteX428" fmla="*/ 4131990 w 13768337"/>
              <a:gd name="connsiteY428" fmla="*/ 4271679 h 5071335"/>
              <a:gd name="connsiteX429" fmla="*/ 4104649 w 13768337"/>
              <a:gd name="connsiteY429" fmla="*/ 4260948 h 5071335"/>
              <a:gd name="connsiteX430" fmla="*/ 3706131 w 13768337"/>
              <a:gd name="connsiteY430" fmla="*/ 4259834 h 5071335"/>
              <a:gd name="connsiteX431" fmla="*/ 3709374 w 13768337"/>
              <a:gd name="connsiteY431" fmla="*/ 4263597 h 5071335"/>
              <a:gd name="connsiteX432" fmla="*/ 3710764 w 13768337"/>
              <a:gd name="connsiteY432" fmla="*/ 4259834 h 5071335"/>
              <a:gd name="connsiteX433" fmla="*/ 3706131 w 13768337"/>
              <a:gd name="connsiteY433" fmla="*/ 4259834 h 5071335"/>
              <a:gd name="connsiteX434" fmla="*/ 4173232 w 13768337"/>
              <a:gd name="connsiteY434" fmla="*/ 4259555 h 5071335"/>
              <a:gd name="connsiteX435" fmla="*/ 4156086 w 13768337"/>
              <a:gd name="connsiteY435" fmla="*/ 4271679 h 5071335"/>
              <a:gd name="connsiteX436" fmla="*/ 4197792 w 13768337"/>
              <a:gd name="connsiteY436" fmla="*/ 4266523 h 5071335"/>
              <a:gd name="connsiteX437" fmla="*/ 4173232 w 13768337"/>
              <a:gd name="connsiteY437" fmla="*/ 4259555 h 5071335"/>
              <a:gd name="connsiteX438" fmla="*/ 12267796 w 13768337"/>
              <a:gd name="connsiteY438" fmla="*/ 4254816 h 5071335"/>
              <a:gd name="connsiteX439" fmla="*/ 12280307 w 13768337"/>
              <a:gd name="connsiteY439" fmla="*/ 4258997 h 5071335"/>
              <a:gd name="connsiteX440" fmla="*/ 12271041 w 13768337"/>
              <a:gd name="connsiteY440" fmla="*/ 4285197 h 5071335"/>
              <a:gd name="connsiteX441" fmla="*/ 12243700 w 13768337"/>
              <a:gd name="connsiteY441" fmla="*/ 4304291 h 5071335"/>
              <a:gd name="connsiteX442" fmla="*/ 12255285 w 13768337"/>
              <a:gd name="connsiteY442" fmla="*/ 4305405 h 5071335"/>
              <a:gd name="connsiteX443" fmla="*/ 12221920 w 13768337"/>
              <a:gd name="connsiteY443" fmla="*/ 4303035 h 5071335"/>
              <a:gd name="connsiteX444" fmla="*/ 12230726 w 13768337"/>
              <a:gd name="connsiteY444" fmla="*/ 4303453 h 5071335"/>
              <a:gd name="connsiteX445" fmla="*/ 12256675 w 13768337"/>
              <a:gd name="connsiteY445" fmla="*/ 4255374 h 5071335"/>
              <a:gd name="connsiteX446" fmla="*/ 12267796 w 13768337"/>
              <a:gd name="connsiteY446" fmla="*/ 4254816 h 5071335"/>
              <a:gd name="connsiteX447" fmla="*/ 3969803 w 13768337"/>
              <a:gd name="connsiteY447" fmla="*/ 4254399 h 5071335"/>
              <a:gd name="connsiteX448" fmla="*/ 3974436 w 13768337"/>
              <a:gd name="connsiteY448" fmla="*/ 4262203 h 5071335"/>
              <a:gd name="connsiteX449" fmla="*/ 3979069 w 13768337"/>
              <a:gd name="connsiteY449" fmla="*/ 4255653 h 5071335"/>
              <a:gd name="connsiteX450" fmla="*/ 3969803 w 13768337"/>
              <a:gd name="connsiteY450" fmla="*/ 4254399 h 5071335"/>
              <a:gd name="connsiteX451" fmla="*/ 4218644 w 13768337"/>
              <a:gd name="connsiteY451" fmla="*/ 4242134 h 5071335"/>
              <a:gd name="connsiteX452" fmla="*/ 4204279 w 13768337"/>
              <a:gd name="connsiteY452" fmla="*/ 4246455 h 5071335"/>
              <a:gd name="connsiteX453" fmla="*/ 4242278 w 13768337"/>
              <a:gd name="connsiteY453" fmla="*/ 4255653 h 5071335"/>
              <a:gd name="connsiteX454" fmla="*/ 4218644 w 13768337"/>
              <a:gd name="connsiteY454" fmla="*/ 4242134 h 5071335"/>
              <a:gd name="connsiteX455" fmla="*/ 3843296 w 13768337"/>
              <a:gd name="connsiteY455" fmla="*/ 4234331 h 5071335"/>
              <a:gd name="connsiteX456" fmla="*/ 3844222 w 13768337"/>
              <a:gd name="connsiteY456" fmla="*/ 4234609 h 5071335"/>
              <a:gd name="connsiteX457" fmla="*/ 3842831 w 13768337"/>
              <a:gd name="connsiteY457" fmla="*/ 4235166 h 5071335"/>
              <a:gd name="connsiteX458" fmla="*/ 3843296 w 13768337"/>
              <a:gd name="connsiteY458" fmla="*/ 4234331 h 5071335"/>
              <a:gd name="connsiteX459" fmla="*/ 12141290 w 13768337"/>
              <a:gd name="connsiteY459" fmla="*/ 4233773 h 5071335"/>
              <a:gd name="connsiteX460" fmla="*/ 12179288 w 13768337"/>
              <a:gd name="connsiteY460" fmla="*/ 4240741 h 5071335"/>
              <a:gd name="connsiteX461" fmla="*/ 12141290 w 13768337"/>
              <a:gd name="connsiteY461" fmla="*/ 4233773 h 5071335"/>
              <a:gd name="connsiteX462" fmla="*/ 4210303 w 13768337"/>
              <a:gd name="connsiteY462" fmla="*/ 4203253 h 5071335"/>
              <a:gd name="connsiteX463" fmla="*/ 4213547 w 13768337"/>
              <a:gd name="connsiteY463" fmla="*/ 4215516 h 5071335"/>
              <a:gd name="connsiteX464" fmla="*/ 4228375 w 13768337"/>
              <a:gd name="connsiteY464" fmla="*/ 4220673 h 5071335"/>
              <a:gd name="connsiteX465" fmla="*/ 4233473 w 13768337"/>
              <a:gd name="connsiteY465" fmla="*/ 4219140 h 5071335"/>
              <a:gd name="connsiteX466" fmla="*/ 4210303 w 13768337"/>
              <a:gd name="connsiteY466" fmla="*/ 4203253 h 5071335"/>
              <a:gd name="connsiteX467" fmla="*/ 4173696 w 13768337"/>
              <a:gd name="connsiteY467" fmla="*/ 4198096 h 5071335"/>
              <a:gd name="connsiteX468" fmla="*/ 4146355 w 13768337"/>
              <a:gd name="connsiteY468" fmla="*/ 4208827 h 5071335"/>
              <a:gd name="connsiteX469" fmla="*/ 4143112 w 13768337"/>
              <a:gd name="connsiteY469" fmla="*/ 4219140 h 5071335"/>
              <a:gd name="connsiteX470" fmla="*/ 4190841 w 13768337"/>
              <a:gd name="connsiteY470" fmla="*/ 4222067 h 5071335"/>
              <a:gd name="connsiteX471" fmla="*/ 4184817 w 13768337"/>
              <a:gd name="connsiteY471" fmla="*/ 4214123 h 5071335"/>
              <a:gd name="connsiteX472" fmla="*/ 4201035 w 13768337"/>
              <a:gd name="connsiteY472" fmla="*/ 4212729 h 5071335"/>
              <a:gd name="connsiteX473" fmla="*/ 4188060 w 13768337"/>
              <a:gd name="connsiteY473" fmla="*/ 4198096 h 5071335"/>
              <a:gd name="connsiteX474" fmla="*/ 4173696 w 13768337"/>
              <a:gd name="connsiteY474" fmla="*/ 4198096 h 5071335"/>
              <a:gd name="connsiteX475" fmla="*/ 4371565 w 13768337"/>
              <a:gd name="connsiteY475" fmla="*/ 4171060 h 5071335"/>
              <a:gd name="connsiteX476" fmla="*/ 4380369 w 13768337"/>
              <a:gd name="connsiteY476" fmla="*/ 4188898 h 5071335"/>
              <a:gd name="connsiteX477" fmla="*/ 4384077 w 13768337"/>
              <a:gd name="connsiteY477" fmla="*/ 4171479 h 5071335"/>
              <a:gd name="connsiteX478" fmla="*/ 4386393 w 13768337"/>
              <a:gd name="connsiteY478" fmla="*/ 4171060 h 5071335"/>
              <a:gd name="connsiteX479" fmla="*/ 4246912 w 13768337"/>
              <a:gd name="connsiteY479" fmla="*/ 4171060 h 5071335"/>
              <a:gd name="connsiteX480" fmla="*/ 4237180 w 13768337"/>
              <a:gd name="connsiteY480" fmla="*/ 4203253 h 5071335"/>
              <a:gd name="connsiteX481" fmla="*/ 4265911 w 13768337"/>
              <a:gd name="connsiteY481" fmla="*/ 4210360 h 5071335"/>
              <a:gd name="connsiteX482" fmla="*/ 4278885 w 13768337"/>
              <a:gd name="connsiteY482" fmla="*/ 4206737 h 5071335"/>
              <a:gd name="connsiteX483" fmla="*/ 4327542 w 13768337"/>
              <a:gd name="connsiteY483" fmla="*/ 4196703 h 5071335"/>
              <a:gd name="connsiteX484" fmla="*/ 4339127 w 13768337"/>
              <a:gd name="connsiteY484" fmla="*/ 4194334 h 5071335"/>
              <a:gd name="connsiteX485" fmla="*/ 4334493 w 13768337"/>
              <a:gd name="connsiteY485" fmla="*/ 4171060 h 5071335"/>
              <a:gd name="connsiteX486" fmla="*/ 4293251 w 13768337"/>
              <a:gd name="connsiteY486" fmla="*/ 4198096 h 5071335"/>
              <a:gd name="connsiteX487" fmla="*/ 4283520 w 13768337"/>
              <a:gd name="connsiteY487" fmla="*/ 4198096 h 5071335"/>
              <a:gd name="connsiteX488" fmla="*/ 4288154 w 13768337"/>
              <a:gd name="connsiteY488" fmla="*/ 4176635 h 5071335"/>
              <a:gd name="connsiteX489" fmla="*/ 4246912 w 13768337"/>
              <a:gd name="connsiteY489" fmla="*/ 4171060 h 5071335"/>
              <a:gd name="connsiteX490" fmla="*/ 12296990 w 13768337"/>
              <a:gd name="connsiteY490" fmla="*/ 4166461 h 5071335"/>
              <a:gd name="connsiteX491" fmla="*/ 12316916 w 13768337"/>
              <a:gd name="connsiteY491" fmla="*/ 4166461 h 5071335"/>
              <a:gd name="connsiteX492" fmla="*/ 12302087 w 13768337"/>
              <a:gd name="connsiteY492" fmla="*/ 4232797 h 5071335"/>
              <a:gd name="connsiteX493" fmla="*/ 12277065 w 13768337"/>
              <a:gd name="connsiteY493" fmla="*/ 4248267 h 5071335"/>
              <a:gd name="connsiteX494" fmla="*/ 12264089 w 13768337"/>
              <a:gd name="connsiteY494" fmla="*/ 4248267 h 5071335"/>
              <a:gd name="connsiteX495" fmla="*/ 12296990 w 13768337"/>
              <a:gd name="connsiteY495" fmla="*/ 4166461 h 5071335"/>
              <a:gd name="connsiteX496" fmla="*/ 4435049 w 13768337"/>
              <a:gd name="connsiteY496" fmla="*/ 4150992 h 5071335"/>
              <a:gd name="connsiteX497" fmla="*/ 4385466 w 13768337"/>
              <a:gd name="connsiteY497" fmla="*/ 4167298 h 5071335"/>
              <a:gd name="connsiteX498" fmla="*/ 4392882 w 13768337"/>
              <a:gd name="connsiteY498" fmla="*/ 4169666 h 5071335"/>
              <a:gd name="connsiteX499" fmla="*/ 4430878 w 13768337"/>
              <a:gd name="connsiteY499" fmla="*/ 4161166 h 5071335"/>
              <a:gd name="connsiteX500" fmla="*/ 4435049 w 13768337"/>
              <a:gd name="connsiteY500" fmla="*/ 4150992 h 5071335"/>
              <a:gd name="connsiteX501" fmla="*/ 4065261 w 13768337"/>
              <a:gd name="connsiteY501" fmla="*/ 4141237 h 5071335"/>
              <a:gd name="connsiteX502" fmla="*/ 4050433 w 13768337"/>
              <a:gd name="connsiteY502" fmla="*/ 4156566 h 5071335"/>
              <a:gd name="connsiteX503" fmla="*/ 4077773 w 13768337"/>
              <a:gd name="connsiteY503" fmla="*/ 4156566 h 5071335"/>
              <a:gd name="connsiteX504" fmla="*/ 4065261 w 13768337"/>
              <a:gd name="connsiteY504" fmla="*/ 4141237 h 5071335"/>
              <a:gd name="connsiteX505" fmla="*/ 4334493 w 13768337"/>
              <a:gd name="connsiteY505" fmla="*/ 4140122 h 5071335"/>
              <a:gd name="connsiteX506" fmla="*/ 4361834 w 13768337"/>
              <a:gd name="connsiteY506" fmla="*/ 4176635 h 5071335"/>
              <a:gd name="connsiteX507" fmla="*/ 4376198 w 13768337"/>
              <a:gd name="connsiteY507" fmla="*/ 4145696 h 5071335"/>
              <a:gd name="connsiteX508" fmla="*/ 4334493 w 13768337"/>
              <a:gd name="connsiteY508" fmla="*/ 4140122 h 5071335"/>
              <a:gd name="connsiteX509" fmla="*/ 4252936 w 13768337"/>
              <a:gd name="connsiteY509" fmla="*/ 4129392 h 5071335"/>
              <a:gd name="connsiteX510" fmla="*/ 4239034 w 13768337"/>
              <a:gd name="connsiteY510" fmla="*/ 4145696 h 5071335"/>
              <a:gd name="connsiteX511" fmla="*/ 4320591 w 13768337"/>
              <a:gd name="connsiteY511" fmla="*/ 4167298 h 5071335"/>
              <a:gd name="connsiteX512" fmla="*/ 4334493 w 13768337"/>
              <a:gd name="connsiteY512" fmla="*/ 4156566 h 5071335"/>
              <a:gd name="connsiteX513" fmla="*/ 4315495 w 13768337"/>
              <a:gd name="connsiteY513" fmla="*/ 4140122 h 5071335"/>
              <a:gd name="connsiteX514" fmla="*/ 4274252 w 13768337"/>
              <a:gd name="connsiteY514" fmla="*/ 4132317 h 5071335"/>
              <a:gd name="connsiteX515" fmla="*/ 4252936 w 13768337"/>
              <a:gd name="connsiteY515" fmla="*/ 4136498 h 5071335"/>
              <a:gd name="connsiteX516" fmla="*/ 4252936 w 13768337"/>
              <a:gd name="connsiteY516" fmla="*/ 4129392 h 5071335"/>
              <a:gd name="connsiteX517" fmla="*/ 4474439 w 13768337"/>
              <a:gd name="connsiteY517" fmla="*/ 4123817 h 5071335"/>
              <a:gd name="connsiteX518" fmla="*/ 4467025 w 13768337"/>
              <a:gd name="connsiteY518" fmla="*/ 4124374 h 5071335"/>
              <a:gd name="connsiteX519" fmla="*/ 4467025 w 13768337"/>
              <a:gd name="connsiteY519" fmla="*/ 4134966 h 5071335"/>
              <a:gd name="connsiteX520" fmla="*/ 4490657 w 13768337"/>
              <a:gd name="connsiteY520" fmla="*/ 4129392 h 5071335"/>
              <a:gd name="connsiteX521" fmla="*/ 4474439 w 13768337"/>
              <a:gd name="connsiteY521" fmla="*/ 4123817 h 5071335"/>
              <a:gd name="connsiteX522" fmla="*/ 4451269 w 13768337"/>
              <a:gd name="connsiteY522" fmla="*/ 4121726 h 5071335"/>
              <a:gd name="connsiteX523" fmla="*/ 4442000 w 13768337"/>
              <a:gd name="connsiteY523" fmla="*/ 4123817 h 5071335"/>
              <a:gd name="connsiteX524" fmla="*/ 4425782 w 13768337"/>
              <a:gd name="connsiteY524" fmla="*/ 4134966 h 5071335"/>
              <a:gd name="connsiteX525" fmla="*/ 4459147 w 13768337"/>
              <a:gd name="connsiteY525" fmla="*/ 4124374 h 5071335"/>
              <a:gd name="connsiteX526" fmla="*/ 4451269 w 13768337"/>
              <a:gd name="connsiteY526" fmla="*/ 4121726 h 5071335"/>
              <a:gd name="connsiteX527" fmla="*/ 4679259 w 13768337"/>
              <a:gd name="connsiteY527" fmla="*/ 4104167 h 5071335"/>
              <a:gd name="connsiteX528" fmla="*/ 4680649 w 13768337"/>
              <a:gd name="connsiteY528" fmla="*/ 4107790 h 5071335"/>
              <a:gd name="connsiteX529" fmla="*/ 4685746 w 13768337"/>
              <a:gd name="connsiteY529" fmla="*/ 4107372 h 5071335"/>
              <a:gd name="connsiteX530" fmla="*/ 4679259 w 13768337"/>
              <a:gd name="connsiteY530" fmla="*/ 4104167 h 5071335"/>
              <a:gd name="connsiteX531" fmla="*/ 4312771 w 13768337"/>
              <a:gd name="connsiteY531" fmla="*/ 4103644 h 5071335"/>
              <a:gd name="connsiteX532" fmla="*/ 4300665 w 13768337"/>
              <a:gd name="connsiteY532" fmla="*/ 4104167 h 5071335"/>
              <a:gd name="connsiteX533" fmla="*/ 4288154 w 13768337"/>
              <a:gd name="connsiteY533" fmla="*/ 4118661 h 5071335"/>
              <a:gd name="connsiteX534" fmla="*/ 4325225 w 13768337"/>
              <a:gd name="connsiteY534" fmla="*/ 4104167 h 5071335"/>
              <a:gd name="connsiteX535" fmla="*/ 4312771 w 13768337"/>
              <a:gd name="connsiteY535" fmla="*/ 4103644 h 5071335"/>
              <a:gd name="connsiteX536" fmla="*/ 4182964 w 13768337"/>
              <a:gd name="connsiteY536" fmla="*/ 4093436 h 5071335"/>
              <a:gd name="connsiteX537" fmla="*/ 4137086 w 13768337"/>
              <a:gd name="connsiteY537" fmla="*/ 4107790 h 5071335"/>
              <a:gd name="connsiteX538" fmla="*/ 4119480 w 13768337"/>
              <a:gd name="connsiteY538" fmla="*/ 4134966 h 5071335"/>
              <a:gd name="connsiteX539" fmla="*/ 4192694 w 13768337"/>
              <a:gd name="connsiteY539" fmla="*/ 4113364 h 5071335"/>
              <a:gd name="connsiteX540" fmla="*/ 4182964 w 13768337"/>
              <a:gd name="connsiteY540" fmla="*/ 4113364 h 5071335"/>
              <a:gd name="connsiteX541" fmla="*/ 4182964 w 13768337"/>
              <a:gd name="connsiteY541" fmla="*/ 4093436 h 5071335"/>
              <a:gd name="connsiteX542" fmla="*/ 4353029 w 13768337"/>
              <a:gd name="connsiteY542" fmla="*/ 4086886 h 5071335"/>
              <a:gd name="connsiteX543" fmla="*/ 4344224 w 13768337"/>
              <a:gd name="connsiteY543" fmla="*/ 4087861 h 5071335"/>
              <a:gd name="connsiteX544" fmla="*/ 4371565 w 13768337"/>
              <a:gd name="connsiteY544" fmla="*/ 4093436 h 5071335"/>
              <a:gd name="connsiteX545" fmla="*/ 4353029 w 13768337"/>
              <a:gd name="connsiteY545" fmla="*/ 4086886 h 5071335"/>
              <a:gd name="connsiteX546" fmla="*/ 4245521 w 13768337"/>
              <a:gd name="connsiteY546" fmla="*/ 4084377 h 5071335"/>
              <a:gd name="connsiteX547" fmla="*/ 4238570 w 13768337"/>
              <a:gd name="connsiteY547" fmla="*/ 4084935 h 5071335"/>
              <a:gd name="connsiteX548" fmla="*/ 4233937 w 13768337"/>
              <a:gd name="connsiteY548" fmla="*/ 4093436 h 5071335"/>
              <a:gd name="connsiteX549" fmla="*/ 4239034 w 13768337"/>
              <a:gd name="connsiteY549" fmla="*/ 4104167 h 5071335"/>
              <a:gd name="connsiteX550" fmla="*/ 4261278 w 13768337"/>
              <a:gd name="connsiteY550" fmla="*/ 4104167 h 5071335"/>
              <a:gd name="connsiteX551" fmla="*/ 4245521 w 13768337"/>
              <a:gd name="connsiteY551" fmla="*/ 4084377 h 5071335"/>
              <a:gd name="connsiteX552" fmla="*/ 4454511 w 13768337"/>
              <a:gd name="connsiteY552" fmla="*/ 4082566 h 5071335"/>
              <a:gd name="connsiteX553" fmla="*/ 4439684 w 13768337"/>
              <a:gd name="connsiteY553" fmla="*/ 4104167 h 5071335"/>
              <a:gd name="connsiteX554" fmla="*/ 4430415 w 13768337"/>
              <a:gd name="connsiteY554" fmla="*/ 4109184 h 5071335"/>
              <a:gd name="connsiteX555" fmla="*/ 4459147 w 13768337"/>
              <a:gd name="connsiteY555" fmla="*/ 4104167 h 5071335"/>
              <a:gd name="connsiteX556" fmla="*/ 4454511 w 13768337"/>
              <a:gd name="connsiteY556" fmla="*/ 4082566 h 5071335"/>
              <a:gd name="connsiteX557" fmla="*/ 4530973 w 13768337"/>
              <a:gd name="connsiteY557" fmla="*/ 4073368 h 5071335"/>
              <a:gd name="connsiteX558" fmla="*/ 4508730 w 13768337"/>
              <a:gd name="connsiteY558" fmla="*/ 4076992 h 5071335"/>
              <a:gd name="connsiteX559" fmla="*/ 4574068 w 13768337"/>
              <a:gd name="connsiteY559" fmla="*/ 4114898 h 5071335"/>
              <a:gd name="connsiteX560" fmla="*/ 4590287 w 13768337"/>
              <a:gd name="connsiteY560" fmla="*/ 4126604 h 5071335"/>
              <a:gd name="connsiteX561" fmla="*/ 4611140 w 13768337"/>
              <a:gd name="connsiteY561" fmla="*/ 4122005 h 5071335"/>
              <a:gd name="connsiteX562" fmla="*/ 4586115 w 13768337"/>
              <a:gd name="connsiteY562" fmla="*/ 4119636 h 5071335"/>
              <a:gd name="connsiteX563" fmla="*/ 4581020 w 13768337"/>
              <a:gd name="connsiteY563" fmla="*/ 4100404 h 5071335"/>
              <a:gd name="connsiteX564" fmla="*/ 4595848 w 13768337"/>
              <a:gd name="connsiteY564" fmla="*/ 4105978 h 5071335"/>
              <a:gd name="connsiteX565" fmla="*/ 4601408 w 13768337"/>
              <a:gd name="connsiteY565" fmla="*/ 4076992 h 5071335"/>
              <a:gd name="connsiteX566" fmla="*/ 4530973 w 13768337"/>
              <a:gd name="connsiteY566" fmla="*/ 4073368 h 5071335"/>
              <a:gd name="connsiteX567" fmla="*/ 4242278 w 13768337"/>
              <a:gd name="connsiteY567" fmla="*/ 4071835 h 5071335"/>
              <a:gd name="connsiteX568" fmla="*/ 4201962 w 13768337"/>
              <a:gd name="connsiteY568" fmla="*/ 4087861 h 5071335"/>
              <a:gd name="connsiteX569" fmla="*/ 4224669 w 13768337"/>
              <a:gd name="connsiteY569" fmla="*/ 4104167 h 5071335"/>
              <a:gd name="connsiteX570" fmla="*/ 4242278 w 13768337"/>
              <a:gd name="connsiteY570" fmla="*/ 4071835 h 5071335"/>
              <a:gd name="connsiteX571" fmla="*/ 4725135 w 13768337"/>
              <a:gd name="connsiteY571" fmla="*/ 4056784 h 5071335"/>
              <a:gd name="connsiteX572" fmla="*/ 4728378 w 13768337"/>
              <a:gd name="connsiteY572" fmla="*/ 4083959 h 5071335"/>
              <a:gd name="connsiteX573" fmla="*/ 4744597 w 13768337"/>
              <a:gd name="connsiteY573" fmla="*/ 4086747 h 5071335"/>
              <a:gd name="connsiteX574" fmla="*/ 4756645 w 13768337"/>
              <a:gd name="connsiteY574" fmla="*/ 4073368 h 5071335"/>
              <a:gd name="connsiteX575" fmla="*/ 4802985 w 13768337"/>
              <a:gd name="connsiteY575" fmla="*/ 4064727 h 5071335"/>
              <a:gd name="connsiteX576" fmla="*/ 4779352 w 13768337"/>
              <a:gd name="connsiteY576" fmla="*/ 4073368 h 5071335"/>
              <a:gd name="connsiteX577" fmla="*/ 4774718 w 13768337"/>
              <a:gd name="connsiteY577" fmla="*/ 4056784 h 5071335"/>
              <a:gd name="connsiteX578" fmla="*/ 4757571 w 13768337"/>
              <a:gd name="connsiteY578" fmla="*/ 4056784 h 5071335"/>
              <a:gd name="connsiteX579" fmla="*/ 4519850 w 13768337"/>
              <a:gd name="connsiteY579" fmla="*/ 4041036 h 5071335"/>
              <a:gd name="connsiteX580" fmla="*/ 4527729 w 13768337"/>
              <a:gd name="connsiteY580" fmla="*/ 4046053 h 5071335"/>
              <a:gd name="connsiteX581" fmla="*/ 4525876 w 13768337"/>
              <a:gd name="connsiteY581" fmla="*/ 4041036 h 5071335"/>
              <a:gd name="connsiteX582" fmla="*/ 4519850 w 13768337"/>
              <a:gd name="connsiteY582" fmla="*/ 4041036 h 5071335"/>
              <a:gd name="connsiteX583" fmla="*/ 4794644 w 13768337"/>
              <a:gd name="connsiteY583" fmla="*/ 4036855 h 5071335"/>
              <a:gd name="connsiteX584" fmla="*/ 4770547 w 13768337"/>
              <a:gd name="connsiteY584" fmla="*/ 4041036 h 5071335"/>
              <a:gd name="connsiteX585" fmla="*/ 4806691 w 13768337"/>
              <a:gd name="connsiteY585" fmla="*/ 4051767 h 5071335"/>
              <a:gd name="connsiteX586" fmla="*/ 4802985 w 13768337"/>
              <a:gd name="connsiteY586" fmla="*/ 4037691 h 5071335"/>
              <a:gd name="connsiteX587" fmla="*/ 4794644 w 13768337"/>
              <a:gd name="connsiteY587" fmla="*/ 4036855 h 5071335"/>
              <a:gd name="connsiteX588" fmla="*/ 4771010 w 13768337"/>
              <a:gd name="connsiteY588" fmla="*/ 4015255 h 5071335"/>
              <a:gd name="connsiteX589" fmla="*/ 4766841 w 13768337"/>
              <a:gd name="connsiteY589" fmla="*/ 4020829 h 5071335"/>
              <a:gd name="connsiteX590" fmla="*/ 4768694 w 13768337"/>
              <a:gd name="connsiteY590" fmla="*/ 4031281 h 5071335"/>
              <a:gd name="connsiteX591" fmla="*/ 4782595 w 13768337"/>
              <a:gd name="connsiteY591" fmla="*/ 4027936 h 5071335"/>
              <a:gd name="connsiteX592" fmla="*/ 4771010 w 13768337"/>
              <a:gd name="connsiteY592" fmla="*/ 4015255 h 5071335"/>
              <a:gd name="connsiteX593" fmla="*/ 4462390 w 13768337"/>
              <a:gd name="connsiteY593" fmla="*/ 4007311 h 5071335"/>
              <a:gd name="connsiteX594" fmla="*/ 4454511 w 13768337"/>
              <a:gd name="connsiteY594" fmla="*/ 4019435 h 5071335"/>
              <a:gd name="connsiteX595" fmla="*/ 4463779 w 13768337"/>
              <a:gd name="connsiteY595" fmla="*/ 4062498 h 5071335"/>
              <a:gd name="connsiteX596" fmla="*/ 4481389 w 13768337"/>
              <a:gd name="connsiteY596" fmla="*/ 4041036 h 5071335"/>
              <a:gd name="connsiteX597" fmla="*/ 4463779 w 13768337"/>
              <a:gd name="connsiteY597" fmla="*/ 4025010 h 5071335"/>
              <a:gd name="connsiteX598" fmla="*/ 4513364 w 13768337"/>
              <a:gd name="connsiteY598" fmla="*/ 4046053 h 5071335"/>
              <a:gd name="connsiteX599" fmla="*/ 4510119 w 13768337"/>
              <a:gd name="connsiteY599" fmla="*/ 4042290 h 5071335"/>
              <a:gd name="connsiteX600" fmla="*/ 4504095 w 13768337"/>
              <a:gd name="connsiteY600" fmla="*/ 4035322 h 5071335"/>
              <a:gd name="connsiteX601" fmla="*/ 4497145 w 13768337"/>
              <a:gd name="connsiteY601" fmla="*/ 4034486 h 5071335"/>
              <a:gd name="connsiteX602" fmla="*/ 4487877 w 13768337"/>
              <a:gd name="connsiteY602" fmla="*/ 4030166 h 5071335"/>
              <a:gd name="connsiteX603" fmla="*/ 4504095 w 13768337"/>
              <a:gd name="connsiteY603" fmla="*/ 4010237 h 5071335"/>
              <a:gd name="connsiteX604" fmla="*/ 4489730 w 13768337"/>
              <a:gd name="connsiteY604" fmla="*/ 4010237 h 5071335"/>
              <a:gd name="connsiteX605" fmla="*/ 4459147 w 13768337"/>
              <a:gd name="connsiteY605" fmla="*/ 4014279 h 5071335"/>
              <a:gd name="connsiteX606" fmla="*/ 4462390 w 13768337"/>
              <a:gd name="connsiteY606" fmla="*/ 4007311 h 5071335"/>
              <a:gd name="connsiteX607" fmla="*/ 4747841 w 13768337"/>
              <a:gd name="connsiteY607" fmla="*/ 4004942 h 5071335"/>
              <a:gd name="connsiteX608" fmla="*/ 4679259 w 13768337"/>
              <a:gd name="connsiteY608" fmla="*/ 4010237 h 5071335"/>
              <a:gd name="connsiteX609" fmla="*/ 4747841 w 13768337"/>
              <a:gd name="connsiteY609" fmla="*/ 4004942 h 5071335"/>
              <a:gd name="connsiteX610" fmla="*/ 4568971 w 13768337"/>
              <a:gd name="connsiteY610" fmla="*/ 4004942 h 5071335"/>
              <a:gd name="connsiteX611" fmla="*/ 4555068 w 13768337"/>
              <a:gd name="connsiteY611" fmla="*/ 4025010 h 5071335"/>
              <a:gd name="connsiteX612" fmla="*/ 4567580 w 13768337"/>
              <a:gd name="connsiteY612" fmla="*/ 4023616 h 5071335"/>
              <a:gd name="connsiteX613" fmla="*/ 4568971 w 13768337"/>
              <a:gd name="connsiteY613" fmla="*/ 4014279 h 5071335"/>
              <a:gd name="connsiteX614" fmla="*/ 4574068 w 13768337"/>
              <a:gd name="connsiteY614" fmla="*/ 4014279 h 5071335"/>
              <a:gd name="connsiteX615" fmla="*/ 4568971 w 13768337"/>
              <a:gd name="connsiteY615" fmla="*/ 4004942 h 5071335"/>
              <a:gd name="connsiteX616" fmla="*/ 4508730 w 13768337"/>
              <a:gd name="connsiteY616" fmla="*/ 4004942 h 5071335"/>
              <a:gd name="connsiteX617" fmla="*/ 4506876 w 13768337"/>
              <a:gd name="connsiteY617" fmla="*/ 4007311 h 5071335"/>
              <a:gd name="connsiteX618" fmla="*/ 4511973 w 13768337"/>
              <a:gd name="connsiteY618" fmla="*/ 4008704 h 5071335"/>
              <a:gd name="connsiteX619" fmla="*/ 4508730 w 13768337"/>
              <a:gd name="connsiteY619" fmla="*/ 4004942 h 5071335"/>
              <a:gd name="connsiteX620" fmla="*/ 4774254 w 13768337"/>
              <a:gd name="connsiteY620" fmla="*/ 3998391 h 5071335"/>
              <a:gd name="connsiteX621" fmla="*/ 4752474 w 13768337"/>
              <a:gd name="connsiteY621" fmla="*/ 4010237 h 5071335"/>
              <a:gd name="connsiteX622" fmla="*/ 4774718 w 13768337"/>
              <a:gd name="connsiteY622" fmla="*/ 4004942 h 5071335"/>
              <a:gd name="connsiteX623" fmla="*/ 4794181 w 13768337"/>
              <a:gd name="connsiteY623" fmla="*/ 4020829 h 5071335"/>
              <a:gd name="connsiteX624" fmla="*/ 4789083 w 13768337"/>
              <a:gd name="connsiteY624" fmla="*/ 4026820 h 5071335"/>
              <a:gd name="connsiteX625" fmla="*/ 4804374 w 13768337"/>
              <a:gd name="connsiteY625" fmla="*/ 4024453 h 5071335"/>
              <a:gd name="connsiteX626" fmla="*/ 4806691 w 13768337"/>
              <a:gd name="connsiteY626" fmla="*/ 4015255 h 5071335"/>
              <a:gd name="connsiteX627" fmla="*/ 4812715 w 13768337"/>
              <a:gd name="connsiteY627" fmla="*/ 4023616 h 5071335"/>
              <a:gd name="connsiteX628" fmla="*/ 4818741 w 13768337"/>
              <a:gd name="connsiteY628" fmla="*/ 4022640 h 5071335"/>
              <a:gd name="connsiteX629" fmla="*/ 4806691 w 13768337"/>
              <a:gd name="connsiteY629" fmla="*/ 3999227 h 5071335"/>
              <a:gd name="connsiteX630" fmla="*/ 4774254 w 13768337"/>
              <a:gd name="connsiteY630" fmla="*/ 3998391 h 5071335"/>
              <a:gd name="connsiteX631" fmla="*/ 4600018 w 13768337"/>
              <a:gd name="connsiteY631" fmla="*/ 3997277 h 5071335"/>
              <a:gd name="connsiteX632" fmla="*/ 4595848 w 13768337"/>
              <a:gd name="connsiteY632" fmla="*/ 3999227 h 5071335"/>
              <a:gd name="connsiteX633" fmla="*/ 4610676 w 13768337"/>
              <a:gd name="connsiteY633" fmla="*/ 4019435 h 5071335"/>
              <a:gd name="connsiteX634" fmla="*/ 4606042 w 13768337"/>
              <a:gd name="connsiteY634" fmla="*/ 4046053 h 5071335"/>
              <a:gd name="connsiteX635" fmla="*/ 4591677 w 13768337"/>
              <a:gd name="connsiteY635" fmla="*/ 4046053 h 5071335"/>
              <a:gd name="connsiteX636" fmla="*/ 4650529 w 13768337"/>
              <a:gd name="connsiteY636" fmla="*/ 4078385 h 5071335"/>
              <a:gd name="connsiteX637" fmla="*/ 4632918 w 13768337"/>
              <a:gd name="connsiteY637" fmla="*/ 4078385 h 5071335"/>
              <a:gd name="connsiteX638" fmla="*/ 4642650 w 13768337"/>
              <a:gd name="connsiteY638" fmla="*/ 4104167 h 5071335"/>
              <a:gd name="connsiteX639" fmla="*/ 4674161 w 13768337"/>
              <a:gd name="connsiteY639" fmla="*/ 4104167 h 5071335"/>
              <a:gd name="connsiteX640" fmla="*/ 4655161 w 13768337"/>
              <a:gd name="connsiteY640" fmla="*/ 4083959 h 5071335"/>
              <a:gd name="connsiteX641" fmla="*/ 4715867 w 13768337"/>
              <a:gd name="connsiteY641" fmla="*/ 4056784 h 5071335"/>
              <a:gd name="connsiteX642" fmla="*/ 4652383 w 13768337"/>
              <a:gd name="connsiteY642" fmla="*/ 4051767 h 5071335"/>
              <a:gd name="connsiteX643" fmla="*/ 4610676 w 13768337"/>
              <a:gd name="connsiteY643" fmla="*/ 4051767 h 5071335"/>
              <a:gd name="connsiteX644" fmla="*/ 4606042 w 13768337"/>
              <a:gd name="connsiteY644" fmla="*/ 4025010 h 5071335"/>
              <a:gd name="connsiteX645" fmla="*/ 4628284 w 13768337"/>
              <a:gd name="connsiteY645" fmla="*/ 4030166 h 5071335"/>
              <a:gd name="connsiteX646" fmla="*/ 4605116 w 13768337"/>
              <a:gd name="connsiteY646" fmla="*/ 3997973 h 5071335"/>
              <a:gd name="connsiteX647" fmla="*/ 4600018 w 13768337"/>
              <a:gd name="connsiteY647" fmla="*/ 3997277 h 5071335"/>
              <a:gd name="connsiteX648" fmla="*/ 4664893 w 13768337"/>
              <a:gd name="connsiteY648" fmla="*/ 3994211 h 5071335"/>
              <a:gd name="connsiteX649" fmla="*/ 4632918 w 13768337"/>
              <a:gd name="connsiteY649" fmla="*/ 4010237 h 5071335"/>
              <a:gd name="connsiteX650" fmla="*/ 4660260 w 13768337"/>
              <a:gd name="connsiteY650" fmla="*/ 3999227 h 5071335"/>
              <a:gd name="connsiteX651" fmla="*/ 4664893 w 13768337"/>
              <a:gd name="connsiteY651" fmla="*/ 3994211 h 5071335"/>
              <a:gd name="connsiteX652" fmla="*/ 4454048 w 13768337"/>
              <a:gd name="connsiteY652" fmla="*/ 3994211 h 5071335"/>
              <a:gd name="connsiteX653" fmla="*/ 4431343 w 13768337"/>
              <a:gd name="connsiteY653" fmla="*/ 3995604 h 5071335"/>
              <a:gd name="connsiteX654" fmla="*/ 4435049 w 13768337"/>
              <a:gd name="connsiteY654" fmla="*/ 3999227 h 5071335"/>
              <a:gd name="connsiteX655" fmla="*/ 4408172 w 13768337"/>
              <a:gd name="connsiteY655" fmla="*/ 4008704 h 5071335"/>
              <a:gd name="connsiteX656" fmla="*/ 4454048 w 13768337"/>
              <a:gd name="connsiteY656" fmla="*/ 3994211 h 5071335"/>
              <a:gd name="connsiteX657" fmla="*/ 4574068 w 13768337"/>
              <a:gd name="connsiteY657" fmla="*/ 3986824 h 5071335"/>
              <a:gd name="connsiteX658" fmla="*/ 4547656 w 13768337"/>
              <a:gd name="connsiteY658" fmla="*/ 3988636 h 5071335"/>
              <a:gd name="connsiteX659" fmla="*/ 4562947 w 13768337"/>
              <a:gd name="connsiteY659" fmla="*/ 3992817 h 5071335"/>
              <a:gd name="connsiteX660" fmla="*/ 4578702 w 13768337"/>
              <a:gd name="connsiteY660" fmla="*/ 3988636 h 5071335"/>
              <a:gd name="connsiteX661" fmla="*/ 4574068 w 13768337"/>
              <a:gd name="connsiteY661" fmla="*/ 3986824 h 5071335"/>
              <a:gd name="connsiteX662" fmla="*/ 4935979 w 13768337"/>
              <a:gd name="connsiteY662" fmla="*/ 3984456 h 5071335"/>
              <a:gd name="connsiteX663" fmla="*/ 4921613 w 13768337"/>
              <a:gd name="connsiteY663" fmla="*/ 4009680 h 5071335"/>
              <a:gd name="connsiteX664" fmla="*/ 4947563 w 13768337"/>
              <a:gd name="connsiteY664" fmla="*/ 4009123 h 5071335"/>
              <a:gd name="connsiteX665" fmla="*/ 4935979 w 13768337"/>
              <a:gd name="connsiteY665" fmla="*/ 3984456 h 5071335"/>
              <a:gd name="connsiteX666" fmla="*/ 4853031 w 13768337"/>
              <a:gd name="connsiteY666" fmla="*/ 3979161 h 5071335"/>
              <a:gd name="connsiteX667" fmla="*/ 4824764 w 13768337"/>
              <a:gd name="connsiteY667" fmla="*/ 4021804 h 5071335"/>
              <a:gd name="connsiteX668" fmla="*/ 4840984 w 13768337"/>
              <a:gd name="connsiteY668" fmla="*/ 4019435 h 5071335"/>
              <a:gd name="connsiteX669" fmla="*/ 4853031 w 13768337"/>
              <a:gd name="connsiteY669" fmla="*/ 4015255 h 5071335"/>
              <a:gd name="connsiteX670" fmla="*/ 4875738 w 13768337"/>
              <a:gd name="connsiteY670" fmla="*/ 4007311 h 5071335"/>
              <a:gd name="connsiteX671" fmla="*/ 4912809 w 13768337"/>
              <a:gd name="connsiteY671" fmla="*/ 4009123 h 5071335"/>
              <a:gd name="connsiteX672" fmla="*/ 4913736 w 13768337"/>
              <a:gd name="connsiteY672" fmla="*/ 3994211 h 5071335"/>
              <a:gd name="connsiteX673" fmla="*/ 4853031 w 13768337"/>
              <a:gd name="connsiteY673" fmla="*/ 3979161 h 5071335"/>
              <a:gd name="connsiteX674" fmla="*/ 3183885 w 13768337"/>
              <a:gd name="connsiteY674" fmla="*/ 3977905 h 5071335"/>
              <a:gd name="connsiteX675" fmla="*/ 3208908 w 13768337"/>
              <a:gd name="connsiteY675" fmla="*/ 4011074 h 5071335"/>
              <a:gd name="connsiteX676" fmla="*/ 3183885 w 13768337"/>
              <a:gd name="connsiteY676" fmla="*/ 3977905 h 5071335"/>
              <a:gd name="connsiteX677" fmla="*/ 4457755 w 13768337"/>
              <a:gd name="connsiteY677" fmla="*/ 3976930 h 5071335"/>
              <a:gd name="connsiteX678" fmla="*/ 4450341 w 13768337"/>
              <a:gd name="connsiteY678" fmla="*/ 3987103 h 5071335"/>
              <a:gd name="connsiteX679" fmla="*/ 4461927 w 13768337"/>
              <a:gd name="connsiteY679" fmla="*/ 3985709 h 5071335"/>
              <a:gd name="connsiteX680" fmla="*/ 4468877 w 13768337"/>
              <a:gd name="connsiteY680" fmla="*/ 3977905 h 5071335"/>
              <a:gd name="connsiteX681" fmla="*/ 4457755 w 13768337"/>
              <a:gd name="connsiteY681" fmla="*/ 3976930 h 5071335"/>
              <a:gd name="connsiteX682" fmla="*/ 5371106 w 13768337"/>
              <a:gd name="connsiteY682" fmla="*/ 3976791 h 5071335"/>
              <a:gd name="connsiteX683" fmla="*/ 5369715 w 13768337"/>
              <a:gd name="connsiteY683" fmla="*/ 3979717 h 5071335"/>
              <a:gd name="connsiteX684" fmla="*/ 5383154 w 13768337"/>
              <a:gd name="connsiteY684" fmla="*/ 3979717 h 5071335"/>
              <a:gd name="connsiteX685" fmla="*/ 5378983 w 13768337"/>
              <a:gd name="connsiteY685" fmla="*/ 3976791 h 5071335"/>
              <a:gd name="connsiteX686" fmla="*/ 5371106 w 13768337"/>
              <a:gd name="connsiteY686" fmla="*/ 3976791 h 5071335"/>
              <a:gd name="connsiteX687" fmla="*/ 5012901 w 13768337"/>
              <a:gd name="connsiteY687" fmla="*/ 3974561 h 5071335"/>
              <a:gd name="connsiteX688" fmla="*/ 4996682 w 13768337"/>
              <a:gd name="connsiteY688" fmla="*/ 3984456 h 5071335"/>
              <a:gd name="connsiteX689" fmla="*/ 5023561 w 13768337"/>
              <a:gd name="connsiteY689" fmla="*/ 3990030 h 5071335"/>
              <a:gd name="connsiteX690" fmla="*/ 5012901 w 13768337"/>
              <a:gd name="connsiteY690" fmla="*/ 3974561 h 5071335"/>
              <a:gd name="connsiteX691" fmla="*/ 5407713 w 13768337"/>
              <a:gd name="connsiteY691" fmla="*/ 3973446 h 5071335"/>
              <a:gd name="connsiteX692" fmla="*/ 5404470 w 13768337"/>
              <a:gd name="connsiteY692" fmla="*/ 3978742 h 5071335"/>
              <a:gd name="connsiteX693" fmla="*/ 5406324 w 13768337"/>
              <a:gd name="connsiteY693" fmla="*/ 3978742 h 5071335"/>
              <a:gd name="connsiteX694" fmla="*/ 5420226 w 13768337"/>
              <a:gd name="connsiteY694" fmla="*/ 3977348 h 5071335"/>
              <a:gd name="connsiteX695" fmla="*/ 5407713 w 13768337"/>
              <a:gd name="connsiteY695" fmla="*/ 3973446 h 5071335"/>
              <a:gd name="connsiteX696" fmla="*/ 3445703 w 13768337"/>
              <a:gd name="connsiteY696" fmla="*/ 3973167 h 5071335"/>
              <a:gd name="connsiteX697" fmla="*/ 3470263 w 13768337"/>
              <a:gd name="connsiteY697" fmla="*/ 3983480 h 5071335"/>
              <a:gd name="connsiteX698" fmla="*/ 3421143 w 13768337"/>
              <a:gd name="connsiteY698" fmla="*/ 3983480 h 5071335"/>
              <a:gd name="connsiteX699" fmla="*/ 3445703 w 13768337"/>
              <a:gd name="connsiteY699" fmla="*/ 3973167 h 5071335"/>
              <a:gd name="connsiteX700" fmla="*/ 4701501 w 13768337"/>
              <a:gd name="connsiteY700" fmla="*/ 3972610 h 5071335"/>
              <a:gd name="connsiteX701" fmla="*/ 4674161 w 13768337"/>
              <a:gd name="connsiteY701" fmla="*/ 3977905 h 5071335"/>
              <a:gd name="connsiteX702" fmla="*/ 4701501 w 13768337"/>
              <a:gd name="connsiteY702" fmla="*/ 3972610 h 5071335"/>
              <a:gd name="connsiteX703" fmla="*/ 3728837 w 13768337"/>
              <a:gd name="connsiteY703" fmla="*/ 3966060 h 5071335"/>
              <a:gd name="connsiteX704" fmla="*/ 3746910 w 13768337"/>
              <a:gd name="connsiteY704" fmla="*/ 3970798 h 5071335"/>
              <a:gd name="connsiteX705" fmla="*/ 3733471 w 13768337"/>
              <a:gd name="connsiteY705" fmla="*/ 3970798 h 5071335"/>
              <a:gd name="connsiteX706" fmla="*/ 3728374 w 13768337"/>
              <a:gd name="connsiteY706" fmla="*/ 3982086 h 5071335"/>
              <a:gd name="connsiteX707" fmla="*/ 3712618 w 13768337"/>
              <a:gd name="connsiteY707" fmla="*/ 3976373 h 5071335"/>
              <a:gd name="connsiteX708" fmla="*/ 3728837 w 13768337"/>
              <a:gd name="connsiteY708" fmla="*/ 3966060 h 5071335"/>
              <a:gd name="connsiteX709" fmla="*/ 5068046 w 13768337"/>
              <a:gd name="connsiteY709" fmla="*/ 3964248 h 5071335"/>
              <a:gd name="connsiteX710" fmla="*/ 5065729 w 13768337"/>
              <a:gd name="connsiteY710" fmla="*/ 3979161 h 5071335"/>
              <a:gd name="connsiteX711" fmla="*/ 5088436 w 13768337"/>
              <a:gd name="connsiteY711" fmla="*/ 3982365 h 5071335"/>
              <a:gd name="connsiteX712" fmla="*/ 5095386 w 13768337"/>
              <a:gd name="connsiteY712" fmla="*/ 3979717 h 5071335"/>
              <a:gd name="connsiteX713" fmla="*/ 5078240 w 13768337"/>
              <a:gd name="connsiteY713" fmla="*/ 3974004 h 5071335"/>
              <a:gd name="connsiteX714" fmla="*/ 5078240 w 13768337"/>
              <a:gd name="connsiteY714" fmla="*/ 3964248 h 5071335"/>
              <a:gd name="connsiteX715" fmla="*/ 5068046 w 13768337"/>
              <a:gd name="connsiteY715" fmla="*/ 3964248 h 5071335"/>
              <a:gd name="connsiteX716" fmla="*/ 4941539 w 13768337"/>
              <a:gd name="connsiteY716" fmla="*/ 3963691 h 5071335"/>
              <a:gd name="connsiteX717" fmla="*/ 4931345 w 13768337"/>
              <a:gd name="connsiteY717" fmla="*/ 3974004 h 5071335"/>
              <a:gd name="connsiteX718" fmla="*/ 4950345 w 13768337"/>
              <a:gd name="connsiteY718" fmla="*/ 3984456 h 5071335"/>
              <a:gd name="connsiteX719" fmla="*/ 4954977 w 13768337"/>
              <a:gd name="connsiteY719" fmla="*/ 3968429 h 5071335"/>
              <a:gd name="connsiteX720" fmla="*/ 4941539 w 13768337"/>
              <a:gd name="connsiteY720" fmla="*/ 3963691 h 5071335"/>
              <a:gd name="connsiteX721" fmla="*/ 3555991 w 13768337"/>
              <a:gd name="connsiteY721" fmla="*/ 3962854 h 5071335"/>
              <a:gd name="connsiteX722" fmla="*/ 3573600 w 13768337"/>
              <a:gd name="connsiteY722" fmla="*/ 3963691 h 5071335"/>
              <a:gd name="connsiteX723" fmla="*/ 3579161 w 13768337"/>
              <a:gd name="connsiteY723" fmla="*/ 3974561 h 5071335"/>
              <a:gd name="connsiteX724" fmla="*/ 3544869 w 13768337"/>
              <a:gd name="connsiteY724" fmla="*/ 3969404 h 5071335"/>
              <a:gd name="connsiteX725" fmla="*/ 3555991 w 13768337"/>
              <a:gd name="connsiteY725" fmla="*/ 3962854 h 5071335"/>
              <a:gd name="connsiteX726" fmla="*/ 4408172 w 13768337"/>
              <a:gd name="connsiteY726" fmla="*/ 3961879 h 5071335"/>
              <a:gd name="connsiteX727" fmla="*/ 4376198 w 13768337"/>
              <a:gd name="connsiteY727" fmla="*/ 3983480 h 5071335"/>
              <a:gd name="connsiteX728" fmla="*/ 4408172 w 13768337"/>
              <a:gd name="connsiteY728" fmla="*/ 3961879 h 5071335"/>
              <a:gd name="connsiteX729" fmla="*/ 5634777 w 13768337"/>
              <a:gd name="connsiteY729" fmla="*/ 3961321 h 5071335"/>
              <a:gd name="connsiteX730" fmla="*/ 5627362 w 13768337"/>
              <a:gd name="connsiteY730" fmla="*/ 3965782 h 5071335"/>
              <a:gd name="connsiteX731" fmla="*/ 5633386 w 13768337"/>
              <a:gd name="connsiteY731" fmla="*/ 3963691 h 5071335"/>
              <a:gd name="connsiteX732" fmla="*/ 5634777 w 13768337"/>
              <a:gd name="connsiteY732" fmla="*/ 3961321 h 5071335"/>
              <a:gd name="connsiteX733" fmla="*/ 5483248 w 13768337"/>
              <a:gd name="connsiteY733" fmla="*/ 3961043 h 5071335"/>
              <a:gd name="connsiteX734" fmla="*/ 5480003 w 13768337"/>
              <a:gd name="connsiteY734" fmla="*/ 3969823 h 5071335"/>
              <a:gd name="connsiteX735" fmla="*/ 5492516 w 13768337"/>
              <a:gd name="connsiteY735" fmla="*/ 3967872 h 5071335"/>
              <a:gd name="connsiteX736" fmla="*/ 5483248 w 13768337"/>
              <a:gd name="connsiteY736" fmla="*/ 3961043 h 5071335"/>
              <a:gd name="connsiteX737" fmla="*/ 4924858 w 13768337"/>
              <a:gd name="connsiteY737" fmla="*/ 3958117 h 5071335"/>
              <a:gd name="connsiteX738" fmla="*/ 4808544 w 13768337"/>
              <a:gd name="connsiteY738" fmla="*/ 3969404 h 5071335"/>
              <a:gd name="connsiteX739" fmla="*/ 4797888 w 13768337"/>
              <a:gd name="connsiteY739" fmla="*/ 3960486 h 5071335"/>
              <a:gd name="connsiteX740" fmla="*/ 4784913 w 13768337"/>
              <a:gd name="connsiteY740" fmla="*/ 3968429 h 5071335"/>
              <a:gd name="connsiteX741" fmla="*/ 4926712 w 13768337"/>
              <a:gd name="connsiteY741" fmla="*/ 3963412 h 5071335"/>
              <a:gd name="connsiteX742" fmla="*/ 4924858 w 13768337"/>
              <a:gd name="connsiteY742" fmla="*/ 3958117 h 5071335"/>
              <a:gd name="connsiteX743" fmla="*/ 4780278 w 13768337"/>
              <a:gd name="connsiteY743" fmla="*/ 3957141 h 5071335"/>
              <a:gd name="connsiteX744" fmla="*/ 4763133 w 13768337"/>
              <a:gd name="connsiteY744" fmla="*/ 3960486 h 5071335"/>
              <a:gd name="connsiteX745" fmla="*/ 4757571 w 13768337"/>
              <a:gd name="connsiteY745" fmla="*/ 3968429 h 5071335"/>
              <a:gd name="connsiteX746" fmla="*/ 4780278 w 13768337"/>
              <a:gd name="connsiteY746" fmla="*/ 3957141 h 5071335"/>
              <a:gd name="connsiteX747" fmla="*/ 4683892 w 13768337"/>
              <a:gd name="connsiteY747" fmla="*/ 3956862 h 5071335"/>
              <a:gd name="connsiteX748" fmla="*/ 4682966 w 13768337"/>
              <a:gd name="connsiteY748" fmla="*/ 3957141 h 5071335"/>
              <a:gd name="connsiteX749" fmla="*/ 4685746 w 13768337"/>
              <a:gd name="connsiteY749" fmla="*/ 3957141 h 5071335"/>
              <a:gd name="connsiteX750" fmla="*/ 4683892 w 13768337"/>
              <a:gd name="connsiteY750" fmla="*/ 3956862 h 5071335"/>
              <a:gd name="connsiteX751" fmla="*/ 4508730 w 13768337"/>
              <a:gd name="connsiteY751" fmla="*/ 3952403 h 5071335"/>
              <a:gd name="connsiteX752" fmla="*/ 4490657 w 13768337"/>
              <a:gd name="connsiteY752" fmla="*/ 3967036 h 5071335"/>
              <a:gd name="connsiteX753" fmla="*/ 4523095 w 13768337"/>
              <a:gd name="connsiteY753" fmla="*/ 3972610 h 5071335"/>
              <a:gd name="connsiteX754" fmla="*/ 4518925 w 13768337"/>
              <a:gd name="connsiteY754" fmla="*/ 3977348 h 5071335"/>
              <a:gd name="connsiteX755" fmla="*/ 4539778 w 13768337"/>
              <a:gd name="connsiteY755" fmla="*/ 3974561 h 5071335"/>
              <a:gd name="connsiteX756" fmla="*/ 4508730 w 13768337"/>
              <a:gd name="connsiteY756" fmla="*/ 3952403 h 5071335"/>
              <a:gd name="connsiteX757" fmla="*/ 4225132 w 13768337"/>
              <a:gd name="connsiteY757" fmla="*/ 3950173 h 5071335"/>
              <a:gd name="connsiteX758" fmla="*/ 4220035 w 13768337"/>
              <a:gd name="connsiteY758" fmla="*/ 3956304 h 5071335"/>
              <a:gd name="connsiteX759" fmla="*/ 4182964 w 13768337"/>
              <a:gd name="connsiteY759" fmla="*/ 3972610 h 5071335"/>
              <a:gd name="connsiteX760" fmla="*/ 4224669 w 13768337"/>
              <a:gd name="connsiteY760" fmla="*/ 3972610 h 5071335"/>
              <a:gd name="connsiteX761" fmla="*/ 4225132 w 13768337"/>
              <a:gd name="connsiteY761" fmla="*/ 3950173 h 5071335"/>
              <a:gd name="connsiteX762" fmla="*/ 5399835 w 13768337"/>
              <a:gd name="connsiteY762" fmla="*/ 3948361 h 5071335"/>
              <a:gd name="connsiteX763" fmla="*/ 5385007 w 13768337"/>
              <a:gd name="connsiteY763" fmla="*/ 3967036 h 5071335"/>
              <a:gd name="connsiteX764" fmla="*/ 5399373 w 13768337"/>
              <a:gd name="connsiteY764" fmla="*/ 3967036 h 5071335"/>
              <a:gd name="connsiteX765" fmla="*/ 5399835 w 13768337"/>
              <a:gd name="connsiteY765" fmla="*/ 3948361 h 5071335"/>
              <a:gd name="connsiteX766" fmla="*/ 5454053 w 13768337"/>
              <a:gd name="connsiteY766" fmla="*/ 3945573 h 5071335"/>
              <a:gd name="connsiteX767" fmla="*/ 5413738 w 13768337"/>
              <a:gd name="connsiteY767" fmla="*/ 3963691 h 5071335"/>
              <a:gd name="connsiteX768" fmla="*/ 5422542 w 13768337"/>
              <a:gd name="connsiteY768" fmla="*/ 3961879 h 5071335"/>
              <a:gd name="connsiteX769" fmla="*/ 5427639 w 13768337"/>
              <a:gd name="connsiteY769" fmla="*/ 3972610 h 5071335"/>
              <a:gd name="connsiteX770" fmla="*/ 5425323 w 13768337"/>
              <a:gd name="connsiteY770" fmla="*/ 3976373 h 5071335"/>
              <a:gd name="connsiteX771" fmla="*/ 5444322 w 13768337"/>
              <a:gd name="connsiteY771" fmla="*/ 3974004 h 5071335"/>
              <a:gd name="connsiteX772" fmla="*/ 5454053 w 13768337"/>
              <a:gd name="connsiteY772" fmla="*/ 3945573 h 5071335"/>
              <a:gd name="connsiteX773" fmla="*/ 5383618 w 13768337"/>
              <a:gd name="connsiteY773" fmla="*/ 3945017 h 5071335"/>
              <a:gd name="connsiteX774" fmla="*/ 5341450 w 13768337"/>
              <a:gd name="connsiteY774" fmla="*/ 3972191 h 5071335"/>
              <a:gd name="connsiteX775" fmla="*/ 5321523 w 13768337"/>
              <a:gd name="connsiteY775" fmla="*/ 3974561 h 5071335"/>
              <a:gd name="connsiteX776" fmla="*/ 5327084 w 13768337"/>
              <a:gd name="connsiteY776" fmla="*/ 3977905 h 5071335"/>
              <a:gd name="connsiteX777" fmla="*/ 5327084 w 13768337"/>
              <a:gd name="connsiteY777" fmla="*/ 3980553 h 5071335"/>
              <a:gd name="connsiteX778" fmla="*/ 5351643 w 13768337"/>
              <a:gd name="connsiteY778" fmla="*/ 3980275 h 5071335"/>
              <a:gd name="connsiteX779" fmla="*/ 5354887 w 13768337"/>
              <a:gd name="connsiteY779" fmla="*/ 3976373 h 5071335"/>
              <a:gd name="connsiteX780" fmla="*/ 5348863 w 13768337"/>
              <a:gd name="connsiteY780" fmla="*/ 3976373 h 5071335"/>
              <a:gd name="connsiteX781" fmla="*/ 5358595 w 13768337"/>
              <a:gd name="connsiteY781" fmla="*/ 3970241 h 5071335"/>
              <a:gd name="connsiteX782" fmla="*/ 5363691 w 13768337"/>
              <a:gd name="connsiteY782" fmla="*/ 3961879 h 5071335"/>
              <a:gd name="connsiteX783" fmla="*/ 5375739 w 13768337"/>
              <a:gd name="connsiteY783" fmla="*/ 3964667 h 5071335"/>
              <a:gd name="connsiteX784" fmla="*/ 5383618 w 13768337"/>
              <a:gd name="connsiteY784" fmla="*/ 3945017 h 5071335"/>
              <a:gd name="connsiteX785" fmla="*/ 5068973 w 13768337"/>
              <a:gd name="connsiteY785" fmla="*/ 3942646 h 5071335"/>
              <a:gd name="connsiteX786" fmla="*/ 5057388 w 13768337"/>
              <a:gd name="connsiteY786" fmla="*/ 3945573 h 5071335"/>
              <a:gd name="connsiteX787" fmla="*/ 5065729 w 13768337"/>
              <a:gd name="connsiteY787" fmla="*/ 3953936 h 5071335"/>
              <a:gd name="connsiteX788" fmla="*/ 5070364 w 13768337"/>
              <a:gd name="connsiteY788" fmla="*/ 3953517 h 5071335"/>
              <a:gd name="connsiteX789" fmla="*/ 5068973 w 13768337"/>
              <a:gd name="connsiteY789" fmla="*/ 3942646 h 5071335"/>
              <a:gd name="connsiteX790" fmla="*/ 4566191 w 13768337"/>
              <a:gd name="connsiteY790" fmla="*/ 3941811 h 5071335"/>
              <a:gd name="connsiteX791" fmla="*/ 4559703 w 13768337"/>
              <a:gd name="connsiteY791" fmla="*/ 3961879 h 5071335"/>
              <a:gd name="connsiteX792" fmla="*/ 4549971 w 13768337"/>
              <a:gd name="connsiteY792" fmla="*/ 3946828 h 5071335"/>
              <a:gd name="connsiteX793" fmla="*/ 4555068 w 13768337"/>
              <a:gd name="connsiteY793" fmla="*/ 3967036 h 5071335"/>
              <a:gd name="connsiteX794" fmla="*/ 4572679 w 13768337"/>
              <a:gd name="connsiteY794" fmla="*/ 3969823 h 5071335"/>
              <a:gd name="connsiteX795" fmla="*/ 4577312 w 13768337"/>
              <a:gd name="connsiteY795" fmla="*/ 3969404 h 5071335"/>
              <a:gd name="connsiteX796" fmla="*/ 4578702 w 13768337"/>
              <a:gd name="connsiteY796" fmla="*/ 3967036 h 5071335"/>
              <a:gd name="connsiteX797" fmla="*/ 4574068 w 13768337"/>
              <a:gd name="connsiteY797" fmla="*/ 3961879 h 5071335"/>
              <a:gd name="connsiteX798" fmla="*/ 4578702 w 13768337"/>
              <a:gd name="connsiteY798" fmla="*/ 3941811 h 5071335"/>
              <a:gd name="connsiteX799" fmla="*/ 4566191 w 13768337"/>
              <a:gd name="connsiteY799" fmla="*/ 3941811 h 5071335"/>
              <a:gd name="connsiteX800" fmla="*/ 5308085 w 13768337"/>
              <a:gd name="connsiteY800" fmla="*/ 3940278 h 5071335"/>
              <a:gd name="connsiteX801" fmla="*/ 5311792 w 13768337"/>
              <a:gd name="connsiteY801" fmla="*/ 3961879 h 5071335"/>
              <a:gd name="connsiteX802" fmla="*/ 5292329 w 13768337"/>
              <a:gd name="connsiteY802" fmla="*/ 3958952 h 5071335"/>
              <a:gd name="connsiteX803" fmla="*/ 5297425 w 13768337"/>
              <a:gd name="connsiteY803" fmla="*/ 3967872 h 5071335"/>
              <a:gd name="connsiteX804" fmla="*/ 5296499 w 13768337"/>
              <a:gd name="connsiteY804" fmla="*/ 3968987 h 5071335"/>
              <a:gd name="connsiteX805" fmla="*/ 5317351 w 13768337"/>
              <a:gd name="connsiteY805" fmla="*/ 3972191 h 5071335"/>
              <a:gd name="connsiteX806" fmla="*/ 5308085 w 13768337"/>
              <a:gd name="connsiteY806" fmla="*/ 3940278 h 5071335"/>
              <a:gd name="connsiteX807" fmla="*/ 4448487 w 13768337"/>
              <a:gd name="connsiteY807" fmla="*/ 3940278 h 5071335"/>
              <a:gd name="connsiteX808" fmla="*/ 4412807 w 13768337"/>
              <a:gd name="connsiteY808" fmla="*/ 3967036 h 5071335"/>
              <a:gd name="connsiteX809" fmla="*/ 4427172 w 13768337"/>
              <a:gd name="connsiteY809" fmla="*/ 3967036 h 5071335"/>
              <a:gd name="connsiteX810" fmla="*/ 4398441 w 13768337"/>
              <a:gd name="connsiteY810" fmla="*/ 3983480 h 5071335"/>
              <a:gd name="connsiteX811" fmla="*/ 4404929 w 13768337"/>
              <a:gd name="connsiteY811" fmla="*/ 3993653 h 5071335"/>
              <a:gd name="connsiteX812" fmla="*/ 4449415 w 13768337"/>
              <a:gd name="connsiteY812" fmla="*/ 3987660 h 5071335"/>
              <a:gd name="connsiteX813" fmla="*/ 4435049 w 13768337"/>
              <a:gd name="connsiteY813" fmla="*/ 3956304 h 5071335"/>
              <a:gd name="connsiteX814" fmla="*/ 4431806 w 13768337"/>
              <a:gd name="connsiteY814" fmla="*/ 3956304 h 5071335"/>
              <a:gd name="connsiteX815" fmla="*/ 4459147 w 13768337"/>
              <a:gd name="connsiteY815" fmla="*/ 3951149 h 5071335"/>
              <a:gd name="connsiteX816" fmla="*/ 4448487 w 13768337"/>
              <a:gd name="connsiteY816" fmla="*/ 3940278 h 5071335"/>
              <a:gd name="connsiteX817" fmla="*/ 3663963 w 13768337"/>
              <a:gd name="connsiteY817" fmla="*/ 3940278 h 5071335"/>
              <a:gd name="connsiteX818" fmla="*/ 3666742 w 13768337"/>
              <a:gd name="connsiteY818" fmla="*/ 3940278 h 5071335"/>
              <a:gd name="connsiteX819" fmla="*/ 3688059 w 13768337"/>
              <a:gd name="connsiteY819" fmla="*/ 3960067 h 5071335"/>
              <a:gd name="connsiteX820" fmla="*/ 3682961 w 13768337"/>
              <a:gd name="connsiteY820" fmla="*/ 3975815 h 5071335"/>
              <a:gd name="connsiteX821" fmla="*/ 3623647 w 13768337"/>
              <a:gd name="connsiteY821" fmla="*/ 3960067 h 5071335"/>
              <a:gd name="connsiteX822" fmla="*/ 3655621 w 13768337"/>
              <a:gd name="connsiteY822" fmla="*/ 3965224 h 5071335"/>
              <a:gd name="connsiteX823" fmla="*/ 3660254 w 13768337"/>
              <a:gd name="connsiteY823" fmla="*/ 3944180 h 5071335"/>
              <a:gd name="connsiteX824" fmla="*/ 3663963 w 13768337"/>
              <a:gd name="connsiteY824" fmla="*/ 3940278 h 5071335"/>
              <a:gd name="connsiteX825" fmla="*/ 5508734 w 13768337"/>
              <a:gd name="connsiteY825" fmla="*/ 3937909 h 5071335"/>
              <a:gd name="connsiteX826" fmla="*/ 5491126 w 13768337"/>
              <a:gd name="connsiteY826" fmla="*/ 3960067 h 5071335"/>
              <a:gd name="connsiteX827" fmla="*/ 5514757 w 13768337"/>
              <a:gd name="connsiteY827" fmla="*/ 3961879 h 5071335"/>
              <a:gd name="connsiteX828" fmla="*/ 5509197 w 13768337"/>
              <a:gd name="connsiteY828" fmla="*/ 3966060 h 5071335"/>
              <a:gd name="connsiteX829" fmla="*/ 5518466 w 13768337"/>
              <a:gd name="connsiteY829" fmla="*/ 3964667 h 5071335"/>
              <a:gd name="connsiteX830" fmla="*/ 5515221 w 13768337"/>
              <a:gd name="connsiteY830" fmla="*/ 3945573 h 5071335"/>
              <a:gd name="connsiteX831" fmla="*/ 5518928 w 13768337"/>
              <a:gd name="connsiteY831" fmla="*/ 3945017 h 5071335"/>
              <a:gd name="connsiteX832" fmla="*/ 5515684 w 13768337"/>
              <a:gd name="connsiteY832" fmla="*/ 3941393 h 5071335"/>
              <a:gd name="connsiteX833" fmla="*/ 5508734 w 13768337"/>
              <a:gd name="connsiteY833" fmla="*/ 3937909 h 5071335"/>
              <a:gd name="connsiteX834" fmla="*/ 5079631 w 13768337"/>
              <a:gd name="connsiteY834" fmla="*/ 3937630 h 5071335"/>
              <a:gd name="connsiteX835" fmla="*/ 5074532 w 13768337"/>
              <a:gd name="connsiteY835" fmla="*/ 3952960 h 5071335"/>
              <a:gd name="connsiteX836" fmla="*/ 5081484 w 13768337"/>
              <a:gd name="connsiteY836" fmla="*/ 3952403 h 5071335"/>
              <a:gd name="connsiteX837" fmla="*/ 5100484 w 13768337"/>
              <a:gd name="connsiteY837" fmla="*/ 3957141 h 5071335"/>
              <a:gd name="connsiteX838" fmla="*/ 5094459 w 13768337"/>
              <a:gd name="connsiteY838" fmla="*/ 3942646 h 5071335"/>
              <a:gd name="connsiteX839" fmla="*/ 5082875 w 13768337"/>
              <a:gd name="connsiteY839" fmla="*/ 3948361 h 5071335"/>
              <a:gd name="connsiteX840" fmla="*/ 5079631 w 13768337"/>
              <a:gd name="connsiteY840" fmla="*/ 3937630 h 5071335"/>
              <a:gd name="connsiteX841" fmla="*/ 5686677 w 13768337"/>
              <a:gd name="connsiteY841" fmla="*/ 3936097 h 5071335"/>
              <a:gd name="connsiteX842" fmla="*/ 5670921 w 13768337"/>
              <a:gd name="connsiteY842" fmla="*/ 3943204 h 5071335"/>
              <a:gd name="connsiteX843" fmla="*/ 5688067 w 13768337"/>
              <a:gd name="connsiteY843" fmla="*/ 3946410 h 5071335"/>
              <a:gd name="connsiteX844" fmla="*/ 5697335 w 13768337"/>
              <a:gd name="connsiteY844" fmla="*/ 3941811 h 5071335"/>
              <a:gd name="connsiteX845" fmla="*/ 5696408 w 13768337"/>
              <a:gd name="connsiteY845" fmla="*/ 3936654 h 5071335"/>
              <a:gd name="connsiteX846" fmla="*/ 5686677 w 13768337"/>
              <a:gd name="connsiteY846" fmla="*/ 3936097 h 5071335"/>
              <a:gd name="connsiteX847" fmla="*/ 5482320 w 13768337"/>
              <a:gd name="connsiteY847" fmla="*/ 3933450 h 5071335"/>
              <a:gd name="connsiteX848" fmla="*/ 5478614 w 13768337"/>
              <a:gd name="connsiteY848" fmla="*/ 3934703 h 5071335"/>
              <a:gd name="connsiteX849" fmla="*/ 5487882 w 13768337"/>
              <a:gd name="connsiteY849" fmla="*/ 3940278 h 5071335"/>
              <a:gd name="connsiteX850" fmla="*/ 5480931 w 13768337"/>
              <a:gd name="connsiteY850" fmla="*/ 3948780 h 5071335"/>
              <a:gd name="connsiteX851" fmla="*/ 5481856 w 13768337"/>
              <a:gd name="connsiteY851" fmla="*/ 3952123 h 5071335"/>
              <a:gd name="connsiteX852" fmla="*/ 5465638 w 13768337"/>
              <a:gd name="connsiteY852" fmla="*/ 3969404 h 5071335"/>
              <a:gd name="connsiteX853" fmla="*/ 5492052 w 13768337"/>
              <a:gd name="connsiteY853" fmla="*/ 3939441 h 5071335"/>
              <a:gd name="connsiteX854" fmla="*/ 5482320 w 13768337"/>
              <a:gd name="connsiteY854" fmla="*/ 3933450 h 5071335"/>
              <a:gd name="connsiteX855" fmla="*/ 5347473 w 13768337"/>
              <a:gd name="connsiteY855" fmla="*/ 3931359 h 5071335"/>
              <a:gd name="connsiteX856" fmla="*/ 5334960 w 13768337"/>
              <a:gd name="connsiteY856" fmla="*/ 3934285 h 5071335"/>
              <a:gd name="connsiteX857" fmla="*/ 5321986 w 13768337"/>
              <a:gd name="connsiteY857" fmla="*/ 3949197 h 5071335"/>
              <a:gd name="connsiteX858" fmla="*/ 5347473 w 13768337"/>
              <a:gd name="connsiteY858" fmla="*/ 3931359 h 5071335"/>
              <a:gd name="connsiteX859" fmla="*/ 4532363 w 13768337"/>
              <a:gd name="connsiteY859" fmla="*/ 3931080 h 5071335"/>
              <a:gd name="connsiteX860" fmla="*/ 4517996 w 13768337"/>
              <a:gd name="connsiteY860" fmla="*/ 3952403 h 5071335"/>
              <a:gd name="connsiteX861" fmla="*/ 4537461 w 13768337"/>
              <a:gd name="connsiteY861" fmla="*/ 3946828 h 5071335"/>
              <a:gd name="connsiteX862" fmla="*/ 4537461 w 13768337"/>
              <a:gd name="connsiteY862" fmla="*/ 3941811 h 5071335"/>
              <a:gd name="connsiteX863" fmla="*/ 4532363 w 13768337"/>
              <a:gd name="connsiteY863" fmla="*/ 3931080 h 5071335"/>
              <a:gd name="connsiteX864" fmla="*/ 5629680 w 13768337"/>
              <a:gd name="connsiteY864" fmla="*/ 3928153 h 5071335"/>
              <a:gd name="connsiteX865" fmla="*/ 5627826 w 13768337"/>
              <a:gd name="connsiteY865" fmla="*/ 3928711 h 5071335"/>
              <a:gd name="connsiteX866" fmla="*/ 5631070 w 13768337"/>
              <a:gd name="connsiteY866" fmla="*/ 3928989 h 5071335"/>
              <a:gd name="connsiteX867" fmla="*/ 5629680 w 13768337"/>
              <a:gd name="connsiteY867" fmla="*/ 3928153 h 5071335"/>
              <a:gd name="connsiteX868" fmla="*/ 4270081 w 13768337"/>
              <a:gd name="connsiteY868" fmla="*/ 3928153 h 5071335"/>
              <a:gd name="connsiteX869" fmla="*/ 4262204 w 13768337"/>
              <a:gd name="connsiteY869" fmla="*/ 3937630 h 5071335"/>
              <a:gd name="connsiteX870" fmla="*/ 4266375 w 13768337"/>
              <a:gd name="connsiteY870" fmla="*/ 3940278 h 5071335"/>
              <a:gd name="connsiteX871" fmla="*/ 4233937 w 13768337"/>
              <a:gd name="connsiteY871" fmla="*/ 3967036 h 5071335"/>
              <a:gd name="connsiteX872" fmla="*/ 4246912 w 13768337"/>
              <a:gd name="connsiteY872" fmla="*/ 3977905 h 5071335"/>
              <a:gd name="connsiteX873" fmla="*/ 4275642 w 13768337"/>
              <a:gd name="connsiteY873" fmla="*/ 3967036 h 5071335"/>
              <a:gd name="connsiteX874" fmla="*/ 4261278 w 13768337"/>
              <a:gd name="connsiteY874" fmla="*/ 3956304 h 5071335"/>
              <a:gd name="connsiteX875" fmla="*/ 4302982 w 13768337"/>
              <a:gd name="connsiteY875" fmla="*/ 3951149 h 5071335"/>
              <a:gd name="connsiteX876" fmla="*/ 4280277 w 13768337"/>
              <a:gd name="connsiteY876" fmla="*/ 3967036 h 5071335"/>
              <a:gd name="connsiteX877" fmla="*/ 4361834 w 13768337"/>
              <a:gd name="connsiteY877" fmla="*/ 3967036 h 5071335"/>
              <a:gd name="connsiteX878" fmla="*/ 4357664 w 13768337"/>
              <a:gd name="connsiteY878" fmla="*/ 3946828 h 5071335"/>
              <a:gd name="connsiteX879" fmla="*/ 4354883 w 13768337"/>
              <a:gd name="connsiteY879" fmla="*/ 3946410 h 5071335"/>
              <a:gd name="connsiteX880" fmla="*/ 4358589 w 13768337"/>
              <a:gd name="connsiteY880" fmla="*/ 3941393 h 5071335"/>
              <a:gd name="connsiteX881" fmla="*/ 4358589 w 13768337"/>
              <a:gd name="connsiteY881" fmla="*/ 3940278 h 5071335"/>
              <a:gd name="connsiteX882" fmla="*/ 4339127 w 13768337"/>
              <a:gd name="connsiteY882" fmla="*/ 3931080 h 5071335"/>
              <a:gd name="connsiteX883" fmla="*/ 4298812 w 13768337"/>
              <a:gd name="connsiteY883" fmla="*/ 3936654 h 5071335"/>
              <a:gd name="connsiteX884" fmla="*/ 4301592 w 13768337"/>
              <a:gd name="connsiteY884" fmla="*/ 3939024 h 5071335"/>
              <a:gd name="connsiteX885" fmla="*/ 4291861 w 13768337"/>
              <a:gd name="connsiteY885" fmla="*/ 3928711 h 5071335"/>
              <a:gd name="connsiteX886" fmla="*/ 4291397 w 13768337"/>
              <a:gd name="connsiteY886" fmla="*/ 3928153 h 5071335"/>
              <a:gd name="connsiteX887" fmla="*/ 5419235 w 13768337"/>
              <a:gd name="connsiteY887" fmla="*/ 3921485 h 5071335"/>
              <a:gd name="connsiteX888" fmla="*/ 5419298 w 13768337"/>
              <a:gd name="connsiteY888" fmla="*/ 3923554 h 5071335"/>
              <a:gd name="connsiteX889" fmla="*/ 5423209 w 13768337"/>
              <a:gd name="connsiteY889" fmla="*/ 3921532 h 5071335"/>
              <a:gd name="connsiteX890" fmla="*/ 5293720 w 13768337"/>
              <a:gd name="connsiteY890" fmla="*/ 3921185 h 5071335"/>
              <a:gd name="connsiteX891" fmla="*/ 5255721 w 13768337"/>
              <a:gd name="connsiteY891" fmla="*/ 3939999 h 5071335"/>
              <a:gd name="connsiteX892" fmla="*/ 5226064 w 13768337"/>
              <a:gd name="connsiteY892" fmla="*/ 3927178 h 5071335"/>
              <a:gd name="connsiteX893" fmla="*/ 5215405 w 13768337"/>
              <a:gd name="connsiteY893" fmla="*/ 3947386 h 5071335"/>
              <a:gd name="connsiteX894" fmla="*/ 5147750 w 13768337"/>
              <a:gd name="connsiteY894" fmla="*/ 3949754 h 5071335"/>
              <a:gd name="connsiteX895" fmla="*/ 5100946 w 13768337"/>
              <a:gd name="connsiteY895" fmla="*/ 3939999 h 5071335"/>
              <a:gd name="connsiteX896" fmla="*/ 5103263 w 13768337"/>
              <a:gd name="connsiteY896" fmla="*/ 3958117 h 5071335"/>
              <a:gd name="connsiteX897" fmla="*/ 5129215 w 13768337"/>
              <a:gd name="connsiteY897" fmla="*/ 3968429 h 5071335"/>
              <a:gd name="connsiteX898" fmla="*/ 5114384 w 13768337"/>
              <a:gd name="connsiteY898" fmla="*/ 3968429 h 5071335"/>
              <a:gd name="connsiteX899" fmla="*/ 5123190 w 13768337"/>
              <a:gd name="connsiteY899" fmla="*/ 3983898 h 5071335"/>
              <a:gd name="connsiteX900" fmla="*/ 5188992 w 13768337"/>
              <a:gd name="connsiteY900" fmla="*/ 3982922 h 5071335"/>
              <a:gd name="connsiteX901" fmla="*/ 5188066 w 13768337"/>
              <a:gd name="connsiteY901" fmla="*/ 3979161 h 5071335"/>
              <a:gd name="connsiteX902" fmla="*/ 5221893 w 13768337"/>
              <a:gd name="connsiteY902" fmla="*/ 3982365 h 5071335"/>
              <a:gd name="connsiteX903" fmla="*/ 5247843 w 13768337"/>
              <a:gd name="connsiteY903" fmla="*/ 3982086 h 5071335"/>
              <a:gd name="connsiteX904" fmla="*/ 5239038 w 13768337"/>
              <a:gd name="connsiteY904" fmla="*/ 3972610 h 5071335"/>
              <a:gd name="connsiteX905" fmla="*/ 5271013 w 13768337"/>
              <a:gd name="connsiteY905" fmla="*/ 3956304 h 5071335"/>
              <a:gd name="connsiteX906" fmla="*/ 5288620 w 13768337"/>
              <a:gd name="connsiteY906" fmla="*/ 3967872 h 5071335"/>
              <a:gd name="connsiteX907" fmla="*/ 5298352 w 13768337"/>
              <a:gd name="connsiteY907" fmla="*/ 3947386 h 5071335"/>
              <a:gd name="connsiteX908" fmla="*/ 5293720 w 13768337"/>
              <a:gd name="connsiteY908" fmla="*/ 3921185 h 5071335"/>
              <a:gd name="connsiteX909" fmla="*/ 4490657 w 13768337"/>
              <a:gd name="connsiteY909" fmla="*/ 3920210 h 5071335"/>
              <a:gd name="connsiteX910" fmla="*/ 4463779 w 13768337"/>
              <a:gd name="connsiteY910" fmla="*/ 3951149 h 5071335"/>
              <a:gd name="connsiteX911" fmla="*/ 4505486 w 13768337"/>
              <a:gd name="connsiteY911" fmla="*/ 3936097 h 5071335"/>
              <a:gd name="connsiteX912" fmla="*/ 4490657 w 13768337"/>
              <a:gd name="connsiteY912" fmla="*/ 3920210 h 5071335"/>
              <a:gd name="connsiteX913" fmla="*/ 3200567 w 13768337"/>
              <a:gd name="connsiteY913" fmla="*/ 3919791 h 5071335"/>
              <a:gd name="connsiteX914" fmla="*/ 3218640 w 13768337"/>
              <a:gd name="connsiteY914" fmla="*/ 3919791 h 5071335"/>
              <a:gd name="connsiteX915" fmla="*/ 3214006 w 13768337"/>
              <a:gd name="connsiteY915" fmla="*/ 3935260 h 5071335"/>
              <a:gd name="connsiteX916" fmla="*/ 3183422 w 13768337"/>
              <a:gd name="connsiteY916" fmla="*/ 3944180 h 5071335"/>
              <a:gd name="connsiteX917" fmla="*/ 3200567 w 13768337"/>
              <a:gd name="connsiteY917" fmla="*/ 3919791 h 5071335"/>
              <a:gd name="connsiteX918" fmla="*/ 5457297 w 13768337"/>
              <a:gd name="connsiteY918" fmla="*/ 3917422 h 5071335"/>
              <a:gd name="connsiteX919" fmla="*/ 5429493 w 13768337"/>
              <a:gd name="connsiteY919" fmla="*/ 3937909 h 5071335"/>
              <a:gd name="connsiteX920" fmla="*/ 5461930 w 13768337"/>
              <a:gd name="connsiteY920" fmla="*/ 3944180 h 5071335"/>
              <a:gd name="connsiteX921" fmla="*/ 5467492 w 13768337"/>
              <a:gd name="connsiteY921" fmla="*/ 3937630 h 5071335"/>
              <a:gd name="connsiteX922" fmla="*/ 5469346 w 13768337"/>
              <a:gd name="connsiteY922" fmla="*/ 3937909 h 5071335"/>
              <a:gd name="connsiteX923" fmla="*/ 5462858 w 13768337"/>
              <a:gd name="connsiteY923" fmla="*/ 3930104 h 5071335"/>
              <a:gd name="connsiteX924" fmla="*/ 5457297 w 13768337"/>
              <a:gd name="connsiteY924" fmla="*/ 3917422 h 5071335"/>
              <a:gd name="connsiteX925" fmla="*/ 5464229 w 13768337"/>
              <a:gd name="connsiteY925" fmla="*/ 3916272 h 5071335"/>
              <a:gd name="connsiteX926" fmla="*/ 5461698 w 13768337"/>
              <a:gd name="connsiteY926" fmla="*/ 3916471 h 5071335"/>
              <a:gd name="connsiteX927" fmla="*/ 5461930 w 13768337"/>
              <a:gd name="connsiteY927" fmla="*/ 3916865 h 5071335"/>
              <a:gd name="connsiteX928" fmla="*/ 5464326 w 13768337"/>
              <a:gd name="connsiteY928" fmla="*/ 3916426 h 5071335"/>
              <a:gd name="connsiteX929" fmla="*/ 3747836 w 13768337"/>
              <a:gd name="connsiteY929" fmla="*/ 3913102 h 5071335"/>
              <a:gd name="connsiteX930" fmla="*/ 3755250 w 13768337"/>
              <a:gd name="connsiteY930" fmla="*/ 3917980 h 5071335"/>
              <a:gd name="connsiteX931" fmla="*/ 3740422 w 13768337"/>
              <a:gd name="connsiteY931" fmla="*/ 3936097 h 5071335"/>
              <a:gd name="connsiteX932" fmla="*/ 3722349 w 13768337"/>
              <a:gd name="connsiteY932" fmla="*/ 3923972 h 5071335"/>
              <a:gd name="connsiteX933" fmla="*/ 3738568 w 13768337"/>
              <a:gd name="connsiteY933" fmla="*/ 3913659 h 5071335"/>
              <a:gd name="connsiteX934" fmla="*/ 3747836 w 13768337"/>
              <a:gd name="connsiteY934" fmla="*/ 3913102 h 5071335"/>
              <a:gd name="connsiteX935" fmla="*/ 3684815 w 13768337"/>
              <a:gd name="connsiteY935" fmla="*/ 3910036 h 5071335"/>
              <a:gd name="connsiteX936" fmla="*/ 3692230 w 13768337"/>
              <a:gd name="connsiteY936" fmla="*/ 3914217 h 5071335"/>
              <a:gd name="connsiteX937" fmla="*/ 3687131 w 13768337"/>
              <a:gd name="connsiteY937" fmla="*/ 3919234 h 5071335"/>
              <a:gd name="connsiteX938" fmla="*/ 3707521 w 13768337"/>
              <a:gd name="connsiteY938" fmla="*/ 3924530 h 5071335"/>
              <a:gd name="connsiteX939" fmla="*/ 3710764 w 13768337"/>
              <a:gd name="connsiteY939" fmla="*/ 3944599 h 5071335"/>
              <a:gd name="connsiteX940" fmla="*/ 3676937 w 13768337"/>
              <a:gd name="connsiteY940" fmla="*/ 3940835 h 5071335"/>
              <a:gd name="connsiteX941" fmla="*/ 3663035 w 13768337"/>
              <a:gd name="connsiteY941" fmla="*/ 3919234 h 5071335"/>
              <a:gd name="connsiteX942" fmla="*/ 3676937 w 13768337"/>
              <a:gd name="connsiteY942" fmla="*/ 3914217 h 5071335"/>
              <a:gd name="connsiteX943" fmla="*/ 3684815 w 13768337"/>
              <a:gd name="connsiteY943" fmla="*/ 3910036 h 5071335"/>
              <a:gd name="connsiteX944" fmla="*/ 4608345 w 13768337"/>
              <a:gd name="connsiteY944" fmla="*/ 3909335 h 5071335"/>
              <a:gd name="connsiteX945" fmla="*/ 4574068 w 13768337"/>
              <a:gd name="connsiteY945" fmla="*/ 3925366 h 5071335"/>
              <a:gd name="connsiteX946" fmla="*/ 4625042 w 13768337"/>
              <a:gd name="connsiteY946" fmla="*/ 3909478 h 5071335"/>
              <a:gd name="connsiteX947" fmla="*/ 4608345 w 13768337"/>
              <a:gd name="connsiteY947" fmla="*/ 3909335 h 5071335"/>
              <a:gd name="connsiteX948" fmla="*/ 4284447 w 13768337"/>
              <a:gd name="connsiteY948" fmla="*/ 3907667 h 5071335"/>
              <a:gd name="connsiteX949" fmla="*/ 4290470 w 13768337"/>
              <a:gd name="connsiteY949" fmla="*/ 3919791 h 5071335"/>
              <a:gd name="connsiteX950" fmla="*/ 4293251 w 13768337"/>
              <a:gd name="connsiteY950" fmla="*/ 3909478 h 5071335"/>
              <a:gd name="connsiteX951" fmla="*/ 4284447 w 13768337"/>
              <a:gd name="connsiteY951" fmla="*/ 3907667 h 5071335"/>
              <a:gd name="connsiteX952" fmla="*/ 5486026 w 13768337"/>
              <a:gd name="connsiteY952" fmla="*/ 3907109 h 5071335"/>
              <a:gd name="connsiteX953" fmla="*/ 5465794 w 13768337"/>
              <a:gd name="connsiteY953" fmla="*/ 3908483 h 5071335"/>
              <a:gd name="connsiteX954" fmla="*/ 5461803 w 13768337"/>
              <a:gd name="connsiteY954" fmla="*/ 3911904 h 5071335"/>
              <a:gd name="connsiteX955" fmla="*/ 5466436 w 13768337"/>
              <a:gd name="connsiteY955" fmla="*/ 3915754 h 5071335"/>
              <a:gd name="connsiteX956" fmla="*/ 5466510 w 13768337"/>
              <a:gd name="connsiteY956" fmla="*/ 3916025 h 5071335"/>
              <a:gd name="connsiteX957" fmla="*/ 5477976 w 13768337"/>
              <a:gd name="connsiteY957" fmla="*/ 3913921 h 5071335"/>
              <a:gd name="connsiteX958" fmla="*/ 5486026 w 13768337"/>
              <a:gd name="connsiteY958" fmla="*/ 3907109 h 5071335"/>
              <a:gd name="connsiteX959" fmla="*/ 5215741 w 13768337"/>
              <a:gd name="connsiteY959" fmla="*/ 3906887 h 5071335"/>
              <a:gd name="connsiteX960" fmla="*/ 5214839 w 13768337"/>
              <a:gd name="connsiteY960" fmla="*/ 3907133 h 5071335"/>
              <a:gd name="connsiteX961" fmla="*/ 5215764 w 13768337"/>
              <a:gd name="connsiteY961" fmla="*/ 3907015 h 5071335"/>
              <a:gd name="connsiteX962" fmla="*/ 5114433 w 13768337"/>
              <a:gd name="connsiteY962" fmla="*/ 3905663 h 5071335"/>
              <a:gd name="connsiteX963" fmla="*/ 5113002 w 13768337"/>
              <a:gd name="connsiteY963" fmla="*/ 3906208 h 5071335"/>
              <a:gd name="connsiteX964" fmla="*/ 5114384 w 13768337"/>
              <a:gd name="connsiteY964" fmla="*/ 3907109 h 5071335"/>
              <a:gd name="connsiteX965" fmla="*/ 5118093 w 13768337"/>
              <a:gd name="connsiteY965" fmla="*/ 3906135 h 5071335"/>
              <a:gd name="connsiteX966" fmla="*/ 5669996 w 13768337"/>
              <a:gd name="connsiteY966" fmla="*/ 3905298 h 5071335"/>
              <a:gd name="connsiteX967" fmla="*/ 5662116 w 13768337"/>
              <a:gd name="connsiteY967" fmla="*/ 3912406 h 5071335"/>
              <a:gd name="connsiteX968" fmla="*/ 5658874 w 13768337"/>
              <a:gd name="connsiteY968" fmla="*/ 3913241 h 5071335"/>
              <a:gd name="connsiteX969" fmla="*/ 5643118 w 13768337"/>
              <a:gd name="connsiteY969" fmla="*/ 3914775 h 5071335"/>
              <a:gd name="connsiteX970" fmla="*/ 5639874 w 13768337"/>
              <a:gd name="connsiteY970" fmla="*/ 3931080 h 5071335"/>
              <a:gd name="connsiteX971" fmla="*/ 5640338 w 13768337"/>
              <a:gd name="connsiteY971" fmla="*/ 3931359 h 5071335"/>
              <a:gd name="connsiteX972" fmla="*/ 5658874 w 13768337"/>
              <a:gd name="connsiteY972" fmla="*/ 3936097 h 5071335"/>
              <a:gd name="connsiteX973" fmla="*/ 5673238 w 13768337"/>
              <a:gd name="connsiteY973" fmla="*/ 3933450 h 5071335"/>
              <a:gd name="connsiteX974" fmla="*/ 5665825 w 13768337"/>
              <a:gd name="connsiteY974" fmla="*/ 3933450 h 5071335"/>
              <a:gd name="connsiteX975" fmla="*/ 5673238 w 13768337"/>
              <a:gd name="connsiteY975" fmla="*/ 3925784 h 5071335"/>
              <a:gd name="connsiteX976" fmla="*/ 5683896 w 13768337"/>
              <a:gd name="connsiteY976" fmla="*/ 3910872 h 5071335"/>
              <a:gd name="connsiteX977" fmla="*/ 5685750 w 13768337"/>
              <a:gd name="connsiteY977" fmla="*/ 3909478 h 5071335"/>
              <a:gd name="connsiteX978" fmla="*/ 5669996 w 13768337"/>
              <a:gd name="connsiteY978" fmla="*/ 3905298 h 5071335"/>
              <a:gd name="connsiteX979" fmla="*/ 5662116 w 13768337"/>
              <a:gd name="connsiteY979" fmla="*/ 3903765 h 5071335"/>
              <a:gd name="connsiteX980" fmla="*/ 5662116 w 13768337"/>
              <a:gd name="connsiteY980" fmla="*/ 3905298 h 5071335"/>
              <a:gd name="connsiteX981" fmla="*/ 5664898 w 13768337"/>
              <a:gd name="connsiteY981" fmla="*/ 3903765 h 5071335"/>
              <a:gd name="connsiteX982" fmla="*/ 5662116 w 13768337"/>
              <a:gd name="connsiteY982" fmla="*/ 3903765 h 5071335"/>
              <a:gd name="connsiteX983" fmla="*/ 5647289 w 13768337"/>
              <a:gd name="connsiteY983" fmla="*/ 3903765 h 5071335"/>
              <a:gd name="connsiteX984" fmla="*/ 5647289 w 13768337"/>
              <a:gd name="connsiteY984" fmla="*/ 3905298 h 5071335"/>
              <a:gd name="connsiteX985" fmla="*/ 5652386 w 13768337"/>
              <a:gd name="connsiteY985" fmla="*/ 3905298 h 5071335"/>
              <a:gd name="connsiteX986" fmla="*/ 5647289 w 13768337"/>
              <a:gd name="connsiteY986" fmla="*/ 3903765 h 5071335"/>
              <a:gd name="connsiteX987" fmla="*/ 4256179 w 13768337"/>
              <a:gd name="connsiteY987" fmla="*/ 3903765 h 5071335"/>
              <a:gd name="connsiteX988" fmla="*/ 4252008 w 13768337"/>
              <a:gd name="connsiteY988" fmla="*/ 3917980 h 5071335"/>
              <a:gd name="connsiteX989" fmla="*/ 4283520 w 13768337"/>
              <a:gd name="connsiteY989" fmla="*/ 3907667 h 5071335"/>
              <a:gd name="connsiteX990" fmla="*/ 4271009 w 13768337"/>
              <a:gd name="connsiteY990" fmla="*/ 3903765 h 5071335"/>
              <a:gd name="connsiteX991" fmla="*/ 4256179 w 13768337"/>
              <a:gd name="connsiteY991" fmla="*/ 3903765 h 5071335"/>
              <a:gd name="connsiteX992" fmla="*/ 5617168 w 13768337"/>
              <a:gd name="connsiteY992" fmla="*/ 3900559 h 5071335"/>
              <a:gd name="connsiteX993" fmla="*/ 5612534 w 13768337"/>
              <a:gd name="connsiteY993" fmla="*/ 3910872 h 5071335"/>
              <a:gd name="connsiteX994" fmla="*/ 5574999 w 13768337"/>
              <a:gd name="connsiteY994" fmla="*/ 3923554 h 5071335"/>
              <a:gd name="connsiteX995" fmla="*/ 5575463 w 13768337"/>
              <a:gd name="connsiteY995" fmla="*/ 3926899 h 5071335"/>
              <a:gd name="connsiteX996" fmla="*/ 5526806 w 13768337"/>
              <a:gd name="connsiteY996" fmla="*/ 3944599 h 5071335"/>
              <a:gd name="connsiteX997" fmla="*/ 5600485 w 13768337"/>
              <a:gd name="connsiteY997" fmla="*/ 3936097 h 5071335"/>
              <a:gd name="connsiteX998" fmla="*/ 5621338 w 13768337"/>
              <a:gd name="connsiteY998" fmla="*/ 3928989 h 5071335"/>
              <a:gd name="connsiteX999" fmla="*/ 5636167 w 13768337"/>
              <a:gd name="connsiteY999" fmla="*/ 3913241 h 5071335"/>
              <a:gd name="connsiteX1000" fmla="*/ 5611145 w 13768337"/>
              <a:gd name="connsiteY1000" fmla="*/ 3917422 h 5071335"/>
              <a:gd name="connsiteX1001" fmla="*/ 5612534 w 13768337"/>
              <a:gd name="connsiteY1001" fmla="*/ 3910872 h 5071335"/>
              <a:gd name="connsiteX1002" fmla="*/ 5640801 w 13768337"/>
              <a:gd name="connsiteY1002" fmla="*/ 3906692 h 5071335"/>
              <a:gd name="connsiteX1003" fmla="*/ 5639874 w 13768337"/>
              <a:gd name="connsiteY1003" fmla="*/ 3901117 h 5071335"/>
              <a:gd name="connsiteX1004" fmla="*/ 5617168 w 13768337"/>
              <a:gd name="connsiteY1004" fmla="*/ 3900559 h 5071335"/>
              <a:gd name="connsiteX1005" fmla="*/ 4918370 w 13768337"/>
              <a:gd name="connsiteY1005" fmla="*/ 3900142 h 5071335"/>
              <a:gd name="connsiteX1006" fmla="*/ 4960075 w 13768337"/>
              <a:gd name="connsiteY1006" fmla="*/ 3916029 h 5071335"/>
              <a:gd name="connsiteX1007" fmla="*/ 4954977 w 13768337"/>
              <a:gd name="connsiteY1007" fmla="*/ 3937630 h 5071335"/>
              <a:gd name="connsiteX1008" fmla="*/ 4977683 w 13768337"/>
              <a:gd name="connsiteY1008" fmla="*/ 3932474 h 5071335"/>
              <a:gd name="connsiteX1009" fmla="*/ 4980001 w 13768337"/>
              <a:gd name="connsiteY1009" fmla="*/ 3924530 h 5071335"/>
              <a:gd name="connsiteX1010" fmla="*/ 4979074 w 13768337"/>
              <a:gd name="connsiteY1010" fmla="*/ 3923137 h 5071335"/>
              <a:gd name="connsiteX1011" fmla="*/ 4980001 w 13768337"/>
              <a:gd name="connsiteY1011" fmla="*/ 3923554 h 5071335"/>
              <a:gd name="connsiteX1012" fmla="*/ 4982319 w 13768337"/>
              <a:gd name="connsiteY1012" fmla="*/ 3916029 h 5071335"/>
              <a:gd name="connsiteX1013" fmla="*/ 4918370 w 13768337"/>
              <a:gd name="connsiteY1013" fmla="*/ 3900142 h 5071335"/>
              <a:gd name="connsiteX1014" fmla="*/ 12593098 w 13768337"/>
              <a:gd name="connsiteY1014" fmla="*/ 3897912 h 5071335"/>
              <a:gd name="connsiteX1015" fmla="*/ 12588467 w 13768337"/>
              <a:gd name="connsiteY1015" fmla="*/ 3915611 h 5071335"/>
              <a:gd name="connsiteX1016" fmla="*/ 12553247 w 13768337"/>
              <a:gd name="connsiteY1016" fmla="*/ 3910036 h 5071335"/>
              <a:gd name="connsiteX1017" fmla="*/ 12593098 w 13768337"/>
              <a:gd name="connsiteY1017" fmla="*/ 3897912 h 5071335"/>
              <a:gd name="connsiteX1018" fmla="*/ 12604161 w 13768337"/>
              <a:gd name="connsiteY1018" fmla="*/ 3897455 h 5071335"/>
              <a:gd name="connsiteX1019" fmla="*/ 12625535 w 13768337"/>
              <a:gd name="connsiteY1019" fmla="*/ 3898748 h 5071335"/>
              <a:gd name="connsiteX1020" fmla="*/ 12607464 w 13768337"/>
              <a:gd name="connsiteY1020" fmla="*/ 3912685 h 5071335"/>
              <a:gd name="connsiteX1021" fmla="*/ 12595880 w 13768337"/>
              <a:gd name="connsiteY1021" fmla="*/ 3897912 h 5071335"/>
              <a:gd name="connsiteX1022" fmla="*/ 12604161 w 13768337"/>
              <a:gd name="connsiteY1022" fmla="*/ 3897455 h 5071335"/>
              <a:gd name="connsiteX1023" fmla="*/ 5695945 w 13768337"/>
              <a:gd name="connsiteY1023" fmla="*/ 3896379 h 5071335"/>
              <a:gd name="connsiteX1024" fmla="*/ 5692700 w 13768337"/>
              <a:gd name="connsiteY1024" fmla="*/ 3897912 h 5071335"/>
              <a:gd name="connsiteX1025" fmla="*/ 5698262 w 13768337"/>
              <a:gd name="connsiteY1025" fmla="*/ 3906692 h 5071335"/>
              <a:gd name="connsiteX1026" fmla="*/ 5699652 w 13768337"/>
              <a:gd name="connsiteY1026" fmla="*/ 3906692 h 5071335"/>
              <a:gd name="connsiteX1027" fmla="*/ 5695945 w 13768337"/>
              <a:gd name="connsiteY1027" fmla="*/ 3896379 h 5071335"/>
              <a:gd name="connsiteX1028" fmla="*/ 5231961 w 13768337"/>
              <a:gd name="connsiteY1028" fmla="*/ 3894762 h 5071335"/>
              <a:gd name="connsiteX1029" fmla="*/ 5238909 w 13768337"/>
              <a:gd name="connsiteY1029" fmla="*/ 3897411 h 5071335"/>
              <a:gd name="connsiteX1030" fmla="*/ 5236130 w 13768337"/>
              <a:gd name="connsiteY1030" fmla="*/ 3898386 h 5071335"/>
              <a:gd name="connsiteX1031" fmla="*/ 5234182 w 13768337"/>
              <a:gd name="connsiteY1031" fmla="*/ 3904648 h 5071335"/>
              <a:gd name="connsiteX1032" fmla="*/ 5263589 w 13768337"/>
              <a:gd name="connsiteY1032" fmla="*/ 3900869 h 5071335"/>
              <a:gd name="connsiteX1033" fmla="*/ 5254370 w 13768337"/>
              <a:gd name="connsiteY1033" fmla="*/ 3898031 h 5071335"/>
              <a:gd name="connsiteX1034" fmla="*/ 5231961 w 13768337"/>
              <a:gd name="connsiteY1034" fmla="*/ 3894762 h 5071335"/>
              <a:gd name="connsiteX1035" fmla="*/ 5082875 w 13768337"/>
              <a:gd name="connsiteY1035" fmla="*/ 3894567 h 5071335"/>
              <a:gd name="connsiteX1036" fmla="*/ 5069899 w 13768337"/>
              <a:gd name="connsiteY1036" fmla="*/ 3898748 h 5071335"/>
              <a:gd name="connsiteX1037" fmla="*/ 5069899 w 13768337"/>
              <a:gd name="connsiteY1037" fmla="*/ 3903765 h 5071335"/>
              <a:gd name="connsiteX1038" fmla="*/ 5062022 w 13768337"/>
              <a:gd name="connsiteY1038" fmla="*/ 3900142 h 5071335"/>
              <a:gd name="connsiteX1039" fmla="*/ 5048120 w 13768337"/>
              <a:gd name="connsiteY1039" fmla="*/ 3911290 h 5071335"/>
              <a:gd name="connsiteX1040" fmla="*/ 5060631 w 13768337"/>
              <a:gd name="connsiteY1040" fmla="*/ 3904322 h 5071335"/>
              <a:gd name="connsiteX1041" fmla="*/ 5061558 w 13768337"/>
              <a:gd name="connsiteY1041" fmla="*/ 3914217 h 5071335"/>
              <a:gd name="connsiteX1042" fmla="*/ 5068046 w 13768337"/>
              <a:gd name="connsiteY1042" fmla="*/ 3913659 h 5071335"/>
              <a:gd name="connsiteX1043" fmla="*/ 5075403 w 13768337"/>
              <a:gd name="connsiteY1043" fmla="*/ 3909792 h 5071335"/>
              <a:gd name="connsiteX1044" fmla="*/ 5081883 w 13768337"/>
              <a:gd name="connsiteY1044" fmla="*/ 3913368 h 5071335"/>
              <a:gd name="connsiteX1045" fmla="*/ 5083616 w 13768337"/>
              <a:gd name="connsiteY1045" fmla="*/ 3911033 h 5071335"/>
              <a:gd name="connsiteX1046" fmla="*/ 5086122 w 13768337"/>
              <a:gd name="connsiteY1046" fmla="*/ 3909620 h 5071335"/>
              <a:gd name="connsiteX1047" fmla="*/ 5084960 w 13768337"/>
              <a:gd name="connsiteY1047" fmla="*/ 3904531 h 5071335"/>
              <a:gd name="connsiteX1048" fmla="*/ 5082875 w 13768337"/>
              <a:gd name="connsiteY1048" fmla="*/ 3894567 h 5071335"/>
              <a:gd name="connsiteX1049" fmla="*/ 4991585 w 13768337"/>
              <a:gd name="connsiteY1049" fmla="*/ 3891907 h 5071335"/>
              <a:gd name="connsiteX1050" fmla="*/ 4991412 w 13768337"/>
              <a:gd name="connsiteY1050" fmla="*/ 3894961 h 5071335"/>
              <a:gd name="connsiteX1051" fmla="*/ 4995712 w 13768337"/>
              <a:gd name="connsiteY1051" fmla="*/ 3900011 h 5071335"/>
              <a:gd name="connsiteX1052" fmla="*/ 5762674 w 13768337"/>
              <a:gd name="connsiteY1052" fmla="*/ 3891641 h 5071335"/>
              <a:gd name="connsiteX1053" fmla="*/ 5754333 w 13768337"/>
              <a:gd name="connsiteY1053" fmla="*/ 3894567 h 5071335"/>
              <a:gd name="connsiteX1054" fmla="*/ 5762211 w 13768337"/>
              <a:gd name="connsiteY1054" fmla="*/ 3903765 h 5071335"/>
              <a:gd name="connsiteX1055" fmla="*/ 5768698 w 13768337"/>
              <a:gd name="connsiteY1055" fmla="*/ 3903765 h 5071335"/>
              <a:gd name="connsiteX1056" fmla="*/ 5769160 w 13768337"/>
              <a:gd name="connsiteY1056" fmla="*/ 3899166 h 5071335"/>
              <a:gd name="connsiteX1057" fmla="*/ 5767307 w 13768337"/>
              <a:gd name="connsiteY1057" fmla="*/ 3897354 h 5071335"/>
              <a:gd name="connsiteX1058" fmla="*/ 5771015 w 13768337"/>
              <a:gd name="connsiteY1058" fmla="*/ 3894985 h 5071335"/>
              <a:gd name="connsiteX1059" fmla="*/ 5771941 w 13768337"/>
              <a:gd name="connsiteY1059" fmla="*/ 3893173 h 5071335"/>
              <a:gd name="connsiteX1060" fmla="*/ 5762674 w 13768337"/>
              <a:gd name="connsiteY1060" fmla="*/ 3891641 h 5071335"/>
              <a:gd name="connsiteX1061" fmla="*/ 3581477 w 13768337"/>
              <a:gd name="connsiteY1061" fmla="*/ 3886624 h 5071335"/>
              <a:gd name="connsiteX1062" fmla="*/ 3590746 w 13768337"/>
              <a:gd name="connsiteY1062" fmla="*/ 3913241 h 5071335"/>
              <a:gd name="connsiteX1063" fmla="*/ 3576843 w 13768337"/>
              <a:gd name="connsiteY1063" fmla="*/ 3923972 h 5071335"/>
              <a:gd name="connsiteX1064" fmla="*/ 3559235 w 13768337"/>
              <a:gd name="connsiteY1064" fmla="*/ 3902372 h 5071335"/>
              <a:gd name="connsiteX1065" fmla="*/ 3581477 w 13768337"/>
              <a:gd name="connsiteY1065" fmla="*/ 3886624 h 5071335"/>
              <a:gd name="connsiteX1066" fmla="*/ 5872499 w 13768337"/>
              <a:gd name="connsiteY1066" fmla="*/ 3885091 h 5071335"/>
              <a:gd name="connsiteX1067" fmla="*/ 5865548 w 13768337"/>
              <a:gd name="connsiteY1067" fmla="*/ 3888993 h 5071335"/>
              <a:gd name="connsiteX1068" fmla="*/ 5865083 w 13768337"/>
              <a:gd name="connsiteY1068" fmla="*/ 3885648 h 5071335"/>
              <a:gd name="connsiteX1069" fmla="*/ 5859522 w 13768337"/>
              <a:gd name="connsiteY1069" fmla="*/ 3890804 h 5071335"/>
              <a:gd name="connsiteX1070" fmla="*/ 5876668 w 13768337"/>
              <a:gd name="connsiteY1070" fmla="*/ 3894985 h 5071335"/>
              <a:gd name="connsiteX1071" fmla="*/ 5893350 w 13768337"/>
              <a:gd name="connsiteY1071" fmla="*/ 3890804 h 5071335"/>
              <a:gd name="connsiteX1072" fmla="*/ 5872499 w 13768337"/>
              <a:gd name="connsiteY1072" fmla="*/ 3885091 h 5071335"/>
              <a:gd name="connsiteX1073" fmla="*/ 5817354 w 13768337"/>
              <a:gd name="connsiteY1073" fmla="*/ 3883697 h 5071335"/>
              <a:gd name="connsiteX1074" fmla="*/ 5809476 w 13768337"/>
              <a:gd name="connsiteY1074" fmla="*/ 3893173 h 5071335"/>
              <a:gd name="connsiteX1075" fmla="*/ 5829865 w 13768337"/>
              <a:gd name="connsiteY1075" fmla="*/ 3890804 h 5071335"/>
              <a:gd name="connsiteX1076" fmla="*/ 5831256 w 13768337"/>
              <a:gd name="connsiteY1076" fmla="*/ 3889272 h 5071335"/>
              <a:gd name="connsiteX1077" fmla="*/ 5813647 w 13768337"/>
              <a:gd name="connsiteY1077" fmla="*/ 3888017 h 5071335"/>
              <a:gd name="connsiteX1078" fmla="*/ 5820135 w 13768337"/>
              <a:gd name="connsiteY1078" fmla="*/ 3884254 h 5071335"/>
              <a:gd name="connsiteX1079" fmla="*/ 5817354 w 13768337"/>
              <a:gd name="connsiteY1079" fmla="*/ 3883697 h 5071335"/>
              <a:gd name="connsiteX1080" fmla="*/ 4086035 w 13768337"/>
              <a:gd name="connsiteY1080" fmla="*/ 3881522 h 5071335"/>
              <a:gd name="connsiteX1081" fmla="*/ 4073140 w 13768337"/>
              <a:gd name="connsiteY1081" fmla="*/ 3888017 h 5071335"/>
              <a:gd name="connsiteX1082" fmla="*/ 4106283 w 13768337"/>
              <a:gd name="connsiteY1082" fmla="*/ 3890969 h 5071335"/>
              <a:gd name="connsiteX1083" fmla="*/ 4102553 w 13768337"/>
              <a:gd name="connsiteY1083" fmla="*/ 3888108 h 5071335"/>
              <a:gd name="connsiteX1084" fmla="*/ 4087378 w 13768337"/>
              <a:gd name="connsiteY1084" fmla="*/ 3887098 h 5071335"/>
              <a:gd name="connsiteX1085" fmla="*/ 6368792 w 13768337"/>
              <a:gd name="connsiteY1085" fmla="*/ 3880074 h 5071335"/>
              <a:gd name="connsiteX1086" fmla="*/ 6362770 w 13768337"/>
              <a:gd name="connsiteY1086" fmla="*/ 3880492 h 5071335"/>
              <a:gd name="connsiteX1087" fmla="*/ 6368792 w 13768337"/>
              <a:gd name="connsiteY1087" fmla="*/ 3881328 h 5071335"/>
              <a:gd name="connsiteX1088" fmla="*/ 6368792 w 13768337"/>
              <a:gd name="connsiteY1088" fmla="*/ 3880074 h 5071335"/>
              <a:gd name="connsiteX1089" fmla="*/ 4977683 w 13768337"/>
              <a:gd name="connsiteY1089" fmla="*/ 3880074 h 5071335"/>
              <a:gd name="connsiteX1090" fmla="*/ 4950345 w 13768337"/>
              <a:gd name="connsiteY1090" fmla="*/ 3894567 h 5071335"/>
              <a:gd name="connsiteX1091" fmla="*/ 4982319 w 13768337"/>
              <a:gd name="connsiteY1091" fmla="*/ 3889272 h 5071335"/>
              <a:gd name="connsiteX1092" fmla="*/ 4977683 w 13768337"/>
              <a:gd name="connsiteY1092" fmla="*/ 3880074 h 5071335"/>
              <a:gd name="connsiteX1093" fmla="*/ 5020315 w 13768337"/>
              <a:gd name="connsiteY1093" fmla="*/ 3877147 h 5071335"/>
              <a:gd name="connsiteX1094" fmla="*/ 5014293 w 13768337"/>
              <a:gd name="connsiteY1094" fmla="*/ 3880074 h 5071335"/>
              <a:gd name="connsiteX1095" fmla="*/ 5016203 w 13768337"/>
              <a:gd name="connsiteY1095" fmla="*/ 3889829 h 5071335"/>
              <a:gd name="connsiteX1096" fmla="*/ 5015134 w 13768337"/>
              <a:gd name="connsiteY1096" fmla="*/ 3892482 h 5071335"/>
              <a:gd name="connsiteX1097" fmla="*/ 5019262 w 13768337"/>
              <a:gd name="connsiteY1097" fmla="*/ 3895041 h 5071335"/>
              <a:gd name="connsiteX1098" fmla="*/ 5007157 w 13768337"/>
              <a:gd name="connsiteY1098" fmla="*/ 3894292 h 5071335"/>
              <a:gd name="connsiteX1099" fmla="*/ 5001646 w 13768337"/>
              <a:gd name="connsiteY1099" fmla="*/ 3893405 h 5071335"/>
              <a:gd name="connsiteX1100" fmla="*/ 4999099 w 13768337"/>
              <a:gd name="connsiteY1100" fmla="*/ 3894001 h 5071335"/>
              <a:gd name="connsiteX1101" fmla="*/ 4996187 w 13768337"/>
              <a:gd name="connsiteY1101" fmla="*/ 3900541 h 5071335"/>
              <a:gd name="connsiteX1102" fmla="*/ 5000911 w 13768337"/>
              <a:gd name="connsiteY1102" fmla="*/ 3905470 h 5071335"/>
              <a:gd name="connsiteX1103" fmla="*/ 5001317 w 13768337"/>
              <a:gd name="connsiteY1103" fmla="*/ 3916029 h 5071335"/>
              <a:gd name="connsiteX1104" fmla="*/ 4987416 w 13768337"/>
              <a:gd name="connsiteY1104" fmla="*/ 3916029 h 5071335"/>
              <a:gd name="connsiteX1105" fmla="*/ 5014293 w 13768337"/>
              <a:gd name="connsiteY1105" fmla="*/ 3921603 h 5071335"/>
              <a:gd name="connsiteX1106" fmla="*/ 5033291 w 13768337"/>
              <a:gd name="connsiteY1106" fmla="*/ 3900142 h 5071335"/>
              <a:gd name="connsiteX1107" fmla="*/ 5031900 w 13768337"/>
              <a:gd name="connsiteY1107" fmla="*/ 3894567 h 5071335"/>
              <a:gd name="connsiteX1108" fmla="*/ 5023561 w 13768337"/>
              <a:gd name="connsiteY1108" fmla="*/ 3893173 h 5071335"/>
              <a:gd name="connsiteX1109" fmla="*/ 5033291 w 13768337"/>
              <a:gd name="connsiteY1109" fmla="*/ 3888017 h 5071335"/>
              <a:gd name="connsiteX1110" fmla="*/ 5035145 w 13768337"/>
              <a:gd name="connsiteY1110" fmla="*/ 3882443 h 5071335"/>
              <a:gd name="connsiteX1111" fmla="*/ 5020315 w 13768337"/>
              <a:gd name="connsiteY1111" fmla="*/ 3877147 h 5071335"/>
              <a:gd name="connsiteX1112" fmla="*/ 5861839 w 13768337"/>
              <a:gd name="connsiteY1112" fmla="*/ 3876728 h 5071335"/>
              <a:gd name="connsiteX1113" fmla="*/ 5859522 w 13768337"/>
              <a:gd name="connsiteY1113" fmla="*/ 3879516 h 5071335"/>
              <a:gd name="connsiteX1114" fmla="*/ 5864620 w 13768337"/>
              <a:gd name="connsiteY1114" fmla="*/ 3881328 h 5071335"/>
              <a:gd name="connsiteX1115" fmla="*/ 5861839 w 13768337"/>
              <a:gd name="connsiteY1115" fmla="*/ 3876728 h 5071335"/>
              <a:gd name="connsiteX1116" fmla="*/ 4425318 w 13768337"/>
              <a:gd name="connsiteY1116" fmla="*/ 3874778 h 5071335"/>
              <a:gd name="connsiteX1117" fmla="*/ 4395197 w 13768337"/>
              <a:gd name="connsiteY1117" fmla="*/ 3898748 h 5071335"/>
              <a:gd name="connsiteX1118" fmla="*/ 4523095 w 13768337"/>
              <a:gd name="connsiteY1118" fmla="*/ 3898748 h 5071335"/>
              <a:gd name="connsiteX1119" fmla="*/ 4476755 w 13768337"/>
              <a:gd name="connsiteY1119" fmla="*/ 3883697 h 5071335"/>
              <a:gd name="connsiteX1120" fmla="*/ 4463779 w 13768337"/>
              <a:gd name="connsiteY1120" fmla="*/ 3898748 h 5071335"/>
              <a:gd name="connsiteX1121" fmla="*/ 4422537 w 13768337"/>
              <a:gd name="connsiteY1121" fmla="*/ 3888017 h 5071335"/>
              <a:gd name="connsiteX1122" fmla="*/ 4436441 w 13768337"/>
              <a:gd name="connsiteY1122" fmla="*/ 3878680 h 5071335"/>
              <a:gd name="connsiteX1123" fmla="*/ 4425318 w 13768337"/>
              <a:gd name="connsiteY1123" fmla="*/ 3874778 h 5071335"/>
              <a:gd name="connsiteX1124" fmla="*/ 5213981 w 13768337"/>
              <a:gd name="connsiteY1124" fmla="*/ 3873041 h 5071335"/>
              <a:gd name="connsiteX1125" fmla="*/ 5214814 w 13768337"/>
              <a:gd name="connsiteY1125" fmla="*/ 3875809 h 5071335"/>
              <a:gd name="connsiteX1126" fmla="*/ 5216872 w 13768337"/>
              <a:gd name="connsiteY1126" fmla="*/ 3873071 h 5071335"/>
              <a:gd name="connsiteX1127" fmla="*/ 6423474 w 13768337"/>
              <a:gd name="connsiteY1127" fmla="*/ 3871154 h 5071335"/>
              <a:gd name="connsiteX1128" fmla="*/ 6415596 w 13768337"/>
              <a:gd name="connsiteY1128" fmla="*/ 3872409 h 5071335"/>
              <a:gd name="connsiteX1129" fmla="*/ 6405864 w 13768337"/>
              <a:gd name="connsiteY1129" fmla="*/ 3879516 h 5071335"/>
              <a:gd name="connsiteX1130" fmla="*/ 6409108 w 13768337"/>
              <a:gd name="connsiteY1130" fmla="*/ 3882443 h 5071335"/>
              <a:gd name="connsiteX1131" fmla="*/ 6417912 w 13768337"/>
              <a:gd name="connsiteY1131" fmla="*/ 3880074 h 5071335"/>
              <a:gd name="connsiteX1132" fmla="*/ 6415596 w 13768337"/>
              <a:gd name="connsiteY1132" fmla="*/ 3884812 h 5071335"/>
              <a:gd name="connsiteX1133" fmla="*/ 6426254 w 13768337"/>
              <a:gd name="connsiteY1133" fmla="*/ 3878680 h 5071335"/>
              <a:gd name="connsiteX1134" fmla="*/ 6423474 w 13768337"/>
              <a:gd name="connsiteY1134" fmla="*/ 3871154 h 5071335"/>
              <a:gd name="connsiteX1135" fmla="*/ 5136502 w 13768337"/>
              <a:gd name="connsiteY1135" fmla="*/ 3870375 h 5071335"/>
              <a:gd name="connsiteX1136" fmla="*/ 5115822 w 13768337"/>
              <a:gd name="connsiteY1136" fmla="*/ 3876803 h 5071335"/>
              <a:gd name="connsiteX1137" fmla="*/ 5114745 w 13768337"/>
              <a:gd name="connsiteY1137" fmla="*/ 3878883 h 5071335"/>
              <a:gd name="connsiteX1138" fmla="*/ 5117628 w 13768337"/>
              <a:gd name="connsiteY1138" fmla="*/ 3883906 h 5071335"/>
              <a:gd name="connsiteX1139" fmla="*/ 5118326 w 13768337"/>
              <a:gd name="connsiteY1139" fmla="*/ 3888787 h 5071335"/>
              <a:gd name="connsiteX1140" fmla="*/ 5125488 w 13768337"/>
              <a:gd name="connsiteY1140" fmla="*/ 3885772 h 5071335"/>
              <a:gd name="connsiteX1141" fmla="*/ 5131403 w 13768337"/>
              <a:gd name="connsiteY1141" fmla="*/ 3886680 h 5071335"/>
              <a:gd name="connsiteX1142" fmla="*/ 5136502 w 13768337"/>
              <a:gd name="connsiteY1142" fmla="*/ 3870375 h 5071335"/>
              <a:gd name="connsiteX1143" fmla="*/ 4116070 w 13768337"/>
              <a:gd name="connsiteY1143" fmla="*/ 3869239 h 5071335"/>
              <a:gd name="connsiteX1144" fmla="*/ 4110808 w 13768337"/>
              <a:gd name="connsiteY1144" fmla="*/ 3870686 h 5071335"/>
              <a:gd name="connsiteX1145" fmla="*/ 4112864 w 13768337"/>
              <a:gd name="connsiteY1145" fmla="*/ 3872604 h 5071335"/>
              <a:gd name="connsiteX1146" fmla="*/ 5028657 w 13768337"/>
              <a:gd name="connsiteY1146" fmla="*/ 3869203 h 5071335"/>
              <a:gd name="connsiteX1147" fmla="*/ 5025414 w 13768337"/>
              <a:gd name="connsiteY1147" fmla="*/ 3872966 h 5071335"/>
              <a:gd name="connsiteX1148" fmla="*/ 5035145 w 13768337"/>
              <a:gd name="connsiteY1148" fmla="*/ 3872966 h 5071335"/>
              <a:gd name="connsiteX1149" fmla="*/ 5028657 w 13768337"/>
              <a:gd name="connsiteY1149" fmla="*/ 3869203 h 5071335"/>
              <a:gd name="connsiteX1150" fmla="*/ 6096317 w 13768337"/>
              <a:gd name="connsiteY1150" fmla="*/ 3865859 h 5071335"/>
              <a:gd name="connsiteX1151" fmla="*/ 6058783 w 13768337"/>
              <a:gd name="connsiteY1151" fmla="*/ 3871154 h 5071335"/>
              <a:gd name="connsiteX1152" fmla="*/ 6065269 w 13768337"/>
              <a:gd name="connsiteY1152" fmla="*/ 3883697 h 5071335"/>
              <a:gd name="connsiteX1153" fmla="*/ 6062954 w 13768337"/>
              <a:gd name="connsiteY1153" fmla="*/ 3885648 h 5071335"/>
              <a:gd name="connsiteX1154" fmla="*/ 6096317 w 13768337"/>
              <a:gd name="connsiteY1154" fmla="*/ 3865859 h 5071335"/>
              <a:gd name="connsiteX1155" fmla="*/ 6299747 w 13768337"/>
              <a:gd name="connsiteY1155" fmla="*/ 3863490 h 5071335"/>
              <a:gd name="connsiteX1156" fmla="*/ 6275650 w 13768337"/>
              <a:gd name="connsiteY1156" fmla="*/ 3871572 h 5071335"/>
              <a:gd name="connsiteX1157" fmla="*/ 6302527 w 13768337"/>
              <a:gd name="connsiteY1157" fmla="*/ 3871154 h 5071335"/>
              <a:gd name="connsiteX1158" fmla="*/ 6299747 w 13768337"/>
              <a:gd name="connsiteY1158" fmla="*/ 3863490 h 5071335"/>
              <a:gd name="connsiteX1159" fmla="*/ 6669998 w 13768337"/>
              <a:gd name="connsiteY1159" fmla="*/ 3862653 h 5071335"/>
              <a:gd name="connsiteX1160" fmla="*/ 6668664 w 13768337"/>
              <a:gd name="connsiteY1160" fmla="*/ 3862855 h 5071335"/>
              <a:gd name="connsiteX1161" fmla="*/ 6660730 w 13768337"/>
              <a:gd name="connsiteY1161" fmla="*/ 3865190 h 5071335"/>
              <a:gd name="connsiteX1162" fmla="*/ 6660730 w 13768337"/>
              <a:gd name="connsiteY1162" fmla="*/ 3865859 h 5071335"/>
              <a:gd name="connsiteX1163" fmla="*/ 6670462 w 13768337"/>
              <a:gd name="connsiteY1163" fmla="*/ 3863210 h 5071335"/>
              <a:gd name="connsiteX1164" fmla="*/ 6669998 w 13768337"/>
              <a:gd name="connsiteY1164" fmla="*/ 3862653 h 5071335"/>
              <a:gd name="connsiteX1165" fmla="*/ 6269626 w 13768337"/>
              <a:gd name="connsiteY1165" fmla="*/ 3862235 h 5071335"/>
              <a:gd name="connsiteX1166" fmla="*/ 6257115 w 13768337"/>
              <a:gd name="connsiteY1166" fmla="*/ 3872409 h 5071335"/>
              <a:gd name="connsiteX1167" fmla="*/ 6272407 w 13768337"/>
              <a:gd name="connsiteY1167" fmla="*/ 3872130 h 5071335"/>
              <a:gd name="connsiteX1168" fmla="*/ 6269626 w 13768337"/>
              <a:gd name="connsiteY1168" fmla="*/ 3862235 h 5071335"/>
              <a:gd name="connsiteX1169" fmla="*/ 6451277 w 13768337"/>
              <a:gd name="connsiteY1169" fmla="*/ 3857078 h 5071335"/>
              <a:gd name="connsiteX1170" fmla="*/ 6451277 w 13768337"/>
              <a:gd name="connsiteY1170" fmla="*/ 3860285 h 5071335"/>
              <a:gd name="connsiteX1171" fmla="*/ 6453593 w 13768337"/>
              <a:gd name="connsiteY1171" fmla="*/ 3862235 h 5071335"/>
              <a:gd name="connsiteX1172" fmla="*/ 6459154 w 13768337"/>
              <a:gd name="connsiteY1172" fmla="*/ 3859309 h 5071335"/>
              <a:gd name="connsiteX1173" fmla="*/ 6456374 w 13768337"/>
              <a:gd name="connsiteY1173" fmla="*/ 3857078 h 5071335"/>
              <a:gd name="connsiteX1174" fmla="*/ 6455910 w 13768337"/>
              <a:gd name="connsiteY1174" fmla="*/ 3857078 h 5071335"/>
              <a:gd name="connsiteX1175" fmla="*/ 6451277 w 13768337"/>
              <a:gd name="connsiteY1175" fmla="*/ 3857078 h 5071335"/>
              <a:gd name="connsiteX1176" fmla="*/ 4076743 w 13768337"/>
              <a:gd name="connsiteY1176" fmla="*/ 3856615 h 5071335"/>
              <a:gd name="connsiteX1177" fmla="*/ 4068505 w 13768337"/>
              <a:gd name="connsiteY1177" fmla="*/ 3857078 h 5071335"/>
              <a:gd name="connsiteX1178" fmla="*/ 4078648 w 13768337"/>
              <a:gd name="connsiteY1178" fmla="*/ 3866919 h 5071335"/>
              <a:gd name="connsiteX1179" fmla="*/ 4080635 w 13768337"/>
              <a:gd name="connsiteY1179" fmla="*/ 3866364 h 5071335"/>
              <a:gd name="connsiteX1180" fmla="*/ 4079905 w 13768337"/>
              <a:gd name="connsiteY1180" fmla="*/ 3864904 h 5071335"/>
              <a:gd name="connsiteX1181" fmla="*/ 4076756 w 13768337"/>
              <a:gd name="connsiteY1181" fmla="*/ 3856956 h 5071335"/>
              <a:gd name="connsiteX1182" fmla="*/ 5209716 w 13768337"/>
              <a:gd name="connsiteY1182" fmla="*/ 3855881 h 5071335"/>
              <a:gd name="connsiteX1183" fmla="*/ 5206936 w 13768337"/>
              <a:gd name="connsiteY1183" fmla="*/ 3860062 h 5071335"/>
              <a:gd name="connsiteX1184" fmla="*/ 5209131 w 13768337"/>
              <a:gd name="connsiteY1184" fmla="*/ 3860062 h 5071335"/>
              <a:gd name="connsiteX1185" fmla="*/ 5213401 w 13768337"/>
              <a:gd name="connsiteY1185" fmla="*/ 3858774 h 5071335"/>
              <a:gd name="connsiteX1186" fmla="*/ 6188068 w 13768337"/>
              <a:gd name="connsiteY1186" fmla="*/ 3855685 h 5071335"/>
              <a:gd name="connsiteX1187" fmla="*/ 6170460 w 13768337"/>
              <a:gd name="connsiteY1187" fmla="*/ 3856104 h 5071335"/>
              <a:gd name="connsiteX1188" fmla="*/ 6153314 w 13768337"/>
              <a:gd name="connsiteY1188" fmla="*/ 3867949 h 5071335"/>
              <a:gd name="connsiteX1189" fmla="*/ 6155167 w 13768337"/>
              <a:gd name="connsiteY1189" fmla="*/ 3856661 h 5071335"/>
              <a:gd name="connsiteX1190" fmla="*/ 6097244 w 13768337"/>
              <a:gd name="connsiteY1190" fmla="*/ 3880909 h 5071335"/>
              <a:gd name="connsiteX1191" fmla="*/ 6188996 w 13768337"/>
              <a:gd name="connsiteY1191" fmla="*/ 3869761 h 5071335"/>
              <a:gd name="connsiteX1192" fmla="*/ 6176948 w 13768337"/>
              <a:gd name="connsiteY1192" fmla="*/ 3863490 h 5071335"/>
              <a:gd name="connsiteX1193" fmla="*/ 6188068 w 13768337"/>
              <a:gd name="connsiteY1193" fmla="*/ 3855685 h 5071335"/>
              <a:gd name="connsiteX1194" fmla="*/ 5060169 w 13768337"/>
              <a:gd name="connsiteY1194" fmla="*/ 3854582 h 5071335"/>
              <a:gd name="connsiteX1195" fmla="*/ 5060169 w 13768337"/>
              <a:gd name="connsiteY1195" fmla="*/ 3860195 h 5071335"/>
              <a:gd name="connsiteX1196" fmla="*/ 5061431 w 13768337"/>
              <a:gd name="connsiteY1196" fmla="*/ 3860062 h 5071335"/>
              <a:gd name="connsiteX1197" fmla="*/ 12518336 w 13768337"/>
              <a:gd name="connsiteY1197" fmla="*/ 3850928 h 5071335"/>
              <a:gd name="connsiteX1198" fmla="*/ 12526215 w 13768337"/>
              <a:gd name="connsiteY1198" fmla="*/ 3851207 h 5071335"/>
              <a:gd name="connsiteX1199" fmla="*/ 12579505 w 13768337"/>
              <a:gd name="connsiteY1199" fmla="*/ 3859011 h 5071335"/>
              <a:gd name="connsiteX1200" fmla="*/ 12510458 w 13768337"/>
              <a:gd name="connsiteY1200" fmla="*/ 3853437 h 5071335"/>
              <a:gd name="connsiteX1201" fmla="*/ 12518336 w 13768337"/>
              <a:gd name="connsiteY1201" fmla="*/ 3850928 h 5071335"/>
              <a:gd name="connsiteX1202" fmla="*/ 4706136 w 13768337"/>
              <a:gd name="connsiteY1202" fmla="*/ 3850528 h 5071335"/>
              <a:gd name="connsiteX1203" fmla="*/ 4724207 w 13768337"/>
              <a:gd name="connsiteY1203" fmla="*/ 3850528 h 5071335"/>
              <a:gd name="connsiteX1204" fmla="*/ 4724207 w 13768337"/>
              <a:gd name="connsiteY1204" fmla="*/ 3866973 h 5071335"/>
              <a:gd name="connsiteX1205" fmla="*/ 4706136 w 13768337"/>
              <a:gd name="connsiteY1205" fmla="*/ 3850528 h 5071335"/>
              <a:gd name="connsiteX1206" fmla="*/ 6412352 w 13768337"/>
              <a:gd name="connsiteY1206" fmla="*/ 3847184 h 5071335"/>
              <a:gd name="connsiteX1207" fmla="*/ 6411425 w 13768337"/>
              <a:gd name="connsiteY1207" fmla="*/ 3850111 h 5071335"/>
              <a:gd name="connsiteX1208" fmla="*/ 6415596 w 13768337"/>
              <a:gd name="connsiteY1208" fmla="*/ 3848159 h 5071335"/>
              <a:gd name="connsiteX1209" fmla="*/ 6412352 w 13768337"/>
              <a:gd name="connsiteY1209" fmla="*/ 3847184 h 5071335"/>
              <a:gd name="connsiteX1210" fmla="*/ 5408757 w 13768337"/>
              <a:gd name="connsiteY1210" fmla="*/ 3846159 h 5071335"/>
              <a:gd name="connsiteX1211" fmla="*/ 5408229 w 13768337"/>
              <a:gd name="connsiteY1211" fmla="*/ 3849080 h 5071335"/>
              <a:gd name="connsiteX1212" fmla="*/ 5408440 w 13768337"/>
              <a:gd name="connsiteY1212" fmla="*/ 3849028 h 5071335"/>
              <a:gd name="connsiteX1213" fmla="*/ 6247847 w 13768337"/>
              <a:gd name="connsiteY1213" fmla="*/ 3843004 h 5071335"/>
              <a:gd name="connsiteX1214" fmla="*/ 6221433 w 13768337"/>
              <a:gd name="connsiteY1214" fmla="*/ 3854709 h 5071335"/>
              <a:gd name="connsiteX1215" fmla="*/ 6213092 w 13768337"/>
              <a:gd name="connsiteY1215" fmla="*/ 3854709 h 5071335"/>
              <a:gd name="connsiteX1216" fmla="*/ 6213556 w 13768337"/>
              <a:gd name="connsiteY1216" fmla="*/ 3869203 h 5071335"/>
              <a:gd name="connsiteX1217" fmla="*/ 6214019 w 13768337"/>
              <a:gd name="connsiteY1217" fmla="*/ 3874778 h 5071335"/>
              <a:gd name="connsiteX1218" fmla="*/ 6245066 w 13768337"/>
              <a:gd name="connsiteY1218" fmla="*/ 3873523 h 5071335"/>
              <a:gd name="connsiteX1219" fmla="*/ 6237189 w 13768337"/>
              <a:gd name="connsiteY1219" fmla="*/ 3872409 h 5071335"/>
              <a:gd name="connsiteX1220" fmla="*/ 6269163 w 13768337"/>
              <a:gd name="connsiteY1220" fmla="*/ 3859309 h 5071335"/>
              <a:gd name="connsiteX1221" fmla="*/ 6247847 w 13768337"/>
              <a:gd name="connsiteY1221" fmla="*/ 3843004 h 5071335"/>
              <a:gd name="connsiteX1222" fmla="*/ 5735670 w 13768337"/>
              <a:gd name="connsiteY1222" fmla="*/ 3842502 h 5071335"/>
              <a:gd name="connsiteX1223" fmla="*/ 5716264 w 13768337"/>
              <a:gd name="connsiteY1223" fmla="*/ 3849593 h 5071335"/>
              <a:gd name="connsiteX1224" fmla="*/ 5714344 w 13768337"/>
              <a:gd name="connsiteY1224" fmla="*/ 3851598 h 5071335"/>
              <a:gd name="connsiteX1225" fmla="*/ 5753030 w 13768337"/>
              <a:gd name="connsiteY1225" fmla="*/ 3844734 h 5071335"/>
              <a:gd name="connsiteX1226" fmla="*/ 5749108 w 13768337"/>
              <a:gd name="connsiteY1226" fmla="*/ 3842641 h 5071335"/>
              <a:gd name="connsiteX1227" fmla="*/ 5735670 w 13768337"/>
              <a:gd name="connsiteY1227" fmla="*/ 3842502 h 5071335"/>
              <a:gd name="connsiteX1228" fmla="*/ 5061431 w 13768337"/>
              <a:gd name="connsiteY1228" fmla="*/ 3839994 h 5071335"/>
              <a:gd name="connsiteX1229" fmla="*/ 5048920 w 13768337"/>
              <a:gd name="connsiteY1229" fmla="*/ 3845011 h 5071335"/>
              <a:gd name="connsiteX1230" fmla="*/ 5049879 w 13768337"/>
              <a:gd name="connsiteY1230" fmla="*/ 3845671 h 5071335"/>
              <a:gd name="connsiteX1231" fmla="*/ 5060169 w 13768337"/>
              <a:gd name="connsiteY1231" fmla="*/ 3842167 h 5071335"/>
              <a:gd name="connsiteX1232" fmla="*/ 5060169 w 13768337"/>
              <a:gd name="connsiteY1232" fmla="*/ 3844931 h 5071335"/>
              <a:gd name="connsiteX1233" fmla="*/ 5407632 w 13768337"/>
              <a:gd name="connsiteY1233" fmla="*/ 3839528 h 5071335"/>
              <a:gd name="connsiteX1234" fmla="*/ 5405398 w 13768337"/>
              <a:gd name="connsiteY1234" fmla="*/ 3841191 h 5071335"/>
              <a:gd name="connsiteX1235" fmla="*/ 5408908 w 13768337"/>
              <a:gd name="connsiteY1235" fmla="*/ 3844802 h 5071335"/>
              <a:gd name="connsiteX1236" fmla="*/ 5409439 w 13768337"/>
              <a:gd name="connsiteY1236" fmla="*/ 3839994 h 5071335"/>
              <a:gd name="connsiteX1237" fmla="*/ 6400767 w 13768337"/>
              <a:gd name="connsiteY1237" fmla="*/ 3837429 h 5071335"/>
              <a:gd name="connsiteX1238" fmla="*/ 6397060 w 13768337"/>
              <a:gd name="connsiteY1238" fmla="*/ 3841191 h 5071335"/>
              <a:gd name="connsiteX1239" fmla="*/ 6392425 w 13768337"/>
              <a:gd name="connsiteY1239" fmla="*/ 3852898 h 5071335"/>
              <a:gd name="connsiteX1240" fmla="*/ 6393814 w 13768337"/>
              <a:gd name="connsiteY1240" fmla="*/ 3852898 h 5071335"/>
              <a:gd name="connsiteX1241" fmla="*/ 6397060 w 13768337"/>
              <a:gd name="connsiteY1241" fmla="*/ 3849554 h 5071335"/>
              <a:gd name="connsiteX1242" fmla="*/ 6400767 w 13768337"/>
              <a:gd name="connsiteY1242" fmla="*/ 3837429 h 5071335"/>
              <a:gd name="connsiteX1243" fmla="*/ 6277967 w 13768337"/>
              <a:gd name="connsiteY1243" fmla="*/ 3836872 h 5071335"/>
              <a:gd name="connsiteX1244" fmla="*/ 6273334 w 13768337"/>
              <a:gd name="connsiteY1244" fmla="*/ 3846906 h 5071335"/>
              <a:gd name="connsiteX1245" fmla="*/ 6275650 w 13768337"/>
              <a:gd name="connsiteY1245" fmla="*/ 3845791 h 5071335"/>
              <a:gd name="connsiteX1246" fmla="*/ 6282601 w 13768337"/>
              <a:gd name="connsiteY1246" fmla="*/ 3842167 h 5071335"/>
              <a:gd name="connsiteX1247" fmla="*/ 6277967 w 13768337"/>
              <a:gd name="connsiteY1247" fmla="*/ 3836872 h 5071335"/>
              <a:gd name="connsiteX1248" fmla="*/ 3527261 w 13768337"/>
              <a:gd name="connsiteY1248" fmla="*/ 3836035 h 5071335"/>
              <a:gd name="connsiteX1249" fmla="*/ 3560162 w 13768337"/>
              <a:gd name="connsiteY1249" fmla="*/ 3842446 h 5071335"/>
              <a:gd name="connsiteX1250" fmla="*/ 3518920 w 13768337"/>
              <a:gd name="connsiteY1250" fmla="*/ 3842446 h 5071335"/>
              <a:gd name="connsiteX1251" fmla="*/ 3527261 w 13768337"/>
              <a:gd name="connsiteY1251" fmla="*/ 3836035 h 5071335"/>
              <a:gd name="connsiteX1252" fmla="*/ 6452666 w 13768337"/>
              <a:gd name="connsiteY1252" fmla="*/ 3835617 h 5071335"/>
              <a:gd name="connsiteX1253" fmla="*/ 6450351 w 13768337"/>
              <a:gd name="connsiteY1253" fmla="*/ 3838265 h 5071335"/>
              <a:gd name="connsiteX1254" fmla="*/ 6447569 w 13768337"/>
              <a:gd name="connsiteY1254" fmla="*/ 3837429 h 5071335"/>
              <a:gd name="connsiteX1255" fmla="*/ 6447569 w 13768337"/>
              <a:gd name="connsiteY1255" fmla="*/ 3843561 h 5071335"/>
              <a:gd name="connsiteX1256" fmla="*/ 6451277 w 13768337"/>
              <a:gd name="connsiteY1256" fmla="*/ 3842167 h 5071335"/>
              <a:gd name="connsiteX1257" fmla="*/ 6451277 w 13768337"/>
              <a:gd name="connsiteY1257" fmla="*/ 3848717 h 5071335"/>
              <a:gd name="connsiteX1258" fmla="*/ 6452666 w 13768337"/>
              <a:gd name="connsiteY1258" fmla="*/ 3835617 h 5071335"/>
              <a:gd name="connsiteX1259" fmla="*/ 4023092 w 13768337"/>
              <a:gd name="connsiteY1259" fmla="*/ 3834641 h 5071335"/>
              <a:gd name="connsiteX1260" fmla="*/ 4014288 w 13768337"/>
              <a:gd name="connsiteY1260" fmla="*/ 3841191 h 5071335"/>
              <a:gd name="connsiteX1261" fmla="*/ 4018921 w 13768337"/>
              <a:gd name="connsiteY1261" fmla="*/ 3862235 h 5071335"/>
              <a:gd name="connsiteX1262" fmla="*/ 4031896 w 13768337"/>
              <a:gd name="connsiteY1262" fmla="*/ 3841191 h 5071335"/>
              <a:gd name="connsiteX1263" fmla="*/ 4026800 w 13768337"/>
              <a:gd name="connsiteY1263" fmla="*/ 3846348 h 5071335"/>
              <a:gd name="connsiteX1264" fmla="*/ 4023092 w 13768337"/>
              <a:gd name="connsiteY1264" fmla="*/ 3834641 h 5071335"/>
              <a:gd name="connsiteX1265" fmla="*/ 13105919 w 13768337"/>
              <a:gd name="connsiteY1265" fmla="*/ 3831975 h 5071335"/>
              <a:gd name="connsiteX1266" fmla="*/ 13133261 w 13768337"/>
              <a:gd name="connsiteY1266" fmla="*/ 3846887 h 5071335"/>
              <a:gd name="connsiteX1267" fmla="*/ 13073482 w 13768337"/>
              <a:gd name="connsiteY1267" fmla="*/ 3837968 h 5071335"/>
              <a:gd name="connsiteX1268" fmla="*/ 13105919 w 13768337"/>
              <a:gd name="connsiteY1268" fmla="*/ 3831975 h 5071335"/>
              <a:gd name="connsiteX1269" fmla="*/ 5373296 w 13768337"/>
              <a:gd name="connsiteY1269" fmla="*/ 3831075 h 5071335"/>
              <a:gd name="connsiteX1270" fmla="*/ 5368604 w 13768337"/>
              <a:gd name="connsiteY1270" fmla="*/ 3834489 h 5071335"/>
              <a:gd name="connsiteX1271" fmla="*/ 5367969 w 13768337"/>
              <a:gd name="connsiteY1271" fmla="*/ 3841241 h 5071335"/>
              <a:gd name="connsiteX1272" fmla="*/ 5368731 w 13768337"/>
              <a:gd name="connsiteY1272" fmla="*/ 3841052 h 5071335"/>
              <a:gd name="connsiteX1273" fmla="*/ 5376873 w 13768337"/>
              <a:gd name="connsiteY1273" fmla="*/ 3842677 h 5071335"/>
              <a:gd name="connsiteX1274" fmla="*/ 5380052 w 13768337"/>
              <a:gd name="connsiteY1274" fmla="*/ 3842301 h 5071335"/>
              <a:gd name="connsiteX1275" fmla="*/ 5373423 w 13768337"/>
              <a:gd name="connsiteY1275" fmla="*/ 3835617 h 5071335"/>
              <a:gd name="connsiteX1276" fmla="*/ 5377985 w 13768337"/>
              <a:gd name="connsiteY1276" fmla="*/ 3833176 h 5071335"/>
              <a:gd name="connsiteX1277" fmla="*/ 6426075 w 13768337"/>
              <a:gd name="connsiteY1277" fmla="*/ 3828780 h 5071335"/>
              <a:gd name="connsiteX1278" fmla="*/ 6430887 w 13768337"/>
              <a:gd name="connsiteY1278" fmla="*/ 3840356 h 5071335"/>
              <a:gd name="connsiteX1279" fmla="*/ 6446179 w 13768337"/>
              <a:gd name="connsiteY1279" fmla="*/ 3835060 h 5071335"/>
              <a:gd name="connsiteX1280" fmla="*/ 6445064 w 13768337"/>
              <a:gd name="connsiteY1280" fmla="*/ 3830440 h 5071335"/>
              <a:gd name="connsiteX1281" fmla="*/ 6431571 w 13768337"/>
              <a:gd name="connsiteY1281" fmla="*/ 3829628 h 5071335"/>
              <a:gd name="connsiteX1282" fmla="*/ 5207064 w 13768337"/>
              <a:gd name="connsiteY1282" fmla="*/ 3827896 h 5071335"/>
              <a:gd name="connsiteX1283" fmla="*/ 5195873 w 13768337"/>
              <a:gd name="connsiteY1283" fmla="*/ 3829367 h 5071335"/>
              <a:gd name="connsiteX1284" fmla="*/ 5190718 w 13768337"/>
              <a:gd name="connsiteY1284" fmla="*/ 3837067 h 5071335"/>
              <a:gd name="connsiteX1285" fmla="*/ 5201260 w 13768337"/>
              <a:gd name="connsiteY1285" fmla="*/ 3837938 h 5071335"/>
              <a:gd name="connsiteX1286" fmla="*/ 5207064 w 13768337"/>
              <a:gd name="connsiteY1286" fmla="*/ 3829554 h 5071335"/>
              <a:gd name="connsiteX1287" fmla="*/ 6406079 w 13768337"/>
              <a:gd name="connsiteY1287" fmla="*/ 3825693 h 5071335"/>
              <a:gd name="connsiteX1288" fmla="*/ 6405401 w 13768337"/>
              <a:gd name="connsiteY1288" fmla="*/ 3830043 h 5071335"/>
              <a:gd name="connsiteX1289" fmla="*/ 6408033 w 13768337"/>
              <a:gd name="connsiteY1289" fmla="*/ 3825994 h 5071335"/>
              <a:gd name="connsiteX1290" fmla="*/ 5159670 w 13768337"/>
              <a:gd name="connsiteY1290" fmla="*/ 3823270 h 5071335"/>
              <a:gd name="connsiteX1291" fmla="*/ 5147622 w 13768337"/>
              <a:gd name="connsiteY1291" fmla="*/ 3840830 h 5071335"/>
              <a:gd name="connsiteX1292" fmla="*/ 5169864 w 13768337"/>
              <a:gd name="connsiteY1292" fmla="*/ 3823549 h 5071335"/>
              <a:gd name="connsiteX1293" fmla="*/ 5159670 w 13768337"/>
              <a:gd name="connsiteY1293" fmla="*/ 3823270 h 5071335"/>
              <a:gd name="connsiteX1294" fmla="*/ 3421143 w 13768337"/>
              <a:gd name="connsiteY1294" fmla="*/ 3820149 h 5071335"/>
              <a:gd name="connsiteX1295" fmla="*/ 3441069 w 13768337"/>
              <a:gd name="connsiteY1295" fmla="*/ 3820149 h 5071335"/>
              <a:gd name="connsiteX1296" fmla="*/ 3450801 w 13768337"/>
              <a:gd name="connsiteY1296" fmla="*/ 3829067 h 5071335"/>
              <a:gd name="connsiteX1297" fmla="*/ 3421143 w 13768337"/>
              <a:gd name="connsiteY1297" fmla="*/ 3820149 h 5071335"/>
              <a:gd name="connsiteX1298" fmla="*/ 5442505 w 13768337"/>
              <a:gd name="connsiteY1298" fmla="*/ 3819253 h 5071335"/>
              <a:gd name="connsiteX1299" fmla="*/ 5436270 w 13768337"/>
              <a:gd name="connsiteY1299" fmla="*/ 3820096 h 5071335"/>
              <a:gd name="connsiteX1300" fmla="*/ 5433278 w 13768337"/>
              <a:gd name="connsiteY1300" fmla="*/ 3831720 h 5071335"/>
              <a:gd name="connsiteX1301" fmla="*/ 5437302 w 13768337"/>
              <a:gd name="connsiteY1301" fmla="*/ 3831371 h 5071335"/>
              <a:gd name="connsiteX1302" fmla="*/ 5437900 w 13768337"/>
              <a:gd name="connsiteY1302" fmla="*/ 3831335 h 5071335"/>
              <a:gd name="connsiteX1303" fmla="*/ 5438761 w 13768337"/>
              <a:gd name="connsiteY1303" fmla="*/ 3827621 h 5071335"/>
              <a:gd name="connsiteX1304" fmla="*/ 5446176 w 13768337"/>
              <a:gd name="connsiteY1304" fmla="*/ 3824747 h 5071335"/>
              <a:gd name="connsiteX1305" fmla="*/ 5442505 w 13768337"/>
              <a:gd name="connsiteY1305" fmla="*/ 3819253 h 5071335"/>
              <a:gd name="connsiteX1306" fmla="*/ 5948494 w 13768337"/>
              <a:gd name="connsiteY1306" fmla="*/ 3817780 h 5071335"/>
              <a:gd name="connsiteX1307" fmla="*/ 5942470 w 13768337"/>
              <a:gd name="connsiteY1307" fmla="*/ 3819591 h 5071335"/>
              <a:gd name="connsiteX1308" fmla="*/ 5941543 w 13768337"/>
              <a:gd name="connsiteY1308" fmla="*/ 3821960 h 5071335"/>
              <a:gd name="connsiteX1309" fmla="*/ 5948494 w 13768337"/>
              <a:gd name="connsiteY1309" fmla="*/ 3817780 h 5071335"/>
              <a:gd name="connsiteX1310" fmla="*/ 3834955 w 13768337"/>
              <a:gd name="connsiteY1310" fmla="*/ 3817780 h 5071335"/>
              <a:gd name="connsiteX1311" fmla="*/ 3828003 w 13768337"/>
              <a:gd name="connsiteY1311" fmla="*/ 3818198 h 5071335"/>
              <a:gd name="connsiteX1312" fmla="*/ 3826613 w 13768337"/>
              <a:gd name="connsiteY1312" fmla="*/ 3827116 h 5071335"/>
              <a:gd name="connsiteX1313" fmla="*/ 3834027 w 13768337"/>
              <a:gd name="connsiteY1313" fmla="*/ 3841191 h 5071335"/>
              <a:gd name="connsiteX1314" fmla="*/ 3834955 w 13768337"/>
              <a:gd name="connsiteY1314" fmla="*/ 3817780 h 5071335"/>
              <a:gd name="connsiteX1315" fmla="*/ 3852100 w 13768337"/>
              <a:gd name="connsiteY1315" fmla="*/ 3816386 h 5071335"/>
              <a:gd name="connsiteX1316" fmla="*/ 3848392 w 13768337"/>
              <a:gd name="connsiteY1316" fmla="*/ 3816944 h 5071335"/>
              <a:gd name="connsiteX1317" fmla="*/ 3853027 w 13768337"/>
              <a:gd name="connsiteY1317" fmla="*/ 3841191 h 5071335"/>
              <a:gd name="connsiteX1318" fmla="*/ 3885001 w 13768337"/>
              <a:gd name="connsiteY1318" fmla="*/ 3824747 h 5071335"/>
              <a:gd name="connsiteX1319" fmla="*/ 3875732 w 13768337"/>
              <a:gd name="connsiteY1319" fmla="*/ 3819591 h 5071335"/>
              <a:gd name="connsiteX1320" fmla="*/ 3875270 w 13768337"/>
              <a:gd name="connsiteY1320" fmla="*/ 3819591 h 5071335"/>
              <a:gd name="connsiteX1321" fmla="*/ 3852100 w 13768337"/>
              <a:gd name="connsiteY1321" fmla="*/ 3816386 h 5071335"/>
              <a:gd name="connsiteX1322" fmla="*/ 6825610 w 13768337"/>
              <a:gd name="connsiteY1322" fmla="*/ 3816264 h 5071335"/>
              <a:gd name="connsiteX1323" fmla="*/ 6818285 w 13768337"/>
              <a:gd name="connsiteY1323" fmla="*/ 3817780 h 5071335"/>
              <a:gd name="connsiteX1324" fmla="*/ 6819675 w 13768337"/>
              <a:gd name="connsiteY1324" fmla="*/ 3818755 h 5071335"/>
              <a:gd name="connsiteX1325" fmla="*/ 6825635 w 13768337"/>
              <a:gd name="connsiteY1325" fmla="*/ 3816272 h 5071335"/>
              <a:gd name="connsiteX1326" fmla="*/ 5420763 w 13768337"/>
              <a:gd name="connsiteY1326" fmla="*/ 3815230 h 5071335"/>
              <a:gd name="connsiteX1327" fmla="*/ 5390441 w 13768337"/>
              <a:gd name="connsiteY1327" fmla="*/ 3820762 h 5071335"/>
              <a:gd name="connsiteX1328" fmla="*/ 5396100 w 13768337"/>
              <a:gd name="connsiteY1328" fmla="*/ 3827530 h 5071335"/>
              <a:gd name="connsiteX1329" fmla="*/ 5398735 w 13768337"/>
              <a:gd name="connsiteY1329" fmla="*/ 3827151 h 5071335"/>
              <a:gd name="connsiteX1330" fmla="*/ 5424396 w 13768337"/>
              <a:gd name="connsiteY1330" fmla="*/ 3824747 h 5071335"/>
              <a:gd name="connsiteX1331" fmla="*/ 5921618 w 13768337"/>
              <a:gd name="connsiteY1331" fmla="*/ 3810394 h 5071335"/>
              <a:gd name="connsiteX1332" fmla="*/ 5915593 w 13768337"/>
              <a:gd name="connsiteY1332" fmla="*/ 3814017 h 5071335"/>
              <a:gd name="connsiteX1333" fmla="*/ 5935984 w 13768337"/>
              <a:gd name="connsiteY1333" fmla="*/ 3819591 h 5071335"/>
              <a:gd name="connsiteX1334" fmla="*/ 5942470 w 13768337"/>
              <a:gd name="connsiteY1334" fmla="*/ 3815410 h 5071335"/>
              <a:gd name="connsiteX1335" fmla="*/ 5921618 w 13768337"/>
              <a:gd name="connsiteY1335" fmla="*/ 3810394 h 5071335"/>
              <a:gd name="connsiteX1336" fmla="*/ 5538855 w 13768337"/>
              <a:gd name="connsiteY1336" fmla="*/ 3810394 h 5071335"/>
              <a:gd name="connsiteX1337" fmla="*/ 5461112 w 13768337"/>
              <a:gd name="connsiteY1337" fmla="*/ 3820721 h 5071335"/>
              <a:gd name="connsiteX1338" fmla="*/ 5444501 w 13768337"/>
              <a:gd name="connsiteY1338" fmla="*/ 3830944 h 5071335"/>
              <a:gd name="connsiteX1339" fmla="*/ 5465185 w 13768337"/>
              <a:gd name="connsiteY1339" fmla="*/ 3829718 h 5071335"/>
              <a:gd name="connsiteX1340" fmla="*/ 5484509 w 13768337"/>
              <a:gd name="connsiteY1340" fmla="*/ 3845011 h 5071335"/>
              <a:gd name="connsiteX1341" fmla="*/ 5496724 w 13768337"/>
              <a:gd name="connsiteY1341" fmla="*/ 3839703 h 5071335"/>
              <a:gd name="connsiteX1342" fmla="*/ 5497612 w 13768337"/>
              <a:gd name="connsiteY1342" fmla="*/ 3830321 h 5071335"/>
              <a:gd name="connsiteX1343" fmla="*/ 5478614 w 13768337"/>
              <a:gd name="connsiteY1343" fmla="*/ 3835617 h 5071335"/>
              <a:gd name="connsiteX1344" fmla="*/ 5500856 w 13768337"/>
              <a:gd name="connsiteY1344" fmla="*/ 3819591 h 5071335"/>
              <a:gd name="connsiteX1345" fmla="*/ 5507807 w 13768337"/>
              <a:gd name="connsiteY1345" fmla="*/ 3830931 h 5071335"/>
              <a:gd name="connsiteX1346" fmla="*/ 5505588 w 13768337"/>
              <a:gd name="connsiteY1346" fmla="*/ 3835852 h 5071335"/>
              <a:gd name="connsiteX1347" fmla="*/ 5506000 w 13768337"/>
              <a:gd name="connsiteY1347" fmla="*/ 3835674 h 5071335"/>
              <a:gd name="connsiteX1348" fmla="*/ 5522971 w 13768337"/>
              <a:gd name="connsiteY1348" fmla="*/ 3826336 h 5071335"/>
              <a:gd name="connsiteX1349" fmla="*/ 5527198 w 13768337"/>
              <a:gd name="connsiteY1349" fmla="*/ 3839195 h 5071335"/>
              <a:gd name="connsiteX1350" fmla="*/ 5528515 w 13768337"/>
              <a:gd name="connsiteY1350" fmla="*/ 3838837 h 5071335"/>
              <a:gd name="connsiteX1351" fmla="*/ 5545306 w 13768337"/>
              <a:gd name="connsiteY1351" fmla="*/ 3837797 h 5071335"/>
              <a:gd name="connsiteX1352" fmla="*/ 5548219 w 13768337"/>
              <a:gd name="connsiteY1352" fmla="*/ 3836396 h 5071335"/>
              <a:gd name="connsiteX1353" fmla="*/ 5570411 w 13768337"/>
              <a:gd name="connsiteY1353" fmla="*/ 3834768 h 5071335"/>
              <a:gd name="connsiteX1354" fmla="*/ 5572671 w 13768337"/>
              <a:gd name="connsiteY1354" fmla="*/ 3834590 h 5071335"/>
              <a:gd name="connsiteX1355" fmla="*/ 5600630 w 13768337"/>
              <a:gd name="connsiteY1355" fmla="*/ 3825457 h 5071335"/>
              <a:gd name="connsiteX1356" fmla="*/ 5603345 w 13768337"/>
              <a:gd name="connsiteY1356" fmla="*/ 3820533 h 5071335"/>
              <a:gd name="connsiteX1357" fmla="*/ 5583398 w 13768337"/>
              <a:gd name="connsiteY1357" fmla="*/ 3827552 h 5071335"/>
              <a:gd name="connsiteX1358" fmla="*/ 5529587 w 13768337"/>
              <a:gd name="connsiteY1358" fmla="*/ 3823493 h 5071335"/>
              <a:gd name="connsiteX1359" fmla="*/ 5538855 w 13768337"/>
              <a:gd name="connsiteY1359" fmla="*/ 3810394 h 5071335"/>
              <a:gd name="connsiteX1360" fmla="*/ 5870646 w 13768337"/>
              <a:gd name="connsiteY1360" fmla="*/ 3808999 h 5071335"/>
              <a:gd name="connsiteX1361" fmla="*/ 5856742 w 13768337"/>
              <a:gd name="connsiteY1361" fmla="*/ 3814017 h 5071335"/>
              <a:gd name="connsiteX1362" fmla="*/ 5878521 w 13768337"/>
              <a:gd name="connsiteY1362" fmla="*/ 3814017 h 5071335"/>
              <a:gd name="connsiteX1363" fmla="*/ 5870646 w 13768337"/>
              <a:gd name="connsiteY1363" fmla="*/ 3808999 h 5071335"/>
              <a:gd name="connsiteX1364" fmla="*/ 5960732 w 13768337"/>
              <a:gd name="connsiteY1364" fmla="*/ 3808215 h 5071335"/>
              <a:gd name="connsiteX1365" fmla="*/ 5960543 w 13768337"/>
              <a:gd name="connsiteY1365" fmla="*/ 3808443 h 5071335"/>
              <a:gd name="connsiteX1366" fmla="*/ 5961675 w 13768337"/>
              <a:gd name="connsiteY1366" fmla="*/ 3808475 h 5071335"/>
              <a:gd name="connsiteX1367" fmla="*/ 3771933 w 13768337"/>
              <a:gd name="connsiteY1367" fmla="*/ 3808024 h 5071335"/>
              <a:gd name="connsiteX1368" fmla="*/ 3781200 w 13768337"/>
              <a:gd name="connsiteY1368" fmla="*/ 3828510 h 5071335"/>
              <a:gd name="connsiteX1369" fmla="*/ 3757103 w 13768337"/>
              <a:gd name="connsiteY1369" fmla="*/ 3812622 h 5071335"/>
              <a:gd name="connsiteX1370" fmla="*/ 3771933 w 13768337"/>
              <a:gd name="connsiteY1370" fmla="*/ 3808024 h 5071335"/>
              <a:gd name="connsiteX1371" fmla="*/ 5082284 w 13768337"/>
              <a:gd name="connsiteY1371" fmla="*/ 3806128 h 5071335"/>
              <a:gd name="connsiteX1372" fmla="*/ 5060041 w 13768337"/>
              <a:gd name="connsiteY1372" fmla="*/ 3831632 h 5071335"/>
              <a:gd name="connsiteX1373" fmla="*/ 5080429 w 13768337"/>
              <a:gd name="connsiteY1373" fmla="*/ 3834280 h 5071335"/>
              <a:gd name="connsiteX1374" fmla="*/ 5082284 w 13768337"/>
              <a:gd name="connsiteY1374" fmla="*/ 3806128 h 5071335"/>
              <a:gd name="connsiteX1375" fmla="*/ 4854884 w 13768337"/>
              <a:gd name="connsiteY1375" fmla="*/ 3800916 h 5071335"/>
              <a:gd name="connsiteX1376" fmla="*/ 4897981 w 13768337"/>
              <a:gd name="connsiteY1376" fmla="*/ 3816944 h 5071335"/>
              <a:gd name="connsiteX1377" fmla="*/ 4895664 w 13768337"/>
              <a:gd name="connsiteY1377" fmla="*/ 3803982 h 5071335"/>
              <a:gd name="connsiteX1378" fmla="*/ 4896127 w 13768337"/>
              <a:gd name="connsiteY1378" fmla="*/ 3811229 h 5071335"/>
              <a:gd name="connsiteX1379" fmla="*/ 4854884 w 13768337"/>
              <a:gd name="connsiteY1379" fmla="*/ 3800916 h 5071335"/>
              <a:gd name="connsiteX1380" fmla="*/ 4614847 w 13768337"/>
              <a:gd name="connsiteY1380" fmla="*/ 3799523 h 5071335"/>
              <a:gd name="connsiteX1381" fmla="*/ 4635237 w 13768337"/>
              <a:gd name="connsiteY1381" fmla="*/ 3800359 h 5071335"/>
              <a:gd name="connsiteX1382" fmla="*/ 4605579 w 13768337"/>
              <a:gd name="connsiteY1382" fmla="*/ 3814573 h 5071335"/>
              <a:gd name="connsiteX1383" fmla="*/ 4614847 w 13768337"/>
              <a:gd name="connsiteY1383" fmla="*/ 3799523 h 5071335"/>
              <a:gd name="connsiteX1384" fmla="*/ 5924421 w 13768337"/>
              <a:gd name="connsiteY1384" fmla="*/ 3798199 h 5071335"/>
              <a:gd name="connsiteX1385" fmla="*/ 5921618 w 13768337"/>
              <a:gd name="connsiteY1385" fmla="*/ 3799523 h 5071335"/>
              <a:gd name="connsiteX1386" fmla="*/ 5929222 w 13768337"/>
              <a:gd name="connsiteY1386" fmla="*/ 3799523 h 5071335"/>
              <a:gd name="connsiteX1387" fmla="*/ 5527734 w 13768337"/>
              <a:gd name="connsiteY1387" fmla="*/ 3797991 h 5071335"/>
              <a:gd name="connsiteX1388" fmla="*/ 5529587 w 13768337"/>
              <a:gd name="connsiteY1388" fmla="*/ 3799523 h 5071335"/>
              <a:gd name="connsiteX1389" fmla="*/ 5529587 w 13768337"/>
              <a:gd name="connsiteY1389" fmla="*/ 3797991 h 5071335"/>
              <a:gd name="connsiteX1390" fmla="*/ 5527734 w 13768337"/>
              <a:gd name="connsiteY1390" fmla="*/ 3797991 h 5071335"/>
              <a:gd name="connsiteX1391" fmla="*/ 5793721 w 13768337"/>
              <a:gd name="connsiteY1391" fmla="*/ 3795342 h 5071335"/>
              <a:gd name="connsiteX1392" fmla="*/ 5793721 w 13768337"/>
              <a:gd name="connsiteY1392" fmla="*/ 3795900 h 5071335"/>
              <a:gd name="connsiteX1393" fmla="*/ 5796965 w 13768337"/>
              <a:gd name="connsiteY1393" fmla="*/ 3795342 h 5071335"/>
              <a:gd name="connsiteX1394" fmla="*/ 5793721 w 13768337"/>
              <a:gd name="connsiteY1394" fmla="*/ 3795342 h 5071335"/>
              <a:gd name="connsiteX1395" fmla="*/ 5901050 w 13768337"/>
              <a:gd name="connsiteY1395" fmla="*/ 3794881 h 5071335"/>
              <a:gd name="connsiteX1396" fmla="*/ 5896234 w 13768337"/>
              <a:gd name="connsiteY1396" fmla="*/ 3796028 h 5071335"/>
              <a:gd name="connsiteX1397" fmla="*/ 5895495 w 13768337"/>
              <a:gd name="connsiteY1397" fmla="*/ 3799123 h 5071335"/>
              <a:gd name="connsiteX1398" fmla="*/ 5880376 w 13768337"/>
              <a:gd name="connsiteY1398" fmla="*/ 3814017 h 5071335"/>
              <a:gd name="connsiteX1399" fmla="*/ 5901229 w 13768337"/>
              <a:gd name="connsiteY1399" fmla="*/ 3814017 h 5071335"/>
              <a:gd name="connsiteX1400" fmla="*/ 5905862 w 13768337"/>
              <a:gd name="connsiteY1400" fmla="*/ 3808999 h 5071335"/>
              <a:gd name="connsiteX1401" fmla="*/ 5896594 w 13768337"/>
              <a:gd name="connsiteY1401" fmla="*/ 3810394 h 5071335"/>
              <a:gd name="connsiteX1402" fmla="*/ 5909106 w 13768337"/>
              <a:gd name="connsiteY1402" fmla="*/ 3801892 h 5071335"/>
              <a:gd name="connsiteX1403" fmla="*/ 5909544 w 13768337"/>
              <a:gd name="connsiteY1403" fmla="*/ 3796015 h 5071335"/>
              <a:gd name="connsiteX1404" fmla="*/ 6761029 w 13768337"/>
              <a:gd name="connsiteY1404" fmla="*/ 3790008 h 5071335"/>
              <a:gd name="connsiteX1405" fmla="*/ 6760487 w 13768337"/>
              <a:gd name="connsiteY1405" fmla="*/ 3790645 h 5071335"/>
              <a:gd name="connsiteX1406" fmla="*/ 6761159 w 13768337"/>
              <a:gd name="connsiteY1406" fmla="*/ 3791635 h 5071335"/>
              <a:gd name="connsiteX1407" fmla="*/ 5993288 w 13768337"/>
              <a:gd name="connsiteY1407" fmla="*/ 3788494 h 5071335"/>
              <a:gd name="connsiteX1408" fmla="*/ 5989272 w 13768337"/>
              <a:gd name="connsiteY1408" fmla="*/ 3789028 h 5071335"/>
              <a:gd name="connsiteX1409" fmla="*/ 5989272 w 13768337"/>
              <a:gd name="connsiteY1409" fmla="*/ 3793808 h 5071335"/>
              <a:gd name="connsiteX1410" fmla="*/ 5967464 w 13768337"/>
              <a:gd name="connsiteY1410" fmla="*/ 3797651 h 5071335"/>
              <a:gd name="connsiteX1411" fmla="*/ 5970059 w 13768337"/>
              <a:gd name="connsiteY1411" fmla="*/ 3808711 h 5071335"/>
              <a:gd name="connsiteX1412" fmla="*/ 6025533 w 13768337"/>
              <a:gd name="connsiteY1412" fmla="*/ 3810272 h 5071335"/>
              <a:gd name="connsiteX1413" fmla="*/ 6091220 w 13768337"/>
              <a:gd name="connsiteY1413" fmla="*/ 3797991 h 5071335"/>
              <a:gd name="connsiteX1414" fmla="*/ 6084441 w 13768337"/>
              <a:gd name="connsiteY1414" fmla="*/ 3794214 h 5071335"/>
              <a:gd name="connsiteX1415" fmla="*/ 6083229 w 13768337"/>
              <a:gd name="connsiteY1415" fmla="*/ 3794812 h 5071335"/>
              <a:gd name="connsiteX1416" fmla="*/ 5998384 w 13768337"/>
              <a:gd name="connsiteY1416" fmla="*/ 3808981 h 5071335"/>
              <a:gd name="connsiteX1417" fmla="*/ 5993288 w 13768337"/>
              <a:gd name="connsiteY1417" fmla="*/ 3788494 h 5071335"/>
              <a:gd name="connsiteX1418" fmla="*/ 3563405 w 13768337"/>
              <a:gd name="connsiteY1418" fmla="*/ 3786980 h 5071335"/>
              <a:gd name="connsiteX1419" fmla="*/ 3568502 w 13768337"/>
              <a:gd name="connsiteY1419" fmla="*/ 3808024 h 5071335"/>
              <a:gd name="connsiteX1420" fmla="*/ 3539772 w 13768337"/>
              <a:gd name="connsiteY1420" fmla="*/ 3802449 h 5071335"/>
              <a:gd name="connsiteX1421" fmla="*/ 3560162 w 13768337"/>
              <a:gd name="connsiteY1421" fmla="*/ 3797154 h 5071335"/>
              <a:gd name="connsiteX1422" fmla="*/ 3563405 w 13768337"/>
              <a:gd name="connsiteY1422" fmla="*/ 3786980 h 5071335"/>
              <a:gd name="connsiteX1423" fmla="*/ 5806696 w 13768337"/>
              <a:gd name="connsiteY1423" fmla="*/ 3786423 h 5071335"/>
              <a:gd name="connsiteX1424" fmla="*/ 5805306 w 13768337"/>
              <a:gd name="connsiteY1424" fmla="*/ 3788792 h 5071335"/>
              <a:gd name="connsiteX1425" fmla="*/ 5804379 w 13768337"/>
              <a:gd name="connsiteY1425" fmla="*/ 3786980 h 5071335"/>
              <a:gd name="connsiteX1426" fmla="*/ 5802989 w 13768337"/>
              <a:gd name="connsiteY1426" fmla="*/ 3793808 h 5071335"/>
              <a:gd name="connsiteX1427" fmla="*/ 5814574 w 13768337"/>
              <a:gd name="connsiteY1427" fmla="*/ 3787817 h 5071335"/>
              <a:gd name="connsiteX1428" fmla="*/ 5806696 w 13768337"/>
              <a:gd name="connsiteY1428" fmla="*/ 3786423 h 5071335"/>
              <a:gd name="connsiteX1429" fmla="*/ 5446176 w 13768337"/>
              <a:gd name="connsiteY1429" fmla="*/ 3785876 h 5071335"/>
              <a:gd name="connsiteX1430" fmla="*/ 5441356 w 13768337"/>
              <a:gd name="connsiteY1430" fmla="*/ 3787733 h 5071335"/>
              <a:gd name="connsiteX1431" fmla="*/ 5439920 w 13768337"/>
              <a:gd name="connsiteY1431" fmla="*/ 3789842 h 5071335"/>
              <a:gd name="connsiteX1432" fmla="*/ 5446176 w 13768337"/>
              <a:gd name="connsiteY1432" fmla="*/ 3788792 h 5071335"/>
              <a:gd name="connsiteX1433" fmla="*/ 5031232 w 13768337"/>
              <a:gd name="connsiteY1433" fmla="*/ 3784977 h 5071335"/>
              <a:gd name="connsiteX1434" fmla="*/ 5024241 w 13768337"/>
              <a:gd name="connsiteY1434" fmla="*/ 3790508 h 5071335"/>
              <a:gd name="connsiteX1435" fmla="*/ 4918370 w 13768337"/>
              <a:gd name="connsiteY1435" fmla="*/ 3806073 h 5071335"/>
              <a:gd name="connsiteX1436" fmla="*/ 4909102 w 13768337"/>
              <a:gd name="connsiteY1436" fmla="*/ 3790185 h 5071335"/>
              <a:gd name="connsiteX1437" fmla="*/ 4882225 w 13768337"/>
              <a:gd name="connsiteY1437" fmla="*/ 3790185 h 5071335"/>
              <a:gd name="connsiteX1438" fmla="*/ 4895200 w 13768337"/>
              <a:gd name="connsiteY1438" fmla="*/ 3801473 h 5071335"/>
              <a:gd name="connsiteX1439" fmla="*/ 4894737 w 13768337"/>
              <a:gd name="connsiteY1439" fmla="*/ 3799523 h 5071335"/>
              <a:gd name="connsiteX1440" fmla="*/ 4910492 w 13768337"/>
              <a:gd name="connsiteY1440" fmla="*/ 3815410 h 5071335"/>
              <a:gd name="connsiteX1441" fmla="*/ 4982319 w 13768337"/>
              <a:gd name="connsiteY1441" fmla="*/ 3806073 h 5071335"/>
              <a:gd name="connsiteX1442" fmla="*/ 5005952 w 13768337"/>
              <a:gd name="connsiteY1442" fmla="*/ 3827674 h 5071335"/>
              <a:gd name="connsiteX1443" fmla="*/ 5001317 w 13768337"/>
              <a:gd name="connsiteY1443" fmla="*/ 3850528 h 5071335"/>
              <a:gd name="connsiteX1444" fmla="*/ 5009194 w 13768337"/>
              <a:gd name="connsiteY1444" fmla="*/ 3846348 h 5071335"/>
              <a:gd name="connsiteX1445" fmla="*/ 5011048 w 13768337"/>
              <a:gd name="connsiteY1445" fmla="*/ 3852898 h 5071335"/>
              <a:gd name="connsiteX1446" fmla="*/ 5028657 w 13768337"/>
              <a:gd name="connsiteY1446" fmla="*/ 3858472 h 5071335"/>
              <a:gd name="connsiteX1447" fmla="*/ 5031900 w 13768337"/>
              <a:gd name="connsiteY1447" fmla="*/ 3854292 h 5071335"/>
              <a:gd name="connsiteX1448" fmla="*/ 5033291 w 13768337"/>
              <a:gd name="connsiteY1448" fmla="*/ 3841191 h 5071335"/>
              <a:gd name="connsiteX1449" fmla="*/ 5039779 w 13768337"/>
              <a:gd name="connsiteY1449" fmla="*/ 3844815 h 5071335"/>
              <a:gd name="connsiteX1450" fmla="*/ 5044187 w 13768337"/>
              <a:gd name="connsiteY1450" fmla="*/ 3845422 h 5071335"/>
              <a:gd name="connsiteX1451" fmla="*/ 5046313 w 13768337"/>
              <a:gd name="connsiteY1451" fmla="*/ 3837451 h 5071335"/>
              <a:gd name="connsiteX1452" fmla="*/ 5056797 w 13768337"/>
              <a:gd name="connsiteY1452" fmla="*/ 3823549 h 5071335"/>
              <a:gd name="connsiteX1453" fmla="*/ 5053553 w 13768337"/>
              <a:gd name="connsiteY1453" fmla="*/ 3809055 h 5071335"/>
              <a:gd name="connsiteX1454" fmla="*/ 5041043 w 13768337"/>
              <a:gd name="connsiteY1454" fmla="*/ 3814212 h 5071335"/>
              <a:gd name="connsiteX1455" fmla="*/ 5026213 w 13768337"/>
              <a:gd name="connsiteY1455" fmla="*/ 3801947 h 5071335"/>
              <a:gd name="connsiteX1456" fmla="*/ 5031601 w 13768337"/>
              <a:gd name="connsiteY1456" fmla="*/ 3785852 h 5071335"/>
              <a:gd name="connsiteX1457" fmla="*/ 6767185 w 13768337"/>
              <a:gd name="connsiteY1457" fmla="*/ 3783831 h 5071335"/>
              <a:gd name="connsiteX1458" fmla="*/ 6771816 w 13768337"/>
              <a:gd name="connsiteY1458" fmla="*/ 3784807 h 5071335"/>
              <a:gd name="connsiteX1459" fmla="*/ 6772744 w 13768337"/>
              <a:gd name="connsiteY1459" fmla="*/ 3784249 h 5071335"/>
              <a:gd name="connsiteX1460" fmla="*/ 6767185 w 13768337"/>
              <a:gd name="connsiteY1460" fmla="*/ 3783831 h 5071335"/>
              <a:gd name="connsiteX1461" fmla="*/ 5455769 w 13768337"/>
              <a:gd name="connsiteY1461" fmla="*/ 3782180 h 5071335"/>
              <a:gd name="connsiteX1462" fmla="*/ 5446262 w 13768337"/>
              <a:gd name="connsiteY1462" fmla="*/ 3785843 h 5071335"/>
              <a:gd name="connsiteX1463" fmla="*/ 5456370 w 13768337"/>
              <a:gd name="connsiteY1463" fmla="*/ 3783218 h 5071335"/>
              <a:gd name="connsiteX1464" fmla="*/ 3411412 w 13768337"/>
              <a:gd name="connsiteY1464" fmla="*/ 3781406 h 5071335"/>
              <a:gd name="connsiteX1465" fmla="*/ 3505018 w 13768337"/>
              <a:gd name="connsiteY1465" fmla="*/ 3802728 h 5071335"/>
              <a:gd name="connsiteX1466" fmla="*/ 3386853 w 13768337"/>
              <a:gd name="connsiteY1466" fmla="*/ 3792555 h 5071335"/>
              <a:gd name="connsiteX1467" fmla="*/ 3411412 w 13768337"/>
              <a:gd name="connsiteY1467" fmla="*/ 3781406 h 5071335"/>
              <a:gd name="connsiteX1468" fmla="*/ 5872342 w 13768337"/>
              <a:gd name="connsiteY1468" fmla="*/ 3781387 h 5071335"/>
              <a:gd name="connsiteX1469" fmla="*/ 5842626 w 13768337"/>
              <a:gd name="connsiteY1469" fmla="*/ 3786700 h 5071335"/>
              <a:gd name="connsiteX1470" fmla="*/ 5823602 w 13768337"/>
              <a:gd name="connsiteY1470" fmla="*/ 3787244 h 5071335"/>
              <a:gd name="connsiteX1471" fmla="*/ 5818281 w 13768337"/>
              <a:gd name="connsiteY1471" fmla="*/ 3793808 h 5071335"/>
              <a:gd name="connsiteX1472" fmla="*/ 5865981 w 13768337"/>
              <a:gd name="connsiteY1472" fmla="*/ 3798785 h 5071335"/>
              <a:gd name="connsiteX1473" fmla="*/ 5877941 w 13768337"/>
              <a:gd name="connsiteY1473" fmla="*/ 3793858 h 5071335"/>
              <a:gd name="connsiteX1474" fmla="*/ 5876859 w 13768337"/>
              <a:gd name="connsiteY1474" fmla="*/ 3788895 h 5071335"/>
              <a:gd name="connsiteX1475" fmla="*/ 5872342 w 13768337"/>
              <a:gd name="connsiteY1475" fmla="*/ 3781387 h 5071335"/>
              <a:gd name="connsiteX1476" fmla="*/ 12660135 w 13768337"/>
              <a:gd name="connsiteY1476" fmla="*/ 3776787 h 5071335"/>
              <a:gd name="connsiteX1477" fmla="*/ 12678207 w 13768337"/>
              <a:gd name="connsiteY1477" fmla="*/ 3783756 h 5071335"/>
              <a:gd name="connsiteX1478" fmla="*/ 12660135 w 13768337"/>
              <a:gd name="connsiteY1478" fmla="*/ 3776787 h 5071335"/>
              <a:gd name="connsiteX1479" fmla="*/ 4780278 w 13768337"/>
              <a:gd name="connsiteY1479" fmla="*/ 3776668 h 5071335"/>
              <a:gd name="connsiteX1480" fmla="*/ 4784449 w 13768337"/>
              <a:gd name="connsiteY1480" fmla="*/ 3782243 h 5071335"/>
              <a:gd name="connsiteX1481" fmla="*/ 4784913 w 13768337"/>
              <a:gd name="connsiteY1481" fmla="*/ 3776668 h 5071335"/>
              <a:gd name="connsiteX1482" fmla="*/ 4780278 w 13768337"/>
              <a:gd name="connsiteY1482" fmla="*/ 3776668 h 5071335"/>
              <a:gd name="connsiteX1483" fmla="*/ 6755585 w 13768337"/>
              <a:gd name="connsiteY1483" fmla="*/ 3774989 h 5071335"/>
              <a:gd name="connsiteX1484" fmla="*/ 6754383 w 13768337"/>
              <a:gd name="connsiteY1484" fmla="*/ 3781653 h 5071335"/>
              <a:gd name="connsiteX1485" fmla="*/ 6754930 w 13768337"/>
              <a:gd name="connsiteY1485" fmla="*/ 3782459 h 5071335"/>
              <a:gd name="connsiteX1486" fmla="*/ 6755090 w 13768337"/>
              <a:gd name="connsiteY1486" fmla="*/ 3782329 h 5071335"/>
              <a:gd name="connsiteX1487" fmla="*/ 6759433 w 13768337"/>
              <a:gd name="connsiteY1487" fmla="*/ 3781685 h 5071335"/>
              <a:gd name="connsiteX1488" fmla="*/ 3486481 w 13768337"/>
              <a:gd name="connsiteY1488" fmla="*/ 3772487 h 5071335"/>
              <a:gd name="connsiteX1489" fmla="*/ 3530041 w 13768337"/>
              <a:gd name="connsiteY1489" fmla="*/ 3797712 h 5071335"/>
              <a:gd name="connsiteX1490" fmla="*/ 3470263 w 13768337"/>
              <a:gd name="connsiteY1490" fmla="*/ 3776111 h 5071335"/>
              <a:gd name="connsiteX1491" fmla="*/ 3486481 w 13768337"/>
              <a:gd name="connsiteY1491" fmla="*/ 3772487 h 5071335"/>
              <a:gd name="connsiteX1492" fmla="*/ 5128161 w 13768337"/>
              <a:gd name="connsiteY1492" fmla="*/ 3769755 h 5071335"/>
              <a:gd name="connsiteX1493" fmla="*/ 5114258 w 13768337"/>
              <a:gd name="connsiteY1493" fmla="*/ 3803481 h 5071335"/>
              <a:gd name="connsiteX1494" fmla="*/ 5128161 w 13768337"/>
              <a:gd name="connsiteY1494" fmla="*/ 3769755 h 5071335"/>
              <a:gd name="connsiteX1495" fmla="*/ 12587847 w 13768337"/>
              <a:gd name="connsiteY1495" fmla="*/ 3769263 h 5071335"/>
              <a:gd name="connsiteX1496" fmla="*/ 12611017 w 13768337"/>
              <a:gd name="connsiteY1496" fmla="*/ 3770656 h 5071335"/>
              <a:gd name="connsiteX1497" fmla="*/ 12587847 w 13768337"/>
              <a:gd name="connsiteY1497" fmla="*/ 3769263 h 5071335"/>
              <a:gd name="connsiteX1498" fmla="*/ 4913736 w 13768337"/>
              <a:gd name="connsiteY1498" fmla="*/ 3767191 h 5071335"/>
              <a:gd name="connsiteX1499" fmla="*/ 4913736 w 13768337"/>
              <a:gd name="connsiteY1499" fmla="*/ 3768584 h 5071335"/>
              <a:gd name="connsiteX1500" fmla="*/ 4915127 w 13768337"/>
              <a:gd name="connsiteY1500" fmla="*/ 3767191 h 5071335"/>
              <a:gd name="connsiteX1501" fmla="*/ 4913736 w 13768337"/>
              <a:gd name="connsiteY1501" fmla="*/ 3767191 h 5071335"/>
              <a:gd name="connsiteX1502" fmla="*/ 5492379 w 13768337"/>
              <a:gd name="connsiteY1502" fmla="*/ 3765499 h 5071335"/>
              <a:gd name="connsiteX1503" fmla="*/ 5476243 w 13768337"/>
              <a:gd name="connsiteY1503" fmla="*/ 3765989 h 5071335"/>
              <a:gd name="connsiteX1504" fmla="*/ 5474480 w 13768337"/>
              <a:gd name="connsiteY1504" fmla="*/ 3766650 h 5071335"/>
              <a:gd name="connsiteX1505" fmla="*/ 5478614 w 13768337"/>
              <a:gd name="connsiteY1505" fmla="*/ 3772487 h 5071335"/>
              <a:gd name="connsiteX1506" fmla="*/ 5488301 w 13768337"/>
              <a:gd name="connsiteY1506" fmla="*/ 3770379 h 5071335"/>
              <a:gd name="connsiteX1507" fmla="*/ 4744133 w 13768337"/>
              <a:gd name="connsiteY1507" fmla="*/ 3762592 h 5071335"/>
              <a:gd name="connsiteX1508" fmla="*/ 4747841 w 13768337"/>
              <a:gd name="connsiteY1508" fmla="*/ 3767191 h 5071335"/>
              <a:gd name="connsiteX1509" fmla="*/ 4747841 w 13768337"/>
              <a:gd name="connsiteY1509" fmla="*/ 3763010 h 5071335"/>
              <a:gd name="connsiteX1510" fmla="*/ 4744133 w 13768337"/>
              <a:gd name="connsiteY1510" fmla="*/ 3762592 h 5071335"/>
              <a:gd name="connsiteX1511" fmla="*/ 4739036 w 13768337"/>
              <a:gd name="connsiteY1511" fmla="*/ 3762175 h 5071335"/>
              <a:gd name="connsiteX1512" fmla="*/ 4731621 w 13768337"/>
              <a:gd name="connsiteY1512" fmla="*/ 3765937 h 5071335"/>
              <a:gd name="connsiteX1513" fmla="*/ 4733938 w 13768337"/>
              <a:gd name="connsiteY1513" fmla="*/ 3770954 h 5071335"/>
              <a:gd name="connsiteX1514" fmla="*/ 4739964 w 13768337"/>
              <a:gd name="connsiteY1514" fmla="*/ 3781685 h 5071335"/>
              <a:gd name="connsiteX1515" fmla="*/ 4743206 w 13768337"/>
              <a:gd name="connsiteY1515" fmla="*/ 3783218 h 5071335"/>
              <a:gd name="connsiteX1516" fmla="*/ 4739964 w 13768337"/>
              <a:gd name="connsiteY1516" fmla="*/ 3793808 h 5071335"/>
              <a:gd name="connsiteX1517" fmla="*/ 4730231 w 13768337"/>
              <a:gd name="connsiteY1517" fmla="*/ 3793808 h 5071335"/>
              <a:gd name="connsiteX1518" fmla="*/ 4726989 w 13768337"/>
              <a:gd name="connsiteY1518" fmla="*/ 3787399 h 5071335"/>
              <a:gd name="connsiteX1519" fmla="*/ 4720501 w 13768337"/>
              <a:gd name="connsiteY1519" fmla="*/ 3795342 h 5071335"/>
              <a:gd name="connsiteX1520" fmla="*/ 4747841 w 13768337"/>
              <a:gd name="connsiteY1520" fmla="*/ 3826141 h 5071335"/>
              <a:gd name="connsiteX1521" fmla="*/ 4771474 w 13768337"/>
              <a:gd name="connsiteY1521" fmla="*/ 3821124 h 5071335"/>
              <a:gd name="connsiteX1522" fmla="*/ 4766841 w 13768337"/>
              <a:gd name="connsiteY1522" fmla="*/ 3800916 h 5071335"/>
              <a:gd name="connsiteX1523" fmla="*/ 4783522 w 13768337"/>
              <a:gd name="connsiteY1523" fmla="*/ 3784054 h 5071335"/>
              <a:gd name="connsiteX1524" fmla="*/ 4747841 w 13768337"/>
              <a:gd name="connsiteY1524" fmla="*/ 3788792 h 5071335"/>
              <a:gd name="connsiteX1525" fmla="*/ 4749695 w 13768337"/>
              <a:gd name="connsiteY1525" fmla="*/ 3780291 h 5071335"/>
              <a:gd name="connsiteX1526" fmla="*/ 4746450 w 13768337"/>
              <a:gd name="connsiteY1526" fmla="*/ 3772487 h 5071335"/>
              <a:gd name="connsiteX1527" fmla="*/ 4743671 w 13768337"/>
              <a:gd name="connsiteY1527" fmla="*/ 3762592 h 5071335"/>
              <a:gd name="connsiteX1528" fmla="*/ 4739036 w 13768337"/>
              <a:gd name="connsiteY1528" fmla="*/ 3762175 h 5071335"/>
              <a:gd name="connsiteX1529" fmla="*/ 5593547 w 13768337"/>
              <a:gd name="connsiteY1529" fmla="*/ 3758450 h 5071335"/>
              <a:gd name="connsiteX1530" fmla="*/ 5589540 w 13768337"/>
              <a:gd name="connsiteY1530" fmla="*/ 3760647 h 5071335"/>
              <a:gd name="connsiteX1531" fmla="*/ 5574408 w 13768337"/>
              <a:gd name="connsiteY1531" fmla="*/ 3759391 h 5071335"/>
              <a:gd name="connsiteX1532" fmla="*/ 5573256 w 13768337"/>
              <a:gd name="connsiteY1532" fmla="*/ 3758941 h 5071335"/>
              <a:gd name="connsiteX1533" fmla="*/ 5573221 w 13768337"/>
              <a:gd name="connsiteY1533" fmla="*/ 3759089 h 5071335"/>
              <a:gd name="connsiteX1534" fmla="*/ 5569282 w 13768337"/>
              <a:gd name="connsiteY1534" fmla="*/ 3767869 h 5071335"/>
              <a:gd name="connsiteX1535" fmla="*/ 5547265 w 13768337"/>
              <a:gd name="connsiteY1535" fmla="*/ 3759241 h 5071335"/>
              <a:gd name="connsiteX1536" fmla="*/ 5550137 w 13768337"/>
              <a:gd name="connsiteY1536" fmla="*/ 3762909 h 5071335"/>
              <a:gd name="connsiteX1537" fmla="*/ 5555872 w 13768337"/>
              <a:gd name="connsiteY1537" fmla="*/ 3775330 h 5071335"/>
              <a:gd name="connsiteX1538" fmla="*/ 5519090 w 13768337"/>
              <a:gd name="connsiteY1538" fmla="*/ 3761116 h 5071335"/>
              <a:gd name="connsiteX1539" fmla="*/ 5505141 w 13768337"/>
              <a:gd name="connsiteY1539" fmla="*/ 3763517 h 5071335"/>
              <a:gd name="connsiteX1540" fmla="*/ 5502188 w 13768337"/>
              <a:gd name="connsiteY1540" fmla="*/ 3766512 h 5071335"/>
              <a:gd name="connsiteX1541" fmla="*/ 5497612 w 13768337"/>
              <a:gd name="connsiteY1541" fmla="*/ 3778062 h 5071335"/>
              <a:gd name="connsiteX1542" fmla="*/ 5507678 w 13768337"/>
              <a:gd name="connsiteY1542" fmla="*/ 3782904 h 5071335"/>
              <a:gd name="connsiteX1543" fmla="*/ 5508859 w 13768337"/>
              <a:gd name="connsiteY1543" fmla="*/ 3781601 h 5071335"/>
              <a:gd name="connsiteX1544" fmla="*/ 5521408 w 13768337"/>
              <a:gd name="connsiteY1544" fmla="*/ 3780312 h 5071335"/>
              <a:gd name="connsiteX1545" fmla="*/ 5533733 w 13768337"/>
              <a:gd name="connsiteY1545" fmla="*/ 3781613 h 5071335"/>
              <a:gd name="connsiteX1546" fmla="*/ 5534220 w 13768337"/>
              <a:gd name="connsiteY1546" fmla="*/ 3779315 h 5071335"/>
              <a:gd name="connsiteX1547" fmla="*/ 5519855 w 13768337"/>
              <a:gd name="connsiteY1547" fmla="*/ 3770954 h 5071335"/>
              <a:gd name="connsiteX1548" fmla="*/ 5543488 w 13768337"/>
              <a:gd name="connsiteY1548" fmla="*/ 3765937 h 5071335"/>
              <a:gd name="connsiteX1549" fmla="*/ 5543488 w 13768337"/>
              <a:gd name="connsiteY1549" fmla="*/ 3772487 h 5071335"/>
              <a:gd name="connsiteX1550" fmla="*/ 5561561 w 13768337"/>
              <a:gd name="connsiteY1550" fmla="*/ 3778062 h 5071335"/>
              <a:gd name="connsiteX1551" fmla="*/ 5561561 w 13768337"/>
              <a:gd name="connsiteY1551" fmla="*/ 3785865 h 5071335"/>
              <a:gd name="connsiteX1552" fmla="*/ 5588437 w 13768337"/>
              <a:gd name="connsiteY1552" fmla="*/ 3788792 h 5071335"/>
              <a:gd name="connsiteX1553" fmla="*/ 5634777 w 13768337"/>
              <a:gd name="connsiteY1553" fmla="*/ 3807467 h 5071335"/>
              <a:gd name="connsiteX1554" fmla="*/ 5609805 w 13768337"/>
              <a:gd name="connsiteY1554" fmla="*/ 3818261 h 5071335"/>
              <a:gd name="connsiteX1555" fmla="*/ 5604683 w 13768337"/>
              <a:gd name="connsiteY1555" fmla="*/ 3820063 h 5071335"/>
              <a:gd name="connsiteX1556" fmla="*/ 5611016 w 13768337"/>
              <a:gd name="connsiteY1556" fmla="*/ 3828605 h 5071335"/>
              <a:gd name="connsiteX1557" fmla="*/ 5619357 w 13768337"/>
              <a:gd name="connsiteY1557" fmla="*/ 3828601 h 5071335"/>
              <a:gd name="connsiteX1558" fmla="*/ 5619593 w 13768337"/>
              <a:gd name="connsiteY1558" fmla="*/ 3828512 h 5071335"/>
              <a:gd name="connsiteX1559" fmla="*/ 5620072 w 13768337"/>
              <a:gd name="connsiteY1559" fmla="*/ 3827617 h 5071335"/>
              <a:gd name="connsiteX1560" fmla="*/ 5626730 w 13768337"/>
              <a:gd name="connsiteY1560" fmla="*/ 3825804 h 5071335"/>
              <a:gd name="connsiteX1561" fmla="*/ 5628047 w 13768337"/>
              <a:gd name="connsiteY1561" fmla="*/ 3825304 h 5071335"/>
              <a:gd name="connsiteX1562" fmla="*/ 5628718 w 13768337"/>
              <a:gd name="connsiteY1562" fmla="*/ 3825262 h 5071335"/>
              <a:gd name="connsiteX1563" fmla="*/ 5629970 w 13768337"/>
              <a:gd name="connsiteY1563" fmla="*/ 3824921 h 5071335"/>
              <a:gd name="connsiteX1564" fmla="*/ 5630717 w 13768337"/>
              <a:gd name="connsiteY1564" fmla="*/ 3825137 h 5071335"/>
              <a:gd name="connsiteX1565" fmla="*/ 5636039 w 13768337"/>
              <a:gd name="connsiteY1565" fmla="*/ 3824804 h 5071335"/>
              <a:gd name="connsiteX1566" fmla="*/ 5634571 w 13768337"/>
              <a:gd name="connsiteY1566" fmla="*/ 3826249 h 5071335"/>
              <a:gd name="connsiteX1567" fmla="*/ 5648678 w 13768337"/>
              <a:gd name="connsiteY1567" fmla="*/ 3830321 h 5071335"/>
              <a:gd name="connsiteX1568" fmla="*/ 5648678 w 13768337"/>
              <a:gd name="connsiteY1568" fmla="*/ 3841985 h 5071335"/>
              <a:gd name="connsiteX1569" fmla="*/ 5649941 w 13768337"/>
              <a:gd name="connsiteY1569" fmla="*/ 3841857 h 5071335"/>
              <a:gd name="connsiteX1570" fmla="*/ 5668013 w 13768337"/>
              <a:gd name="connsiteY1570" fmla="*/ 3826336 h 5071335"/>
              <a:gd name="connsiteX1571" fmla="*/ 5730108 w 13768337"/>
              <a:gd name="connsiteY1571" fmla="*/ 3818392 h 5071335"/>
              <a:gd name="connsiteX1572" fmla="*/ 5747813 w 13768337"/>
              <a:gd name="connsiteY1572" fmla="*/ 3827146 h 5071335"/>
              <a:gd name="connsiteX1573" fmla="*/ 5764828 w 13768337"/>
              <a:gd name="connsiteY1573" fmla="*/ 3829909 h 5071335"/>
              <a:gd name="connsiteX1574" fmla="*/ 5782078 w 13768337"/>
              <a:gd name="connsiteY1574" fmla="*/ 3820602 h 5071335"/>
              <a:gd name="connsiteX1575" fmla="*/ 5805306 w 13768337"/>
              <a:gd name="connsiteY1575" fmla="*/ 3821960 h 5071335"/>
              <a:gd name="connsiteX1576" fmla="*/ 5808076 w 13768337"/>
              <a:gd name="connsiteY1576" fmla="*/ 3820930 h 5071335"/>
              <a:gd name="connsiteX1577" fmla="*/ 5816300 w 13768337"/>
              <a:gd name="connsiteY1577" fmla="*/ 3814212 h 5071335"/>
              <a:gd name="connsiteX1578" fmla="*/ 5819441 w 13768337"/>
              <a:gd name="connsiteY1578" fmla="*/ 3816702 h 5071335"/>
              <a:gd name="connsiteX1579" fmla="*/ 5822915 w 13768337"/>
              <a:gd name="connsiteY1579" fmla="*/ 3815410 h 5071335"/>
              <a:gd name="connsiteX1580" fmla="*/ 5776575 w 13768337"/>
              <a:gd name="connsiteY1580" fmla="*/ 3799523 h 5071335"/>
              <a:gd name="connsiteX1581" fmla="*/ 5788160 w 13768337"/>
              <a:gd name="connsiteY1581" fmla="*/ 3797154 h 5071335"/>
              <a:gd name="connsiteX1582" fmla="*/ 5795110 w 13768337"/>
              <a:gd name="connsiteY1582" fmla="*/ 3785865 h 5071335"/>
              <a:gd name="connsiteX1583" fmla="*/ 5764527 w 13768337"/>
              <a:gd name="connsiteY1583" fmla="*/ 3782243 h 5071335"/>
              <a:gd name="connsiteX1584" fmla="*/ 5759430 w 13768337"/>
              <a:gd name="connsiteY1584" fmla="*/ 3792555 h 5071335"/>
              <a:gd name="connsiteX1585" fmla="*/ 5739967 w 13768337"/>
              <a:gd name="connsiteY1585" fmla="*/ 3792555 h 5071335"/>
              <a:gd name="connsiteX1586" fmla="*/ 5738577 w 13768337"/>
              <a:gd name="connsiteY1586" fmla="*/ 3787399 h 5071335"/>
              <a:gd name="connsiteX1587" fmla="*/ 5685750 w 13768337"/>
              <a:gd name="connsiteY1587" fmla="*/ 3790185 h 5071335"/>
              <a:gd name="connsiteX1588" fmla="*/ 5676483 w 13768337"/>
              <a:gd name="connsiteY1588" fmla="*/ 3800359 h 5071335"/>
              <a:gd name="connsiteX1589" fmla="*/ 5638078 w 13768337"/>
              <a:gd name="connsiteY1589" fmla="*/ 3790360 h 5071335"/>
              <a:gd name="connsiteX1590" fmla="*/ 5634942 w 13768337"/>
              <a:gd name="connsiteY1590" fmla="*/ 3790713 h 5071335"/>
              <a:gd name="connsiteX1591" fmla="*/ 5633693 w 13768337"/>
              <a:gd name="connsiteY1591" fmla="*/ 3796437 h 5071335"/>
              <a:gd name="connsiteX1592" fmla="*/ 5626410 w 13768337"/>
              <a:gd name="connsiteY1592" fmla="*/ 3791932 h 5071335"/>
              <a:gd name="connsiteX1593" fmla="*/ 5626239 w 13768337"/>
              <a:gd name="connsiteY1593" fmla="*/ 3791693 h 5071335"/>
              <a:gd name="connsiteX1594" fmla="*/ 5615423 w 13768337"/>
              <a:gd name="connsiteY1594" fmla="*/ 3792912 h 5071335"/>
              <a:gd name="connsiteX1595" fmla="*/ 5598631 w 13768337"/>
              <a:gd name="connsiteY1595" fmla="*/ 3790185 h 5071335"/>
              <a:gd name="connsiteX1596" fmla="*/ 5620294 w 13768337"/>
              <a:gd name="connsiteY1596" fmla="*/ 3781798 h 5071335"/>
              <a:gd name="connsiteX1597" fmla="*/ 5617939 w 13768337"/>
              <a:gd name="connsiteY1597" fmla="*/ 3766475 h 5071335"/>
              <a:gd name="connsiteX1598" fmla="*/ 5667855 w 13768337"/>
              <a:gd name="connsiteY1598" fmla="*/ 3766965 h 5071335"/>
              <a:gd name="connsiteX1599" fmla="*/ 5672997 w 13768337"/>
              <a:gd name="connsiteY1599" fmla="*/ 3763802 h 5071335"/>
              <a:gd name="connsiteX1600" fmla="*/ 5652200 w 13768337"/>
              <a:gd name="connsiteY1600" fmla="*/ 3762491 h 5071335"/>
              <a:gd name="connsiteX1601" fmla="*/ 5610089 w 13768337"/>
              <a:gd name="connsiteY1601" fmla="*/ 3767386 h 5071335"/>
              <a:gd name="connsiteX1602" fmla="*/ 5605674 w 13768337"/>
              <a:gd name="connsiteY1602" fmla="*/ 3759100 h 5071335"/>
              <a:gd name="connsiteX1603" fmla="*/ 5595949 w 13768337"/>
              <a:gd name="connsiteY1603" fmla="*/ 3759420 h 5071335"/>
              <a:gd name="connsiteX1604" fmla="*/ 4725135 w 13768337"/>
              <a:gd name="connsiteY1604" fmla="*/ 3757993 h 5071335"/>
              <a:gd name="connsiteX1605" fmla="*/ 4707989 w 13768337"/>
              <a:gd name="connsiteY1605" fmla="*/ 3773741 h 5071335"/>
              <a:gd name="connsiteX1606" fmla="*/ 4715867 w 13768337"/>
              <a:gd name="connsiteY1606" fmla="*/ 3773741 h 5071335"/>
              <a:gd name="connsiteX1607" fmla="*/ 4720501 w 13768337"/>
              <a:gd name="connsiteY1607" fmla="*/ 3761617 h 5071335"/>
              <a:gd name="connsiteX1608" fmla="*/ 4725135 w 13768337"/>
              <a:gd name="connsiteY1608" fmla="*/ 3761617 h 5071335"/>
              <a:gd name="connsiteX1609" fmla="*/ 4725135 w 13768337"/>
              <a:gd name="connsiteY1609" fmla="*/ 3757993 h 5071335"/>
              <a:gd name="connsiteX1610" fmla="*/ 5196223 w 13768337"/>
              <a:gd name="connsiteY1610" fmla="*/ 3751337 h 5071335"/>
              <a:gd name="connsiteX1611" fmla="*/ 5192991 w 13768337"/>
              <a:gd name="connsiteY1611" fmla="*/ 3752392 h 5071335"/>
              <a:gd name="connsiteX1612" fmla="*/ 5182194 w 13768337"/>
              <a:gd name="connsiteY1612" fmla="*/ 3753234 h 5071335"/>
              <a:gd name="connsiteX1613" fmla="*/ 5179265 w 13768337"/>
              <a:gd name="connsiteY1613" fmla="*/ 3756681 h 5071335"/>
              <a:gd name="connsiteX1614" fmla="*/ 5179134 w 13768337"/>
              <a:gd name="connsiteY1614" fmla="*/ 3756655 h 5071335"/>
              <a:gd name="connsiteX1615" fmla="*/ 5182164 w 13768337"/>
              <a:gd name="connsiteY1615" fmla="*/ 3753237 h 5071335"/>
              <a:gd name="connsiteX1616" fmla="*/ 5168794 w 13768337"/>
              <a:gd name="connsiteY1616" fmla="*/ 3754281 h 5071335"/>
              <a:gd name="connsiteX1617" fmla="*/ 5152159 w 13768337"/>
              <a:gd name="connsiteY1617" fmla="*/ 3754305 h 5071335"/>
              <a:gd name="connsiteX1618" fmla="*/ 5146232 w 13768337"/>
              <a:gd name="connsiteY1618" fmla="*/ 3772560 h 5071335"/>
              <a:gd name="connsiteX1619" fmla="*/ 5139746 w 13768337"/>
              <a:gd name="connsiteY1619" fmla="*/ 3796931 h 5071335"/>
              <a:gd name="connsiteX1620" fmla="*/ 5152719 w 13768337"/>
              <a:gd name="connsiteY1620" fmla="*/ 3804875 h 5071335"/>
              <a:gd name="connsiteX1621" fmla="*/ 5160757 w 13768337"/>
              <a:gd name="connsiteY1621" fmla="*/ 3794353 h 5071335"/>
              <a:gd name="connsiteX1622" fmla="*/ 5164433 w 13768337"/>
              <a:gd name="connsiteY1622" fmla="*/ 3791936 h 5071335"/>
              <a:gd name="connsiteX1623" fmla="*/ 5164433 w 13768337"/>
              <a:gd name="connsiteY1623" fmla="*/ 3781406 h 5071335"/>
              <a:gd name="connsiteX1624" fmla="*/ 5178218 w 13768337"/>
              <a:gd name="connsiteY1624" fmla="*/ 3781180 h 5071335"/>
              <a:gd name="connsiteX1625" fmla="*/ 5187645 w 13768337"/>
              <a:gd name="connsiteY1625" fmla="*/ 3783945 h 5071335"/>
              <a:gd name="connsiteX1626" fmla="*/ 5188701 w 13768337"/>
              <a:gd name="connsiteY1626" fmla="*/ 3783695 h 5071335"/>
              <a:gd name="connsiteX1627" fmla="*/ 5180767 w 13768337"/>
              <a:gd name="connsiteY1627" fmla="*/ 3777730 h 5071335"/>
              <a:gd name="connsiteX1628" fmla="*/ 5165359 w 13768337"/>
              <a:gd name="connsiteY1628" fmla="*/ 3778062 h 5071335"/>
              <a:gd name="connsiteX1629" fmla="*/ 5171079 w 13768337"/>
              <a:gd name="connsiteY1629" fmla="*/ 3768234 h 5071335"/>
              <a:gd name="connsiteX1630" fmla="*/ 5176830 w 13768337"/>
              <a:gd name="connsiteY1630" fmla="*/ 3767144 h 5071335"/>
              <a:gd name="connsiteX1631" fmla="*/ 5172181 w 13768337"/>
              <a:gd name="connsiteY1631" fmla="*/ 3765017 h 5071335"/>
              <a:gd name="connsiteX1632" fmla="*/ 5179265 w 13768337"/>
              <a:gd name="connsiteY1632" fmla="*/ 3756681 h 5071335"/>
              <a:gd name="connsiteX1633" fmla="*/ 5188922 w 13768337"/>
              <a:gd name="connsiteY1633" fmla="*/ 3758519 h 5071335"/>
              <a:gd name="connsiteX1634" fmla="*/ 5194968 w 13768337"/>
              <a:gd name="connsiteY1634" fmla="*/ 3757185 h 5071335"/>
              <a:gd name="connsiteX1635" fmla="*/ 3430411 w 13768337"/>
              <a:gd name="connsiteY1635" fmla="*/ 3749353 h 5071335"/>
              <a:gd name="connsiteX1636" fmla="*/ 3435972 w 13768337"/>
              <a:gd name="connsiteY1636" fmla="*/ 3770117 h 5071335"/>
              <a:gd name="connsiteX1637" fmla="*/ 3391486 w 13768337"/>
              <a:gd name="connsiteY1637" fmla="*/ 3765937 h 5071335"/>
              <a:gd name="connsiteX1638" fmla="*/ 3430411 w 13768337"/>
              <a:gd name="connsiteY1638" fmla="*/ 3749353 h 5071335"/>
              <a:gd name="connsiteX1639" fmla="*/ 3470263 w 13768337"/>
              <a:gd name="connsiteY1639" fmla="*/ 3749074 h 5071335"/>
              <a:gd name="connsiteX1640" fmla="*/ 3487409 w 13768337"/>
              <a:gd name="connsiteY1640" fmla="*/ 3754648 h 5071335"/>
              <a:gd name="connsiteX1641" fmla="*/ 3455434 w 13768337"/>
              <a:gd name="connsiteY1641" fmla="*/ 3774299 h 5071335"/>
              <a:gd name="connsiteX1642" fmla="*/ 3455434 w 13768337"/>
              <a:gd name="connsiteY1642" fmla="*/ 3759805 h 5071335"/>
              <a:gd name="connsiteX1643" fmla="*/ 3470263 w 13768337"/>
              <a:gd name="connsiteY1643" fmla="*/ 3749074 h 5071335"/>
              <a:gd name="connsiteX1644" fmla="*/ 3555528 w 13768337"/>
              <a:gd name="connsiteY1644" fmla="*/ 3740573 h 5071335"/>
              <a:gd name="connsiteX1645" fmla="*/ 3576843 w 13768337"/>
              <a:gd name="connsiteY1645" fmla="*/ 3755904 h 5071335"/>
              <a:gd name="connsiteX1646" fmla="*/ 3633841 w 13768337"/>
              <a:gd name="connsiteY1646" fmla="*/ 3750886 h 5071335"/>
              <a:gd name="connsiteX1647" fmla="*/ 3612061 w 13768337"/>
              <a:gd name="connsiteY1647" fmla="*/ 3745730 h 5071335"/>
              <a:gd name="connsiteX1648" fmla="*/ 3607891 w 13768337"/>
              <a:gd name="connsiteY1648" fmla="*/ 3766773 h 5071335"/>
              <a:gd name="connsiteX1649" fmla="*/ 3524944 w 13768337"/>
              <a:gd name="connsiteY1649" fmla="*/ 3750886 h 5071335"/>
              <a:gd name="connsiteX1650" fmla="*/ 3555528 w 13768337"/>
              <a:gd name="connsiteY1650" fmla="*/ 3740573 h 5071335"/>
              <a:gd name="connsiteX1651" fmla="*/ 3712618 w 13768337"/>
              <a:gd name="connsiteY1651" fmla="*/ 3738203 h 5071335"/>
              <a:gd name="connsiteX1652" fmla="*/ 3712618 w 13768337"/>
              <a:gd name="connsiteY1652" fmla="*/ 3755904 h 5071335"/>
              <a:gd name="connsiteX1653" fmla="*/ 3692691 w 13768337"/>
              <a:gd name="connsiteY1653" fmla="*/ 3750328 h 5071335"/>
              <a:gd name="connsiteX1654" fmla="*/ 3712618 w 13768337"/>
              <a:gd name="connsiteY1654" fmla="*/ 3738203 h 5071335"/>
              <a:gd name="connsiteX1655" fmla="*/ 4808544 w 13768337"/>
              <a:gd name="connsiteY1655" fmla="*/ 3737786 h 5071335"/>
              <a:gd name="connsiteX1656" fmla="*/ 4771474 w 13768337"/>
              <a:gd name="connsiteY1656" fmla="*/ 3763010 h 5071335"/>
              <a:gd name="connsiteX1657" fmla="*/ 4771474 w 13768337"/>
              <a:gd name="connsiteY1657" fmla="*/ 3772487 h 5071335"/>
              <a:gd name="connsiteX1658" fmla="*/ 4777961 w 13768337"/>
              <a:gd name="connsiteY1658" fmla="*/ 3770117 h 5071335"/>
              <a:gd name="connsiteX1659" fmla="*/ 4777035 w 13768337"/>
              <a:gd name="connsiteY1659" fmla="*/ 3768584 h 5071335"/>
              <a:gd name="connsiteX1660" fmla="*/ 4779352 w 13768337"/>
              <a:gd name="connsiteY1660" fmla="*/ 3768584 h 5071335"/>
              <a:gd name="connsiteX1661" fmla="*/ 4798814 w 13768337"/>
              <a:gd name="connsiteY1661" fmla="*/ 3767191 h 5071335"/>
              <a:gd name="connsiteX1662" fmla="*/ 4798814 w 13768337"/>
              <a:gd name="connsiteY1662" fmla="*/ 3768584 h 5071335"/>
              <a:gd name="connsiteX1663" fmla="*/ 4803912 w 13768337"/>
              <a:gd name="connsiteY1663" fmla="*/ 3773741 h 5071335"/>
              <a:gd name="connsiteX1664" fmla="*/ 4794181 w 13768337"/>
              <a:gd name="connsiteY1664" fmla="*/ 3795342 h 5071335"/>
              <a:gd name="connsiteX1665" fmla="*/ 4840520 w 13768337"/>
              <a:gd name="connsiteY1665" fmla="*/ 3779315 h 5071335"/>
              <a:gd name="connsiteX1666" fmla="*/ 4808544 w 13768337"/>
              <a:gd name="connsiteY1666" fmla="*/ 3737786 h 5071335"/>
              <a:gd name="connsiteX1667" fmla="*/ 5209335 w 13768337"/>
              <a:gd name="connsiteY1667" fmla="*/ 3736692 h 5071335"/>
              <a:gd name="connsiteX1668" fmla="*/ 5201809 w 13768337"/>
              <a:gd name="connsiteY1668" fmla="*/ 3740136 h 5071335"/>
              <a:gd name="connsiteX1669" fmla="*/ 5214323 w 13768337"/>
              <a:gd name="connsiteY1669" fmla="*/ 3745432 h 5071335"/>
              <a:gd name="connsiteX1670" fmla="*/ 5196364 w 13768337"/>
              <a:gd name="connsiteY1670" fmla="*/ 3751291 h 5071335"/>
              <a:gd name="connsiteX1671" fmla="*/ 5200203 w 13768337"/>
              <a:gd name="connsiteY1671" fmla="*/ 3760628 h 5071335"/>
              <a:gd name="connsiteX1672" fmla="*/ 5193266 w 13768337"/>
              <a:gd name="connsiteY1672" fmla="*/ 3767351 h 5071335"/>
              <a:gd name="connsiteX1673" fmla="*/ 5186566 w 13768337"/>
              <a:gd name="connsiteY1673" fmla="*/ 3768564 h 5071335"/>
              <a:gd name="connsiteX1674" fmla="*/ 5191555 w 13768337"/>
              <a:gd name="connsiteY1674" fmla="*/ 3770320 h 5071335"/>
              <a:gd name="connsiteX1675" fmla="*/ 5201967 w 13768337"/>
              <a:gd name="connsiteY1675" fmla="*/ 3777504 h 5071335"/>
              <a:gd name="connsiteX1676" fmla="*/ 5202893 w 13768337"/>
              <a:gd name="connsiteY1676" fmla="*/ 3775692 h 5071335"/>
              <a:gd name="connsiteX1677" fmla="*/ 5208939 w 13768337"/>
              <a:gd name="connsiteY1677" fmla="*/ 3778024 h 5071335"/>
              <a:gd name="connsiteX1678" fmla="*/ 5209721 w 13768337"/>
              <a:gd name="connsiteY1678" fmla="*/ 3779689 h 5071335"/>
              <a:gd name="connsiteX1679" fmla="*/ 5216581 w 13768337"/>
              <a:gd name="connsiteY1679" fmla="*/ 3778457 h 5071335"/>
              <a:gd name="connsiteX1680" fmla="*/ 5238909 w 13768337"/>
              <a:gd name="connsiteY1680" fmla="*/ 3764599 h 5071335"/>
              <a:gd name="connsiteX1681" fmla="*/ 5205083 w 13768337"/>
              <a:gd name="connsiteY1681" fmla="*/ 3751081 h 5071335"/>
              <a:gd name="connsiteX1682" fmla="*/ 5224082 w 13768337"/>
              <a:gd name="connsiteY1682" fmla="*/ 3737423 h 5071335"/>
              <a:gd name="connsiteX1683" fmla="*/ 5209658 w 13768337"/>
              <a:gd name="connsiteY1683" fmla="*/ 3736831 h 5071335"/>
              <a:gd name="connsiteX1684" fmla="*/ 3733471 w 13768337"/>
              <a:gd name="connsiteY1684" fmla="*/ 3736392 h 5071335"/>
              <a:gd name="connsiteX1685" fmla="*/ 3757103 w 13768337"/>
              <a:gd name="connsiteY1685" fmla="*/ 3737786 h 5071335"/>
              <a:gd name="connsiteX1686" fmla="*/ 3720496 w 13768337"/>
              <a:gd name="connsiteY1686" fmla="*/ 3751443 h 5071335"/>
              <a:gd name="connsiteX1687" fmla="*/ 3733471 w 13768337"/>
              <a:gd name="connsiteY1687" fmla="*/ 3736392 h 5071335"/>
              <a:gd name="connsiteX1688" fmla="*/ 5072553 w 13768337"/>
              <a:gd name="connsiteY1688" fmla="*/ 3735054 h 5071335"/>
              <a:gd name="connsiteX1689" fmla="*/ 5058188 w 13768337"/>
              <a:gd name="connsiteY1689" fmla="*/ 3787454 h 5071335"/>
              <a:gd name="connsiteX1690" fmla="*/ 5071162 w 13768337"/>
              <a:gd name="connsiteY1690" fmla="*/ 3791357 h 5071335"/>
              <a:gd name="connsiteX1691" fmla="*/ 5074406 w 13768337"/>
              <a:gd name="connsiteY1691" fmla="*/ 3781879 h 5071335"/>
              <a:gd name="connsiteX1692" fmla="*/ 5103137 w 13768337"/>
              <a:gd name="connsiteY1692" fmla="*/ 3776723 h 5071335"/>
              <a:gd name="connsiteX1693" fmla="*/ 5072553 w 13768337"/>
              <a:gd name="connsiteY1693" fmla="*/ 3735054 h 5071335"/>
              <a:gd name="connsiteX1694" fmla="*/ 3648543 w 13768337"/>
              <a:gd name="connsiteY1694" fmla="*/ 3735054 h 5071335"/>
              <a:gd name="connsiteX1695" fmla="*/ 3649991 w 13768337"/>
              <a:gd name="connsiteY1695" fmla="*/ 3744444 h 5071335"/>
              <a:gd name="connsiteX1696" fmla="*/ 3652253 w 13768337"/>
              <a:gd name="connsiteY1696" fmla="*/ 3751036 h 5071335"/>
              <a:gd name="connsiteX1697" fmla="*/ 3661568 w 13768337"/>
              <a:gd name="connsiteY1697" fmla="*/ 3745969 h 5071335"/>
              <a:gd name="connsiteX1698" fmla="*/ 3656189 w 13768337"/>
              <a:gd name="connsiteY1698" fmla="*/ 3741935 h 5071335"/>
              <a:gd name="connsiteX1699" fmla="*/ 3648543 w 13768337"/>
              <a:gd name="connsiteY1699" fmla="*/ 3735054 h 5071335"/>
              <a:gd name="connsiteX1700" fmla="*/ 5198706 w 13768337"/>
              <a:gd name="connsiteY1700" fmla="*/ 3732475 h 5071335"/>
              <a:gd name="connsiteX1701" fmla="*/ 5188777 w 13768337"/>
              <a:gd name="connsiteY1701" fmla="*/ 3738358 h 5071335"/>
              <a:gd name="connsiteX1702" fmla="*/ 5183321 w 13768337"/>
              <a:gd name="connsiteY1702" fmla="*/ 3742495 h 5071335"/>
              <a:gd name="connsiteX1703" fmla="*/ 5193470 w 13768337"/>
              <a:gd name="connsiteY1703" fmla="*/ 3746825 h 5071335"/>
              <a:gd name="connsiteX1704" fmla="*/ 5201347 w 13768337"/>
              <a:gd name="connsiteY1704" fmla="*/ 3735955 h 5071335"/>
              <a:gd name="connsiteX1705" fmla="*/ 2764051 w 13768337"/>
              <a:gd name="connsiteY1705" fmla="*/ 3727473 h 5071335"/>
              <a:gd name="connsiteX1706" fmla="*/ 2784440 w 13768337"/>
              <a:gd name="connsiteY1706" fmla="*/ 3729285 h 5071335"/>
              <a:gd name="connsiteX1707" fmla="*/ 2758953 w 13768337"/>
              <a:gd name="connsiteY1707" fmla="*/ 3735417 h 5071335"/>
              <a:gd name="connsiteX1708" fmla="*/ 2764051 w 13768337"/>
              <a:gd name="connsiteY1708" fmla="*/ 3727473 h 5071335"/>
              <a:gd name="connsiteX1709" fmla="*/ 3463775 w 13768337"/>
              <a:gd name="connsiteY1709" fmla="*/ 3723710 h 5071335"/>
              <a:gd name="connsiteX1710" fmla="*/ 3463775 w 13768337"/>
              <a:gd name="connsiteY1710" fmla="*/ 3739319 h 5071335"/>
              <a:gd name="connsiteX1711" fmla="*/ 3431338 w 13768337"/>
              <a:gd name="connsiteY1711" fmla="*/ 3749353 h 5071335"/>
              <a:gd name="connsiteX1712" fmla="*/ 3421143 w 13768337"/>
              <a:gd name="connsiteY1712" fmla="*/ 3728867 h 5071335"/>
              <a:gd name="connsiteX1713" fmla="*/ 3463775 w 13768337"/>
              <a:gd name="connsiteY1713" fmla="*/ 3723710 h 5071335"/>
              <a:gd name="connsiteX1714" fmla="*/ 3744592 w 13768337"/>
              <a:gd name="connsiteY1714" fmla="*/ 3720087 h 5071335"/>
              <a:gd name="connsiteX1715" fmla="*/ 3757103 w 13768337"/>
              <a:gd name="connsiteY1715" fmla="*/ 3723292 h 5071335"/>
              <a:gd name="connsiteX1716" fmla="*/ 3707521 w 13768337"/>
              <a:gd name="connsiteY1716" fmla="*/ 3729285 h 5071335"/>
              <a:gd name="connsiteX1717" fmla="*/ 3731617 w 13768337"/>
              <a:gd name="connsiteY1717" fmla="*/ 3720366 h 5071335"/>
              <a:gd name="connsiteX1718" fmla="*/ 3744592 w 13768337"/>
              <a:gd name="connsiteY1718" fmla="*/ 3720087 h 5071335"/>
              <a:gd name="connsiteX1719" fmla="*/ 5109217 w 13768337"/>
              <a:gd name="connsiteY1719" fmla="*/ 3718054 h 5071335"/>
              <a:gd name="connsiteX1720" fmla="*/ 5107973 w 13768337"/>
              <a:gd name="connsiteY1720" fmla="*/ 3722455 h 5071335"/>
              <a:gd name="connsiteX1721" fmla="*/ 5107919 w 13768337"/>
              <a:gd name="connsiteY1721" fmla="*/ 3722679 h 5071335"/>
              <a:gd name="connsiteX1722" fmla="*/ 5112405 w 13768337"/>
              <a:gd name="connsiteY1722" fmla="*/ 3718749 h 5071335"/>
              <a:gd name="connsiteX1723" fmla="*/ 3544869 w 13768337"/>
              <a:gd name="connsiteY1723" fmla="*/ 3715907 h 5071335"/>
              <a:gd name="connsiteX1724" fmla="*/ 3514749 w 13768337"/>
              <a:gd name="connsiteY1724" fmla="*/ 3723710 h 5071335"/>
              <a:gd name="connsiteX1725" fmla="*/ 3544869 w 13768337"/>
              <a:gd name="connsiteY1725" fmla="*/ 3715907 h 5071335"/>
              <a:gd name="connsiteX1726" fmla="*/ 5003478 w 13768337"/>
              <a:gd name="connsiteY1726" fmla="*/ 3702369 h 5071335"/>
              <a:gd name="connsiteX1727" fmla="*/ 4976049 w 13768337"/>
              <a:gd name="connsiteY1727" fmla="*/ 3705743 h 5071335"/>
              <a:gd name="connsiteX1728" fmla="*/ 4979118 w 13768337"/>
              <a:gd name="connsiteY1728" fmla="*/ 3708914 h 5071335"/>
              <a:gd name="connsiteX1729" fmla="*/ 4979538 w 13768337"/>
              <a:gd name="connsiteY1729" fmla="*/ 3716184 h 5071335"/>
              <a:gd name="connsiteX1730" fmla="*/ 4945710 w 13768337"/>
              <a:gd name="connsiteY1730" fmla="*/ 3721481 h 5071335"/>
              <a:gd name="connsiteX1731" fmla="*/ 4948047 w 13768337"/>
              <a:gd name="connsiteY1731" fmla="*/ 3730619 h 5071335"/>
              <a:gd name="connsiteX1732" fmla="*/ 4950464 w 13768337"/>
              <a:gd name="connsiteY1732" fmla="*/ 3730754 h 5071335"/>
              <a:gd name="connsiteX1733" fmla="*/ 4952766 w 13768337"/>
              <a:gd name="connsiteY1733" fmla="*/ 3734828 h 5071335"/>
              <a:gd name="connsiteX1734" fmla="*/ 4953513 w 13768337"/>
              <a:gd name="connsiteY1734" fmla="*/ 3735822 h 5071335"/>
              <a:gd name="connsiteX1735" fmla="*/ 4954977 w 13768337"/>
              <a:gd name="connsiteY1735" fmla="*/ 3732212 h 5071335"/>
              <a:gd name="connsiteX1736" fmla="*/ 4957932 w 13768337"/>
              <a:gd name="connsiteY1736" fmla="*/ 3735469 h 5071335"/>
              <a:gd name="connsiteX1737" fmla="*/ 4954984 w 13768337"/>
              <a:gd name="connsiteY1737" fmla="*/ 3737780 h 5071335"/>
              <a:gd name="connsiteX1738" fmla="*/ 4955415 w 13768337"/>
              <a:gd name="connsiteY1738" fmla="*/ 3738353 h 5071335"/>
              <a:gd name="connsiteX1739" fmla="*/ 4961801 w 13768337"/>
              <a:gd name="connsiteY1739" fmla="*/ 3737006 h 5071335"/>
              <a:gd name="connsiteX1740" fmla="*/ 4959022 w 13768337"/>
              <a:gd name="connsiteY1740" fmla="*/ 3748712 h 5071335"/>
              <a:gd name="connsiteX1741" fmla="*/ 4963192 w 13768337"/>
              <a:gd name="connsiteY1741" fmla="*/ 3746343 h 5071335"/>
              <a:gd name="connsiteX1742" fmla="*/ 4974777 w 13768337"/>
              <a:gd name="connsiteY1742" fmla="*/ 3749547 h 5071335"/>
              <a:gd name="connsiteX1743" fmla="*/ 4972250 w 13768337"/>
              <a:gd name="connsiteY1743" fmla="*/ 3758878 h 5071335"/>
              <a:gd name="connsiteX1744" fmla="*/ 4969138 w 13768337"/>
              <a:gd name="connsiteY1744" fmla="*/ 3760395 h 5071335"/>
              <a:gd name="connsiteX1745" fmla="*/ 4969119 w 13768337"/>
              <a:gd name="connsiteY1745" fmla="*/ 3761020 h 5071335"/>
              <a:gd name="connsiteX1746" fmla="*/ 4954977 w 13768337"/>
              <a:gd name="connsiteY1746" fmla="*/ 3768584 h 5071335"/>
              <a:gd name="connsiteX1747" fmla="*/ 4992050 w 13768337"/>
              <a:gd name="connsiteY1747" fmla="*/ 3784612 h 5071335"/>
              <a:gd name="connsiteX1748" fmla="*/ 4996682 w 13768337"/>
              <a:gd name="connsiteY1748" fmla="*/ 3753813 h 5071335"/>
              <a:gd name="connsiteX1749" fmla="*/ 5015682 w 13768337"/>
              <a:gd name="connsiteY1749" fmla="*/ 3759247 h 5071335"/>
              <a:gd name="connsiteX1750" fmla="*/ 5001317 w 13768337"/>
              <a:gd name="connsiteY1750" fmla="*/ 3770117 h 5071335"/>
              <a:gd name="connsiteX1751" fmla="*/ 5015509 w 13768337"/>
              <a:gd name="connsiteY1751" fmla="*/ 3779786 h 5071335"/>
              <a:gd name="connsiteX1752" fmla="*/ 5028930 w 13768337"/>
              <a:gd name="connsiteY1752" fmla="*/ 3779509 h 5071335"/>
              <a:gd name="connsiteX1753" fmla="*/ 5024824 w 13768337"/>
              <a:gd name="connsiteY1753" fmla="*/ 3769755 h 5071335"/>
              <a:gd name="connsiteX1754" fmla="*/ 5037798 w 13768337"/>
              <a:gd name="connsiteY1754" fmla="*/ 3769755 h 5071335"/>
              <a:gd name="connsiteX1755" fmla="*/ 5045214 w 13768337"/>
              <a:gd name="connsiteY1755" fmla="*/ 3736449 h 5071335"/>
              <a:gd name="connsiteX1756" fmla="*/ 5029458 w 13768337"/>
              <a:gd name="connsiteY1756" fmla="*/ 3737423 h 5071335"/>
              <a:gd name="connsiteX1757" fmla="*/ 5029458 w 13768337"/>
              <a:gd name="connsiteY1757" fmla="*/ 3714410 h 5071335"/>
              <a:gd name="connsiteX1758" fmla="*/ 5023462 w 13768337"/>
              <a:gd name="connsiteY1758" fmla="*/ 3714877 h 5071335"/>
              <a:gd name="connsiteX1759" fmla="*/ 5003478 w 13768337"/>
              <a:gd name="connsiteY1759" fmla="*/ 3702369 h 5071335"/>
              <a:gd name="connsiteX1760" fmla="*/ 3876069 w 13768337"/>
              <a:gd name="connsiteY1760" fmla="*/ 3697705 h 5071335"/>
              <a:gd name="connsiteX1761" fmla="*/ 3665225 w 13768337"/>
              <a:gd name="connsiteY1761" fmla="*/ 3748712 h 5071335"/>
              <a:gd name="connsiteX1762" fmla="*/ 3662396 w 13768337"/>
              <a:gd name="connsiteY1762" fmla="*/ 3746590 h 5071335"/>
              <a:gd name="connsiteX1763" fmla="*/ 3658865 w 13768337"/>
              <a:gd name="connsiteY1763" fmla="*/ 3754440 h 5071335"/>
              <a:gd name="connsiteX1764" fmla="*/ 3653304 w 13768337"/>
              <a:gd name="connsiteY1764" fmla="*/ 3761617 h 5071335"/>
              <a:gd name="connsiteX1765" fmla="*/ 3732080 w 13768337"/>
              <a:gd name="connsiteY1765" fmla="*/ 3761617 h 5071335"/>
              <a:gd name="connsiteX1766" fmla="*/ 3695009 w 13768337"/>
              <a:gd name="connsiteY1766" fmla="*/ 3770954 h 5071335"/>
              <a:gd name="connsiteX1767" fmla="*/ 3745056 w 13768337"/>
              <a:gd name="connsiteY1767" fmla="*/ 3766773 h 5071335"/>
              <a:gd name="connsiteX1768" fmla="*/ 3777957 w 13768337"/>
              <a:gd name="connsiteY1768" fmla="*/ 3774857 h 5071335"/>
              <a:gd name="connsiteX1769" fmla="*/ 3821052 w 13768337"/>
              <a:gd name="connsiteY1769" fmla="*/ 3793808 h 5071335"/>
              <a:gd name="connsiteX1770" fmla="*/ 3967485 w 13768337"/>
              <a:gd name="connsiteY1770" fmla="*/ 3730678 h 5071335"/>
              <a:gd name="connsiteX1771" fmla="*/ 3967485 w 13768337"/>
              <a:gd name="connsiteY1771" fmla="*/ 3747123 h 5071335"/>
              <a:gd name="connsiteX1772" fmla="*/ 4055530 w 13768337"/>
              <a:gd name="connsiteY1772" fmla="*/ 3747123 h 5071335"/>
              <a:gd name="connsiteX1773" fmla="*/ 3945242 w 13768337"/>
              <a:gd name="connsiteY1773" fmla="*/ 3772487 h 5071335"/>
              <a:gd name="connsiteX1774" fmla="*/ 3982314 w 13768337"/>
              <a:gd name="connsiteY1774" fmla="*/ 3810394 h 5071335"/>
              <a:gd name="connsiteX1775" fmla="*/ 3967485 w 13768337"/>
              <a:gd name="connsiteY1775" fmla="*/ 3841191 h 5071335"/>
              <a:gd name="connsiteX1776" fmla="*/ 3972583 w 13768337"/>
              <a:gd name="connsiteY1776" fmla="*/ 3857078 h 5071335"/>
              <a:gd name="connsiteX1777" fmla="*/ 3990191 w 13768337"/>
              <a:gd name="connsiteY1777" fmla="*/ 3846348 h 5071335"/>
              <a:gd name="connsiteX1778" fmla="*/ 3982314 w 13768337"/>
              <a:gd name="connsiteY1778" fmla="*/ 3835617 h 5071335"/>
              <a:gd name="connsiteX1779" fmla="*/ 4031896 w 13768337"/>
              <a:gd name="connsiteY1779" fmla="*/ 3824747 h 5071335"/>
              <a:gd name="connsiteX1780" fmla="*/ 4018921 w 13768337"/>
              <a:gd name="connsiteY1780" fmla="*/ 3804819 h 5071335"/>
              <a:gd name="connsiteX1781" fmla="*/ 4004556 w 13768337"/>
              <a:gd name="connsiteY1781" fmla="*/ 3819591 h 5071335"/>
              <a:gd name="connsiteX1782" fmla="*/ 3963313 w 13768337"/>
              <a:gd name="connsiteY1782" fmla="*/ 3783218 h 5071335"/>
              <a:gd name="connsiteX1783" fmla="*/ 4063872 w 13768337"/>
              <a:gd name="connsiteY1783" fmla="*/ 3783218 h 5071335"/>
              <a:gd name="connsiteX1784" fmla="*/ 4060628 w 13768337"/>
              <a:gd name="connsiteY1784" fmla="*/ 3767191 h 5071335"/>
              <a:gd name="connsiteX1785" fmla="*/ 4031896 w 13768337"/>
              <a:gd name="connsiteY1785" fmla="*/ 3772487 h 5071335"/>
              <a:gd name="connsiteX1786" fmla="*/ 4073140 w 13768337"/>
              <a:gd name="connsiteY1786" fmla="*/ 3761617 h 5071335"/>
              <a:gd name="connsiteX1787" fmla="*/ 4068505 w 13768337"/>
              <a:gd name="connsiteY1787" fmla="*/ 3730678 h 5071335"/>
              <a:gd name="connsiteX1788" fmla="*/ 3986947 w 13768337"/>
              <a:gd name="connsiteY1788" fmla="*/ 3714931 h 5071335"/>
              <a:gd name="connsiteX1789" fmla="*/ 3958218 w 13768337"/>
              <a:gd name="connsiteY1789" fmla="*/ 3720087 h 5071335"/>
              <a:gd name="connsiteX1790" fmla="*/ 3894269 w 13768337"/>
              <a:gd name="connsiteY1790" fmla="*/ 3736392 h 5071335"/>
              <a:gd name="connsiteX1791" fmla="*/ 3902146 w 13768337"/>
              <a:gd name="connsiteY1791" fmla="*/ 3717718 h 5071335"/>
              <a:gd name="connsiteX1792" fmla="*/ 3875270 w 13768337"/>
              <a:gd name="connsiteY1792" fmla="*/ 3717718 h 5071335"/>
              <a:gd name="connsiteX1793" fmla="*/ 3879172 w 13768337"/>
              <a:gd name="connsiteY1793" fmla="*/ 3707496 h 5071335"/>
              <a:gd name="connsiteX1794" fmla="*/ 3880263 w 13768337"/>
              <a:gd name="connsiteY1794" fmla="*/ 3707330 h 5071335"/>
              <a:gd name="connsiteX1795" fmla="*/ 3891824 w 13768337"/>
              <a:gd name="connsiteY1795" fmla="*/ 3696173 h 5071335"/>
              <a:gd name="connsiteX1796" fmla="*/ 3891317 w 13768337"/>
              <a:gd name="connsiteY1796" fmla="*/ 3704859 h 5071335"/>
              <a:gd name="connsiteX1797" fmla="*/ 3890644 w 13768337"/>
              <a:gd name="connsiteY1797" fmla="*/ 3705783 h 5071335"/>
              <a:gd name="connsiteX1798" fmla="*/ 3904529 w 13768337"/>
              <a:gd name="connsiteY1798" fmla="*/ 3707332 h 5071335"/>
              <a:gd name="connsiteX1799" fmla="*/ 3911388 w 13768337"/>
              <a:gd name="connsiteY1799" fmla="*/ 3707135 h 5071335"/>
              <a:gd name="connsiteX1800" fmla="*/ 4877128 w 13768337"/>
              <a:gd name="connsiteY1800" fmla="*/ 3690402 h 5071335"/>
              <a:gd name="connsiteX1801" fmla="*/ 4817812 w 13768337"/>
              <a:gd name="connsiteY1801" fmla="*/ 3721481 h 5071335"/>
              <a:gd name="connsiteX1802" fmla="*/ 4830324 w 13768337"/>
              <a:gd name="connsiteY1802" fmla="*/ 3742942 h 5071335"/>
              <a:gd name="connsiteX1803" fmla="*/ 4849787 w 13768337"/>
              <a:gd name="connsiteY1803" fmla="*/ 3710610 h 5071335"/>
              <a:gd name="connsiteX1804" fmla="*/ 4891493 w 13768337"/>
              <a:gd name="connsiteY1804" fmla="*/ 3710610 h 5071335"/>
              <a:gd name="connsiteX1805" fmla="*/ 4859519 w 13768337"/>
              <a:gd name="connsiteY1805" fmla="*/ 3732212 h 5071335"/>
              <a:gd name="connsiteX1806" fmla="*/ 4882225 w 13768337"/>
              <a:gd name="connsiteY1806" fmla="*/ 3742942 h 5071335"/>
              <a:gd name="connsiteX1807" fmla="*/ 4909102 w 13768337"/>
              <a:gd name="connsiteY1807" fmla="*/ 3756460 h 5071335"/>
              <a:gd name="connsiteX1808" fmla="*/ 4904005 w 13768337"/>
              <a:gd name="connsiteY1808" fmla="*/ 3756460 h 5071335"/>
              <a:gd name="connsiteX1809" fmla="*/ 4894737 w 13768337"/>
              <a:gd name="connsiteY1809" fmla="*/ 3759247 h 5071335"/>
              <a:gd name="connsiteX1810" fmla="*/ 4896127 w 13768337"/>
              <a:gd name="connsiteY1810" fmla="*/ 3768584 h 5071335"/>
              <a:gd name="connsiteX1811" fmla="*/ 4905857 w 13768337"/>
              <a:gd name="connsiteY1811" fmla="*/ 3770117 h 5071335"/>
              <a:gd name="connsiteX1812" fmla="*/ 4909102 w 13768337"/>
              <a:gd name="connsiteY1812" fmla="*/ 3756460 h 5071335"/>
              <a:gd name="connsiteX1813" fmla="*/ 4928101 w 13768337"/>
              <a:gd name="connsiteY1813" fmla="*/ 3763010 h 5071335"/>
              <a:gd name="connsiteX1814" fmla="*/ 4923467 w 13768337"/>
              <a:gd name="connsiteY1814" fmla="*/ 3742942 h 5071335"/>
              <a:gd name="connsiteX1815" fmla="*/ 4942234 w 13768337"/>
              <a:gd name="connsiteY1815" fmla="*/ 3755380 h 5071335"/>
              <a:gd name="connsiteX1816" fmla="*/ 4955053 w 13768337"/>
              <a:gd name="connsiteY1816" fmla="*/ 3754639 h 5071335"/>
              <a:gd name="connsiteX1817" fmla="*/ 4946742 w 13768337"/>
              <a:gd name="connsiteY1817" fmla="*/ 3743712 h 5071335"/>
              <a:gd name="connsiteX1818" fmla="*/ 4946274 w 13768337"/>
              <a:gd name="connsiteY1818" fmla="*/ 3739889 h 5071335"/>
              <a:gd name="connsiteX1819" fmla="*/ 4942177 w 13768337"/>
              <a:gd name="connsiteY1819" fmla="*/ 3733344 h 5071335"/>
              <a:gd name="connsiteX1820" fmla="*/ 4923467 w 13768337"/>
              <a:gd name="connsiteY1820" fmla="*/ 3716184 h 5071335"/>
              <a:gd name="connsiteX1821" fmla="*/ 4930947 w 13768337"/>
              <a:gd name="connsiteY1821" fmla="*/ 3707649 h 5071335"/>
              <a:gd name="connsiteX1822" fmla="*/ 4933138 w 13768337"/>
              <a:gd name="connsiteY1822" fmla="*/ 3707047 h 5071335"/>
              <a:gd name="connsiteX1823" fmla="*/ 4891336 w 13768337"/>
              <a:gd name="connsiteY1823" fmla="*/ 3703345 h 5071335"/>
              <a:gd name="connsiteX1824" fmla="*/ 4891458 w 13768337"/>
              <a:gd name="connsiteY1824" fmla="*/ 3702937 h 5071335"/>
              <a:gd name="connsiteX1825" fmla="*/ 4889509 w 13768337"/>
              <a:gd name="connsiteY1825" fmla="*/ 3702715 h 5071335"/>
              <a:gd name="connsiteX1826" fmla="*/ 4877128 w 13768337"/>
              <a:gd name="connsiteY1826" fmla="*/ 3690402 h 5071335"/>
              <a:gd name="connsiteX1827" fmla="*/ 4276569 w 13768337"/>
              <a:gd name="connsiteY1827" fmla="*/ 3674655 h 5071335"/>
              <a:gd name="connsiteX1828" fmla="*/ 4300665 w 13768337"/>
              <a:gd name="connsiteY1828" fmla="*/ 3674655 h 5071335"/>
              <a:gd name="connsiteX1829" fmla="*/ 4276569 w 13768337"/>
              <a:gd name="connsiteY1829" fmla="*/ 3674655 h 5071335"/>
              <a:gd name="connsiteX1830" fmla="*/ 4389638 w 13768337"/>
              <a:gd name="connsiteY1830" fmla="*/ 3670474 h 5071335"/>
              <a:gd name="connsiteX1831" fmla="*/ 4412343 w 13768337"/>
              <a:gd name="connsiteY1831" fmla="*/ 3670474 h 5071335"/>
              <a:gd name="connsiteX1832" fmla="*/ 4389638 w 13768337"/>
              <a:gd name="connsiteY1832" fmla="*/ 3670474 h 5071335"/>
              <a:gd name="connsiteX1833" fmla="*/ 4661649 w 13768337"/>
              <a:gd name="connsiteY1833" fmla="*/ 3669080 h 5071335"/>
              <a:gd name="connsiteX1834" fmla="*/ 4598164 w 13768337"/>
              <a:gd name="connsiteY1834" fmla="*/ 3694863 h 5071335"/>
              <a:gd name="connsiteX1835" fmla="*/ 4661649 w 13768337"/>
              <a:gd name="connsiteY1835" fmla="*/ 3669080 h 5071335"/>
              <a:gd name="connsiteX1836" fmla="*/ 4050769 w 13768337"/>
              <a:gd name="connsiteY1836" fmla="*/ 3666210 h 5071335"/>
              <a:gd name="connsiteX1837" fmla="*/ 4031769 w 13768337"/>
              <a:gd name="connsiteY1837" fmla="*/ 3673317 h 5071335"/>
              <a:gd name="connsiteX1838" fmla="*/ 4072085 w 13768337"/>
              <a:gd name="connsiteY1838" fmla="*/ 3668580 h 5071335"/>
              <a:gd name="connsiteX1839" fmla="*/ 4050769 w 13768337"/>
              <a:gd name="connsiteY1839" fmla="*/ 3666210 h 5071335"/>
              <a:gd name="connsiteX1840" fmla="*/ 12986827 w 13768337"/>
              <a:gd name="connsiteY1840" fmla="*/ 3651502 h 5071335"/>
              <a:gd name="connsiteX1841" fmla="*/ 12988680 w 13768337"/>
              <a:gd name="connsiteY1841" fmla="*/ 3676169 h 5071335"/>
              <a:gd name="connsiteX1842" fmla="*/ 12939098 w 13768337"/>
              <a:gd name="connsiteY1842" fmla="*/ 3677563 h 5071335"/>
              <a:gd name="connsiteX1843" fmla="*/ 12962732 w 13768337"/>
              <a:gd name="connsiteY1843" fmla="*/ 3658331 h 5071335"/>
              <a:gd name="connsiteX1844" fmla="*/ 12970146 w 13768337"/>
              <a:gd name="connsiteY1844" fmla="*/ 3674636 h 5071335"/>
              <a:gd name="connsiteX1845" fmla="*/ 12971536 w 13768337"/>
              <a:gd name="connsiteY1845" fmla="*/ 3654150 h 5071335"/>
              <a:gd name="connsiteX1846" fmla="*/ 3083328 w 13768337"/>
              <a:gd name="connsiteY1846" fmla="*/ 3651242 h 5071335"/>
              <a:gd name="connsiteX1847" fmla="*/ 3114839 w 13768337"/>
              <a:gd name="connsiteY1847" fmla="*/ 3658349 h 5071335"/>
              <a:gd name="connsiteX1848" fmla="*/ 3074989 w 13768337"/>
              <a:gd name="connsiteY1848" fmla="*/ 3658349 h 5071335"/>
              <a:gd name="connsiteX1849" fmla="*/ 3083328 w 13768337"/>
              <a:gd name="connsiteY1849" fmla="*/ 3651242 h 5071335"/>
              <a:gd name="connsiteX1850" fmla="*/ 4948333 w 13768337"/>
              <a:gd name="connsiteY1850" fmla="*/ 3648297 h 5071335"/>
              <a:gd name="connsiteX1851" fmla="*/ 4940456 w 13768337"/>
              <a:gd name="connsiteY1851" fmla="*/ 3649132 h 5071335"/>
              <a:gd name="connsiteX1852" fmla="*/ 4933504 w 13768337"/>
              <a:gd name="connsiteY1852" fmla="*/ 3670455 h 5071335"/>
              <a:gd name="connsiteX1853" fmla="*/ 4961774 w 13768337"/>
              <a:gd name="connsiteY1853" fmla="*/ 3666832 h 5071335"/>
              <a:gd name="connsiteX1854" fmla="*/ 4957138 w 13768337"/>
              <a:gd name="connsiteY1854" fmla="*/ 3656519 h 5071335"/>
              <a:gd name="connsiteX1855" fmla="*/ 4969187 w 13768337"/>
              <a:gd name="connsiteY1855" fmla="*/ 3650945 h 5071335"/>
              <a:gd name="connsiteX1856" fmla="*/ 4948333 w 13768337"/>
              <a:gd name="connsiteY1856" fmla="*/ 3648297 h 5071335"/>
              <a:gd name="connsiteX1857" fmla="*/ 4244930 w 13768337"/>
              <a:gd name="connsiteY1857" fmla="*/ 3647536 h 5071335"/>
              <a:gd name="connsiteX1858" fmla="*/ 4208787 w 13768337"/>
              <a:gd name="connsiteY1858" fmla="*/ 3665374 h 5071335"/>
              <a:gd name="connsiteX1859" fmla="*/ 4249565 w 13768337"/>
              <a:gd name="connsiteY1859" fmla="*/ 3666210 h 5071335"/>
              <a:gd name="connsiteX1860" fmla="*/ 4244930 w 13768337"/>
              <a:gd name="connsiteY1860" fmla="*/ 3647536 h 5071335"/>
              <a:gd name="connsiteX1861" fmla="*/ 4671381 w 13768337"/>
              <a:gd name="connsiteY1861" fmla="*/ 3642323 h 5071335"/>
              <a:gd name="connsiteX1862" fmla="*/ 4634772 w 13768337"/>
              <a:gd name="connsiteY1862" fmla="*/ 3658349 h 5071335"/>
              <a:gd name="connsiteX1863" fmla="*/ 4671381 w 13768337"/>
              <a:gd name="connsiteY1863" fmla="*/ 3669080 h 5071335"/>
              <a:gd name="connsiteX1864" fmla="*/ 4679259 w 13768337"/>
              <a:gd name="connsiteY1864" fmla="*/ 3663784 h 5071335"/>
              <a:gd name="connsiteX1865" fmla="*/ 4693624 w 13768337"/>
              <a:gd name="connsiteY1865" fmla="*/ 3679671 h 5071335"/>
              <a:gd name="connsiteX1866" fmla="*/ 4671381 w 13768337"/>
              <a:gd name="connsiteY1866" fmla="*/ 3694863 h 5071335"/>
              <a:gd name="connsiteX1867" fmla="*/ 4707989 w 13768337"/>
              <a:gd name="connsiteY1867" fmla="*/ 3669080 h 5071335"/>
              <a:gd name="connsiteX1868" fmla="*/ 4671381 w 13768337"/>
              <a:gd name="connsiteY1868" fmla="*/ 3642323 h 5071335"/>
              <a:gd name="connsiteX1869" fmla="*/ 4103196 w 13768337"/>
              <a:gd name="connsiteY1869" fmla="*/ 3640564 h 5071335"/>
              <a:gd name="connsiteX1870" fmla="*/ 4105319 w 13768337"/>
              <a:gd name="connsiteY1870" fmla="*/ 3641173 h 5071335"/>
              <a:gd name="connsiteX1871" fmla="*/ 4106887 w 13768337"/>
              <a:gd name="connsiteY1871" fmla="*/ 3641087 h 5071335"/>
              <a:gd name="connsiteX1872" fmla="*/ 4532826 w 13768337"/>
              <a:gd name="connsiteY1872" fmla="*/ 3633822 h 5071335"/>
              <a:gd name="connsiteX1873" fmla="*/ 4505486 w 13768337"/>
              <a:gd name="connsiteY1873" fmla="*/ 3653054 h 5071335"/>
              <a:gd name="connsiteX1874" fmla="*/ 4541630 w 13768337"/>
              <a:gd name="connsiteY1874" fmla="*/ 3637028 h 5071335"/>
              <a:gd name="connsiteX1875" fmla="*/ 4532826 w 13768337"/>
              <a:gd name="connsiteY1875" fmla="*/ 3633822 h 5071335"/>
              <a:gd name="connsiteX1876" fmla="*/ 2979065 w 13768337"/>
              <a:gd name="connsiteY1876" fmla="*/ 3624624 h 5071335"/>
              <a:gd name="connsiteX1877" fmla="*/ 3000845 w 13768337"/>
              <a:gd name="connsiteY1877" fmla="*/ 3645110 h 5071335"/>
              <a:gd name="connsiteX1878" fmla="*/ 2992968 w 13768337"/>
              <a:gd name="connsiteY1878" fmla="*/ 3639954 h 5071335"/>
              <a:gd name="connsiteX1879" fmla="*/ 2974431 w 13768337"/>
              <a:gd name="connsiteY1879" fmla="*/ 3645110 h 5071335"/>
              <a:gd name="connsiteX1880" fmla="*/ 2979065 w 13768337"/>
              <a:gd name="connsiteY1880" fmla="*/ 3624624 h 5071335"/>
              <a:gd name="connsiteX1881" fmla="*/ 3868782 w 13768337"/>
              <a:gd name="connsiteY1881" fmla="*/ 3622534 h 5071335"/>
              <a:gd name="connsiteX1882" fmla="*/ 3875732 w 13768337"/>
              <a:gd name="connsiteY1882" fmla="*/ 3625460 h 5071335"/>
              <a:gd name="connsiteX1883" fmla="*/ 3875732 w 13768337"/>
              <a:gd name="connsiteY1883" fmla="*/ 3641487 h 5071335"/>
              <a:gd name="connsiteX1884" fmla="*/ 3864611 w 13768337"/>
              <a:gd name="connsiteY1884" fmla="*/ 3622812 h 5071335"/>
              <a:gd name="connsiteX1885" fmla="*/ 3868782 w 13768337"/>
              <a:gd name="connsiteY1885" fmla="*/ 3622534 h 5071335"/>
              <a:gd name="connsiteX1886" fmla="*/ 4217591 w 13768337"/>
              <a:gd name="connsiteY1886" fmla="*/ 3621474 h 5071335"/>
              <a:gd name="connsiteX1887" fmla="*/ 4189786 w 13768337"/>
              <a:gd name="connsiteY1887" fmla="*/ 3623287 h 5071335"/>
              <a:gd name="connsiteX1888" fmla="*/ 4217591 w 13768337"/>
              <a:gd name="connsiteY1888" fmla="*/ 3621474 h 5071335"/>
              <a:gd name="connsiteX1889" fmla="*/ 4615311 w 13768337"/>
              <a:gd name="connsiteY1889" fmla="*/ 3620722 h 5071335"/>
              <a:gd name="connsiteX1890" fmla="*/ 4625042 w 13768337"/>
              <a:gd name="connsiteY1890" fmla="*/ 3642323 h 5071335"/>
              <a:gd name="connsiteX1891" fmla="*/ 4639406 w 13768337"/>
              <a:gd name="connsiteY1891" fmla="*/ 3626436 h 5071335"/>
              <a:gd name="connsiteX1892" fmla="*/ 4615311 w 13768337"/>
              <a:gd name="connsiteY1892" fmla="*/ 3620722 h 5071335"/>
              <a:gd name="connsiteX1893" fmla="*/ 3720033 w 13768337"/>
              <a:gd name="connsiteY1893" fmla="*/ 3620722 h 5071335"/>
              <a:gd name="connsiteX1894" fmla="*/ 3760348 w 13768337"/>
              <a:gd name="connsiteY1894" fmla="*/ 3635773 h 5071335"/>
              <a:gd name="connsiteX1895" fmla="*/ 3746446 w 13768337"/>
              <a:gd name="connsiteY1895" fmla="*/ 3651242 h 5071335"/>
              <a:gd name="connsiteX1896" fmla="*/ 3697789 w 13768337"/>
              <a:gd name="connsiteY1896" fmla="*/ 3640930 h 5071335"/>
              <a:gd name="connsiteX1897" fmla="*/ 3720033 w 13768337"/>
              <a:gd name="connsiteY1897" fmla="*/ 3620722 h 5071335"/>
              <a:gd name="connsiteX1898" fmla="*/ 4032361 w 13768337"/>
              <a:gd name="connsiteY1898" fmla="*/ 3618910 h 5071335"/>
              <a:gd name="connsiteX1899" fmla="*/ 4043481 w 13768337"/>
              <a:gd name="connsiteY1899" fmla="*/ 3624066 h 5071335"/>
              <a:gd name="connsiteX1900" fmla="*/ 4030506 w 13768337"/>
              <a:gd name="connsiteY1900" fmla="*/ 3645668 h 5071335"/>
              <a:gd name="connsiteX1901" fmla="*/ 4032361 w 13768337"/>
              <a:gd name="connsiteY1901" fmla="*/ 3618910 h 5071335"/>
              <a:gd name="connsiteX1902" fmla="*/ 2882217 w 13768337"/>
              <a:gd name="connsiteY1902" fmla="*/ 3611525 h 5071335"/>
              <a:gd name="connsiteX1903" fmla="*/ 2902143 w 13768337"/>
              <a:gd name="connsiteY1903" fmla="*/ 3614729 h 5071335"/>
              <a:gd name="connsiteX1904" fmla="*/ 2867850 w 13768337"/>
              <a:gd name="connsiteY1904" fmla="*/ 3625460 h 5071335"/>
              <a:gd name="connsiteX1905" fmla="*/ 2882217 w 13768337"/>
              <a:gd name="connsiteY1905" fmla="*/ 3611525 h 5071335"/>
              <a:gd name="connsiteX1906" fmla="*/ 2958676 w 13768337"/>
              <a:gd name="connsiteY1906" fmla="*/ 3598285 h 5071335"/>
              <a:gd name="connsiteX1907" fmla="*/ 2976285 w 13768337"/>
              <a:gd name="connsiteY1907" fmla="*/ 3603860 h 5071335"/>
              <a:gd name="connsiteX1908" fmla="*/ 2954042 w 13768337"/>
              <a:gd name="connsiteY1908" fmla="*/ 3629642 h 5071335"/>
              <a:gd name="connsiteX1909" fmla="*/ 2963773 w 13768337"/>
              <a:gd name="connsiteY1909" fmla="*/ 3651660 h 5071335"/>
              <a:gd name="connsiteX1910" fmla="*/ 2948945 w 13768337"/>
              <a:gd name="connsiteY1910" fmla="*/ 3651660 h 5071335"/>
              <a:gd name="connsiteX1911" fmla="*/ 2967017 w 13768337"/>
              <a:gd name="connsiteY1911" fmla="*/ 3662531 h 5071335"/>
              <a:gd name="connsiteX1912" fmla="*/ 2926238 w 13768337"/>
              <a:gd name="connsiteY1912" fmla="*/ 3656817 h 5071335"/>
              <a:gd name="connsiteX1913" fmla="*/ 2897044 w 13768337"/>
              <a:gd name="connsiteY1913" fmla="*/ 3640930 h 5071335"/>
              <a:gd name="connsiteX1914" fmla="*/ 2911873 w 13768337"/>
              <a:gd name="connsiteY1914" fmla="*/ 3614729 h 5071335"/>
              <a:gd name="connsiteX1915" fmla="*/ 2954042 w 13768337"/>
              <a:gd name="connsiteY1915" fmla="*/ 3618910 h 5071335"/>
              <a:gd name="connsiteX1916" fmla="*/ 2958676 w 13768337"/>
              <a:gd name="connsiteY1916" fmla="*/ 3598285 h 5071335"/>
              <a:gd name="connsiteX1917" fmla="*/ 3833120 w 13768337"/>
              <a:gd name="connsiteY1917" fmla="*/ 3587240 h 5071335"/>
              <a:gd name="connsiteX1918" fmla="*/ 3833031 w 13768337"/>
              <a:gd name="connsiteY1918" fmla="*/ 3587385 h 5071335"/>
              <a:gd name="connsiteX1919" fmla="*/ 3833438 w 13768337"/>
              <a:gd name="connsiteY1919" fmla="*/ 3587331 h 5071335"/>
              <a:gd name="connsiteX1920" fmla="*/ 4432144 w 13768337"/>
              <a:gd name="connsiteY1920" fmla="*/ 3585937 h 5071335"/>
              <a:gd name="connsiteX1921" fmla="*/ 4402021 w 13768337"/>
              <a:gd name="connsiteY1921" fmla="*/ 3593324 h 5071335"/>
              <a:gd name="connsiteX1922" fmla="*/ 4466897 w 13768337"/>
              <a:gd name="connsiteY1922" fmla="*/ 3586775 h 5071335"/>
              <a:gd name="connsiteX1923" fmla="*/ 4463181 w 13768337"/>
              <a:gd name="connsiteY1923" fmla="*/ 3586685 h 5071335"/>
              <a:gd name="connsiteX1924" fmla="*/ 4454432 w 13768337"/>
              <a:gd name="connsiteY1924" fmla="*/ 3588736 h 5071335"/>
              <a:gd name="connsiteX1925" fmla="*/ 4442000 w 13768337"/>
              <a:gd name="connsiteY1925" fmla="*/ 3589923 h 5071335"/>
              <a:gd name="connsiteX1926" fmla="*/ 4446378 w 13768337"/>
              <a:gd name="connsiteY1926" fmla="*/ 3586280 h 5071335"/>
              <a:gd name="connsiteX1927" fmla="*/ 4382719 w 13768337"/>
              <a:gd name="connsiteY1927" fmla="*/ 3584701 h 5071335"/>
              <a:gd name="connsiteX1928" fmla="*/ 4346877 w 13768337"/>
              <a:gd name="connsiteY1928" fmla="*/ 3593324 h 5071335"/>
              <a:gd name="connsiteX1929" fmla="*/ 4365878 w 13768337"/>
              <a:gd name="connsiteY1929" fmla="*/ 3606424 h 5071335"/>
              <a:gd name="connsiteX1930" fmla="*/ 4269491 w 13768337"/>
              <a:gd name="connsiteY1930" fmla="*/ 3600710 h 5071335"/>
              <a:gd name="connsiteX1931" fmla="*/ 4264857 w 13768337"/>
              <a:gd name="connsiteY1931" fmla="*/ 3635411 h 5071335"/>
              <a:gd name="connsiteX1932" fmla="*/ 4352901 w 13768337"/>
              <a:gd name="connsiteY1932" fmla="*/ 3648093 h 5071335"/>
              <a:gd name="connsiteX1933" fmla="*/ 4326488 w 13768337"/>
              <a:gd name="connsiteY1933" fmla="*/ 3669555 h 5071335"/>
              <a:gd name="connsiteX1934" fmla="*/ 4274589 w 13768337"/>
              <a:gd name="connsiteY1934" fmla="*/ 3664399 h 5071335"/>
              <a:gd name="connsiteX1935" fmla="*/ 4252809 w 13768337"/>
              <a:gd name="connsiteY1935" fmla="*/ 3681401 h 5071335"/>
              <a:gd name="connsiteX1936" fmla="*/ 4131400 w 13768337"/>
              <a:gd name="connsiteY1936" fmla="*/ 3672760 h 5071335"/>
              <a:gd name="connsiteX1937" fmla="*/ 4151325 w 13768337"/>
              <a:gd name="connsiteY1937" fmla="*/ 3675686 h 5071335"/>
              <a:gd name="connsiteX1938" fmla="*/ 4118889 w 13768337"/>
              <a:gd name="connsiteY1938" fmla="*/ 3673874 h 5071335"/>
              <a:gd name="connsiteX1939" fmla="*/ 4123059 w 13768337"/>
              <a:gd name="connsiteY1939" fmla="*/ 3684048 h 5071335"/>
              <a:gd name="connsiteX1940" fmla="*/ 4012307 w 13768337"/>
              <a:gd name="connsiteY1940" fmla="*/ 3694361 h 5071335"/>
              <a:gd name="connsiteX1941" fmla="*/ 3991642 w 13768337"/>
              <a:gd name="connsiteY1941" fmla="*/ 3704752 h 5071335"/>
              <a:gd name="connsiteX1942" fmla="*/ 3973076 w 13768337"/>
              <a:gd name="connsiteY1942" fmla="*/ 3705117 h 5071335"/>
              <a:gd name="connsiteX1943" fmla="*/ 3989671 w 13768337"/>
              <a:gd name="connsiteY1943" fmla="*/ 3708380 h 5071335"/>
              <a:gd name="connsiteX1944" fmla="*/ 4055530 w 13768337"/>
              <a:gd name="connsiteY1944" fmla="*/ 3725661 h 5071335"/>
              <a:gd name="connsiteX1945" fmla="*/ 4133843 w 13768337"/>
              <a:gd name="connsiteY1945" fmla="*/ 3730678 h 5071335"/>
              <a:gd name="connsiteX1946" fmla="*/ 4087504 w 13768337"/>
              <a:gd name="connsiteY1946" fmla="*/ 3730678 h 5071335"/>
              <a:gd name="connsiteX1947" fmla="*/ 4124112 w 13768337"/>
              <a:gd name="connsiteY1947" fmla="*/ 3741410 h 5071335"/>
              <a:gd name="connsiteX1948" fmla="*/ 4077773 w 13768337"/>
              <a:gd name="connsiteY1948" fmla="*/ 3752279 h 5071335"/>
              <a:gd name="connsiteX1949" fmla="*/ 4087504 w 13768337"/>
              <a:gd name="connsiteY1949" fmla="*/ 3772487 h 5071335"/>
              <a:gd name="connsiteX1950" fmla="*/ 4119480 w 13768337"/>
              <a:gd name="connsiteY1950" fmla="*/ 3757993 h 5071335"/>
              <a:gd name="connsiteX1951" fmla="*/ 4104649 w 13768337"/>
              <a:gd name="connsiteY1951" fmla="*/ 3778062 h 5071335"/>
              <a:gd name="connsiteX1952" fmla="*/ 4137086 w 13768337"/>
              <a:gd name="connsiteY1952" fmla="*/ 3799523 h 5071335"/>
              <a:gd name="connsiteX1953" fmla="*/ 4150989 w 13768337"/>
              <a:gd name="connsiteY1953" fmla="*/ 3772487 h 5071335"/>
              <a:gd name="connsiteX1954" fmla="*/ 4170451 w 13768337"/>
              <a:gd name="connsiteY1954" fmla="*/ 3778062 h 5071335"/>
              <a:gd name="connsiteX1955" fmla="*/ 4197792 w 13768337"/>
              <a:gd name="connsiteY1955" fmla="*/ 3788792 h 5071335"/>
              <a:gd name="connsiteX1956" fmla="*/ 4197792 w 13768337"/>
              <a:gd name="connsiteY1956" fmla="*/ 3810394 h 5071335"/>
              <a:gd name="connsiteX1957" fmla="*/ 4165817 w 13768337"/>
              <a:gd name="connsiteY1957" fmla="*/ 3793808 h 5071335"/>
              <a:gd name="connsiteX1958" fmla="*/ 4165817 w 13768337"/>
              <a:gd name="connsiteY1958" fmla="*/ 3824747 h 5071335"/>
              <a:gd name="connsiteX1959" fmla="*/ 4146355 w 13768337"/>
              <a:gd name="connsiteY1959" fmla="*/ 3824747 h 5071335"/>
              <a:gd name="connsiteX1960" fmla="*/ 4156086 w 13768337"/>
              <a:gd name="connsiteY1960" fmla="*/ 3810394 h 5071335"/>
              <a:gd name="connsiteX1961" fmla="*/ 4045799 w 13768337"/>
              <a:gd name="connsiteY1961" fmla="*/ 3835617 h 5071335"/>
              <a:gd name="connsiteX1962" fmla="*/ 4055530 w 13768337"/>
              <a:gd name="connsiteY1962" fmla="*/ 3824747 h 5071335"/>
              <a:gd name="connsiteX1963" fmla="*/ 4041164 w 13768337"/>
              <a:gd name="connsiteY1963" fmla="*/ 3835617 h 5071335"/>
              <a:gd name="connsiteX1964" fmla="*/ 4055530 w 13768337"/>
              <a:gd name="connsiteY1964" fmla="*/ 3851922 h 5071335"/>
              <a:gd name="connsiteX1965" fmla="*/ 4031896 w 13768337"/>
              <a:gd name="connsiteY1965" fmla="*/ 3857078 h 5071335"/>
              <a:gd name="connsiteX1966" fmla="*/ 4060628 w 13768337"/>
              <a:gd name="connsiteY1966" fmla="*/ 3857078 h 5071335"/>
              <a:gd name="connsiteX1967" fmla="*/ 4092138 w 13768337"/>
              <a:gd name="connsiteY1967" fmla="*/ 3846348 h 5071335"/>
              <a:gd name="connsiteX1968" fmla="*/ 4087904 w 13768337"/>
              <a:gd name="connsiteY1968" fmla="*/ 3851459 h 5071335"/>
              <a:gd name="connsiteX1969" fmla="*/ 4095777 w 13768337"/>
              <a:gd name="connsiteY1969" fmla="*/ 3856665 h 5071335"/>
              <a:gd name="connsiteX1970" fmla="*/ 4098515 w 13768337"/>
              <a:gd name="connsiteY1970" fmla="*/ 3859219 h 5071335"/>
              <a:gd name="connsiteX1971" fmla="*/ 4099980 w 13768337"/>
              <a:gd name="connsiteY1971" fmla="*/ 3858431 h 5071335"/>
              <a:gd name="connsiteX1972" fmla="*/ 4104649 w 13768337"/>
              <a:gd name="connsiteY1972" fmla="*/ 3862235 h 5071335"/>
              <a:gd name="connsiteX1973" fmla="*/ 4104649 w 13768337"/>
              <a:gd name="connsiteY1973" fmla="*/ 3830321 h 5071335"/>
              <a:gd name="connsiteX1974" fmla="*/ 4087504 w 13768337"/>
              <a:gd name="connsiteY1974" fmla="*/ 3835617 h 5071335"/>
              <a:gd name="connsiteX1975" fmla="*/ 4109747 w 13768337"/>
              <a:gd name="connsiteY1975" fmla="*/ 3819591 h 5071335"/>
              <a:gd name="connsiteX1976" fmla="*/ 4109747 w 13768337"/>
              <a:gd name="connsiteY1976" fmla="*/ 3846348 h 5071335"/>
              <a:gd name="connsiteX1977" fmla="*/ 4212158 w 13768337"/>
              <a:gd name="connsiteY1977" fmla="*/ 3824747 h 5071335"/>
              <a:gd name="connsiteX1978" fmla="*/ 4285373 w 13768337"/>
              <a:gd name="connsiteY1978" fmla="*/ 3867949 h 5071335"/>
              <a:gd name="connsiteX1979" fmla="*/ 4285373 w 13768337"/>
              <a:gd name="connsiteY1979" fmla="*/ 3846348 h 5071335"/>
              <a:gd name="connsiteX1980" fmla="*/ 4317348 w 13768337"/>
              <a:gd name="connsiteY1980" fmla="*/ 3878680 h 5071335"/>
              <a:gd name="connsiteX1981" fmla="*/ 4293251 w 13768337"/>
              <a:gd name="connsiteY1981" fmla="*/ 3878680 h 5071335"/>
              <a:gd name="connsiteX1982" fmla="*/ 4334493 w 13768337"/>
              <a:gd name="connsiteY1982" fmla="*/ 3909478 h 5071335"/>
              <a:gd name="connsiteX1983" fmla="*/ 4344224 w 13768337"/>
              <a:gd name="connsiteY1983" fmla="*/ 3878680 h 5071335"/>
              <a:gd name="connsiteX1984" fmla="*/ 4325225 w 13768337"/>
              <a:gd name="connsiteY1984" fmla="*/ 3862235 h 5071335"/>
              <a:gd name="connsiteX1985" fmla="*/ 4361834 w 13768337"/>
              <a:gd name="connsiteY1985" fmla="*/ 3867949 h 5071335"/>
              <a:gd name="connsiteX1986" fmla="*/ 4361834 w 13768337"/>
              <a:gd name="connsiteY1986" fmla="*/ 3882443 h 5071335"/>
              <a:gd name="connsiteX1987" fmla="*/ 4361834 w 13768337"/>
              <a:gd name="connsiteY1987" fmla="*/ 3893173 h 5071335"/>
              <a:gd name="connsiteX1988" fmla="*/ 4344224 w 13768337"/>
              <a:gd name="connsiteY1988" fmla="*/ 3898748 h 5071335"/>
              <a:gd name="connsiteX1989" fmla="*/ 4390564 w 13768337"/>
              <a:gd name="connsiteY1989" fmla="*/ 3898748 h 5071335"/>
              <a:gd name="connsiteX1990" fmla="*/ 4361834 w 13768337"/>
              <a:gd name="connsiteY1990" fmla="*/ 3882443 h 5071335"/>
              <a:gd name="connsiteX1991" fmla="*/ 4471659 w 13768337"/>
              <a:gd name="connsiteY1991" fmla="*/ 3881328 h 5071335"/>
              <a:gd name="connsiteX1992" fmla="*/ 4468877 w 13768337"/>
              <a:gd name="connsiteY1992" fmla="*/ 3872966 h 5071335"/>
              <a:gd name="connsiteX1993" fmla="*/ 4564336 w 13768337"/>
              <a:gd name="connsiteY1993" fmla="*/ 3872966 h 5071335"/>
              <a:gd name="connsiteX1994" fmla="*/ 4537461 w 13768337"/>
              <a:gd name="connsiteY1994" fmla="*/ 3851922 h 5071335"/>
              <a:gd name="connsiteX1995" fmla="*/ 4541630 w 13768337"/>
              <a:gd name="connsiteY1995" fmla="*/ 3843561 h 5071335"/>
              <a:gd name="connsiteX1996" fmla="*/ 4578702 w 13768337"/>
              <a:gd name="connsiteY1996" fmla="*/ 3846348 h 5071335"/>
              <a:gd name="connsiteX1997" fmla="*/ 4564336 w 13768337"/>
              <a:gd name="connsiteY1997" fmla="*/ 3851922 h 5071335"/>
              <a:gd name="connsiteX1998" fmla="*/ 4559703 w 13768337"/>
              <a:gd name="connsiteY1998" fmla="*/ 3857078 h 5071335"/>
              <a:gd name="connsiteX1999" fmla="*/ 4578702 w 13768337"/>
              <a:gd name="connsiteY1999" fmla="*/ 3872966 h 5071335"/>
              <a:gd name="connsiteX2000" fmla="*/ 4606042 w 13768337"/>
              <a:gd name="connsiteY2000" fmla="*/ 3857078 h 5071335"/>
              <a:gd name="connsiteX2001" fmla="*/ 4664893 w 13768337"/>
              <a:gd name="connsiteY2001" fmla="*/ 3867949 h 5071335"/>
              <a:gd name="connsiteX2002" fmla="*/ 4674161 w 13768337"/>
              <a:gd name="connsiteY2002" fmla="*/ 3883697 h 5071335"/>
              <a:gd name="connsiteX2003" fmla="*/ 4652383 w 13768337"/>
              <a:gd name="connsiteY2003" fmla="*/ 3889272 h 5071335"/>
              <a:gd name="connsiteX2004" fmla="*/ 4693624 w 13768337"/>
              <a:gd name="connsiteY2004" fmla="*/ 3894567 h 5071335"/>
              <a:gd name="connsiteX2005" fmla="*/ 4835885 w 13768337"/>
              <a:gd name="connsiteY2005" fmla="*/ 3916029 h 5071335"/>
              <a:gd name="connsiteX2006" fmla="*/ 4816423 w 13768337"/>
              <a:gd name="connsiteY2006" fmla="*/ 3889272 h 5071335"/>
              <a:gd name="connsiteX2007" fmla="*/ 4862763 w 13768337"/>
              <a:gd name="connsiteY2007" fmla="*/ 3910872 h 5071335"/>
              <a:gd name="connsiteX2008" fmla="*/ 4847934 w 13768337"/>
              <a:gd name="connsiteY2008" fmla="*/ 3923972 h 5071335"/>
              <a:gd name="connsiteX2009" fmla="*/ 4848860 w 13768337"/>
              <a:gd name="connsiteY2009" fmla="*/ 3923972 h 5071335"/>
              <a:gd name="connsiteX2010" fmla="*/ 4847007 w 13768337"/>
              <a:gd name="connsiteY2010" fmla="*/ 3931359 h 5071335"/>
              <a:gd name="connsiteX2011" fmla="*/ 4848397 w 13768337"/>
              <a:gd name="connsiteY2011" fmla="*/ 3936097 h 5071335"/>
              <a:gd name="connsiteX2012" fmla="*/ 4846543 w 13768337"/>
              <a:gd name="connsiteY2012" fmla="*/ 3934703 h 5071335"/>
              <a:gd name="connsiteX2013" fmla="*/ 4848860 w 13768337"/>
              <a:gd name="connsiteY2013" fmla="*/ 3942646 h 5071335"/>
              <a:gd name="connsiteX2014" fmla="*/ 4843299 w 13768337"/>
              <a:gd name="connsiteY2014" fmla="*/ 3948780 h 5071335"/>
              <a:gd name="connsiteX2015" fmla="*/ 4834496 w 13768337"/>
              <a:gd name="connsiteY2015" fmla="*/ 3948780 h 5071335"/>
              <a:gd name="connsiteX2016" fmla="*/ 4835885 w 13768337"/>
              <a:gd name="connsiteY2016" fmla="*/ 3930522 h 5071335"/>
              <a:gd name="connsiteX2017" fmla="*/ 4825692 w 13768337"/>
              <a:gd name="connsiteY2017" fmla="*/ 3941811 h 5071335"/>
              <a:gd name="connsiteX2018" fmla="*/ 4798814 w 13768337"/>
              <a:gd name="connsiteY2018" fmla="*/ 3946828 h 5071335"/>
              <a:gd name="connsiteX2019" fmla="*/ 4808544 w 13768337"/>
              <a:gd name="connsiteY2019" fmla="*/ 3925366 h 5071335"/>
              <a:gd name="connsiteX2020" fmla="*/ 4784913 w 13768337"/>
              <a:gd name="connsiteY2020" fmla="*/ 3916029 h 5071335"/>
              <a:gd name="connsiteX2021" fmla="*/ 4798814 w 13768337"/>
              <a:gd name="connsiteY2021" fmla="*/ 3931080 h 5071335"/>
              <a:gd name="connsiteX2022" fmla="*/ 4762206 w 13768337"/>
              <a:gd name="connsiteY2022" fmla="*/ 3941811 h 5071335"/>
              <a:gd name="connsiteX2023" fmla="*/ 4632918 w 13768337"/>
              <a:gd name="connsiteY2023" fmla="*/ 3909478 h 5071335"/>
              <a:gd name="connsiteX2024" fmla="*/ 4657015 w 13768337"/>
              <a:gd name="connsiteY2024" fmla="*/ 3925366 h 5071335"/>
              <a:gd name="connsiteX2025" fmla="*/ 4606042 w 13768337"/>
              <a:gd name="connsiteY2025" fmla="*/ 3952403 h 5071335"/>
              <a:gd name="connsiteX2026" fmla="*/ 4621797 w 13768337"/>
              <a:gd name="connsiteY2026" fmla="*/ 3962854 h 5071335"/>
              <a:gd name="connsiteX2027" fmla="*/ 4628284 w 13768337"/>
              <a:gd name="connsiteY2027" fmla="*/ 3961879 h 5071335"/>
              <a:gd name="connsiteX2028" fmla="*/ 4701501 w 13768337"/>
              <a:gd name="connsiteY2028" fmla="*/ 3931080 h 5071335"/>
              <a:gd name="connsiteX2029" fmla="*/ 4711233 w 13768337"/>
              <a:gd name="connsiteY2029" fmla="*/ 3952403 h 5071335"/>
              <a:gd name="connsiteX2030" fmla="*/ 4709378 w 13768337"/>
              <a:gd name="connsiteY2030" fmla="*/ 3955330 h 5071335"/>
              <a:gd name="connsiteX2031" fmla="*/ 4903078 w 13768337"/>
              <a:gd name="connsiteY2031" fmla="*/ 3949754 h 5071335"/>
              <a:gd name="connsiteX2032" fmla="*/ 4903078 w 13768337"/>
              <a:gd name="connsiteY2032" fmla="*/ 3935818 h 5071335"/>
              <a:gd name="connsiteX2033" fmla="*/ 4890102 w 13768337"/>
              <a:gd name="connsiteY2033" fmla="*/ 3916029 h 5071335"/>
              <a:gd name="connsiteX2034" fmla="*/ 4902615 w 13768337"/>
              <a:gd name="connsiteY2034" fmla="*/ 3931080 h 5071335"/>
              <a:gd name="connsiteX2035" fmla="*/ 4907711 w 13768337"/>
              <a:gd name="connsiteY2035" fmla="*/ 3920210 h 5071335"/>
              <a:gd name="connsiteX2036" fmla="*/ 4913736 w 13768337"/>
              <a:gd name="connsiteY2036" fmla="*/ 3905298 h 5071335"/>
              <a:gd name="connsiteX2037" fmla="*/ 4872031 w 13768337"/>
              <a:gd name="connsiteY2037" fmla="*/ 3894567 h 5071335"/>
              <a:gd name="connsiteX2038" fmla="*/ 4918370 w 13768337"/>
              <a:gd name="connsiteY2038" fmla="*/ 3878680 h 5071335"/>
              <a:gd name="connsiteX2039" fmla="*/ 4909102 w 13768337"/>
              <a:gd name="connsiteY2039" fmla="*/ 3863490 h 5071335"/>
              <a:gd name="connsiteX2040" fmla="*/ 4882225 w 13768337"/>
              <a:gd name="connsiteY2040" fmla="*/ 3872966 h 5071335"/>
              <a:gd name="connsiteX2041" fmla="*/ 4857665 w 13768337"/>
              <a:gd name="connsiteY2041" fmla="*/ 3831436 h 5071335"/>
              <a:gd name="connsiteX2042" fmla="*/ 4891493 w 13768337"/>
              <a:gd name="connsiteY2042" fmla="*/ 3842167 h 5071335"/>
              <a:gd name="connsiteX2043" fmla="*/ 4830324 w 13768337"/>
              <a:gd name="connsiteY2043" fmla="*/ 3826141 h 5071335"/>
              <a:gd name="connsiteX2044" fmla="*/ 4835885 w 13768337"/>
              <a:gd name="connsiteY2044" fmla="*/ 3806073 h 5071335"/>
              <a:gd name="connsiteX2045" fmla="*/ 4821058 w 13768337"/>
              <a:gd name="connsiteY2045" fmla="*/ 3831436 h 5071335"/>
              <a:gd name="connsiteX2046" fmla="*/ 4789546 w 13768337"/>
              <a:gd name="connsiteY2046" fmla="*/ 3815410 h 5071335"/>
              <a:gd name="connsiteX2047" fmla="*/ 4777035 w 13768337"/>
              <a:gd name="connsiteY2047" fmla="*/ 3831436 h 5071335"/>
              <a:gd name="connsiteX2048" fmla="*/ 4789546 w 13768337"/>
              <a:gd name="connsiteY2048" fmla="*/ 3836872 h 5071335"/>
              <a:gd name="connsiteX2049" fmla="*/ 4762206 w 13768337"/>
              <a:gd name="connsiteY2049" fmla="*/ 3867949 h 5071335"/>
              <a:gd name="connsiteX2050" fmla="*/ 4766841 w 13768337"/>
              <a:gd name="connsiteY2050" fmla="*/ 3842167 h 5071335"/>
              <a:gd name="connsiteX2051" fmla="*/ 4739964 w 13768337"/>
              <a:gd name="connsiteY2051" fmla="*/ 3858472 h 5071335"/>
              <a:gd name="connsiteX2052" fmla="*/ 4739964 w 13768337"/>
              <a:gd name="connsiteY2052" fmla="*/ 3826141 h 5071335"/>
              <a:gd name="connsiteX2053" fmla="*/ 4698721 w 13768337"/>
              <a:gd name="connsiteY2053" fmla="*/ 3842167 h 5071335"/>
              <a:gd name="connsiteX2054" fmla="*/ 4695340 w 13768337"/>
              <a:gd name="connsiteY2054" fmla="*/ 3832519 h 5071335"/>
              <a:gd name="connsiteX2055" fmla="*/ 4692770 w 13768337"/>
              <a:gd name="connsiteY2055" fmla="*/ 3831956 h 5071335"/>
              <a:gd name="connsiteX2056" fmla="*/ 4682666 w 13768337"/>
              <a:gd name="connsiteY2056" fmla="*/ 3844332 h 5071335"/>
              <a:gd name="connsiteX2057" fmla="*/ 4668473 w 13768337"/>
              <a:gd name="connsiteY2057" fmla="*/ 3843757 h 5071335"/>
              <a:gd name="connsiteX2058" fmla="*/ 4684895 w 13768337"/>
              <a:gd name="connsiteY2058" fmla="*/ 3835153 h 5071335"/>
              <a:gd name="connsiteX2059" fmla="*/ 4692447 w 13768337"/>
              <a:gd name="connsiteY2059" fmla="*/ 3831885 h 5071335"/>
              <a:gd name="connsiteX2060" fmla="*/ 4685226 w 13768337"/>
              <a:gd name="connsiteY2060" fmla="*/ 3830304 h 5071335"/>
              <a:gd name="connsiteX2061" fmla="*/ 4674161 w 13768337"/>
              <a:gd name="connsiteY2061" fmla="*/ 3815410 h 5071335"/>
              <a:gd name="connsiteX2062" fmla="*/ 4711233 w 13768337"/>
              <a:gd name="connsiteY2062" fmla="*/ 3821124 h 5071335"/>
              <a:gd name="connsiteX2063" fmla="*/ 4703354 w 13768337"/>
              <a:gd name="connsiteY2063" fmla="*/ 3810394 h 5071335"/>
              <a:gd name="connsiteX2064" fmla="*/ 4711233 w 13768337"/>
              <a:gd name="connsiteY2064" fmla="*/ 3804819 h 5071335"/>
              <a:gd name="connsiteX2065" fmla="*/ 4679259 w 13768337"/>
              <a:gd name="connsiteY2065" fmla="*/ 3779315 h 5071335"/>
              <a:gd name="connsiteX2066" fmla="*/ 4647284 w 13768337"/>
              <a:gd name="connsiteY2066" fmla="*/ 3784612 h 5071335"/>
              <a:gd name="connsiteX2067" fmla="*/ 4652383 w 13768337"/>
              <a:gd name="connsiteY2067" fmla="*/ 3757993 h 5071335"/>
              <a:gd name="connsiteX2068" fmla="*/ 4629676 w 13768337"/>
              <a:gd name="connsiteY2068" fmla="*/ 3763010 h 5071335"/>
              <a:gd name="connsiteX2069" fmla="*/ 4679259 w 13768337"/>
              <a:gd name="connsiteY2069" fmla="*/ 3741410 h 5071335"/>
              <a:gd name="connsiteX2070" fmla="*/ 4683892 w 13768337"/>
              <a:gd name="connsiteY2070" fmla="*/ 3763010 h 5071335"/>
              <a:gd name="connsiteX2071" fmla="*/ 4703354 w 13768337"/>
              <a:gd name="connsiteY2071" fmla="*/ 3757993 h 5071335"/>
              <a:gd name="connsiteX2072" fmla="*/ 4688990 w 13768337"/>
              <a:gd name="connsiteY2072" fmla="*/ 3727055 h 5071335"/>
              <a:gd name="connsiteX2073" fmla="*/ 4638017 w 13768337"/>
              <a:gd name="connsiteY2073" fmla="*/ 3716184 h 5071335"/>
              <a:gd name="connsiteX2074" fmla="*/ 4642650 w 13768337"/>
              <a:gd name="connsiteY2074" fmla="*/ 3737786 h 5071335"/>
              <a:gd name="connsiteX2075" fmla="*/ 4595848 w 13768337"/>
              <a:gd name="connsiteY2075" fmla="*/ 3741410 h 5071335"/>
              <a:gd name="connsiteX2076" fmla="*/ 4615311 w 13768337"/>
              <a:gd name="connsiteY2076" fmla="*/ 3747123 h 5071335"/>
              <a:gd name="connsiteX2077" fmla="*/ 4613920 w 13768337"/>
              <a:gd name="connsiteY2077" fmla="*/ 3768584 h 5071335"/>
              <a:gd name="connsiteX2078" fmla="*/ 4632918 w 13768337"/>
              <a:gd name="connsiteY2078" fmla="*/ 3772487 h 5071335"/>
              <a:gd name="connsiteX2079" fmla="*/ 4601408 w 13768337"/>
              <a:gd name="connsiteY2079" fmla="*/ 3799523 h 5071335"/>
              <a:gd name="connsiteX2080" fmla="*/ 4574068 w 13768337"/>
              <a:gd name="connsiteY2080" fmla="*/ 3778062 h 5071335"/>
              <a:gd name="connsiteX2081" fmla="*/ 4587043 w 13768337"/>
              <a:gd name="connsiteY2081" fmla="*/ 3770117 h 5071335"/>
              <a:gd name="connsiteX2082" fmla="*/ 4523095 w 13768337"/>
              <a:gd name="connsiteY2082" fmla="*/ 3747123 h 5071335"/>
              <a:gd name="connsiteX2083" fmla="*/ 4489151 w 13768337"/>
              <a:gd name="connsiteY2083" fmla="*/ 3737386 h 5071335"/>
              <a:gd name="connsiteX2084" fmla="*/ 4484257 w 13768337"/>
              <a:gd name="connsiteY2084" fmla="*/ 3737100 h 5071335"/>
              <a:gd name="connsiteX2085" fmla="*/ 4482849 w 13768337"/>
              <a:gd name="connsiteY2085" fmla="*/ 3741718 h 5071335"/>
              <a:gd name="connsiteX2086" fmla="*/ 4465969 w 13768337"/>
              <a:gd name="connsiteY2086" fmla="*/ 3755123 h 5071335"/>
              <a:gd name="connsiteX2087" fmla="*/ 4452532 w 13768337"/>
              <a:gd name="connsiteY2087" fmla="*/ 3739792 h 5071335"/>
              <a:gd name="connsiteX2088" fmla="*/ 4451985 w 13768337"/>
              <a:gd name="connsiteY2088" fmla="*/ 3732439 h 5071335"/>
              <a:gd name="connsiteX2089" fmla="*/ 4444782 w 13768337"/>
              <a:gd name="connsiteY2089" fmla="*/ 3730678 h 5071335"/>
              <a:gd name="connsiteX2090" fmla="*/ 4380833 w 13768337"/>
              <a:gd name="connsiteY2090" fmla="*/ 3741410 h 5071335"/>
              <a:gd name="connsiteX2091" fmla="*/ 4422537 w 13768337"/>
              <a:gd name="connsiteY2091" fmla="*/ 3710610 h 5071335"/>
              <a:gd name="connsiteX2092" fmla="*/ 4417904 w 13768337"/>
              <a:gd name="connsiteY2092" fmla="*/ 3720087 h 5071335"/>
              <a:gd name="connsiteX2093" fmla="*/ 4463779 w 13768337"/>
              <a:gd name="connsiteY2093" fmla="*/ 3710610 h 5071335"/>
              <a:gd name="connsiteX2094" fmla="*/ 4459426 w 13768337"/>
              <a:gd name="connsiteY2094" fmla="*/ 3724751 h 5071335"/>
              <a:gd name="connsiteX2095" fmla="*/ 4459772 w 13768337"/>
              <a:gd name="connsiteY2095" fmla="*/ 3725143 h 5071335"/>
              <a:gd name="connsiteX2096" fmla="*/ 4463654 w 13768337"/>
              <a:gd name="connsiteY2096" fmla="*/ 3713592 h 5071335"/>
              <a:gd name="connsiteX2097" fmla="*/ 4468877 w 13768337"/>
              <a:gd name="connsiteY2097" fmla="*/ 3718652 h 5071335"/>
              <a:gd name="connsiteX2098" fmla="*/ 4468877 w 13768337"/>
              <a:gd name="connsiteY2098" fmla="*/ 3705454 h 5071335"/>
              <a:gd name="connsiteX2099" fmla="*/ 4490657 w 13768337"/>
              <a:gd name="connsiteY2099" fmla="*/ 3710610 h 5071335"/>
              <a:gd name="connsiteX2100" fmla="*/ 4490657 w 13768337"/>
              <a:gd name="connsiteY2100" fmla="*/ 3689149 h 5071335"/>
              <a:gd name="connsiteX2101" fmla="*/ 4505486 w 13768337"/>
              <a:gd name="connsiteY2101" fmla="*/ 3705454 h 5071335"/>
              <a:gd name="connsiteX2102" fmla="*/ 4523095 w 13768337"/>
              <a:gd name="connsiteY2102" fmla="*/ 3689149 h 5071335"/>
              <a:gd name="connsiteX2103" fmla="*/ 4519850 w 13768337"/>
              <a:gd name="connsiteY2103" fmla="*/ 3710610 h 5071335"/>
              <a:gd name="connsiteX2104" fmla="*/ 4537461 w 13768337"/>
              <a:gd name="connsiteY2104" fmla="*/ 3705454 h 5071335"/>
              <a:gd name="connsiteX2105" fmla="*/ 4510119 w 13768337"/>
              <a:gd name="connsiteY2105" fmla="*/ 3716184 h 5071335"/>
              <a:gd name="connsiteX2106" fmla="*/ 4561094 w 13768337"/>
              <a:gd name="connsiteY2106" fmla="*/ 3694863 h 5071335"/>
              <a:gd name="connsiteX2107" fmla="*/ 4564336 w 13768337"/>
              <a:gd name="connsiteY2107" fmla="*/ 3716184 h 5071335"/>
              <a:gd name="connsiteX2108" fmla="*/ 4598164 w 13768337"/>
              <a:gd name="connsiteY2108" fmla="*/ 3663784 h 5071335"/>
              <a:gd name="connsiteX2109" fmla="*/ 4568971 w 13768337"/>
              <a:gd name="connsiteY2109" fmla="*/ 3689149 h 5071335"/>
              <a:gd name="connsiteX2110" fmla="*/ 4532363 w 13768337"/>
              <a:gd name="connsiteY2110" fmla="*/ 3683853 h 5071335"/>
              <a:gd name="connsiteX2111" fmla="*/ 4564336 w 13768337"/>
              <a:gd name="connsiteY2111" fmla="*/ 3678278 h 5071335"/>
              <a:gd name="connsiteX2112" fmla="*/ 4578702 w 13768337"/>
              <a:gd name="connsiteY2112" fmla="*/ 3658349 h 5071335"/>
              <a:gd name="connsiteX2113" fmla="*/ 4524484 w 13768337"/>
              <a:gd name="connsiteY2113" fmla="*/ 3678278 h 5071335"/>
              <a:gd name="connsiteX2114" fmla="*/ 4496218 w 13768337"/>
              <a:gd name="connsiteY2114" fmla="*/ 3678278 h 5071335"/>
              <a:gd name="connsiteX2115" fmla="*/ 4490657 w 13768337"/>
              <a:gd name="connsiteY2115" fmla="*/ 3642323 h 5071335"/>
              <a:gd name="connsiteX2116" fmla="*/ 4490657 w 13768337"/>
              <a:gd name="connsiteY2116" fmla="*/ 3663784 h 5071335"/>
              <a:gd name="connsiteX2117" fmla="*/ 4468877 w 13768337"/>
              <a:gd name="connsiteY2117" fmla="*/ 3658349 h 5071335"/>
              <a:gd name="connsiteX2118" fmla="*/ 4473513 w 13768337"/>
              <a:gd name="connsiteY2118" fmla="*/ 3668105 h 5071335"/>
              <a:gd name="connsiteX2119" fmla="*/ 4478145 w 13768337"/>
              <a:gd name="connsiteY2119" fmla="*/ 3647480 h 5071335"/>
              <a:gd name="connsiteX2120" fmla="*/ 4478145 w 13768337"/>
              <a:gd name="connsiteY2120" fmla="*/ 3620722 h 5071335"/>
              <a:gd name="connsiteX2121" fmla="*/ 4463779 w 13768337"/>
              <a:gd name="connsiteY2121" fmla="*/ 3615705 h 5071335"/>
              <a:gd name="connsiteX2122" fmla="*/ 4466193 w 13768337"/>
              <a:gd name="connsiteY2122" fmla="*/ 3608856 h 5071335"/>
              <a:gd name="connsiteX2123" fmla="*/ 4456463 w 13768337"/>
              <a:gd name="connsiteY2123" fmla="*/ 3608915 h 5071335"/>
              <a:gd name="connsiteX2124" fmla="*/ 4432144 w 13768337"/>
              <a:gd name="connsiteY2124" fmla="*/ 3614925 h 5071335"/>
              <a:gd name="connsiteX2125" fmla="*/ 4398315 w 13768337"/>
              <a:gd name="connsiteY2125" fmla="*/ 3593324 h 5071335"/>
              <a:gd name="connsiteX2126" fmla="*/ 4389972 w 13768337"/>
              <a:gd name="connsiteY2126" fmla="*/ 3598898 h 5071335"/>
              <a:gd name="connsiteX2127" fmla="*/ 4400632 w 13768337"/>
              <a:gd name="connsiteY2127" fmla="*/ 3623287 h 5071335"/>
              <a:gd name="connsiteX2128" fmla="*/ 4364951 w 13768337"/>
              <a:gd name="connsiteY2128" fmla="*/ 3591931 h 5071335"/>
              <a:gd name="connsiteX2129" fmla="*/ 4392754 w 13768337"/>
              <a:gd name="connsiteY2129" fmla="*/ 3589561 h 5071335"/>
              <a:gd name="connsiteX2130" fmla="*/ 4382719 w 13768337"/>
              <a:gd name="connsiteY2130" fmla="*/ 3584701 h 5071335"/>
              <a:gd name="connsiteX2131" fmla="*/ 3769334 w 13768337"/>
              <a:gd name="connsiteY2131" fmla="*/ 3584137 h 5071335"/>
              <a:gd name="connsiteX2132" fmla="*/ 3762538 w 13768337"/>
              <a:gd name="connsiteY2132" fmla="*/ 3585380 h 5071335"/>
              <a:gd name="connsiteX2133" fmla="*/ 3765359 w 13768337"/>
              <a:gd name="connsiteY2133" fmla="*/ 3588186 h 5071335"/>
              <a:gd name="connsiteX2134" fmla="*/ 4845096 w 13768337"/>
              <a:gd name="connsiteY2134" fmla="*/ 3582120 h 5071335"/>
              <a:gd name="connsiteX2135" fmla="*/ 4826932 w 13768337"/>
              <a:gd name="connsiteY2135" fmla="*/ 3582380 h 5071335"/>
              <a:gd name="connsiteX2136" fmla="*/ 4808882 w 13768337"/>
              <a:gd name="connsiteY2136" fmla="*/ 3598340 h 5071335"/>
              <a:gd name="connsiteX2137" fmla="*/ 4814906 w 13768337"/>
              <a:gd name="connsiteY2137" fmla="*/ 3583011 h 5071335"/>
              <a:gd name="connsiteX2138" fmla="*/ 4788492 w 13768337"/>
              <a:gd name="connsiteY2138" fmla="*/ 3610605 h 5071335"/>
              <a:gd name="connsiteX2139" fmla="*/ 4790347 w 13768337"/>
              <a:gd name="connsiteY2139" fmla="*/ 3590955 h 5071335"/>
              <a:gd name="connsiteX2140" fmla="*/ 4721300 w 13768337"/>
              <a:gd name="connsiteY2140" fmla="*/ 3591931 h 5071335"/>
              <a:gd name="connsiteX2141" fmla="*/ 4701375 w 13768337"/>
              <a:gd name="connsiteY2141" fmla="*/ 3604055 h 5071335"/>
              <a:gd name="connsiteX2142" fmla="*/ 4712032 w 13768337"/>
              <a:gd name="connsiteY2142" fmla="*/ 3628304 h 5071335"/>
              <a:gd name="connsiteX2143" fmla="*/ 4690252 w 13768337"/>
              <a:gd name="connsiteY2143" fmla="*/ 3625655 h 5071335"/>
              <a:gd name="connsiteX2144" fmla="*/ 4698131 w 13768337"/>
              <a:gd name="connsiteY2144" fmla="*/ 3610187 h 5071335"/>
              <a:gd name="connsiteX2145" fmla="*/ 4684693 w 13768337"/>
              <a:gd name="connsiteY2145" fmla="*/ 3600710 h 5071335"/>
              <a:gd name="connsiteX2146" fmla="*/ 4665229 w 13768337"/>
              <a:gd name="connsiteY2146" fmla="*/ 3621754 h 5071335"/>
              <a:gd name="connsiteX2147" fmla="*/ 4660132 w 13768337"/>
              <a:gd name="connsiteY2147" fmla="*/ 3602801 h 5071335"/>
              <a:gd name="connsiteX2148" fmla="*/ 4623482 w 13768337"/>
              <a:gd name="connsiteY2148" fmla="*/ 3603016 h 5071335"/>
              <a:gd name="connsiteX2149" fmla="*/ 4621428 w 13768337"/>
              <a:gd name="connsiteY2149" fmla="*/ 3603406 h 5071335"/>
              <a:gd name="connsiteX2150" fmla="*/ 4622152 w 13768337"/>
              <a:gd name="connsiteY2150" fmla="*/ 3607272 h 5071335"/>
              <a:gd name="connsiteX2151" fmla="*/ 4657015 w 13768337"/>
              <a:gd name="connsiteY2151" fmla="*/ 3611525 h 5071335"/>
              <a:gd name="connsiteX2152" fmla="*/ 4647284 w 13768337"/>
              <a:gd name="connsiteY2152" fmla="*/ 3626436 h 5071335"/>
              <a:gd name="connsiteX2153" fmla="*/ 4676015 w 13768337"/>
              <a:gd name="connsiteY2153" fmla="*/ 3642323 h 5071335"/>
              <a:gd name="connsiteX2154" fmla="*/ 4739964 w 13768337"/>
              <a:gd name="connsiteY2154" fmla="*/ 3627273 h 5071335"/>
              <a:gd name="connsiteX2155" fmla="*/ 4771474 w 13768337"/>
              <a:gd name="connsiteY2155" fmla="*/ 3653054 h 5071335"/>
              <a:gd name="connsiteX2156" fmla="*/ 4781669 w 13768337"/>
              <a:gd name="connsiteY2156" fmla="*/ 3642323 h 5071335"/>
              <a:gd name="connsiteX2157" fmla="*/ 4757571 w 13768337"/>
              <a:gd name="connsiteY2157" fmla="*/ 3627273 h 5071335"/>
              <a:gd name="connsiteX2158" fmla="*/ 4808544 w 13768337"/>
              <a:gd name="connsiteY2158" fmla="*/ 3622255 h 5071335"/>
              <a:gd name="connsiteX2159" fmla="*/ 4785839 w 13768337"/>
              <a:gd name="connsiteY2159" fmla="*/ 3627273 h 5071335"/>
              <a:gd name="connsiteX2160" fmla="*/ 4790935 w 13768337"/>
              <a:gd name="connsiteY2160" fmla="*/ 3642323 h 5071335"/>
              <a:gd name="connsiteX2161" fmla="*/ 4822447 w 13768337"/>
              <a:gd name="connsiteY2161" fmla="*/ 3637028 h 5071335"/>
              <a:gd name="connsiteX2162" fmla="*/ 4808544 w 13768337"/>
              <a:gd name="connsiteY2162" fmla="*/ 3669080 h 5071335"/>
              <a:gd name="connsiteX2163" fmla="*/ 4734865 w 13768337"/>
              <a:gd name="connsiteY2163" fmla="*/ 3674655 h 5071335"/>
              <a:gd name="connsiteX2164" fmla="*/ 4703354 w 13768337"/>
              <a:gd name="connsiteY2164" fmla="*/ 3689149 h 5071335"/>
              <a:gd name="connsiteX2165" fmla="*/ 4730231 w 13768337"/>
              <a:gd name="connsiteY2165" fmla="*/ 3694863 h 5071335"/>
              <a:gd name="connsiteX2166" fmla="*/ 4693624 w 13768337"/>
              <a:gd name="connsiteY2166" fmla="*/ 3689149 h 5071335"/>
              <a:gd name="connsiteX2167" fmla="*/ 4679259 w 13768337"/>
              <a:gd name="connsiteY2167" fmla="*/ 3705454 h 5071335"/>
              <a:gd name="connsiteX2168" fmla="*/ 4712623 w 13768337"/>
              <a:gd name="connsiteY2168" fmla="*/ 3727055 h 5071335"/>
              <a:gd name="connsiteX2169" fmla="*/ 4698721 w 13768337"/>
              <a:gd name="connsiteY2169" fmla="*/ 3737786 h 5071335"/>
              <a:gd name="connsiteX2170" fmla="*/ 4707989 w 13768337"/>
              <a:gd name="connsiteY2170" fmla="*/ 3752279 h 5071335"/>
              <a:gd name="connsiteX2171" fmla="*/ 4734865 w 13768337"/>
              <a:gd name="connsiteY2171" fmla="*/ 3747123 h 5071335"/>
              <a:gd name="connsiteX2172" fmla="*/ 4734865 w 13768337"/>
              <a:gd name="connsiteY2172" fmla="*/ 3710610 h 5071335"/>
              <a:gd name="connsiteX2173" fmla="*/ 4752474 w 13768337"/>
              <a:gd name="connsiteY2173" fmla="*/ 3727055 h 5071335"/>
              <a:gd name="connsiteX2174" fmla="*/ 4744597 w 13768337"/>
              <a:gd name="connsiteY2174" fmla="*/ 3747123 h 5071335"/>
              <a:gd name="connsiteX2175" fmla="*/ 4785839 w 13768337"/>
              <a:gd name="connsiteY2175" fmla="*/ 3748516 h 5071335"/>
              <a:gd name="connsiteX2176" fmla="*/ 4757571 w 13768337"/>
              <a:gd name="connsiteY2176" fmla="*/ 3705454 h 5071335"/>
              <a:gd name="connsiteX2177" fmla="*/ 4768694 w 13768337"/>
              <a:gd name="connsiteY2177" fmla="*/ 3692773 h 5071335"/>
              <a:gd name="connsiteX2178" fmla="*/ 4759889 w 13768337"/>
              <a:gd name="connsiteY2178" fmla="*/ 3688313 h 5071335"/>
              <a:gd name="connsiteX2179" fmla="*/ 4776108 w 13768337"/>
              <a:gd name="connsiteY2179" fmla="*/ 3685944 h 5071335"/>
              <a:gd name="connsiteX2180" fmla="*/ 4778424 w 13768337"/>
              <a:gd name="connsiteY2180" fmla="*/ 3685944 h 5071335"/>
              <a:gd name="connsiteX2181" fmla="*/ 4784913 w 13768337"/>
              <a:gd name="connsiteY2181" fmla="*/ 3683574 h 5071335"/>
              <a:gd name="connsiteX2182" fmla="*/ 4783522 w 13768337"/>
              <a:gd name="connsiteY2182" fmla="*/ 3685944 h 5071335"/>
              <a:gd name="connsiteX2183" fmla="*/ 4794181 w 13768337"/>
              <a:gd name="connsiteY2183" fmla="*/ 3705454 h 5071335"/>
              <a:gd name="connsiteX2184" fmla="*/ 4822447 w 13768337"/>
              <a:gd name="connsiteY2184" fmla="*/ 3699880 h 5071335"/>
              <a:gd name="connsiteX2185" fmla="*/ 4813179 w 13768337"/>
              <a:gd name="connsiteY2185" fmla="*/ 3705454 h 5071335"/>
              <a:gd name="connsiteX2186" fmla="*/ 4840520 w 13768337"/>
              <a:gd name="connsiteY2186" fmla="*/ 3705454 h 5071335"/>
              <a:gd name="connsiteX2187" fmla="*/ 4822447 w 13768337"/>
              <a:gd name="connsiteY2187" fmla="*/ 3690402 h 5071335"/>
              <a:gd name="connsiteX2188" fmla="*/ 4872320 w 13768337"/>
              <a:gd name="connsiteY2188" fmla="*/ 3679150 h 5071335"/>
              <a:gd name="connsiteX2189" fmla="*/ 4892643 w 13768337"/>
              <a:gd name="connsiteY2189" fmla="*/ 3686065 h 5071335"/>
              <a:gd name="connsiteX2190" fmla="*/ 4881142 w 13768337"/>
              <a:gd name="connsiteY2190" fmla="*/ 3680350 h 5071335"/>
              <a:gd name="connsiteX2191" fmla="*/ 4930262 w 13768337"/>
              <a:gd name="connsiteY2191" fmla="*/ 3675194 h 5071335"/>
              <a:gd name="connsiteX2192" fmla="*/ 4903849 w 13768337"/>
              <a:gd name="connsiteY2192" fmla="*/ 3657912 h 5071335"/>
              <a:gd name="connsiteX2193" fmla="*/ 4889019 w 13768337"/>
              <a:gd name="connsiteY2193" fmla="*/ 3669201 h 5071335"/>
              <a:gd name="connsiteX2194" fmla="*/ 4897361 w 13768337"/>
              <a:gd name="connsiteY2194" fmla="*/ 3643419 h 5071335"/>
              <a:gd name="connsiteX2195" fmla="*/ 4964669 w 13768337"/>
              <a:gd name="connsiteY2195" fmla="*/ 3636886 h 5071335"/>
              <a:gd name="connsiteX2196" fmla="*/ 4990248 w 13768337"/>
              <a:gd name="connsiteY2196" fmla="*/ 3628297 h 5071335"/>
              <a:gd name="connsiteX2197" fmla="*/ 4991806 w 13768337"/>
              <a:gd name="connsiteY2197" fmla="*/ 3623374 h 5071335"/>
              <a:gd name="connsiteX2198" fmla="*/ 4990069 w 13768337"/>
              <a:gd name="connsiteY2198" fmla="*/ 3620918 h 5071335"/>
              <a:gd name="connsiteX2199" fmla="*/ 5000669 w 13768337"/>
              <a:gd name="connsiteY2199" fmla="*/ 3609716 h 5071335"/>
              <a:gd name="connsiteX2200" fmla="*/ 5002385 w 13768337"/>
              <a:gd name="connsiteY2200" fmla="*/ 3604381 h 5071335"/>
              <a:gd name="connsiteX2201" fmla="*/ 4998844 w 13768337"/>
              <a:gd name="connsiteY2201" fmla="*/ 3604293 h 5071335"/>
              <a:gd name="connsiteX2202" fmla="*/ 4991923 w 13768337"/>
              <a:gd name="connsiteY2202" fmla="*/ 3604665 h 5071335"/>
              <a:gd name="connsiteX2203" fmla="*/ 4991632 w 13768337"/>
              <a:gd name="connsiteY2203" fmla="*/ 3604908 h 5071335"/>
              <a:gd name="connsiteX2204" fmla="*/ 4991165 w 13768337"/>
              <a:gd name="connsiteY2204" fmla="*/ 3604705 h 5071335"/>
              <a:gd name="connsiteX2205" fmla="*/ 4976137 w 13768337"/>
              <a:gd name="connsiteY2205" fmla="*/ 3605512 h 5071335"/>
              <a:gd name="connsiteX2206" fmla="*/ 4989576 w 13768337"/>
              <a:gd name="connsiteY2206" fmla="*/ 3619448 h 5071335"/>
              <a:gd name="connsiteX2207" fmla="*/ 4970577 w 13768337"/>
              <a:gd name="connsiteY2207" fmla="*/ 3625721 h 5071335"/>
              <a:gd name="connsiteX2208" fmla="*/ 4959920 w 13768337"/>
              <a:gd name="connsiteY2208" fmla="*/ 3598127 h 5071335"/>
              <a:gd name="connsiteX2209" fmla="*/ 4984015 w 13768337"/>
              <a:gd name="connsiteY2209" fmla="*/ 3594782 h 5071335"/>
              <a:gd name="connsiteX2210" fmla="*/ 4976445 w 13768337"/>
              <a:gd name="connsiteY2210" fmla="*/ 3584426 h 5071335"/>
              <a:gd name="connsiteX2211" fmla="*/ 4964709 w 13768337"/>
              <a:gd name="connsiteY2211" fmla="*/ 3585186 h 5071335"/>
              <a:gd name="connsiteX2212" fmla="*/ 4937833 w 13768337"/>
              <a:gd name="connsiteY2212" fmla="*/ 3584767 h 5071335"/>
              <a:gd name="connsiteX2213" fmla="*/ 4938126 w 13768337"/>
              <a:gd name="connsiteY2213" fmla="*/ 3584290 h 5071335"/>
              <a:gd name="connsiteX2214" fmla="*/ 4925078 w 13768337"/>
              <a:gd name="connsiteY2214" fmla="*/ 3585659 h 5071335"/>
              <a:gd name="connsiteX2215" fmla="*/ 4885805 w 13768337"/>
              <a:gd name="connsiteY2215" fmla="*/ 3586217 h 5071335"/>
              <a:gd name="connsiteX2216" fmla="*/ 4892292 w 13768337"/>
              <a:gd name="connsiteY2216" fmla="*/ 3596529 h 5071335"/>
              <a:gd name="connsiteX2217" fmla="*/ 4845096 w 13768337"/>
              <a:gd name="connsiteY2217" fmla="*/ 3582120 h 5071335"/>
              <a:gd name="connsiteX2218" fmla="*/ 3783982 w 13768337"/>
              <a:gd name="connsiteY2218" fmla="*/ 3581979 h 5071335"/>
              <a:gd name="connsiteX2219" fmla="*/ 3778956 w 13768337"/>
              <a:gd name="connsiteY2219" fmla="*/ 3586971 h 5071335"/>
              <a:gd name="connsiteX2220" fmla="*/ 3778805 w 13768337"/>
              <a:gd name="connsiteY2220" fmla="*/ 3589025 h 5071335"/>
              <a:gd name="connsiteX2221" fmla="*/ 3789552 w 13768337"/>
              <a:gd name="connsiteY2221" fmla="*/ 3587883 h 5071335"/>
              <a:gd name="connsiteX2222" fmla="*/ 3787826 w 13768337"/>
              <a:gd name="connsiteY2222" fmla="*/ 3587315 h 5071335"/>
              <a:gd name="connsiteX2223" fmla="*/ 3783982 w 13768337"/>
              <a:gd name="connsiteY2223" fmla="*/ 3581979 h 5071335"/>
              <a:gd name="connsiteX2224" fmla="*/ 3653049 w 13768337"/>
              <a:gd name="connsiteY2224" fmla="*/ 3579825 h 5071335"/>
              <a:gd name="connsiteX2225" fmla="*/ 3649959 w 13768337"/>
              <a:gd name="connsiteY2225" fmla="*/ 3582089 h 5071335"/>
              <a:gd name="connsiteX2226" fmla="*/ 3653608 w 13768337"/>
              <a:gd name="connsiteY2226" fmla="*/ 3580815 h 5071335"/>
              <a:gd name="connsiteX2227" fmla="*/ 3653292 w 13768337"/>
              <a:gd name="connsiteY2227" fmla="*/ 3580015 h 5071335"/>
              <a:gd name="connsiteX2228" fmla="*/ 3709711 w 13768337"/>
              <a:gd name="connsiteY2228" fmla="*/ 3578308 h 5071335"/>
              <a:gd name="connsiteX2229" fmla="*/ 3695327 w 13768337"/>
              <a:gd name="connsiteY2229" fmla="*/ 3578408 h 5071335"/>
              <a:gd name="connsiteX2230" fmla="*/ 3706305 w 13768337"/>
              <a:gd name="connsiteY2230" fmla="*/ 3579819 h 5071335"/>
              <a:gd name="connsiteX2231" fmla="*/ 3717523 w 13768337"/>
              <a:gd name="connsiteY2231" fmla="*/ 3580456 h 5071335"/>
              <a:gd name="connsiteX2232" fmla="*/ 2047517 w 13768337"/>
              <a:gd name="connsiteY2232" fmla="*/ 3575486 h 5071335"/>
              <a:gd name="connsiteX2233" fmla="*/ 2041029 w 13768337"/>
              <a:gd name="connsiteY2233" fmla="*/ 3577855 h 5071335"/>
              <a:gd name="connsiteX2234" fmla="*/ 2041956 w 13768337"/>
              <a:gd name="connsiteY2234" fmla="*/ 3580642 h 5071335"/>
              <a:gd name="connsiteX2235" fmla="*/ 2049370 w 13768337"/>
              <a:gd name="connsiteY2235" fmla="*/ 3578831 h 5071335"/>
              <a:gd name="connsiteX2236" fmla="*/ 2047517 w 13768337"/>
              <a:gd name="connsiteY2236" fmla="*/ 3575486 h 5071335"/>
              <a:gd name="connsiteX2237" fmla="*/ 2068833 w 13768337"/>
              <a:gd name="connsiteY2237" fmla="*/ 3574650 h 5071335"/>
              <a:gd name="connsiteX2238" fmla="*/ 2069297 w 13768337"/>
              <a:gd name="connsiteY2238" fmla="*/ 3577018 h 5071335"/>
              <a:gd name="connsiteX2239" fmla="*/ 2070223 w 13768337"/>
              <a:gd name="connsiteY2239" fmla="*/ 3577018 h 5071335"/>
              <a:gd name="connsiteX2240" fmla="*/ 2068833 w 13768337"/>
              <a:gd name="connsiteY2240" fmla="*/ 3574650 h 5071335"/>
              <a:gd name="connsiteX2241" fmla="*/ 4725461 w 13768337"/>
              <a:gd name="connsiteY2241" fmla="*/ 3571933 h 5071335"/>
              <a:gd name="connsiteX2242" fmla="*/ 4720953 w 13768337"/>
              <a:gd name="connsiteY2242" fmla="*/ 3572211 h 5071335"/>
              <a:gd name="connsiteX2243" fmla="*/ 4715276 w 13768337"/>
              <a:gd name="connsiteY2243" fmla="*/ 3583568 h 5071335"/>
              <a:gd name="connsiteX2244" fmla="*/ 4729988 w 13768337"/>
              <a:gd name="connsiteY2244" fmla="*/ 3586059 h 5071335"/>
              <a:gd name="connsiteX2245" fmla="*/ 4734752 w 13768337"/>
              <a:gd name="connsiteY2245" fmla="*/ 3573679 h 5071335"/>
              <a:gd name="connsiteX2246" fmla="*/ 4734179 w 13768337"/>
              <a:gd name="connsiteY2246" fmla="*/ 3573592 h 5071335"/>
              <a:gd name="connsiteX2247" fmla="*/ 4720501 w 13768337"/>
              <a:gd name="connsiteY2247" fmla="*/ 3575988 h 5071335"/>
              <a:gd name="connsiteX2248" fmla="*/ 4070232 w 13768337"/>
              <a:gd name="connsiteY2248" fmla="*/ 3570468 h 5071335"/>
              <a:gd name="connsiteX2249" fmla="*/ 4056793 w 13768337"/>
              <a:gd name="connsiteY2249" fmla="*/ 3581757 h 5071335"/>
              <a:gd name="connsiteX2250" fmla="*/ 4081817 w 13768337"/>
              <a:gd name="connsiteY2250" fmla="*/ 3583847 h 5071335"/>
              <a:gd name="connsiteX2251" fmla="*/ 4070232 w 13768337"/>
              <a:gd name="connsiteY2251" fmla="*/ 3570468 h 5071335"/>
              <a:gd name="connsiteX2252" fmla="*/ 2178195 w 13768337"/>
              <a:gd name="connsiteY2252" fmla="*/ 3570468 h 5071335"/>
              <a:gd name="connsiteX2253" fmla="*/ 2157804 w 13768337"/>
              <a:gd name="connsiteY2253" fmla="*/ 3579387 h 5071335"/>
              <a:gd name="connsiteX2254" fmla="*/ 2151317 w 13768337"/>
              <a:gd name="connsiteY2254" fmla="*/ 3594718 h 5071335"/>
              <a:gd name="connsiteX2255" fmla="*/ 2194877 w 13768337"/>
              <a:gd name="connsiteY2255" fmla="*/ 3580642 h 5071335"/>
              <a:gd name="connsiteX2256" fmla="*/ 2178195 w 13768337"/>
              <a:gd name="connsiteY2256" fmla="*/ 3570468 h 5071335"/>
              <a:gd name="connsiteX2257" fmla="*/ 3591546 w 13768337"/>
              <a:gd name="connsiteY2257" fmla="*/ 3537579 h 5071335"/>
              <a:gd name="connsiteX2258" fmla="*/ 3540109 w 13768337"/>
              <a:gd name="connsiteY2258" fmla="*/ 3556811 h 5071335"/>
              <a:gd name="connsiteX2259" fmla="*/ 3554663 w 13768337"/>
              <a:gd name="connsiteY2259" fmla="*/ 3560058 h 5071335"/>
              <a:gd name="connsiteX2260" fmla="*/ 3568460 w 13768337"/>
              <a:gd name="connsiteY2260" fmla="*/ 3556161 h 5071335"/>
              <a:gd name="connsiteX2261" fmla="*/ 3573600 w 13768337"/>
              <a:gd name="connsiteY2261" fmla="*/ 3544491 h 5071335"/>
              <a:gd name="connsiteX2262" fmla="*/ 3578204 w 13768337"/>
              <a:gd name="connsiteY2262" fmla="*/ 3548582 h 5071335"/>
              <a:gd name="connsiteX2263" fmla="*/ 1182359 w 13768337"/>
              <a:gd name="connsiteY2263" fmla="*/ 3470965 h 5071335"/>
              <a:gd name="connsiteX2264" fmla="*/ 1174482 w 13768337"/>
              <a:gd name="connsiteY2264" fmla="*/ 3471800 h 5071335"/>
              <a:gd name="connsiteX2265" fmla="*/ 1167531 w 13768337"/>
              <a:gd name="connsiteY2265" fmla="*/ 3493123 h 5071335"/>
              <a:gd name="connsiteX2266" fmla="*/ 1195799 w 13768337"/>
              <a:gd name="connsiteY2266" fmla="*/ 3489500 h 5071335"/>
              <a:gd name="connsiteX2267" fmla="*/ 1191165 w 13768337"/>
              <a:gd name="connsiteY2267" fmla="*/ 3479187 h 5071335"/>
              <a:gd name="connsiteX2268" fmla="*/ 1203213 w 13768337"/>
              <a:gd name="connsiteY2268" fmla="*/ 3473613 h 5071335"/>
              <a:gd name="connsiteX2269" fmla="*/ 1182359 w 13768337"/>
              <a:gd name="connsiteY2269" fmla="*/ 3470965 h 5071335"/>
              <a:gd name="connsiteX2270" fmla="*/ 887178 w 13768337"/>
              <a:gd name="connsiteY2270" fmla="*/ 3342055 h 5071335"/>
              <a:gd name="connsiteX2271" fmla="*/ 901080 w 13768337"/>
              <a:gd name="connsiteY2271" fmla="*/ 3342055 h 5071335"/>
              <a:gd name="connsiteX2272" fmla="*/ 895983 w 13768337"/>
              <a:gd name="connsiteY2272" fmla="*/ 3357942 h 5071335"/>
              <a:gd name="connsiteX2273" fmla="*/ 877910 w 13768337"/>
              <a:gd name="connsiteY2273" fmla="*/ 3347212 h 5071335"/>
              <a:gd name="connsiteX2274" fmla="*/ 887178 w 13768337"/>
              <a:gd name="connsiteY2274" fmla="*/ 3342055 h 5071335"/>
              <a:gd name="connsiteX2275" fmla="*/ 792182 w 13768337"/>
              <a:gd name="connsiteY2275" fmla="*/ 3334530 h 5071335"/>
              <a:gd name="connsiteX2276" fmla="*/ 843620 w 13768337"/>
              <a:gd name="connsiteY2276" fmla="*/ 3337874 h 5071335"/>
              <a:gd name="connsiteX2277" fmla="*/ 843620 w 13768337"/>
              <a:gd name="connsiteY2277" fmla="*/ 3357942 h 5071335"/>
              <a:gd name="connsiteX2278" fmla="*/ 779208 w 13768337"/>
              <a:gd name="connsiteY2278" fmla="*/ 3343031 h 5071335"/>
              <a:gd name="connsiteX2279" fmla="*/ 792182 w 13768337"/>
              <a:gd name="connsiteY2279" fmla="*/ 3334530 h 5071335"/>
              <a:gd name="connsiteX2280" fmla="*/ 914056 w 13768337"/>
              <a:gd name="connsiteY2280" fmla="*/ 3316413 h 5071335"/>
              <a:gd name="connsiteX2281" fmla="*/ 933980 w 13768337"/>
              <a:gd name="connsiteY2281" fmla="*/ 3316413 h 5071335"/>
              <a:gd name="connsiteX2282" fmla="*/ 919152 w 13768337"/>
              <a:gd name="connsiteY2282" fmla="*/ 3336899 h 5071335"/>
              <a:gd name="connsiteX2283" fmla="*/ 914056 w 13768337"/>
              <a:gd name="connsiteY2283" fmla="*/ 3316413 h 5071335"/>
              <a:gd name="connsiteX2284" fmla="*/ 13303789 w 13768337"/>
              <a:gd name="connsiteY2284" fmla="*/ 3312156 h 5071335"/>
              <a:gd name="connsiteX2285" fmla="*/ 13316300 w 13768337"/>
              <a:gd name="connsiteY2285" fmla="*/ 3316337 h 5071335"/>
              <a:gd name="connsiteX2286" fmla="*/ 13307034 w 13768337"/>
              <a:gd name="connsiteY2286" fmla="*/ 3342537 h 5071335"/>
              <a:gd name="connsiteX2287" fmla="*/ 13279693 w 13768337"/>
              <a:gd name="connsiteY2287" fmla="*/ 3361630 h 5071335"/>
              <a:gd name="connsiteX2288" fmla="*/ 13291278 w 13768337"/>
              <a:gd name="connsiteY2288" fmla="*/ 3362744 h 5071335"/>
              <a:gd name="connsiteX2289" fmla="*/ 13257913 w 13768337"/>
              <a:gd name="connsiteY2289" fmla="*/ 3360375 h 5071335"/>
              <a:gd name="connsiteX2290" fmla="*/ 13266718 w 13768337"/>
              <a:gd name="connsiteY2290" fmla="*/ 3360793 h 5071335"/>
              <a:gd name="connsiteX2291" fmla="*/ 13292668 w 13768337"/>
              <a:gd name="connsiteY2291" fmla="*/ 3312714 h 5071335"/>
              <a:gd name="connsiteX2292" fmla="*/ 13303789 w 13768337"/>
              <a:gd name="connsiteY2292" fmla="*/ 3312156 h 5071335"/>
              <a:gd name="connsiteX2293" fmla="*/ 808402 w 13768337"/>
              <a:gd name="connsiteY2293" fmla="*/ 3308748 h 5071335"/>
              <a:gd name="connsiteX2294" fmla="*/ 828328 w 13768337"/>
              <a:gd name="connsiteY2294" fmla="*/ 3312093 h 5071335"/>
              <a:gd name="connsiteX2295" fmla="*/ 788938 w 13768337"/>
              <a:gd name="connsiteY2295" fmla="*/ 3320036 h 5071335"/>
              <a:gd name="connsiteX2296" fmla="*/ 808402 w 13768337"/>
              <a:gd name="connsiteY2296" fmla="*/ 3308748 h 5071335"/>
              <a:gd name="connsiteX2297" fmla="*/ 350568 w 13768337"/>
              <a:gd name="connsiteY2297" fmla="*/ 3306937 h 5071335"/>
              <a:gd name="connsiteX2298" fmla="*/ 374201 w 13768337"/>
              <a:gd name="connsiteY2298" fmla="*/ 3311118 h 5071335"/>
              <a:gd name="connsiteX2299" fmla="*/ 334349 w 13768337"/>
              <a:gd name="connsiteY2299" fmla="*/ 3318643 h 5071335"/>
              <a:gd name="connsiteX2300" fmla="*/ 350568 w 13768337"/>
              <a:gd name="connsiteY2300" fmla="*/ 3306937 h 5071335"/>
              <a:gd name="connsiteX2301" fmla="*/ 1354280 w 13768337"/>
              <a:gd name="connsiteY2301" fmla="*/ 3294812 h 5071335"/>
              <a:gd name="connsiteX2302" fmla="*/ 1326476 w 13768337"/>
              <a:gd name="connsiteY2302" fmla="*/ 3306937 h 5071335"/>
              <a:gd name="connsiteX2303" fmla="*/ 1332963 w 13768337"/>
              <a:gd name="connsiteY2303" fmla="*/ 3317388 h 5071335"/>
              <a:gd name="connsiteX2304" fmla="*/ 1354280 w 13768337"/>
              <a:gd name="connsiteY2304" fmla="*/ 3294812 h 5071335"/>
              <a:gd name="connsiteX2305" fmla="*/ 13177283 w 13768337"/>
              <a:gd name="connsiteY2305" fmla="*/ 3291113 h 5071335"/>
              <a:gd name="connsiteX2306" fmla="*/ 13215280 w 13768337"/>
              <a:gd name="connsiteY2306" fmla="*/ 3298080 h 5071335"/>
              <a:gd name="connsiteX2307" fmla="*/ 13177283 w 13768337"/>
              <a:gd name="connsiteY2307" fmla="*/ 3291113 h 5071335"/>
              <a:gd name="connsiteX2308" fmla="*/ 804694 w 13768337"/>
              <a:gd name="connsiteY2308" fmla="*/ 3232099 h 5071335"/>
              <a:gd name="connsiteX2309" fmla="*/ 819986 w 13768337"/>
              <a:gd name="connsiteY2309" fmla="*/ 3234050 h 5071335"/>
              <a:gd name="connsiteX2310" fmla="*/ 812108 w 13768337"/>
              <a:gd name="connsiteY2310" fmla="*/ 3266382 h 5071335"/>
              <a:gd name="connsiteX2311" fmla="*/ 1026197 w 13768337"/>
              <a:gd name="connsiteY2311" fmla="*/ 3291885 h 5071335"/>
              <a:gd name="connsiteX2312" fmla="*/ 904787 w 13768337"/>
              <a:gd name="connsiteY2312" fmla="*/ 3298574 h 5071335"/>
              <a:gd name="connsiteX2313" fmla="*/ 891812 w 13768337"/>
              <a:gd name="connsiteY2313" fmla="*/ 3297181 h 5071335"/>
              <a:gd name="connsiteX2314" fmla="*/ 759281 w 13768337"/>
              <a:gd name="connsiteY2314" fmla="*/ 3269030 h 5071335"/>
              <a:gd name="connsiteX2315" fmla="*/ 794963 w 13768337"/>
              <a:gd name="connsiteY2315" fmla="*/ 3266382 h 5071335"/>
              <a:gd name="connsiteX2316" fmla="*/ 802377 w 13768337"/>
              <a:gd name="connsiteY2316" fmla="*/ 3249519 h 5071335"/>
              <a:gd name="connsiteX2317" fmla="*/ 769012 w 13768337"/>
              <a:gd name="connsiteY2317" fmla="*/ 3244224 h 5071335"/>
              <a:gd name="connsiteX2318" fmla="*/ 792646 w 13768337"/>
              <a:gd name="connsiteY2318" fmla="*/ 3233493 h 5071335"/>
              <a:gd name="connsiteX2319" fmla="*/ 804694 w 13768337"/>
              <a:gd name="connsiteY2319" fmla="*/ 3232099 h 5071335"/>
              <a:gd name="connsiteX2320" fmla="*/ 13332982 w 13768337"/>
              <a:gd name="connsiteY2320" fmla="*/ 3223801 h 5071335"/>
              <a:gd name="connsiteX2321" fmla="*/ 13352908 w 13768337"/>
              <a:gd name="connsiteY2321" fmla="*/ 3223801 h 5071335"/>
              <a:gd name="connsiteX2322" fmla="*/ 13338080 w 13768337"/>
              <a:gd name="connsiteY2322" fmla="*/ 3290137 h 5071335"/>
              <a:gd name="connsiteX2323" fmla="*/ 13313058 w 13768337"/>
              <a:gd name="connsiteY2323" fmla="*/ 3305607 h 5071335"/>
              <a:gd name="connsiteX2324" fmla="*/ 13300082 w 13768337"/>
              <a:gd name="connsiteY2324" fmla="*/ 3305607 h 5071335"/>
              <a:gd name="connsiteX2325" fmla="*/ 13332982 w 13768337"/>
              <a:gd name="connsiteY2325" fmla="*/ 3223801 h 5071335"/>
              <a:gd name="connsiteX2326" fmla="*/ 1409887 w 13768337"/>
              <a:gd name="connsiteY2326" fmla="*/ 3209662 h 5071335"/>
              <a:gd name="connsiteX2327" fmla="*/ 1405252 w 13768337"/>
              <a:gd name="connsiteY2327" fmla="*/ 3211056 h 5071335"/>
              <a:gd name="connsiteX2328" fmla="*/ 1405716 w 13768337"/>
              <a:gd name="connsiteY2328" fmla="*/ 3212449 h 5071335"/>
              <a:gd name="connsiteX2329" fmla="*/ 1411277 w 13768337"/>
              <a:gd name="connsiteY2329" fmla="*/ 3211474 h 5071335"/>
              <a:gd name="connsiteX2330" fmla="*/ 1409887 w 13768337"/>
              <a:gd name="connsiteY2330" fmla="*/ 3209662 h 5071335"/>
              <a:gd name="connsiteX2331" fmla="*/ 1437227 w 13768337"/>
              <a:gd name="connsiteY2331" fmla="*/ 3204087 h 5071335"/>
              <a:gd name="connsiteX2332" fmla="*/ 1423325 w 13768337"/>
              <a:gd name="connsiteY2332" fmla="*/ 3206875 h 5071335"/>
              <a:gd name="connsiteX2333" fmla="*/ 1421935 w 13768337"/>
              <a:gd name="connsiteY2333" fmla="*/ 3209243 h 5071335"/>
              <a:gd name="connsiteX2334" fmla="*/ 1436764 w 13768337"/>
              <a:gd name="connsiteY2334" fmla="*/ 3205063 h 5071335"/>
              <a:gd name="connsiteX2335" fmla="*/ 1437227 w 13768337"/>
              <a:gd name="connsiteY2335" fmla="*/ 3204087 h 5071335"/>
              <a:gd name="connsiteX2336" fmla="*/ 1360766 w 13768337"/>
              <a:gd name="connsiteY2336" fmla="*/ 3204087 h 5071335"/>
              <a:gd name="connsiteX2337" fmla="*/ 1347792 w 13768337"/>
              <a:gd name="connsiteY2337" fmla="*/ 3229869 h 5071335"/>
              <a:gd name="connsiteX2338" fmla="*/ 1365864 w 13768337"/>
              <a:gd name="connsiteY2338" fmla="*/ 3238788 h 5071335"/>
              <a:gd name="connsiteX2339" fmla="*/ 1374205 w 13768337"/>
              <a:gd name="connsiteY2339" fmla="*/ 3234887 h 5071335"/>
              <a:gd name="connsiteX2340" fmla="*/ 1374669 w 13768337"/>
              <a:gd name="connsiteY2340" fmla="*/ 3229869 h 5071335"/>
              <a:gd name="connsiteX2341" fmla="*/ 1378839 w 13768337"/>
              <a:gd name="connsiteY2341" fmla="*/ 3231123 h 5071335"/>
              <a:gd name="connsiteX2342" fmla="*/ 1379766 w 13768337"/>
              <a:gd name="connsiteY2342" fmla="*/ 3219835 h 5071335"/>
              <a:gd name="connsiteX2343" fmla="*/ 1374669 w 13768337"/>
              <a:gd name="connsiteY2343" fmla="*/ 3219000 h 5071335"/>
              <a:gd name="connsiteX2344" fmla="*/ 1360766 w 13768337"/>
              <a:gd name="connsiteY2344" fmla="*/ 3204087 h 5071335"/>
              <a:gd name="connsiteX2345" fmla="*/ 1448348 w 13768337"/>
              <a:gd name="connsiteY2345" fmla="*/ 3197537 h 5071335"/>
              <a:gd name="connsiteX2346" fmla="*/ 1445105 w 13768337"/>
              <a:gd name="connsiteY2346" fmla="*/ 3200325 h 5071335"/>
              <a:gd name="connsiteX2347" fmla="*/ 1448348 w 13768337"/>
              <a:gd name="connsiteY2347" fmla="*/ 3198791 h 5071335"/>
              <a:gd name="connsiteX2348" fmla="*/ 1448348 w 13768337"/>
              <a:gd name="connsiteY2348" fmla="*/ 3197537 h 5071335"/>
              <a:gd name="connsiteX2349" fmla="*/ 1439544 w 13768337"/>
              <a:gd name="connsiteY2349" fmla="*/ 3195029 h 5071335"/>
              <a:gd name="connsiteX2350" fmla="*/ 1432593 w 13768337"/>
              <a:gd name="connsiteY2350" fmla="*/ 3198791 h 5071335"/>
              <a:gd name="connsiteX2351" fmla="*/ 1446958 w 13768337"/>
              <a:gd name="connsiteY2351" fmla="*/ 3196143 h 5071335"/>
              <a:gd name="connsiteX2352" fmla="*/ 1439544 w 13768337"/>
              <a:gd name="connsiteY2352" fmla="*/ 3195029 h 5071335"/>
              <a:gd name="connsiteX2353" fmla="*/ 1368644 w 13768337"/>
              <a:gd name="connsiteY2353" fmla="*/ 3170362 h 5071335"/>
              <a:gd name="connsiteX2354" fmla="*/ 1357523 w 13768337"/>
              <a:gd name="connsiteY2354" fmla="*/ 3171755 h 5071335"/>
              <a:gd name="connsiteX2355" fmla="*/ 1355670 w 13768337"/>
              <a:gd name="connsiteY2355" fmla="*/ 3171755 h 5071335"/>
              <a:gd name="connsiteX2356" fmla="*/ 1352889 w 13768337"/>
              <a:gd name="connsiteY2356" fmla="*/ 3171755 h 5071335"/>
              <a:gd name="connsiteX2357" fmla="*/ 1322305 w 13768337"/>
              <a:gd name="connsiteY2357" fmla="*/ 3171755 h 5071335"/>
              <a:gd name="connsiteX2358" fmla="*/ 1301915 w 13768337"/>
              <a:gd name="connsiteY2358" fmla="*/ 3193216 h 5071335"/>
              <a:gd name="connsiteX2359" fmla="*/ 1384864 w 13768337"/>
              <a:gd name="connsiteY2359" fmla="*/ 3177469 h 5071335"/>
              <a:gd name="connsiteX2360" fmla="*/ 1368644 w 13768337"/>
              <a:gd name="connsiteY2360" fmla="*/ 3170362 h 5071335"/>
              <a:gd name="connsiteX2361" fmla="*/ 457612 w 13768337"/>
              <a:gd name="connsiteY2361" fmla="*/ 3153498 h 5071335"/>
              <a:gd name="connsiteX2362" fmla="*/ 482635 w 13768337"/>
              <a:gd name="connsiteY2362" fmla="*/ 3170919 h 5071335"/>
              <a:gd name="connsiteX2363" fmla="*/ 447880 w 13768337"/>
              <a:gd name="connsiteY2363" fmla="*/ 3159631 h 5071335"/>
              <a:gd name="connsiteX2364" fmla="*/ 457612 w 13768337"/>
              <a:gd name="connsiteY2364" fmla="*/ 3153498 h 5071335"/>
              <a:gd name="connsiteX2365" fmla="*/ 502561 w 13768337"/>
              <a:gd name="connsiteY2365" fmla="*/ 3150155 h 5071335"/>
              <a:gd name="connsiteX2366" fmla="*/ 524805 w 13768337"/>
              <a:gd name="connsiteY2366" fmla="*/ 3150155 h 5071335"/>
              <a:gd name="connsiteX2367" fmla="*/ 515536 w 13768337"/>
              <a:gd name="connsiteY2367" fmla="*/ 3154892 h 5071335"/>
              <a:gd name="connsiteX2368" fmla="*/ 520170 w 13768337"/>
              <a:gd name="connsiteY2368" fmla="*/ 3163811 h 5071335"/>
              <a:gd name="connsiteX2369" fmla="*/ 524805 w 13768337"/>
              <a:gd name="connsiteY2369" fmla="*/ 3160049 h 5071335"/>
              <a:gd name="connsiteX2370" fmla="*/ 520170 w 13768337"/>
              <a:gd name="connsiteY2370" fmla="*/ 3174124 h 5071335"/>
              <a:gd name="connsiteX2371" fmla="*/ 497927 w 13768337"/>
              <a:gd name="connsiteY2371" fmla="*/ 3179280 h 5071335"/>
              <a:gd name="connsiteX2372" fmla="*/ 488659 w 13768337"/>
              <a:gd name="connsiteY2372" fmla="*/ 3179280 h 5071335"/>
              <a:gd name="connsiteX2373" fmla="*/ 502561 w 13768337"/>
              <a:gd name="connsiteY2373" fmla="*/ 3150155 h 5071335"/>
              <a:gd name="connsiteX2374" fmla="*/ 1072072 w 13768337"/>
              <a:gd name="connsiteY2374" fmla="*/ 3149318 h 5071335"/>
              <a:gd name="connsiteX2375" fmla="*/ 1080413 w 13768337"/>
              <a:gd name="connsiteY2375" fmla="*/ 3155868 h 5071335"/>
              <a:gd name="connsiteX2376" fmla="*/ 1111925 w 13768337"/>
              <a:gd name="connsiteY2376" fmla="*/ 3153080 h 5071335"/>
              <a:gd name="connsiteX2377" fmla="*/ 1072072 w 13768337"/>
              <a:gd name="connsiteY2377" fmla="*/ 3149318 h 5071335"/>
              <a:gd name="connsiteX2378" fmla="*/ 1343157 w 13768337"/>
              <a:gd name="connsiteY2378" fmla="*/ 3144162 h 5071335"/>
              <a:gd name="connsiteX2379" fmla="*/ 1320452 w 13768337"/>
              <a:gd name="connsiteY2379" fmla="*/ 3145137 h 5071335"/>
              <a:gd name="connsiteX2380" fmla="*/ 1363547 w 13768337"/>
              <a:gd name="connsiteY2380" fmla="*/ 3150155 h 5071335"/>
              <a:gd name="connsiteX2381" fmla="*/ 1343157 w 13768337"/>
              <a:gd name="connsiteY2381" fmla="*/ 3144162 h 5071335"/>
              <a:gd name="connsiteX2382" fmla="*/ 914056 w 13768337"/>
              <a:gd name="connsiteY2382" fmla="*/ 3143604 h 5071335"/>
              <a:gd name="connsiteX2383" fmla="*/ 907568 w 13768337"/>
              <a:gd name="connsiteY2383" fmla="*/ 3146531 h 5071335"/>
              <a:gd name="connsiteX2384" fmla="*/ 915445 w 13768337"/>
              <a:gd name="connsiteY2384" fmla="*/ 3146531 h 5071335"/>
              <a:gd name="connsiteX2385" fmla="*/ 914056 w 13768337"/>
              <a:gd name="connsiteY2385" fmla="*/ 3143604 h 5071335"/>
              <a:gd name="connsiteX2386" fmla="*/ 1374669 w 13768337"/>
              <a:gd name="connsiteY2386" fmla="*/ 3140956 h 5071335"/>
              <a:gd name="connsiteX2387" fmla="*/ 1373279 w 13768337"/>
              <a:gd name="connsiteY2387" fmla="*/ 3151687 h 5071335"/>
              <a:gd name="connsiteX2388" fmla="*/ 1398765 w 13768337"/>
              <a:gd name="connsiteY2388" fmla="*/ 3154335 h 5071335"/>
              <a:gd name="connsiteX2389" fmla="*/ 1402009 w 13768337"/>
              <a:gd name="connsiteY2389" fmla="*/ 3151687 h 5071335"/>
              <a:gd name="connsiteX2390" fmla="*/ 1374669 w 13768337"/>
              <a:gd name="connsiteY2390" fmla="*/ 3140956 h 5071335"/>
              <a:gd name="connsiteX2391" fmla="*/ 976150 w 13768337"/>
              <a:gd name="connsiteY2391" fmla="*/ 3139842 h 5071335"/>
              <a:gd name="connsiteX2392" fmla="*/ 979394 w 13768337"/>
              <a:gd name="connsiteY2392" fmla="*/ 3143604 h 5071335"/>
              <a:gd name="connsiteX2393" fmla="*/ 980783 w 13768337"/>
              <a:gd name="connsiteY2393" fmla="*/ 3139842 h 5071335"/>
              <a:gd name="connsiteX2394" fmla="*/ 976150 w 13768337"/>
              <a:gd name="connsiteY2394" fmla="*/ 3139842 h 5071335"/>
              <a:gd name="connsiteX2395" fmla="*/ 1443251 w 13768337"/>
              <a:gd name="connsiteY2395" fmla="*/ 3139563 h 5071335"/>
              <a:gd name="connsiteX2396" fmla="*/ 1426105 w 13768337"/>
              <a:gd name="connsiteY2396" fmla="*/ 3151687 h 5071335"/>
              <a:gd name="connsiteX2397" fmla="*/ 1467811 w 13768337"/>
              <a:gd name="connsiteY2397" fmla="*/ 3146531 h 5071335"/>
              <a:gd name="connsiteX2398" fmla="*/ 1443251 w 13768337"/>
              <a:gd name="connsiteY2398" fmla="*/ 3139563 h 5071335"/>
              <a:gd name="connsiteX2399" fmla="*/ 1239821 w 13768337"/>
              <a:gd name="connsiteY2399" fmla="*/ 3134406 h 5071335"/>
              <a:gd name="connsiteX2400" fmla="*/ 1244455 w 13768337"/>
              <a:gd name="connsiteY2400" fmla="*/ 3142211 h 5071335"/>
              <a:gd name="connsiteX2401" fmla="*/ 1249088 w 13768337"/>
              <a:gd name="connsiteY2401" fmla="*/ 3135661 h 5071335"/>
              <a:gd name="connsiteX2402" fmla="*/ 1239821 w 13768337"/>
              <a:gd name="connsiteY2402" fmla="*/ 3134406 h 5071335"/>
              <a:gd name="connsiteX2403" fmla="*/ 1488663 w 13768337"/>
              <a:gd name="connsiteY2403" fmla="*/ 3122142 h 5071335"/>
              <a:gd name="connsiteX2404" fmla="*/ 1474299 w 13768337"/>
              <a:gd name="connsiteY2404" fmla="*/ 3126463 h 5071335"/>
              <a:gd name="connsiteX2405" fmla="*/ 1512297 w 13768337"/>
              <a:gd name="connsiteY2405" fmla="*/ 3135661 h 5071335"/>
              <a:gd name="connsiteX2406" fmla="*/ 1488663 w 13768337"/>
              <a:gd name="connsiteY2406" fmla="*/ 3122142 h 5071335"/>
              <a:gd name="connsiteX2407" fmla="*/ 1113314 w 13768337"/>
              <a:gd name="connsiteY2407" fmla="*/ 3114338 h 5071335"/>
              <a:gd name="connsiteX2408" fmla="*/ 1114242 w 13768337"/>
              <a:gd name="connsiteY2408" fmla="*/ 3114617 h 5071335"/>
              <a:gd name="connsiteX2409" fmla="*/ 1112851 w 13768337"/>
              <a:gd name="connsiteY2409" fmla="*/ 3115174 h 5071335"/>
              <a:gd name="connsiteX2410" fmla="*/ 1113314 w 13768337"/>
              <a:gd name="connsiteY2410" fmla="*/ 3114338 h 5071335"/>
              <a:gd name="connsiteX2411" fmla="*/ 1480322 w 13768337"/>
              <a:gd name="connsiteY2411" fmla="*/ 3083261 h 5071335"/>
              <a:gd name="connsiteX2412" fmla="*/ 1483566 w 13768337"/>
              <a:gd name="connsiteY2412" fmla="*/ 3095524 h 5071335"/>
              <a:gd name="connsiteX2413" fmla="*/ 1498395 w 13768337"/>
              <a:gd name="connsiteY2413" fmla="*/ 3100680 h 5071335"/>
              <a:gd name="connsiteX2414" fmla="*/ 1503493 w 13768337"/>
              <a:gd name="connsiteY2414" fmla="*/ 3099148 h 5071335"/>
              <a:gd name="connsiteX2415" fmla="*/ 1480322 w 13768337"/>
              <a:gd name="connsiteY2415" fmla="*/ 3083261 h 5071335"/>
              <a:gd name="connsiteX2416" fmla="*/ 1443715 w 13768337"/>
              <a:gd name="connsiteY2416" fmla="*/ 3078104 h 5071335"/>
              <a:gd name="connsiteX2417" fmla="*/ 1416374 w 13768337"/>
              <a:gd name="connsiteY2417" fmla="*/ 3088835 h 5071335"/>
              <a:gd name="connsiteX2418" fmla="*/ 1413130 w 13768337"/>
              <a:gd name="connsiteY2418" fmla="*/ 3099148 h 5071335"/>
              <a:gd name="connsiteX2419" fmla="*/ 1460860 w 13768337"/>
              <a:gd name="connsiteY2419" fmla="*/ 3102074 h 5071335"/>
              <a:gd name="connsiteX2420" fmla="*/ 1454836 w 13768337"/>
              <a:gd name="connsiteY2420" fmla="*/ 3094131 h 5071335"/>
              <a:gd name="connsiteX2421" fmla="*/ 1471054 w 13768337"/>
              <a:gd name="connsiteY2421" fmla="*/ 3092737 h 5071335"/>
              <a:gd name="connsiteX2422" fmla="*/ 1458079 w 13768337"/>
              <a:gd name="connsiteY2422" fmla="*/ 3078104 h 5071335"/>
              <a:gd name="connsiteX2423" fmla="*/ 1443715 w 13768337"/>
              <a:gd name="connsiteY2423" fmla="*/ 3078104 h 5071335"/>
              <a:gd name="connsiteX2424" fmla="*/ 1641584 w 13768337"/>
              <a:gd name="connsiteY2424" fmla="*/ 3051068 h 5071335"/>
              <a:gd name="connsiteX2425" fmla="*/ 1650388 w 13768337"/>
              <a:gd name="connsiteY2425" fmla="*/ 3068906 h 5071335"/>
              <a:gd name="connsiteX2426" fmla="*/ 1654095 w 13768337"/>
              <a:gd name="connsiteY2426" fmla="*/ 3051487 h 5071335"/>
              <a:gd name="connsiteX2427" fmla="*/ 1656412 w 13768337"/>
              <a:gd name="connsiteY2427" fmla="*/ 3051068 h 5071335"/>
              <a:gd name="connsiteX2428" fmla="*/ 1516931 w 13768337"/>
              <a:gd name="connsiteY2428" fmla="*/ 3051068 h 5071335"/>
              <a:gd name="connsiteX2429" fmla="*/ 1507199 w 13768337"/>
              <a:gd name="connsiteY2429" fmla="*/ 3083261 h 5071335"/>
              <a:gd name="connsiteX2430" fmla="*/ 1535930 w 13768337"/>
              <a:gd name="connsiteY2430" fmla="*/ 3090367 h 5071335"/>
              <a:gd name="connsiteX2431" fmla="*/ 1548904 w 13768337"/>
              <a:gd name="connsiteY2431" fmla="*/ 3086745 h 5071335"/>
              <a:gd name="connsiteX2432" fmla="*/ 1597562 w 13768337"/>
              <a:gd name="connsiteY2432" fmla="*/ 3076711 h 5071335"/>
              <a:gd name="connsiteX2433" fmla="*/ 1609145 w 13768337"/>
              <a:gd name="connsiteY2433" fmla="*/ 3074341 h 5071335"/>
              <a:gd name="connsiteX2434" fmla="*/ 1604512 w 13768337"/>
              <a:gd name="connsiteY2434" fmla="*/ 3051068 h 5071335"/>
              <a:gd name="connsiteX2435" fmla="*/ 1563270 w 13768337"/>
              <a:gd name="connsiteY2435" fmla="*/ 3078104 h 5071335"/>
              <a:gd name="connsiteX2436" fmla="*/ 1553539 w 13768337"/>
              <a:gd name="connsiteY2436" fmla="*/ 3078104 h 5071335"/>
              <a:gd name="connsiteX2437" fmla="*/ 1558174 w 13768337"/>
              <a:gd name="connsiteY2437" fmla="*/ 3056643 h 5071335"/>
              <a:gd name="connsiteX2438" fmla="*/ 1516931 w 13768337"/>
              <a:gd name="connsiteY2438" fmla="*/ 3051068 h 5071335"/>
              <a:gd name="connsiteX2439" fmla="*/ 1705069 w 13768337"/>
              <a:gd name="connsiteY2439" fmla="*/ 3031000 h 5071335"/>
              <a:gd name="connsiteX2440" fmla="*/ 1655484 w 13768337"/>
              <a:gd name="connsiteY2440" fmla="*/ 3047306 h 5071335"/>
              <a:gd name="connsiteX2441" fmla="*/ 1662900 w 13768337"/>
              <a:gd name="connsiteY2441" fmla="*/ 3049674 h 5071335"/>
              <a:gd name="connsiteX2442" fmla="*/ 1700899 w 13768337"/>
              <a:gd name="connsiteY2442" fmla="*/ 3041174 h 5071335"/>
              <a:gd name="connsiteX2443" fmla="*/ 1705069 w 13768337"/>
              <a:gd name="connsiteY2443" fmla="*/ 3031000 h 5071335"/>
              <a:gd name="connsiteX2444" fmla="*/ 1335280 w 13768337"/>
              <a:gd name="connsiteY2444" fmla="*/ 3021245 h 5071335"/>
              <a:gd name="connsiteX2445" fmla="*/ 1320452 w 13768337"/>
              <a:gd name="connsiteY2445" fmla="*/ 3036574 h 5071335"/>
              <a:gd name="connsiteX2446" fmla="*/ 1347792 w 13768337"/>
              <a:gd name="connsiteY2446" fmla="*/ 3036574 h 5071335"/>
              <a:gd name="connsiteX2447" fmla="*/ 1335280 w 13768337"/>
              <a:gd name="connsiteY2447" fmla="*/ 3021245 h 5071335"/>
              <a:gd name="connsiteX2448" fmla="*/ 1604512 w 13768337"/>
              <a:gd name="connsiteY2448" fmla="*/ 3020130 h 5071335"/>
              <a:gd name="connsiteX2449" fmla="*/ 1631852 w 13768337"/>
              <a:gd name="connsiteY2449" fmla="*/ 3056643 h 5071335"/>
              <a:gd name="connsiteX2450" fmla="*/ 1646217 w 13768337"/>
              <a:gd name="connsiteY2450" fmla="*/ 3025704 h 5071335"/>
              <a:gd name="connsiteX2451" fmla="*/ 1604512 w 13768337"/>
              <a:gd name="connsiteY2451" fmla="*/ 3020130 h 5071335"/>
              <a:gd name="connsiteX2452" fmla="*/ 1522955 w 13768337"/>
              <a:gd name="connsiteY2452" fmla="*/ 3009399 h 5071335"/>
              <a:gd name="connsiteX2453" fmla="*/ 1509053 w 13768337"/>
              <a:gd name="connsiteY2453" fmla="*/ 3025704 h 5071335"/>
              <a:gd name="connsiteX2454" fmla="*/ 1590610 w 13768337"/>
              <a:gd name="connsiteY2454" fmla="*/ 3047306 h 5071335"/>
              <a:gd name="connsiteX2455" fmla="*/ 1604512 w 13768337"/>
              <a:gd name="connsiteY2455" fmla="*/ 3036574 h 5071335"/>
              <a:gd name="connsiteX2456" fmla="*/ 1585513 w 13768337"/>
              <a:gd name="connsiteY2456" fmla="*/ 3020130 h 5071335"/>
              <a:gd name="connsiteX2457" fmla="*/ 1544271 w 13768337"/>
              <a:gd name="connsiteY2457" fmla="*/ 3012325 h 5071335"/>
              <a:gd name="connsiteX2458" fmla="*/ 1522955 w 13768337"/>
              <a:gd name="connsiteY2458" fmla="*/ 3016506 h 5071335"/>
              <a:gd name="connsiteX2459" fmla="*/ 1522955 w 13768337"/>
              <a:gd name="connsiteY2459" fmla="*/ 3009399 h 5071335"/>
              <a:gd name="connsiteX2460" fmla="*/ 1744457 w 13768337"/>
              <a:gd name="connsiteY2460" fmla="*/ 3003825 h 5071335"/>
              <a:gd name="connsiteX2461" fmla="*/ 1737042 w 13768337"/>
              <a:gd name="connsiteY2461" fmla="*/ 3004382 h 5071335"/>
              <a:gd name="connsiteX2462" fmla="*/ 1737042 w 13768337"/>
              <a:gd name="connsiteY2462" fmla="*/ 3014974 h 5071335"/>
              <a:gd name="connsiteX2463" fmla="*/ 1760676 w 13768337"/>
              <a:gd name="connsiteY2463" fmla="*/ 3009399 h 5071335"/>
              <a:gd name="connsiteX2464" fmla="*/ 1744457 w 13768337"/>
              <a:gd name="connsiteY2464" fmla="*/ 3003825 h 5071335"/>
              <a:gd name="connsiteX2465" fmla="*/ 1721288 w 13768337"/>
              <a:gd name="connsiteY2465" fmla="*/ 3001734 h 5071335"/>
              <a:gd name="connsiteX2466" fmla="*/ 1712019 w 13768337"/>
              <a:gd name="connsiteY2466" fmla="*/ 3003825 h 5071335"/>
              <a:gd name="connsiteX2467" fmla="*/ 1695801 w 13768337"/>
              <a:gd name="connsiteY2467" fmla="*/ 3014974 h 5071335"/>
              <a:gd name="connsiteX2468" fmla="*/ 1729165 w 13768337"/>
              <a:gd name="connsiteY2468" fmla="*/ 3004382 h 5071335"/>
              <a:gd name="connsiteX2469" fmla="*/ 1721288 w 13768337"/>
              <a:gd name="connsiteY2469" fmla="*/ 3001734 h 5071335"/>
              <a:gd name="connsiteX2470" fmla="*/ 1949277 w 13768337"/>
              <a:gd name="connsiteY2470" fmla="*/ 2984175 h 5071335"/>
              <a:gd name="connsiteX2471" fmla="*/ 1950667 w 13768337"/>
              <a:gd name="connsiteY2471" fmla="*/ 2987798 h 5071335"/>
              <a:gd name="connsiteX2472" fmla="*/ 1955764 w 13768337"/>
              <a:gd name="connsiteY2472" fmla="*/ 2987380 h 5071335"/>
              <a:gd name="connsiteX2473" fmla="*/ 1949277 w 13768337"/>
              <a:gd name="connsiteY2473" fmla="*/ 2984175 h 5071335"/>
              <a:gd name="connsiteX2474" fmla="*/ 1582791 w 13768337"/>
              <a:gd name="connsiteY2474" fmla="*/ 2983652 h 5071335"/>
              <a:gd name="connsiteX2475" fmla="*/ 1570684 w 13768337"/>
              <a:gd name="connsiteY2475" fmla="*/ 2984175 h 5071335"/>
              <a:gd name="connsiteX2476" fmla="*/ 1558174 w 13768337"/>
              <a:gd name="connsiteY2476" fmla="*/ 2998668 h 5071335"/>
              <a:gd name="connsiteX2477" fmla="*/ 1595244 w 13768337"/>
              <a:gd name="connsiteY2477" fmla="*/ 2984175 h 5071335"/>
              <a:gd name="connsiteX2478" fmla="*/ 1582791 w 13768337"/>
              <a:gd name="connsiteY2478" fmla="*/ 2983652 h 5071335"/>
              <a:gd name="connsiteX2479" fmla="*/ 1452983 w 13768337"/>
              <a:gd name="connsiteY2479" fmla="*/ 2973444 h 5071335"/>
              <a:gd name="connsiteX2480" fmla="*/ 1407106 w 13768337"/>
              <a:gd name="connsiteY2480" fmla="*/ 2987798 h 5071335"/>
              <a:gd name="connsiteX2481" fmla="*/ 1389498 w 13768337"/>
              <a:gd name="connsiteY2481" fmla="*/ 3014974 h 5071335"/>
              <a:gd name="connsiteX2482" fmla="*/ 1462714 w 13768337"/>
              <a:gd name="connsiteY2482" fmla="*/ 2993372 h 5071335"/>
              <a:gd name="connsiteX2483" fmla="*/ 1452983 w 13768337"/>
              <a:gd name="connsiteY2483" fmla="*/ 2993372 h 5071335"/>
              <a:gd name="connsiteX2484" fmla="*/ 1452983 w 13768337"/>
              <a:gd name="connsiteY2484" fmla="*/ 2973444 h 5071335"/>
              <a:gd name="connsiteX2485" fmla="*/ 1623048 w 13768337"/>
              <a:gd name="connsiteY2485" fmla="*/ 2966893 h 5071335"/>
              <a:gd name="connsiteX2486" fmla="*/ 1614244 w 13768337"/>
              <a:gd name="connsiteY2486" fmla="*/ 2967869 h 5071335"/>
              <a:gd name="connsiteX2487" fmla="*/ 1641584 w 13768337"/>
              <a:gd name="connsiteY2487" fmla="*/ 2973444 h 5071335"/>
              <a:gd name="connsiteX2488" fmla="*/ 1623048 w 13768337"/>
              <a:gd name="connsiteY2488" fmla="*/ 2966893 h 5071335"/>
              <a:gd name="connsiteX2489" fmla="*/ 1515540 w 13768337"/>
              <a:gd name="connsiteY2489" fmla="*/ 2964385 h 5071335"/>
              <a:gd name="connsiteX2490" fmla="*/ 1508589 w 13768337"/>
              <a:gd name="connsiteY2490" fmla="*/ 2964943 h 5071335"/>
              <a:gd name="connsiteX2491" fmla="*/ 1503955 w 13768337"/>
              <a:gd name="connsiteY2491" fmla="*/ 2973444 h 5071335"/>
              <a:gd name="connsiteX2492" fmla="*/ 1509053 w 13768337"/>
              <a:gd name="connsiteY2492" fmla="*/ 2984175 h 5071335"/>
              <a:gd name="connsiteX2493" fmla="*/ 1531296 w 13768337"/>
              <a:gd name="connsiteY2493" fmla="*/ 2984175 h 5071335"/>
              <a:gd name="connsiteX2494" fmla="*/ 1515540 w 13768337"/>
              <a:gd name="connsiteY2494" fmla="*/ 2964385 h 5071335"/>
              <a:gd name="connsiteX2495" fmla="*/ 1724531 w 13768337"/>
              <a:gd name="connsiteY2495" fmla="*/ 2962574 h 5071335"/>
              <a:gd name="connsiteX2496" fmla="*/ 1709703 w 13768337"/>
              <a:gd name="connsiteY2496" fmla="*/ 2984175 h 5071335"/>
              <a:gd name="connsiteX2497" fmla="*/ 1700434 w 13768337"/>
              <a:gd name="connsiteY2497" fmla="*/ 2989192 h 5071335"/>
              <a:gd name="connsiteX2498" fmla="*/ 1729165 w 13768337"/>
              <a:gd name="connsiteY2498" fmla="*/ 2984175 h 5071335"/>
              <a:gd name="connsiteX2499" fmla="*/ 1724531 w 13768337"/>
              <a:gd name="connsiteY2499" fmla="*/ 2962574 h 5071335"/>
              <a:gd name="connsiteX2500" fmla="*/ 13629091 w 13768337"/>
              <a:gd name="connsiteY2500" fmla="*/ 2955252 h 5071335"/>
              <a:gd name="connsiteX2501" fmla="*/ 13624459 w 13768337"/>
              <a:gd name="connsiteY2501" fmla="*/ 2972950 h 5071335"/>
              <a:gd name="connsiteX2502" fmla="*/ 13589240 w 13768337"/>
              <a:gd name="connsiteY2502" fmla="*/ 2967376 h 5071335"/>
              <a:gd name="connsiteX2503" fmla="*/ 13629091 w 13768337"/>
              <a:gd name="connsiteY2503" fmla="*/ 2955252 h 5071335"/>
              <a:gd name="connsiteX2504" fmla="*/ 13640154 w 13768337"/>
              <a:gd name="connsiteY2504" fmla="*/ 2954795 h 5071335"/>
              <a:gd name="connsiteX2505" fmla="*/ 13661528 w 13768337"/>
              <a:gd name="connsiteY2505" fmla="*/ 2956088 h 5071335"/>
              <a:gd name="connsiteX2506" fmla="*/ 13643457 w 13768337"/>
              <a:gd name="connsiteY2506" fmla="*/ 2970025 h 5071335"/>
              <a:gd name="connsiteX2507" fmla="*/ 13631873 w 13768337"/>
              <a:gd name="connsiteY2507" fmla="*/ 2955252 h 5071335"/>
              <a:gd name="connsiteX2508" fmla="*/ 13640154 w 13768337"/>
              <a:gd name="connsiteY2508" fmla="*/ 2954795 h 5071335"/>
              <a:gd name="connsiteX2509" fmla="*/ 1800991 w 13768337"/>
              <a:gd name="connsiteY2509" fmla="*/ 2953376 h 5071335"/>
              <a:gd name="connsiteX2510" fmla="*/ 1778750 w 13768337"/>
              <a:gd name="connsiteY2510" fmla="*/ 2956999 h 5071335"/>
              <a:gd name="connsiteX2511" fmla="*/ 1844087 w 13768337"/>
              <a:gd name="connsiteY2511" fmla="*/ 2994906 h 5071335"/>
              <a:gd name="connsiteX2512" fmla="*/ 1860306 w 13768337"/>
              <a:gd name="connsiteY2512" fmla="*/ 3006612 h 5071335"/>
              <a:gd name="connsiteX2513" fmla="*/ 1881159 w 13768337"/>
              <a:gd name="connsiteY2513" fmla="*/ 3002013 h 5071335"/>
              <a:gd name="connsiteX2514" fmla="*/ 1856135 w 13768337"/>
              <a:gd name="connsiteY2514" fmla="*/ 2999644 h 5071335"/>
              <a:gd name="connsiteX2515" fmla="*/ 1851038 w 13768337"/>
              <a:gd name="connsiteY2515" fmla="*/ 2980412 h 5071335"/>
              <a:gd name="connsiteX2516" fmla="*/ 1865867 w 13768337"/>
              <a:gd name="connsiteY2516" fmla="*/ 2985986 h 5071335"/>
              <a:gd name="connsiteX2517" fmla="*/ 1871427 w 13768337"/>
              <a:gd name="connsiteY2517" fmla="*/ 2956999 h 5071335"/>
              <a:gd name="connsiteX2518" fmla="*/ 1800991 w 13768337"/>
              <a:gd name="connsiteY2518" fmla="*/ 2953376 h 5071335"/>
              <a:gd name="connsiteX2519" fmla="*/ 1512297 w 13768337"/>
              <a:gd name="connsiteY2519" fmla="*/ 2951843 h 5071335"/>
              <a:gd name="connsiteX2520" fmla="*/ 1471982 w 13768337"/>
              <a:gd name="connsiteY2520" fmla="*/ 2967869 h 5071335"/>
              <a:gd name="connsiteX2521" fmla="*/ 1494688 w 13768337"/>
              <a:gd name="connsiteY2521" fmla="*/ 2984175 h 5071335"/>
              <a:gd name="connsiteX2522" fmla="*/ 1512297 w 13768337"/>
              <a:gd name="connsiteY2522" fmla="*/ 2951843 h 5071335"/>
              <a:gd name="connsiteX2523" fmla="*/ 1995153 w 13768337"/>
              <a:gd name="connsiteY2523" fmla="*/ 2936792 h 5071335"/>
              <a:gd name="connsiteX2524" fmla="*/ 1998396 w 13768337"/>
              <a:gd name="connsiteY2524" fmla="*/ 2963967 h 5071335"/>
              <a:gd name="connsiteX2525" fmla="*/ 2014615 w 13768337"/>
              <a:gd name="connsiteY2525" fmla="*/ 2966754 h 5071335"/>
              <a:gd name="connsiteX2526" fmla="*/ 2026664 w 13768337"/>
              <a:gd name="connsiteY2526" fmla="*/ 2953376 h 5071335"/>
              <a:gd name="connsiteX2527" fmla="*/ 2073003 w 13768337"/>
              <a:gd name="connsiteY2527" fmla="*/ 2944735 h 5071335"/>
              <a:gd name="connsiteX2528" fmla="*/ 2049370 w 13768337"/>
              <a:gd name="connsiteY2528" fmla="*/ 2953376 h 5071335"/>
              <a:gd name="connsiteX2529" fmla="*/ 2044738 w 13768337"/>
              <a:gd name="connsiteY2529" fmla="*/ 2936792 h 5071335"/>
              <a:gd name="connsiteX2530" fmla="*/ 2027590 w 13768337"/>
              <a:gd name="connsiteY2530" fmla="*/ 2936792 h 5071335"/>
              <a:gd name="connsiteX2531" fmla="*/ 1789869 w 13768337"/>
              <a:gd name="connsiteY2531" fmla="*/ 2921044 h 5071335"/>
              <a:gd name="connsiteX2532" fmla="*/ 1797748 w 13768337"/>
              <a:gd name="connsiteY2532" fmla="*/ 2926061 h 5071335"/>
              <a:gd name="connsiteX2533" fmla="*/ 1795894 w 13768337"/>
              <a:gd name="connsiteY2533" fmla="*/ 2921044 h 5071335"/>
              <a:gd name="connsiteX2534" fmla="*/ 1789869 w 13768337"/>
              <a:gd name="connsiteY2534" fmla="*/ 2921044 h 5071335"/>
              <a:gd name="connsiteX2535" fmla="*/ 2064662 w 13768337"/>
              <a:gd name="connsiteY2535" fmla="*/ 2916863 h 5071335"/>
              <a:gd name="connsiteX2536" fmla="*/ 2040567 w 13768337"/>
              <a:gd name="connsiteY2536" fmla="*/ 2921044 h 5071335"/>
              <a:gd name="connsiteX2537" fmla="*/ 2076711 w 13768337"/>
              <a:gd name="connsiteY2537" fmla="*/ 2931775 h 5071335"/>
              <a:gd name="connsiteX2538" fmla="*/ 2073003 w 13768337"/>
              <a:gd name="connsiteY2538" fmla="*/ 2917699 h 5071335"/>
              <a:gd name="connsiteX2539" fmla="*/ 2064662 w 13768337"/>
              <a:gd name="connsiteY2539" fmla="*/ 2916863 h 5071335"/>
              <a:gd name="connsiteX2540" fmla="*/ 2041029 w 13768337"/>
              <a:gd name="connsiteY2540" fmla="*/ 2895262 h 5071335"/>
              <a:gd name="connsiteX2541" fmla="*/ 2036859 w 13768337"/>
              <a:gd name="connsiteY2541" fmla="*/ 2900837 h 5071335"/>
              <a:gd name="connsiteX2542" fmla="*/ 2038714 w 13768337"/>
              <a:gd name="connsiteY2542" fmla="*/ 2911288 h 5071335"/>
              <a:gd name="connsiteX2543" fmla="*/ 2052614 w 13768337"/>
              <a:gd name="connsiteY2543" fmla="*/ 2907944 h 5071335"/>
              <a:gd name="connsiteX2544" fmla="*/ 2041029 w 13768337"/>
              <a:gd name="connsiteY2544" fmla="*/ 2895262 h 5071335"/>
              <a:gd name="connsiteX2545" fmla="*/ 1732408 w 13768337"/>
              <a:gd name="connsiteY2545" fmla="*/ 2887319 h 5071335"/>
              <a:gd name="connsiteX2546" fmla="*/ 1724531 w 13768337"/>
              <a:gd name="connsiteY2546" fmla="*/ 2899443 h 5071335"/>
              <a:gd name="connsiteX2547" fmla="*/ 1733799 w 13768337"/>
              <a:gd name="connsiteY2547" fmla="*/ 2942506 h 5071335"/>
              <a:gd name="connsiteX2548" fmla="*/ 1751408 w 13768337"/>
              <a:gd name="connsiteY2548" fmla="*/ 2921044 h 5071335"/>
              <a:gd name="connsiteX2549" fmla="*/ 1733799 w 13768337"/>
              <a:gd name="connsiteY2549" fmla="*/ 2905018 h 5071335"/>
              <a:gd name="connsiteX2550" fmla="*/ 1783383 w 13768337"/>
              <a:gd name="connsiteY2550" fmla="*/ 2926061 h 5071335"/>
              <a:gd name="connsiteX2551" fmla="*/ 1780139 w 13768337"/>
              <a:gd name="connsiteY2551" fmla="*/ 2922298 h 5071335"/>
              <a:gd name="connsiteX2552" fmla="*/ 1774115 w 13768337"/>
              <a:gd name="connsiteY2552" fmla="*/ 2915330 h 5071335"/>
              <a:gd name="connsiteX2553" fmla="*/ 1767163 w 13768337"/>
              <a:gd name="connsiteY2553" fmla="*/ 2914494 h 5071335"/>
              <a:gd name="connsiteX2554" fmla="*/ 1757895 w 13768337"/>
              <a:gd name="connsiteY2554" fmla="*/ 2910174 h 5071335"/>
              <a:gd name="connsiteX2555" fmla="*/ 1774115 w 13768337"/>
              <a:gd name="connsiteY2555" fmla="*/ 2890244 h 5071335"/>
              <a:gd name="connsiteX2556" fmla="*/ 1759749 w 13768337"/>
              <a:gd name="connsiteY2556" fmla="*/ 2890244 h 5071335"/>
              <a:gd name="connsiteX2557" fmla="*/ 1729165 w 13768337"/>
              <a:gd name="connsiteY2557" fmla="*/ 2894286 h 5071335"/>
              <a:gd name="connsiteX2558" fmla="*/ 1732408 w 13768337"/>
              <a:gd name="connsiteY2558" fmla="*/ 2887319 h 5071335"/>
              <a:gd name="connsiteX2559" fmla="*/ 2017859 w 13768337"/>
              <a:gd name="connsiteY2559" fmla="*/ 2884950 h 5071335"/>
              <a:gd name="connsiteX2560" fmla="*/ 1949277 w 13768337"/>
              <a:gd name="connsiteY2560" fmla="*/ 2890244 h 5071335"/>
              <a:gd name="connsiteX2561" fmla="*/ 2017859 w 13768337"/>
              <a:gd name="connsiteY2561" fmla="*/ 2884950 h 5071335"/>
              <a:gd name="connsiteX2562" fmla="*/ 1838989 w 13768337"/>
              <a:gd name="connsiteY2562" fmla="*/ 2884950 h 5071335"/>
              <a:gd name="connsiteX2563" fmla="*/ 1825087 w 13768337"/>
              <a:gd name="connsiteY2563" fmla="*/ 2905018 h 5071335"/>
              <a:gd name="connsiteX2564" fmla="*/ 1837599 w 13768337"/>
              <a:gd name="connsiteY2564" fmla="*/ 2903623 h 5071335"/>
              <a:gd name="connsiteX2565" fmla="*/ 1838989 w 13768337"/>
              <a:gd name="connsiteY2565" fmla="*/ 2894286 h 5071335"/>
              <a:gd name="connsiteX2566" fmla="*/ 1844087 w 13768337"/>
              <a:gd name="connsiteY2566" fmla="*/ 2894286 h 5071335"/>
              <a:gd name="connsiteX2567" fmla="*/ 1838989 w 13768337"/>
              <a:gd name="connsiteY2567" fmla="*/ 2884950 h 5071335"/>
              <a:gd name="connsiteX2568" fmla="*/ 1778750 w 13768337"/>
              <a:gd name="connsiteY2568" fmla="*/ 2884950 h 5071335"/>
              <a:gd name="connsiteX2569" fmla="*/ 1776895 w 13768337"/>
              <a:gd name="connsiteY2569" fmla="*/ 2887319 h 5071335"/>
              <a:gd name="connsiteX2570" fmla="*/ 1781991 w 13768337"/>
              <a:gd name="connsiteY2570" fmla="*/ 2888712 h 5071335"/>
              <a:gd name="connsiteX2571" fmla="*/ 1778750 w 13768337"/>
              <a:gd name="connsiteY2571" fmla="*/ 2884950 h 5071335"/>
              <a:gd name="connsiteX2572" fmla="*/ 2044273 w 13768337"/>
              <a:gd name="connsiteY2572" fmla="*/ 2878399 h 5071335"/>
              <a:gd name="connsiteX2573" fmla="*/ 2022493 w 13768337"/>
              <a:gd name="connsiteY2573" fmla="*/ 2890244 h 5071335"/>
              <a:gd name="connsiteX2574" fmla="*/ 2044738 w 13768337"/>
              <a:gd name="connsiteY2574" fmla="*/ 2884950 h 5071335"/>
              <a:gd name="connsiteX2575" fmla="*/ 2064199 w 13768337"/>
              <a:gd name="connsiteY2575" fmla="*/ 2900837 h 5071335"/>
              <a:gd name="connsiteX2576" fmla="*/ 2059102 w 13768337"/>
              <a:gd name="connsiteY2576" fmla="*/ 2906828 h 5071335"/>
              <a:gd name="connsiteX2577" fmla="*/ 2074393 w 13768337"/>
              <a:gd name="connsiteY2577" fmla="*/ 2904460 h 5071335"/>
              <a:gd name="connsiteX2578" fmla="*/ 2076711 w 13768337"/>
              <a:gd name="connsiteY2578" fmla="*/ 2895262 h 5071335"/>
              <a:gd name="connsiteX2579" fmla="*/ 2082734 w 13768337"/>
              <a:gd name="connsiteY2579" fmla="*/ 2903623 h 5071335"/>
              <a:gd name="connsiteX2580" fmla="*/ 2088759 w 13768337"/>
              <a:gd name="connsiteY2580" fmla="*/ 2902648 h 5071335"/>
              <a:gd name="connsiteX2581" fmla="*/ 2076711 w 13768337"/>
              <a:gd name="connsiteY2581" fmla="*/ 2879235 h 5071335"/>
              <a:gd name="connsiteX2582" fmla="*/ 2044273 w 13768337"/>
              <a:gd name="connsiteY2582" fmla="*/ 2878399 h 5071335"/>
              <a:gd name="connsiteX2583" fmla="*/ 1870037 w 13768337"/>
              <a:gd name="connsiteY2583" fmla="*/ 2877284 h 5071335"/>
              <a:gd name="connsiteX2584" fmla="*/ 1865867 w 13768337"/>
              <a:gd name="connsiteY2584" fmla="*/ 2879235 h 5071335"/>
              <a:gd name="connsiteX2585" fmla="*/ 1880696 w 13768337"/>
              <a:gd name="connsiteY2585" fmla="*/ 2899443 h 5071335"/>
              <a:gd name="connsiteX2586" fmla="*/ 1876061 w 13768337"/>
              <a:gd name="connsiteY2586" fmla="*/ 2926061 h 5071335"/>
              <a:gd name="connsiteX2587" fmla="*/ 1861696 w 13768337"/>
              <a:gd name="connsiteY2587" fmla="*/ 2926061 h 5071335"/>
              <a:gd name="connsiteX2588" fmla="*/ 1920548 w 13768337"/>
              <a:gd name="connsiteY2588" fmla="*/ 2958393 h 5071335"/>
              <a:gd name="connsiteX2589" fmla="*/ 1902937 w 13768337"/>
              <a:gd name="connsiteY2589" fmla="*/ 2958393 h 5071335"/>
              <a:gd name="connsiteX2590" fmla="*/ 1912668 w 13768337"/>
              <a:gd name="connsiteY2590" fmla="*/ 2984175 h 5071335"/>
              <a:gd name="connsiteX2591" fmla="*/ 1944179 w 13768337"/>
              <a:gd name="connsiteY2591" fmla="*/ 2984175 h 5071335"/>
              <a:gd name="connsiteX2592" fmla="*/ 1925181 w 13768337"/>
              <a:gd name="connsiteY2592" fmla="*/ 2963967 h 5071335"/>
              <a:gd name="connsiteX2593" fmla="*/ 1985886 w 13768337"/>
              <a:gd name="connsiteY2593" fmla="*/ 2936792 h 5071335"/>
              <a:gd name="connsiteX2594" fmla="*/ 1922401 w 13768337"/>
              <a:gd name="connsiteY2594" fmla="*/ 2931775 h 5071335"/>
              <a:gd name="connsiteX2595" fmla="*/ 1880696 w 13768337"/>
              <a:gd name="connsiteY2595" fmla="*/ 2931775 h 5071335"/>
              <a:gd name="connsiteX2596" fmla="*/ 1876061 w 13768337"/>
              <a:gd name="connsiteY2596" fmla="*/ 2905018 h 5071335"/>
              <a:gd name="connsiteX2597" fmla="*/ 1898305 w 13768337"/>
              <a:gd name="connsiteY2597" fmla="*/ 2910174 h 5071335"/>
              <a:gd name="connsiteX2598" fmla="*/ 1875135 w 13768337"/>
              <a:gd name="connsiteY2598" fmla="*/ 2877981 h 5071335"/>
              <a:gd name="connsiteX2599" fmla="*/ 1870037 w 13768337"/>
              <a:gd name="connsiteY2599" fmla="*/ 2877284 h 5071335"/>
              <a:gd name="connsiteX2600" fmla="*/ 1934912 w 13768337"/>
              <a:gd name="connsiteY2600" fmla="*/ 2874218 h 5071335"/>
              <a:gd name="connsiteX2601" fmla="*/ 1902937 w 13768337"/>
              <a:gd name="connsiteY2601" fmla="*/ 2890244 h 5071335"/>
              <a:gd name="connsiteX2602" fmla="*/ 1930279 w 13768337"/>
              <a:gd name="connsiteY2602" fmla="*/ 2879235 h 5071335"/>
              <a:gd name="connsiteX2603" fmla="*/ 1934912 w 13768337"/>
              <a:gd name="connsiteY2603" fmla="*/ 2874218 h 5071335"/>
              <a:gd name="connsiteX2604" fmla="*/ 1724067 w 13768337"/>
              <a:gd name="connsiteY2604" fmla="*/ 2874218 h 5071335"/>
              <a:gd name="connsiteX2605" fmla="*/ 1701362 w 13768337"/>
              <a:gd name="connsiteY2605" fmla="*/ 2875612 h 5071335"/>
              <a:gd name="connsiteX2606" fmla="*/ 1705069 w 13768337"/>
              <a:gd name="connsiteY2606" fmla="*/ 2879235 h 5071335"/>
              <a:gd name="connsiteX2607" fmla="*/ 1678191 w 13768337"/>
              <a:gd name="connsiteY2607" fmla="*/ 2888712 h 5071335"/>
              <a:gd name="connsiteX2608" fmla="*/ 1724067 w 13768337"/>
              <a:gd name="connsiteY2608" fmla="*/ 2874218 h 5071335"/>
              <a:gd name="connsiteX2609" fmla="*/ 1844087 w 13768337"/>
              <a:gd name="connsiteY2609" fmla="*/ 2866832 h 5071335"/>
              <a:gd name="connsiteX2610" fmla="*/ 1817674 w 13768337"/>
              <a:gd name="connsiteY2610" fmla="*/ 2868644 h 5071335"/>
              <a:gd name="connsiteX2611" fmla="*/ 1832967 w 13768337"/>
              <a:gd name="connsiteY2611" fmla="*/ 2872825 h 5071335"/>
              <a:gd name="connsiteX2612" fmla="*/ 1848721 w 13768337"/>
              <a:gd name="connsiteY2612" fmla="*/ 2868644 h 5071335"/>
              <a:gd name="connsiteX2613" fmla="*/ 1844087 w 13768337"/>
              <a:gd name="connsiteY2613" fmla="*/ 2866832 h 5071335"/>
              <a:gd name="connsiteX2614" fmla="*/ 2205997 w 13768337"/>
              <a:gd name="connsiteY2614" fmla="*/ 2864463 h 5071335"/>
              <a:gd name="connsiteX2615" fmla="*/ 2191633 w 13768337"/>
              <a:gd name="connsiteY2615" fmla="*/ 2889688 h 5071335"/>
              <a:gd name="connsiteX2616" fmla="*/ 2217582 w 13768337"/>
              <a:gd name="connsiteY2616" fmla="*/ 2889130 h 5071335"/>
              <a:gd name="connsiteX2617" fmla="*/ 2205997 w 13768337"/>
              <a:gd name="connsiteY2617" fmla="*/ 2864463 h 5071335"/>
              <a:gd name="connsiteX2618" fmla="*/ 2123050 w 13768337"/>
              <a:gd name="connsiteY2618" fmla="*/ 2859168 h 5071335"/>
              <a:gd name="connsiteX2619" fmla="*/ 2094784 w 13768337"/>
              <a:gd name="connsiteY2619" fmla="*/ 2901812 h 5071335"/>
              <a:gd name="connsiteX2620" fmla="*/ 2111002 w 13768337"/>
              <a:gd name="connsiteY2620" fmla="*/ 2899443 h 5071335"/>
              <a:gd name="connsiteX2621" fmla="*/ 2123050 w 13768337"/>
              <a:gd name="connsiteY2621" fmla="*/ 2895262 h 5071335"/>
              <a:gd name="connsiteX2622" fmla="*/ 2145757 w 13768337"/>
              <a:gd name="connsiteY2622" fmla="*/ 2887319 h 5071335"/>
              <a:gd name="connsiteX2623" fmla="*/ 2182828 w 13768337"/>
              <a:gd name="connsiteY2623" fmla="*/ 2889130 h 5071335"/>
              <a:gd name="connsiteX2624" fmla="*/ 2183756 w 13768337"/>
              <a:gd name="connsiteY2624" fmla="*/ 2874218 h 5071335"/>
              <a:gd name="connsiteX2625" fmla="*/ 2123050 w 13768337"/>
              <a:gd name="connsiteY2625" fmla="*/ 2859168 h 5071335"/>
              <a:gd name="connsiteX2626" fmla="*/ 453905 w 13768337"/>
              <a:gd name="connsiteY2626" fmla="*/ 2857913 h 5071335"/>
              <a:gd name="connsiteX2627" fmla="*/ 478928 w 13768337"/>
              <a:gd name="connsiteY2627" fmla="*/ 2891082 h 5071335"/>
              <a:gd name="connsiteX2628" fmla="*/ 453905 w 13768337"/>
              <a:gd name="connsiteY2628" fmla="*/ 2857913 h 5071335"/>
              <a:gd name="connsiteX2629" fmla="*/ 1727774 w 13768337"/>
              <a:gd name="connsiteY2629" fmla="*/ 2856938 h 5071335"/>
              <a:gd name="connsiteX2630" fmla="*/ 1720360 w 13768337"/>
              <a:gd name="connsiteY2630" fmla="*/ 2867110 h 5071335"/>
              <a:gd name="connsiteX2631" fmla="*/ 1731946 w 13768337"/>
              <a:gd name="connsiteY2631" fmla="*/ 2865717 h 5071335"/>
              <a:gd name="connsiteX2632" fmla="*/ 1738897 w 13768337"/>
              <a:gd name="connsiteY2632" fmla="*/ 2857913 h 5071335"/>
              <a:gd name="connsiteX2633" fmla="*/ 1727774 w 13768337"/>
              <a:gd name="connsiteY2633" fmla="*/ 2856938 h 5071335"/>
              <a:gd name="connsiteX2634" fmla="*/ 2641124 w 13768337"/>
              <a:gd name="connsiteY2634" fmla="*/ 2856799 h 5071335"/>
              <a:gd name="connsiteX2635" fmla="*/ 2639735 w 13768337"/>
              <a:gd name="connsiteY2635" fmla="*/ 2859725 h 5071335"/>
              <a:gd name="connsiteX2636" fmla="*/ 2653173 w 13768337"/>
              <a:gd name="connsiteY2636" fmla="*/ 2859725 h 5071335"/>
              <a:gd name="connsiteX2637" fmla="*/ 2649003 w 13768337"/>
              <a:gd name="connsiteY2637" fmla="*/ 2856799 h 5071335"/>
              <a:gd name="connsiteX2638" fmla="*/ 2641124 w 13768337"/>
              <a:gd name="connsiteY2638" fmla="*/ 2856799 h 5071335"/>
              <a:gd name="connsiteX2639" fmla="*/ 2282920 w 13768337"/>
              <a:gd name="connsiteY2639" fmla="*/ 2854569 h 5071335"/>
              <a:gd name="connsiteX2640" fmla="*/ 2266703 w 13768337"/>
              <a:gd name="connsiteY2640" fmla="*/ 2864463 h 5071335"/>
              <a:gd name="connsiteX2641" fmla="*/ 2293579 w 13768337"/>
              <a:gd name="connsiteY2641" fmla="*/ 2870038 h 5071335"/>
              <a:gd name="connsiteX2642" fmla="*/ 2282920 w 13768337"/>
              <a:gd name="connsiteY2642" fmla="*/ 2854569 h 5071335"/>
              <a:gd name="connsiteX2643" fmla="*/ 2677732 w 13768337"/>
              <a:gd name="connsiteY2643" fmla="*/ 2853454 h 5071335"/>
              <a:gd name="connsiteX2644" fmla="*/ 2674489 w 13768337"/>
              <a:gd name="connsiteY2644" fmla="*/ 2858749 h 5071335"/>
              <a:gd name="connsiteX2645" fmla="*/ 2676343 w 13768337"/>
              <a:gd name="connsiteY2645" fmla="*/ 2858749 h 5071335"/>
              <a:gd name="connsiteX2646" fmla="*/ 2690244 w 13768337"/>
              <a:gd name="connsiteY2646" fmla="*/ 2857355 h 5071335"/>
              <a:gd name="connsiteX2647" fmla="*/ 2677732 w 13768337"/>
              <a:gd name="connsiteY2647" fmla="*/ 2853454 h 5071335"/>
              <a:gd name="connsiteX2648" fmla="*/ 715722 w 13768337"/>
              <a:gd name="connsiteY2648" fmla="*/ 2853175 h 5071335"/>
              <a:gd name="connsiteX2649" fmla="*/ 740283 w 13768337"/>
              <a:gd name="connsiteY2649" fmla="*/ 2863488 h 5071335"/>
              <a:gd name="connsiteX2650" fmla="*/ 691162 w 13768337"/>
              <a:gd name="connsiteY2650" fmla="*/ 2863488 h 5071335"/>
              <a:gd name="connsiteX2651" fmla="*/ 715722 w 13768337"/>
              <a:gd name="connsiteY2651" fmla="*/ 2853175 h 5071335"/>
              <a:gd name="connsiteX2652" fmla="*/ 1971520 w 13768337"/>
              <a:gd name="connsiteY2652" fmla="*/ 2852618 h 5071335"/>
              <a:gd name="connsiteX2653" fmla="*/ 1944179 w 13768337"/>
              <a:gd name="connsiteY2653" fmla="*/ 2857913 h 5071335"/>
              <a:gd name="connsiteX2654" fmla="*/ 1971520 w 13768337"/>
              <a:gd name="connsiteY2654" fmla="*/ 2852618 h 5071335"/>
              <a:gd name="connsiteX2655" fmla="*/ 998856 w 13768337"/>
              <a:gd name="connsiteY2655" fmla="*/ 2846068 h 5071335"/>
              <a:gd name="connsiteX2656" fmla="*/ 1016929 w 13768337"/>
              <a:gd name="connsiteY2656" fmla="*/ 2850806 h 5071335"/>
              <a:gd name="connsiteX2657" fmla="*/ 1003490 w 13768337"/>
              <a:gd name="connsiteY2657" fmla="*/ 2850806 h 5071335"/>
              <a:gd name="connsiteX2658" fmla="*/ 998392 w 13768337"/>
              <a:gd name="connsiteY2658" fmla="*/ 2862094 h 5071335"/>
              <a:gd name="connsiteX2659" fmla="*/ 982637 w 13768337"/>
              <a:gd name="connsiteY2659" fmla="*/ 2856381 h 5071335"/>
              <a:gd name="connsiteX2660" fmla="*/ 998856 w 13768337"/>
              <a:gd name="connsiteY2660" fmla="*/ 2846068 h 5071335"/>
              <a:gd name="connsiteX2661" fmla="*/ 2338065 w 13768337"/>
              <a:gd name="connsiteY2661" fmla="*/ 2844256 h 5071335"/>
              <a:gd name="connsiteX2662" fmla="*/ 2335748 w 13768337"/>
              <a:gd name="connsiteY2662" fmla="*/ 2859168 h 5071335"/>
              <a:gd name="connsiteX2663" fmla="*/ 2358455 w 13768337"/>
              <a:gd name="connsiteY2663" fmla="*/ 2862373 h 5071335"/>
              <a:gd name="connsiteX2664" fmla="*/ 2365405 w 13768337"/>
              <a:gd name="connsiteY2664" fmla="*/ 2859725 h 5071335"/>
              <a:gd name="connsiteX2665" fmla="*/ 2348260 w 13768337"/>
              <a:gd name="connsiteY2665" fmla="*/ 2854012 h 5071335"/>
              <a:gd name="connsiteX2666" fmla="*/ 2348260 w 13768337"/>
              <a:gd name="connsiteY2666" fmla="*/ 2844256 h 5071335"/>
              <a:gd name="connsiteX2667" fmla="*/ 2338065 w 13768337"/>
              <a:gd name="connsiteY2667" fmla="*/ 2844256 h 5071335"/>
              <a:gd name="connsiteX2668" fmla="*/ 2211559 w 13768337"/>
              <a:gd name="connsiteY2668" fmla="*/ 2843699 h 5071335"/>
              <a:gd name="connsiteX2669" fmla="*/ 2201363 w 13768337"/>
              <a:gd name="connsiteY2669" fmla="*/ 2854012 h 5071335"/>
              <a:gd name="connsiteX2670" fmla="*/ 2220364 w 13768337"/>
              <a:gd name="connsiteY2670" fmla="*/ 2864463 h 5071335"/>
              <a:gd name="connsiteX2671" fmla="*/ 2224997 w 13768337"/>
              <a:gd name="connsiteY2671" fmla="*/ 2848437 h 5071335"/>
              <a:gd name="connsiteX2672" fmla="*/ 2211559 w 13768337"/>
              <a:gd name="connsiteY2672" fmla="*/ 2843699 h 5071335"/>
              <a:gd name="connsiteX2673" fmla="*/ 826011 w 13768337"/>
              <a:gd name="connsiteY2673" fmla="*/ 2842862 h 5071335"/>
              <a:gd name="connsiteX2674" fmla="*/ 843620 w 13768337"/>
              <a:gd name="connsiteY2674" fmla="*/ 2843699 h 5071335"/>
              <a:gd name="connsiteX2675" fmla="*/ 849180 w 13768337"/>
              <a:gd name="connsiteY2675" fmla="*/ 2854569 h 5071335"/>
              <a:gd name="connsiteX2676" fmla="*/ 814889 w 13768337"/>
              <a:gd name="connsiteY2676" fmla="*/ 2849412 h 5071335"/>
              <a:gd name="connsiteX2677" fmla="*/ 826011 w 13768337"/>
              <a:gd name="connsiteY2677" fmla="*/ 2842862 h 5071335"/>
              <a:gd name="connsiteX2678" fmla="*/ 1678191 w 13768337"/>
              <a:gd name="connsiteY2678" fmla="*/ 2841887 h 5071335"/>
              <a:gd name="connsiteX2679" fmla="*/ 1646217 w 13768337"/>
              <a:gd name="connsiteY2679" fmla="*/ 2863488 h 5071335"/>
              <a:gd name="connsiteX2680" fmla="*/ 1678191 w 13768337"/>
              <a:gd name="connsiteY2680" fmla="*/ 2841887 h 5071335"/>
              <a:gd name="connsiteX2681" fmla="*/ 2904796 w 13768337"/>
              <a:gd name="connsiteY2681" fmla="*/ 2841329 h 5071335"/>
              <a:gd name="connsiteX2682" fmla="*/ 2897381 w 13768337"/>
              <a:gd name="connsiteY2682" fmla="*/ 2845789 h 5071335"/>
              <a:gd name="connsiteX2683" fmla="*/ 2903406 w 13768337"/>
              <a:gd name="connsiteY2683" fmla="*/ 2843699 h 5071335"/>
              <a:gd name="connsiteX2684" fmla="*/ 2904796 w 13768337"/>
              <a:gd name="connsiteY2684" fmla="*/ 2841329 h 5071335"/>
              <a:gd name="connsiteX2685" fmla="*/ 2753266 w 13768337"/>
              <a:gd name="connsiteY2685" fmla="*/ 2841051 h 5071335"/>
              <a:gd name="connsiteX2686" fmla="*/ 2750023 w 13768337"/>
              <a:gd name="connsiteY2686" fmla="*/ 2849831 h 5071335"/>
              <a:gd name="connsiteX2687" fmla="*/ 2762534 w 13768337"/>
              <a:gd name="connsiteY2687" fmla="*/ 2847880 h 5071335"/>
              <a:gd name="connsiteX2688" fmla="*/ 2753266 w 13768337"/>
              <a:gd name="connsiteY2688" fmla="*/ 2841051 h 5071335"/>
              <a:gd name="connsiteX2689" fmla="*/ 2194877 w 13768337"/>
              <a:gd name="connsiteY2689" fmla="*/ 2838124 h 5071335"/>
              <a:gd name="connsiteX2690" fmla="*/ 2078564 w 13768337"/>
              <a:gd name="connsiteY2690" fmla="*/ 2849412 h 5071335"/>
              <a:gd name="connsiteX2691" fmla="*/ 2067906 w 13768337"/>
              <a:gd name="connsiteY2691" fmla="*/ 2840494 h 5071335"/>
              <a:gd name="connsiteX2692" fmla="*/ 2054931 w 13768337"/>
              <a:gd name="connsiteY2692" fmla="*/ 2848437 h 5071335"/>
              <a:gd name="connsiteX2693" fmla="*/ 2196730 w 13768337"/>
              <a:gd name="connsiteY2693" fmla="*/ 2843420 h 5071335"/>
              <a:gd name="connsiteX2694" fmla="*/ 2194877 w 13768337"/>
              <a:gd name="connsiteY2694" fmla="*/ 2838124 h 5071335"/>
              <a:gd name="connsiteX2695" fmla="*/ 2050297 w 13768337"/>
              <a:gd name="connsiteY2695" fmla="*/ 2837148 h 5071335"/>
              <a:gd name="connsiteX2696" fmla="*/ 2033151 w 13768337"/>
              <a:gd name="connsiteY2696" fmla="*/ 2840494 h 5071335"/>
              <a:gd name="connsiteX2697" fmla="*/ 2027590 w 13768337"/>
              <a:gd name="connsiteY2697" fmla="*/ 2848437 h 5071335"/>
              <a:gd name="connsiteX2698" fmla="*/ 2050297 w 13768337"/>
              <a:gd name="connsiteY2698" fmla="*/ 2837148 h 5071335"/>
              <a:gd name="connsiteX2699" fmla="*/ 1953911 w 13768337"/>
              <a:gd name="connsiteY2699" fmla="*/ 2836870 h 5071335"/>
              <a:gd name="connsiteX2700" fmla="*/ 1952984 w 13768337"/>
              <a:gd name="connsiteY2700" fmla="*/ 2837148 h 5071335"/>
              <a:gd name="connsiteX2701" fmla="*/ 1955764 w 13768337"/>
              <a:gd name="connsiteY2701" fmla="*/ 2837148 h 5071335"/>
              <a:gd name="connsiteX2702" fmla="*/ 1953911 w 13768337"/>
              <a:gd name="connsiteY2702" fmla="*/ 2836870 h 5071335"/>
              <a:gd name="connsiteX2703" fmla="*/ 1778750 w 13768337"/>
              <a:gd name="connsiteY2703" fmla="*/ 2832411 h 5071335"/>
              <a:gd name="connsiteX2704" fmla="*/ 1760676 w 13768337"/>
              <a:gd name="connsiteY2704" fmla="*/ 2847044 h 5071335"/>
              <a:gd name="connsiteX2705" fmla="*/ 1793113 w 13768337"/>
              <a:gd name="connsiteY2705" fmla="*/ 2852618 h 5071335"/>
              <a:gd name="connsiteX2706" fmla="*/ 1788943 w 13768337"/>
              <a:gd name="connsiteY2706" fmla="*/ 2857355 h 5071335"/>
              <a:gd name="connsiteX2707" fmla="*/ 1809795 w 13768337"/>
              <a:gd name="connsiteY2707" fmla="*/ 2854569 h 5071335"/>
              <a:gd name="connsiteX2708" fmla="*/ 1778750 w 13768337"/>
              <a:gd name="connsiteY2708" fmla="*/ 2832411 h 5071335"/>
              <a:gd name="connsiteX2709" fmla="*/ 1495151 w 13768337"/>
              <a:gd name="connsiteY2709" fmla="*/ 2830181 h 5071335"/>
              <a:gd name="connsiteX2710" fmla="*/ 1490053 w 13768337"/>
              <a:gd name="connsiteY2710" fmla="*/ 2836312 h 5071335"/>
              <a:gd name="connsiteX2711" fmla="*/ 1452983 w 13768337"/>
              <a:gd name="connsiteY2711" fmla="*/ 2852618 h 5071335"/>
              <a:gd name="connsiteX2712" fmla="*/ 1494688 w 13768337"/>
              <a:gd name="connsiteY2712" fmla="*/ 2852618 h 5071335"/>
              <a:gd name="connsiteX2713" fmla="*/ 1495151 w 13768337"/>
              <a:gd name="connsiteY2713" fmla="*/ 2830181 h 5071335"/>
              <a:gd name="connsiteX2714" fmla="*/ 2669854 w 13768337"/>
              <a:gd name="connsiteY2714" fmla="*/ 2828369 h 5071335"/>
              <a:gd name="connsiteX2715" fmla="*/ 2655027 w 13768337"/>
              <a:gd name="connsiteY2715" fmla="*/ 2847044 h 5071335"/>
              <a:gd name="connsiteX2716" fmla="*/ 2669392 w 13768337"/>
              <a:gd name="connsiteY2716" fmla="*/ 2847044 h 5071335"/>
              <a:gd name="connsiteX2717" fmla="*/ 2669854 w 13768337"/>
              <a:gd name="connsiteY2717" fmla="*/ 2828369 h 5071335"/>
              <a:gd name="connsiteX2718" fmla="*/ 2724072 w 13768337"/>
              <a:gd name="connsiteY2718" fmla="*/ 2825581 h 5071335"/>
              <a:gd name="connsiteX2719" fmla="*/ 2683756 w 13768337"/>
              <a:gd name="connsiteY2719" fmla="*/ 2843699 h 5071335"/>
              <a:gd name="connsiteX2720" fmla="*/ 2692561 w 13768337"/>
              <a:gd name="connsiteY2720" fmla="*/ 2841887 h 5071335"/>
              <a:gd name="connsiteX2721" fmla="*/ 2697659 w 13768337"/>
              <a:gd name="connsiteY2721" fmla="*/ 2852618 h 5071335"/>
              <a:gd name="connsiteX2722" fmla="*/ 2695341 w 13768337"/>
              <a:gd name="connsiteY2722" fmla="*/ 2856381 h 5071335"/>
              <a:gd name="connsiteX2723" fmla="*/ 2714341 w 13768337"/>
              <a:gd name="connsiteY2723" fmla="*/ 2854012 h 5071335"/>
              <a:gd name="connsiteX2724" fmla="*/ 2724072 w 13768337"/>
              <a:gd name="connsiteY2724" fmla="*/ 2825581 h 5071335"/>
              <a:gd name="connsiteX2725" fmla="*/ 2653636 w 13768337"/>
              <a:gd name="connsiteY2725" fmla="*/ 2825025 h 5071335"/>
              <a:gd name="connsiteX2726" fmla="*/ 2611468 w 13768337"/>
              <a:gd name="connsiteY2726" fmla="*/ 2852199 h 5071335"/>
              <a:gd name="connsiteX2727" fmla="*/ 2591542 w 13768337"/>
              <a:gd name="connsiteY2727" fmla="*/ 2854569 h 5071335"/>
              <a:gd name="connsiteX2728" fmla="*/ 2597103 w 13768337"/>
              <a:gd name="connsiteY2728" fmla="*/ 2857913 h 5071335"/>
              <a:gd name="connsiteX2729" fmla="*/ 2597103 w 13768337"/>
              <a:gd name="connsiteY2729" fmla="*/ 2860561 h 5071335"/>
              <a:gd name="connsiteX2730" fmla="*/ 2621662 w 13768337"/>
              <a:gd name="connsiteY2730" fmla="*/ 2860282 h 5071335"/>
              <a:gd name="connsiteX2731" fmla="*/ 2624906 w 13768337"/>
              <a:gd name="connsiteY2731" fmla="*/ 2856381 h 5071335"/>
              <a:gd name="connsiteX2732" fmla="*/ 2618881 w 13768337"/>
              <a:gd name="connsiteY2732" fmla="*/ 2856381 h 5071335"/>
              <a:gd name="connsiteX2733" fmla="*/ 2628613 w 13768337"/>
              <a:gd name="connsiteY2733" fmla="*/ 2850249 h 5071335"/>
              <a:gd name="connsiteX2734" fmla="*/ 2633710 w 13768337"/>
              <a:gd name="connsiteY2734" fmla="*/ 2841887 h 5071335"/>
              <a:gd name="connsiteX2735" fmla="*/ 2645759 w 13768337"/>
              <a:gd name="connsiteY2735" fmla="*/ 2844675 h 5071335"/>
              <a:gd name="connsiteX2736" fmla="*/ 2653636 w 13768337"/>
              <a:gd name="connsiteY2736" fmla="*/ 2825025 h 5071335"/>
              <a:gd name="connsiteX2737" fmla="*/ 2338992 w 13768337"/>
              <a:gd name="connsiteY2737" fmla="*/ 2822654 h 5071335"/>
              <a:gd name="connsiteX2738" fmla="*/ 2327407 w 13768337"/>
              <a:gd name="connsiteY2738" fmla="*/ 2825581 h 5071335"/>
              <a:gd name="connsiteX2739" fmla="*/ 2335748 w 13768337"/>
              <a:gd name="connsiteY2739" fmla="*/ 2833944 h 5071335"/>
              <a:gd name="connsiteX2740" fmla="*/ 2340382 w 13768337"/>
              <a:gd name="connsiteY2740" fmla="*/ 2833525 h 5071335"/>
              <a:gd name="connsiteX2741" fmla="*/ 2338992 w 13768337"/>
              <a:gd name="connsiteY2741" fmla="*/ 2822654 h 5071335"/>
              <a:gd name="connsiteX2742" fmla="*/ 1836209 w 13768337"/>
              <a:gd name="connsiteY2742" fmla="*/ 2821818 h 5071335"/>
              <a:gd name="connsiteX2743" fmla="*/ 1829721 w 13768337"/>
              <a:gd name="connsiteY2743" fmla="*/ 2841887 h 5071335"/>
              <a:gd name="connsiteX2744" fmla="*/ 1819991 w 13768337"/>
              <a:gd name="connsiteY2744" fmla="*/ 2826836 h 5071335"/>
              <a:gd name="connsiteX2745" fmla="*/ 1825087 w 13768337"/>
              <a:gd name="connsiteY2745" fmla="*/ 2847044 h 5071335"/>
              <a:gd name="connsiteX2746" fmla="*/ 1842697 w 13768337"/>
              <a:gd name="connsiteY2746" fmla="*/ 2849831 h 5071335"/>
              <a:gd name="connsiteX2747" fmla="*/ 1847330 w 13768337"/>
              <a:gd name="connsiteY2747" fmla="*/ 2849412 h 5071335"/>
              <a:gd name="connsiteX2748" fmla="*/ 1848721 w 13768337"/>
              <a:gd name="connsiteY2748" fmla="*/ 2847044 h 5071335"/>
              <a:gd name="connsiteX2749" fmla="*/ 1844087 w 13768337"/>
              <a:gd name="connsiteY2749" fmla="*/ 2841887 h 5071335"/>
              <a:gd name="connsiteX2750" fmla="*/ 1848721 w 13768337"/>
              <a:gd name="connsiteY2750" fmla="*/ 2821818 h 5071335"/>
              <a:gd name="connsiteX2751" fmla="*/ 1836209 w 13768337"/>
              <a:gd name="connsiteY2751" fmla="*/ 2821818 h 5071335"/>
              <a:gd name="connsiteX2752" fmla="*/ 2578104 w 13768337"/>
              <a:gd name="connsiteY2752" fmla="*/ 2820285 h 5071335"/>
              <a:gd name="connsiteX2753" fmla="*/ 2581810 w 13768337"/>
              <a:gd name="connsiteY2753" fmla="*/ 2841887 h 5071335"/>
              <a:gd name="connsiteX2754" fmla="*/ 2562348 w 13768337"/>
              <a:gd name="connsiteY2754" fmla="*/ 2838960 h 5071335"/>
              <a:gd name="connsiteX2755" fmla="*/ 2567445 w 13768337"/>
              <a:gd name="connsiteY2755" fmla="*/ 2847880 h 5071335"/>
              <a:gd name="connsiteX2756" fmla="*/ 2566517 w 13768337"/>
              <a:gd name="connsiteY2756" fmla="*/ 2848994 h 5071335"/>
              <a:gd name="connsiteX2757" fmla="*/ 2587372 w 13768337"/>
              <a:gd name="connsiteY2757" fmla="*/ 2852199 h 5071335"/>
              <a:gd name="connsiteX2758" fmla="*/ 2578104 w 13768337"/>
              <a:gd name="connsiteY2758" fmla="*/ 2820285 h 5071335"/>
              <a:gd name="connsiteX2759" fmla="*/ 1718507 w 13768337"/>
              <a:gd name="connsiteY2759" fmla="*/ 2820285 h 5071335"/>
              <a:gd name="connsiteX2760" fmla="*/ 1682826 w 13768337"/>
              <a:gd name="connsiteY2760" fmla="*/ 2847044 h 5071335"/>
              <a:gd name="connsiteX2761" fmla="*/ 1697190 w 13768337"/>
              <a:gd name="connsiteY2761" fmla="*/ 2847044 h 5071335"/>
              <a:gd name="connsiteX2762" fmla="*/ 1668461 w 13768337"/>
              <a:gd name="connsiteY2762" fmla="*/ 2863488 h 5071335"/>
              <a:gd name="connsiteX2763" fmla="*/ 1674948 w 13768337"/>
              <a:gd name="connsiteY2763" fmla="*/ 2873661 h 5071335"/>
              <a:gd name="connsiteX2764" fmla="*/ 1719433 w 13768337"/>
              <a:gd name="connsiteY2764" fmla="*/ 2867668 h 5071335"/>
              <a:gd name="connsiteX2765" fmla="*/ 1705069 w 13768337"/>
              <a:gd name="connsiteY2765" fmla="*/ 2836312 h 5071335"/>
              <a:gd name="connsiteX2766" fmla="*/ 1701825 w 13768337"/>
              <a:gd name="connsiteY2766" fmla="*/ 2836312 h 5071335"/>
              <a:gd name="connsiteX2767" fmla="*/ 1729165 w 13768337"/>
              <a:gd name="connsiteY2767" fmla="*/ 2831157 h 5071335"/>
              <a:gd name="connsiteX2768" fmla="*/ 1718507 w 13768337"/>
              <a:gd name="connsiteY2768" fmla="*/ 2820285 h 5071335"/>
              <a:gd name="connsiteX2769" fmla="*/ 933980 w 13768337"/>
              <a:gd name="connsiteY2769" fmla="*/ 2820285 h 5071335"/>
              <a:gd name="connsiteX2770" fmla="*/ 936761 w 13768337"/>
              <a:gd name="connsiteY2770" fmla="*/ 2820285 h 5071335"/>
              <a:gd name="connsiteX2771" fmla="*/ 958078 w 13768337"/>
              <a:gd name="connsiteY2771" fmla="*/ 2840075 h 5071335"/>
              <a:gd name="connsiteX2772" fmla="*/ 952980 w 13768337"/>
              <a:gd name="connsiteY2772" fmla="*/ 2855823 h 5071335"/>
              <a:gd name="connsiteX2773" fmla="*/ 893666 w 13768337"/>
              <a:gd name="connsiteY2773" fmla="*/ 2840075 h 5071335"/>
              <a:gd name="connsiteX2774" fmla="*/ 925640 w 13768337"/>
              <a:gd name="connsiteY2774" fmla="*/ 2845232 h 5071335"/>
              <a:gd name="connsiteX2775" fmla="*/ 930273 w 13768337"/>
              <a:gd name="connsiteY2775" fmla="*/ 2824188 h 5071335"/>
              <a:gd name="connsiteX2776" fmla="*/ 933980 w 13768337"/>
              <a:gd name="connsiteY2776" fmla="*/ 2820285 h 5071335"/>
              <a:gd name="connsiteX2777" fmla="*/ 2778752 w 13768337"/>
              <a:gd name="connsiteY2777" fmla="*/ 2817917 h 5071335"/>
              <a:gd name="connsiteX2778" fmla="*/ 2761144 w 13768337"/>
              <a:gd name="connsiteY2778" fmla="*/ 2840075 h 5071335"/>
              <a:gd name="connsiteX2779" fmla="*/ 2784776 w 13768337"/>
              <a:gd name="connsiteY2779" fmla="*/ 2841887 h 5071335"/>
              <a:gd name="connsiteX2780" fmla="*/ 2779216 w 13768337"/>
              <a:gd name="connsiteY2780" fmla="*/ 2846068 h 5071335"/>
              <a:gd name="connsiteX2781" fmla="*/ 2788484 w 13768337"/>
              <a:gd name="connsiteY2781" fmla="*/ 2844675 h 5071335"/>
              <a:gd name="connsiteX2782" fmla="*/ 2785240 w 13768337"/>
              <a:gd name="connsiteY2782" fmla="*/ 2825581 h 5071335"/>
              <a:gd name="connsiteX2783" fmla="*/ 2788947 w 13768337"/>
              <a:gd name="connsiteY2783" fmla="*/ 2825025 h 5071335"/>
              <a:gd name="connsiteX2784" fmla="*/ 2785704 w 13768337"/>
              <a:gd name="connsiteY2784" fmla="*/ 2821401 h 5071335"/>
              <a:gd name="connsiteX2785" fmla="*/ 2778752 w 13768337"/>
              <a:gd name="connsiteY2785" fmla="*/ 2817917 h 5071335"/>
              <a:gd name="connsiteX2786" fmla="*/ 2349650 w 13768337"/>
              <a:gd name="connsiteY2786" fmla="*/ 2817638 h 5071335"/>
              <a:gd name="connsiteX2787" fmla="*/ 2344552 w 13768337"/>
              <a:gd name="connsiteY2787" fmla="*/ 2832968 h 5071335"/>
              <a:gd name="connsiteX2788" fmla="*/ 2351504 w 13768337"/>
              <a:gd name="connsiteY2788" fmla="*/ 2832411 h 5071335"/>
              <a:gd name="connsiteX2789" fmla="*/ 2370502 w 13768337"/>
              <a:gd name="connsiteY2789" fmla="*/ 2837148 h 5071335"/>
              <a:gd name="connsiteX2790" fmla="*/ 2364478 w 13768337"/>
              <a:gd name="connsiteY2790" fmla="*/ 2822654 h 5071335"/>
              <a:gd name="connsiteX2791" fmla="*/ 2352893 w 13768337"/>
              <a:gd name="connsiteY2791" fmla="*/ 2828369 h 5071335"/>
              <a:gd name="connsiteX2792" fmla="*/ 2349650 w 13768337"/>
              <a:gd name="connsiteY2792" fmla="*/ 2817638 h 5071335"/>
              <a:gd name="connsiteX2793" fmla="*/ 2956696 w 13768337"/>
              <a:gd name="connsiteY2793" fmla="*/ 2816105 h 5071335"/>
              <a:gd name="connsiteX2794" fmla="*/ 2940940 w 13768337"/>
              <a:gd name="connsiteY2794" fmla="*/ 2823212 h 5071335"/>
              <a:gd name="connsiteX2795" fmla="*/ 2958086 w 13768337"/>
              <a:gd name="connsiteY2795" fmla="*/ 2826418 h 5071335"/>
              <a:gd name="connsiteX2796" fmla="*/ 2967355 w 13768337"/>
              <a:gd name="connsiteY2796" fmla="*/ 2821818 h 5071335"/>
              <a:gd name="connsiteX2797" fmla="*/ 2966428 w 13768337"/>
              <a:gd name="connsiteY2797" fmla="*/ 2816662 h 5071335"/>
              <a:gd name="connsiteX2798" fmla="*/ 2956696 w 13768337"/>
              <a:gd name="connsiteY2798" fmla="*/ 2816105 h 5071335"/>
              <a:gd name="connsiteX2799" fmla="*/ 2752340 w 13768337"/>
              <a:gd name="connsiteY2799" fmla="*/ 2813457 h 5071335"/>
              <a:gd name="connsiteX2800" fmla="*/ 2748632 w 13768337"/>
              <a:gd name="connsiteY2800" fmla="*/ 2814710 h 5071335"/>
              <a:gd name="connsiteX2801" fmla="*/ 2757901 w 13768337"/>
              <a:gd name="connsiteY2801" fmla="*/ 2820285 h 5071335"/>
              <a:gd name="connsiteX2802" fmla="*/ 2750949 w 13768337"/>
              <a:gd name="connsiteY2802" fmla="*/ 2828787 h 5071335"/>
              <a:gd name="connsiteX2803" fmla="*/ 2751875 w 13768337"/>
              <a:gd name="connsiteY2803" fmla="*/ 2832131 h 5071335"/>
              <a:gd name="connsiteX2804" fmla="*/ 2735656 w 13768337"/>
              <a:gd name="connsiteY2804" fmla="*/ 2849412 h 5071335"/>
              <a:gd name="connsiteX2805" fmla="*/ 2762071 w 13768337"/>
              <a:gd name="connsiteY2805" fmla="*/ 2819449 h 5071335"/>
              <a:gd name="connsiteX2806" fmla="*/ 2752340 w 13768337"/>
              <a:gd name="connsiteY2806" fmla="*/ 2813457 h 5071335"/>
              <a:gd name="connsiteX2807" fmla="*/ 2617492 w 13768337"/>
              <a:gd name="connsiteY2807" fmla="*/ 2811367 h 5071335"/>
              <a:gd name="connsiteX2808" fmla="*/ 2604980 w 13768337"/>
              <a:gd name="connsiteY2808" fmla="*/ 2814293 h 5071335"/>
              <a:gd name="connsiteX2809" fmla="*/ 2592004 w 13768337"/>
              <a:gd name="connsiteY2809" fmla="*/ 2829205 h 5071335"/>
              <a:gd name="connsiteX2810" fmla="*/ 2617492 w 13768337"/>
              <a:gd name="connsiteY2810" fmla="*/ 2811367 h 5071335"/>
              <a:gd name="connsiteX2811" fmla="*/ 1802382 w 13768337"/>
              <a:gd name="connsiteY2811" fmla="*/ 2811088 h 5071335"/>
              <a:gd name="connsiteX2812" fmla="*/ 1788015 w 13768337"/>
              <a:gd name="connsiteY2812" fmla="*/ 2832411 h 5071335"/>
              <a:gd name="connsiteX2813" fmla="*/ 1807479 w 13768337"/>
              <a:gd name="connsiteY2813" fmla="*/ 2826836 h 5071335"/>
              <a:gd name="connsiteX2814" fmla="*/ 1807479 w 13768337"/>
              <a:gd name="connsiteY2814" fmla="*/ 2821818 h 5071335"/>
              <a:gd name="connsiteX2815" fmla="*/ 1802382 w 13768337"/>
              <a:gd name="connsiteY2815" fmla="*/ 2811088 h 5071335"/>
              <a:gd name="connsiteX2816" fmla="*/ 2899698 w 13768337"/>
              <a:gd name="connsiteY2816" fmla="*/ 2808161 h 5071335"/>
              <a:gd name="connsiteX2817" fmla="*/ 2897845 w 13768337"/>
              <a:gd name="connsiteY2817" fmla="*/ 2808719 h 5071335"/>
              <a:gd name="connsiteX2818" fmla="*/ 2901090 w 13768337"/>
              <a:gd name="connsiteY2818" fmla="*/ 2808997 h 5071335"/>
              <a:gd name="connsiteX2819" fmla="*/ 2899698 w 13768337"/>
              <a:gd name="connsiteY2819" fmla="*/ 2808161 h 5071335"/>
              <a:gd name="connsiteX2820" fmla="*/ 1540100 w 13768337"/>
              <a:gd name="connsiteY2820" fmla="*/ 2808161 h 5071335"/>
              <a:gd name="connsiteX2821" fmla="*/ 1532223 w 13768337"/>
              <a:gd name="connsiteY2821" fmla="*/ 2817638 h 5071335"/>
              <a:gd name="connsiteX2822" fmla="*/ 1536394 w 13768337"/>
              <a:gd name="connsiteY2822" fmla="*/ 2820285 h 5071335"/>
              <a:gd name="connsiteX2823" fmla="*/ 1503955 w 13768337"/>
              <a:gd name="connsiteY2823" fmla="*/ 2847044 h 5071335"/>
              <a:gd name="connsiteX2824" fmla="*/ 1516931 w 13768337"/>
              <a:gd name="connsiteY2824" fmla="*/ 2857913 h 5071335"/>
              <a:gd name="connsiteX2825" fmla="*/ 1545661 w 13768337"/>
              <a:gd name="connsiteY2825" fmla="*/ 2847044 h 5071335"/>
              <a:gd name="connsiteX2826" fmla="*/ 1531296 w 13768337"/>
              <a:gd name="connsiteY2826" fmla="*/ 2836312 h 5071335"/>
              <a:gd name="connsiteX2827" fmla="*/ 1573001 w 13768337"/>
              <a:gd name="connsiteY2827" fmla="*/ 2831157 h 5071335"/>
              <a:gd name="connsiteX2828" fmla="*/ 1550295 w 13768337"/>
              <a:gd name="connsiteY2828" fmla="*/ 2847044 h 5071335"/>
              <a:gd name="connsiteX2829" fmla="*/ 1631852 w 13768337"/>
              <a:gd name="connsiteY2829" fmla="*/ 2847044 h 5071335"/>
              <a:gd name="connsiteX2830" fmla="*/ 1627682 w 13768337"/>
              <a:gd name="connsiteY2830" fmla="*/ 2826836 h 5071335"/>
              <a:gd name="connsiteX2831" fmla="*/ 1624901 w 13768337"/>
              <a:gd name="connsiteY2831" fmla="*/ 2826418 h 5071335"/>
              <a:gd name="connsiteX2832" fmla="*/ 1628608 w 13768337"/>
              <a:gd name="connsiteY2832" fmla="*/ 2821401 h 5071335"/>
              <a:gd name="connsiteX2833" fmla="*/ 1628608 w 13768337"/>
              <a:gd name="connsiteY2833" fmla="*/ 2820285 h 5071335"/>
              <a:gd name="connsiteX2834" fmla="*/ 1609145 w 13768337"/>
              <a:gd name="connsiteY2834" fmla="*/ 2811088 h 5071335"/>
              <a:gd name="connsiteX2835" fmla="*/ 1568831 w 13768337"/>
              <a:gd name="connsiteY2835" fmla="*/ 2816662 h 5071335"/>
              <a:gd name="connsiteX2836" fmla="*/ 1571612 w 13768337"/>
              <a:gd name="connsiteY2836" fmla="*/ 2819032 h 5071335"/>
              <a:gd name="connsiteX2837" fmla="*/ 1561880 w 13768337"/>
              <a:gd name="connsiteY2837" fmla="*/ 2808719 h 5071335"/>
              <a:gd name="connsiteX2838" fmla="*/ 1561416 w 13768337"/>
              <a:gd name="connsiteY2838" fmla="*/ 2808161 h 5071335"/>
              <a:gd name="connsiteX2839" fmla="*/ 2563739 w 13768337"/>
              <a:gd name="connsiteY2839" fmla="*/ 2801193 h 5071335"/>
              <a:gd name="connsiteX2840" fmla="*/ 2525740 w 13768337"/>
              <a:gd name="connsiteY2840" fmla="*/ 2820007 h 5071335"/>
              <a:gd name="connsiteX2841" fmla="*/ 2496082 w 13768337"/>
              <a:gd name="connsiteY2841" fmla="*/ 2807186 h 5071335"/>
              <a:gd name="connsiteX2842" fmla="*/ 2485424 w 13768337"/>
              <a:gd name="connsiteY2842" fmla="*/ 2827394 h 5071335"/>
              <a:gd name="connsiteX2843" fmla="*/ 2417769 w 13768337"/>
              <a:gd name="connsiteY2843" fmla="*/ 2829762 h 5071335"/>
              <a:gd name="connsiteX2844" fmla="*/ 2370966 w 13768337"/>
              <a:gd name="connsiteY2844" fmla="*/ 2820007 h 5071335"/>
              <a:gd name="connsiteX2845" fmla="*/ 2373283 w 13768337"/>
              <a:gd name="connsiteY2845" fmla="*/ 2838124 h 5071335"/>
              <a:gd name="connsiteX2846" fmla="*/ 2399233 w 13768337"/>
              <a:gd name="connsiteY2846" fmla="*/ 2848437 h 5071335"/>
              <a:gd name="connsiteX2847" fmla="*/ 2384404 w 13768337"/>
              <a:gd name="connsiteY2847" fmla="*/ 2848437 h 5071335"/>
              <a:gd name="connsiteX2848" fmla="*/ 2393208 w 13768337"/>
              <a:gd name="connsiteY2848" fmla="*/ 2863906 h 5071335"/>
              <a:gd name="connsiteX2849" fmla="*/ 2459011 w 13768337"/>
              <a:gd name="connsiteY2849" fmla="*/ 2862930 h 5071335"/>
              <a:gd name="connsiteX2850" fmla="*/ 2458085 w 13768337"/>
              <a:gd name="connsiteY2850" fmla="*/ 2859168 h 5071335"/>
              <a:gd name="connsiteX2851" fmla="*/ 2491911 w 13768337"/>
              <a:gd name="connsiteY2851" fmla="*/ 2862373 h 5071335"/>
              <a:gd name="connsiteX2852" fmla="*/ 2517862 w 13768337"/>
              <a:gd name="connsiteY2852" fmla="*/ 2862094 h 5071335"/>
              <a:gd name="connsiteX2853" fmla="*/ 2509057 w 13768337"/>
              <a:gd name="connsiteY2853" fmla="*/ 2852618 h 5071335"/>
              <a:gd name="connsiteX2854" fmla="*/ 2541032 w 13768337"/>
              <a:gd name="connsiteY2854" fmla="*/ 2836312 h 5071335"/>
              <a:gd name="connsiteX2855" fmla="*/ 2558640 w 13768337"/>
              <a:gd name="connsiteY2855" fmla="*/ 2847880 h 5071335"/>
              <a:gd name="connsiteX2856" fmla="*/ 2568371 w 13768337"/>
              <a:gd name="connsiteY2856" fmla="*/ 2827394 h 5071335"/>
              <a:gd name="connsiteX2857" fmla="*/ 2563739 w 13768337"/>
              <a:gd name="connsiteY2857" fmla="*/ 2801193 h 5071335"/>
              <a:gd name="connsiteX2858" fmla="*/ 1760676 w 13768337"/>
              <a:gd name="connsiteY2858" fmla="*/ 2800217 h 5071335"/>
              <a:gd name="connsiteX2859" fmla="*/ 1733799 w 13768337"/>
              <a:gd name="connsiteY2859" fmla="*/ 2831157 h 5071335"/>
              <a:gd name="connsiteX2860" fmla="*/ 1775504 w 13768337"/>
              <a:gd name="connsiteY2860" fmla="*/ 2816105 h 5071335"/>
              <a:gd name="connsiteX2861" fmla="*/ 1760676 w 13768337"/>
              <a:gd name="connsiteY2861" fmla="*/ 2800217 h 5071335"/>
              <a:gd name="connsiteX2862" fmla="*/ 470587 w 13768337"/>
              <a:gd name="connsiteY2862" fmla="*/ 2799799 h 5071335"/>
              <a:gd name="connsiteX2863" fmla="*/ 488659 w 13768337"/>
              <a:gd name="connsiteY2863" fmla="*/ 2799799 h 5071335"/>
              <a:gd name="connsiteX2864" fmla="*/ 484025 w 13768337"/>
              <a:gd name="connsiteY2864" fmla="*/ 2815268 h 5071335"/>
              <a:gd name="connsiteX2865" fmla="*/ 453441 w 13768337"/>
              <a:gd name="connsiteY2865" fmla="*/ 2824188 h 5071335"/>
              <a:gd name="connsiteX2866" fmla="*/ 470587 w 13768337"/>
              <a:gd name="connsiteY2866" fmla="*/ 2799799 h 5071335"/>
              <a:gd name="connsiteX2867" fmla="*/ 2727316 w 13768337"/>
              <a:gd name="connsiteY2867" fmla="*/ 2797430 h 5071335"/>
              <a:gd name="connsiteX2868" fmla="*/ 2699512 w 13768337"/>
              <a:gd name="connsiteY2868" fmla="*/ 2817917 h 5071335"/>
              <a:gd name="connsiteX2869" fmla="*/ 2731949 w 13768337"/>
              <a:gd name="connsiteY2869" fmla="*/ 2824188 h 5071335"/>
              <a:gd name="connsiteX2870" fmla="*/ 2737511 w 13768337"/>
              <a:gd name="connsiteY2870" fmla="*/ 2817638 h 5071335"/>
              <a:gd name="connsiteX2871" fmla="*/ 2739364 w 13768337"/>
              <a:gd name="connsiteY2871" fmla="*/ 2817917 h 5071335"/>
              <a:gd name="connsiteX2872" fmla="*/ 2732877 w 13768337"/>
              <a:gd name="connsiteY2872" fmla="*/ 2810112 h 5071335"/>
              <a:gd name="connsiteX2873" fmla="*/ 2727316 w 13768337"/>
              <a:gd name="connsiteY2873" fmla="*/ 2797430 h 5071335"/>
              <a:gd name="connsiteX2874" fmla="*/ 1017855 w 13768337"/>
              <a:gd name="connsiteY2874" fmla="*/ 2793110 h 5071335"/>
              <a:gd name="connsiteX2875" fmla="*/ 1025269 w 13768337"/>
              <a:gd name="connsiteY2875" fmla="*/ 2797988 h 5071335"/>
              <a:gd name="connsiteX2876" fmla="*/ 1010441 w 13768337"/>
              <a:gd name="connsiteY2876" fmla="*/ 2816105 h 5071335"/>
              <a:gd name="connsiteX2877" fmla="*/ 992368 w 13768337"/>
              <a:gd name="connsiteY2877" fmla="*/ 2803980 h 5071335"/>
              <a:gd name="connsiteX2878" fmla="*/ 1008588 w 13768337"/>
              <a:gd name="connsiteY2878" fmla="*/ 2793667 h 5071335"/>
              <a:gd name="connsiteX2879" fmla="*/ 1017855 w 13768337"/>
              <a:gd name="connsiteY2879" fmla="*/ 2793110 h 5071335"/>
              <a:gd name="connsiteX2880" fmla="*/ 2698123 w 13768337"/>
              <a:gd name="connsiteY2880" fmla="*/ 2790323 h 5071335"/>
              <a:gd name="connsiteX2881" fmla="*/ 2679586 w 13768337"/>
              <a:gd name="connsiteY2881" fmla="*/ 2791298 h 5071335"/>
              <a:gd name="connsiteX2882" fmla="*/ 2689317 w 13768337"/>
              <a:gd name="connsiteY2882" fmla="*/ 2803562 h 5071335"/>
              <a:gd name="connsiteX2883" fmla="*/ 2698123 w 13768337"/>
              <a:gd name="connsiteY2883" fmla="*/ 2790323 h 5071335"/>
              <a:gd name="connsiteX2884" fmla="*/ 954834 w 13768337"/>
              <a:gd name="connsiteY2884" fmla="*/ 2790044 h 5071335"/>
              <a:gd name="connsiteX2885" fmla="*/ 962248 w 13768337"/>
              <a:gd name="connsiteY2885" fmla="*/ 2794225 h 5071335"/>
              <a:gd name="connsiteX2886" fmla="*/ 957150 w 13768337"/>
              <a:gd name="connsiteY2886" fmla="*/ 2799242 h 5071335"/>
              <a:gd name="connsiteX2887" fmla="*/ 977540 w 13768337"/>
              <a:gd name="connsiteY2887" fmla="*/ 2804538 h 5071335"/>
              <a:gd name="connsiteX2888" fmla="*/ 980783 w 13768337"/>
              <a:gd name="connsiteY2888" fmla="*/ 2824607 h 5071335"/>
              <a:gd name="connsiteX2889" fmla="*/ 946957 w 13768337"/>
              <a:gd name="connsiteY2889" fmla="*/ 2820843 h 5071335"/>
              <a:gd name="connsiteX2890" fmla="*/ 933054 w 13768337"/>
              <a:gd name="connsiteY2890" fmla="*/ 2799242 h 5071335"/>
              <a:gd name="connsiteX2891" fmla="*/ 946957 w 13768337"/>
              <a:gd name="connsiteY2891" fmla="*/ 2794225 h 5071335"/>
              <a:gd name="connsiteX2892" fmla="*/ 954834 w 13768337"/>
              <a:gd name="connsiteY2892" fmla="*/ 2790044 h 5071335"/>
              <a:gd name="connsiteX2893" fmla="*/ 1878363 w 13768337"/>
              <a:gd name="connsiteY2893" fmla="*/ 2789343 h 5071335"/>
              <a:gd name="connsiteX2894" fmla="*/ 1844087 w 13768337"/>
              <a:gd name="connsiteY2894" fmla="*/ 2805373 h 5071335"/>
              <a:gd name="connsiteX2895" fmla="*/ 1895061 w 13768337"/>
              <a:gd name="connsiteY2895" fmla="*/ 2789486 h 5071335"/>
              <a:gd name="connsiteX2896" fmla="*/ 1878363 w 13768337"/>
              <a:gd name="connsiteY2896" fmla="*/ 2789343 h 5071335"/>
              <a:gd name="connsiteX2897" fmla="*/ 1554466 w 13768337"/>
              <a:gd name="connsiteY2897" fmla="*/ 2787675 h 5071335"/>
              <a:gd name="connsiteX2898" fmla="*/ 1560490 w 13768337"/>
              <a:gd name="connsiteY2898" fmla="*/ 2799799 h 5071335"/>
              <a:gd name="connsiteX2899" fmla="*/ 1563270 w 13768337"/>
              <a:gd name="connsiteY2899" fmla="*/ 2789486 h 5071335"/>
              <a:gd name="connsiteX2900" fmla="*/ 1554466 w 13768337"/>
              <a:gd name="connsiteY2900" fmla="*/ 2787675 h 5071335"/>
              <a:gd name="connsiteX2901" fmla="*/ 2756046 w 13768337"/>
              <a:gd name="connsiteY2901" fmla="*/ 2787117 h 5071335"/>
              <a:gd name="connsiteX2902" fmla="*/ 2727316 w 13768337"/>
              <a:gd name="connsiteY2902" fmla="*/ 2789068 h 5071335"/>
              <a:gd name="connsiteX2903" fmla="*/ 2731949 w 13768337"/>
              <a:gd name="connsiteY2903" fmla="*/ 2796873 h 5071335"/>
              <a:gd name="connsiteX2904" fmla="*/ 2756046 w 13768337"/>
              <a:gd name="connsiteY2904" fmla="*/ 2787117 h 5071335"/>
              <a:gd name="connsiteX2905" fmla="*/ 2940014 w 13768337"/>
              <a:gd name="connsiteY2905" fmla="*/ 2785305 h 5071335"/>
              <a:gd name="connsiteX2906" fmla="*/ 2932135 w 13768337"/>
              <a:gd name="connsiteY2906" fmla="*/ 2792413 h 5071335"/>
              <a:gd name="connsiteX2907" fmla="*/ 2928892 w 13768337"/>
              <a:gd name="connsiteY2907" fmla="*/ 2793249 h 5071335"/>
              <a:gd name="connsiteX2908" fmla="*/ 2913137 w 13768337"/>
              <a:gd name="connsiteY2908" fmla="*/ 2794783 h 5071335"/>
              <a:gd name="connsiteX2909" fmla="*/ 2909893 w 13768337"/>
              <a:gd name="connsiteY2909" fmla="*/ 2811088 h 5071335"/>
              <a:gd name="connsiteX2910" fmla="*/ 2910356 w 13768337"/>
              <a:gd name="connsiteY2910" fmla="*/ 2811367 h 5071335"/>
              <a:gd name="connsiteX2911" fmla="*/ 2928892 w 13768337"/>
              <a:gd name="connsiteY2911" fmla="*/ 2816105 h 5071335"/>
              <a:gd name="connsiteX2912" fmla="*/ 2943258 w 13768337"/>
              <a:gd name="connsiteY2912" fmla="*/ 2813457 h 5071335"/>
              <a:gd name="connsiteX2913" fmla="*/ 2935844 w 13768337"/>
              <a:gd name="connsiteY2913" fmla="*/ 2813457 h 5071335"/>
              <a:gd name="connsiteX2914" fmla="*/ 2943258 w 13768337"/>
              <a:gd name="connsiteY2914" fmla="*/ 2805792 h 5071335"/>
              <a:gd name="connsiteX2915" fmla="*/ 2953915 w 13768337"/>
              <a:gd name="connsiteY2915" fmla="*/ 2790880 h 5071335"/>
              <a:gd name="connsiteX2916" fmla="*/ 2955768 w 13768337"/>
              <a:gd name="connsiteY2916" fmla="*/ 2789486 h 5071335"/>
              <a:gd name="connsiteX2917" fmla="*/ 2940014 w 13768337"/>
              <a:gd name="connsiteY2917" fmla="*/ 2785305 h 5071335"/>
              <a:gd name="connsiteX2918" fmla="*/ 2381623 w 13768337"/>
              <a:gd name="connsiteY2918" fmla="*/ 2785305 h 5071335"/>
              <a:gd name="connsiteX2919" fmla="*/ 2384404 w 13768337"/>
              <a:gd name="connsiteY2919" fmla="*/ 2787117 h 5071335"/>
              <a:gd name="connsiteX2920" fmla="*/ 2388111 w 13768337"/>
              <a:gd name="connsiteY2920" fmla="*/ 2786143 h 5071335"/>
              <a:gd name="connsiteX2921" fmla="*/ 2381623 w 13768337"/>
              <a:gd name="connsiteY2921" fmla="*/ 2785305 h 5071335"/>
              <a:gd name="connsiteX2922" fmla="*/ 2932135 w 13768337"/>
              <a:gd name="connsiteY2922" fmla="*/ 2783773 h 5071335"/>
              <a:gd name="connsiteX2923" fmla="*/ 2932135 w 13768337"/>
              <a:gd name="connsiteY2923" fmla="*/ 2785305 h 5071335"/>
              <a:gd name="connsiteX2924" fmla="*/ 2934916 w 13768337"/>
              <a:gd name="connsiteY2924" fmla="*/ 2783773 h 5071335"/>
              <a:gd name="connsiteX2925" fmla="*/ 2932135 w 13768337"/>
              <a:gd name="connsiteY2925" fmla="*/ 2783773 h 5071335"/>
              <a:gd name="connsiteX2926" fmla="*/ 2917308 w 13768337"/>
              <a:gd name="connsiteY2926" fmla="*/ 2783773 h 5071335"/>
              <a:gd name="connsiteX2927" fmla="*/ 2917308 w 13768337"/>
              <a:gd name="connsiteY2927" fmla="*/ 2785305 h 5071335"/>
              <a:gd name="connsiteX2928" fmla="*/ 2922404 w 13768337"/>
              <a:gd name="connsiteY2928" fmla="*/ 2785305 h 5071335"/>
              <a:gd name="connsiteX2929" fmla="*/ 2917308 w 13768337"/>
              <a:gd name="connsiteY2929" fmla="*/ 2783773 h 5071335"/>
              <a:gd name="connsiteX2930" fmla="*/ 1526198 w 13768337"/>
              <a:gd name="connsiteY2930" fmla="*/ 2783773 h 5071335"/>
              <a:gd name="connsiteX2931" fmla="*/ 1522028 w 13768337"/>
              <a:gd name="connsiteY2931" fmla="*/ 2797988 h 5071335"/>
              <a:gd name="connsiteX2932" fmla="*/ 1553539 w 13768337"/>
              <a:gd name="connsiteY2932" fmla="*/ 2787675 h 5071335"/>
              <a:gd name="connsiteX2933" fmla="*/ 1541028 w 13768337"/>
              <a:gd name="connsiteY2933" fmla="*/ 2783773 h 5071335"/>
              <a:gd name="connsiteX2934" fmla="*/ 1526198 w 13768337"/>
              <a:gd name="connsiteY2934" fmla="*/ 2783773 h 5071335"/>
              <a:gd name="connsiteX2935" fmla="*/ 2438621 w 13768337"/>
              <a:gd name="connsiteY2935" fmla="*/ 2783494 h 5071335"/>
              <a:gd name="connsiteX2936" fmla="*/ 2417769 w 13768337"/>
              <a:gd name="connsiteY2936" fmla="*/ 2789068 h 5071335"/>
              <a:gd name="connsiteX2937" fmla="*/ 2443718 w 13768337"/>
              <a:gd name="connsiteY2937" fmla="*/ 2797988 h 5071335"/>
              <a:gd name="connsiteX2938" fmla="*/ 2438621 w 13768337"/>
              <a:gd name="connsiteY2938" fmla="*/ 2783494 h 5071335"/>
              <a:gd name="connsiteX2939" fmla="*/ 2887188 w 13768337"/>
              <a:gd name="connsiteY2939" fmla="*/ 2780567 h 5071335"/>
              <a:gd name="connsiteX2940" fmla="*/ 2882553 w 13768337"/>
              <a:gd name="connsiteY2940" fmla="*/ 2790880 h 5071335"/>
              <a:gd name="connsiteX2941" fmla="*/ 2845018 w 13768337"/>
              <a:gd name="connsiteY2941" fmla="*/ 2803562 h 5071335"/>
              <a:gd name="connsiteX2942" fmla="*/ 2845481 w 13768337"/>
              <a:gd name="connsiteY2942" fmla="*/ 2806907 h 5071335"/>
              <a:gd name="connsiteX2943" fmla="*/ 2796825 w 13768337"/>
              <a:gd name="connsiteY2943" fmla="*/ 2824607 h 5071335"/>
              <a:gd name="connsiteX2944" fmla="*/ 2870504 w 13768337"/>
              <a:gd name="connsiteY2944" fmla="*/ 2816105 h 5071335"/>
              <a:gd name="connsiteX2945" fmla="*/ 2891358 w 13768337"/>
              <a:gd name="connsiteY2945" fmla="*/ 2808997 h 5071335"/>
              <a:gd name="connsiteX2946" fmla="*/ 2906186 w 13768337"/>
              <a:gd name="connsiteY2946" fmla="*/ 2793249 h 5071335"/>
              <a:gd name="connsiteX2947" fmla="*/ 2881162 w 13768337"/>
              <a:gd name="connsiteY2947" fmla="*/ 2797430 h 5071335"/>
              <a:gd name="connsiteX2948" fmla="*/ 2882553 w 13768337"/>
              <a:gd name="connsiteY2948" fmla="*/ 2790880 h 5071335"/>
              <a:gd name="connsiteX2949" fmla="*/ 2910820 w 13768337"/>
              <a:gd name="connsiteY2949" fmla="*/ 2786700 h 5071335"/>
              <a:gd name="connsiteX2950" fmla="*/ 2909893 w 13768337"/>
              <a:gd name="connsiteY2950" fmla="*/ 2781125 h 5071335"/>
              <a:gd name="connsiteX2951" fmla="*/ 2887188 w 13768337"/>
              <a:gd name="connsiteY2951" fmla="*/ 2780567 h 5071335"/>
              <a:gd name="connsiteX2952" fmla="*/ 2188389 w 13768337"/>
              <a:gd name="connsiteY2952" fmla="*/ 2780149 h 5071335"/>
              <a:gd name="connsiteX2953" fmla="*/ 2230094 w 13768337"/>
              <a:gd name="connsiteY2953" fmla="*/ 2796037 h 5071335"/>
              <a:gd name="connsiteX2954" fmla="*/ 2224997 w 13768337"/>
              <a:gd name="connsiteY2954" fmla="*/ 2817638 h 5071335"/>
              <a:gd name="connsiteX2955" fmla="*/ 2247703 w 13768337"/>
              <a:gd name="connsiteY2955" fmla="*/ 2812481 h 5071335"/>
              <a:gd name="connsiteX2956" fmla="*/ 2250020 w 13768337"/>
              <a:gd name="connsiteY2956" fmla="*/ 2804538 h 5071335"/>
              <a:gd name="connsiteX2957" fmla="*/ 2249094 w 13768337"/>
              <a:gd name="connsiteY2957" fmla="*/ 2803145 h 5071335"/>
              <a:gd name="connsiteX2958" fmla="*/ 2250020 w 13768337"/>
              <a:gd name="connsiteY2958" fmla="*/ 2803562 h 5071335"/>
              <a:gd name="connsiteX2959" fmla="*/ 2252337 w 13768337"/>
              <a:gd name="connsiteY2959" fmla="*/ 2796037 h 5071335"/>
              <a:gd name="connsiteX2960" fmla="*/ 2188389 w 13768337"/>
              <a:gd name="connsiteY2960" fmla="*/ 2780149 h 5071335"/>
              <a:gd name="connsiteX2961" fmla="*/ 2965963 w 13768337"/>
              <a:gd name="connsiteY2961" fmla="*/ 2776387 h 5071335"/>
              <a:gd name="connsiteX2962" fmla="*/ 2962720 w 13768337"/>
              <a:gd name="connsiteY2962" fmla="*/ 2777920 h 5071335"/>
              <a:gd name="connsiteX2963" fmla="*/ 2968281 w 13768337"/>
              <a:gd name="connsiteY2963" fmla="*/ 2786700 h 5071335"/>
              <a:gd name="connsiteX2964" fmla="*/ 2969670 w 13768337"/>
              <a:gd name="connsiteY2964" fmla="*/ 2786700 h 5071335"/>
              <a:gd name="connsiteX2965" fmla="*/ 2965963 w 13768337"/>
              <a:gd name="connsiteY2965" fmla="*/ 2776387 h 5071335"/>
              <a:gd name="connsiteX2966" fmla="*/ 2352893 w 13768337"/>
              <a:gd name="connsiteY2966" fmla="*/ 2774575 h 5071335"/>
              <a:gd name="connsiteX2967" fmla="*/ 2339919 w 13768337"/>
              <a:gd name="connsiteY2967" fmla="*/ 2778756 h 5071335"/>
              <a:gd name="connsiteX2968" fmla="*/ 2339919 w 13768337"/>
              <a:gd name="connsiteY2968" fmla="*/ 2783773 h 5071335"/>
              <a:gd name="connsiteX2969" fmla="*/ 2332041 w 13768337"/>
              <a:gd name="connsiteY2969" fmla="*/ 2780149 h 5071335"/>
              <a:gd name="connsiteX2970" fmla="*/ 2318138 w 13768337"/>
              <a:gd name="connsiteY2970" fmla="*/ 2791298 h 5071335"/>
              <a:gd name="connsiteX2971" fmla="*/ 2330651 w 13768337"/>
              <a:gd name="connsiteY2971" fmla="*/ 2784330 h 5071335"/>
              <a:gd name="connsiteX2972" fmla="*/ 2331578 w 13768337"/>
              <a:gd name="connsiteY2972" fmla="*/ 2794225 h 5071335"/>
              <a:gd name="connsiteX2973" fmla="*/ 2338065 w 13768337"/>
              <a:gd name="connsiteY2973" fmla="*/ 2793667 h 5071335"/>
              <a:gd name="connsiteX2974" fmla="*/ 2352431 w 13768337"/>
              <a:gd name="connsiteY2974" fmla="*/ 2793667 h 5071335"/>
              <a:gd name="connsiteX2975" fmla="*/ 2353232 w 13768337"/>
              <a:gd name="connsiteY2975" fmla="*/ 2794692 h 5071335"/>
              <a:gd name="connsiteX2976" fmla="*/ 2352893 w 13768337"/>
              <a:gd name="connsiteY2976" fmla="*/ 2794783 h 5071335"/>
              <a:gd name="connsiteX2977" fmla="*/ 2353357 w 13768337"/>
              <a:gd name="connsiteY2977" fmla="*/ 2794852 h 5071335"/>
              <a:gd name="connsiteX2978" fmla="*/ 2353232 w 13768337"/>
              <a:gd name="connsiteY2978" fmla="*/ 2794692 h 5071335"/>
              <a:gd name="connsiteX2979" fmla="*/ 2357064 w 13768337"/>
              <a:gd name="connsiteY2979" fmla="*/ 2793667 h 5071335"/>
              <a:gd name="connsiteX2980" fmla="*/ 2352893 w 13768337"/>
              <a:gd name="connsiteY2980" fmla="*/ 2774575 h 5071335"/>
              <a:gd name="connsiteX2981" fmla="*/ 3032692 w 13768337"/>
              <a:gd name="connsiteY2981" fmla="*/ 2771649 h 5071335"/>
              <a:gd name="connsiteX2982" fmla="*/ 3024351 w 13768337"/>
              <a:gd name="connsiteY2982" fmla="*/ 2774575 h 5071335"/>
              <a:gd name="connsiteX2983" fmla="*/ 3032229 w 13768337"/>
              <a:gd name="connsiteY2983" fmla="*/ 2783773 h 5071335"/>
              <a:gd name="connsiteX2984" fmla="*/ 3038717 w 13768337"/>
              <a:gd name="connsiteY2984" fmla="*/ 2783773 h 5071335"/>
              <a:gd name="connsiteX2985" fmla="*/ 3039180 w 13768337"/>
              <a:gd name="connsiteY2985" fmla="*/ 2779173 h 5071335"/>
              <a:gd name="connsiteX2986" fmla="*/ 3037326 w 13768337"/>
              <a:gd name="connsiteY2986" fmla="*/ 2777362 h 5071335"/>
              <a:gd name="connsiteX2987" fmla="*/ 3041034 w 13768337"/>
              <a:gd name="connsiteY2987" fmla="*/ 2774993 h 5071335"/>
              <a:gd name="connsiteX2988" fmla="*/ 3041960 w 13768337"/>
              <a:gd name="connsiteY2988" fmla="*/ 2773181 h 5071335"/>
              <a:gd name="connsiteX2989" fmla="*/ 3032692 w 13768337"/>
              <a:gd name="connsiteY2989" fmla="*/ 2771649 h 5071335"/>
              <a:gd name="connsiteX2990" fmla="*/ 851496 w 13768337"/>
              <a:gd name="connsiteY2990" fmla="*/ 2766632 h 5071335"/>
              <a:gd name="connsiteX2991" fmla="*/ 860765 w 13768337"/>
              <a:gd name="connsiteY2991" fmla="*/ 2793249 h 5071335"/>
              <a:gd name="connsiteX2992" fmla="*/ 846863 w 13768337"/>
              <a:gd name="connsiteY2992" fmla="*/ 2803980 h 5071335"/>
              <a:gd name="connsiteX2993" fmla="*/ 829254 w 13768337"/>
              <a:gd name="connsiteY2993" fmla="*/ 2782380 h 5071335"/>
              <a:gd name="connsiteX2994" fmla="*/ 851496 w 13768337"/>
              <a:gd name="connsiteY2994" fmla="*/ 2766632 h 5071335"/>
              <a:gd name="connsiteX2995" fmla="*/ 3142517 w 13768337"/>
              <a:gd name="connsiteY2995" fmla="*/ 2765099 h 5071335"/>
              <a:gd name="connsiteX2996" fmla="*/ 3135566 w 13768337"/>
              <a:gd name="connsiteY2996" fmla="*/ 2769001 h 5071335"/>
              <a:gd name="connsiteX2997" fmla="*/ 3135102 w 13768337"/>
              <a:gd name="connsiteY2997" fmla="*/ 2765656 h 5071335"/>
              <a:gd name="connsiteX2998" fmla="*/ 3129541 w 13768337"/>
              <a:gd name="connsiteY2998" fmla="*/ 2770812 h 5071335"/>
              <a:gd name="connsiteX2999" fmla="*/ 3146687 w 13768337"/>
              <a:gd name="connsiteY2999" fmla="*/ 2774993 h 5071335"/>
              <a:gd name="connsiteX3000" fmla="*/ 3163369 w 13768337"/>
              <a:gd name="connsiteY3000" fmla="*/ 2770812 h 5071335"/>
              <a:gd name="connsiteX3001" fmla="*/ 3142517 w 13768337"/>
              <a:gd name="connsiteY3001" fmla="*/ 2765099 h 5071335"/>
              <a:gd name="connsiteX3002" fmla="*/ 3087373 w 13768337"/>
              <a:gd name="connsiteY3002" fmla="*/ 2763704 h 5071335"/>
              <a:gd name="connsiteX3003" fmla="*/ 3079495 w 13768337"/>
              <a:gd name="connsiteY3003" fmla="*/ 2773181 h 5071335"/>
              <a:gd name="connsiteX3004" fmla="*/ 3099885 w 13768337"/>
              <a:gd name="connsiteY3004" fmla="*/ 2770812 h 5071335"/>
              <a:gd name="connsiteX3005" fmla="*/ 3101275 w 13768337"/>
              <a:gd name="connsiteY3005" fmla="*/ 2769279 h 5071335"/>
              <a:gd name="connsiteX3006" fmla="*/ 3083666 w 13768337"/>
              <a:gd name="connsiteY3006" fmla="*/ 2768025 h 5071335"/>
              <a:gd name="connsiteX3007" fmla="*/ 3090154 w 13768337"/>
              <a:gd name="connsiteY3007" fmla="*/ 2764262 h 5071335"/>
              <a:gd name="connsiteX3008" fmla="*/ 3087373 w 13768337"/>
              <a:gd name="connsiteY3008" fmla="*/ 2763704 h 5071335"/>
              <a:gd name="connsiteX3009" fmla="*/ 2746779 w 13768337"/>
              <a:gd name="connsiteY3009" fmla="*/ 2762451 h 5071335"/>
              <a:gd name="connsiteX3010" fmla="*/ 2734267 w 13768337"/>
              <a:gd name="connsiteY3010" fmla="*/ 2768025 h 5071335"/>
              <a:gd name="connsiteX3011" fmla="*/ 2745388 w 13768337"/>
              <a:gd name="connsiteY3011" fmla="*/ 2769279 h 5071335"/>
              <a:gd name="connsiteX3012" fmla="*/ 2755119 w 13768337"/>
              <a:gd name="connsiteY3012" fmla="*/ 2768443 h 5071335"/>
              <a:gd name="connsiteX3013" fmla="*/ 2746779 w 13768337"/>
              <a:gd name="connsiteY3013" fmla="*/ 2762451 h 5071335"/>
              <a:gd name="connsiteX3014" fmla="*/ 3638811 w 13768337"/>
              <a:gd name="connsiteY3014" fmla="*/ 2760081 h 5071335"/>
              <a:gd name="connsiteX3015" fmla="*/ 3632788 w 13768337"/>
              <a:gd name="connsiteY3015" fmla="*/ 2760500 h 5071335"/>
              <a:gd name="connsiteX3016" fmla="*/ 3638811 w 13768337"/>
              <a:gd name="connsiteY3016" fmla="*/ 2761336 h 5071335"/>
              <a:gd name="connsiteX3017" fmla="*/ 3638811 w 13768337"/>
              <a:gd name="connsiteY3017" fmla="*/ 2760081 h 5071335"/>
              <a:gd name="connsiteX3018" fmla="*/ 2247703 w 13768337"/>
              <a:gd name="connsiteY3018" fmla="*/ 2760081 h 5071335"/>
              <a:gd name="connsiteX3019" fmla="*/ 2220364 w 13768337"/>
              <a:gd name="connsiteY3019" fmla="*/ 2774575 h 5071335"/>
              <a:gd name="connsiteX3020" fmla="*/ 2252337 w 13768337"/>
              <a:gd name="connsiteY3020" fmla="*/ 2769279 h 5071335"/>
              <a:gd name="connsiteX3021" fmla="*/ 2247703 w 13768337"/>
              <a:gd name="connsiteY3021" fmla="*/ 2760081 h 5071335"/>
              <a:gd name="connsiteX3022" fmla="*/ 2418232 w 13768337"/>
              <a:gd name="connsiteY3022" fmla="*/ 2757155 h 5071335"/>
              <a:gd name="connsiteX3023" fmla="*/ 2421475 w 13768337"/>
              <a:gd name="connsiteY3023" fmla="*/ 2772206 h 5071335"/>
              <a:gd name="connsiteX3024" fmla="*/ 2430744 w 13768337"/>
              <a:gd name="connsiteY3024" fmla="*/ 2770812 h 5071335"/>
              <a:gd name="connsiteX3025" fmla="*/ 2422866 w 13768337"/>
              <a:gd name="connsiteY3025" fmla="*/ 2758688 h 5071335"/>
              <a:gd name="connsiteX3026" fmla="*/ 2418232 w 13768337"/>
              <a:gd name="connsiteY3026" fmla="*/ 2757155 h 5071335"/>
              <a:gd name="connsiteX3027" fmla="*/ 2290335 w 13768337"/>
              <a:gd name="connsiteY3027" fmla="*/ 2757155 h 5071335"/>
              <a:gd name="connsiteX3028" fmla="*/ 2284312 w 13768337"/>
              <a:gd name="connsiteY3028" fmla="*/ 2760081 h 5071335"/>
              <a:gd name="connsiteX3029" fmla="*/ 2284312 w 13768337"/>
              <a:gd name="connsiteY3029" fmla="*/ 2774575 h 5071335"/>
              <a:gd name="connsiteX3030" fmla="*/ 2266703 w 13768337"/>
              <a:gd name="connsiteY3030" fmla="*/ 2774575 h 5071335"/>
              <a:gd name="connsiteX3031" fmla="*/ 2262068 w 13768337"/>
              <a:gd name="connsiteY3031" fmla="*/ 2763704 h 5071335"/>
              <a:gd name="connsiteX3032" fmla="*/ 2271337 w 13768337"/>
              <a:gd name="connsiteY3032" fmla="*/ 2796037 h 5071335"/>
              <a:gd name="connsiteX3033" fmla="*/ 2257435 w 13768337"/>
              <a:gd name="connsiteY3033" fmla="*/ 2796037 h 5071335"/>
              <a:gd name="connsiteX3034" fmla="*/ 2284312 w 13768337"/>
              <a:gd name="connsiteY3034" fmla="*/ 2801611 h 5071335"/>
              <a:gd name="connsiteX3035" fmla="*/ 2303310 w 13768337"/>
              <a:gd name="connsiteY3035" fmla="*/ 2780149 h 5071335"/>
              <a:gd name="connsiteX3036" fmla="*/ 2301920 w 13768337"/>
              <a:gd name="connsiteY3036" fmla="*/ 2774575 h 5071335"/>
              <a:gd name="connsiteX3037" fmla="*/ 2293579 w 13768337"/>
              <a:gd name="connsiteY3037" fmla="*/ 2773181 h 5071335"/>
              <a:gd name="connsiteX3038" fmla="*/ 2303310 w 13768337"/>
              <a:gd name="connsiteY3038" fmla="*/ 2768025 h 5071335"/>
              <a:gd name="connsiteX3039" fmla="*/ 2305164 w 13768337"/>
              <a:gd name="connsiteY3039" fmla="*/ 2762451 h 5071335"/>
              <a:gd name="connsiteX3040" fmla="*/ 2290335 w 13768337"/>
              <a:gd name="connsiteY3040" fmla="*/ 2757155 h 5071335"/>
              <a:gd name="connsiteX3041" fmla="*/ 3131858 w 13768337"/>
              <a:gd name="connsiteY3041" fmla="*/ 2756736 h 5071335"/>
              <a:gd name="connsiteX3042" fmla="*/ 3129541 w 13768337"/>
              <a:gd name="connsiteY3042" fmla="*/ 2759524 h 5071335"/>
              <a:gd name="connsiteX3043" fmla="*/ 3134638 w 13768337"/>
              <a:gd name="connsiteY3043" fmla="*/ 2761336 h 5071335"/>
              <a:gd name="connsiteX3044" fmla="*/ 3131858 w 13768337"/>
              <a:gd name="connsiteY3044" fmla="*/ 2756736 h 5071335"/>
              <a:gd name="connsiteX3045" fmla="*/ 2680976 w 13768337"/>
              <a:gd name="connsiteY3045" fmla="*/ 2755901 h 5071335"/>
              <a:gd name="connsiteX3046" fmla="*/ 2678659 w 13768337"/>
              <a:gd name="connsiteY3046" fmla="*/ 2757712 h 5071335"/>
              <a:gd name="connsiteX3047" fmla="*/ 2707390 w 13768337"/>
              <a:gd name="connsiteY3047" fmla="*/ 2769279 h 5071335"/>
              <a:gd name="connsiteX3048" fmla="*/ 2721292 w 13768337"/>
              <a:gd name="connsiteY3048" fmla="*/ 2757155 h 5071335"/>
              <a:gd name="connsiteX3049" fmla="*/ 2680976 w 13768337"/>
              <a:gd name="connsiteY3049" fmla="*/ 2755901 h 5071335"/>
              <a:gd name="connsiteX3050" fmla="*/ 1695337 w 13768337"/>
              <a:gd name="connsiteY3050" fmla="*/ 2754786 h 5071335"/>
              <a:gd name="connsiteX3051" fmla="*/ 1665217 w 13768337"/>
              <a:gd name="connsiteY3051" fmla="*/ 2778756 h 5071335"/>
              <a:gd name="connsiteX3052" fmla="*/ 1793113 w 13768337"/>
              <a:gd name="connsiteY3052" fmla="*/ 2778756 h 5071335"/>
              <a:gd name="connsiteX3053" fmla="*/ 1746774 w 13768337"/>
              <a:gd name="connsiteY3053" fmla="*/ 2763704 h 5071335"/>
              <a:gd name="connsiteX3054" fmla="*/ 1733799 w 13768337"/>
              <a:gd name="connsiteY3054" fmla="*/ 2778756 h 5071335"/>
              <a:gd name="connsiteX3055" fmla="*/ 1692556 w 13768337"/>
              <a:gd name="connsiteY3055" fmla="*/ 2768025 h 5071335"/>
              <a:gd name="connsiteX3056" fmla="*/ 1706460 w 13768337"/>
              <a:gd name="connsiteY3056" fmla="*/ 2758688 h 5071335"/>
              <a:gd name="connsiteX3057" fmla="*/ 1695337 w 13768337"/>
              <a:gd name="connsiteY3057" fmla="*/ 2754786 h 5071335"/>
              <a:gd name="connsiteX3058" fmla="*/ 2477083 w 13768337"/>
              <a:gd name="connsiteY3058" fmla="*/ 2752973 h 5071335"/>
              <a:gd name="connsiteX3059" fmla="*/ 2472450 w 13768337"/>
              <a:gd name="connsiteY3059" fmla="*/ 2770812 h 5071335"/>
              <a:gd name="connsiteX3060" fmla="*/ 2445573 w 13768337"/>
              <a:gd name="connsiteY3060" fmla="*/ 2765099 h 5071335"/>
              <a:gd name="connsiteX3061" fmla="*/ 2445109 w 13768337"/>
              <a:gd name="connsiteY3061" fmla="*/ 2778756 h 5071335"/>
              <a:gd name="connsiteX3062" fmla="*/ 2455767 w 13768337"/>
              <a:gd name="connsiteY3062" fmla="*/ 2790880 h 5071335"/>
              <a:gd name="connsiteX3063" fmla="*/ 2560957 w 13768337"/>
              <a:gd name="connsiteY3063" fmla="*/ 2777362 h 5071335"/>
              <a:gd name="connsiteX3064" fmla="*/ 2564664 w 13768337"/>
              <a:gd name="connsiteY3064" fmla="*/ 2774993 h 5071335"/>
              <a:gd name="connsiteX3065" fmla="*/ 2528984 w 13768337"/>
              <a:gd name="connsiteY3065" fmla="*/ 2774993 h 5071335"/>
              <a:gd name="connsiteX3066" fmla="*/ 2619809 w 13768337"/>
              <a:gd name="connsiteY3066" fmla="*/ 2755901 h 5071335"/>
              <a:gd name="connsiteX3067" fmla="*/ 2619345 w 13768337"/>
              <a:gd name="connsiteY3067" fmla="*/ 2754507 h 5071335"/>
              <a:gd name="connsiteX3068" fmla="*/ 2477083 w 13768337"/>
              <a:gd name="connsiteY3068" fmla="*/ 2752973 h 5071335"/>
              <a:gd name="connsiteX3069" fmla="*/ 2765778 w 13768337"/>
              <a:gd name="connsiteY3069" fmla="*/ 2752138 h 5071335"/>
              <a:gd name="connsiteX3070" fmla="*/ 2753266 w 13768337"/>
              <a:gd name="connsiteY3070" fmla="*/ 2758688 h 5071335"/>
              <a:gd name="connsiteX3071" fmla="*/ 2780606 w 13768337"/>
              <a:gd name="connsiteY3071" fmla="*/ 2761336 h 5071335"/>
              <a:gd name="connsiteX3072" fmla="*/ 2765778 w 13768337"/>
              <a:gd name="connsiteY3072" fmla="*/ 2752138 h 5071335"/>
              <a:gd name="connsiteX3073" fmla="*/ 3693492 w 13768337"/>
              <a:gd name="connsiteY3073" fmla="*/ 2751162 h 5071335"/>
              <a:gd name="connsiteX3074" fmla="*/ 3685614 w 13768337"/>
              <a:gd name="connsiteY3074" fmla="*/ 2752416 h 5071335"/>
              <a:gd name="connsiteX3075" fmla="*/ 3675883 w 13768337"/>
              <a:gd name="connsiteY3075" fmla="*/ 2759524 h 5071335"/>
              <a:gd name="connsiteX3076" fmla="*/ 3679127 w 13768337"/>
              <a:gd name="connsiteY3076" fmla="*/ 2762451 h 5071335"/>
              <a:gd name="connsiteX3077" fmla="*/ 3687931 w 13768337"/>
              <a:gd name="connsiteY3077" fmla="*/ 2760081 h 5071335"/>
              <a:gd name="connsiteX3078" fmla="*/ 3685614 w 13768337"/>
              <a:gd name="connsiteY3078" fmla="*/ 2764820 h 5071335"/>
              <a:gd name="connsiteX3079" fmla="*/ 3696273 w 13768337"/>
              <a:gd name="connsiteY3079" fmla="*/ 2758688 h 5071335"/>
              <a:gd name="connsiteX3080" fmla="*/ 3693492 w 13768337"/>
              <a:gd name="connsiteY3080" fmla="*/ 2751162 h 5071335"/>
              <a:gd name="connsiteX3081" fmla="*/ 2298676 w 13768337"/>
              <a:gd name="connsiteY3081" fmla="*/ 2749211 h 5071335"/>
              <a:gd name="connsiteX3082" fmla="*/ 2295434 w 13768337"/>
              <a:gd name="connsiteY3082" fmla="*/ 2752973 h 5071335"/>
              <a:gd name="connsiteX3083" fmla="*/ 2305164 w 13768337"/>
              <a:gd name="connsiteY3083" fmla="*/ 2752973 h 5071335"/>
              <a:gd name="connsiteX3084" fmla="*/ 2298676 w 13768337"/>
              <a:gd name="connsiteY3084" fmla="*/ 2749211 h 5071335"/>
              <a:gd name="connsiteX3085" fmla="*/ 3366337 w 13768337"/>
              <a:gd name="connsiteY3085" fmla="*/ 2745867 h 5071335"/>
              <a:gd name="connsiteX3086" fmla="*/ 3328801 w 13768337"/>
              <a:gd name="connsiteY3086" fmla="*/ 2751162 h 5071335"/>
              <a:gd name="connsiteX3087" fmla="*/ 3335288 w 13768337"/>
              <a:gd name="connsiteY3087" fmla="*/ 2763704 h 5071335"/>
              <a:gd name="connsiteX3088" fmla="*/ 3332972 w 13768337"/>
              <a:gd name="connsiteY3088" fmla="*/ 2765656 h 5071335"/>
              <a:gd name="connsiteX3089" fmla="*/ 3366337 w 13768337"/>
              <a:gd name="connsiteY3089" fmla="*/ 2745867 h 5071335"/>
              <a:gd name="connsiteX3090" fmla="*/ 3569765 w 13768337"/>
              <a:gd name="connsiteY3090" fmla="*/ 2743498 h 5071335"/>
              <a:gd name="connsiteX3091" fmla="*/ 3545669 w 13768337"/>
              <a:gd name="connsiteY3091" fmla="*/ 2751580 h 5071335"/>
              <a:gd name="connsiteX3092" fmla="*/ 3572546 w 13768337"/>
              <a:gd name="connsiteY3092" fmla="*/ 2751162 h 5071335"/>
              <a:gd name="connsiteX3093" fmla="*/ 3569765 w 13768337"/>
              <a:gd name="connsiteY3093" fmla="*/ 2743498 h 5071335"/>
              <a:gd name="connsiteX3094" fmla="*/ 3940017 w 13768337"/>
              <a:gd name="connsiteY3094" fmla="*/ 2742661 h 5071335"/>
              <a:gd name="connsiteX3095" fmla="*/ 3930750 w 13768337"/>
              <a:gd name="connsiteY3095" fmla="*/ 2744055 h 5071335"/>
              <a:gd name="connsiteX3096" fmla="*/ 3930750 w 13768337"/>
              <a:gd name="connsiteY3096" fmla="*/ 2745867 h 5071335"/>
              <a:gd name="connsiteX3097" fmla="*/ 3940481 w 13768337"/>
              <a:gd name="connsiteY3097" fmla="*/ 2743218 h 5071335"/>
              <a:gd name="connsiteX3098" fmla="*/ 3940017 w 13768337"/>
              <a:gd name="connsiteY3098" fmla="*/ 2742661 h 5071335"/>
              <a:gd name="connsiteX3099" fmla="*/ 3539646 w 13768337"/>
              <a:gd name="connsiteY3099" fmla="*/ 2742243 h 5071335"/>
              <a:gd name="connsiteX3100" fmla="*/ 3527134 w 13768337"/>
              <a:gd name="connsiteY3100" fmla="*/ 2752416 h 5071335"/>
              <a:gd name="connsiteX3101" fmla="*/ 3542426 w 13768337"/>
              <a:gd name="connsiteY3101" fmla="*/ 2752138 h 5071335"/>
              <a:gd name="connsiteX3102" fmla="*/ 3539646 w 13768337"/>
              <a:gd name="connsiteY3102" fmla="*/ 2742243 h 5071335"/>
              <a:gd name="connsiteX3103" fmla="*/ 2832507 w 13768337"/>
              <a:gd name="connsiteY3103" fmla="*/ 2741407 h 5071335"/>
              <a:gd name="connsiteX3104" fmla="*/ 2797752 w 13768337"/>
              <a:gd name="connsiteY3104" fmla="*/ 2743498 h 5071335"/>
              <a:gd name="connsiteX3105" fmla="*/ 2804239 w 13768337"/>
              <a:gd name="connsiteY3105" fmla="*/ 2761336 h 5071335"/>
              <a:gd name="connsiteX3106" fmla="*/ 2840848 w 13768337"/>
              <a:gd name="connsiteY3106" fmla="*/ 2745030 h 5071335"/>
              <a:gd name="connsiteX3107" fmla="*/ 2845481 w 13768337"/>
              <a:gd name="connsiteY3107" fmla="*/ 2755901 h 5071335"/>
              <a:gd name="connsiteX3108" fmla="*/ 2876066 w 13768337"/>
              <a:gd name="connsiteY3108" fmla="*/ 2750606 h 5071335"/>
              <a:gd name="connsiteX3109" fmla="*/ 2872821 w 13768337"/>
              <a:gd name="connsiteY3109" fmla="*/ 2742243 h 5071335"/>
              <a:gd name="connsiteX3110" fmla="*/ 2832507 w 13768337"/>
              <a:gd name="connsiteY3110" fmla="*/ 2741407 h 5071335"/>
              <a:gd name="connsiteX3111" fmla="*/ 3721295 w 13768337"/>
              <a:gd name="connsiteY3111" fmla="*/ 2737086 h 5071335"/>
              <a:gd name="connsiteX3112" fmla="*/ 3721295 w 13768337"/>
              <a:gd name="connsiteY3112" fmla="*/ 2740293 h 5071335"/>
              <a:gd name="connsiteX3113" fmla="*/ 3723612 w 13768337"/>
              <a:gd name="connsiteY3113" fmla="*/ 2742243 h 5071335"/>
              <a:gd name="connsiteX3114" fmla="*/ 3729173 w 13768337"/>
              <a:gd name="connsiteY3114" fmla="*/ 2739317 h 5071335"/>
              <a:gd name="connsiteX3115" fmla="*/ 3726393 w 13768337"/>
              <a:gd name="connsiteY3115" fmla="*/ 2737086 h 5071335"/>
              <a:gd name="connsiteX3116" fmla="*/ 3725930 w 13768337"/>
              <a:gd name="connsiteY3116" fmla="*/ 2737086 h 5071335"/>
              <a:gd name="connsiteX3117" fmla="*/ 3721295 w 13768337"/>
              <a:gd name="connsiteY3117" fmla="*/ 2737086 h 5071335"/>
              <a:gd name="connsiteX3118" fmla="*/ 3458087 w 13768337"/>
              <a:gd name="connsiteY3118" fmla="*/ 2735693 h 5071335"/>
              <a:gd name="connsiteX3119" fmla="*/ 3440479 w 13768337"/>
              <a:gd name="connsiteY3119" fmla="*/ 2736112 h 5071335"/>
              <a:gd name="connsiteX3120" fmla="*/ 3423334 w 13768337"/>
              <a:gd name="connsiteY3120" fmla="*/ 2747957 h 5071335"/>
              <a:gd name="connsiteX3121" fmla="*/ 3425187 w 13768337"/>
              <a:gd name="connsiteY3121" fmla="*/ 2736669 h 5071335"/>
              <a:gd name="connsiteX3122" fmla="*/ 3367262 w 13768337"/>
              <a:gd name="connsiteY3122" fmla="*/ 2760917 h 5071335"/>
              <a:gd name="connsiteX3123" fmla="*/ 3459015 w 13768337"/>
              <a:gd name="connsiteY3123" fmla="*/ 2749769 h 5071335"/>
              <a:gd name="connsiteX3124" fmla="*/ 3446966 w 13768337"/>
              <a:gd name="connsiteY3124" fmla="*/ 2743498 h 5071335"/>
              <a:gd name="connsiteX3125" fmla="*/ 3458087 w 13768337"/>
              <a:gd name="connsiteY3125" fmla="*/ 2735693 h 5071335"/>
              <a:gd name="connsiteX3126" fmla="*/ 1976154 w 13768337"/>
              <a:gd name="connsiteY3126" fmla="*/ 2730536 h 5071335"/>
              <a:gd name="connsiteX3127" fmla="*/ 1994226 w 13768337"/>
              <a:gd name="connsiteY3127" fmla="*/ 2730536 h 5071335"/>
              <a:gd name="connsiteX3128" fmla="*/ 1994226 w 13768337"/>
              <a:gd name="connsiteY3128" fmla="*/ 2746981 h 5071335"/>
              <a:gd name="connsiteX3129" fmla="*/ 1976154 w 13768337"/>
              <a:gd name="connsiteY3129" fmla="*/ 2730536 h 5071335"/>
              <a:gd name="connsiteX3130" fmla="*/ 3682370 w 13768337"/>
              <a:gd name="connsiteY3130" fmla="*/ 2727192 h 5071335"/>
              <a:gd name="connsiteX3131" fmla="*/ 3681444 w 13768337"/>
              <a:gd name="connsiteY3131" fmla="*/ 2730119 h 5071335"/>
              <a:gd name="connsiteX3132" fmla="*/ 3685614 w 13768337"/>
              <a:gd name="connsiteY3132" fmla="*/ 2728167 h 5071335"/>
              <a:gd name="connsiteX3133" fmla="*/ 3682370 w 13768337"/>
              <a:gd name="connsiteY3133" fmla="*/ 2727192 h 5071335"/>
              <a:gd name="connsiteX3134" fmla="*/ 13555875 w 13768337"/>
              <a:gd name="connsiteY3134" fmla="*/ 2723494 h 5071335"/>
              <a:gd name="connsiteX3135" fmla="*/ 13572558 w 13768337"/>
              <a:gd name="connsiteY3135" fmla="*/ 2730602 h 5071335"/>
              <a:gd name="connsiteX3136" fmla="*/ 13552633 w 13768337"/>
              <a:gd name="connsiteY3136" fmla="*/ 2740357 h 5071335"/>
              <a:gd name="connsiteX3137" fmla="*/ 13555875 w 13768337"/>
              <a:gd name="connsiteY3137" fmla="*/ 2723494 h 5071335"/>
              <a:gd name="connsiteX3138" fmla="*/ 3517866 w 13768337"/>
              <a:gd name="connsiteY3138" fmla="*/ 2723011 h 5071335"/>
              <a:gd name="connsiteX3139" fmla="*/ 3491452 w 13768337"/>
              <a:gd name="connsiteY3139" fmla="*/ 2734717 h 5071335"/>
              <a:gd name="connsiteX3140" fmla="*/ 3483111 w 13768337"/>
              <a:gd name="connsiteY3140" fmla="*/ 2734717 h 5071335"/>
              <a:gd name="connsiteX3141" fmla="*/ 3483575 w 13768337"/>
              <a:gd name="connsiteY3141" fmla="*/ 2749211 h 5071335"/>
              <a:gd name="connsiteX3142" fmla="*/ 3484038 w 13768337"/>
              <a:gd name="connsiteY3142" fmla="*/ 2754786 h 5071335"/>
              <a:gd name="connsiteX3143" fmla="*/ 3515085 w 13768337"/>
              <a:gd name="connsiteY3143" fmla="*/ 2753531 h 5071335"/>
              <a:gd name="connsiteX3144" fmla="*/ 3507208 w 13768337"/>
              <a:gd name="connsiteY3144" fmla="*/ 2752416 h 5071335"/>
              <a:gd name="connsiteX3145" fmla="*/ 3539182 w 13768337"/>
              <a:gd name="connsiteY3145" fmla="*/ 2739317 h 5071335"/>
              <a:gd name="connsiteX3146" fmla="*/ 3517866 w 13768337"/>
              <a:gd name="connsiteY3146" fmla="*/ 2723011 h 5071335"/>
              <a:gd name="connsiteX3147" fmla="*/ 3670785 w 13768337"/>
              <a:gd name="connsiteY3147" fmla="*/ 2717436 h 5071335"/>
              <a:gd name="connsiteX3148" fmla="*/ 3667079 w 13768337"/>
              <a:gd name="connsiteY3148" fmla="*/ 2721199 h 5071335"/>
              <a:gd name="connsiteX3149" fmla="*/ 3662444 w 13768337"/>
              <a:gd name="connsiteY3149" fmla="*/ 2732905 h 5071335"/>
              <a:gd name="connsiteX3150" fmla="*/ 3663834 w 13768337"/>
              <a:gd name="connsiteY3150" fmla="*/ 2732905 h 5071335"/>
              <a:gd name="connsiteX3151" fmla="*/ 3667079 w 13768337"/>
              <a:gd name="connsiteY3151" fmla="*/ 2729562 h 5071335"/>
              <a:gd name="connsiteX3152" fmla="*/ 3670785 w 13768337"/>
              <a:gd name="connsiteY3152" fmla="*/ 2717436 h 5071335"/>
              <a:gd name="connsiteX3153" fmla="*/ 3547986 w 13768337"/>
              <a:gd name="connsiteY3153" fmla="*/ 2716879 h 5071335"/>
              <a:gd name="connsiteX3154" fmla="*/ 3543353 w 13768337"/>
              <a:gd name="connsiteY3154" fmla="*/ 2726914 h 5071335"/>
              <a:gd name="connsiteX3155" fmla="*/ 3545669 w 13768337"/>
              <a:gd name="connsiteY3155" fmla="*/ 2725799 h 5071335"/>
              <a:gd name="connsiteX3156" fmla="*/ 3552620 w 13768337"/>
              <a:gd name="connsiteY3156" fmla="*/ 2722175 h 5071335"/>
              <a:gd name="connsiteX3157" fmla="*/ 3547986 w 13768337"/>
              <a:gd name="connsiteY3157" fmla="*/ 2716879 h 5071335"/>
              <a:gd name="connsiteX3158" fmla="*/ 797280 w 13768337"/>
              <a:gd name="connsiteY3158" fmla="*/ 2716043 h 5071335"/>
              <a:gd name="connsiteX3159" fmla="*/ 830181 w 13768337"/>
              <a:gd name="connsiteY3159" fmla="*/ 2722454 h 5071335"/>
              <a:gd name="connsiteX3160" fmla="*/ 788938 w 13768337"/>
              <a:gd name="connsiteY3160" fmla="*/ 2722454 h 5071335"/>
              <a:gd name="connsiteX3161" fmla="*/ 797280 w 13768337"/>
              <a:gd name="connsiteY3161" fmla="*/ 2716043 h 5071335"/>
              <a:gd name="connsiteX3162" fmla="*/ 13494708 w 13768337"/>
              <a:gd name="connsiteY3162" fmla="*/ 2715689 h 5071335"/>
              <a:gd name="connsiteX3163" fmla="*/ 13502122 w 13768337"/>
              <a:gd name="connsiteY3163" fmla="*/ 2742726 h 5071335"/>
              <a:gd name="connsiteX3164" fmla="*/ 13482658 w 13768337"/>
              <a:gd name="connsiteY3164" fmla="*/ 2728232 h 5071335"/>
              <a:gd name="connsiteX3165" fmla="*/ 13494708 w 13768337"/>
              <a:gd name="connsiteY3165" fmla="*/ 2715689 h 5071335"/>
              <a:gd name="connsiteX3166" fmla="*/ 3722686 w 13768337"/>
              <a:gd name="connsiteY3166" fmla="*/ 2715625 h 5071335"/>
              <a:gd name="connsiteX3167" fmla="*/ 3720369 w 13768337"/>
              <a:gd name="connsiteY3167" fmla="*/ 2718273 h 5071335"/>
              <a:gd name="connsiteX3168" fmla="*/ 3717588 w 13768337"/>
              <a:gd name="connsiteY3168" fmla="*/ 2717436 h 5071335"/>
              <a:gd name="connsiteX3169" fmla="*/ 3717588 w 13768337"/>
              <a:gd name="connsiteY3169" fmla="*/ 2723568 h 5071335"/>
              <a:gd name="connsiteX3170" fmla="*/ 3721295 w 13768337"/>
              <a:gd name="connsiteY3170" fmla="*/ 2722175 h 5071335"/>
              <a:gd name="connsiteX3171" fmla="*/ 3721295 w 13768337"/>
              <a:gd name="connsiteY3171" fmla="*/ 2728725 h 5071335"/>
              <a:gd name="connsiteX3172" fmla="*/ 3722686 w 13768337"/>
              <a:gd name="connsiteY3172" fmla="*/ 2715625 h 5071335"/>
              <a:gd name="connsiteX3173" fmla="*/ 2684220 w 13768337"/>
              <a:gd name="connsiteY3173" fmla="*/ 2714649 h 5071335"/>
              <a:gd name="connsiteX3174" fmla="*/ 2675417 w 13768337"/>
              <a:gd name="connsiteY3174" fmla="*/ 2721199 h 5071335"/>
              <a:gd name="connsiteX3175" fmla="*/ 2677732 w 13768337"/>
              <a:gd name="connsiteY3175" fmla="*/ 2731930 h 5071335"/>
              <a:gd name="connsiteX3176" fmla="*/ 2693024 w 13768337"/>
              <a:gd name="connsiteY3176" fmla="*/ 2727192 h 5071335"/>
              <a:gd name="connsiteX3177" fmla="*/ 2692561 w 13768337"/>
              <a:gd name="connsiteY3177" fmla="*/ 2721199 h 5071335"/>
              <a:gd name="connsiteX3178" fmla="*/ 2689317 w 13768337"/>
              <a:gd name="connsiteY3178" fmla="*/ 2726356 h 5071335"/>
              <a:gd name="connsiteX3179" fmla="*/ 2684220 w 13768337"/>
              <a:gd name="connsiteY3179" fmla="*/ 2714649 h 5071335"/>
              <a:gd name="connsiteX3180" fmla="*/ 1293111 w 13768337"/>
              <a:gd name="connsiteY3180" fmla="*/ 2714649 h 5071335"/>
              <a:gd name="connsiteX3181" fmla="*/ 1284306 w 13768337"/>
              <a:gd name="connsiteY3181" fmla="*/ 2721199 h 5071335"/>
              <a:gd name="connsiteX3182" fmla="*/ 1288941 w 13768337"/>
              <a:gd name="connsiteY3182" fmla="*/ 2742243 h 5071335"/>
              <a:gd name="connsiteX3183" fmla="*/ 1301915 w 13768337"/>
              <a:gd name="connsiteY3183" fmla="*/ 2721199 h 5071335"/>
              <a:gd name="connsiteX3184" fmla="*/ 1296819 w 13768337"/>
              <a:gd name="connsiteY3184" fmla="*/ 2726356 h 5071335"/>
              <a:gd name="connsiteX3185" fmla="*/ 1293111 w 13768337"/>
              <a:gd name="connsiteY3185" fmla="*/ 2714649 h 5071335"/>
              <a:gd name="connsiteX3186" fmla="*/ 13453928 w 13768337"/>
              <a:gd name="connsiteY3186" fmla="*/ 2706771 h 5071335"/>
              <a:gd name="connsiteX3187" fmla="*/ 13488683 w 13768337"/>
              <a:gd name="connsiteY3187" fmla="*/ 2708025 h 5071335"/>
              <a:gd name="connsiteX3188" fmla="*/ 13449295 w 13768337"/>
              <a:gd name="connsiteY3188" fmla="*/ 2721682 h 5071335"/>
              <a:gd name="connsiteX3189" fmla="*/ 13453928 w 13768337"/>
              <a:gd name="connsiteY3189" fmla="*/ 2706771 h 5071335"/>
              <a:gd name="connsiteX3190" fmla="*/ 691162 w 13768337"/>
              <a:gd name="connsiteY3190" fmla="*/ 2700157 h 5071335"/>
              <a:gd name="connsiteX3191" fmla="*/ 711089 w 13768337"/>
              <a:gd name="connsiteY3191" fmla="*/ 2700157 h 5071335"/>
              <a:gd name="connsiteX3192" fmla="*/ 720820 w 13768337"/>
              <a:gd name="connsiteY3192" fmla="*/ 2709075 h 5071335"/>
              <a:gd name="connsiteX3193" fmla="*/ 691162 w 13768337"/>
              <a:gd name="connsiteY3193" fmla="*/ 2700157 h 5071335"/>
              <a:gd name="connsiteX3194" fmla="*/ 3764855 w 13768337"/>
              <a:gd name="connsiteY3194" fmla="*/ 2699599 h 5071335"/>
              <a:gd name="connsiteX3195" fmla="*/ 3763928 w 13768337"/>
              <a:gd name="connsiteY3195" fmla="*/ 2701132 h 5071335"/>
              <a:gd name="connsiteX3196" fmla="*/ 3763928 w 13768337"/>
              <a:gd name="connsiteY3196" fmla="*/ 2702525 h 5071335"/>
              <a:gd name="connsiteX3197" fmla="*/ 3766709 w 13768337"/>
              <a:gd name="connsiteY3197" fmla="*/ 2701410 h 5071335"/>
              <a:gd name="connsiteX3198" fmla="*/ 3766709 w 13768337"/>
              <a:gd name="connsiteY3198" fmla="*/ 2700157 h 5071335"/>
              <a:gd name="connsiteX3199" fmla="*/ 3764855 w 13768337"/>
              <a:gd name="connsiteY3199" fmla="*/ 2699599 h 5071335"/>
              <a:gd name="connsiteX3200" fmla="*/ 13652493 w 13768337"/>
              <a:gd name="connsiteY3200" fmla="*/ 2698652 h 5071335"/>
              <a:gd name="connsiteX3201" fmla="*/ 13655043 w 13768337"/>
              <a:gd name="connsiteY3201" fmla="*/ 2698827 h 5071335"/>
              <a:gd name="connsiteX3202" fmla="*/ 13664773 w 13768337"/>
              <a:gd name="connsiteY3202" fmla="*/ 2727814 h 5071335"/>
              <a:gd name="connsiteX3203" fmla="*/ 13649946 w 13768337"/>
              <a:gd name="connsiteY3203" fmla="*/ 2701196 h 5071335"/>
              <a:gd name="connsiteX3204" fmla="*/ 13652493 w 13768337"/>
              <a:gd name="connsiteY3204" fmla="*/ 2698652 h 5071335"/>
              <a:gd name="connsiteX3205" fmla="*/ 3752806 w 13768337"/>
              <a:gd name="connsiteY3205" fmla="*/ 2698206 h 5071335"/>
              <a:gd name="connsiteX3206" fmla="*/ 3754196 w 13768337"/>
              <a:gd name="connsiteY3206" fmla="*/ 2702525 h 5071335"/>
              <a:gd name="connsiteX3207" fmla="*/ 3756050 w 13768337"/>
              <a:gd name="connsiteY3207" fmla="*/ 2701968 h 5071335"/>
              <a:gd name="connsiteX3208" fmla="*/ 3756977 w 13768337"/>
              <a:gd name="connsiteY3208" fmla="*/ 2698763 h 5071335"/>
              <a:gd name="connsiteX3209" fmla="*/ 3752806 w 13768337"/>
              <a:gd name="connsiteY3209" fmla="*/ 2698206 h 5071335"/>
              <a:gd name="connsiteX3210" fmla="*/ 3218513 w 13768337"/>
              <a:gd name="connsiteY3210" fmla="*/ 2697787 h 5071335"/>
              <a:gd name="connsiteX3211" fmla="*/ 3212490 w 13768337"/>
              <a:gd name="connsiteY3211" fmla="*/ 2699599 h 5071335"/>
              <a:gd name="connsiteX3212" fmla="*/ 3211562 w 13768337"/>
              <a:gd name="connsiteY3212" fmla="*/ 2701968 h 5071335"/>
              <a:gd name="connsiteX3213" fmla="*/ 3218513 w 13768337"/>
              <a:gd name="connsiteY3213" fmla="*/ 2697787 h 5071335"/>
              <a:gd name="connsiteX3214" fmla="*/ 1104973 w 13768337"/>
              <a:gd name="connsiteY3214" fmla="*/ 2697787 h 5071335"/>
              <a:gd name="connsiteX3215" fmla="*/ 1098022 w 13768337"/>
              <a:gd name="connsiteY3215" fmla="*/ 2698206 h 5071335"/>
              <a:gd name="connsiteX3216" fmla="*/ 1096633 w 13768337"/>
              <a:gd name="connsiteY3216" fmla="*/ 2707124 h 5071335"/>
              <a:gd name="connsiteX3217" fmla="*/ 1104046 w 13768337"/>
              <a:gd name="connsiteY3217" fmla="*/ 2721199 h 5071335"/>
              <a:gd name="connsiteX3218" fmla="*/ 1104973 w 13768337"/>
              <a:gd name="connsiteY3218" fmla="*/ 2697787 h 5071335"/>
              <a:gd name="connsiteX3219" fmla="*/ 3683760 w 13768337"/>
              <a:gd name="connsiteY3219" fmla="*/ 2697230 h 5071335"/>
              <a:gd name="connsiteX3220" fmla="*/ 3655957 w 13768337"/>
              <a:gd name="connsiteY3220" fmla="*/ 2697787 h 5071335"/>
              <a:gd name="connsiteX3221" fmla="*/ 3655957 w 13768337"/>
              <a:gd name="connsiteY3221" fmla="*/ 2699599 h 5071335"/>
              <a:gd name="connsiteX3222" fmla="*/ 3676810 w 13768337"/>
              <a:gd name="connsiteY3222" fmla="*/ 2701132 h 5071335"/>
              <a:gd name="connsiteX3223" fmla="*/ 3675420 w 13768337"/>
              <a:gd name="connsiteY3223" fmla="*/ 2710051 h 5071335"/>
              <a:gd name="connsiteX3224" fmla="*/ 3683760 w 13768337"/>
              <a:gd name="connsiteY3224" fmla="*/ 2697230 h 5071335"/>
              <a:gd name="connsiteX3225" fmla="*/ 3712028 w 13768337"/>
              <a:gd name="connsiteY3225" fmla="*/ 2696394 h 5071335"/>
              <a:gd name="connsiteX3226" fmla="*/ 3699980 w 13768337"/>
              <a:gd name="connsiteY3226" fmla="*/ 2696952 h 5071335"/>
              <a:gd name="connsiteX3227" fmla="*/ 3694419 w 13768337"/>
              <a:gd name="connsiteY3227" fmla="*/ 2704755 h 5071335"/>
              <a:gd name="connsiteX3228" fmla="*/ 3700907 w 13768337"/>
              <a:gd name="connsiteY3228" fmla="*/ 2720364 h 5071335"/>
              <a:gd name="connsiteX3229" fmla="*/ 3716199 w 13768337"/>
              <a:gd name="connsiteY3229" fmla="*/ 2715068 h 5071335"/>
              <a:gd name="connsiteX3230" fmla="*/ 3706467 w 13768337"/>
              <a:gd name="connsiteY3230" fmla="*/ 2704336 h 5071335"/>
              <a:gd name="connsiteX3231" fmla="*/ 3712028 w 13768337"/>
              <a:gd name="connsiteY3231" fmla="*/ 2696394 h 5071335"/>
              <a:gd name="connsiteX3232" fmla="*/ 1122119 w 13768337"/>
              <a:gd name="connsiteY3232" fmla="*/ 2696394 h 5071335"/>
              <a:gd name="connsiteX3233" fmla="*/ 1118412 w 13768337"/>
              <a:gd name="connsiteY3233" fmla="*/ 2696952 h 5071335"/>
              <a:gd name="connsiteX3234" fmla="*/ 1123046 w 13768337"/>
              <a:gd name="connsiteY3234" fmla="*/ 2721199 h 5071335"/>
              <a:gd name="connsiteX3235" fmla="*/ 1155020 w 13768337"/>
              <a:gd name="connsiteY3235" fmla="*/ 2704755 h 5071335"/>
              <a:gd name="connsiteX3236" fmla="*/ 1145751 w 13768337"/>
              <a:gd name="connsiteY3236" fmla="*/ 2699599 h 5071335"/>
              <a:gd name="connsiteX3237" fmla="*/ 1145288 w 13768337"/>
              <a:gd name="connsiteY3237" fmla="*/ 2699599 h 5071335"/>
              <a:gd name="connsiteX3238" fmla="*/ 1122119 w 13768337"/>
              <a:gd name="connsiteY3238" fmla="*/ 2696394 h 5071335"/>
              <a:gd name="connsiteX3239" fmla="*/ 4095717 w 13768337"/>
              <a:gd name="connsiteY3239" fmla="*/ 2696254 h 5071335"/>
              <a:gd name="connsiteX3240" fmla="*/ 4088304 w 13768337"/>
              <a:gd name="connsiteY3240" fmla="*/ 2697787 h 5071335"/>
              <a:gd name="connsiteX3241" fmla="*/ 4089694 w 13768337"/>
              <a:gd name="connsiteY3241" fmla="*/ 2698763 h 5071335"/>
              <a:gd name="connsiteX3242" fmla="*/ 4095717 w 13768337"/>
              <a:gd name="connsiteY3242" fmla="*/ 2696254 h 5071335"/>
              <a:gd name="connsiteX3243" fmla="*/ 4102205 w 13768337"/>
              <a:gd name="connsiteY3243" fmla="*/ 2692630 h 5071335"/>
              <a:gd name="connsiteX3244" fmla="*/ 4096182 w 13768337"/>
              <a:gd name="connsiteY3244" fmla="*/ 2695976 h 5071335"/>
              <a:gd name="connsiteX3245" fmla="*/ 4102669 w 13768337"/>
              <a:gd name="connsiteY3245" fmla="*/ 2693049 h 5071335"/>
              <a:gd name="connsiteX3246" fmla="*/ 4102205 w 13768337"/>
              <a:gd name="connsiteY3246" fmla="*/ 2692630 h 5071335"/>
              <a:gd name="connsiteX3247" fmla="*/ 3191636 w 13768337"/>
              <a:gd name="connsiteY3247" fmla="*/ 2690402 h 5071335"/>
              <a:gd name="connsiteX3248" fmla="*/ 3185612 w 13768337"/>
              <a:gd name="connsiteY3248" fmla="*/ 2694025 h 5071335"/>
              <a:gd name="connsiteX3249" fmla="*/ 3206002 w 13768337"/>
              <a:gd name="connsiteY3249" fmla="*/ 2699599 h 5071335"/>
              <a:gd name="connsiteX3250" fmla="*/ 3212490 w 13768337"/>
              <a:gd name="connsiteY3250" fmla="*/ 2695418 h 5071335"/>
              <a:gd name="connsiteX3251" fmla="*/ 3191636 w 13768337"/>
              <a:gd name="connsiteY3251" fmla="*/ 2690402 h 5071335"/>
              <a:gd name="connsiteX3252" fmla="*/ 3140664 w 13768337"/>
              <a:gd name="connsiteY3252" fmla="*/ 2689007 h 5071335"/>
              <a:gd name="connsiteX3253" fmla="*/ 3126762 w 13768337"/>
              <a:gd name="connsiteY3253" fmla="*/ 2694025 h 5071335"/>
              <a:gd name="connsiteX3254" fmla="*/ 3148541 w 13768337"/>
              <a:gd name="connsiteY3254" fmla="*/ 2694025 h 5071335"/>
              <a:gd name="connsiteX3255" fmla="*/ 3140664 w 13768337"/>
              <a:gd name="connsiteY3255" fmla="*/ 2689007 h 5071335"/>
              <a:gd name="connsiteX3256" fmla="*/ 3230750 w 13768337"/>
              <a:gd name="connsiteY3256" fmla="*/ 2688222 h 5071335"/>
              <a:gd name="connsiteX3257" fmla="*/ 3230562 w 13768337"/>
              <a:gd name="connsiteY3257" fmla="*/ 2688450 h 5071335"/>
              <a:gd name="connsiteX3258" fmla="*/ 3231694 w 13768337"/>
              <a:gd name="connsiteY3258" fmla="*/ 2688483 h 5071335"/>
              <a:gd name="connsiteX3259" fmla="*/ 1041952 w 13768337"/>
              <a:gd name="connsiteY3259" fmla="*/ 2688032 h 5071335"/>
              <a:gd name="connsiteX3260" fmla="*/ 1051219 w 13768337"/>
              <a:gd name="connsiteY3260" fmla="*/ 2708518 h 5071335"/>
              <a:gd name="connsiteX3261" fmla="*/ 1027123 w 13768337"/>
              <a:gd name="connsiteY3261" fmla="*/ 2692630 h 5071335"/>
              <a:gd name="connsiteX3262" fmla="*/ 1041952 w 13768337"/>
              <a:gd name="connsiteY3262" fmla="*/ 2688032 h 5071335"/>
              <a:gd name="connsiteX3263" fmla="*/ 13483586 w 13768337"/>
              <a:gd name="connsiteY3263" fmla="*/ 2686145 h 5071335"/>
              <a:gd name="connsiteX3264" fmla="*/ 13498415 w 13768337"/>
              <a:gd name="connsiteY3264" fmla="*/ 2707189 h 5071335"/>
              <a:gd name="connsiteX3265" fmla="*/ 13483586 w 13768337"/>
              <a:gd name="connsiteY3265" fmla="*/ 2686145 h 5071335"/>
              <a:gd name="connsiteX3266" fmla="*/ 2124903 w 13768337"/>
              <a:gd name="connsiteY3266" fmla="*/ 2680924 h 5071335"/>
              <a:gd name="connsiteX3267" fmla="*/ 2167999 w 13768337"/>
              <a:gd name="connsiteY3267" fmla="*/ 2696952 h 5071335"/>
              <a:gd name="connsiteX3268" fmla="*/ 2165681 w 13768337"/>
              <a:gd name="connsiteY3268" fmla="*/ 2683990 h 5071335"/>
              <a:gd name="connsiteX3269" fmla="*/ 2166145 w 13768337"/>
              <a:gd name="connsiteY3269" fmla="*/ 2691237 h 5071335"/>
              <a:gd name="connsiteX3270" fmla="*/ 2124903 w 13768337"/>
              <a:gd name="connsiteY3270" fmla="*/ 2680924 h 5071335"/>
              <a:gd name="connsiteX3271" fmla="*/ 1884866 w 13768337"/>
              <a:gd name="connsiteY3271" fmla="*/ 2679531 h 5071335"/>
              <a:gd name="connsiteX3272" fmla="*/ 1905255 w 13768337"/>
              <a:gd name="connsiteY3272" fmla="*/ 2680366 h 5071335"/>
              <a:gd name="connsiteX3273" fmla="*/ 1875597 w 13768337"/>
              <a:gd name="connsiteY3273" fmla="*/ 2694581 h 5071335"/>
              <a:gd name="connsiteX3274" fmla="*/ 1884866 w 13768337"/>
              <a:gd name="connsiteY3274" fmla="*/ 2679531 h 5071335"/>
              <a:gd name="connsiteX3275" fmla="*/ 3194440 w 13768337"/>
              <a:gd name="connsiteY3275" fmla="*/ 2678207 h 5071335"/>
              <a:gd name="connsiteX3276" fmla="*/ 3191636 w 13768337"/>
              <a:gd name="connsiteY3276" fmla="*/ 2679531 h 5071335"/>
              <a:gd name="connsiteX3277" fmla="*/ 3199241 w 13768337"/>
              <a:gd name="connsiteY3277" fmla="*/ 2679531 h 5071335"/>
              <a:gd name="connsiteX3278" fmla="*/ 2797752 w 13768337"/>
              <a:gd name="connsiteY3278" fmla="*/ 2677999 h 5071335"/>
              <a:gd name="connsiteX3279" fmla="*/ 2799606 w 13768337"/>
              <a:gd name="connsiteY3279" fmla="*/ 2679531 h 5071335"/>
              <a:gd name="connsiteX3280" fmla="*/ 2799606 w 13768337"/>
              <a:gd name="connsiteY3280" fmla="*/ 2677999 h 5071335"/>
              <a:gd name="connsiteX3281" fmla="*/ 2797752 w 13768337"/>
              <a:gd name="connsiteY3281" fmla="*/ 2677999 h 5071335"/>
              <a:gd name="connsiteX3282" fmla="*/ 3063739 w 13768337"/>
              <a:gd name="connsiteY3282" fmla="*/ 2675350 h 5071335"/>
              <a:gd name="connsiteX3283" fmla="*/ 3063739 w 13768337"/>
              <a:gd name="connsiteY3283" fmla="*/ 2675908 h 5071335"/>
              <a:gd name="connsiteX3284" fmla="*/ 3066983 w 13768337"/>
              <a:gd name="connsiteY3284" fmla="*/ 2675350 h 5071335"/>
              <a:gd name="connsiteX3285" fmla="*/ 3063739 w 13768337"/>
              <a:gd name="connsiteY3285" fmla="*/ 2675350 h 5071335"/>
              <a:gd name="connsiteX3286" fmla="*/ 3171069 w 13768337"/>
              <a:gd name="connsiteY3286" fmla="*/ 2674889 h 5071335"/>
              <a:gd name="connsiteX3287" fmla="*/ 3166253 w 13768337"/>
              <a:gd name="connsiteY3287" fmla="*/ 2676036 h 5071335"/>
              <a:gd name="connsiteX3288" fmla="*/ 3165513 w 13768337"/>
              <a:gd name="connsiteY3288" fmla="*/ 2679130 h 5071335"/>
              <a:gd name="connsiteX3289" fmla="*/ 3150395 w 13768337"/>
              <a:gd name="connsiteY3289" fmla="*/ 2694025 h 5071335"/>
              <a:gd name="connsiteX3290" fmla="*/ 3171248 w 13768337"/>
              <a:gd name="connsiteY3290" fmla="*/ 2694025 h 5071335"/>
              <a:gd name="connsiteX3291" fmla="*/ 3175880 w 13768337"/>
              <a:gd name="connsiteY3291" fmla="*/ 2689007 h 5071335"/>
              <a:gd name="connsiteX3292" fmla="*/ 3166613 w 13768337"/>
              <a:gd name="connsiteY3292" fmla="*/ 2690402 h 5071335"/>
              <a:gd name="connsiteX3293" fmla="*/ 3179125 w 13768337"/>
              <a:gd name="connsiteY3293" fmla="*/ 2681899 h 5071335"/>
              <a:gd name="connsiteX3294" fmla="*/ 3179562 w 13768337"/>
              <a:gd name="connsiteY3294" fmla="*/ 2676022 h 5071335"/>
              <a:gd name="connsiteX3295" fmla="*/ 4231493 w 13768337"/>
              <a:gd name="connsiteY3295" fmla="*/ 2674792 h 5071335"/>
              <a:gd name="connsiteX3296" fmla="*/ 4220835 w 13768337"/>
              <a:gd name="connsiteY3296" fmla="*/ 2675908 h 5071335"/>
              <a:gd name="connsiteX3297" fmla="*/ 4225004 w 13768337"/>
              <a:gd name="connsiteY3297" fmla="*/ 2680366 h 5071335"/>
              <a:gd name="connsiteX3298" fmla="*/ 4231493 w 13768337"/>
              <a:gd name="connsiteY3298" fmla="*/ 2674792 h 5071335"/>
              <a:gd name="connsiteX3299" fmla="*/ 4252809 w 13768337"/>
              <a:gd name="connsiteY3299" fmla="*/ 2672981 h 5071335"/>
              <a:gd name="connsiteX3300" fmla="*/ 4243541 w 13768337"/>
              <a:gd name="connsiteY3300" fmla="*/ 2673816 h 5071335"/>
              <a:gd name="connsiteX3301" fmla="*/ 4253273 w 13768337"/>
              <a:gd name="connsiteY3301" fmla="*/ 2674375 h 5071335"/>
              <a:gd name="connsiteX3302" fmla="*/ 4252809 w 13768337"/>
              <a:gd name="connsiteY3302" fmla="*/ 2672981 h 5071335"/>
              <a:gd name="connsiteX3303" fmla="*/ 3263307 w 13768337"/>
              <a:gd name="connsiteY3303" fmla="*/ 2668501 h 5071335"/>
              <a:gd name="connsiteX3304" fmla="*/ 3259291 w 13768337"/>
              <a:gd name="connsiteY3304" fmla="*/ 2669036 h 5071335"/>
              <a:gd name="connsiteX3305" fmla="*/ 3259291 w 13768337"/>
              <a:gd name="connsiteY3305" fmla="*/ 2673816 h 5071335"/>
              <a:gd name="connsiteX3306" fmla="*/ 3237483 w 13768337"/>
              <a:gd name="connsiteY3306" fmla="*/ 2677658 h 5071335"/>
              <a:gd name="connsiteX3307" fmla="*/ 3240079 w 13768337"/>
              <a:gd name="connsiteY3307" fmla="*/ 2688719 h 5071335"/>
              <a:gd name="connsiteX3308" fmla="*/ 3295553 w 13768337"/>
              <a:gd name="connsiteY3308" fmla="*/ 2690280 h 5071335"/>
              <a:gd name="connsiteX3309" fmla="*/ 3361238 w 13768337"/>
              <a:gd name="connsiteY3309" fmla="*/ 2677999 h 5071335"/>
              <a:gd name="connsiteX3310" fmla="*/ 3354460 w 13768337"/>
              <a:gd name="connsiteY3310" fmla="*/ 2674222 h 5071335"/>
              <a:gd name="connsiteX3311" fmla="*/ 3353249 w 13768337"/>
              <a:gd name="connsiteY3311" fmla="*/ 2674819 h 5071335"/>
              <a:gd name="connsiteX3312" fmla="*/ 3268403 w 13768337"/>
              <a:gd name="connsiteY3312" fmla="*/ 2688988 h 5071335"/>
              <a:gd name="connsiteX3313" fmla="*/ 3263307 w 13768337"/>
              <a:gd name="connsiteY3313" fmla="*/ 2668501 h 5071335"/>
              <a:gd name="connsiteX3314" fmla="*/ 3391705 w 13768337"/>
              <a:gd name="connsiteY3314" fmla="*/ 2667897 h 5071335"/>
              <a:gd name="connsiteX3315" fmla="*/ 3386726 w 13768337"/>
              <a:gd name="connsiteY3315" fmla="*/ 2669636 h 5071335"/>
              <a:gd name="connsiteX3316" fmla="*/ 3391757 w 13768337"/>
              <a:gd name="connsiteY3316" fmla="*/ 2668123 h 5071335"/>
              <a:gd name="connsiteX3317" fmla="*/ 833424 w 13768337"/>
              <a:gd name="connsiteY3317" fmla="*/ 2666988 h 5071335"/>
              <a:gd name="connsiteX3318" fmla="*/ 838522 w 13768337"/>
              <a:gd name="connsiteY3318" fmla="*/ 2688032 h 5071335"/>
              <a:gd name="connsiteX3319" fmla="*/ 809791 w 13768337"/>
              <a:gd name="connsiteY3319" fmla="*/ 2682457 h 5071335"/>
              <a:gd name="connsiteX3320" fmla="*/ 830181 w 13768337"/>
              <a:gd name="connsiteY3320" fmla="*/ 2677162 h 5071335"/>
              <a:gd name="connsiteX3321" fmla="*/ 833424 w 13768337"/>
              <a:gd name="connsiteY3321" fmla="*/ 2666988 h 5071335"/>
              <a:gd name="connsiteX3322" fmla="*/ 3076715 w 13768337"/>
              <a:gd name="connsiteY3322" fmla="*/ 2666431 h 5071335"/>
              <a:gd name="connsiteX3323" fmla="*/ 3075324 w 13768337"/>
              <a:gd name="connsiteY3323" fmla="*/ 2668800 h 5071335"/>
              <a:gd name="connsiteX3324" fmla="*/ 3074398 w 13768337"/>
              <a:gd name="connsiteY3324" fmla="*/ 2666988 h 5071335"/>
              <a:gd name="connsiteX3325" fmla="*/ 3073007 w 13768337"/>
              <a:gd name="connsiteY3325" fmla="*/ 2673816 h 5071335"/>
              <a:gd name="connsiteX3326" fmla="*/ 3084592 w 13768337"/>
              <a:gd name="connsiteY3326" fmla="*/ 2667825 h 5071335"/>
              <a:gd name="connsiteX3327" fmla="*/ 3076715 w 13768337"/>
              <a:gd name="connsiteY3327" fmla="*/ 2666431 h 5071335"/>
              <a:gd name="connsiteX3328" fmla="*/ 3861704 w 13768337"/>
              <a:gd name="connsiteY3328" fmla="*/ 2663783 h 5071335"/>
              <a:gd name="connsiteX3329" fmla="*/ 3853362 w 13768337"/>
              <a:gd name="connsiteY3329" fmla="*/ 2665595 h 5071335"/>
              <a:gd name="connsiteX3330" fmla="*/ 3853362 w 13768337"/>
              <a:gd name="connsiteY3330" fmla="*/ 2672005 h 5071335"/>
              <a:gd name="connsiteX3331" fmla="*/ 3866802 w 13768337"/>
              <a:gd name="connsiteY3331" fmla="*/ 2675908 h 5071335"/>
              <a:gd name="connsiteX3332" fmla="*/ 3868657 w 13768337"/>
              <a:gd name="connsiteY3332" fmla="*/ 2670192 h 5071335"/>
              <a:gd name="connsiteX3333" fmla="*/ 3861704 w 13768337"/>
              <a:gd name="connsiteY3333" fmla="*/ 2663783 h 5071335"/>
              <a:gd name="connsiteX3334" fmla="*/ 4400632 w 13768337"/>
              <a:gd name="connsiteY3334" fmla="*/ 2662250 h 5071335"/>
              <a:gd name="connsiteX3335" fmla="*/ 4358462 w 13768337"/>
              <a:gd name="connsiteY3335" fmla="*/ 2670611 h 5071335"/>
              <a:gd name="connsiteX3336" fmla="*/ 4331122 w 13768337"/>
              <a:gd name="connsiteY3336" fmla="*/ 2678555 h 5071335"/>
              <a:gd name="connsiteX3337" fmla="*/ 4330196 w 13768337"/>
              <a:gd name="connsiteY3337" fmla="*/ 2685663 h 5071335"/>
              <a:gd name="connsiteX3338" fmla="*/ 4335293 w 13768337"/>
              <a:gd name="connsiteY3338" fmla="*/ 2685105 h 5071335"/>
              <a:gd name="connsiteX3339" fmla="*/ 4335756 w 13768337"/>
              <a:gd name="connsiteY3339" fmla="*/ 2678555 h 5071335"/>
              <a:gd name="connsiteX3340" fmla="*/ 4360780 w 13768337"/>
              <a:gd name="connsiteY3340" fmla="*/ 2683293 h 5071335"/>
              <a:gd name="connsiteX3341" fmla="*/ 4369121 w 13768337"/>
              <a:gd name="connsiteY3341" fmla="*/ 2681481 h 5071335"/>
              <a:gd name="connsiteX3342" fmla="*/ 4370974 w 13768337"/>
              <a:gd name="connsiteY3342" fmla="*/ 2675908 h 5071335"/>
              <a:gd name="connsiteX3343" fmla="*/ 4391364 w 13768337"/>
              <a:gd name="connsiteY3343" fmla="*/ 2680366 h 5071335"/>
              <a:gd name="connsiteX3344" fmla="*/ 4397851 w 13768337"/>
              <a:gd name="connsiteY3344" fmla="*/ 2671587 h 5071335"/>
              <a:gd name="connsiteX3345" fmla="*/ 4413607 w 13768337"/>
              <a:gd name="connsiteY3345" fmla="*/ 2676743 h 5071335"/>
              <a:gd name="connsiteX3346" fmla="*/ 4418703 w 13768337"/>
              <a:gd name="connsiteY3346" fmla="*/ 2672563 h 5071335"/>
              <a:gd name="connsiteX3347" fmla="*/ 4400632 w 13768337"/>
              <a:gd name="connsiteY3347" fmla="*/ 2662250 h 5071335"/>
              <a:gd name="connsiteX3348" fmla="*/ 681431 w 13768337"/>
              <a:gd name="connsiteY3348" fmla="*/ 2661414 h 5071335"/>
              <a:gd name="connsiteX3349" fmla="*/ 775037 w 13768337"/>
              <a:gd name="connsiteY3349" fmla="*/ 2682736 h 5071335"/>
              <a:gd name="connsiteX3350" fmla="*/ 656871 w 13768337"/>
              <a:gd name="connsiteY3350" fmla="*/ 2672563 h 5071335"/>
              <a:gd name="connsiteX3351" fmla="*/ 681431 w 13768337"/>
              <a:gd name="connsiteY3351" fmla="*/ 2661414 h 5071335"/>
              <a:gd name="connsiteX3352" fmla="*/ 3142361 w 13768337"/>
              <a:gd name="connsiteY3352" fmla="*/ 2661395 h 5071335"/>
              <a:gd name="connsiteX3353" fmla="*/ 3112645 w 13768337"/>
              <a:gd name="connsiteY3353" fmla="*/ 2666708 h 5071335"/>
              <a:gd name="connsiteX3354" fmla="*/ 3093621 w 13768337"/>
              <a:gd name="connsiteY3354" fmla="*/ 2667251 h 5071335"/>
              <a:gd name="connsiteX3355" fmla="*/ 3088299 w 13768337"/>
              <a:gd name="connsiteY3355" fmla="*/ 2673816 h 5071335"/>
              <a:gd name="connsiteX3356" fmla="*/ 3130816 w 13768337"/>
              <a:gd name="connsiteY3356" fmla="*/ 2679305 h 5071335"/>
              <a:gd name="connsiteX3357" fmla="*/ 3147932 w 13768337"/>
              <a:gd name="connsiteY3357" fmla="*/ 2673738 h 5071335"/>
              <a:gd name="connsiteX3358" fmla="*/ 3146879 w 13768337"/>
              <a:gd name="connsiteY3358" fmla="*/ 2668903 h 5071335"/>
              <a:gd name="connsiteX3359" fmla="*/ 3142361 w 13768337"/>
              <a:gd name="connsiteY3359" fmla="*/ 2661395 h 5071335"/>
              <a:gd name="connsiteX3360" fmla="*/ 2050297 w 13768337"/>
              <a:gd name="connsiteY3360" fmla="*/ 2656676 h 5071335"/>
              <a:gd name="connsiteX3361" fmla="*/ 2054468 w 13768337"/>
              <a:gd name="connsiteY3361" fmla="*/ 2662250 h 5071335"/>
              <a:gd name="connsiteX3362" fmla="*/ 2054931 w 13768337"/>
              <a:gd name="connsiteY3362" fmla="*/ 2656676 h 5071335"/>
              <a:gd name="connsiteX3363" fmla="*/ 2050297 w 13768337"/>
              <a:gd name="connsiteY3363" fmla="*/ 2656676 h 5071335"/>
              <a:gd name="connsiteX3364" fmla="*/ 756500 w 13768337"/>
              <a:gd name="connsiteY3364" fmla="*/ 2652495 h 5071335"/>
              <a:gd name="connsiteX3365" fmla="*/ 800060 w 13768337"/>
              <a:gd name="connsiteY3365" fmla="*/ 2677719 h 5071335"/>
              <a:gd name="connsiteX3366" fmla="*/ 740283 w 13768337"/>
              <a:gd name="connsiteY3366" fmla="*/ 2656118 h 5071335"/>
              <a:gd name="connsiteX3367" fmla="*/ 756500 w 13768337"/>
              <a:gd name="connsiteY3367" fmla="*/ 2652495 h 5071335"/>
              <a:gd name="connsiteX3368" fmla="*/ 4244468 w 13768337"/>
              <a:gd name="connsiteY3368" fmla="*/ 2651519 h 5071335"/>
              <a:gd name="connsiteX3369" fmla="*/ 4213420 w 13768337"/>
              <a:gd name="connsiteY3369" fmla="*/ 2660298 h 5071335"/>
              <a:gd name="connsiteX3370" fmla="*/ 4216201 w 13768337"/>
              <a:gd name="connsiteY3370" fmla="*/ 2666988 h 5071335"/>
              <a:gd name="connsiteX3371" fmla="*/ 4243077 w 13768337"/>
              <a:gd name="connsiteY3371" fmla="*/ 2665037 h 5071335"/>
              <a:gd name="connsiteX3372" fmla="*/ 4244468 w 13768337"/>
              <a:gd name="connsiteY3372" fmla="*/ 2651519 h 5071335"/>
              <a:gd name="connsiteX3373" fmla="*/ 3966431 w 13768337"/>
              <a:gd name="connsiteY3373" fmla="*/ 2651519 h 5071335"/>
              <a:gd name="connsiteX3374" fmla="*/ 3960871 w 13768337"/>
              <a:gd name="connsiteY3374" fmla="*/ 2654307 h 5071335"/>
              <a:gd name="connsiteX3375" fmla="*/ 3967357 w 13768337"/>
              <a:gd name="connsiteY3375" fmla="*/ 2654865 h 5071335"/>
              <a:gd name="connsiteX3376" fmla="*/ 3966431 w 13768337"/>
              <a:gd name="connsiteY3376" fmla="*/ 2651519 h 5071335"/>
              <a:gd name="connsiteX3377" fmla="*/ 4022965 w 13768337"/>
              <a:gd name="connsiteY3377" fmla="*/ 2650404 h 5071335"/>
              <a:gd name="connsiteX3378" fmla="*/ 4021111 w 13768337"/>
              <a:gd name="connsiteY3378" fmla="*/ 2665595 h 5071335"/>
              <a:gd name="connsiteX3379" fmla="*/ 4029453 w 13768337"/>
              <a:gd name="connsiteY3379" fmla="*/ 2661693 h 5071335"/>
              <a:gd name="connsiteX3380" fmla="*/ 4022965 w 13768337"/>
              <a:gd name="connsiteY3380" fmla="*/ 2650404 h 5071335"/>
              <a:gd name="connsiteX3381" fmla="*/ 13768109 w 13768337"/>
              <a:gd name="connsiteY3381" fmla="*/ 2648657 h 5071335"/>
              <a:gd name="connsiteX3382" fmla="*/ 13750501 w 13768337"/>
              <a:gd name="connsiteY3382" fmla="*/ 2665519 h 5071335"/>
              <a:gd name="connsiteX3383" fmla="*/ 13768109 w 13768337"/>
              <a:gd name="connsiteY3383" fmla="*/ 2648657 h 5071335"/>
              <a:gd name="connsiteX3384" fmla="*/ 3927971 w 13768337"/>
              <a:gd name="connsiteY3384" fmla="*/ 2648175 h 5071335"/>
              <a:gd name="connsiteX3385" fmla="*/ 3925189 w 13768337"/>
              <a:gd name="connsiteY3385" fmla="*/ 2648592 h 5071335"/>
              <a:gd name="connsiteX3386" fmla="*/ 3927971 w 13768337"/>
              <a:gd name="connsiteY3386" fmla="*/ 2650125 h 5071335"/>
              <a:gd name="connsiteX3387" fmla="*/ 2183756 w 13768337"/>
              <a:gd name="connsiteY3387" fmla="*/ 2647199 h 5071335"/>
              <a:gd name="connsiteX3388" fmla="*/ 2183756 w 13768337"/>
              <a:gd name="connsiteY3388" fmla="*/ 2648592 h 5071335"/>
              <a:gd name="connsiteX3389" fmla="*/ 2185145 w 13768337"/>
              <a:gd name="connsiteY3389" fmla="*/ 2647199 h 5071335"/>
              <a:gd name="connsiteX3390" fmla="*/ 2183756 w 13768337"/>
              <a:gd name="connsiteY3390" fmla="*/ 2647199 h 5071335"/>
              <a:gd name="connsiteX3391" fmla="*/ 4155496 w 13768337"/>
              <a:gd name="connsiteY3391" fmla="*/ 2645945 h 5071335"/>
              <a:gd name="connsiteX3392" fmla="*/ 4143448 w 13768337"/>
              <a:gd name="connsiteY3392" fmla="*/ 2664062 h 5071335"/>
              <a:gd name="connsiteX3393" fmla="*/ 4150400 w 13768337"/>
              <a:gd name="connsiteY3393" fmla="*/ 2659881 h 5071335"/>
              <a:gd name="connsiteX3394" fmla="*/ 4155496 w 13768337"/>
              <a:gd name="connsiteY3394" fmla="*/ 2645945 h 5071335"/>
              <a:gd name="connsiteX3395" fmla="*/ 3060959 w 13768337"/>
              <a:gd name="connsiteY3395" fmla="*/ 2645945 h 5071335"/>
              <a:gd name="connsiteX3396" fmla="*/ 3062582 w 13768337"/>
              <a:gd name="connsiteY3396" fmla="*/ 2646467 h 5071335"/>
              <a:gd name="connsiteX3397" fmla="*/ 3062644 w 13768337"/>
              <a:gd name="connsiteY3397" fmla="*/ 2646324 h 5071335"/>
              <a:gd name="connsiteX3398" fmla="*/ 3062813 w 13768337"/>
              <a:gd name="connsiteY3398" fmla="*/ 2646363 h 5071335"/>
              <a:gd name="connsiteX3399" fmla="*/ 3062813 w 13768337"/>
              <a:gd name="connsiteY3399" fmla="*/ 2645945 h 5071335"/>
              <a:gd name="connsiteX3400" fmla="*/ 3062644 w 13768337"/>
              <a:gd name="connsiteY3400" fmla="*/ 2646324 h 5071335"/>
              <a:gd name="connsiteX3401" fmla="*/ 4056793 w 13768337"/>
              <a:gd name="connsiteY3401" fmla="*/ 2643994 h 5071335"/>
              <a:gd name="connsiteX3402" fmla="*/ 4028526 w 13768337"/>
              <a:gd name="connsiteY3402" fmla="*/ 2672981 h 5071335"/>
              <a:gd name="connsiteX3403" fmla="*/ 4038720 w 13768337"/>
              <a:gd name="connsiteY3403" fmla="*/ 2672981 h 5071335"/>
              <a:gd name="connsiteX3404" fmla="*/ 4038720 w 13768337"/>
              <a:gd name="connsiteY3404" fmla="*/ 2665595 h 5071335"/>
              <a:gd name="connsiteX3405" fmla="*/ 4067451 w 13768337"/>
              <a:gd name="connsiteY3405" fmla="*/ 2662250 h 5071335"/>
              <a:gd name="connsiteX3406" fmla="*/ 4056793 w 13768337"/>
              <a:gd name="connsiteY3406" fmla="*/ 2643994 h 5071335"/>
              <a:gd name="connsiteX3407" fmla="*/ 4254199 w 13768337"/>
              <a:gd name="connsiteY3407" fmla="*/ 2643576 h 5071335"/>
              <a:gd name="connsiteX3408" fmla="*/ 4246321 w 13768337"/>
              <a:gd name="connsiteY3408" fmla="*/ 2650125 h 5071335"/>
              <a:gd name="connsiteX3409" fmla="*/ 4263004 w 13768337"/>
              <a:gd name="connsiteY3409" fmla="*/ 2653749 h 5071335"/>
              <a:gd name="connsiteX3410" fmla="*/ 4254199 w 13768337"/>
              <a:gd name="connsiteY3410" fmla="*/ 2643576 h 5071335"/>
              <a:gd name="connsiteX3411" fmla="*/ 13565144 w 13768337"/>
              <a:gd name="connsiteY3411" fmla="*/ 2643222 h 5071335"/>
              <a:gd name="connsiteX3412" fmla="*/ 13568388 w 13768337"/>
              <a:gd name="connsiteY3412" fmla="*/ 2644476 h 5071335"/>
              <a:gd name="connsiteX3413" fmla="*/ 13577192 w 13768337"/>
              <a:gd name="connsiteY3413" fmla="*/ 2646705 h 5071335"/>
              <a:gd name="connsiteX3414" fmla="*/ 13575803 w 13768337"/>
              <a:gd name="connsiteY3414" fmla="*/ 2669700 h 5071335"/>
              <a:gd name="connsiteX3415" fmla="*/ 13559582 w 13768337"/>
              <a:gd name="connsiteY3415" fmla="*/ 2659387 h 5071335"/>
              <a:gd name="connsiteX3416" fmla="*/ 13562826 w 13768337"/>
              <a:gd name="connsiteY3416" fmla="*/ 2647821 h 5071335"/>
              <a:gd name="connsiteX3417" fmla="*/ 13565144 w 13768337"/>
              <a:gd name="connsiteY3417" fmla="*/ 2643222 h 5071335"/>
              <a:gd name="connsiteX3418" fmla="*/ 2014152 w 13768337"/>
              <a:gd name="connsiteY3418" fmla="*/ 2642600 h 5071335"/>
              <a:gd name="connsiteX3419" fmla="*/ 2017859 w 13768337"/>
              <a:gd name="connsiteY3419" fmla="*/ 2647199 h 5071335"/>
              <a:gd name="connsiteX3420" fmla="*/ 2017859 w 13768337"/>
              <a:gd name="connsiteY3420" fmla="*/ 2643018 h 5071335"/>
              <a:gd name="connsiteX3421" fmla="*/ 2014152 w 13768337"/>
              <a:gd name="connsiteY3421" fmla="*/ 2642600 h 5071335"/>
              <a:gd name="connsiteX3422" fmla="*/ 3991917 w 13768337"/>
              <a:gd name="connsiteY3422" fmla="*/ 2642182 h 5071335"/>
              <a:gd name="connsiteX3423" fmla="*/ 3967823 w 13768337"/>
              <a:gd name="connsiteY3423" fmla="*/ 2650962 h 5071335"/>
              <a:gd name="connsiteX3424" fmla="*/ 3984041 w 13768337"/>
              <a:gd name="connsiteY3424" fmla="*/ 2655142 h 5071335"/>
              <a:gd name="connsiteX3425" fmla="*/ 3994235 w 13768337"/>
              <a:gd name="connsiteY3425" fmla="*/ 2655700 h 5071335"/>
              <a:gd name="connsiteX3426" fmla="*/ 3991917 w 13768337"/>
              <a:gd name="connsiteY3426" fmla="*/ 2642182 h 5071335"/>
              <a:gd name="connsiteX3427" fmla="*/ 2009056 w 13768337"/>
              <a:gd name="connsiteY3427" fmla="*/ 2642182 h 5071335"/>
              <a:gd name="connsiteX3428" fmla="*/ 2001641 w 13768337"/>
              <a:gd name="connsiteY3428" fmla="*/ 2645945 h 5071335"/>
              <a:gd name="connsiteX3429" fmla="*/ 2003957 w 13768337"/>
              <a:gd name="connsiteY3429" fmla="*/ 2650962 h 5071335"/>
              <a:gd name="connsiteX3430" fmla="*/ 2009983 w 13768337"/>
              <a:gd name="connsiteY3430" fmla="*/ 2661693 h 5071335"/>
              <a:gd name="connsiteX3431" fmla="*/ 2013226 w 13768337"/>
              <a:gd name="connsiteY3431" fmla="*/ 2663226 h 5071335"/>
              <a:gd name="connsiteX3432" fmla="*/ 2009983 w 13768337"/>
              <a:gd name="connsiteY3432" fmla="*/ 2673816 h 5071335"/>
              <a:gd name="connsiteX3433" fmla="*/ 2000250 w 13768337"/>
              <a:gd name="connsiteY3433" fmla="*/ 2673816 h 5071335"/>
              <a:gd name="connsiteX3434" fmla="*/ 1997006 w 13768337"/>
              <a:gd name="connsiteY3434" fmla="*/ 2667406 h 5071335"/>
              <a:gd name="connsiteX3435" fmla="*/ 1990519 w 13768337"/>
              <a:gd name="connsiteY3435" fmla="*/ 2675350 h 5071335"/>
              <a:gd name="connsiteX3436" fmla="*/ 2017859 w 13768337"/>
              <a:gd name="connsiteY3436" fmla="*/ 2706149 h 5071335"/>
              <a:gd name="connsiteX3437" fmla="*/ 2041492 w 13768337"/>
              <a:gd name="connsiteY3437" fmla="*/ 2701132 h 5071335"/>
              <a:gd name="connsiteX3438" fmla="*/ 2036859 w 13768337"/>
              <a:gd name="connsiteY3438" fmla="*/ 2680924 h 5071335"/>
              <a:gd name="connsiteX3439" fmla="*/ 2053541 w 13768337"/>
              <a:gd name="connsiteY3439" fmla="*/ 2664062 h 5071335"/>
              <a:gd name="connsiteX3440" fmla="*/ 2017859 w 13768337"/>
              <a:gd name="connsiteY3440" fmla="*/ 2668800 h 5071335"/>
              <a:gd name="connsiteX3441" fmla="*/ 2019714 w 13768337"/>
              <a:gd name="connsiteY3441" fmla="*/ 2660298 h 5071335"/>
              <a:gd name="connsiteX3442" fmla="*/ 2016469 w 13768337"/>
              <a:gd name="connsiteY3442" fmla="*/ 2652495 h 5071335"/>
              <a:gd name="connsiteX3443" fmla="*/ 2013689 w 13768337"/>
              <a:gd name="connsiteY3443" fmla="*/ 2642600 h 5071335"/>
              <a:gd name="connsiteX3444" fmla="*/ 2009056 w 13768337"/>
              <a:gd name="connsiteY3444" fmla="*/ 2642182 h 5071335"/>
              <a:gd name="connsiteX3445" fmla="*/ 13581362 w 13768337"/>
              <a:gd name="connsiteY3445" fmla="*/ 2640714 h 5071335"/>
              <a:gd name="connsiteX3446" fmla="*/ 13594337 w 13768337"/>
              <a:gd name="connsiteY3446" fmla="*/ 2647821 h 5071335"/>
              <a:gd name="connsiteX3447" fmla="*/ 13592482 w 13768337"/>
              <a:gd name="connsiteY3447" fmla="*/ 2669700 h 5071335"/>
              <a:gd name="connsiteX3448" fmla="*/ 13581362 w 13768337"/>
              <a:gd name="connsiteY3448" fmla="*/ 2640714 h 5071335"/>
              <a:gd name="connsiteX3449" fmla="*/ 2769079 w 13768337"/>
              <a:gd name="connsiteY3449" fmla="*/ 2638551 h 5071335"/>
              <a:gd name="connsiteX3450" fmla="*/ 2763775 w 13768337"/>
              <a:gd name="connsiteY3450" fmla="*/ 2639430 h 5071335"/>
              <a:gd name="connsiteX3451" fmla="*/ 2744498 w 13768337"/>
              <a:gd name="connsiteY3451" fmla="*/ 2646658 h 5071335"/>
              <a:gd name="connsiteX3452" fmla="*/ 2748632 w 13768337"/>
              <a:gd name="connsiteY3452" fmla="*/ 2652495 h 5071335"/>
              <a:gd name="connsiteX3453" fmla="*/ 2763925 w 13768337"/>
              <a:gd name="connsiteY3453" fmla="*/ 2643680 h 5071335"/>
              <a:gd name="connsiteX3454" fmla="*/ 4093401 w 13768337"/>
              <a:gd name="connsiteY3454" fmla="*/ 2638279 h 5071335"/>
              <a:gd name="connsiteX3455" fmla="*/ 4091548 w 13768337"/>
              <a:gd name="connsiteY3455" fmla="*/ 2642182 h 5071335"/>
              <a:gd name="connsiteX3456" fmla="*/ 4093401 w 13768337"/>
              <a:gd name="connsiteY3456" fmla="*/ 2642600 h 5071335"/>
              <a:gd name="connsiteX3457" fmla="*/ 4095717 w 13768337"/>
              <a:gd name="connsiteY3457" fmla="*/ 2639255 h 5071335"/>
              <a:gd name="connsiteX3458" fmla="*/ 4093401 w 13768337"/>
              <a:gd name="connsiteY3458" fmla="*/ 2638279 h 5071335"/>
              <a:gd name="connsiteX3459" fmla="*/ 1995153 w 13768337"/>
              <a:gd name="connsiteY3459" fmla="*/ 2638001 h 5071335"/>
              <a:gd name="connsiteX3460" fmla="*/ 1978008 w 13768337"/>
              <a:gd name="connsiteY3460" fmla="*/ 2653749 h 5071335"/>
              <a:gd name="connsiteX3461" fmla="*/ 1985886 w 13768337"/>
              <a:gd name="connsiteY3461" fmla="*/ 2653749 h 5071335"/>
              <a:gd name="connsiteX3462" fmla="*/ 1990519 w 13768337"/>
              <a:gd name="connsiteY3462" fmla="*/ 2641625 h 5071335"/>
              <a:gd name="connsiteX3463" fmla="*/ 1995153 w 13768337"/>
              <a:gd name="connsiteY3463" fmla="*/ 2641625 h 5071335"/>
              <a:gd name="connsiteX3464" fmla="*/ 1995153 w 13768337"/>
              <a:gd name="connsiteY3464" fmla="*/ 2638001 h 5071335"/>
              <a:gd name="connsiteX3465" fmla="*/ 3037633 w 13768337"/>
              <a:gd name="connsiteY3465" fmla="*/ 2637982 h 5071335"/>
              <a:gd name="connsiteX3466" fmla="*/ 3031119 w 13768337"/>
              <a:gd name="connsiteY3466" fmla="*/ 2641732 h 5071335"/>
              <a:gd name="connsiteX3467" fmla="*/ 3042424 w 13768337"/>
              <a:gd name="connsiteY3467" fmla="*/ 2644552 h 5071335"/>
              <a:gd name="connsiteX3468" fmla="*/ 3043944 w 13768337"/>
              <a:gd name="connsiteY3468" fmla="*/ 2639144 h 5071335"/>
              <a:gd name="connsiteX3469" fmla="*/ 4115180 w 13768337"/>
              <a:gd name="connsiteY3469" fmla="*/ 2637444 h 5071335"/>
              <a:gd name="connsiteX3470" fmla="*/ 4117497 w 13768337"/>
              <a:gd name="connsiteY3470" fmla="*/ 2646363 h 5071335"/>
              <a:gd name="connsiteX3471" fmla="*/ 4123985 w 13768337"/>
              <a:gd name="connsiteY3471" fmla="*/ 2643018 h 5071335"/>
              <a:gd name="connsiteX3472" fmla="*/ 4115180 w 13768337"/>
              <a:gd name="connsiteY3472" fmla="*/ 2637444 h 5071335"/>
              <a:gd name="connsiteX3473" fmla="*/ 3083509 w 13768337"/>
              <a:gd name="connsiteY3473" fmla="*/ 2632826 h 5071335"/>
              <a:gd name="connsiteX3474" fmla="*/ 3077449 w 13768337"/>
              <a:gd name="connsiteY3474" fmla="*/ 2635039 h 5071335"/>
              <a:gd name="connsiteX3475" fmla="*/ 3077121 w 13768337"/>
              <a:gd name="connsiteY3475" fmla="*/ 2635496 h 5071335"/>
              <a:gd name="connsiteX3476" fmla="*/ 3077949 w 13768337"/>
              <a:gd name="connsiteY3476" fmla="*/ 2637982 h 5071335"/>
              <a:gd name="connsiteX3477" fmla="*/ 3085362 w 13768337"/>
              <a:gd name="connsiteY3477" fmla="*/ 2636171 h 5071335"/>
              <a:gd name="connsiteX3478" fmla="*/ 3083509 w 13768337"/>
              <a:gd name="connsiteY3478" fmla="*/ 2632826 h 5071335"/>
              <a:gd name="connsiteX3479" fmla="*/ 2994074 w 13768337"/>
              <a:gd name="connsiteY3479" fmla="*/ 2632407 h 5071335"/>
              <a:gd name="connsiteX3480" fmla="*/ 2984859 w 13768337"/>
              <a:gd name="connsiteY3480" fmla="*/ 2633054 h 5071335"/>
              <a:gd name="connsiteX3481" fmla="*/ 2985600 w 13768337"/>
              <a:gd name="connsiteY3481" fmla="*/ 2635179 h 5071335"/>
              <a:gd name="connsiteX3482" fmla="*/ 2984739 w 13768337"/>
              <a:gd name="connsiteY3482" fmla="*/ 2637344 h 5071335"/>
              <a:gd name="connsiteX3483" fmla="*/ 2988166 w 13768337"/>
              <a:gd name="connsiteY3483" fmla="*/ 2640316 h 5071335"/>
              <a:gd name="connsiteX3484" fmla="*/ 2996540 w 13768337"/>
              <a:gd name="connsiteY3484" fmla="*/ 2640341 h 5071335"/>
              <a:gd name="connsiteX3485" fmla="*/ 2999792 w 13768337"/>
              <a:gd name="connsiteY3485" fmla="*/ 2639813 h 5071335"/>
              <a:gd name="connsiteX3486" fmla="*/ 3004609 w 13768337"/>
              <a:gd name="connsiteY3486" fmla="*/ 2637494 h 5071335"/>
              <a:gd name="connsiteX3487" fmla="*/ 3207896 w 13768337"/>
              <a:gd name="connsiteY3487" fmla="*/ 2630561 h 5071335"/>
              <a:gd name="connsiteX3488" fmla="*/ 3193797 w 13768337"/>
              <a:gd name="connsiteY3488" fmla="*/ 2636727 h 5071335"/>
              <a:gd name="connsiteX3489" fmla="*/ 3193681 w 13768337"/>
              <a:gd name="connsiteY3489" fmla="*/ 2641936 h 5071335"/>
              <a:gd name="connsiteX3490" fmla="*/ 3188362 w 13768337"/>
              <a:gd name="connsiteY3490" fmla="*/ 2650388 h 5071335"/>
              <a:gd name="connsiteX3491" fmla="*/ 3188857 w 13768337"/>
              <a:gd name="connsiteY3491" fmla="*/ 2650962 h 5071335"/>
              <a:gd name="connsiteX3492" fmla="*/ 3189824 w 13768337"/>
              <a:gd name="connsiteY3492" fmla="*/ 2650718 h 5071335"/>
              <a:gd name="connsiteX3493" fmla="*/ 3206310 w 13768337"/>
              <a:gd name="connsiteY3493" fmla="*/ 2641937 h 5071335"/>
              <a:gd name="connsiteX3494" fmla="*/ 3211647 w 13768337"/>
              <a:gd name="connsiteY3494" fmla="*/ 2641077 h 5071335"/>
              <a:gd name="connsiteX3495" fmla="*/ 3202758 w 13768337"/>
              <a:gd name="connsiteY3495" fmla="*/ 2636468 h 5071335"/>
              <a:gd name="connsiteX3496" fmla="*/ 700430 w 13768337"/>
              <a:gd name="connsiteY3496" fmla="*/ 2629361 h 5071335"/>
              <a:gd name="connsiteX3497" fmla="*/ 705991 w 13768337"/>
              <a:gd name="connsiteY3497" fmla="*/ 2650125 h 5071335"/>
              <a:gd name="connsiteX3498" fmla="*/ 661505 w 13768337"/>
              <a:gd name="connsiteY3498" fmla="*/ 2645945 h 5071335"/>
              <a:gd name="connsiteX3499" fmla="*/ 700430 w 13768337"/>
              <a:gd name="connsiteY3499" fmla="*/ 2629361 h 5071335"/>
              <a:gd name="connsiteX3500" fmla="*/ 740283 w 13768337"/>
              <a:gd name="connsiteY3500" fmla="*/ 2629082 h 5071335"/>
              <a:gd name="connsiteX3501" fmla="*/ 757428 w 13768337"/>
              <a:gd name="connsiteY3501" fmla="*/ 2634656 h 5071335"/>
              <a:gd name="connsiteX3502" fmla="*/ 725453 w 13768337"/>
              <a:gd name="connsiteY3502" fmla="*/ 2654307 h 5071335"/>
              <a:gd name="connsiteX3503" fmla="*/ 725453 w 13768337"/>
              <a:gd name="connsiteY3503" fmla="*/ 2639813 h 5071335"/>
              <a:gd name="connsiteX3504" fmla="*/ 740283 w 13768337"/>
              <a:gd name="connsiteY3504" fmla="*/ 2629082 h 5071335"/>
              <a:gd name="connsiteX3505" fmla="*/ 2923638 w 13768337"/>
              <a:gd name="connsiteY3505" fmla="*/ 2626414 h 5071335"/>
              <a:gd name="connsiteX3506" fmla="*/ 2848569 w 13768337"/>
              <a:gd name="connsiteY3506" fmla="*/ 2632407 h 5071335"/>
              <a:gd name="connsiteX3507" fmla="*/ 2839301 w 13768337"/>
              <a:gd name="connsiteY3507" fmla="*/ 2647877 h 5071335"/>
              <a:gd name="connsiteX3508" fmla="*/ 2788154 w 13768337"/>
              <a:gd name="connsiteY3508" fmla="*/ 2635387 h 5071335"/>
              <a:gd name="connsiteX3509" fmla="*/ 2773381 w 13768337"/>
              <a:gd name="connsiteY3509" fmla="*/ 2637837 h 5071335"/>
              <a:gd name="connsiteX3510" fmla="*/ 2780606 w 13768337"/>
              <a:gd name="connsiteY3510" fmla="*/ 2638001 h 5071335"/>
              <a:gd name="connsiteX3511" fmla="*/ 2767631 w 13768337"/>
              <a:gd name="connsiteY3511" fmla="*/ 2658070 h 5071335"/>
              <a:gd name="connsiteX3512" fmla="*/ 2783851 w 13768337"/>
              <a:gd name="connsiteY3512" fmla="*/ 2665873 h 5071335"/>
              <a:gd name="connsiteX3513" fmla="*/ 2802849 w 13768337"/>
              <a:gd name="connsiteY3513" fmla="*/ 2665873 h 5071335"/>
              <a:gd name="connsiteX3514" fmla="*/ 2804239 w 13768337"/>
              <a:gd name="connsiteY3514" fmla="*/ 2659323 h 5071335"/>
              <a:gd name="connsiteX3515" fmla="*/ 2789874 w 13768337"/>
              <a:gd name="connsiteY3515" fmla="*/ 2650962 h 5071335"/>
              <a:gd name="connsiteX3516" fmla="*/ 2813507 w 13768337"/>
              <a:gd name="connsiteY3516" fmla="*/ 2645945 h 5071335"/>
              <a:gd name="connsiteX3517" fmla="*/ 2813507 w 13768337"/>
              <a:gd name="connsiteY3517" fmla="*/ 2652495 h 5071335"/>
              <a:gd name="connsiteX3518" fmla="*/ 2831580 w 13768337"/>
              <a:gd name="connsiteY3518" fmla="*/ 2658070 h 5071335"/>
              <a:gd name="connsiteX3519" fmla="*/ 2831580 w 13768337"/>
              <a:gd name="connsiteY3519" fmla="*/ 2665873 h 5071335"/>
              <a:gd name="connsiteX3520" fmla="*/ 2858456 w 13768337"/>
              <a:gd name="connsiteY3520" fmla="*/ 2668800 h 5071335"/>
              <a:gd name="connsiteX3521" fmla="*/ 2904796 w 13768337"/>
              <a:gd name="connsiteY3521" fmla="*/ 2687474 h 5071335"/>
              <a:gd name="connsiteX3522" fmla="*/ 2799606 w 13768337"/>
              <a:gd name="connsiteY3522" fmla="*/ 2703500 h 5071335"/>
              <a:gd name="connsiteX3523" fmla="*/ 2808873 w 13768337"/>
              <a:gd name="connsiteY3523" fmla="*/ 2690402 h 5071335"/>
              <a:gd name="connsiteX3524" fmla="*/ 2706926 w 13768337"/>
              <a:gd name="connsiteY3524" fmla="*/ 2715625 h 5071335"/>
              <a:gd name="connsiteX3525" fmla="*/ 2716196 w 13768337"/>
              <a:gd name="connsiteY3525" fmla="*/ 2704755 h 5071335"/>
              <a:gd name="connsiteX3526" fmla="*/ 2702294 w 13768337"/>
              <a:gd name="connsiteY3526" fmla="*/ 2715625 h 5071335"/>
              <a:gd name="connsiteX3527" fmla="*/ 2710170 w 13768337"/>
              <a:gd name="connsiteY3527" fmla="*/ 2721618 h 5071335"/>
              <a:gd name="connsiteX3528" fmla="*/ 2711561 w 13768337"/>
              <a:gd name="connsiteY3528" fmla="*/ 2721199 h 5071335"/>
              <a:gd name="connsiteX3529" fmla="*/ 2711561 w 13768337"/>
              <a:gd name="connsiteY3529" fmla="*/ 2721618 h 5071335"/>
              <a:gd name="connsiteX3530" fmla="*/ 2716196 w 13768337"/>
              <a:gd name="connsiteY3530" fmla="*/ 2731930 h 5071335"/>
              <a:gd name="connsiteX3531" fmla="*/ 2709244 w 13768337"/>
              <a:gd name="connsiteY3531" fmla="*/ 2729562 h 5071335"/>
              <a:gd name="connsiteX3532" fmla="*/ 2706000 w 13768337"/>
              <a:gd name="connsiteY3532" fmla="*/ 2740849 h 5071335"/>
              <a:gd name="connsiteX3533" fmla="*/ 2721292 w 13768337"/>
              <a:gd name="connsiteY3533" fmla="*/ 2737086 h 5071335"/>
              <a:gd name="connsiteX3534" fmla="*/ 2753266 w 13768337"/>
              <a:gd name="connsiteY3534" fmla="*/ 2726356 h 5071335"/>
              <a:gd name="connsiteX3535" fmla="*/ 2731023 w 13768337"/>
              <a:gd name="connsiteY3535" fmla="*/ 2737086 h 5071335"/>
              <a:gd name="connsiteX3536" fmla="*/ 2765778 w 13768337"/>
              <a:gd name="connsiteY3536" fmla="*/ 2739874 h 5071335"/>
              <a:gd name="connsiteX3537" fmla="*/ 2770875 w 13768337"/>
              <a:gd name="connsiteY3537" fmla="*/ 2738480 h 5071335"/>
              <a:gd name="connsiteX3538" fmla="*/ 2767631 w 13768337"/>
              <a:gd name="connsiteY3538" fmla="*/ 2710329 h 5071335"/>
              <a:gd name="connsiteX3539" fmla="*/ 2748632 w 13768337"/>
              <a:gd name="connsiteY3539" fmla="*/ 2715625 h 5071335"/>
              <a:gd name="connsiteX3540" fmla="*/ 2770875 w 13768337"/>
              <a:gd name="connsiteY3540" fmla="*/ 2699599 h 5071335"/>
              <a:gd name="connsiteX3541" fmla="*/ 2770875 w 13768337"/>
              <a:gd name="connsiteY3541" fmla="*/ 2726356 h 5071335"/>
              <a:gd name="connsiteX3542" fmla="*/ 2872821 w 13768337"/>
              <a:gd name="connsiteY3542" fmla="*/ 2704755 h 5071335"/>
              <a:gd name="connsiteX3543" fmla="*/ 2886723 w 13768337"/>
              <a:gd name="connsiteY3543" fmla="*/ 2748793 h 5071335"/>
              <a:gd name="connsiteX3544" fmla="*/ 2890430 w 13768337"/>
              <a:gd name="connsiteY3544" fmla="*/ 2748236 h 5071335"/>
              <a:gd name="connsiteX3545" fmla="*/ 2899698 w 13768337"/>
              <a:gd name="connsiteY3545" fmla="*/ 2745030 h 5071335"/>
              <a:gd name="connsiteX3546" fmla="*/ 2895064 w 13768337"/>
              <a:gd name="connsiteY3546" fmla="*/ 2724823 h 5071335"/>
              <a:gd name="connsiteX3547" fmla="*/ 2902943 w 13768337"/>
              <a:gd name="connsiteY3547" fmla="*/ 2724823 h 5071335"/>
              <a:gd name="connsiteX3548" fmla="*/ 2885797 w 13768337"/>
              <a:gd name="connsiteY3548" fmla="*/ 2715625 h 5071335"/>
              <a:gd name="connsiteX3549" fmla="*/ 2918697 w 13768337"/>
              <a:gd name="connsiteY3549" fmla="*/ 2710329 h 5071335"/>
              <a:gd name="connsiteX3550" fmla="*/ 2918697 w 13768337"/>
              <a:gd name="connsiteY3550" fmla="*/ 2731930 h 5071335"/>
              <a:gd name="connsiteX3551" fmla="*/ 2909893 w 13768337"/>
              <a:gd name="connsiteY3551" fmla="*/ 2729282 h 5071335"/>
              <a:gd name="connsiteX3552" fmla="*/ 2903869 w 13768337"/>
              <a:gd name="connsiteY3552" fmla="*/ 2745867 h 5071335"/>
              <a:gd name="connsiteX3553" fmla="*/ 2927039 w 13768337"/>
              <a:gd name="connsiteY3553" fmla="*/ 2741686 h 5071335"/>
              <a:gd name="connsiteX3554" fmla="*/ 2940476 w 13768337"/>
              <a:gd name="connsiteY3554" fmla="*/ 2739317 h 5071335"/>
              <a:gd name="connsiteX3555" fmla="*/ 2947429 w 13768337"/>
              <a:gd name="connsiteY3555" fmla="*/ 2738062 h 5071335"/>
              <a:gd name="connsiteX3556" fmla="*/ 2946037 w 13768337"/>
              <a:gd name="connsiteY3556" fmla="*/ 2726356 h 5071335"/>
              <a:gd name="connsiteX3557" fmla="*/ 2961329 w 13768337"/>
              <a:gd name="connsiteY3557" fmla="*/ 2735693 h 5071335"/>
              <a:gd name="connsiteX3558" fmla="*/ 3054009 w 13768337"/>
              <a:gd name="connsiteY3558" fmla="*/ 2719249 h 5071335"/>
              <a:gd name="connsiteX3559" fmla="*/ 3034083 w 13768337"/>
              <a:gd name="connsiteY3559" fmla="*/ 2710329 h 5071335"/>
              <a:gd name="connsiteX3560" fmla="*/ 3075324 w 13768337"/>
              <a:gd name="connsiteY3560" fmla="*/ 2701968 h 5071335"/>
              <a:gd name="connsiteX3561" fmla="*/ 3092933 w 13768337"/>
              <a:gd name="connsiteY3561" fmla="*/ 2695418 h 5071335"/>
              <a:gd name="connsiteX3562" fmla="*/ 3046595 w 13768337"/>
              <a:gd name="connsiteY3562" fmla="*/ 2679531 h 5071335"/>
              <a:gd name="connsiteX3563" fmla="*/ 3058180 w 13768337"/>
              <a:gd name="connsiteY3563" fmla="*/ 2677162 h 5071335"/>
              <a:gd name="connsiteX3564" fmla="*/ 3065130 w 13768337"/>
              <a:gd name="connsiteY3564" fmla="*/ 2665873 h 5071335"/>
              <a:gd name="connsiteX3565" fmla="*/ 3034546 w 13768337"/>
              <a:gd name="connsiteY3565" fmla="*/ 2662250 h 5071335"/>
              <a:gd name="connsiteX3566" fmla="*/ 3029449 w 13768337"/>
              <a:gd name="connsiteY3566" fmla="*/ 2672563 h 5071335"/>
              <a:gd name="connsiteX3567" fmla="*/ 3009986 w 13768337"/>
              <a:gd name="connsiteY3567" fmla="*/ 2672563 h 5071335"/>
              <a:gd name="connsiteX3568" fmla="*/ 3008596 w 13768337"/>
              <a:gd name="connsiteY3568" fmla="*/ 2667406 h 5071335"/>
              <a:gd name="connsiteX3569" fmla="*/ 2955768 w 13768337"/>
              <a:gd name="connsiteY3569" fmla="*/ 2670192 h 5071335"/>
              <a:gd name="connsiteX3570" fmla="*/ 2946501 w 13768337"/>
              <a:gd name="connsiteY3570" fmla="*/ 2680366 h 5071335"/>
              <a:gd name="connsiteX3571" fmla="*/ 2908097 w 13768337"/>
              <a:gd name="connsiteY3571" fmla="*/ 2670368 h 5071335"/>
              <a:gd name="connsiteX3572" fmla="*/ 2904961 w 13768337"/>
              <a:gd name="connsiteY3572" fmla="*/ 2670721 h 5071335"/>
              <a:gd name="connsiteX3573" fmla="*/ 2903712 w 13768337"/>
              <a:gd name="connsiteY3573" fmla="*/ 2676445 h 5071335"/>
              <a:gd name="connsiteX3574" fmla="*/ 2896429 w 13768337"/>
              <a:gd name="connsiteY3574" fmla="*/ 2671940 h 5071335"/>
              <a:gd name="connsiteX3575" fmla="*/ 2896258 w 13768337"/>
              <a:gd name="connsiteY3575" fmla="*/ 2671701 h 5071335"/>
              <a:gd name="connsiteX3576" fmla="*/ 2885442 w 13768337"/>
              <a:gd name="connsiteY3576" fmla="*/ 2672920 h 5071335"/>
              <a:gd name="connsiteX3577" fmla="*/ 2868651 w 13768337"/>
              <a:gd name="connsiteY3577" fmla="*/ 2670192 h 5071335"/>
              <a:gd name="connsiteX3578" fmla="*/ 2890313 w 13768337"/>
              <a:gd name="connsiteY3578" fmla="*/ 2661806 h 5071335"/>
              <a:gd name="connsiteX3579" fmla="*/ 2887958 w 13768337"/>
              <a:gd name="connsiteY3579" fmla="*/ 2646483 h 5071335"/>
              <a:gd name="connsiteX3580" fmla="*/ 2947735 w 13768337"/>
              <a:gd name="connsiteY3580" fmla="*/ 2640908 h 5071335"/>
              <a:gd name="connsiteX3581" fmla="*/ 2945418 w 13768337"/>
              <a:gd name="connsiteY3581" fmla="*/ 2641187 h 5071335"/>
              <a:gd name="connsiteX3582" fmla="*/ 2944028 w 13768337"/>
              <a:gd name="connsiteY3582" fmla="*/ 2636171 h 5071335"/>
              <a:gd name="connsiteX3583" fmla="*/ 2923638 w 13768337"/>
              <a:gd name="connsiteY3583" fmla="*/ 2626414 h 5071335"/>
              <a:gd name="connsiteX3584" fmla="*/ 4350121 w 13768337"/>
              <a:gd name="connsiteY3584" fmla="*/ 2624901 h 5071335"/>
              <a:gd name="connsiteX3585" fmla="*/ 4335293 w 13768337"/>
              <a:gd name="connsiteY3585" fmla="*/ 2626712 h 5071335"/>
              <a:gd name="connsiteX3586" fmla="*/ 4343635 w 13768337"/>
              <a:gd name="connsiteY3586" fmla="*/ 2637025 h 5071335"/>
              <a:gd name="connsiteX3587" fmla="*/ 4352901 w 13768337"/>
              <a:gd name="connsiteY3587" fmla="*/ 2627549 h 5071335"/>
              <a:gd name="connsiteX3588" fmla="*/ 4350121 w 13768337"/>
              <a:gd name="connsiteY3588" fmla="*/ 2624901 h 5071335"/>
              <a:gd name="connsiteX3589" fmla="*/ 4093401 w 13768337"/>
              <a:gd name="connsiteY3589" fmla="*/ 2624901 h 5071335"/>
              <a:gd name="connsiteX3590" fmla="*/ 4087378 w 13768337"/>
              <a:gd name="connsiteY3590" fmla="*/ 2626712 h 5071335"/>
              <a:gd name="connsiteX3591" fmla="*/ 4096645 w 13768337"/>
              <a:gd name="connsiteY3591" fmla="*/ 2627549 h 5071335"/>
              <a:gd name="connsiteX3592" fmla="*/ 4093401 w 13768337"/>
              <a:gd name="connsiteY3592" fmla="*/ 2624901 h 5071335"/>
              <a:gd name="connsiteX3593" fmla="*/ 4105041 w 13768337"/>
              <a:gd name="connsiteY3593" fmla="*/ 2623739 h 5071335"/>
              <a:gd name="connsiteX3594" fmla="*/ 4103595 w 13768337"/>
              <a:gd name="connsiteY3594" fmla="*/ 2625737 h 5071335"/>
              <a:gd name="connsiteX3595" fmla="*/ 4104522 w 13768337"/>
              <a:gd name="connsiteY3595" fmla="*/ 2625737 h 5071335"/>
              <a:gd name="connsiteX3596" fmla="*/ 4105675 w 13768337"/>
              <a:gd name="connsiteY3596" fmla="*/ 2623744 h 5071335"/>
              <a:gd name="connsiteX3597" fmla="*/ 825547 w 13768337"/>
              <a:gd name="connsiteY3597" fmla="*/ 2620581 h 5071335"/>
              <a:gd name="connsiteX3598" fmla="*/ 846863 w 13768337"/>
              <a:gd name="connsiteY3598" fmla="*/ 2635911 h 5071335"/>
              <a:gd name="connsiteX3599" fmla="*/ 903860 w 13768337"/>
              <a:gd name="connsiteY3599" fmla="*/ 2630894 h 5071335"/>
              <a:gd name="connsiteX3600" fmla="*/ 882081 w 13768337"/>
              <a:gd name="connsiteY3600" fmla="*/ 2625737 h 5071335"/>
              <a:gd name="connsiteX3601" fmla="*/ 877910 w 13768337"/>
              <a:gd name="connsiteY3601" fmla="*/ 2646781 h 5071335"/>
              <a:gd name="connsiteX3602" fmla="*/ 794963 w 13768337"/>
              <a:gd name="connsiteY3602" fmla="*/ 2630894 h 5071335"/>
              <a:gd name="connsiteX3603" fmla="*/ 825547 w 13768337"/>
              <a:gd name="connsiteY3603" fmla="*/ 2620581 h 5071335"/>
              <a:gd name="connsiteX3604" fmla="*/ 13464586 w 13768337"/>
              <a:gd name="connsiteY3604" fmla="*/ 2618276 h 5071335"/>
              <a:gd name="connsiteX3605" fmla="*/ 13482197 w 13768337"/>
              <a:gd name="connsiteY3605" fmla="*/ 2637508 h 5071335"/>
              <a:gd name="connsiteX3606" fmla="*/ 13485439 w 13768337"/>
              <a:gd name="connsiteY3606" fmla="*/ 2633328 h 5071335"/>
              <a:gd name="connsiteX3607" fmla="*/ 13473854 w 13768337"/>
              <a:gd name="connsiteY3607" fmla="*/ 2618276 h 5071335"/>
              <a:gd name="connsiteX3608" fmla="*/ 13526218 w 13768337"/>
              <a:gd name="connsiteY3608" fmla="*/ 2637508 h 5071335"/>
              <a:gd name="connsiteX3609" fmla="*/ 13538729 w 13768337"/>
              <a:gd name="connsiteY3609" fmla="*/ 2619670 h 5071335"/>
              <a:gd name="connsiteX3610" fmla="*/ 13538729 w 13768337"/>
              <a:gd name="connsiteY3610" fmla="*/ 2623850 h 5071335"/>
              <a:gd name="connsiteX3611" fmla="*/ 13556340 w 13768337"/>
              <a:gd name="connsiteY3611" fmla="*/ 2638902 h 5071335"/>
              <a:gd name="connsiteX3612" fmla="*/ 13557730 w 13768337"/>
              <a:gd name="connsiteY3612" fmla="*/ 2663290 h 5071335"/>
              <a:gd name="connsiteX3613" fmla="*/ 13545219 w 13768337"/>
              <a:gd name="connsiteY3613" fmla="*/ 2685169 h 5071335"/>
              <a:gd name="connsiteX3614" fmla="*/ 13529463 w 13768337"/>
              <a:gd name="connsiteY3614" fmla="*/ 2674439 h 5071335"/>
              <a:gd name="connsiteX3615" fmla="*/ 13522974 w 13768337"/>
              <a:gd name="connsiteY3615" fmla="*/ 2686563 h 5071335"/>
              <a:gd name="connsiteX3616" fmla="*/ 13528071 w 13768337"/>
              <a:gd name="connsiteY3616" fmla="*/ 2696458 h 5071335"/>
              <a:gd name="connsiteX3617" fmla="*/ 13444197 w 13768337"/>
              <a:gd name="connsiteY3617" fmla="*/ 2657994 h 5071335"/>
              <a:gd name="connsiteX3618" fmla="*/ 13467831 w 13768337"/>
              <a:gd name="connsiteY3618" fmla="*/ 2655206 h 5071335"/>
              <a:gd name="connsiteX3619" fmla="*/ 13450684 w 13768337"/>
              <a:gd name="connsiteY3619" fmla="*/ 2648099 h 5071335"/>
              <a:gd name="connsiteX3620" fmla="*/ 13476172 w 13768337"/>
              <a:gd name="connsiteY3620" fmla="*/ 2643082 h 5071335"/>
              <a:gd name="connsiteX3621" fmla="*/ 13448831 w 13768337"/>
              <a:gd name="connsiteY3621" fmla="*/ 2628032 h 5071335"/>
              <a:gd name="connsiteX3622" fmla="*/ 13464586 w 13768337"/>
              <a:gd name="connsiteY3622" fmla="*/ 2618276 h 5071335"/>
              <a:gd name="connsiteX3623" fmla="*/ 982637 w 13768337"/>
              <a:gd name="connsiteY3623" fmla="*/ 2618211 h 5071335"/>
              <a:gd name="connsiteX3624" fmla="*/ 982637 w 13768337"/>
              <a:gd name="connsiteY3624" fmla="*/ 2635911 h 5071335"/>
              <a:gd name="connsiteX3625" fmla="*/ 962711 w 13768337"/>
              <a:gd name="connsiteY3625" fmla="*/ 2630336 h 5071335"/>
              <a:gd name="connsiteX3626" fmla="*/ 982637 w 13768337"/>
              <a:gd name="connsiteY3626" fmla="*/ 2618211 h 5071335"/>
              <a:gd name="connsiteX3627" fmla="*/ 2078564 w 13768337"/>
              <a:gd name="connsiteY3627" fmla="*/ 2617794 h 5071335"/>
              <a:gd name="connsiteX3628" fmla="*/ 2041492 w 13768337"/>
              <a:gd name="connsiteY3628" fmla="*/ 2643018 h 5071335"/>
              <a:gd name="connsiteX3629" fmla="*/ 2041492 w 13768337"/>
              <a:gd name="connsiteY3629" fmla="*/ 2652495 h 5071335"/>
              <a:gd name="connsiteX3630" fmla="*/ 2047980 w 13768337"/>
              <a:gd name="connsiteY3630" fmla="*/ 2650125 h 5071335"/>
              <a:gd name="connsiteX3631" fmla="*/ 2047055 w 13768337"/>
              <a:gd name="connsiteY3631" fmla="*/ 2648592 h 5071335"/>
              <a:gd name="connsiteX3632" fmla="*/ 2049370 w 13768337"/>
              <a:gd name="connsiteY3632" fmla="*/ 2648592 h 5071335"/>
              <a:gd name="connsiteX3633" fmla="*/ 2068833 w 13768337"/>
              <a:gd name="connsiteY3633" fmla="*/ 2647199 h 5071335"/>
              <a:gd name="connsiteX3634" fmla="*/ 2068833 w 13768337"/>
              <a:gd name="connsiteY3634" fmla="*/ 2648592 h 5071335"/>
              <a:gd name="connsiteX3635" fmla="*/ 2073931 w 13768337"/>
              <a:gd name="connsiteY3635" fmla="*/ 2653749 h 5071335"/>
              <a:gd name="connsiteX3636" fmla="*/ 2064199 w 13768337"/>
              <a:gd name="connsiteY3636" fmla="*/ 2675350 h 5071335"/>
              <a:gd name="connsiteX3637" fmla="*/ 2110539 w 13768337"/>
              <a:gd name="connsiteY3637" fmla="*/ 2659323 h 5071335"/>
              <a:gd name="connsiteX3638" fmla="*/ 2078564 w 13768337"/>
              <a:gd name="connsiteY3638" fmla="*/ 2617794 h 5071335"/>
              <a:gd name="connsiteX3639" fmla="*/ 1003490 w 13768337"/>
              <a:gd name="connsiteY3639" fmla="*/ 2616400 h 5071335"/>
              <a:gd name="connsiteX3640" fmla="*/ 1027123 w 13768337"/>
              <a:gd name="connsiteY3640" fmla="*/ 2617794 h 5071335"/>
              <a:gd name="connsiteX3641" fmla="*/ 990515 w 13768337"/>
              <a:gd name="connsiteY3641" fmla="*/ 2631451 h 5071335"/>
              <a:gd name="connsiteX3642" fmla="*/ 1003490 w 13768337"/>
              <a:gd name="connsiteY3642" fmla="*/ 2616400 h 5071335"/>
              <a:gd name="connsiteX3643" fmla="*/ 2629729 w 13768337"/>
              <a:gd name="connsiteY3643" fmla="*/ 2616274 h 5071335"/>
              <a:gd name="connsiteX3644" fmla="*/ 2628613 w 13768337"/>
              <a:gd name="connsiteY3644" fmla="*/ 2627131 h 5071335"/>
              <a:gd name="connsiteX3645" fmla="*/ 2653636 w 13768337"/>
              <a:gd name="connsiteY3645" fmla="*/ 2623229 h 5071335"/>
              <a:gd name="connsiteX3646" fmla="*/ 2641363 w 13768337"/>
              <a:gd name="connsiteY3646" fmla="*/ 2618236 h 5071335"/>
              <a:gd name="connsiteX3647" fmla="*/ 2704115 w 13768337"/>
              <a:gd name="connsiteY3647" fmla="*/ 2615723 h 5071335"/>
              <a:gd name="connsiteX3648" fmla="*/ 2685918 w 13768337"/>
              <a:gd name="connsiteY3648" fmla="*/ 2616381 h 5071335"/>
              <a:gd name="connsiteX3649" fmla="*/ 2665672 w 13768337"/>
              <a:gd name="connsiteY3649" fmla="*/ 2617801 h 5071335"/>
              <a:gd name="connsiteX3650" fmla="*/ 2666147 w 13768337"/>
              <a:gd name="connsiteY3650" fmla="*/ 2618211 h 5071335"/>
              <a:gd name="connsiteX3651" fmla="*/ 2661515 w 13768337"/>
              <a:gd name="connsiteY3651" fmla="*/ 2623786 h 5071335"/>
              <a:gd name="connsiteX3652" fmla="*/ 2716196 w 13768337"/>
              <a:gd name="connsiteY3652" fmla="*/ 2627131 h 5071335"/>
              <a:gd name="connsiteX3653" fmla="*/ 2606370 w 13768337"/>
              <a:gd name="connsiteY3653" fmla="*/ 2652495 h 5071335"/>
              <a:gd name="connsiteX3654" fmla="*/ 2643442 w 13768337"/>
              <a:gd name="connsiteY3654" fmla="*/ 2690402 h 5071335"/>
              <a:gd name="connsiteX3655" fmla="*/ 2628613 w 13768337"/>
              <a:gd name="connsiteY3655" fmla="*/ 2721199 h 5071335"/>
              <a:gd name="connsiteX3656" fmla="*/ 2628613 w 13768337"/>
              <a:gd name="connsiteY3656" fmla="*/ 2723568 h 5071335"/>
              <a:gd name="connsiteX3657" fmla="*/ 2651320 w 13768337"/>
              <a:gd name="connsiteY3657" fmla="*/ 2723568 h 5071335"/>
              <a:gd name="connsiteX3658" fmla="*/ 2643442 w 13768337"/>
              <a:gd name="connsiteY3658" fmla="*/ 2715625 h 5071335"/>
              <a:gd name="connsiteX3659" fmla="*/ 2694415 w 13768337"/>
              <a:gd name="connsiteY3659" fmla="*/ 2704755 h 5071335"/>
              <a:gd name="connsiteX3660" fmla="*/ 2679586 w 13768337"/>
              <a:gd name="connsiteY3660" fmla="*/ 2684827 h 5071335"/>
              <a:gd name="connsiteX3661" fmla="*/ 2665221 w 13768337"/>
              <a:gd name="connsiteY3661" fmla="*/ 2699599 h 5071335"/>
              <a:gd name="connsiteX3662" fmla="*/ 2624442 w 13768337"/>
              <a:gd name="connsiteY3662" fmla="*/ 2663226 h 5071335"/>
              <a:gd name="connsiteX3663" fmla="*/ 2716196 w 13768337"/>
              <a:gd name="connsiteY3663" fmla="*/ 2668800 h 5071335"/>
              <a:gd name="connsiteX3664" fmla="*/ 2716196 w 13768337"/>
              <a:gd name="connsiteY3664" fmla="*/ 2665873 h 5071335"/>
              <a:gd name="connsiteX3665" fmla="*/ 2726390 w 13768337"/>
              <a:gd name="connsiteY3665" fmla="*/ 2663226 h 5071335"/>
              <a:gd name="connsiteX3666" fmla="*/ 2721292 w 13768337"/>
              <a:gd name="connsiteY3666" fmla="*/ 2647199 h 5071335"/>
              <a:gd name="connsiteX3667" fmla="*/ 2694415 w 13768337"/>
              <a:gd name="connsiteY3667" fmla="*/ 2652495 h 5071335"/>
              <a:gd name="connsiteX3668" fmla="*/ 2734267 w 13768337"/>
              <a:gd name="connsiteY3668" fmla="*/ 2641625 h 5071335"/>
              <a:gd name="connsiteX3669" fmla="*/ 2724130 w 13768337"/>
              <a:gd name="connsiteY3669" fmla="*/ 2628194 h 5071335"/>
              <a:gd name="connsiteX3670" fmla="*/ 2724562 w 13768337"/>
              <a:gd name="connsiteY3670" fmla="*/ 2622799 h 5071335"/>
              <a:gd name="connsiteX3671" fmla="*/ 2719933 w 13768337"/>
              <a:gd name="connsiteY3671" fmla="*/ 2619064 h 5071335"/>
              <a:gd name="connsiteX3672" fmla="*/ 2704115 w 13768337"/>
              <a:gd name="connsiteY3672" fmla="*/ 2615723 h 5071335"/>
              <a:gd name="connsiteX3673" fmla="*/ 4209336 w 13768337"/>
              <a:gd name="connsiteY3673" fmla="*/ 2614724 h 5071335"/>
              <a:gd name="connsiteX3674" fmla="*/ 4202260 w 13768337"/>
              <a:gd name="connsiteY3674" fmla="*/ 2615328 h 5071335"/>
              <a:gd name="connsiteX3675" fmla="*/ 4205253 w 13768337"/>
              <a:gd name="connsiteY3675" fmla="*/ 2619117 h 5071335"/>
              <a:gd name="connsiteX3676" fmla="*/ 4208787 w 13768337"/>
              <a:gd name="connsiteY3676" fmla="*/ 2630894 h 5071335"/>
              <a:gd name="connsiteX3677" fmla="*/ 4192103 w 13768337"/>
              <a:gd name="connsiteY3677" fmla="*/ 2624343 h 5071335"/>
              <a:gd name="connsiteX3678" fmla="*/ 4168471 w 13768337"/>
              <a:gd name="connsiteY3678" fmla="*/ 2626712 h 5071335"/>
              <a:gd name="connsiteX3679" fmla="*/ 4180056 w 13768337"/>
              <a:gd name="connsiteY3679" fmla="*/ 2617794 h 5071335"/>
              <a:gd name="connsiteX3680" fmla="*/ 4180798 w 13768337"/>
              <a:gd name="connsiteY3680" fmla="*/ 2617400 h 5071335"/>
              <a:gd name="connsiteX3681" fmla="*/ 4165889 w 13768337"/>
              <a:gd name="connsiteY3681" fmla="*/ 2619050 h 5071335"/>
              <a:gd name="connsiteX3682" fmla="*/ 4164764 w 13768337"/>
              <a:gd name="connsiteY3682" fmla="*/ 2619327 h 5071335"/>
              <a:gd name="connsiteX3683" fmla="*/ 4164301 w 13768337"/>
              <a:gd name="connsiteY3683" fmla="*/ 2628524 h 5071335"/>
              <a:gd name="connsiteX3684" fmla="*/ 4169398 w 13768337"/>
              <a:gd name="connsiteY3684" fmla="*/ 2630336 h 5071335"/>
              <a:gd name="connsiteX3685" fmla="*/ 4160593 w 13768337"/>
              <a:gd name="connsiteY3685" fmla="*/ 2634656 h 5071335"/>
              <a:gd name="connsiteX3686" fmla="*/ 4156885 w 13768337"/>
              <a:gd name="connsiteY3686" fmla="*/ 2641206 h 5071335"/>
              <a:gd name="connsiteX3687" fmla="*/ 4136497 w 13768337"/>
              <a:gd name="connsiteY3687" fmla="*/ 2637025 h 5071335"/>
              <a:gd name="connsiteX3688" fmla="*/ 4146227 w 13768337"/>
              <a:gd name="connsiteY3688" fmla="*/ 2654865 h 5071335"/>
              <a:gd name="connsiteX3689" fmla="*/ 4120741 w 13768337"/>
              <a:gd name="connsiteY3689" fmla="*/ 2664062 h 5071335"/>
              <a:gd name="connsiteX3690" fmla="*/ 4129082 w 13768337"/>
              <a:gd name="connsiteY3690" fmla="*/ 2673538 h 5071335"/>
              <a:gd name="connsiteX3691" fmla="*/ 4130009 w 13768337"/>
              <a:gd name="connsiteY3691" fmla="*/ 2678555 h 5071335"/>
              <a:gd name="connsiteX3692" fmla="*/ 4131863 w 13768337"/>
              <a:gd name="connsiteY3692" fmla="*/ 2689286 h 5071335"/>
              <a:gd name="connsiteX3693" fmla="*/ 4100352 w 13768337"/>
              <a:gd name="connsiteY3693" fmla="*/ 2661693 h 5071335"/>
              <a:gd name="connsiteX3694" fmla="*/ 4114254 w 13768337"/>
              <a:gd name="connsiteY3694" fmla="*/ 2648175 h 5071335"/>
              <a:gd name="connsiteX3695" fmla="*/ 4109156 w 13768337"/>
              <a:gd name="connsiteY3695" fmla="*/ 2637025 h 5071335"/>
              <a:gd name="connsiteX3696" fmla="*/ 4099426 w 13768337"/>
              <a:gd name="connsiteY3696" fmla="*/ 2640371 h 5071335"/>
              <a:gd name="connsiteX3697" fmla="*/ 4087378 w 13768337"/>
              <a:gd name="connsiteY3697" fmla="*/ 2649149 h 5071335"/>
              <a:gd name="connsiteX3698" fmla="*/ 4076256 w 13768337"/>
              <a:gd name="connsiteY3698" fmla="*/ 2670192 h 5071335"/>
              <a:gd name="connsiteX3699" fmla="*/ 4110548 w 13768337"/>
              <a:gd name="connsiteY3699" fmla="*/ 2676186 h 5071335"/>
              <a:gd name="connsiteX3700" fmla="*/ 4105913 w 13768337"/>
              <a:gd name="connsiteY3700" fmla="*/ 2689286 h 5071335"/>
              <a:gd name="connsiteX3701" fmla="*/ 4112400 w 13768337"/>
              <a:gd name="connsiteY3701" fmla="*/ 2693049 h 5071335"/>
              <a:gd name="connsiteX3702" fmla="*/ 4113327 w 13768337"/>
              <a:gd name="connsiteY3702" fmla="*/ 2693049 h 5071335"/>
              <a:gd name="connsiteX3703" fmla="*/ 4116571 w 13768337"/>
              <a:gd name="connsiteY3703" fmla="*/ 2679531 h 5071335"/>
              <a:gd name="connsiteX3704" fmla="*/ 4116571 w 13768337"/>
              <a:gd name="connsiteY3704" fmla="*/ 2693606 h 5071335"/>
              <a:gd name="connsiteX3705" fmla="*/ 4126302 w 13768337"/>
              <a:gd name="connsiteY3705" fmla="*/ 2697230 h 5071335"/>
              <a:gd name="connsiteX3706" fmla="*/ 4144374 w 13768337"/>
              <a:gd name="connsiteY3706" fmla="*/ 2693049 h 5071335"/>
              <a:gd name="connsiteX3707" fmla="*/ 4139740 w 13768337"/>
              <a:gd name="connsiteY3707" fmla="*/ 2705870 h 5071335"/>
              <a:gd name="connsiteX3708" fmla="*/ 4145765 w 13768337"/>
              <a:gd name="connsiteY3708" fmla="*/ 2709493 h 5071335"/>
              <a:gd name="connsiteX3709" fmla="*/ 4149472 w 13768337"/>
              <a:gd name="connsiteY3709" fmla="*/ 2706705 h 5071335"/>
              <a:gd name="connsiteX3710" fmla="*/ 4148082 w 13768337"/>
              <a:gd name="connsiteY3710" fmla="*/ 2711444 h 5071335"/>
              <a:gd name="connsiteX3711" fmla="*/ 4154568 w 13768337"/>
              <a:gd name="connsiteY3711" fmla="*/ 2715068 h 5071335"/>
              <a:gd name="connsiteX3712" fmla="*/ 4155959 w 13768337"/>
              <a:gd name="connsiteY3712" fmla="*/ 2700157 h 5071335"/>
              <a:gd name="connsiteX3713" fmla="*/ 4166153 w 13768337"/>
              <a:gd name="connsiteY3713" fmla="*/ 2703780 h 5071335"/>
              <a:gd name="connsiteX3714" fmla="*/ 4166618 w 13768337"/>
              <a:gd name="connsiteY3714" fmla="*/ 2689286 h 5071335"/>
              <a:gd name="connsiteX3715" fmla="*/ 4183299 w 13768337"/>
              <a:gd name="connsiteY3715" fmla="*/ 2692212 h 5071335"/>
              <a:gd name="connsiteX3716" fmla="*/ 4172641 w 13768337"/>
              <a:gd name="connsiteY3716" fmla="*/ 2704755 h 5071335"/>
              <a:gd name="connsiteX3717" fmla="*/ 4190250 w 13768337"/>
              <a:gd name="connsiteY3717" fmla="*/ 2711862 h 5071335"/>
              <a:gd name="connsiteX3718" fmla="*/ 4208787 w 13768337"/>
              <a:gd name="connsiteY3718" fmla="*/ 2709075 h 5071335"/>
              <a:gd name="connsiteX3719" fmla="*/ 4214347 w 13768337"/>
              <a:gd name="connsiteY3719" fmla="*/ 2693049 h 5071335"/>
              <a:gd name="connsiteX3720" fmla="*/ 4212956 w 13768337"/>
              <a:gd name="connsiteY3720" fmla="*/ 2692212 h 5071335"/>
              <a:gd name="connsiteX3721" fmla="*/ 4189323 w 13768337"/>
              <a:gd name="connsiteY3721" fmla="*/ 2697787 h 5071335"/>
              <a:gd name="connsiteX3722" fmla="*/ 4205079 w 13768337"/>
              <a:gd name="connsiteY3722" fmla="*/ 2688450 h 5071335"/>
              <a:gd name="connsiteX3723" fmla="*/ 4195348 w 13768337"/>
              <a:gd name="connsiteY3723" fmla="*/ 2690402 h 5071335"/>
              <a:gd name="connsiteX3724" fmla="*/ 4196275 w 13768337"/>
              <a:gd name="connsiteY3724" fmla="*/ 2681899 h 5071335"/>
              <a:gd name="connsiteX3725" fmla="*/ 4176349 w 13768337"/>
              <a:gd name="connsiteY3725" fmla="*/ 2688032 h 5071335"/>
              <a:gd name="connsiteX3726" fmla="*/ 4137887 w 13768337"/>
              <a:gd name="connsiteY3726" fmla="*/ 2686639 h 5071335"/>
              <a:gd name="connsiteX3727" fmla="*/ 4130009 w 13768337"/>
              <a:gd name="connsiteY3727" fmla="*/ 2667825 h 5071335"/>
              <a:gd name="connsiteX3728" fmla="*/ 4193495 w 13768337"/>
              <a:gd name="connsiteY3728" fmla="*/ 2668242 h 5071335"/>
              <a:gd name="connsiteX3729" fmla="*/ 4186544 w 13768337"/>
              <a:gd name="connsiteY3729" fmla="*/ 2659323 h 5071335"/>
              <a:gd name="connsiteX3730" fmla="*/ 4241687 w 13768337"/>
              <a:gd name="connsiteY3730" fmla="*/ 2638001 h 5071335"/>
              <a:gd name="connsiteX3731" fmla="*/ 4217591 w 13768337"/>
              <a:gd name="connsiteY3731" fmla="*/ 2639813 h 5071335"/>
              <a:gd name="connsiteX3732" fmla="*/ 4228405 w 13768337"/>
              <a:gd name="connsiteY3732" fmla="*/ 2612513 h 5071335"/>
              <a:gd name="connsiteX3733" fmla="*/ 4224078 w 13768337"/>
              <a:gd name="connsiteY3733" fmla="*/ 2615982 h 5071335"/>
              <a:gd name="connsiteX3734" fmla="*/ 4220835 w 13768337"/>
              <a:gd name="connsiteY3734" fmla="*/ 2615425 h 5071335"/>
              <a:gd name="connsiteX3735" fmla="*/ 4224078 w 13768337"/>
              <a:gd name="connsiteY3735" fmla="*/ 2619605 h 5071335"/>
              <a:gd name="connsiteX3736" fmla="*/ 4232535 w 13768337"/>
              <a:gd name="connsiteY3736" fmla="*/ 2614640 h 5071335"/>
              <a:gd name="connsiteX3737" fmla="*/ 4233046 w 13768337"/>
              <a:gd name="connsiteY3737" fmla="*/ 2614499 h 5071335"/>
              <a:gd name="connsiteX3738" fmla="*/ 4370511 w 13768337"/>
              <a:gd name="connsiteY3738" fmla="*/ 2612220 h 5071335"/>
              <a:gd name="connsiteX3739" fmla="*/ 4362633 w 13768337"/>
              <a:gd name="connsiteY3739" fmla="*/ 2618769 h 5071335"/>
              <a:gd name="connsiteX3740" fmla="*/ 4364121 w 13768337"/>
              <a:gd name="connsiteY3740" fmla="*/ 2620260 h 5071335"/>
              <a:gd name="connsiteX3741" fmla="*/ 4368689 w 13768337"/>
              <a:gd name="connsiteY3741" fmla="*/ 2621024 h 5071335"/>
              <a:gd name="connsiteX3742" fmla="*/ 4374526 w 13768337"/>
              <a:gd name="connsiteY3742" fmla="*/ 2624046 h 5071335"/>
              <a:gd name="connsiteX3743" fmla="*/ 4382229 w 13768337"/>
              <a:gd name="connsiteY3743" fmla="*/ 2613786 h 5071335"/>
              <a:gd name="connsiteX3744" fmla="*/ 4383495 w 13768337"/>
              <a:gd name="connsiteY3744" fmla="*/ 2613631 h 5071335"/>
              <a:gd name="connsiteX3745" fmla="*/ 4383487 w 13768337"/>
              <a:gd name="connsiteY3745" fmla="*/ 2613613 h 5071335"/>
              <a:gd name="connsiteX3746" fmla="*/ 4370511 w 13768337"/>
              <a:gd name="connsiteY3746" fmla="*/ 2612220 h 5071335"/>
              <a:gd name="connsiteX3747" fmla="*/ 13355226 w 13768337"/>
              <a:gd name="connsiteY3747" fmla="*/ 2611726 h 5071335"/>
              <a:gd name="connsiteX3748" fmla="*/ 13444197 w 13768337"/>
              <a:gd name="connsiteY3748" fmla="*/ 2625662 h 5071335"/>
              <a:gd name="connsiteX3749" fmla="*/ 13432613 w 13768337"/>
              <a:gd name="connsiteY3749" fmla="*/ 2643500 h 5071335"/>
              <a:gd name="connsiteX3750" fmla="*/ 13428443 w 13768337"/>
              <a:gd name="connsiteY3750" fmla="*/ 2627614 h 5071335"/>
              <a:gd name="connsiteX3751" fmla="*/ 13416394 w 13768337"/>
              <a:gd name="connsiteY3751" fmla="*/ 2644893 h 5071335"/>
              <a:gd name="connsiteX3752" fmla="*/ 13356615 w 13768337"/>
              <a:gd name="connsiteY3752" fmla="*/ 2628867 h 5071335"/>
              <a:gd name="connsiteX3753" fmla="*/ 13355226 w 13768337"/>
              <a:gd name="connsiteY3753" fmla="*/ 2611726 h 5071335"/>
              <a:gd name="connsiteX3754" fmla="*/ 2618351 w 13768337"/>
              <a:gd name="connsiteY3754" fmla="*/ 2610518 h 5071335"/>
              <a:gd name="connsiteX3755" fmla="*/ 2614711 w 13768337"/>
              <a:gd name="connsiteY3755" fmla="*/ 2610686 h 5071335"/>
              <a:gd name="connsiteX3756" fmla="*/ 2560493 w 13768337"/>
              <a:gd name="connsiteY3756" fmla="*/ 2616958 h 5071335"/>
              <a:gd name="connsiteX3757" fmla="*/ 2564202 w 13768337"/>
              <a:gd name="connsiteY3757" fmla="*/ 2630336 h 5071335"/>
              <a:gd name="connsiteX3758" fmla="*/ 2608224 w 13768337"/>
              <a:gd name="connsiteY3758" fmla="*/ 2624343 h 5071335"/>
              <a:gd name="connsiteX3759" fmla="*/ 2624213 w 13768337"/>
              <a:gd name="connsiteY3759" fmla="*/ 2613886 h 5071335"/>
              <a:gd name="connsiteX3760" fmla="*/ 34070 w 13768337"/>
              <a:gd name="connsiteY3760" fmla="*/ 2607481 h 5071335"/>
              <a:gd name="connsiteX3761" fmla="*/ 54459 w 13768337"/>
              <a:gd name="connsiteY3761" fmla="*/ 2609293 h 5071335"/>
              <a:gd name="connsiteX3762" fmla="*/ 28972 w 13768337"/>
              <a:gd name="connsiteY3762" fmla="*/ 2615425 h 5071335"/>
              <a:gd name="connsiteX3763" fmla="*/ 34070 w 13768337"/>
              <a:gd name="connsiteY3763" fmla="*/ 2607481 h 5071335"/>
              <a:gd name="connsiteX3764" fmla="*/ 4406192 w 13768337"/>
              <a:gd name="connsiteY3764" fmla="*/ 2604694 h 5071335"/>
              <a:gd name="connsiteX3765" fmla="*/ 4388119 w 13768337"/>
              <a:gd name="connsiteY3765" fmla="*/ 2613055 h 5071335"/>
              <a:gd name="connsiteX3766" fmla="*/ 4388114 w 13768337"/>
              <a:gd name="connsiteY3766" fmla="*/ 2613066 h 5071335"/>
              <a:gd name="connsiteX3767" fmla="*/ 4398621 w 13768337"/>
              <a:gd name="connsiteY3767" fmla="*/ 2611782 h 5071335"/>
              <a:gd name="connsiteX3768" fmla="*/ 4394793 w 13768337"/>
              <a:gd name="connsiteY3768" fmla="*/ 2620433 h 5071335"/>
              <a:gd name="connsiteX3769" fmla="*/ 4397620 w 13768337"/>
              <a:gd name="connsiteY3769" fmla="*/ 2620668 h 5071335"/>
              <a:gd name="connsiteX3770" fmla="*/ 4406192 w 13768337"/>
              <a:gd name="connsiteY3770" fmla="*/ 2621138 h 5071335"/>
              <a:gd name="connsiteX3771" fmla="*/ 4393971 w 13768337"/>
              <a:gd name="connsiteY3771" fmla="*/ 2629918 h 5071335"/>
              <a:gd name="connsiteX3772" fmla="*/ 4390641 w 13768337"/>
              <a:gd name="connsiteY3772" fmla="*/ 2626403 h 5071335"/>
              <a:gd name="connsiteX3773" fmla="*/ 4377435 w 13768337"/>
              <a:gd name="connsiteY3773" fmla="*/ 2631271 h 5071335"/>
              <a:gd name="connsiteX3774" fmla="*/ 4379084 w 13768337"/>
              <a:gd name="connsiteY3774" fmla="*/ 2635388 h 5071335"/>
              <a:gd name="connsiteX3775" fmla="*/ 4375608 w 13768337"/>
              <a:gd name="connsiteY3775" fmla="*/ 2643018 h 5071335"/>
              <a:gd name="connsiteX3776" fmla="*/ 4410362 w 13768337"/>
              <a:gd name="connsiteY3776" fmla="*/ 2638279 h 5071335"/>
              <a:gd name="connsiteX3777" fmla="*/ 4406192 w 13768337"/>
              <a:gd name="connsiteY3777" fmla="*/ 2604694 h 5071335"/>
              <a:gd name="connsiteX3778" fmla="*/ 733794 w 13768337"/>
              <a:gd name="connsiteY3778" fmla="*/ 2603718 h 5071335"/>
              <a:gd name="connsiteX3779" fmla="*/ 733794 w 13768337"/>
              <a:gd name="connsiteY3779" fmla="*/ 2619327 h 5071335"/>
              <a:gd name="connsiteX3780" fmla="*/ 701357 w 13768337"/>
              <a:gd name="connsiteY3780" fmla="*/ 2629361 h 5071335"/>
              <a:gd name="connsiteX3781" fmla="*/ 691162 w 13768337"/>
              <a:gd name="connsiteY3781" fmla="*/ 2608874 h 5071335"/>
              <a:gd name="connsiteX3782" fmla="*/ 733794 w 13768337"/>
              <a:gd name="connsiteY3782" fmla="*/ 2603718 h 5071335"/>
              <a:gd name="connsiteX3783" fmla="*/ 4382712 w 13768337"/>
              <a:gd name="connsiteY3783" fmla="*/ 2603122 h 5071335"/>
              <a:gd name="connsiteX3784" fmla="*/ 4377248 w 13768337"/>
              <a:gd name="connsiteY3784" fmla="*/ 2603623 h 5071335"/>
              <a:gd name="connsiteX3785" fmla="*/ 4374746 w 13768337"/>
              <a:gd name="connsiteY3785" fmla="*/ 2603920 h 5071335"/>
              <a:gd name="connsiteX3786" fmla="*/ 4375144 w 13768337"/>
              <a:gd name="connsiteY3786" fmla="*/ 2605112 h 5071335"/>
              <a:gd name="connsiteX3787" fmla="*/ 4382095 w 13768337"/>
              <a:gd name="connsiteY3787" fmla="*/ 2605112 h 5071335"/>
              <a:gd name="connsiteX3788" fmla="*/ 4393560 w 13768337"/>
              <a:gd name="connsiteY3788" fmla="*/ 2602127 h 5071335"/>
              <a:gd name="connsiteX3789" fmla="*/ 4391817 w 13768337"/>
              <a:gd name="connsiteY3789" fmla="*/ 2602287 h 5071335"/>
              <a:gd name="connsiteX3790" fmla="*/ 4391364 w 13768337"/>
              <a:gd name="connsiteY3790" fmla="*/ 2603718 h 5071335"/>
              <a:gd name="connsiteX3791" fmla="*/ 1014612 w 13768337"/>
              <a:gd name="connsiteY3791" fmla="*/ 2600095 h 5071335"/>
              <a:gd name="connsiteX3792" fmla="*/ 1027123 w 13768337"/>
              <a:gd name="connsiteY3792" fmla="*/ 2603300 h 5071335"/>
              <a:gd name="connsiteX3793" fmla="*/ 977540 w 13768337"/>
              <a:gd name="connsiteY3793" fmla="*/ 2609293 h 5071335"/>
              <a:gd name="connsiteX3794" fmla="*/ 1001636 w 13768337"/>
              <a:gd name="connsiteY3794" fmla="*/ 2600374 h 5071335"/>
              <a:gd name="connsiteX3795" fmla="*/ 1014612 w 13768337"/>
              <a:gd name="connsiteY3795" fmla="*/ 2600095 h 5071335"/>
              <a:gd name="connsiteX3796" fmla="*/ 814889 w 13768337"/>
              <a:gd name="connsiteY3796" fmla="*/ 2595914 h 5071335"/>
              <a:gd name="connsiteX3797" fmla="*/ 784768 w 13768337"/>
              <a:gd name="connsiteY3797" fmla="*/ 2603718 h 5071335"/>
              <a:gd name="connsiteX3798" fmla="*/ 814889 w 13768337"/>
              <a:gd name="connsiteY3798" fmla="*/ 2595914 h 5071335"/>
              <a:gd name="connsiteX3799" fmla="*/ 13443734 w 13768337"/>
              <a:gd name="connsiteY3799" fmla="*/ 2585527 h 5071335"/>
              <a:gd name="connsiteX3800" fmla="*/ 13463660 w 13768337"/>
              <a:gd name="connsiteY3800" fmla="*/ 2587338 h 5071335"/>
              <a:gd name="connsiteX3801" fmla="*/ 13439564 w 13768337"/>
              <a:gd name="connsiteY3801" fmla="*/ 2590682 h 5071335"/>
              <a:gd name="connsiteX3802" fmla="*/ 13443734 w 13768337"/>
              <a:gd name="connsiteY3802" fmla="*/ 2585527 h 5071335"/>
              <a:gd name="connsiteX3803" fmla="*/ 13746794 w 13768337"/>
              <a:gd name="connsiteY3803" fmla="*/ 2581763 h 5071335"/>
              <a:gd name="connsiteX3804" fmla="*/ 13760231 w 13768337"/>
              <a:gd name="connsiteY3804" fmla="*/ 2589707 h 5071335"/>
              <a:gd name="connsiteX3805" fmla="*/ 13735672 w 13768337"/>
              <a:gd name="connsiteY3805" fmla="*/ 2593051 h 5071335"/>
              <a:gd name="connsiteX3806" fmla="*/ 13746794 w 13768337"/>
              <a:gd name="connsiteY3806" fmla="*/ 2581763 h 5071335"/>
              <a:gd name="connsiteX3807" fmla="*/ 2147146 w 13768337"/>
              <a:gd name="connsiteY3807" fmla="*/ 2570411 h 5071335"/>
              <a:gd name="connsiteX3808" fmla="*/ 2087832 w 13768337"/>
              <a:gd name="connsiteY3808" fmla="*/ 2601489 h 5071335"/>
              <a:gd name="connsiteX3809" fmla="*/ 2100343 w 13768337"/>
              <a:gd name="connsiteY3809" fmla="*/ 2622950 h 5071335"/>
              <a:gd name="connsiteX3810" fmla="*/ 2119807 w 13768337"/>
              <a:gd name="connsiteY3810" fmla="*/ 2590618 h 5071335"/>
              <a:gd name="connsiteX3811" fmla="*/ 2161512 w 13768337"/>
              <a:gd name="connsiteY3811" fmla="*/ 2590618 h 5071335"/>
              <a:gd name="connsiteX3812" fmla="*/ 2129537 w 13768337"/>
              <a:gd name="connsiteY3812" fmla="*/ 2612220 h 5071335"/>
              <a:gd name="connsiteX3813" fmla="*/ 2152244 w 13768337"/>
              <a:gd name="connsiteY3813" fmla="*/ 2622950 h 5071335"/>
              <a:gd name="connsiteX3814" fmla="*/ 2179120 w 13768337"/>
              <a:gd name="connsiteY3814" fmla="*/ 2636468 h 5071335"/>
              <a:gd name="connsiteX3815" fmla="*/ 2174024 w 13768337"/>
              <a:gd name="connsiteY3815" fmla="*/ 2636468 h 5071335"/>
              <a:gd name="connsiteX3816" fmla="*/ 2164756 w 13768337"/>
              <a:gd name="connsiteY3816" fmla="*/ 2639255 h 5071335"/>
              <a:gd name="connsiteX3817" fmla="*/ 2166145 w 13768337"/>
              <a:gd name="connsiteY3817" fmla="*/ 2648592 h 5071335"/>
              <a:gd name="connsiteX3818" fmla="*/ 2175877 w 13768337"/>
              <a:gd name="connsiteY3818" fmla="*/ 2650125 h 5071335"/>
              <a:gd name="connsiteX3819" fmla="*/ 2179120 w 13768337"/>
              <a:gd name="connsiteY3819" fmla="*/ 2636468 h 5071335"/>
              <a:gd name="connsiteX3820" fmla="*/ 2198121 w 13768337"/>
              <a:gd name="connsiteY3820" fmla="*/ 2643018 h 5071335"/>
              <a:gd name="connsiteX3821" fmla="*/ 2193486 w 13768337"/>
              <a:gd name="connsiteY3821" fmla="*/ 2622950 h 5071335"/>
              <a:gd name="connsiteX3822" fmla="*/ 2239362 w 13768337"/>
              <a:gd name="connsiteY3822" fmla="*/ 2633821 h 5071335"/>
              <a:gd name="connsiteX3823" fmla="*/ 2224997 w 13768337"/>
              <a:gd name="connsiteY3823" fmla="*/ 2648592 h 5071335"/>
              <a:gd name="connsiteX3824" fmla="*/ 2262068 w 13768337"/>
              <a:gd name="connsiteY3824" fmla="*/ 2664620 h 5071335"/>
              <a:gd name="connsiteX3825" fmla="*/ 2266703 w 13768337"/>
              <a:gd name="connsiteY3825" fmla="*/ 2633821 h 5071335"/>
              <a:gd name="connsiteX3826" fmla="*/ 2285702 w 13768337"/>
              <a:gd name="connsiteY3826" fmla="*/ 2639255 h 5071335"/>
              <a:gd name="connsiteX3827" fmla="*/ 2271337 w 13768337"/>
              <a:gd name="connsiteY3827" fmla="*/ 2650125 h 5071335"/>
              <a:gd name="connsiteX3828" fmla="*/ 2308408 w 13768337"/>
              <a:gd name="connsiteY3828" fmla="*/ 2659323 h 5071335"/>
              <a:gd name="connsiteX3829" fmla="*/ 2188389 w 13768337"/>
              <a:gd name="connsiteY3829" fmla="*/ 2686081 h 5071335"/>
              <a:gd name="connsiteX3830" fmla="*/ 2179120 w 13768337"/>
              <a:gd name="connsiteY3830" fmla="*/ 2670192 h 5071335"/>
              <a:gd name="connsiteX3831" fmla="*/ 2152244 w 13768337"/>
              <a:gd name="connsiteY3831" fmla="*/ 2670192 h 5071335"/>
              <a:gd name="connsiteX3832" fmla="*/ 2165219 w 13768337"/>
              <a:gd name="connsiteY3832" fmla="*/ 2681481 h 5071335"/>
              <a:gd name="connsiteX3833" fmla="*/ 2164756 w 13768337"/>
              <a:gd name="connsiteY3833" fmla="*/ 2679531 h 5071335"/>
              <a:gd name="connsiteX3834" fmla="*/ 2180512 w 13768337"/>
              <a:gd name="connsiteY3834" fmla="*/ 2695418 h 5071335"/>
              <a:gd name="connsiteX3835" fmla="*/ 2252337 w 13768337"/>
              <a:gd name="connsiteY3835" fmla="*/ 2686081 h 5071335"/>
              <a:gd name="connsiteX3836" fmla="*/ 2275970 w 13768337"/>
              <a:gd name="connsiteY3836" fmla="*/ 2707681 h 5071335"/>
              <a:gd name="connsiteX3837" fmla="*/ 2271337 w 13768337"/>
              <a:gd name="connsiteY3837" fmla="*/ 2730536 h 5071335"/>
              <a:gd name="connsiteX3838" fmla="*/ 2279214 w 13768337"/>
              <a:gd name="connsiteY3838" fmla="*/ 2726356 h 5071335"/>
              <a:gd name="connsiteX3839" fmla="*/ 2281067 w 13768337"/>
              <a:gd name="connsiteY3839" fmla="*/ 2732905 h 5071335"/>
              <a:gd name="connsiteX3840" fmla="*/ 2298676 w 13768337"/>
              <a:gd name="connsiteY3840" fmla="*/ 2738480 h 5071335"/>
              <a:gd name="connsiteX3841" fmla="*/ 2301920 w 13768337"/>
              <a:gd name="connsiteY3841" fmla="*/ 2734300 h 5071335"/>
              <a:gd name="connsiteX3842" fmla="*/ 2303310 w 13768337"/>
              <a:gd name="connsiteY3842" fmla="*/ 2721199 h 5071335"/>
              <a:gd name="connsiteX3843" fmla="*/ 2309799 w 13768337"/>
              <a:gd name="connsiteY3843" fmla="*/ 2724823 h 5071335"/>
              <a:gd name="connsiteX3844" fmla="*/ 2330187 w 13768337"/>
              <a:gd name="connsiteY3844" fmla="*/ 2722175 h 5071335"/>
              <a:gd name="connsiteX3845" fmla="*/ 2330187 w 13768337"/>
              <a:gd name="connsiteY3845" fmla="*/ 2741407 h 5071335"/>
              <a:gd name="connsiteX3846" fmla="*/ 2335748 w 13768337"/>
              <a:gd name="connsiteY3846" fmla="*/ 2742243 h 5071335"/>
              <a:gd name="connsiteX3847" fmla="*/ 2354748 w 13768337"/>
              <a:gd name="connsiteY3847" fmla="*/ 2722175 h 5071335"/>
              <a:gd name="connsiteX3848" fmla="*/ 2373283 w 13768337"/>
              <a:gd name="connsiteY3848" fmla="*/ 2745030 h 5071335"/>
              <a:gd name="connsiteX3849" fmla="*/ 2376527 w 13768337"/>
              <a:gd name="connsiteY3849" fmla="*/ 2746423 h 5071335"/>
              <a:gd name="connsiteX3850" fmla="*/ 2386721 w 13768337"/>
              <a:gd name="connsiteY3850" fmla="*/ 2743498 h 5071335"/>
              <a:gd name="connsiteX3851" fmla="*/ 2389966 w 13768337"/>
              <a:gd name="connsiteY3851" fmla="*/ 2780149 h 5071335"/>
              <a:gd name="connsiteX3852" fmla="*/ 2419622 w 13768337"/>
              <a:gd name="connsiteY3852" fmla="*/ 2772206 h 5071335"/>
              <a:gd name="connsiteX3853" fmla="*/ 2413598 w 13768337"/>
              <a:gd name="connsiteY3853" fmla="*/ 2747957 h 5071335"/>
              <a:gd name="connsiteX3854" fmla="*/ 2418232 w 13768337"/>
              <a:gd name="connsiteY3854" fmla="*/ 2747957 h 5071335"/>
              <a:gd name="connsiteX3855" fmla="*/ 2418232 w 13768337"/>
              <a:gd name="connsiteY3855" fmla="*/ 2738480 h 5071335"/>
              <a:gd name="connsiteX3856" fmla="*/ 2458085 w 13768337"/>
              <a:gd name="connsiteY3856" fmla="*/ 2746423 h 5071335"/>
              <a:gd name="connsiteX3857" fmla="*/ 2587372 w 13768337"/>
              <a:gd name="connsiteY3857" fmla="*/ 2731930 h 5071335"/>
              <a:gd name="connsiteX3858" fmla="*/ 2616101 w 13768337"/>
              <a:gd name="connsiteY3858" fmla="*/ 2726356 h 5071335"/>
              <a:gd name="connsiteX3859" fmla="*/ 2624442 w 13768337"/>
              <a:gd name="connsiteY3859" fmla="*/ 2710329 h 5071335"/>
              <a:gd name="connsiteX3860" fmla="*/ 2513691 w 13768337"/>
              <a:gd name="connsiteY3860" fmla="*/ 2721199 h 5071335"/>
              <a:gd name="connsiteX3861" fmla="*/ 2546129 w 13768337"/>
              <a:gd name="connsiteY3861" fmla="*/ 2704755 h 5071335"/>
              <a:gd name="connsiteX3862" fmla="*/ 2538251 w 13768337"/>
              <a:gd name="connsiteY3862" fmla="*/ 2699599 h 5071335"/>
              <a:gd name="connsiteX3863" fmla="*/ 2550763 w 13768337"/>
              <a:gd name="connsiteY3863" fmla="*/ 2692630 h 5071335"/>
              <a:gd name="connsiteX3864" fmla="*/ 2584128 w 13768337"/>
              <a:gd name="connsiteY3864" fmla="*/ 2691237 h 5071335"/>
              <a:gd name="connsiteX3865" fmla="*/ 2580883 w 13768337"/>
              <a:gd name="connsiteY3865" fmla="*/ 2694025 h 5071335"/>
              <a:gd name="connsiteX3866" fmla="*/ 2592467 w 13768337"/>
              <a:gd name="connsiteY3866" fmla="*/ 2695418 h 5071335"/>
              <a:gd name="connsiteX3867" fmla="*/ 2597103 w 13768337"/>
              <a:gd name="connsiteY3867" fmla="*/ 2715625 h 5071335"/>
              <a:gd name="connsiteX3868" fmla="*/ 2541032 w 13768337"/>
              <a:gd name="connsiteY3868" fmla="*/ 2731930 h 5071335"/>
              <a:gd name="connsiteX3869" fmla="*/ 2477083 w 13768337"/>
              <a:gd name="connsiteY3869" fmla="*/ 2726356 h 5071335"/>
              <a:gd name="connsiteX3870" fmla="*/ 2477083 w 13768337"/>
              <a:gd name="connsiteY3870" fmla="*/ 2699599 h 5071335"/>
              <a:gd name="connsiteX3871" fmla="*/ 2496546 w 13768337"/>
              <a:gd name="connsiteY3871" fmla="*/ 2721199 h 5071335"/>
              <a:gd name="connsiteX3872" fmla="*/ 2496546 w 13768337"/>
              <a:gd name="connsiteY3872" fmla="*/ 2690402 h 5071335"/>
              <a:gd name="connsiteX3873" fmla="*/ 2479864 w 13768337"/>
              <a:gd name="connsiteY3873" fmla="*/ 2681899 h 5071335"/>
              <a:gd name="connsiteX3874" fmla="*/ 2434451 w 13768337"/>
              <a:gd name="connsiteY3874" fmla="*/ 2683293 h 5071335"/>
              <a:gd name="connsiteX3875" fmla="*/ 2434451 w 13768337"/>
              <a:gd name="connsiteY3875" fmla="*/ 2661414 h 5071335"/>
              <a:gd name="connsiteX3876" fmla="*/ 2459938 w 13768337"/>
              <a:gd name="connsiteY3876" fmla="*/ 2664620 h 5071335"/>
              <a:gd name="connsiteX3877" fmla="*/ 2435378 w 13768337"/>
              <a:gd name="connsiteY3877" fmla="*/ 2658070 h 5071335"/>
              <a:gd name="connsiteX3878" fmla="*/ 2471985 w 13768337"/>
              <a:gd name="connsiteY3878" fmla="*/ 2657512 h 5071335"/>
              <a:gd name="connsiteX3879" fmla="*/ 2472912 w 13768337"/>
              <a:gd name="connsiteY3879" fmla="*/ 2655700 h 5071335"/>
              <a:gd name="connsiteX3880" fmla="*/ 2488669 w 13768337"/>
              <a:gd name="connsiteY3880" fmla="*/ 2666988 h 5071335"/>
              <a:gd name="connsiteX3881" fmla="*/ 2486815 w 13768337"/>
              <a:gd name="connsiteY3881" fmla="*/ 2672563 h 5071335"/>
              <a:gd name="connsiteX3882" fmla="*/ 2573933 w 13768337"/>
              <a:gd name="connsiteY3882" fmla="*/ 2646781 h 5071335"/>
              <a:gd name="connsiteX3883" fmla="*/ 2573933 w 13768337"/>
              <a:gd name="connsiteY3883" fmla="*/ 2643018 h 5071335"/>
              <a:gd name="connsiteX3884" fmla="*/ 2575787 w 13768337"/>
              <a:gd name="connsiteY3884" fmla="*/ 2645387 h 5071335"/>
              <a:gd name="connsiteX3885" fmla="*/ 2585054 w 13768337"/>
              <a:gd name="connsiteY3885" fmla="*/ 2639813 h 5071335"/>
              <a:gd name="connsiteX3886" fmla="*/ 2559567 w 13768337"/>
              <a:gd name="connsiteY3886" fmla="*/ 2616958 h 5071335"/>
              <a:gd name="connsiteX3887" fmla="*/ 2555397 w 13768337"/>
              <a:gd name="connsiteY3887" fmla="*/ 2616400 h 5071335"/>
              <a:gd name="connsiteX3888" fmla="*/ 2556878 w 13768337"/>
              <a:gd name="connsiteY3888" fmla="*/ 2615120 h 5071335"/>
              <a:gd name="connsiteX3889" fmla="*/ 2516780 w 13768337"/>
              <a:gd name="connsiteY3889" fmla="*/ 2606207 h 5071335"/>
              <a:gd name="connsiteX3890" fmla="*/ 2500098 w 13768337"/>
              <a:gd name="connsiteY3890" fmla="*/ 2622513 h 5071335"/>
              <a:gd name="connsiteX3891" fmla="*/ 2495463 w 13768337"/>
              <a:gd name="connsiteY3891" fmla="*/ 2608019 h 5071335"/>
              <a:gd name="connsiteX3892" fmla="*/ 2471829 w 13768337"/>
              <a:gd name="connsiteY3892" fmla="*/ 2620143 h 5071335"/>
              <a:gd name="connsiteX3893" fmla="*/ 2484342 w 13768337"/>
              <a:gd name="connsiteY3893" fmla="*/ 2625440 h 5071335"/>
              <a:gd name="connsiteX3894" fmla="*/ 2391200 w 13768337"/>
              <a:gd name="connsiteY3894" fmla="*/ 2634358 h 5071335"/>
              <a:gd name="connsiteX3895" fmla="*/ 2463488 w 13768337"/>
              <a:gd name="connsiteY3895" fmla="*/ 2626833 h 5071335"/>
              <a:gd name="connsiteX3896" fmla="*/ 2471366 w 13768337"/>
              <a:gd name="connsiteY3896" fmla="*/ 2615963 h 5071335"/>
              <a:gd name="connsiteX3897" fmla="*/ 2430124 w 13768337"/>
              <a:gd name="connsiteY3897" fmla="*/ 2609971 h 5071335"/>
              <a:gd name="connsiteX3898" fmla="*/ 2389346 w 13768337"/>
              <a:gd name="connsiteY3898" fmla="*/ 2589345 h 5071335"/>
              <a:gd name="connsiteX3899" fmla="*/ 2368030 w 13768337"/>
              <a:gd name="connsiteY3899" fmla="*/ 2616520 h 5071335"/>
              <a:gd name="connsiteX3900" fmla="*/ 2273496 w 13768337"/>
              <a:gd name="connsiteY3900" fmla="*/ 2582377 h 5071335"/>
              <a:gd name="connsiteX3901" fmla="*/ 2246069 w 13768337"/>
              <a:gd name="connsiteY3901" fmla="*/ 2585751 h 5071335"/>
              <a:gd name="connsiteX3902" fmla="*/ 2249136 w 13768337"/>
              <a:gd name="connsiteY3902" fmla="*/ 2588922 h 5071335"/>
              <a:gd name="connsiteX3903" fmla="*/ 2249556 w 13768337"/>
              <a:gd name="connsiteY3903" fmla="*/ 2596192 h 5071335"/>
              <a:gd name="connsiteX3904" fmla="*/ 2215730 w 13768337"/>
              <a:gd name="connsiteY3904" fmla="*/ 2601489 h 5071335"/>
              <a:gd name="connsiteX3905" fmla="*/ 2224997 w 13768337"/>
              <a:gd name="connsiteY3905" fmla="*/ 2612220 h 5071335"/>
              <a:gd name="connsiteX3906" fmla="*/ 2224997 w 13768337"/>
              <a:gd name="connsiteY3906" fmla="*/ 2617794 h 5071335"/>
              <a:gd name="connsiteX3907" fmla="*/ 2224997 w 13768337"/>
              <a:gd name="connsiteY3907" fmla="*/ 2628524 h 5071335"/>
              <a:gd name="connsiteX3908" fmla="*/ 2193486 w 13768337"/>
              <a:gd name="connsiteY3908" fmla="*/ 2596192 h 5071335"/>
              <a:gd name="connsiteX3909" fmla="*/ 2200966 w 13768337"/>
              <a:gd name="connsiteY3909" fmla="*/ 2587657 h 5071335"/>
              <a:gd name="connsiteX3910" fmla="*/ 2203157 w 13768337"/>
              <a:gd name="connsiteY3910" fmla="*/ 2587054 h 5071335"/>
              <a:gd name="connsiteX3911" fmla="*/ 2161356 w 13768337"/>
              <a:gd name="connsiteY3911" fmla="*/ 2583353 h 5071335"/>
              <a:gd name="connsiteX3912" fmla="*/ 2161476 w 13768337"/>
              <a:gd name="connsiteY3912" fmla="*/ 2582945 h 5071335"/>
              <a:gd name="connsiteX3913" fmla="*/ 2159528 w 13768337"/>
              <a:gd name="connsiteY3913" fmla="*/ 2582723 h 5071335"/>
              <a:gd name="connsiteX3914" fmla="*/ 2147146 w 13768337"/>
              <a:gd name="connsiteY3914" fmla="*/ 2570411 h 5071335"/>
              <a:gd name="connsiteX3915" fmla="*/ 13527147 w 13768337"/>
              <a:gd name="connsiteY3915" fmla="*/ 2568106 h 5071335"/>
              <a:gd name="connsiteX3916" fmla="*/ 13525756 w 13768337"/>
              <a:gd name="connsiteY3916" fmla="*/ 2590682 h 5071335"/>
              <a:gd name="connsiteX3917" fmla="*/ 13461806 w 13768337"/>
              <a:gd name="connsiteY3917" fmla="*/ 2577024 h 5071335"/>
              <a:gd name="connsiteX3918" fmla="*/ 13469683 w 13768337"/>
              <a:gd name="connsiteY3918" fmla="*/ 2573401 h 5071335"/>
              <a:gd name="connsiteX3919" fmla="*/ 13527147 w 13768337"/>
              <a:gd name="connsiteY3919" fmla="*/ 2568106 h 5071335"/>
              <a:gd name="connsiteX3920" fmla="*/ 13334837 w 13768337"/>
              <a:gd name="connsiteY3920" fmla="*/ 2556539 h 5071335"/>
              <a:gd name="connsiteX3921" fmla="*/ 13345493 w 13768337"/>
              <a:gd name="connsiteY3921" fmla="*/ 2557375 h 5071335"/>
              <a:gd name="connsiteX3922" fmla="*/ 13345493 w 13768337"/>
              <a:gd name="connsiteY3922" fmla="*/ 2570197 h 5071335"/>
              <a:gd name="connsiteX3923" fmla="*/ 13330666 w 13768337"/>
              <a:gd name="connsiteY3923" fmla="*/ 2563089 h 5071335"/>
              <a:gd name="connsiteX3924" fmla="*/ 13334837 w 13768337"/>
              <a:gd name="connsiteY3924" fmla="*/ 2556539 h 5071335"/>
              <a:gd name="connsiteX3925" fmla="*/ 1546589 w 13768337"/>
              <a:gd name="connsiteY3925" fmla="*/ 2554663 h 5071335"/>
              <a:gd name="connsiteX3926" fmla="*/ 1570684 w 13768337"/>
              <a:gd name="connsiteY3926" fmla="*/ 2554663 h 5071335"/>
              <a:gd name="connsiteX3927" fmla="*/ 1546589 w 13768337"/>
              <a:gd name="connsiteY3927" fmla="*/ 2554663 h 5071335"/>
              <a:gd name="connsiteX3928" fmla="*/ 13457636 w 13768337"/>
              <a:gd name="connsiteY3928" fmla="*/ 2553195 h 5071335"/>
              <a:gd name="connsiteX3929" fmla="*/ 13439564 w 13768337"/>
              <a:gd name="connsiteY3929" fmla="*/ 2558350 h 5071335"/>
              <a:gd name="connsiteX3930" fmla="*/ 13457636 w 13768337"/>
              <a:gd name="connsiteY3930" fmla="*/ 2553195 h 5071335"/>
              <a:gd name="connsiteX3931" fmla="*/ 1659657 w 13768337"/>
              <a:gd name="connsiteY3931" fmla="*/ 2550482 h 5071335"/>
              <a:gd name="connsiteX3932" fmla="*/ 1682362 w 13768337"/>
              <a:gd name="connsiteY3932" fmla="*/ 2550482 h 5071335"/>
              <a:gd name="connsiteX3933" fmla="*/ 1659657 w 13768337"/>
              <a:gd name="connsiteY3933" fmla="*/ 2550482 h 5071335"/>
              <a:gd name="connsiteX3934" fmla="*/ 1931668 w 13768337"/>
              <a:gd name="connsiteY3934" fmla="*/ 2549088 h 5071335"/>
              <a:gd name="connsiteX3935" fmla="*/ 1868184 w 13768337"/>
              <a:gd name="connsiteY3935" fmla="*/ 2574870 h 5071335"/>
              <a:gd name="connsiteX3936" fmla="*/ 1931668 w 13768337"/>
              <a:gd name="connsiteY3936" fmla="*/ 2549088 h 5071335"/>
              <a:gd name="connsiteX3937" fmla="*/ 1169848 w 13768337"/>
              <a:gd name="connsiteY3937" fmla="*/ 2548113 h 5071335"/>
              <a:gd name="connsiteX3938" fmla="*/ 1180043 w 13768337"/>
              <a:gd name="connsiteY3938" fmla="*/ 2549088 h 5071335"/>
              <a:gd name="connsiteX3939" fmla="*/ 1193482 w 13768337"/>
              <a:gd name="connsiteY3939" fmla="*/ 2563025 h 5071335"/>
              <a:gd name="connsiteX3940" fmla="*/ 1165214 w 13768337"/>
              <a:gd name="connsiteY3940" fmla="*/ 2551458 h 5071335"/>
              <a:gd name="connsiteX3941" fmla="*/ 1169848 w 13768337"/>
              <a:gd name="connsiteY3941" fmla="*/ 2548113 h 5071335"/>
              <a:gd name="connsiteX3942" fmla="*/ 13701323 w 13768337"/>
              <a:gd name="connsiteY3942" fmla="*/ 2547933 h 5071335"/>
              <a:gd name="connsiteX3943" fmla="*/ 13706016 w 13768337"/>
              <a:gd name="connsiteY3943" fmla="*/ 2551801 h 5071335"/>
              <a:gd name="connsiteX3944" fmla="*/ 13689334 w 13768337"/>
              <a:gd name="connsiteY3944" fmla="*/ 2562114 h 5071335"/>
              <a:gd name="connsiteX3945" fmla="*/ 13694895 w 13768337"/>
              <a:gd name="connsiteY3945" fmla="*/ 2548037 h 5071335"/>
              <a:gd name="connsiteX3946" fmla="*/ 13701323 w 13768337"/>
              <a:gd name="connsiteY3946" fmla="*/ 2547933 h 5071335"/>
              <a:gd name="connsiteX3947" fmla="*/ 353347 w 13768337"/>
              <a:gd name="connsiteY3947" fmla="*/ 2531250 h 5071335"/>
              <a:gd name="connsiteX3948" fmla="*/ 384859 w 13768337"/>
              <a:gd name="connsiteY3948" fmla="*/ 2538357 h 5071335"/>
              <a:gd name="connsiteX3949" fmla="*/ 345007 w 13768337"/>
              <a:gd name="connsiteY3949" fmla="*/ 2538357 h 5071335"/>
              <a:gd name="connsiteX3950" fmla="*/ 353347 w 13768337"/>
              <a:gd name="connsiteY3950" fmla="*/ 2531250 h 5071335"/>
              <a:gd name="connsiteX3951" fmla="*/ 2218353 w 13768337"/>
              <a:gd name="connsiteY3951" fmla="*/ 2528305 h 5071335"/>
              <a:gd name="connsiteX3952" fmla="*/ 2210476 w 13768337"/>
              <a:gd name="connsiteY3952" fmla="*/ 2529141 h 5071335"/>
              <a:gd name="connsiteX3953" fmla="*/ 2203524 w 13768337"/>
              <a:gd name="connsiteY3953" fmla="*/ 2550463 h 5071335"/>
              <a:gd name="connsiteX3954" fmla="*/ 2231793 w 13768337"/>
              <a:gd name="connsiteY3954" fmla="*/ 2546840 h 5071335"/>
              <a:gd name="connsiteX3955" fmla="*/ 2227158 w 13768337"/>
              <a:gd name="connsiteY3955" fmla="*/ 2536527 h 5071335"/>
              <a:gd name="connsiteX3956" fmla="*/ 2239206 w 13768337"/>
              <a:gd name="connsiteY3956" fmla="*/ 2530953 h 5071335"/>
              <a:gd name="connsiteX3957" fmla="*/ 2218353 w 13768337"/>
              <a:gd name="connsiteY3957" fmla="*/ 2528305 h 5071335"/>
              <a:gd name="connsiteX3958" fmla="*/ 1941401 w 13768337"/>
              <a:gd name="connsiteY3958" fmla="*/ 2522331 h 5071335"/>
              <a:gd name="connsiteX3959" fmla="*/ 1904791 w 13768337"/>
              <a:gd name="connsiteY3959" fmla="*/ 2538357 h 5071335"/>
              <a:gd name="connsiteX3960" fmla="*/ 1941401 w 13768337"/>
              <a:gd name="connsiteY3960" fmla="*/ 2549088 h 5071335"/>
              <a:gd name="connsiteX3961" fmla="*/ 1949277 w 13768337"/>
              <a:gd name="connsiteY3961" fmla="*/ 2543792 h 5071335"/>
              <a:gd name="connsiteX3962" fmla="*/ 1963643 w 13768337"/>
              <a:gd name="connsiteY3962" fmla="*/ 2559679 h 5071335"/>
              <a:gd name="connsiteX3963" fmla="*/ 1941401 w 13768337"/>
              <a:gd name="connsiteY3963" fmla="*/ 2574870 h 5071335"/>
              <a:gd name="connsiteX3964" fmla="*/ 1978008 w 13768337"/>
              <a:gd name="connsiteY3964" fmla="*/ 2549088 h 5071335"/>
              <a:gd name="connsiteX3965" fmla="*/ 1941401 w 13768337"/>
              <a:gd name="connsiteY3965" fmla="*/ 2522331 h 5071335"/>
              <a:gd name="connsiteX3966" fmla="*/ 1802844 w 13768337"/>
              <a:gd name="connsiteY3966" fmla="*/ 2513829 h 5071335"/>
              <a:gd name="connsiteX3967" fmla="*/ 1775504 w 13768337"/>
              <a:gd name="connsiteY3967" fmla="*/ 2533062 h 5071335"/>
              <a:gd name="connsiteX3968" fmla="*/ 1811648 w 13768337"/>
              <a:gd name="connsiteY3968" fmla="*/ 2517036 h 5071335"/>
              <a:gd name="connsiteX3969" fmla="*/ 1802844 w 13768337"/>
              <a:gd name="connsiteY3969" fmla="*/ 2513829 h 5071335"/>
              <a:gd name="connsiteX3970" fmla="*/ 249085 w 13768337"/>
              <a:gd name="connsiteY3970" fmla="*/ 2504632 h 5071335"/>
              <a:gd name="connsiteX3971" fmla="*/ 270863 w 13768337"/>
              <a:gd name="connsiteY3971" fmla="*/ 2525118 h 5071335"/>
              <a:gd name="connsiteX3972" fmla="*/ 262986 w 13768337"/>
              <a:gd name="connsiteY3972" fmla="*/ 2519962 h 5071335"/>
              <a:gd name="connsiteX3973" fmla="*/ 244450 w 13768337"/>
              <a:gd name="connsiteY3973" fmla="*/ 2525118 h 5071335"/>
              <a:gd name="connsiteX3974" fmla="*/ 249085 w 13768337"/>
              <a:gd name="connsiteY3974" fmla="*/ 2504632 h 5071335"/>
              <a:gd name="connsiteX3975" fmla="*/ 1138801 w 13768337"/>
              <a:gd name="connsiteY3975" fmla="*/ 2502542 h 5071335"/>
              <a:gd name="connsiteX3976" fmla="*/ 1145751 w 13768337"/>
              <a:gd name="connsiteY3976" fmla="*/ 2505468 h 5071335"/>
              <a:gd name="connsiteX3977" fmla="*/ 1145751 w 13768337"/>
              <a:gd name="connsiteY3977" fmla="*/ 2521495 h 5071335"/>
              <a:gd name="connsiteX3978" fmla="*/ 1134630 w 13768337"/>
              <a:gd name="connsiteY3978" fmla="*/ 2502820 h 5071335"/>
              <a:gd name="connsiteX3979" fmla="*/ 1138801 w 13768337"/>
              <a:gd name="connsiteY3979" fmla="*/ 2502542 h 5071335"/>
              <a:gd name="connsiteX3980" fmla="*/ 1885329 w 13768337"/>
              <a:gd name="connsiteY3980" fmla="*/ 2500730 h 5071335"/>
              <a:gd name="connsiteX3981" fmla="*/ 1895061 w 13768337"/>
              <a:gd name="connsiteY3981" fmla="*/ 2522331 h 5071335"/>
              <a:gd name="connsiteX3982" fmla="*/ 1909425 w 13768337"/>
              <a:gd name="connsiteY3982" fmla="*/ 2506444 h 5071335"/>
              <a:gd name="connsiteX3983" fmla="*/ 1885329 w 13768337"/>
              <a:gd name="connsiteY3983" fmla="*/ 2500730 h 5071335"/>
              <a:gd name="connsiteX3984" fmla="*/ 1385326 w 13768337"/>
              <a:gd name="connsiteY3984" fmla="*/ 2500730 h 5071335"/>
              <a:gd name="connsiteX3985" fmla="*/ 1412203 w 13768337"/>
              <a:gd name="connsiteY3985" fmla="*/ 2511600 h 5071335"/>
              <a:gd name="connsiteX3986" fmla="*/ 1348255 w 13768337"/>
              <a:gd name="connsiteY3986" fmla="*/ 2517036 h 5071335"/>
              <a:gd name="connsiteX3987" fmla="*/ 1385326 w 13768337"/>
              <a:gd name="connsiteY3987" fmla="*/ 2500730 h 5071335"/>
              <a:gd name="connsiteX3988" fmla="*/ 990051 w 13768337"/>
              <a:gd name="connsiteY3988" fmla="*/ 2500730 h 5071335"/>
              <a:gd name="connsiteX3989" fmla="*/ 1030367 w 13768337"/>
              <a:gd name="connsiteY3989" fmla="*/ 2515781 h 5071335"/>
              <a:gd name="connsiteX3990" fmla="*/ 1016465 w 13768337"/>
              <a:gd name="connsiteY3990" fmla="*/ 2531250 h 5071335"/>
              <a:gd name="connsiteX3991" fmla="*/ 967809 w 13768337"/>
              <a:gd name="connsiteY3991" fmla="*/ 2520937 h 5071335"/>
              <a:gd name="connsiteX3992" fmla="*/ 990051 w 13768337"/>
              <a:gd name="connsiteY3992" fmla="*/ 2500730 h 5071335"/>
              <a:gd name="connsiteX3993" fmla="*/ 1302379 w 13768337"/>
              <a:gd name="connsiteY3993" fmla="*/ 2498918 h 5071335"/>
              <a:gd name="connsiteX3994" fmla="*/ 1313500 w 13768337"/>
              <a:gd name="connsiteY3994" fmla="*/ 2504075 h 5071335"/>
              <a:gd name="connsiteX3995" fmla="*/ 1300526 w 13768337"/>
              <a:gd name="connsiteY3995" fmla="*/ 2525676 h 5071335"/>
              <a:gd name="connsiteX3996" fmla="*/ 1302379 w 13768337"/>
              <a:gd name="connsiteY3996" fmla="*/ 2498918 h 5071335"/>
              <a:gd name="connsiteX3997" fmla="*/ 152235 w 13768337"/>
              <a:gd name="connsiteY3997" fmla="*/ 2491532 h 5071335"/>
              <a:gd name="connsiteX3998" fmla="*/ 172162 w 13768337"/>
              <a:gd name="connsiteY3998" fmla="*/ 2494738 h 5071335"/>
              <a:gd name="connsiteX3999" fmla="*/ 137870 w 13768337"/>
              <a:gd name="connsiteY3999" fmla="*/ 2505468 h 5071335"/>
              <a:gd name="connsiteX4000" fmla="*/ 152235 w 13768337"/>
              <a:gd name="connsiteY4000" fmla="*/ 2491532 h 5071335"/>
              <a:gd name="connsiteX4001" fmla="*/ 13559582 w 13768337"/>
              <a:gd name="connsiteY4001" fmla="*/ 2485046 h 5071335"/>
              <a:gd name="connsiteX4002" fmla="*/ 13567460 w 13768337"/>
              <a:gd name="connsiteY4002" fmla="*/ 2486859 h 5071335"/>
              <a:gd name="connsiteX4003" fmla="*/ 13554485 w 13768337"/>
              <a:gd name="connsiteY4003" fmla="*/ 2500794 h 5071335"/>
              <a:gd name="connsiteX4004" fmla="*/ 13554022 w 13768337"/>
              <a:gd name="connsiteY4004" fmla="*/ 2486301 h 5071335"/>
              <a:gd name="connsiteX4005" fmla="*/ 13559582 w 13768337"/>
              <a:gd name="connsiteY4005" fmla="*/ 2485046 h 5071335"/>
              <a:gd name="connsiteX4006" fmla="*/ 897467 w 13768337"/>
              <a:gd name="connsiteY4006" fmla="*/ 2480738 h 5071335"/>
              <a:gd name="connsiteX4007" fmla="*/ 918225 w 13768337"/>
              <a:gd name="connsiteY4007" fmla="*/ 2481220 h 5071335"/>
              <a:gd name="connsiteX4008" fmla="*/ 881153 w 13768337"/>
              <a:gd name="connsiteY4008" fmla="*/ 2503657 h 5071335"/>
              <a:gd name="connsiteX4009" fmla="*/ 900153 w 13768337"/>
              <a:gd name="connsiteY4009" fmla="*/ 2503657 h 5071335"/>
              <a:gd name="connsiteX4010" fmla="*/ 849180 w 13768337"/>
              <a:gd name="connsiteY4010" fmla="*/ 2498082 h 5071335"/>
              <a:gd name="connsiteX4011" fmla="*/ 897467 w 13768337"/>
              <a:gd name="connsiteY4011" fmla="*/ 2480738 h 5071335"/>
              <a:gd name="connsiteX4012" fmla="*/ 228695 w 13768337"/>
              <a:gd name="connsiteY4012" fmla="*/ 2478292 h 5071335"/>
              <a:gd name="connsiteX4013" fmla="*/ 246304 w 13768337"/>
              <a:gd name="connsiteY4013" fmla="*/ 2483867 h 5071335"/>
              <a:gd name="connsiteX4014" fmla="*/ 224061 w 13768337"/>
              <a:gd name="connsiteY4014" fmla="*/ 2509650 h 5071335"/>
              <a:gd name="connsiteX4015" fmla="*/ 233792 w 13768337"/>
              <a:gd name="connsiteY4015" fmla="*/ 2531668 h 5071335"/>
              <a:gd name="connsiteX4016" fmla="*/ 218964 w 13768337"/>
              <a:gd name="connsiteY4016" fmla="*/ 2531668 h 5071335"/>
              <a:gd name="connsiteX4017" fmla="*/ 237036 w 13768337"/>
              <a:gd name="connsiteY4017" fmla="*/ 2542539 h 5071335"/>
              <a:gd name="connsiteX4018" fmla="*/ 196257 w 13768337"/>
              <a:gd name="connsiteY4018" fmla="*/ 2536824 h 5071335"/>
              <a:gd name="connsiteX4019" fmla="*/ 167063 w 13768337"/>
              <a:gd name="connsiteY4019" fmla="*/ 2520937 h 5071335"/>
              <a:gd name="connsiteX4020" fmla="*/ 181892 w 13768337"/>
              <a:gd name="connsiteY4020" fmla="*/ 2494738 h 5071335"/>
              <a:gd name="connsiteX4021" fmla="*/ 224061 w 13768337"/>
              <a:gd name="connsiteY4021" fmla="*/ 2498918 h 5071335"/>
              <a:gd name="connsiteX4022" fmla="*/ 228695 w 13768337"/>
              <a:gd name="connsiteY4022" fmla="*/ 2478292 h 5071335"/>
              <a:gd name="connsiteX4023" fmla="*/ 13628628 w 13768337"/>
              <a:gd name="connsiteY4023" fmla="*/ 2462470 h 5071335"/>
              <a:gd name="connsiteX4024" fmla="*/ 13641603 w 13768337"/>
              <a:gd name="connsiteY4024" fmla="*/ 2471389 h 5071335"/>
              <a:gd name="connsiteX4025" fmla="*/ 13621676 w 13768337"/>
              <a:gd name="connsiteY4025" fmla="*/ 2462888 h 5071335"/>
              <a:gd name="connsiteX4026" fmla="*/ 13628628 w 13768337"/>
              <a:gd name="connsiteY4026" fmla="*/ 2462470 h 5071335"/>
              <a:gd name="connsiteX4027" fmla="*/ 13607313 w 13768337"/>
              <a:gd name="connsiteY4027" fmla="*/ 2462053 h 5071335"/>
              <a:gd name="connsiteX4028" fmla="*/ 13617044 w 13768337"/>
              <a:gd name="connsiteY4028" fmla="*/ 2464700 h 5071335"/>
              <a:gd name="connsiteX4029" fmla="*/ 13605458 w 13768337"/>
              <a:gd name="connsiteY4029" fmla="*/ 2476824 h 5071335"/>
              <a:gd name="connsiteX4030" fmla="*/ 13597118 w 13768337"/>
              <a:gd name="connsiteY4030" fmla="*/ 2466651 h 5071335"/>
              <a:gd name="connsiteX4031" fmla="*/ 13607313 w 13768337"/>
              <a:gd name="connsiteY4031" fmla="*/ 2462053 h 5071335"/>
              <a:gd name="connsiteX4032" fmla="*/ 13526218 w 13768337"/>
              <a:gd name="connsiteY4032" fmla="*/ 2452715 h 5071335"/>
              <a:gd name="connsiteX4033" fmla="*/ 13530389 w 13768337"/>
              <a:gd name="connsiteY4033" fmla="*/ 2453969 h 5071335"/>
              <a:gd name="connsiteX4034" fmla="*/ 13541509 w 13768337"/>
              <a:gd name="connsiteY4034" fmla="*/ 2455780 h 5071335"/>
              <a:gd name="connsiteX4035" fmla="*/ 13500270 w 13768337"/>
              <a:gd name="connsiteY4035" fmla="*/ 2503582 h 5071335"/>
              <a:gd name="connsiteX4036" fmla="*/ 13522974 w 13768337"/>
              <a:gd name="connsiteY4036" fmla="*/ 2457313 h 5071335"/>
              <a:gd name="connsiteX4037" fmla="*/ 13526218 w 13768337"/>
              <a:gd name="connsiteY4037" fmla="*/ 2452715 h 5071335"/>
              <a:gd name="connsiteX4038" fmla="*/ 1044732 w 13768337"/>
              <a:gd name="connsiteY4038" fmla="*/ 2450700 h 5071335"/>
              <a:gd name="connsiteX4039" fmla="*/ 1101729 w 13768337"/>
              <a:gd name="connsiteY4039" fmla="*/ 2450700 h 5071335"/>
              <a:gd name="connsiteX4040" fmla="*/ 1106364 w 13768337"/>
              <a:gd name="connsiteY4040" fmla="*/ 2461987 h 5071335"/>
              <a:gd name="connsiteX4041" fmla="*/ 1084584 w 13768337"/>
              <a:gd name="connsiteY4041" fmla="*/ 2461987 h 5071335"/>
              <a:gd name="connsiteX4042" fmla="*/ 1075316 w 13768337"/>
              <a:gd name="connsiteY4042" fmla="*/ 2479407 h 5071335"/>
              <a:gd name="connsiteX4043" fmla="*/ 1097095 w 13768337"/>
              <a:gd name="connsiteY4043" fmla="*/ 2506025 h 5071335"/>
              <a:gd name="connsiteX4044" fmla="*/ 1052147 w 13768337"/>
              <a:gd name="connsiteY4044" fmla="*/ 2494738 h 5071335"/>
              <a:gd name="connsiteX4045" fmla="*/ 1070682 w 13768337"/>
              <a:gd name="connsiteY4045" fmla="*/ 2483589 h 5071335"/>
              <a:gd name="connsiteX4046" fmla="*/ 1054000 w 13768337"/>
              <a:gd name="connsiteY4046" fmla="*/ 2461987 h 5071335"/>
              <a:gd name="connsiteX4047" fmla="*/ 1049366 w 13768337"/>
              <a:gd name="connsiteY4047" fmla="*/ 2500450 h 5071335"/>
              <a:gd name="connsiteX4048" fmla="*/ 1016929 w 13768337"/>
              <a:gd name="connsiteY4048" fmla="*/ 2500450 h 5071335"/>
              <a:gd name="connsiteX4049" fmla="*/ 1018318 w 13768337"/>
              <a:gd name="connsiteY4049" fmla="*/ 2479407 h 5071335"/>
              <a:gd name="connsiteX4050" fmla="*/ 1044732 w 13768337"/>
              <a:gd name="connsiteY4050" fmla="*/ 2450700 h 5071335"/>
              <a:gd name="connsiteX4051" fmla="*/ 13708332 w 13768337"/>
              <a:gd name="connsiteY4051" fmla="*/ 2449788 h 5071335"/>
              <a:gd name="connsiteX4052" fmla="*/ 13720382 w 13768337"/>
              <a:gd name="connsiteY4052" fmla="*/ 2457871 h 5071335"/>
              <a:gd name="connsiteX4053" fmla="*/ 13702771 w 13768337"/>
              <a:gd name="connsiteY4053" fmla="*/ 2464700 h 5071335"/>
              <a:gd name="connsiteX4054" fmla="*/ 13708332 w 13768337"/>
              <a:gd name="connsiteY4054" fmla="*/ 2449788 h 5071335"/>
              <a:gd name="connsiteX4055" fmla="*/ 950663 w 13768337"/>
              <a:gd name="connsiteY4055" fmla="*/ 2446518 h 5071335"/>
              <a:gd name="connsiteX4056" fmla="*/ 1007197 w 13768337"/>
              <a:gd name="connsiteY4056" fmla="*/ 2468955 h 5071335"/>
              <a:gd name="connsiteX4057" fmla="*/ 1002563 w 13768337"/>
              <a:gd name="connsiteY4057" fmla="*/ 2500730 h 5071335"/>
              <a:gd name="connsiteX4058" fmla="*/ 982637 w 13768337"/>
              <a:gd name="connsiteY4058" fmla="*/ 2468955 h 5071335"/>
              <a:gd name="connsiteX4059" fmla="*/ 927956 w 13768337"/>
              <a:gd name="connsiteY4059" fmla="*/ 2479686 h 5071335"/>
              <a:gd name="connsiteX4060" fmla="*/ 918225 w 13768337"/>
              <a:gd name="connsiteY4060" fmla="*/ 2463382 h 5071335"/>
              <a:gd name="connsiteX4061" fmla="*/ 950663 w 13768337"/>
              <a:gd name="connsiteY4061" fmla="*/ 2446518 h 5071335"/>
              <a:gd name="connsiteX4062" fmla="*/ 2031761 w 13768337"/>
              <a:gd name="connsiteY4062" fmla="*/ 2438156 h 5071335"/>
              <a:gd name="connsiteX4063" fmla="*/ 1990519 w 13768337"/>
              <a:gd name="connsiteY4063" fmla="*/ 2455995 h 5071335"/>
              <a:gd name="connsiteX4064" fmla="*/ 2031761 w 13768337"/>
              <a:gd name="connsiteY4064" fmla="*/ 2438156 h 5071335"/>
              <a:gd name="connsiteX4065" fmla="*/ 1788480 w 13768337"/>
              <a:gd name="connsiteY4065" fmla="*/ 2436902 h 5071335"/>
              <a:gd name="connsiteX4066" fmla="*/ 1810723 w 13768337"/>
              <a:gd name="connsiteY4066" fmla="*/ 2439133 h 5071335"/>
              <a:gd name="connsiteX4067" fmla="*/ 1788015 w 13768337"/>
              <a:gd name="connsiteY4067" fmla="*/ 2455020 h 5071335"/>
              <a:gd name="connsiteX4068" fmla="*/ 1782918 w 13768337"/>
              <a:gd name="connsiteY4068" fmla="*/ 2439133 h 5071335"/>
              <a:gd name="connsiteX4069" fmla="*/ 1788480 w 13768337"/>
              <a:gd name="connsiteY4069" fmla="*/ 2436902 h 5071335"/>
              <a:gd name="connsiteX4070" fmla="*/ 2043202 w 13768337"/>
              <a:gd name="connsiteY4070" fmla="*/ 2427753 h 5071335"/>
              <a:gd name="connsiteX4071" fmla="*/ 2054931 w 13768337"/>
              <a:gd name="connsiteY4071" fmla="*/ 2435787 h 5071335"/>
              <a:gd name="connsiteX4072" fmla="*/ 2047980 w 13768337"/>
              <a:gd name="connsiteY4072" fmla="*/ 2432582 h 5071335"/>
              <a:gd name="connsiteX4073" fmla="*/ 2041492 w 13768337"/>
              <a:gd name="connsiteY4073" fmla="*/ 2442338 h 5071335"/>
              <a:gd name="connsiteX4074" fmla="*/ 2035005 w 13768337"/>
              <a:gd name="connsiteY4074" fmla="*/ 2433836 h 5071335"/>
              <a:gd name="connsiteX4075" fmla="*/ 2038714 w 13768337"/>
              <a:gd name="connsiteY4075" fmla="*/ 2427844 h 5071335"/>
              <a:gd name="connsiteX4076" fmla="*/ 2043202 w 13768337"/>
              <a:gd name="connsiteY4076" fmla="*/ 2427753 h 5071335"/>
              <a:gd name="connsiteX4077" fmla="*/ 1057243 w 13768337"/>
              <a:gd name="connsiteY4077" fmla="*/ 2418925 h 5071335"/>
              <a:gd name="connsiteX4078" fmla="*/ 1081341 w 13768337"/>
              <a:gd name="connsiteY4078" fmla="*/ 2430492 h 5071335"/>
              <a:gd name="connsiteX4079" fmla="*/ 1051683 w 13768337"/>
              <a:gd name="connsiteY4079" fmla="*/ 2425057 h 5071335"/>
              <a:gd name="connsiteX4080" fmla="*/ 1057243 w 13768337"/>
              <a:gd name="connsiteY4080" fmla="*/ 2418925 h 5071335"/>
              <a:gd name="connsiteX4081" fmla="*/ 1817674 w 13768337"/>
              <a:gd name="connsiteY4081" fmla="*/ 2409170 h 5071335"/>
              <a:gd name="connsiteX4082" fmla="*/ 1837136 w 13768337"/>
              <a:gd name="connsiteY4082" fmla="*/ 2430213 h 5071335"/>
              <a:gd name="connsiteX4083" fmla="*/ 1817674 w 13768337"/>
              <a:gd name="connsiteY4083" fmla="*/ 2409170 h 5071335"/>
              <a:gd name="connsiteX4084" fmla="*/ 873740 w 13768337"/>
              <a:gd name="connsiteY4084" fmla="*/ 2404989 h 5071335"/>
              <a:gd name="connsiteX4085" fmla="*/ 887178 w 13768337"/>
              <a:gd name="connsiteY4085" fmla="*/ 2435229 h 5071335"/>
              <a:gd name="connsiteX4086" fmla="*/ 882544 w 13768337"/>
              <a:gd name="connsiteY4086" fmla="*/ 2450700 h 5071335"/>
              <a:gd name="connsiteX4087" fmla="*/ 834351 w 13768337"/>
              <a:gd name="connsiteY4087" fmla="*/ 2445542 h 5071335"/>
              <a:gd name="connsiteX4088" fmla="*/ 843620 w 13768337"/>
              <a:gd name="connsiteY4088" fmla="*/ 2424499 h 5071335"/>
              <a:gd name="connsiteX4089" fmla="*/ 873740 w 13768337"/>
              <a:gd name="connsiteY4089" fmla="*/ 2404989 h 5071335"/>
              <a:gd name="connsiteX4090" fmla="*/ 1923171 w 13768337"/>
              <a:gd name="connsiteY4090" fmla="*/ 2399395 h 5071335"/>
              <a:gd name="connsiteX4091" fmla="*/ 1937072 w 13768337"/>
              <a:gd name="connsiteY4091" fmla="*/ 2399395 h 5071335"/>
              <a:gd name="connsiteX4092" fmla="*/ 1931976 w 13768337"/>
              <a:gd name="connsiteY4092" fmla="*/ 2415282 h 5071335"/>
              <a:gd name="connsiteX4093" fmla="*/ 1913903 w 13768337"/>
              <a:gd name="connsiteY4093" fmla="*/ 2404552 h 5071335"/>
              <a:gd name="connsiteX4094" fmla="*/ 1923171 w 13768337"/>
              <a:gd name="connsiteY4094" fmla="*/ 2399395 h 5071335"/>
              <a:gd name="connsiteX4095" fmla="*/ 1817674 w 13768337"/>
              <a:gd name="connsiteY4095" fmla="*/ 2394676 h 5071335"/>
              <a:gd name="connsiteX4096" fmla="*/ 1808406 w 13768337"/>
              <a:gd name="connsiteY4096" fmla="*/ 2399274 h 5071335"/>
              <a:gd name="connsiteX4097" fmla="*/ 1805626 w 13768337"/>
              <a:gd name="connsiteY4097" fmla="*/ 2408613 h 5071335"/>
              <a:gd name="connsiteX4098" fmla="*/ 1792650 w 13768337"/>
              <a:gd name="connsiteY4098" fmla="*/ 2396069 h 5071335"/>
              <a:gd name="connsiteX4099" fmla="*/ 1817674 w 13768337"/>
              <a:gd name="connsiteY4099" fmla="*/ 2394676 h 5071335"/>
              <a:gd name="connsiteX4100" fmla="*/ 1828176 w 13768337"/>
              <a:gd name="connsiteY4100" fmla="*/ 2391870 h 5071335"/>
              <a:gd name="connsiteX4101" fmla="*/ 1879612 w 13768337"/>
              <a:gd name="connsiteY4101" fmla="*/ 2395214 h 5071335"/>
              <a:gd name="connsiteX4102" fmla="*/ 1879612 w 13768337"/>
              <a:gd name="connsiteY4102" fmla="*/ 2415282 h 5071335"/>
              <a:gd name="connsiteX4103" fmla="*/ 1815200 w 13768337"/>
              <a:gd name="connsiteY4103" fmla="*/ 2400371 h 5071335"/>
              <a:gd name="connsiteX4104" fmla="*/ 1828176 w 13768337"/>
              <a:gd name="connsiteY4104" fmla="*/ 2391870 h 5071335"/>
              <a:gd name="connsiteX4105" fmla="*/ 1950048 w 13768337"/>
              <a:gd name="connsiteY4105" fmla="*/ 2373752 h 5071335"/>
              <a:gd name="connsiteX4106" fmla="*/ 1969974 w 13768337"/>
              <a:gd name="connsiteY4106" fmla="*/ 2373752 h 5071335"/>
              <a:gd name="connsiteX4107" fmla="*/ 1955145 w 13768337"/>
              <a:gd name="connsiteY4107" fmla="*/ 2394239 h 5071335"/>
              <a:gd name="connsiteX4108" fmla="*/ 1950048 w 13768337"/>
              <a:gd name="connsiteY4108" fmla="*/ 2373752 h 5071335"/>
              <a:gd name="connsiteX4109" fmla="*/ 1386561 w 13768337"/>
              <a:gd name="connsiteY4109" fmla="*/ 2364277 h 5071335"/>
              <a:gd name="connsiteX4110" fmla="*/ 1410194 w 13768337"/>
              <a:gd name="connsiteY4110" fmla="*/ 2368457 h 5071335"/>
              <a:gd name="connsiteX4111" fmla="*/ 1370341 w 13768337"/>
              <a:gd name="connsiteY4111" fmla="*/ 2375983 h 5071335"/>
              <a:gd name="connsiteX4112" fmla="*/ 1386561 w 13768337"/>
              <a:gd name="connsiteY4112" fmla="*/ 2364277 h 5071335"/>
              <a:gd name="connsiteX4113" fmla="*/ 675407 w 13768337"/>
              <a:gd name="connsiteY4113" fmla="*/ 2359975 h 5071335"/>
              <a:gd name="connsiteX4114" fmla="*/ 696259 w 13768337"/>
              <a:gd name="connsiteY4114" fmla="*/ 2360811 h 5071335"/>
              <a:gd name="connsiteX4115" fmla="*/ 664749 w 13768337"/>
              <a:gd name="connsiteY4115" fmla="*/ 2375026 h 5071335"/>
              <a:gd name="connsiteX4116" fmla="*/ 675407 w 13768337"/>
              <a:gd name="connsiteY4116" fmla="*/ 2359975 h 5071335"/>
              <a:gd name="connsiteX4117" fmla="*/ 844082 w 13768337"/>
              <a:gd name="connsiteY4117" fmla="*/ 2350639 h 5071335"/>
              <a:gd name="connsiteX4118" fmla="*/ 852424 w 13768337"/>
              <a:gd name="connsiteY4118" fmla="*/ 2351056 h 5071335"/>
              <a:gd name="connsiteX4119" fmla="*/ 830643 w 13768337"/>
              <a:gd name="connsiteY4119" fmla="*/ 2367082 h 5071335"/>
              <a:gd name="connsiteX4120" fmla="*/ 833888 w 13768337"/>
              <a:gd name="connsiteY4120" fmla="*/ 2384224 h 5071335"/>
              <a:gd name="connsiteX4121" fmla="*/ 826011 w 13768337"/>
              <a:gd name="connsiteY4121" fmla="*/ 2357187 h 5071335"/>
              <a:gd name="connsiteX4122" fmla="*/ 844082 w 13768337"/>
              <a:gd name="connsiteY4122" fmla="*/ 2350639 h 5071335"/>
              <a:gd name="connsiteX4123" fmla="*/ 712942 w 13768337"/>
              <a:gd name="connsiteY4123" fmla="*/ 2330571 h 5071335"/>
              <a:gd name="connsiteX4124" fmla="*/ 716185 w 13768337"/>
              <a:gd name="connsiteY4124" fmla="*/ 2352450 h 5071335"/>
              <a:gd name="connsiteX4125" fmla="*/ 744916 w 13768337"/>
              <a:gd name="connsiteY4125" fmla="*/ 2352450 h 5071335"/>
              <a:gd name="connsiteX4126" fmla="*/ 720820 w 13768337"/>
              <a:gd name="connsiteY4126" fmla="*/ 2358163 h 5071335"/>
              <a:gd name="connsiteX4127" fmla="*/ 744916 w 13768337"/>
              <a:gd name="connsiteY4127" fmla="*/ 2373076 h 5071335"/>
              <a:gd name="connsiteX4128" fmla="*/ 789865 w 13768337"/>
              <a:gd name="connsiteY4128" fmla="*/ 2358163 h 5071335"/>
              <a:gd name="connsiteX4129" fmla="*/ 749550 w 13768337"/>
              <a:gd name="connsiteY4129" fmla="*/ 2395512 h 5071335"/>
              <a:gd name="connsiteX4130" fmla="*/ 730551 w 13768337"/>
              <a:gd name="connsiteY4130" fmla="*/ 2373076 h 5071335"/>
              <a:gd name="connsiteX4131" fmla="*/ 703674 w 13768337"/>
              <a:gd name="connsiteY4131" fmla="*/ 2384224 h 5071335"/>
              <a:gd name="connsiteX4132" fmla="*/ 716185 w 13768337"/>
              <a:gd name="connsiteY4132" fmla="*/ 2378648 h 5071335"/>
              <a:gd name="connsiteX4133" fmla="*/ 698113 w 13768337"/>
              <a:gd name="connsiteY4133" fmla="*/ 2367918 h 5071335"/>
              <a:gd name="connsiteX4134" fmla="*/ 716185 w 13768337"/>
              <a:gd name="connsiteY4134" fmla="*/ 2362345 h 5071335"/>
              <a:gd name="connsiteX4135" fmla="*/ 666603 w 13768337"/>
              <a:gd name="connsiteY4135" fmla="*/ 2358163 h 5071335"/>
              <a:gd name="connsiteX4136" fmla="*/ 688845 w 13768337"/>
              <a:gd name="connsiteY4136" fmla="*/ 2335587 h 5071335"/>
              <a:gd name="connsiteX4137" fmla="*/ 708308 w 13768337"/>
              <a:gd name="connsiteY4137" fmla="*/ 2352450 h 5071335"/>
              <a:gd name="connsiteX4138" fmla="*/ 712942 w 13768337"/>
              <a:gd name="connsiteY4138" fmla="*/ 2330571 h 5071335"/>
              <a:gd name="connsiteX4139" fmla="*/ 1311183 w 13768337"/>
              <a:gd name="connsiteY4139" fmla="*/ 2313985 h 5071335"/>
              <a:gd name="connsiteX4140" fmla="*/ 1328793 w 13768337"/>
              <a:gd name="connsiteY4140" fmla="*/ 2319700 h 5071335"/>
              <a:gd name="connsiteX4141" fmla="*/ 1328793 w 13768337"/>
              <a:gd name="connsiteY4141" fmla="*/ 2342695 h 5071335"/>
              <a:gd name="connsiteX4142" fmla="*/ 1298672 w 13768337"/>
              <a:gd name="connsiteY4142" fmla="*/ 2325274 h 5071335"/>
              <a:gd name="connsiteX4143" fmla="*/ 1311183 w 13768337"/>
              <a:gd name="connsiteY4143" fmla="*/ 2313985 h 5071335"/>
              <a:gd name="connsiteX4144" fmla="*/ 1389034 w 13768337"/>
              <a:gd name="connsiteY4144" fmla="*/ 2313706 h 5071335"/>
              <a:gd name="connsiteX4145" fmla="*/ 1403862 w 13768337"/>
              <a:gd name="connsiteY4145" fmla="*/ 2316354 h 5071335"/>
              <a:gd name="connsiteX4146" fmla="*/ 1398302 w 13768337"/>
              <a:gd name="connsiteY4146" fmla="*/ 2338374 h 5071335"/>
              <a:gd name="connsiteX4147" fmla="*/ 1377449 w 13768337"/>
              <a:gd name="connsiteY4147" fmla="*/ 2322068 h 5071335"/>
              <a:gd name="connsiteX4148" fmla="*/ 1389034 w 13768337"/>
              <a:gd name="connsiteY4148" fmla="*/ 2313706 h 5071335"/>
              <a:gd name="connsiteX4149" fmla="*/ 1619341 w 13768337"/>
              <a:gd name="connsiteY4149" fmla="*/ 2310363 h 5071335"/>
              <a:gd name="connsiteX4150" fmla="*/ 1627682 w 13768337"/>
              <a:gd name="connsiteY4150" fmla="*/ 2315518 h 5071335"/>
              <a:gd name="connsiteX4151" fmla="*/ 1614244 w 13768337"/>
              <a:gd name="connsiteY4151" fmla="*/ 2315518 h 5071335"/>
              <a:gd name="connsiteX4152" fmla="*/ 1619341 w 13768337"/>
              <a:gd name="connsiteY4152" fmla="*/ 2310363 h 5071335"/>
              <a:gd name="connsiteX4153" fmla="*/ 1464567 w 13768337"/>
              <a:gd name="connsiteY4153" fmla="*/ 2310363 h 5071335"/>
              <a:gd name="connsiteX4154" fmla="*/ 1550758 w 13768337"/>
              <a:gd name="connsiteY4154" fmla="*/ 2322068 h 5071335"/>
              <a:gd name="connsiteX4155" fmla="*/ 1546124 w 13768337"/>
              <a:gd name="connsiteY4155" fmla="*/ 2331824 h 5071335"/>
              <a:gd name="connsiteX4156" fmla="*/ 1442324 w 13768337"/>
              <a:gd name="connsiteY4156" fmla="*/ 2320535 h 5071335"/>
              <a:gd name="connsiteX4157" fmla="*/ 1464567 w 13768337"/>
              <a:gd name="connsiteY4157" fmla="*/ 2310363 h 5071335"/>
              <a:gd name="connsiteX4158" fmla="*/ 1685143 w 13768337"/>
              <a:gd name="connsiteY4158" fmla="*/ 2292106 h 5071335"/>
              <a:gd name="connsiteX4159" fmla="*/ 1729165 w 13768337"/>
              <a:gd name="connsiteY4159" fmla="*/ 2295869 h 5071335"/>
              <a:gd name="connsiteX4160" fmla="*/ 1715263 w 13768337"/>
              <a:gd name="connsiteY4160" fmla="*/ 2326250 h 5071335"/>
              <a:gd name="connsiteX4161" fmla="*/ 1674485 w 13768337"/>
              <a:gd name="connsiteY4161" fmla="*/ 2300606 h 5071335"/>
              <a:gd name="connsiteX4162" fmla="*/ 1685143 w 13768337"/>
              <a:gd name="connsiteY4162" fmla="*/ 2292106 h 5071335"/>
              <a:gd name="connsiteX4163" fmla="*/ 1611462 w 13768337"/>
              <a:gd name="connsiteY4163" fmla="*/ 2289737 h 5071335"/>
              <a:gd name="connsiteX4164" fmla="*/ 1647608 w 13768337"/>
              <a:gd name="connsiteY4164" fmla="*/ 2289737 h 5071335"/>
              <a:gd name="connsiteX4165" fmla="*/ 1619341 w 13768337"/>
              <a:gd name="connsiteY4165" fmla="*/ 2310363 h 5071335"/>
              <a:gd name="connsiteX4166" fmla="*/ 1624437 w 13768337"/>
              <a:gd name="connsiteY4166" fmla="*/ 2305206 h 5071335"/>
              <a:gd name="connsiteX4167" fmla="*/ 1575781 w 13768337"/>
              <a:gd name="connsiteY4167" fmla="*/ 2300050 h 5071335"/>
              <a:gd name="connsiteX4168" fmla="*/ 1611462 w 13768337"/>
              <a:gd name="connsiteY4168" fmla="*/ 2289737 h 5071335"/>
              <a:gd name="connsiteX4169" fmla="*/ 1840687 w 13768337"/>
              <a:gd name="connsiteY4169" fmla="*/ 2289439 h 5071335"/>
              <a:gd name="connsiteX4170" fmla="*/ 1855978 w 13768337"/>
              <a:gd name="connsiteY4170" fmla="*/ 2291390 h 5071335"/>
              <a:gd name="connsiteX4171" fmla="*/ 1848101 w 13768337"/>
              <a:gd name="connsiteY4171" fmla="*/ 2323722 h 5071335"/>
              <a:gd name="connsiteX4172" fmla="*/ 1894177 w 13768337"/>
              <a:gd name="connsiteY4172" fmla="*/ 2327786 h 5071335"/>
              <a:gd name="connsiteX4173" fmla="*/ 1896451 w 13768337"/>
              <a:gd name="connsiteY4173" fmla="*/ 2326250 h 5071335"/>
              <a:gd name="connsiteX4174" fmla="*/ 1895962 w 13768337"/>
              <a:gd name="connsiteY4174" fmla="*/ 2327944 h 5071335"/>
              <a:gd name="connsiteX4175" fmla="*/ 1905273 w 13768337"/>
              <a:gd name="connsiteY4175" fmla="*/ 2328765 h 5071335"/>
              <a:gd name="connsiteX4176" fmla="*/ 2062189 w 13768337"/>
              <a:gd name="connsiteY4176" fmla="*/ 2349225 h 5071335"/>
              <a:gd name="connsiteX4177" fmla="*/ 2020339 w 13768337"/>
              <a:gd name="connsiteY4177" fmla="*/ 2356027 h 5071335"/>
              <a:gd name="connsiteX4178" fmla="*/ 2021770 w 13768337"/>
              <a:gd name="connsiteY4178" fmla="*/ 2358895 h 5071335"/>
              <a:gd name="connsiteX4179" fmla="*/ 1996225 w 13768337"/>
              <a:gd name="connsiteY4179" fmla="*/ 2362344 h 5071335"/>
              <a:gd name="connsiteX4180" fmla="*/ 1995079 w 13768337"/>
              <a:gd name="connsiteY4180" fmla="*/ 2358527 h 5071335"/>
              <a:gd name="connsiteX4181" fmla="*/ 1940780 w 13768337"/>
              <a:gd name="connsiteY4181" fmla="*/ 2355914 h 5071335"/>
              <a:gd name="connsiteX4182" fmla="*/ 1927806 w 13768337"/>
              <a:gd name="connsiteY4182" fmla="*/ 2354521 h 5071335"/>
              <a:gd name="connsiteX4183" fmla="*/ 1892533 w 13768337"/>
              <a:gd name="connsiteY4183" fmla="*/ 2347807 h 5071335"/>
              <a:gd name="connsiteX4184" fmla="*/ 1892281 w 13768337"/>
              <a:gd name="connsiteY4184" fmla="*/ 2356212 h 5071335"/>
              <a:gd name="connsiteX4185" fmla="*/ 1912207 w 13768337"/>
              <a:gd name="connsiteY4185" fmla="*/ 2358441 h 5071335"/>
              <a:gd name="connsiteX4186" fmla="*/ 1861232 w 13768337"/>
              <a:gd name="connsiteY4186" fmla="*/ 2373076 h 5071335"/>
              <a:gd name="connsiteX4187" fmla="*/ 1860951 w 13768337"/>
              <a:gd name="connsiteY4187" fmla="*/ 2372560 h 5071335"/>
              <a:gd name="connsiteX4188" fmla="*/ 1855233 w 13768337"/>
              <a:gd name="connsiteY4188" fmla="*/ 2377866 h 5071335"/>
              <a:gd name="connsiteX4189" fmla="*/ 1824931 w 13768337"/>
              <a:gd name="connsiteY4189" fmla="*/ 2377376 h 5071335"/>
              <a:gd name="connsiteX4190" fmla="*/ 1844395 w 13768337"/>
              <a:gd name="connsiteY4190" fmla="*/ 2366088 h 5071335"/>
              <a:gd name="connsiteX4191" fmla="*/ 1858731 w 13768337"/>
              <a:gd name="connsiteY4191" fmla="*/ 2368495 h 5071335"/>
              <a:gd name="connsiteX4192" fmla="*/ 1856135 w 13768337"/>
              <a:gd name="connsiteY4192" fmla="*/ 2363738 h 5071335"/>
              <a:gd name="connsiteX4193" fmla="*/ 1863550 w 13768337"/>
              <a:gd name="connsiteY4193" fmla="*/ 2356212 h 5071335"/>
              <a:gd name="connsiteX4194" fmla="*/ 1857062 w 13768337"/>
              <a:gd name="connsiteY4194" fmla="*/ 2352868 h 5071335"/>
              <a:gd name="connsiteX4195" fmla="*/ 1870699 w 13768337"/>
              <a:gd name="connsiteY4195" fmla="*/ 2343652 h 5071335"/>
              <a:gd name="connsiteX4196" fmla="*/ 1861540 w 13768337"/>
              <a:gd name="connsiteY4196" fmla="*/ 2341909 h 5071335"/>
              <a:gd name="connsiteX4197" fmla="*/ 1795274 w 13768337"/>
              <a:gd name="connsiteY4197" fmla="*/ 2326371 h 5071335"/>
              <a:gd name="connsiteX4198" fmla="*/ 1830956 w 13768337"/>
              <a:gd name="connsiteY4198" fmla="*/ 2323722 h 5071335"/>
              <a:gd name="connsiteX4199" fmla="*/ 1838370 w 13768337"/>
              <a:gd name="connsiteY4199" fmla="*/ 2306859 h 5071335"/>
              <a:gd name="connsiteX4200" fmla="*/ 1805005 w 13768337"/>
              <a:gd name="connsiteY4200" fmla="*/ 2301564 h 5071335"/>
              <a:gd name="connsiteX4201" fmla="*/ 1828640 w 13768337"/>
              <a:gd name="connsiteY4201" fmla="*/ 2290833 h 5071335"/>
              <a:gd name="connsiteX4202" fmla="*/ 1840687 w 13768337"/>
              <a:gd name="connsiteY4202" fmla="*/ 2289439 h 5071335"/>
              <a:gd name="connsiteX4203" fmla="*/ 964566 w 13768337"/>
              <a:gd name="connsiteY4203" fmla="*/ 2282769 h 5071335"/>
              <a:gd name="connsiteX4204" fmla="*/ 1022025 w 13768337"/>
              <a:gd name="connsiteY4204" fmla="*/ 2292663 h 5071335"/>
              <a:gd name="connsiteX4205" fmla="*/ 952980 w 13768337"/>
              <a:gd name="connsiteY4205" fmla="*/ 2287368 h 5071335"/>
              <a:gd name="connsiteX4206" fmla="*/ 964566 w 13768337"/>
              <a:gd name="connsiteY4206" fmla="*/ 2282769 h 5071335"/>
              <a:gd name="connsiteX4207" fmla="*/ 317667 w 13768337"/>
              <a:gd name="connsiteY4207" fmla="*/ 2280539 h 5071335"/>
              <a:gd name="connsiteX4208" fmla="*/ 335276 w 13768337"/>
              <a:gd name="connsiteY4208" fmla="*/ 2280539 h 5071335"/>
              <a:gd name="connsiteX4209" fmla="*/ 335276 w 13768337"/>
              <a:gd name="connsiteY4209" fmla="*/ 2297401 h 5071335"/>
              <a:gd name="connsiteX4210" fmla="*/ 317667 w 13768337"/>
              <a:gd name="connsiteY4210" fmla="*/ 2280539 h 5071335"/>
              <a:gd name="connsiteX4211" fmla="*/ 933980 w 13768337"/>
              <a:gd name="connsiteY4211" fmla="*/ 2273432 h 5071335"/>
              <a:gd name="connsiteX4212" fmla="*/ 947882 w 13768337"/>
              <a:gd name="connsiteY4212" fmla="*/ 2280539 h 5071335"/>
              <a:gd name="connsiteX4213" fmla="*/ 933980 w 13768337"/>
              <a:gd name="connsiteY4213" fmla="*/ 2273432 h 5071335"/>
              <a:gd name="connsiteX4214" fmla="*/ 895983 w 13768337"/>
              <a:gd name="connsiteY4214" fmla="*/ 2272456 h 5071335"/>
              <a:gd name="connsiteX4215" fmla="*/ 923323 w 13768337"/>
              <a:gd name="connsiteY4215" fmla="*/ 2281374 h 5071335"/>
              <a:gd name="connsiteX4216" fmla="*/ 888569 w 13768337"/>
              <a:gd name="connsiteY4216" fmla="*/ 2276637 h 5071335"/>
              <a:gd name="connsiteX4217" fmla="*/ 895983 w 13768337"/>
              <a:gd name="connsiteY4217" fmla="*/ 2272456 h 5071335"/>
              <a:gd name="connsiteX4218" fmla="*/ 1612391 w 13768337"/>
              <a:gd name="connsiteY4218" fmla="*/ 2260330 h 5071335"/>
              <a:gd name="connsiteX4219" fmla="*/ 1624901 w 13768337"/>
              <a:gd name="connsiteY4219" fmla="*/ 2276637 h 5071335"/>
              <a:gd name="connsiteX4220" fmla="*/ 1616097 w 13768337"/>
              <a:gd name="connsiteY4220" fmla="*/ 2271619 h 5071335"/>
              <a:gd name="connsiteX4221" fmla="*/ 1595708 w 13768337"/>
              <a:gd name="connsiteY4221" fmla="*/ 2268693 h 5071335"/>
              <a:gd name="connsiteX4222" fmla="*/ 1612391 w 13768337"/>
              <a:gd name="connsiteY4222" fmla="*/ 2260330 h 5071335"/>
              <a:gd name="connsiteX4223" fmla="*/ 851033 w 13768337"/>
              <a:gd name="connsiteY4223" fmla="*/ 2259495 h 5071335"/>
              <a:gd name="connsiteX4224" fmla="*/ 869106 w 13768337"/>
              <a:gd name="connsiteY4224" fmla="*/ 2272874 h 5071335"/>
              <a:gd name="connsiteX4225" fmla="*/ 849180 w 13768337"/>
              <a:gd name="connsiteY4225" fmla="*/ 2271619 h 5071335"/>
              <a:gd name="connsiteX4226" fmla="*/ 851033 w 13768337"/>
              <a:gd name="connsiteY4226" fmla="*/ 2259495 h 5071335"/>
              <a:gd name="connsiteX4227" fmla="*/ 13161065 w 13768337"/>
              <a:gd name="connsiteY4227" fmla="*/ 2258862 h 5071335"/>
              <a:gd name="connsiteX4228" fmla="*/ 13137430 w 13768337"/>
              <a:gd name="connsiteY4228" fmla="*/ 2268758 h 5071335"/>
              <a:gd name="connsiteX4229" fmla="*/ 13161065 w 13768337"/>
              <a:gd name="connsiteY4229" fmla="*/ 2258862 h 5071335"/>
              <a:gd name="connsiteX4230" fmla="*/ 281059 w 13768337"/>
              <a:gd name="connsiteY4230" fmla="*/ 2258519 h 5071335"/>
              <a:gd name="connsiteX4231" fmla="*/ 315350 w 13768337"/>
              <a:gd name="connsiteY4231" fmla="*/ 2263119 h 5071335"/>
              <a:gd name="connsiteX4232" fmla="*/ 283839 w 13768337"/>
              <a:gd name="connsiteY4232" fmla="*/ 2288761 h 5071335"/>
              <a:gd name="connsiteX4233" fmla="*/ 256036 w 13768337"/>
              <a:gd name="connsiteY4233" fmla="*/ 2268276 h 5071335"/>
              <a:gd name="connsiteX4234" fmla="*/ 281059 w 13768337"/>
              <a:gd name="connsiteY4234" fmla="*/ 2258519 h 5071335"/>
              <a:gd name="connsiteX4235" fmla="*/ 1856135 w 13768337"/>
              <a:gd name="connsiteY4235" fmla="*/ 2255314 h 5071335"/>
              <a:gd name="connsiteX4236" fmla="*/ 1836672 w 13768337"/>
              <a:gd name="connsiteY4236" fmla="*/ 2261725 h 5071335"/>
              <a:gd name="connsiteX4237" fmla="*/ 1856135 w 13768337"/>
              <a:gd name="connsiteY4237" fmla="*/ 2255314 h 5071335"/>
              <a:gd name="connsiteX4238" fmla="*/ 426101 w 13768337"/>
              <a:gd name="connsiteY4238" fmla="*/ 2251412 h 5071335"/>
              <a:gd name="connsiteX4239" fmla="*/ 478928 w 13768337"/>
              <a:gd name="connsiteY4239" fmla="*/ 2256569 h 5071335"/>
              <a:gd name="connsiteX4240" fmla="*/ 465026 w 13768337"/>
              <a:gd name="connsiteY4240" fmla="*/ 2272456 h 5071335"/>
              <a:gd name="connsiteX4241" fmla="*/ 430271 w 13768337"/>
              <a:gd name="connsiteY4241" fmla="*/ 2278170 h 5071335"/>
              <a:gd name="connsiteX4242" fmla="*/ 426101 w 13768337"/>
              <a:gd name="connsiteY4242" fmla="*/ 2251412 h 5071335"/>
              <a:gd name="connsiteX4243" fmla="*/ 401078 w 13768337"/>
              <a:gd name="connsiteY4243" fmla="*/ 2251412 h 5071335"/>
              <a:gd name="connsiteX4244" fmla="*/ 424247 w 13768337"/>
              <a:gd name="connsiteY4244" fmla="*/ 2273432 h 5071335"/>
              <a:gd name="connsiteX4245" fmla="*/ 419614 w 13768337"/>
              <a:gd name="connsiteY4245" fmla="*/ 2284720 h 5071335"/>
              <a:gd name="connsiteX4246" fmla="*/ 410809 w 13768337"/>
              <a:gd name="connsiteY4246" fmla="*/ 2284720 h 5071335"/>
              <a:gd name="connsiteX4247" fmla="*/ 396444 w 13768337"/>
              <a:gd name="connsiteY4247" fmla="*/ 2273432 h 5071335"/>
              <a:gd name="connsiteX4248" fmla="*/ 401078 w 13768337"/>
              <a:gd name="connsiteY4248" fmla="*/ 2251412 h 5071335"/>
              <a:gd name="connsiteX4249" fmla="*/ 1458079 w 13768337"/>
              <a:gd name="connsiteY4249" fmla="*/ 2242912 h 5071335"/>
              <a:gd name="connsiteX4250" fmla="*/ 1521102 w 13768337"/>
              <a:gd name="connsiteY4250" fmla="*/ 2253782 h 5071335"/>
              <a:gd name="connsiteX4251" fmla="*/ 1526198 w 13768337"/>
              <a:gd name="connsiteY4251" fmla="*/ 2263955 h 5071335"/>
              <a:gd name="connsiteX4252" fmla="*/ 1499322 w 13768337"/>
              <a:gd name="connsiteY4252" fmla="*/ 2283744 h 5071335"/>
              <a:gd name="connsiteX4253" fmla="*/ 1571612 w 13768337"/>
              <a:gd name="connsiteY4253" fmla="*/ 2253782 h 5071335"/>
              <a:gd name="connsiteX4254" fmla="*/ 1557246 w 13768337"/>
              <a:gd name="connsiteY4254" fmla="*/ 2304231 h 5071335"/>
              <a:gd name="connsiteX4255" fmla="*/ 1530833 w 13768337"/>
              <a:gd name="connsiteY4255" fmla="*/ 2309526 h 5071335"/>
              <a:gd name="connsiteX4256" fmla="*/ 1458543 w 13768337"/>
              <a:gd name="connsiteY4256" fmla="*/ 2288761 h 5071335"/>
              <a:gd name="connsiteX4257" fmla="*/ 1499322 w 13768337"/>
              <a:gd name="connsiteY4257" fmla="*/ 2258937 h 5071335"/>
              <a:gd name="connsiteX4258" fmla="*/ 1485420 w 13768337"/>
              <a:gd name="connsiteY4258" fmla="*/ 2278170 h 5071335"/>
              <a:gd name="connsiteX4259" fmla="*/ 1472907 w 13768337"/>
              <a:gd name="connsiteY4259" fmla="*/ 2253782 h 5071335"/>
              <a:gd name="connsiteX4260" fmla="*/ 1403399 w 13768337"/>
              <a:gd name="connsiteY4260" fmla="*/ 2258937 h 5071335"/>
              <a:gd name="connsiteX4261" fmla="*/ 1357987 w 13768337"/>
              <a:gd name="connsiteY4261" fmla="*/ 2258937 h 5071335"/>
              <a:gd name="connsiteX4262" fmla="*/ 1397375 w 13768337"/>
              <a:gd name="connsiteY4262" fmla="*/ 2256151 h 5071335"/>
              <a:gd name="connsiteX4263" fmla="*/ 1453909 w 13768337"/>
              <a:gd name="connsiteY4263" fmla="*/ 2257405 h 5071335"/>
              <a:gd name="connsiteX4264" fmla="*/ 1458079 w 13768337"/>
              <a:gd name="connsiteY4264" fmla="*/ 2242912 h 5071335"/>
              <a:gd name="connsiteX4265" fmla="*/ 704601 w 13768337"/>
              <a:gd name="connsiteY4265" fmla="*/ 2235525 h 5071335"/>
              <a:gd name="connsiteX4266" fmla="*/ 725453 w 13768337"/>
              <a:gd name="connsiteY4266" fmla="*/ 2243469 h 5071335"/>
              <a:gd name="connsiteX4267" fmla="*/ 701357 w 13768337"/>
              <a:gd name="connsiteY4267" fmla="*/ 2240681 h 5071335"/>
              <a:gd name="connsiteX4268" fmla="*/ 704601 w 13768337"/>
              <a:gd name="connsiteY4268" fmla="*/ 2235525 h 5071335"/>
              <a:gd name="connsiteX4269" fmla="*/ 2404638 w 13768337"/>
              <a:gd name="connsiteY4269" fmla="*/ 2227702 h 5071335"/>
              <a:gd name="connsiteX4270" fmla="*/ 2393517 w 13768337"/>
              <a:gd name="connsiteY4270" fmla="*/ 2229095 h 5071335"/>
              <a:gd name="connsiteX4271" fmla="*/ 2391663 w 13768337"/>
              <a:gd name="connsiteY4271" fmla="*/ 2229095 h 5071335"/>
              <a:gd name="connsiteX4272" fmla="*/ 2388882 w 13768337"/>
              <a:gd name="connsiteY4272" fmla="*/ 2229095 h 5071335"/>
              <a:gd name="connsiteX4273" fmla="*/ 2358298 w 13768337"/>
              <a:gd name="connsiteY4273" fmla="*/ 2229095 h 5071335"/>
              <a:gd name="connsiteX4274" fmla="*/ 2337908 w 13768337"/>
              <a:gd name="connsiteY4274" fmla="*/ 2250557 h 5071335"/>
              <a:gd name="connsiteX4275" fmla="*/ 2420857 w 13768337"/>
              <a:gd name="connsiteY4275" fmla="*/ 2234809 h 5071335"/>
              <a:gd name="connsiteX4276" fmla="*/ 2404638 w 13768337"/>
              <a:gd name="connsiteY4276" fmla="*/ 2227702 h 5071335"/>
              <a:gd name="connsiteX4277" fmla="*/ 1493605 w 13768337"/>
              <a:gd name="connsiteY4277" fmla="*/ 2210839 h 5071335"/>
              <a:gd name="connsiteX4278" fmla="*/ 1518628 w 13768337"/>
              <a:gd name="connsiteY4278" fmla="*/ 2228260 h 5071335"/>
              <a:gd name="connsiteX4279" fmla="*/ 1483873 w 13768337"/>
              <a:gd name="connsiteY4279" fmla="*/ 2216970 h 5071335"/>
              <a:gd name="connsiteX4280" fmla="*/ 1493605 w 13768337"/>
              <a:gd name="connsiteY4280" fmla="*/ 2210839 h 5071335"/>
              <a:gd name="connsiteX4281" fmla="*/ 1538554 w 13768337"/>
              <a:gd name="connsiteY4281" fmla="*/ 2207495 h 5071335"/>
              <a:gd name="connsiteX4282" fmla="*/ 1560798 w 13768337"/>
              <a:gd name="connsiteY4282" fmla="*/ 2207495 h 5071335"/>
              <a:gd name="connsiteX4283" fmla="*/ 1551529 w 13768337"/>
              <a:gd name="connsiteY4283" fmla="*/ 2212232 h 5071335"/>
              <a:gd name="connsiteX4284" fmla="*/ 1556163 w 13768337"/>
              <a:gd name="connsiteY4284" fmla="*/ 2221151 h 5071335"/>
              <a:gd name="connsiteX4285" fmla="*/ 1560798 w 13768337"/>
              <a:gd name="connsiteY4285" fmla="*/ 2217389 h 5071335"/>
              <a:gd name="connsiteX4286" fmla="*/ 1556163 w 13768337"/>
              <a:gd name="connsiteY4286" fmla="*/ 2231464 h 5071335"/>
              <a:gd name="connsiteX4287" fmla="*/ 1533920 w 13768337"/>
              <a:gd name="connsiteY4287" fmla="*/ 2236620 h 5071335"/>
              <a:gd name="connsiteX4288" fmla="*/ 1524652 w 13768337"/>
              <a:gd name="connsiteY4288" fmla="*/ 2236620 h 5071335"/>
              <a:gd name="connsiteX4289" fmla="*/ 1538554 w 13768337"/>
              <a:gd name="connsiteY4289" fmla="*/ 2207495 h 5071335"/>
              <a:gd name="connsiteX4290" fmla="*/ 2108066 w 13768337"/>
              <a:gd name="connsiteY4290" fmla="*/ 2206658 h 5071335"/>
              <a:gd name="connsiteX4291" fmla="*/ 2116407 w 13768337"/>
              <a:gd name="connsiteY4291" fmla="*/ 2213208 h 5071335"/>
              <a:gd name="connsiteX4292" fmla="*/ 2147918 w 13768337"/>
              <a:gd name="connsiteY4292" fmla="*/ 2210420 h 5071335"/>
              <a:gd name="connsiteX4293" fmla="*/ 2108066 w 13768337"/>
              <a:gd name="connsiteY4293" fmla="*/ 2206658 h 5071335"/>
              <a:gd name="connsiteX4294" fmla="*/ 815815 w 13768337"/>
              <a:gd name="connsiteY4294" fmla="*/ 2205563 h 5071335"/>
              <a:gd name="connsiteX4295" fmla="*/ 829717 w 13768337"/>
              <a:gd name="connsiteY4295" fmla="*/ 2216851 h 5071335"/>
              <a:gd name="connsiteX4296" fmla="*/ 780134 w 13768337"/>
              <a:gd name="connsiteY4296" fmla="*/ 2233156 h 5071335"/>
              <a:gd name="connsiteX4297" fmla="*/ 780134 w 13768337"/>
              <a:gd name="connsiteY4297" fmla="*/ 2211137 h 5071335"/>
              <a:gd name="connsiteX4298" fmla="*/ 815815 w 13768337"/>
              <a:gd name="connsiteY4298" fmla="*/ 2205563 h 5071335"/>
              <a:gd name="connsiteX4299" fmla="*/ 2379150 w 13768337"/>
              <a:gd name="connsiteY4299" fmla="*/ 2201502 h 5071335"/>
              <a:gd name="connsiteX4300" fmla="*/ 2356445 w 13768337"/>
              <a:gd name="connsiteY4300" fmla="*/ 2202477 h 5071335"/>
              <a:gd name="connsiteX4301" fmla="*/ 2399541 w 13768337"/>
              <a:gd name="connsiteY4301" fmla="*/ 2207495 h 5071335"/>
              <a:gd name="connsiteX4302" fmla="*/ 2379150 w 13768337"/>
              <a:gd name="connsiteY4302" fmla="*/ 2201502 h 5071335"/>
              <a:gd name="connsiteX4303" fmla="*/ 1950048 w 13768337"/>
              <a:gd name="connsiteY4303" fmla="*/ 2200944 h 5071335"/>
              <a:gd name="connsiteX4304" fmla="*/ 1943561 w 13768337"/>
              <a:gd name="connsiteY4304" fmla="*/ 2203871 h 5071335"/>
              <a:gd name="connsiteX4305" fmla="*/ 1951438 w 13768337"/>
              <a:gd name="connsiteY4305" fmla="*/ 2203871 h 5071335"/>
              <a:gd name="connsiteX4306" fmla="*/ 1950048 w 13768337"/>
              <a:gd name="connsiteY4306" fmla="*/ 2200944 h 5071335"/>
              <a:gd name="connsiteX4307" fmla="*/ 2410661 w 13768337"/>
              <a:gd name="connsiteY4307" fmla="*/ 2198296 h 5071335"/>
              <a:gd name="connsiteX4308" fmla="*/ 2409272 w 13768337"/>
              <a:gd name="connsiteY4308" fmla="*/ 2209027 h 5071335"/>
              <a:gd name="connsiteX4309" fmla="*/ 2434758 w 13768337"/>
              <a:gd name="connsiteY4309" fmla="*/ 2211675 h 5071335"/>
              <a:gd name="connsiteX4310" fmla="*/ 2438002 w 13768337"/>
              <a:gd name="connsiteY4310" fmla="*/ 2209027 h 5071335"/>
              <a:gd name="connsiteX4311" fmla="*/ 2410661 w 13768337"/>
              <a:gd name="connsiteY4311" fmla="*/ 2198296 h 5071335"/>
              <a:gd name="connsiteX4312" fmla="*/ 2012143 w 13768337"/>
              <a:gd name="connsiteY4312" fmla="*/ 2197182 h 5071335"/>
              <a:gd name="connsiteX4313" fmla="*/ 2015387 w 13768337"/>
              <a:gd name="connsiteY4313" fmla="*/ 2200944 h 5071335"/>
              <a:gd name="connsiteX4314" fmla="*/ 2016776 w 13768337"/>
              <a:gd name="connsiteY4314" fmla="*/ 2197182 h 5071335"/>
              <a:gd name="connsiteX4315" fmla="*/ 2012143 w 13768337"/>
              <a:gd name="connsiteY4315" fmla="*/ 2197182 h 5071335"/>
              <a:gd name="connsiteX4316" fmla="*/ 2479244 w 13768337"/>
              <a:gd name="connsiteY4316" fmla="*/ 2196902 h 5071335"/>
              <a:gd name="connsiteX4317" fmla="*/ 2462098 w 13768337"/>
              <a:gd name="connsiteY4317" fmla="*/ 2209027 h 5071335"/>
              <a:gd name="connsiteX4318" fmla="*/ 2503804 w 13768337"/>
              <a:gd name="connsiteY4318" fmla="*/ 2203871 h 5071335"/>
              <a:gd name="connsiteX4319" fmla="*/ 2479244 w 13768337"/>
              <a:gd name="connsiteY4319" fmla="*/ 2196902 h 5071335"/>
              <a:gd name="connsiteX4320" fmla="*/ 1324622 w 13768337"/>
              <a:gd name="connsiteY4320" fmla="*/ 2193857 h 5071335"/>
              <a:gd name="connsiteX4321" fmla="*/ 1442324 w 13768337"/>
              <a:gd name="connsiteY4321" fmla="*/ 2199569 h 5071335"/>
              <a:gd name="connsiteX4322" fmla="*/ 1414984 w 13768337"/>
              <a:gd name="connsiteY4322" fmla="*/ 2204587 h 5071335"/>
              <a:gd name="connsiteX4323" fmla="*/ 1414984 w 13768337"/>
              <a:gd name="connsiteY4323" fmla="*/ 2225073 h 5071335"/>
              <a:gd name="connsiteX4324" fmla="*/ 1400618 w 13768337"/>
              <a:gd name="connsiteY4324" fmla="*/ 2230787 h 5071335"/>
              <a:gd name="connsiteX4325" fmla="*/ 1405252 w 13768337"/>
              <a:gd name="connsiteY4325" fmla="*/ 2209744 h 5071335"/>
              <a:gd name="connsiteX4326" fmla="*/ 1286160 w 13768337"/>
              <a:gd name="connsiteY4326" fmla="*/ 2230787 h 5071335"/>
              <a:gd name="connsiteX4327" fmla="*/ 1209700 w 13768337"/>
              <a:gd name="connsiteY4327" fmla="*/ 2220056 h 5071335"/>
              <a:gd name="connsiteX4328" fmla="*/ 1324622 w 13768337"/>
              <a:gd name="connsiteY4328" fmla="*/ 2193857 h 5071335"/>
              <a:gd name="connsiteX4329" fmla="*/ 914982 w 13768337"/>
              <a:gd name="connsiteY4329" fmla="*/ 2193438 h 5071335"/>
              <a:gd name="connsiteX4330" fmla="*/ 929810 w 13768337"/>
              <a:gd name="connsiteY4330" fmla="*/ 2230787 h 5071335"/>
              <a:gd name="connsiteX4331" fmla="*/ 910348 w 13768337"/>
              <a:gd name="connsiteY4331" fmla="*/ 2230787 h 5071335"/>
              <a:gd name="connsiteX4332" fmla="*/ 914982 w 13768337"/>
              <a:gd name="connsiteY4332" fmla="*/ 2193438 h 5071335"/>
              <a:gd name="connsiteX4333" fmla="*/ 2275814 w 13768337"/>
              <a:gd name="connsiteY4333" fmla="*/ 2191746 h 5071335"/>
              <a:gd name="connsiteX4334" fmla="*/ 2280448 w 13768337"/>
              <a:gd name="connsiteY4334" fmla="*/ 2199551 h 5071335"/>
              <a:gd name="connsiteX4335" fmla="*/ 2285081 w 13768337"/>
              <a:gd name="connsiteY4335" fmla="*/ 2193001 h 5071335"/>
              <a:gd name="connsiteX4336" fmla="*/ 2275814 w 13768337"/>
              <a:gd name="connsiteY4336" fmla="*/ 2191746 h 5071335"/>
              <a:gd name="connsiteX4337" fmla="*/ 2524656 w 13768337"/>
              <a:gd name="connsiteY4337" fmla="*/ 2179482 h 5071335"/>
              <a:gd name="connsiteX4338" fmla="*/ 2510292 w 13768337"/>
              <a:gd name="connsiteY4338" fmla="*/ 2183803 h 5071335"/>
              <a:gd name="connsiteX4339" fmla="*/ 2548290 w 13768337"/>
              <a:gd name="connsiteY4339" fmla="*/ 2193001 h 5071335"/>
              <a:gd name="connsiteX4340" fmla="*/ 2524656 w 13768337"/>
              <a:gd name="connsiteY4340" fmla="*/ 2179482 h 5071335"/>
              <a:gd name="connsiteX4341" fmla="*/ 13133261 w 13768337"/>
              <a:gd name="connsiteY4341" fmla="*/ 2179426 h 5071335"/>
              <a:gd name="connsiteX4342" fmla="*/ 13172185 w 13768337"/>
              <a:gd name="connsiteY4342" fmla="*/ 2192527 h 5071335"/>
              <a:gd name="connsiteX4343" fmla="*/ 13173576 w 13768337"/>
              <a:gd name="connsiteY4343" fmla="*/ 2200888 h 5071335"/>
              <a:gd name="connsiteX4344" fmla="*/ 13133261 w 13768337"/>
              <a:gd name="connsiteY4344" fmla="*/ 2179426 h 5071335"/>
              <a:gd name="connsiteX4345" fmla="*/ 2149307 w 13768337"/>
              <a:gd name="connsiteY4345" fmla="*/ 2171678 h 5071335"/>
              <a:gd name="connsiteX4346" fmla="*/ 2150235 w 13768337"/>
              <a:gd name="connsiteY4346" fmla="*/ 2171957 h 5071335"/>
              <a:gd name="connsiteX4347" fmla="*/ 2148843 w 13768337"/>
              <a:gd name="connsiteY4347" fmla="*/ 2172514 h 5071335"/>
              <a:gd name="connsiteX4348" fmla="*/ 2149307 w 13768337"/>
              <a:gd name="connsiteY4348" fmla="*/ 2171678 h 5071335"/>
              <a:gd name="connsiteX4349" fmla="*/ 903396 w 13768337"/>
              <a:gd name="connsiteY4349" fmla="*/ 2164312 h 5071335"/>
              <a:gd name="connsiteX4350" fmla="*/ 906640 w 13768337"/>
              <a:gd name="connsiteY4350" fmla="*/ 2180338 h 5071335"/>
              <a:gd name="connsiteX4351" fmla="*/ 958078 w 13768337"/>
              <a:gd name="connsiteY4351" fmla="*/ 2174625 h 5071335"/>
              <a:gd name="connsiteX4352" fmla="*/ 903396 w 13768337"/>
              <a:gd name="connsiteY4352" fmla="*/ 2164312 h 5071335"/>
              <a:gd name="connsiteX4353" fmla="*/ 973370 w 13768337"/>
              <a:gd name="connsiteY4353" fmla="*/ 2150794 h 5071335"/>
              <a:gd name="connsiteX4354" fmla="*/ 1007197 w 13768337"/>
              <a:gd name="connsiteY4354" fmla="*/ 2168213 h 5071335"/>
              <a:gd name="connsiteX4355" fmla="*/ 938152 w 13768337"/>
              <a:gd name="connsiteY4355" fmla="*/ 2163057 h 5071335"/>
              <a:gd name="connsiteX4356" fmla="*/ 973370 w 13768337"/>
              <a:gd name="connsiteY4356" fmla="*/ 2150794 h 5071335"/>
              <a:gd name="connsiteX4357" fmla="*/ 1509980 w 13768337"/>
              <a:gd name="connsiteY4357" fmla="*/ 2149817 h 5071335"/>
              <a:gd name="connsiteX4358" fmla="*/ 1531296 w 13768337"/>
              <a:gd name="connsiteY4358" fmla="*/ 2169050 h 5071335"/>
              <a:gd name="connsiteX4359" fmla="*/ 1501175 w 13768337"/>
              <a:gd name="connsiteY4359" fmla="*/ 2189257 h 5071335"/>
              <a:gd name="connsiteX4360" fmla="*/ 1501175 w 13768337"/>
              <a:gd name="connsiteY4360" fmla="*/ 2178805 h 5071335"/>
              <a:gd name="connsiteX4361" fmla="*/ 1509980 w 13768337"/>
              <a:gd name="connsiteY4361" fmla="*/ 2149817 h 5071335"/>
              <a:gd name="connsiteX4362" fmla="*/ 2516315 w 13768337"/>
              <a:gd name="connsiteY4362" fmla="*/ 2140601 h 5071335"/>
              <a:gd name="connsiteX4363" fmla="*/ 2519560 w 13768337"/>
              <a:gd name="connsiteY4363" fmla="*/ 2152864 h 5071335"/>
              <a:gd name="connsiteX4364" fmla="*/ 2534387 w 13768337"/>
              <a:gd name="connsiteY4364" fmla="*/ 2158020 h 5071335"/>
              <a:gd name="connsiteX4365" fmla="*/ 2539486 w 13768337"/>
              <a:gd name="connsiteY4365" fmla="*/ 2156488 h 5071335"/>
              <a:gd name="connsiteX4366" fmla="*/ 2516315 w 13768337"/>
              <a:gd name="connsiteY4366" fmla="*/ 2140601 h 5071335"/>
              <a:gd name="connsiteX4367" fmla="*/ 2479708 w 13768337"/>
              <a:gd name="connsiteY4367" fmla="*/ 2135444 h 5071335"/>
              <a:gd name="connsiteX4368" fmla="*/ 2452367 w 13768337"/>
              <a:gd name="connsiteY4368" fmla="*/ 2146175 h 5071335"/>
              <a:gd name="connsiteX4369" fmla="*/ 2449123 w 13768337"/>
              <a:gd name="connsiteY4369" fmla="*/ 2156488 h 5071335"/>
              <a:gd name="connsiteX4370" fmla="*/ 2496854 w 13768337"/>
              <a:gd name="connsiteY4370" fmla="*/ 2159414 h 5071335"/>
              <a:gd name="connsiteX4371" fmla="*/ 2490829 w 13768337"/>
              <a:gd name="connsiteY4371" fmla="*/ 2151471 h 5071335"/>
              <a:gd name="connsiteX4372" fmla="*/ 2507047 w 13768337"/>
              <a:gd name="connsiteY4372" fmla="*/ 2150077 h 5071335"/>
              <a:gd name="connsiteX4373" fmla="*/ 2494072 w 13768337"/>
              <a:gd name="connsiteY4373" fmla="*/ 2135444 h 5071335"/>
              <a:gd name="connsiteX4374" fmla="*/ 2479708 w 13768337"/>
              <a:gd name="connsiteY4374" fmla="*/ 2135444 h 5071335"/>
              <a:gd name="connsiteX4375" fmla="*/ 13065742 w 13768337"/>
              <a:gd name="connsiteY4375" fmla="*/ 2124626 h 5071335"/>
              <a:gd name="connsiteX4376" fmla="*/ 13078579 w 13768337"/>
              <a:gd name="connsiteY4376" fmla="*/ 2140127 h 5071335"/>
              <a:gd name="connsiteX4377" fmla="*/ 13058655 w 13768337"/>
              <a:gd name="connsiteY4377" fmla="*/ 2124657 h 5071335"/>
              <a:gd name="connsiteX4378" fmla="*/ 13065742 w 13768337"/>
              <a:gd name="connsiteY4378" fmla="*/ 2124626 h 5071335"/>
              <a:gd name="connsiteX4379" fmla="*/ 1426569 w 13768337"/>
              <a:gd name="connsiteY4379" fmla="*/ 2123758 h 5071335"/>
              <a:gd name="connsiteX4380" fmla="*/ 1437227 w 13768337"/>
              <a:gd name="connsiteY4380" fmla="*/ 2126962 h 5071335"/>
              <a:gd name="connsiteX4381" fmla="*/ 1387643 w 13768337"/>
              <a:gd name="connsiteY4381" fmla="*/ 2131979 h 5071335"/>
              <a:gd name="connsiteX4382" fmla="*/ 1426569 w 13768337"/>
              <a:gd name="connsiteY4382" fmla="*/ 2123758 h 5071335"/>
              <a:gd name="connsiteX4383" fmla="*/ 2619462 w 13768337"/>
              <a:gd name="connsiteY4383" fmla="*/ 2120251 h 5071335"/>
              <a:gd name="connsiteX4384" fmla="*/ 2618146 w 13768337"/>
              <a:gd name="connsiteY4384" fmla="*/ 2120463 h 5071335"/>
              <a:gd name="connsiteX4385" fmla="*/ 2617464 w 13768337"/>
              <a:gd name="connsiteY4385" fmla="*/ 2120617 h 5071335"/>
              <a:gd name="connsiteX4386" fmla="*/ 13038727 w 13768337"/>
              <a:gd name="connsiteY4386" fmla="*/ 2117271 h 5071335"/>
              <a:gd name="connsiteX4387" fmla="*/ 13054020 w 13768337"/>
              <a:gd name="connsiteY4387" fmla="*/ 2133855 h 5071335"/>
              <a:gd name="connsiteX4388" fmla="*/ 13044289 w 13768337"/>
              <a:gd name="connsiteY4388" fmla="*/ 2137758 h 5071335"/>
              <a:gd name="connsiteX4389" fmla="*/ 13038727 w 13768337"/>
              <a:gd name="connsiteY4389" fmla="*/ 2117271 h 5071335"/>
              <a:gd name="connsiteX4390" fmla="*/ 2640505 w 13768337"/>
              <a:gd name="connsiteY4390" fmla="*/ 2108408 h 5071335"/>
              <a:gd name="connsiteX4391" fmla="*/ 2632497 w 13768337"/>
              <a:gd name="connsiteY4391" fmla="*/ 2118159 h 5071335"/>
              <a:gd name="connsiteX4392" fmla="*/ 2626100 w 13768337"/>
              <a:gd name="connsiteY4392" fmla="*/ 2119186 h 5071335"/>
              <a:gd name="connsiteX4393" fmla="*/ 2645603 w 13768337"/>
              <a:gd name="connsiteY4393" fmla="*/ 2120756 h 5071335"/>
              <a:gd name="connsiteX4394" fmla="*/ 2645777 w 13768337"/>
              <a:gd name="connsiteY4394" fmla="*/ 2116701 h 5071335"/>
              <a:gd name="connsiteX4395" fmla="*/ 2640505 w 13768337"/>
              <a:gd name="connsiteY4395" fmla="*/ 2108408 h 5071335"/>
              <a:gd name="connsiteX4396" fmla="*/ 2552924 w 13768337"/>
              <a:gd name="connsiteY4396" fmla="*/ 2108408 h 5071335"/>
              <a:gd name="connsiteX4397" fmla="*/ 2543192 w 13768337"/>
              <a:gd name="connsiteY4397" fmla="*/ 2140601 h 5071335"/>
              <a:gd name="connsiteX4398" fmla="*/ 2571923 w 13768337"/>
              <a:gd name="connsiteY4398" fmla="*/ 2147707 h 5071335"/>
              <a:gd name="connsiteX4399" fmla="*/ 2584897 w 13768337"/>
              <a:gd name="connsiteY4399" fmla="*/ 2144085 h 5071335"/>
              <a:gd name="connsiteX4400" fmla="*/ 2633554 w 13768337"/>
              <a:gd name="connsiteY4400" fmla="*/ 2134051 h 5071335"/>
              <a:gd name="connsiteX4401" fmla="*/ 2645138 w 13768337"/>
              <a:gd name="connsiteY4401" fmla="*/ 2131681 h 5071335"/>
              <a:gd name="connsiteX4402" fmla="*/ 2645278 w 13768337"/>
              <a:gd name="connsiteY4402" fmla="*/ 2128416 h 5071335"/>
              <a:gd name="connsiteX4403" fmla="*/ 2629598 w 13768337"/>
              <a:gd name="connsiteY4403" fmla="*/ 2128391 h 5071335"/>
              <a:gd name="connsiteX4404" fmla="*/ 2611662 w 13768337"/>
              <a:gd name="connsiteY4404" fmla="*/ 2132912 h 5071335"/>
              <a:gd name="connsiteX4405" fmla="*/ 2600233 w 13768337"/>
              <a:gd name="connsiteY4405" fmla="*/ 2133297 h 5071335"/>
              <a:gd name="connsiteX4406" fmla="*/ 2599262 w 13768337"/>
              <a:gd name="connsiteY4406" fmla="*/ 2135444 h 5071335"/>
              <a:gd name="connsiteX4407" fmla="*/ 2597233 w 13768337"/>
              <a:gd name="connsiteY4407" fmla="*/ 2133399 h 5071335"/>
              <a:gd name="connsiteX4408" fmla="*/ 2593858 w 13768337"/>
              <a:gd name="connsiteY4408" fmla="*/ 2133513 h 5071335"/>
              <a:gd name="connsiteX4409" fmla="*/ 2595131 w 13768337"/>
              <a:gd name="connsiteY4409" fmla="*/ 2132310 h 5071335"/>
              <a:gd name="connsiteX4410" fmla="*/ 2589532 w 13768337"/>
              <a:gd name="connsiteY4410" fmla="*/ 2135444 h 5071335"/>
              <a:gd name="connsiteX4411" fmla="*/ 2594166 w 13768337"/>
              <a:gd name="connsiteY4411" fmla="*/ 2113983 h 5071335"/>
              <a:gd name="connsiteX4412" fmla="*/ 2552924 w 13768337"/>
              <a:gd name="connsiteY4412" fmla="*/ 2108408 h 5071335"/>
              <a:gd name="connsiteX4413" fmla="*/ 1526198 w 13768337"/>
              <a:gd name="connsiteY4413" fmla="*/ 2101738 h 5071335"/>
              <a:gd name="connsiteX4414" fmla="*/ 1526198 w 13768337"/>
              <a:gd name="connsiteY4414" fmla="*/ 2117486 h 5071335"/>
              <a:gd name="connsiteX4415" fmla="*/ 1471982 w 13768337"/>
              <a:gd name="connsiteY4415" fmla="*/ 2117486 h 5071335"/>
              <a:gd name="connsiteX4416" fmla="*/ 1526198 w 13768337"/>
              <a:gd name="connsiteY4416" fmla="*/ 2101738 h 5071335"/>
              <a:gd name="connsiteX4417" fmla="*/ 706 w 13768337"/>
              <a:gd name="connsiteY4417" fmla="*/ 2100901 h 5071335"/>
              <a:gd name="connsiteX4418" fmla="*/ 21558 w 13768337"/>
              <a:gd name="connsiteY4418" fmla="*/ 2100901 h 5071335"/>
              <a:gd name="connsiteX4419" fmla="*/ 706 w 13768337"/>
              <a:gd name="connsiteY4419" fmla="*/ 2100901 h 5071335"/>
              <a:gd name="connsiteX4420" fmla="*/ 1043342 w 13768337"/>
              <a:gd name="connsiteY4420" fmla="*/ 2093794 h 5071335"/>
              <a:gd name="connsiteX4421" fmla="*/ 1061878 w 13768337"/>
              <a:gd name="connsiteY4421" fmla="*/ 2101738 h 5071335"/>
              <a:gd name="connsiteX4422" fmla="*/ 1036854 w 13768337"/>
              <a:gd name="connsiteY4422" fmla="*/ 2107313 h 5071335"/>
              <a:gd name="connsiteX4423" fmla="*/ 1040098 w 13768337"/>
              <a:gd name="connsiteY4423" fmla="*/ 2094073 h 5071335"/>
              <a:gd name="connsiteX4424" fmla="*/ 1043342 w 13768337"/>
              <a:gd name="connsiteY4424" fmla="*/ 2093794 h 5071335"/>
              <a:gd name="connsiteX4425" fmla="*/ 1342231 w 13768337"/>
              <a:gd name="connsiteY4425" fmla="*/ 2091565 h 5071335"/>
              <a:gd name="connsiteX4426" fmla="*/ 1351499 w 13768337"/>
              <a:gd name="connsiteY4426" fmla="*/ 2093236 h 5071335"/>
              <a:gd name="connsiteX4427" fmla="*/ 1376522 w 13768337"/>
              <a:gd name="connsiteY4427" fmla="*/ 2095188 h 5071335"/>
              <a:gd name="connsiteX4428" fmla="*/ 1338523 w 13768337"/>
              <a:gd name="connsiteY4428" fmla="*/ 2110657 h 5071335"/>
              <a:gd name="connsiteX4429" fmla="*/ 1332963 w 13768337"/>
              <a:gd name="connsiteY4429" fmla="*/ 2095188 h 5071335"/>
              <a:gd name="connsiteX4430" fmla="*/ 1342231 w 13768337"/>
              <a:gd name="connsiteY4430" fmla="*/ 2091565 h 5071335"/>
              <a:gd name="connsiteX4431" fmla="*/ 13155968 w 13768337"/>
              <a:gd name="connsiteY4431" fmla="*/ 2082849 h 5071335"/>
              <a:gd name="connsiteX4432" fmla="*/ 13127236 w 13768337"/>
              <a:gd name="connsiteY4432" fmla="*/ 2087588 h 5071335"/>
              <a:gd name="connsiteX4433" fmla="*/ 13123992 w 13768337"/>
              <a:gd name="connsiteY4433" fmla="*/ 2119362 h 5071335"/>
              <a:gd name="connsiteX4434" fmla="*/ 13142992 w 13768337"/>
              <a:gd name="connsiteY4434" fmla="*/ 2125494 h 5071335"/>
              <a:gd name="connsiteX4435" fmla="*/ 13133261 w 13768337"/>
              <a:gd name="connsiteY4435" fmla="*/ 2121731 h 5071335"/>
              <a:gd name="connsiteX4436" fmla="*/ 13196281 w 13768337"/>
              <a:gd name="connsiteY4436" fmla="*/ 2102638 h 5071335"/>
              <a:gd name="connsiteX4437" fmla="*/ 13155968 w 13768337"/>
              <a:gd name="connsiteY4437" fmla="*/ 2082849 h 5071335"/>
              <a:gd name="connsiteX4438" fmla="*/ 2371273 w 13768337"/>
              <a:gd name="connsiteY4438" fmla="*/ 2078585 h 5071335"/>
              <a:gd name="connsiteX4439" fmla="*/ 2356445 w 13768337"/>
              <a:gd name="connsiteY4439" fmla="*/ 2093914 h 5071335"/>
              <a:gd name="connsiteX4440" fmla="*/ 2383785 w 13768337"/>
              <a:gd name="connsiteY4440" fmla="*/ 2093914 h 5071335"/>
              <a:gd name="connsiteX4441" fmla="*/ 2371273 w 13768337"/>
              <a:gd name="connsiteY4441" fmla="*/ 2078585 h 5071335"/>
              <a:gd name="connsiteX4442" fmla="*/ 2640505 w 13768337"/>
              <a:gd name="connsiteY4442" fmla="*/ 2077470 h 5071335"/>
              <a:gd name="connsiteX4443" fmla="*/ 2667846 w 13768337"/>
              <a:gd name="connsiteY4443" fmla="*/ 2113983 h 5071335"/>
              <a:gd name="connsiteX4444" fmla="*/ 2682211 w 13768337"/>
              <a:gd name="connsiteY4444" fmla="*/ 2083044 h 5071335"/>
              <a:gd name="connsiteX4445" fmla="*/ 2640505 w 13768337"/>
              <a:gd name="connsiteY4445" fmla="*/ 2077470 h 5071335"/>
              <a:gd name="connsiteX4446" fmla="*/ 12923806 w 13768337"/>
              <a:gd name="connsiteY4446" fmla="*/ 2075464 h 5071335"/>
              <a:gd name="connsiteX4447" fmla="*/ 12945586 w 13768337"/>
              <a:gd name="connsiteY4447" fmla="*/ 2096228 h 5071335"/>
              <a:gd name="connsiteX4448" fmla="*/ 12923806 w 13768337"/>
              <a:gd name="connsiteY4448" fmla="*/ 2075464 h 5071335"/>
              <a:gd name="connsiteX4449" fmla="*/ 13434465 w 13768337"/>
              <a:gd name="connsiteY4449" fmla="*/ 2070446 h 5071335"/>
              <a:gd name="connsiteX4450" fmla="*/ 13449295 w 13768337"/>
              <a:gd name="connsiteY4450" fmla="*/ 2084939 h 5071335"/>
              <a:gd name="connsiteX4451" fmla="*/ 13434465 w 13768337"/>
              <a:gd name="connsiteY4451" fmla="*/ 2070446 h 5071335"/>
              <a:gd name="connsiteX4452" fmla="*/ 1476152 w 13768337"/>
              <a:gd name="connsiteY4452" fmla="*/ 2067037 h 5071335"/>
              <a:gd name="connsiteX4453" fmla="*/ 1506272 w 13768337"/>
              <a:gd name="connsiteY4453" fmla="*/ 2068570 h 5071335"/>
              <a:gd name="connsiteX4454" fmla="*/ 1452055 w 13768337"/>
              <a:gd name="connsiteY4454" fmla="*/ 2076932 h 5071335"/>
              <a:gd name="connsiteX4455" fmla="*/ 1476152 w 13768337"/>
              <a:gd name="connsiteY4455" fmla="*/ 2067037 h 5071335"/>
              <a:gd name="connsiteX4456" fmla="*/ 2558948 w 13768337"/>
              <a:gd name="connsiteY4456" fmla="*/ 2066739 h 5071335"/>
              <a:gd name="connsiteX4457" fmla="*/ 2545046 w 13768337"/>
              <a:gd name="connsiteY4457" fmla="*/ 2083044 h 5071335"/>
              <a:gd name="connsiteX4458" fmla="*/ 2626603 w 13768337"/>
              <a:gd name="connsiteY4458" fmla="*/ 2104646 h 5071335"/>
              <a:gd name="connsiteX4459" fmla="*/ 2640505 w 13768337"/>
              <a:gd name="connsiteY4459" fmla="*/ 2093914 h 5071335"/>
              <a:gd name="connsiteX4460" fmla="*/ 2621505 w 13768337"/>
              <a:gd name="connsiteY4460" fmla="*/ 2077470 h 5071335"/>
              <a:gd name="connsiteX4461" fmla="*/ 2580264 w 13768337"/>
              <a:gd name="connsiteY4461" fmla="*/ 2069665 h 5071335"/>
              <a:gd name="connsiteX4462" fmla="*/ 2558948 w 13768337"/>
              <a:gd name="connsiteY4462" fmla="*/ 2073846 h 5071335"/>
              <a:gd name="connsiteX4463" fmla="*/ 2558948 w 13768337"/>
              <a:gd name="connsiteY4463" fmla="*/ 2066739 h 5071335"/>
              <a:gd name="connsiteX4464" fmla="*/ 1418228 w 13768337"/>
              <a:gd name="connsiteY4464" fmla="*/ 2066201 h 5071335"/>
              <a:gd name="connsiteX4465" fmla="*/ 1446958 w 13768337"/>
              <a:gd name="connsiteY4465" fmla="*/ 2074562 h 5071335"/>
              <a:gd name="connsiteX4466" fmla="*/ 1417301 w 13768337"/>
              <a:gd name="connsiteY4466" fmla="*/ 2093794 h 5071335"/>
              <a:gd name="connsiteX4467" fmla="*/ 1412203 w 13768337"/>
              <a:gd name="connsiteY4467" fmla="*/ 2074562 h 5071335"/>
              <a:gd name="connsiteX4468" fmla="*/ 1418228 w 13768337"/>
              <a:gd name="connsiteY4468" fmla="*/ 2066201 h 5071335"/>
              <a:gd name="connsiteX4469" fmla="*/ 2790028 w 13768337"/>
              <a:gd name="connsiteY4469" fmla="*/ 2065605 h 5071335"/>
              <a:gd name="connsiteX4470" fmla="*/ 2784313 w 13768337"/>
              <a:gd name="connsiteY4470" fmla="*/ 2075120 h 5071335"/>
              <a:gd name="connsiteX4471" fmla="*/ 2789316 w 13768337"/>
              <a:gd name="connsiteY4471" fmla="*/ 2073593 h 5071335"/>
              <a:gd name="connsiteX4472" fmla="*/ 2796670 w 13768337"/>
              <a:gd name="connsiteY4472" fmla="*/ 2066739 h 5071335"/>
              <a:gd name="connsiteX4473" fmla="*/ 2780450 w 13768337"/>
              <a:gd name="connsiteY4473" fmla="*/ 2061165 h 5071335"/>
              <a:gd name="connsiteX4474" fmla="*/ 2773036 w 13768337"/>
              <a:gd name="connsiteY4474" fmla="*/ 2061722 h 5071335"/>
              <a:gd name="connsiteX4475" fmla="*/ 2773036 w 13768337"/>
              <a:gd name="connsiteY4475" fmla="*/ 2067737 h 5071335"/>
              <a:gd name="connsiteX4476" fmla="*/ 2773445 w 13768337"/>
              <a:gd name="connsiteY4476" fmla="*/ 2067481 h 5071335"/>
              <a:gd name="connsiteX4477" fmla="*/ 2780559 w 13768337"/>
              <a:gd name="connsiteY4477" fmla="*/ 2061226 h 5071335"/>
              <a:gd name="connsiteX4478" fmla="*/ 13427516 w 13768337"/>
              <a:gd name="connsiteY4478" fmla="*/ 2060830 h 5071335"/>
              <a:gd name="connsiteX4479" fmla="*/ 13432613 w 13768337"/>
              <a:gd name="connsiteY4479" fmla="*/ 2063339 h 5071335"/>
              <a:gd name="connsiteX4480" fmla="*/ 13421954 w 13768337"/>
              <a:gd name="connsiteY4480" fmla="*/ 2068356 h 5071335"/>
              <a:gd name="connsiteX4481" fmla="*/ 13434465 w 13768337"/>
              <a:gd name="connsiteY4481" fmla="*/ 2079644 h 5071335"/>
              <a:gd name="connsiteX4482" fmla="*/ 13414540 w 13768337"/>
              <a:gd name="connsiteY4482" fmla="*/ 2076996 h 5071335"/>
              <a:gd name="connsiteX4483" fmla="*/ 13427516 w 13768337"/>
              <a:gd name="connsiteY4483" fmla="*/ 2060830 h 5071335"/>
              <a:gd name="connsiteX4484" fmla="*/ 2757280 w 13768337"/>
              <a:gd name="connsiteY4484" fmla="*/ 2059074 h 5071335"/>
              <a:gd name="connsiteX4485" fmla="*/ 2748013 w 13768337"/>
              <a:gd name="connsiteY4485" fmla="*/ 2061165 h 5071335"/>
              <a:gd name="connsiteX4486" fmla="*/ 2732687 w 13768337"/>
              <a:gd name="connsiteY4486" fmla="*/ 2071700 h 5071335"/>
              <a:gd name="connsiteX4487" fmla="*/ 2733535 w 13768337"/>
              <a:gd name="connsiteY4487" fmla="*/ 2072372 h 5071335"/>
              <a:gd name="connsiteX4488" fmla="*/ 2753168 w 13768337"/>
              <a:gd name="connsiteY4488" fmla="*/ 2073028 h 5071335"/>
              <a:gd name="connsiteX4489" fmla="*/ 2765158 w 13768337"/>
              <a:gd name="connsiteY4489" fmla="*/ 2061722 h 5071335"/>
              <a:gd name="connsiteX4490" fmla="*/ 2757280 w 13768337"/>
              <a:gd name="connsiteY4490" fmla="*/ 2059074 h 5071335"/>
              <a:gd name="connsiteX4491" fmla="*/ 13200453 w 13768337"/>
              <a:gd name="connsiteY4491" fmla="*/ 2044664 h 5071335"/>
              <a:gd name="connsiteX4492" fmla="*/ 13198599 w 13768337"/>
              <a:gd name="connsiteY4492" fmla="*/ 2044943 h 5071335"/>
              <a:gd name="connsiteX4493" fmla="*/ 13199062 w 13768337"/>
              <a:gd name="connsiteY4493" fmla="*/ 2046057 h 5071335"/>
              <a:gd name="connsiteX4494" fmla="*/ 13200453 w 13768337"/>
              <a:gd name="connsiteY4494" fmla="*/ 2044664 h 5071335"/>
              <a:gd name="connsiteX4495" fmla="*/ 2618784 w 13768337"/>
              <a:gd name="connsiteY4495" fmla="*/ 2040992 h 5071335"/>
              <a:gd name="connsiteX4496" fmla="*/ 2606677 w 13768337"/>
              <a:gd name="connsiteY4496" fmla="*/ 2041515 h 5071335"/>
              <a:gd name="connsiteX4497" fmla="*/ 2594166 w 13768337"/>
              <a:gd name="connsiteY4497" fmla="*/ 2056008 h 5071335"/>
              <a:gd name="connsiteX4498" fmla="*/ 2631237 w 13768337"/>
              <a:gd name="connsiteY4498" fmla="*/ 2041515 h 5071335"/>
              <a:gd name="connsiteX4499" fmla="*/ 2618784 w 13768337"/>
              <a:gd name="connsiteY4499" fmla="*/ 2040992 h 5071335"/>
              <a:gd name="connsiteX4500" fmla="*/ 2488975 w 13768337"/>
              <a:gd name="connsiteY4500" fmla="*/ 2030784 h 5071335"/>
              <a:gd name="connsiteX4501" fmla="*/ 2443099 w 13768337"/>
              <a:gd name="connsiteY4501" fmla="*/ 2045138 h 5071335"/>
              <a:gd name="connsiteX4502" fmla="*/ 2425491 w 13768337"/>
              <a:gd name="connsiteY4502" fmla="*/ 2072314 h 5071335"/>
              <a:gd name="connsiteX4503" fmla="*/ 2498707 w 13768337"/>
              <a:gd name="connsiteY4503" fmla="*/ 2050712 h 5071335"/>
              <a:gd name="connsiteX4504" fmla="*/ 2488975 w 13768337"/>
              <a:gd name="connsiteY4504" fmla="*/ 2050712 h 5071335"/>
              <a:gd name="connsiteX4505" fmla="*/ 2488975 w 13768337"/>
              <a:gd name="connsiteY4505" fmla="*/ 2030784 h 5071335"/>
              <a:gd name="connsiteX4506" fmla="*/ 1198115 w 13768337"/>
              <a:gd name="connsiteY4506" fmla="*/ 2027319 h 5071335"/>
              <a:gd name="connsiteX4507" fmla="*/ 1176799 w 13768337"/>
              <a:gd name="connsiteY4507" fmla="*/ 2051986 h 5071335"/>
              <a:gd name="connsiteX4508" fmla="*/ 1198115 w 13768337"/>
              <a:gd name="connsiteY4508" fmla="*/ 2027319 h 5071335"/>
              <a:gd name="connsiteX4509" fmla="*/ 2659041 w 13768337"/>
              <a:gd name="connsiteY4509" fmla="*/ 2024233 h 5071335"/>
              <a:gd name="connsiteX4510" fmla="*/ 2650236 w 13768337"/>
              <a:gd name="connsiteY4510" fmla="*/ 2025209 h 5071335"/>
              <a:gd name="connsiteX4511" fmla="*/ 2677577 w 13768337"/>
              <a:gd name="connsiteY4511" fmla="*/ 2030784 h 5071335"/>
              <a:gd name="connsiteX4512" fmla="*/ 2659041 w 13768337"/>
              <a:gd name="connsiteY4512" fmla="*/ 2024233 h 5071335"/>
              <a:gd name="connsiteX4513" fmla="*/ 2551533 w 13768337"/>
              <a:gd name="connsiteY4513" fmla="*/ 2021725 h 5071335"/>
              <a:gd name="connsiteX4514" fmla="*/ 2544583 w 13768337"/>
              <a:gd name="connsiteY4514" fmla="*/ 2022283 h 5071335"/>
              <a:gd name="connsiteX4515" fmla="*/ 2539948 w 13768337"/>
              <a:gd name="connsiteY4515" fmla="*/ 2030784 h 5071335"/>
              <a:gd name="connsiteX4516" fmla="*/ 2545046 w 13768337"/>
              <a:gd name="connsiteY4516" fmla="*/ 2041515 h 5071335"/>
              <a:gd name="connsiteX4517" fmla="*/ 2567289 w 13768337"/>
              <a:gd name="connsiteY4517" fmla="*/ 2041515 h 5071335"/>
              <a:gd name="connsiteX4518" fmla="*/ 2551533 w 13768337"/>
              <a:gd name="connsiteY4518" fmla="*/ 2021725 h 5071335"/>
              <a:gd name="connsiteX4519" fmla="*/ 1596635 w 13768337"/>
              <a:gd name="connsiteY4519" fmla="*/ 2021187 h 5071335"/>
              <a:gd name="connsiteX4520" fmla="*/ 1610073 w 13768337"/>
              <a:gd name="connsiteY4520" fmla="*/ 2027319 h 5071335"/>
              <a:gd name="connsiteX4521" fmla="*/ 1590147 w 13768337"/>
              <a:gd name="connsiteY4521" fmla="*/ 2038050 h 5071335"/>
              <a:gd name="connsiteX4522" fmla="*/ 1590147 w 13768337"/>
              <a:gd name="connsiteY4522" fmla="*/ 2021744 h 5071335"/>
              <a:gd name="connsiteX4523" fmla="*/ 1596635 w 13768337"/>
              <a:gd name="connsiteY4523" fmla="*/ 2021187 h 5071335"/>
              <a:gd name="connsiteX4524" fmla="*/ 2760524 w 13768337"/>
              <a:gd name="connsiteY4524" fmla="*/ 2019914 h 5071335"/>
              <a:gd name="connsiteX4525" fmla="*/ 2745695 w 13768337"/>
              <a:gd name="connsiteY4525" fmla="*/ 2041515 h 5071335"/>
              <a:gd name="connsiteX4526" fmla="*/ 2736428 w 13768337"/>
              <a:gd name="connsiteY4526" fmla="*/ 2046532 h 5071335"/>
              <a:gd name="connsiteX4527" fmla="*/ 2765158 w 13768337"/>
              <a:gd name="connsiteY4527" fmla="*/ 2041515 h 5071335"/>
              <a:gd name="connsiteX4528" fmla="*/ 2760524 w 13768337"/>
              <a:gd name="connsiteY4528" fmla="*/ 2019914 h 5071335"/>
              <a:gd name="connsiteX4529" fmla="*/ 13018220 w 13768337"/>
              <a:gd name="connsiteY4529" fmla="*/ 2019160 h 5071335"/>
              <a:gd name="connsiteX4530" fmla="*/ 13011850 w 13768337"/>
              <a:gd name="connsiteY4530" fmla="*/ 2019718 h 5071335"/>
              <a:gd name="connsiteX4531" fmla="*/ 13006753 w 13768337"/>
              <a:gd name="connsiteY4531" fmla="*/ 2034351 h 5071335"/>
              <a:gd name="connsiteX4532" fmla="*/ 13023900 w 13768337"/>
              <a:gd name="connsiteY4532" fmla="*/ 2020694 h 5071335"/>
              <a:gd name="connsiteX4533" fmla="*/ 13018220 w 13768337"/>
              <a:gd name="connsiteY4533" fmla="*/ 2019160 h 5071335"/>
              <a:gd name="connsiteX4534" fmla="*/ 2548290 w 13768337"/>
              <a:gd name="connsiteY4534" fmla="*/ 2009183 h 5071335"/>
              <a:gd name="connsiteX4535" fmla="*/ 2507975 w 13768337"/>
              <a:gd name="connsiteY4535" fmla="*/ 2025209 h 5071335"/>
              <a:gd name="connsiteX4536" fmla="*/ 2530680 w 13768337"/>
              <a:gd name="connsiteY4536" fmla="*/ 2041515 h 5071335"/>
              <a:gd name="connsiteX4537" fmla="*/ 2548290 w 13768337"/>
              <a:gd name="connsiteY4537" fmla="*/ 2009183 h 5071335"/>
              <a:gd name="connsiteX4538" fmla="*/ 12875614 w 13768337"/>
              <a:gd name="connsiteY4538" fmla="*/ 1997839 h 5071335"/>
              <a:gd name="connsiteX4539" fmla="*/ 12875614 w 13768337"/>
              <a:gd name="connsiteY4539" fmla="*/ 2012890 h 5071335"/>
              <a:gd name="connsiteX4540" fmla="*/ 12901100 w 13768337"/>
              <a:gd name="connsiteY4540" fmla="*/ 2011357 h 5071335"/>
              <a:gd name="connsiteX4541" fmla="*/ 12875614 w 13768337"/>
              <a:gd name="connsiteY4541" fmla="*/ 1997839 h 5071335"/>
              <a:gd name="connsiteX4542" fmla="*/ 2744110 w 13768337"/>
              <a:gd name="connsiteY4542" fmla="*/ 1994429 h 5071335"/>
              <a:gd name="connsiteX4543" fmla="*/ 2741640 w 13768337"/>
              <a:gd name="connsiteY4543" fmla="*/ 1994895 h 5071335"/>
              <a:gd name="connsiteX4544" fmla="*/ 2742242 w 13768337"/>
              <a:gd name="connsiteY4544" fmla="*/ 1995916 h 5071335"/>
              <a:gd name="connsiteX4545" fmla="*/ 2745695 w 13768337"/>
              <a:gd name="connsiteY4545" fmla="*/ 1998452 h 5071335"/>
              <a:gd name="connsiteX4546" fmla="*/ 2775103 w 13768337"/>
              <a:gd name="connsiteY4546" fmla="*/ 1988577 h 5071335"/>
              <a:gd name="connsiteX4547" fmla="*/ 2770664 w 13768337"/>
              <a:gd name="connsiteY4547" fmla="*/ 1989414 h 5071335"/>
              <a:gd name="connsiteX4548" fmla="*/ 2769792 w 13768337"/>
              <a:gd name="connsiteY4548" fmla="*/ 1999846 h 5071335"/>
              <a:gd name="connsiteX4549" fmla="*/ 2779292 w 13768337"/>
              <a:gd name="connsiteY4549" fmla="*/ 1990055 h 5071335"/>
              <a:gd name="connsiteX4550" fmla="*/ 2779710 w 13768337"/>
              <a:gd name="connsiteY4550" fmla="*/ 1988777 h 5071335"/>
              <a:gd name="connsiteX4551" fmla="*/ 1462714 w 13768337"/>
              <a:gd name="connsiteY4551" fmla="*/ 1987043 h 5071335"/>
              <a:gd name="connsiteX4552" fmla="*/ 1482177 w 13768337"/>
              <a:gd name="connsiteY4552" fmla="*/ 1988855 h 5071335"/>
              <a:gd name="connsiteX4553" fmla="*/ 1516467 w 13768337"/>
              <a:gd name="connsiteY4553" fmla="*/ 1989830 h 5071335"/>
              <a:gd name="connsiteX4554" fmla="*/ 1446958 w 13768337"/>
              <a:gd name="connsiteY4554" fmla="*/ 1989830 h 5071335"/>
              <a:gd name="connsiteX4555" fmla="*/ 1462714 w 13768337"/>
              <a:gd name="connsiteY4555" fmla="*/ 1987043 h 5071335"/>
              <a:gd name="connsiteX4556" fmla="*/ 12832053 w 13768337"/>
              <a:gd name="connsiteY4556" fmla="*/ 1978607 h 5071335"/>
              <a:gd name="connsiteX4557" fmla="*/ 12845956 w 13768337"/>
              <a:gd name="connsiteY4557" fmla="*/ 1985715 h 5071335"/>
              <a:gd name="connsiteX4558" fmla="*/ 12821860 w 13768337"/>
              <a:gd name="connsiteY4558" fmla="*/ 1993658 h 5071335"/>
              <a:gd name="connsiteX4559" fmla="*/ 12832053 w 13768337"/>
              <a:gd name="connsiteY4559" fmla="*/ 1978607 h 5071335"/>
              <a:gd name="connsiteX4560" fmla="*/ 1344548 w 13768337"/>
              <a:gd name="connsiteY4560" fmla="*/ 1970042 h 5071335"/>
              <a:gd name="connsiteX4561" fmla="*/ 1367718 w 13768337"/>
              <a:gd name="connsiteY4561" fmla="*/ 1976730 h 5071335"/>
              <a:gd name="connsiteX4562" fmla="*/ 1332963 w 13768337"/>
              <a:gd name="connsiteY4562" fmla="*/ 1981469 h 5071335"/>
              <a:gd name="connsiteX4563" fmla="*/ 1339914 w 13768337"/>
              <a:gd name="connsiteY4563" fmla="*/ 1970181 h 5071335"/>
              <a:gd name="connsiteX4564" fmla="*/ 1344548 w 13768337"/>
              <a:gd name="connsiteY4564" fmla="*/ 1970042 h 5071335"/>
              <a:gd name="connsiteX4565" fmla="*/ 2766704 w 13768337"/>
              <a:gd name="connsiteY4565" fmla="*/ 1967393 h 5071335"/>
              <a:gd name="connsiteX4566" fmla="*/ 2766641 w 13768337"/>
              <a:gd name="connsiteY4566" fmla="*/ 1967394 h 5071335"/>
              <a:gd name="connsiteX4567" fmla="*/ 2766649 w 13768337"/>
              <a:gd name="connsiteY4567" fmla="*/ 1967407 h 5071335"/>
              <a:gd name="connsiteX4568" fmla="*/ 1310720 w 13768337"/>
              <a:gd name="connsiteY4568" fmla="*/ 1949694 h 5071335"/>
              <a:gd name="connsiteX4569" fmla="*/ 1332963 w 13768337"/>
              <a:gd name="connsiteY4569" fmla="*/ 1958893 h 5071335"/>
              <a:gd name="connsiteX4570" fmla="*/ 1288941 w 13768337"/>
              <a:gd name="connsiteY4570" fmla="*/ 1958893 h 5071335"/>
              <a:gd name="connsiteX4571" fmla="*/ 1310720 w 13768337"/>
              <a:gd name="connsiteY4571" fmla="*/ 1949694 h 5071335"/>
              <a:gd name="connsiteX4572" fmla="*/ 1489898 w 13768337"/>
              <a:gd name="connsiteY4572" fmla="*/ 1915253 h 5071335"/>
              <a:gd name="connsiteX4573" fmla="*/ 1514920 w 13768337"/>
              <a:gd name="connsiteY4573" fmla="*/ 1948422 h 5071335"/>
              <a:gd name="connsiteX4574" fmla="*/ 1489898 w 13768337"/>
              <a:gd name="connsiteY4574" fmla="*/ 1915253 h 5071335"/>
              <a:gd name="connsiteX4575" fmla="*/ 1357987 w 13768337"/>
              <a:gd name="connsiteY4575" fmla="*/ 1903706 h 5071335"/>
              <a:gd name="connsiteX4576" fmla="*/ 1323231 w 13768337"/>
              <a:gd name="connsiteY4576" fmla="*/ 1918896 h 5071335"/>
              <a:gd name="connsiteX4577" fmla="*/ 1357987 w 13768337"/>
              <a:gd name="connsiteY4577" fmla="*/ 1903706 h 5071335"/>
              <a:gd name="connsiteX4578" fmla="*/ 2034849 w 13768337"/>
              <a:gd name="connsiteY4578" fmla="*/ 1903408 h 5071335"/>
              <a:gd name="connsiteX4579" fmla="*/ 2052922 w 13768337"/>
              <a:gd name="connsiteY4579" fmla="*/ 1908146 h 5071335"/>
              <a:gd name="connsiteX4580" fmla="*/ 2039484 w 13768337"/>
              <a:gd name="connsiteY4580" fmla="*/ 1908146 h 5071335"/>
              <a:gd name="connsiteX4581" fmla="*/ 2034385 w 13768337"/>
              <a:gd name="connsiteY4581" fmla="*/ 1919434 h 5071335"/>
              <a:gd name="connsiteX4582" fmla="*/ 2018629 w 13768337"/>
              <a:gd name="connsiteY4582" fmla="*/ 1913721 h 5071335"/>
              <a:gd name="connsiteX4583" fmla="*/ 2034849 w 13768337"/>
              <a:gd name="connsiteY4583" fmla="*/ 1903408 h 5071335"/>
              <a:gd name="connsiteX4584" fmla="*/ 1699972 w 13768337"/>
              <a:gd name="connsiteY4584" fmla="*/ 1902312 h 5071335"/>
              <a:gd name="connsiteX4585" fmla="*/ 1678655 w 13768337"/>
              <a:gd name="connsiteY4585" fmla="*/ 1927118 h 5071335"/>
              <a:gd name="connsiteX4586" fmla="*/ 1699972 w 13768337"/>
              <a:gd name="connsiteY4586" fmla="*/ 1902312 h 5071335"/>
              <a:gd name="connsiteX4587" fmla="*/ 2829147 w 13768337"/>
              <a:gd name="connsiteY4587" fmla="*/ 1900031 h 5071335"/>
              <a:gd name="connsiteX4588" fmla="*/ 2827872 w 13768337"/>
              <a:gd name="connsiteY4588" fmla="*/ 1903288 h 5071335"/>
              <a:gd name="connsiteX4589" fmla="*/ 2835591 w 13768337"/>
              <a:gd name="connsiteY4589" fmla="*/ 1904631 h 5071335"/>
              <a:gd name="connsiteX4590" fmla="*/ 345469 w 13768337"/>
              <a:gd name="connsiteY4590" fmla="*/ 1899385 h 5071335"/>
              <a:gd name="connsiteX4591" fmla="*/ 358909 w 13768337"/>
              <a:gd name="connsiteY4591" fmla="*/ 1901057 h 5071335"/>
              <a:gd name="connsiteX4592" fmla="*/ 338056 w 13768337"/>
              <a:gd name="connsiteY4592" fmla="*/ 1901057 h 5071335"/>
              <a:gd name="connsiteX4593" fmla="*/ 345469 w 13768337"/>
              <a:gd name="connsiteY4593" fmla="*/ 1899385 h 5071335"/>
              <a:gd name="connsiteX4594" fmla="*/ 2714184 w 13768337"/>
              <a:gd name="connsiteY4594" fmla="*/ 1899227 h 5071335"/>
              <a:gd name="connsiteX4595" fmla="*/ 2682211 w 13768337"/>
              <a:gd name="connsiteY4595" fmla="*/ 1920828 h 5071335"/>
              <a:gd name="connsiteX4596" fmla="*/ 2714184 w 13768337"/>
              <a:gd name="connsiteY4596" fmla="*/ 1899227 h 5071335"/>
              <a:gd name="connsiteX4597" fmla="*/ 2802825 w 13768337"/>
              <a:gd name="connsiteY4597" fmla="*/ 1898275 h 5071335"/>
              <a:gd name="connsiteX4598" fmla="*/ 2800275 w 13768337"/>
              <a:gd name="connsiteY4598" fmla="*/ 1899099 h 5071335"/>
              <a:gd name="connsiteX4599" fmla="*/ 2796670 w 13768337"/>
              <a:gd name="connsiteY4599" fmla="*/ 1904384 h 5071335"/>
              <a:gd name="connsiteX4600" fmla="*/ 2799506 w 13768337"/>
              <a:gd name="connsiteY4600" fmla="*/ 1903904 h 5071335"/>
              <a:gd name="connsiteX4601" fmla="*/ 2803660 w 13768337"/>
              <a:gd name="connsiteY4601" fmla="*/ 1900082 h 5071335"/>
              <a:gd name="connsiteX4602" fmla="*/ 1900157 w 13768337"/>
              <a:gd name="connsiteY4602" fmla="*/ 1898132 h 5071335"/>
              <a:gd name="connsiteX4603" fmla="*/ 1916376 w 13768337"/>
              <a:gd name="connsiteY4603" fmla="*/ 1916527 h 5071335"/>
              <a:gd name="connsiteX4604" fmla="*/ 1898305 w 13768337"/>
              <a:gd name="connsiteY4604" fmla="*/ 1914994 h 5071335"/>
              <a:gd name="connsiteX4605" fmla="*/ 1900157 w 13768337"/>
              <a:gd name="connsiteY4605" fmla="*/ 1898132 h 5071335"/>
              <a:gd name="connsiteX4606" fmla="*/ 1417301 w 13768337"/>
              <a:gd name="connsiteY4606" fmla="*/ 1896319 h 5071335"/>
              <a:gd name="connsiteX4607" fmla="*/ 1402471 w 13768337"/>
              <a:gd name="connsiteY4607" fmla="*/ 1904263 h 5071335"/>
              <a:gd name="connsiteX4608" fmla="*/ 1417301 w 13768337"/>
              <a:gd name="connsiteY4608" fmla="*/ 1916527 h 5071335"/>
              <a:gd name="connsiteX4609" fmla="*/ 1413594 w 13768337"/>
              <a:gd name="connsiteY4609" fmla="*/ 1927118 h 5071335"/>
              <a:gd name="connsiteX4610" fmla="*/ 1402936 w 13768337"/>
              <a:gd name="connsiteY4610" fmla="*/ 1927118 h 5071335"/>
              <a:gd name="connsiteX4611" fmla="*/ 1397838 w 13768337"/>
              <a:gd name="connsiteY4611" fmla="*/ 1910812 h 5071335"/>
              <a:gd name="connsiteX4612" fmla="*/ 1402471 w 13768337"/>
              <a:gd name="connsiteY4612" fmla="*/ 1904541 h 5071335"/>
              <a:gd name="connsiteX4613" fmla="*/ 1367718 w 13768337"/>
              <a:gd name="connsiteY4613" fmla="*/ 1911231 h 5071335"/>
              <a:gd name="connsiteX4614" fmla="*/ 1417301 w 13768337"/>
              <a:gd name="connsiteY4614" fmla="*/ 1896319 h 5071335"/>
              <a:gd name="connsiteX4615" fmla="*/ 1568368 w 13768337"/>
              <a:gd name="connsiteY4615" fmla="*/ 1894925 h 5071335"/>
              <a:gd name="connsiteX4616" fmla="*/ 1590147 w 13768337"/>
              <a:gd name="connsiteY4616" fmla="*/ 1897852 h 5071335"/>
              <a:gd name="connsiteX4617" fmla="*/ 1550758 w 13768337"/>
              <a:gd name="connsiteY4617" fmla="*/ 1904263 h 5071335"/>
              <a:gd name="connsiteX4618" fmla="*/ 1568368 w 13768337"/>
              <a:gd name="connsiteY4618" fmla="*/ 1894925 h 5071335"/>
              <a:gd name="connsiteX4619" fmla="*/ 2840848 w 13768337"/>
              <a:gd name="connsiteY4619" fmla="*/ 1891024 h 5071335"/>
              <a:gd name="connsiteX4620" fmla="*/ 2835728 w 13768337"/>
              <a:gd name="connsiteY4620" fmla="*/ 1892981 h 5071335"/>
              <a:gd name="connsiteX4621" fmla="*/ 2841386 w 13768337"/>
              <a:gd name="connsiteY4621" fmla="*/ 1894541 h 5071335"/>
              <a:gd name="connsiteX4622" fmla="*/ 2846067 w 13768337"/>
              <a:gd name="connsiteY4622" fmla="*/ 1892015 h 5071335"/>
              <a:gd name="connsiteX4623" fmla="*/ 2167073 w 13768337"/>
              <a:gd name="connsiteY4623" fmla="*/ 1891024 h 5071335"/>
              <a:gd name="connsiteX4624" fmla="*/ 2173097 w 13768337"/>
              <a:gd name="connsiteY4624" fmla="*/ 1896319 h 5071335"/>
              <a:gd name="connsiteX4625" fmla="*/ 2149000 w 13768337"/>
              <a:gd name="connsiteY4625" fmla="*/ 1905517 h 5071335"/>
              <a:gd name="connsiteX4626" fmla="*/ 2160586 w 13768337"/>
              <a:gd name="connsiteY4626" fmla="*/ 1892138 h 5071335"/>
              <a:gd name="connsiteX4627" fmla="*/ 2167073 w 13768337"/>
              <a:gd name="connsiteY4627" fmla="*/ 1891024 h 5071335"/>
              <a:gd name="connsiteX4628" fmla="*/ 1876988 w 13768337"/>
              <a:gd name="connsiteY4628" fmla="*/ 1890188 h 5071335"/>
              <a:gd name="connsiteX4629" fmla="*/ 1868157 w 13768337"/>
              <a:gd name="connsiteY4629" fmla="*/ 1900495 h 5071335"/>
              <a:gd name="connsiteX4630" fmla="*/ 1879612 w 13768337"/>
              <a:gd name="connsiteY4630" fmla="*/ 1901039 h 5071335"/>
              <a:gd name="connsiteX4631" fmla="*/ 1885172 w 13768337"/>
              <a:gd name="connsiteY4631" fmla="*/ 1911909 h 5071335"/>
              <a:gd name="connsiteX4632" fmla="*/ 1850881 w 13768337"/>
              <a:gd name="connsiteY4632" fmla="*/ 1906752 h 5071335"/>
              <a:gd name="connsiteX4633" fmla="*/ 1854010 w 13768337"/>
              <a:gd name="connsiteY4633" fmla="*/ 1900970 h 5071335"/>
              <a:gd name="connsiteX4634" fmla="*/ 1860293 w 13768337"/>
              <a:gd name="connsiteY4634" fmla="*/ 1900366 h 5071335"/>
              <a:gd name="connsiteX4635" fmla="*/ 1861870 w 13768337"/>
              <a:gd name="connsiteY4635" fmla="*/ 1897992 h 5071335"/>
              <a:gd name="connsiteX4636" fmla="*/ 1876988 w 13768337"/>
              <a:gd name="connsiteY4636" fmla="*/ 1890188 h 5071335"/>
              <a:gd name="connsiteX4637" fmla="*/ 1803309 w 13768337"/>
              <a:gd name="connsiteY4637" fmla="*/ 1890188 h 5071335"/>
              <a:gd name="connsiteX4638" fmla="*/ 1810723 w 13768337"/>
              <a:gd name="connsiteY4638" fmla="*/ 1915551 h 5071335"/>
              <a:gd name="connsiteX4639" fmla="*/ 1791029 w 13768337"/>
              <a:gd name="connsiteY4639" fmla="*/ 1914071 h 5071335"/>
              <a:gd name="connsiteX4640" fmla="*/ 1771955 w 13768337"/>
              <a:gd name="connsiteY4640" fmla="*/ 1919014 h 5071335"/>
              <a:gd name="connsiteX4641" fmla="*/ 1776275 w 13768337"/>
              <a:gd name="connsiteY4641" fmla="*/ 1920828 h 5071335"/>
              <a:gd name="connsiteX4642" fmla="*/ 1727156 w 13768337"/>
              <a:gd name="connsiteY4642" fmla="*/ 1920828 h 5071335"/>
              <a:gd name="connsiteX4643" fmla="*/ 1751715 w 13768337"/>
              <a:gd name="connsiteY4643" fmla="*/ 1910515 h 5071335"/>
              <a:gd name="connsiteX4644" fmla="*/ 1770772 w 13768337"/>
              <a:gd name="connsiteY4644" fmla="*/ 1918518 h 5071335"/>
              <a:gd name="connsiteX4645" fmla="*/ 1763052 w 13768337"/>
              <a:gd name="connsiteY4645" fmla="*/ 1909489 h 5071335"/>
              <a:gd name="connsiteX4646" fmla="*/ 1748164 w 13768337"/>
              <a:gd name="connsiteY4646" fmla="*/ 1910256 h 5071335"/>
              <a:gd name="connsiteX4647" fmla="*/ 1803309 w 13768337"/>
              <a:gd name="connsiteY4647" fmla="*/ 1890188 h 5071335"/>
              <a:gd name="connsiteX4648" fmla="*/ 2531143 w 13768337"/>
              <a:gd name="connsiteY4648" fmla="*/ 1887521 h 5071335"/>
              <a:gd name="connsiteX4649" fmla="*/ 2526046 w 13768337"/>
              <a:gd name="connsiteY4649" fmla="*/ 1893652 h 5071335"/>
              <a:gd name="connsiteX4650" fmla="*/ 2488975 w 13768337"/>
              <a:gd name="connsiteY4650" fmla="*/ 1909958 h 5071335"/>
              <a:gd name="connsiteX4651" fmla="*/ 2530680 w 13768337"/>
              <a:gd name="connsiteY4651" fmla="*/ 1909958 h 5071335"/>
              <a:gd name="connsiteX4652" fmla="*/ 2531143 w 13768337"/>
              <a:gd name="connsiteY4652" fmla="*/ 1887521 h 5071335"/>
              <a:gd name="connsiteX4653" fmla="*/ 2843471 w 13768337"/>
              <a:gd name="connsiteY4653" fmla="*/ 1884176 h 5071335"/>
              <a:gd name="connsiteX4654" fmla="*/ 2842784 w 13768337"/>
              <a:gd name="connsiteY4654" fmla="*/ 1885544 h 5071335"/>
              <a:gd name="connsiteX4655" fmla="*/ 2844286 w 13768337"/>
              <a:gd name="connsiteY4655" fmla="*/ 1885356 h 5071335"/>
              <a:gd name="connsiteX4656" fmla="*/ 2874601 w 13768337"/>
              <a:gd name="connsiteY4656" fmla="*/ 1879159 h 5071335"/>
              <a:gd name="connsiteX4657" fmla="*/ 2879838 w 13768337"/>
              <a:gd name="connsiteY4657" fmla="*/ 1884079 h 5071335"/>
              <a:gd name="connsiteX4658" fmla="*/ 2883266 w 13768337"/>
              <a:gd name="connsiteY4658" fmla="*/ 1885429 h 5071335"/>
              <a:gd name="connsiteX4659" fmla="*/ 2884714 w 13768337"/>
              <a:gd name="connsiteY4659" fmla="*/ 1879159 h 5071335"/>
              <a:gd name="connsiteX4660" fmla="*/ 1680509 w 13768337"/>
              <a:gd name="connsiteY4660" fmla="*/ 1879038 h 5071335"/>
              <a:gd name="connsiteX4661" fmla="*/ 1699045 w 13768337"/>
              <a:gd name="connsiteY4661" fmla="*/ 1886007 h 5071335"/>
              <a:gd name="connsiteX4662" fmla="*/ 1671241 w 13768337"/>
              <a:gd name="connsiteY4662" fmla="*/ 1879457 h 5071335"/>
              <a:gd name="connsiteX4663" fmla="*/ 1680509 w 13768337"/>
              <a:gd name="connsiteY4663" fmla="*/ 1879038 h 5071335"/>
              <a:gd name="connsiteX4664" fmla="*/ 2754500 w 13768337"/>
              <a:gd name="connsiteY4664" fmla="*/ 1877626 h 5071335"/>
              <a:gd name="connsiteX4665" fmla="*/ 2718819 w 13768337"/>
              <a:gd name="connsiteY4665" fmla="*/ 1904384 h 5071335"/>
              <a:gd name="connsiteX4666" fmla="*/ 2733183 w 13768337"/>
              <a:gd name="connsiteY4666" fmla="*/ 1904384 h 5071335"/>
              <a:gd name="connsiteX4667" fmla="*/ 2727613 w 13768337"/>
              <a:gd name="connsiteY4667" fmla="*/ 1913085 h 5071335"/>
              <a:gd name="connsiteX4668" fmla="*/ 2746688 w 13768337"/>
              <a:gd name="connsiteY4668" fmla="*/ 1907120 h 5071335"/>
              <a:gd name="connsiteX4669" fmla="*/ 2741061 w 13768337"/>
              <a:gd name="connsiteY4669" fmla="*/ 1893652 h 5071335"/>
              <a:gd name="connsiteX4670" fmla="*/ 2737817 w 13768337"/>
              <a:gd name="connsiteY4670" fmla="*/ 1893652 h 5071335"/>
              <a:gd name="connsiteX4671" fmla="*/ 2765158 w 13768337"/>
              <a:gd name="connsiteY4671" fmla="*/ 1888497 h 5071335"/>
              <a:gd name="connsiteX4672" fmla="*/ 2754500 w 13768337"/>
              <a:gd name="connsiteY4672" fmla="*/ 1877626 h 5071335"/>
              <a:gd name="connsiteX4673" fmla="*/ 1969974 w 13768337"/>
              <a:gd name="connsiteY4673" fmla="*/ 1877626 h 5071335"/>
              <a:gd name="connsiteX4674" fmla="*/ 1972754 w 13768337"/>
              <a:gd name="connsiteY4674" fmla="*/ 1877626 h 5071335"/>
              <a:gd name="connsiteX4675" fmla="*/ 1994070 w 13768337"/>
              <a:gd name="connsiteY4675" fmla="*/ 1897415 h 5071335"/>
              <a:gd name="connsiteX4676" fmla="*/ 1988973 w 13768337"/>
              <a:gd name="connsiteY4676" fmla="*/ 1913163 h 5071335"/>
              <a:gd name="connsiteX4677" fmla="*/ 1959837 w 13768337"/>
              <a:gd name="connsiteY4677" fmla="*/ 1910777 h 5071335"/>
              <a:gd name="connsiteX4678" fmla="*/ 1950892 w 13768337"/>
              <a:gd name="connsiteY4678" fmla="*/ 1912069 h 5071335"/>
              <a:gd name="connsiteX4679" fmla="*/ 1949755 w 13768337"/>
              <a:gd name="connsiteY4679" fmla="*/ 1914540 h 5071335"/>
              <a:gd name="connsiteX4680" fmla="*/ 1921475 w 13768337"/>
              <a:gd name="connsiteY4680" fmla="*/ 1917362 h 5071335"/>
              <a:gd name="connsiteX4681" fmla="*/ 1933406 w 13768337"/>
              <a:gd name="connsiteY4681" fmla="*/ 1903357 h 5071335"/>
              <a:gd name="connsiteX4682" fmla="*/ 1934305 w 13768337"/>
              <a:gd name="connsiteY4682" fmla="*/ 1903282 h 5071335"/>
              <a:gd name="connsiteX4683" fmla="*/ 1929659 w 13768337"/>
              <a:gd name="connsiteY4683" fmla="*/ 1897415 h 5071335"/>
              <a:gd name="connsiteX4684" fmla="*/ 1961632 w 13768337"/>
              <a:gd name="connsiteY4684" fmla="*/ 1902572 h 5071335"/>
              <a:gd name="connsiteX4685" fmla="*/ 1966266 w 13768337"/>
              <a:gd name="connsiteY4685" fmla="*/ 1881528 h 5071335"/>
              <a:gd name="connsiteX4686" fmla="*/ 1969974 w 13768337"/>
              <a:gd name="connsiteY4686" fmla="*/ 1877626 h 5071335"/>
              <a:gd name="connsiteX4687" fmla="*/ 2838374 w 13768337"/>
              <a:gd name="connsiteY4687" fmla="*/ 1868428 h 5071335"/>
              <a:gd name="connsiteX4688" fmla="*/ 2825978 w 13768337"/>
              <a:gd name="connsiteY4688" fmla="*/ 1873079 h 5071335"/>
              <a:gd name="connsiteX4689" fmla="*/ 2824263 w 13768337"/>
              <a:gd name="connsiteY4689" fmla="*/ 1887594 h 5071335"/>
              <a:gd name="connsiteX4690" fmla="*/ 2834534 w 13768337"/>
              <a:gd name="connsiteY4690" fmla="*/ 1886581 h 5071335"/>
              <a:gd name="connsiteX4691" fmla="*/ 2840710 w 13768337"/>
              <a:gd name="connsiteY4691" fmla="*/ 1885805 h 5071335"/>
              <a:gd name="connsiteX4692" fmla="*/ 2843471 w 13768337"/>
              <a:gd name="connsiteY4692" fmla="*/ 1879159 h 5071335"/>
              <a:gd name="connsiteX4693" fmla="*/ 2838374 w 13768337"/>
              <a:gd name="connsiteY4693" fmla="*/ 1868428 h 5071335"/>
              <a:gd name="connsiteX4694" fmla="*/ 3141897 w 13768337"/>
              <a:gd name="connsiteY4694" fmla="*/ 1867870 h 5071335"/>
              <a:gd name="connsiteX4695" fmla="*/ 3133151 w 13768337"/>
              <a:gd name="connsiteY4695" fmla="*/ 1872051 h 5071335"/>
              <a:gd name="connsiteX4696" fmla="*/ 3132465 w 13768337"/>
              <a:gd name="connsiteY4696" fmla="*/ 1875421 h 5071335"/>
              <a:gd name="connsiteX4697" fmla="*/ 3144001 w 13768337"/>
              <a:gd name="connsiteY4697" fmla="*/ 1874950 h 5071335"/>
              <a:gd name="connsiteX4698" fmla="*/ 2576094 w 13768337"/>
              <a:gd name="connsiteY4698" fmla="*/ 1865501 h 5071335"/>
              <a:gd name="connsiteX4699" fmla="*/ 2568216 w 13768337"/>
              <a:gd name="connsiteY4699" fmla="*/ 1874978 h 5071335"/>
              <a:gd name="connsiteX4700" fmla="*/ 2572386 w 13768337"/>
              <a:gd name="connsiteY4700" fmla="*/ 1877626 h 5071335"/>
              <a:gd name="connsiteX4701" fmla="*/ 2539948 w 13768337"/>
              <a:gd name="connsiteY4701" fmla="*/ 1904384 h 5071335"/>
              <a:gd name="connsiteX4702" fmla="*/ 2552924 w 13768337"/>
              <a:gd name="connsiteY4702" fmla="*/ 1915253 h 5071335"/>
              <a:gd name="connsiteX4703" fmla="*/ 2581653 w 13768337"/>
              <a:gd name="connsiteY4703" fmla="*/ 1904384 h 5071335"/>
              <a:gd name="connsiteX4704" fmla="*/ 2567289 w 13768337"/>
              <a:gd name="connsiteY4704" fmla="*/ 1893652 h 5071335"/>
              <a:gd name="connsiteX4705" fmla="*/ 2608994 w 13768337"/>
              <a:gd name="connsiteY4705" fmla="*/ 1888497 h 5071335"/>
              <a:gd name="connsiteX4706" fmla="*/ 2586288 w 13768337"/>
              <a:gd name="connsiteY4706" fmla="*/ 1904384 h 5071335"/>
              <a:gd name="connsiteX4707" fmla="*/ 2667846 w 13768337"/>
              <a:gd name="connsiteY4707" fmla="*/ 1904384 h 5071335"/>
              <a:gd name="connsiteX4708" fmla="*/ 2663675 w 13768337"/>
              <a:gd name="connsiteY4708" fmla="*/ 1884176 h 5071335"/>
              <a:gd name="connsiteX4709" fmla="*/ 2660894 w 13768337"/>
              <a:gd name="connsiteY4709" fmla="*/ 1883758 h 5071335"/>
              <a:gd name="connsiteX4710" fmla="*/ 2664602 w 13768337"/>
              <a:gd name="connsiteY4710" fmla="*/ 1878741 h 5071335"/>
              <a:gd name="connsiteX4711" fmla="*/ 2664602 w 13768337"/>
              <a:gd name="connsiteY4711" fmla="*/ 1877626 h 5071335"/>
              <a:gd name="connsiteX4712" fmla="*/ 2645138 w 13768337"/>
              <a:gd name="connsiteY4712" fmla="*/ 1868428 h 5071335"/>
              <a:gd name="connsiteX4713" fmla="*/ 2604823 w 13768337"/>
              <a:gd name="connsiteY4713" fmla="*/ 1874002 h 5071335"/>
              <a:gd name="connsiteX4714" fmla="*/ 2607605 w 13768337"/>
              <a:gd name="connsiteY4714" fmla="*/ 1876372 h 5071335"/>
              <a:gd name="connsiteX4715" fmla="*/ 2597873 w 13768337"/>
              <a:gd name="connsiteY4715" fmla="*/ 1866059 h 5071335"/>
              <a:gd name="connsiteX4716" fmla="*/ 2597409 w 13768337"/>
              <a:gd name="connsiteY4716" fmla="*/ 1865501 h 5071335"/>
              <a:gd name="connsiteX4717" fmla="*/ 1385790 w 13768337"/>
              <a:gd name="connsiteY4717" fmla="*/ 1858414 h 5071335"/>
              <a:gd name="connsiteX4718" fmla="*/ 1410813 w 13768337"/>
              <a:gd name="connsiteY4718" fmla="*/ 1858414 h 5071335"/>
              <a:gd name="connsiteX4719" fmla="*/ 1385790 w 13768337"/>
              <a:gd name="connsiteY4719" fmla="*/ 1858414 h 5071335"/>
              <a:gd name="connsiteX4720" fmla="*/ 2796670 w 13768337"/>
              <a:gd name="connsiteY4720" fmla="*/ 1857557 h 5071335"/>
              <a:gd name="connsiteX4721" fmla="*/ 2769792 w 13768337"/>
              <a:gd name="connsiteY4721" fmla="*/ 1888497 h 5071335"/>
              <a:gd name="connsiteX4722" fmla="*/ 2811497 w 13768337"/>
              <a:gd name="connsiteY4722" fmla="*/ 1873445 h 5071335"/>
              <a:gd name="connsiteX4723" fmla="*/ 2796670 w 13768337"/>
              <a:gd name="connsiteY4723" fmla="*/ 1857557 h 5071335"/>
              <a:gd name="connsiteX4724" fmla="*/ 1506579 w 13768337"/>
              <a:gd name="connsiteY4724" fmla="*/ 1857139 h 5071335"/>
              <a:gd name="connsiteX4725" fmla="*/ 1524652 w 13768337"/>
              <a:gd name="connsiteY4725" fmla="*/ 1857139 h 5071335"/>
              <a:gd name="connsiteX4726" fmla="*/ 1520018 w 13768337"/>
              <a:gd name="connsiteY4726" fmla="*/ 1872608 h 5071335"/>
              <a:gd name="connsiteX4727" fmla="*/ 1489434 w 13768337"/>
              <a:gd name="connsiteY4727" fmla="*/ 1881528 h 5071335"/>
              <a:gd name="connsiteX4728" fmla="*/ 1506579 w 13768337"/>
              <a:gd name="connsiteY4728" fmla="*/ 1857139 h 5071335"/>
              <a:gd name="connsiteX4729" fmla="*/ 13657821 w 13768337"/>
              <a:gd name="connsiteY4729" fmla="*/ 1853739 h 5071335"/>
              <a:gd name="connsiteX4730" fmla="*/ 13676358 w 13768337"/>
              <a:gd name="connsiteY4730" fmla="*/ 1856526 h 5071335"/>
              <a:gd name="connsiteX4731" fmla="*/ 13646701 w 13768337"/>
              <a:gd name="connsiteY4731" fmla="*/ 1868233 h 5071335"/>
              <a:gd name="connsiteX4732" fmla="*/ 13657821 w 13768337"/>
              <a:gd name="connsiteY4732" fmla="*/ 1853739 h 5071335"/>
              <a:gd name="connsiteX4733" fmla="*/ 3090924 w 13768337"/>
              <a:gd name="connsiteY4733" fmla="*/ 1853377 h 5071335"/>
              <a:gd name="connsiteX4734" fmla="*/ 3104826 w 13768337"/>
              <a:gd name="connsiteY4734" fmla="*/ 1868428 h 5071335"/>
              <a:gd name="connsiteX4735" fmla="*/ 3098805 w 13768337"/>
              <a:gd name="connsiteY4735" fmla="*/ 1876796 h 5071335"/>
              <a:gd name="connsiteX4736" fmla="*/ 3104970 w 13768337"/>
              <a:gd name="connsiteY4736" fmla="*/ 1876544 h 5071335"/>
              <a:gd name="connsiteX4737" fmla="*/ 3104978 w 13768337"/>
              <a:gd name="connsiteY4737" fmla="*/ 1876100 h 5071335"/>
              <a:gd name="connsiteX4738" fmla="*/ 3114556 w 13768337"/>
              <a:gd name="connsiteY4738" fmla="*/ 1862713 h 5071335"/>
              <a:gd name="connsiteX4739" fmla="*/ 3090924 w 13768337"/>
              <a:gd name="connsiteY4739" fmla="*/ 1853377 h 5071335"/>
              <a:gd name="connsiteX4740" fmla="*/ 13624921 w 13768337"/>
              <a:gd name="connsiteY4740" fmla="*/ 1850813 h 5071335"/>
              <a:gd name="connsiteX4741" fmla="*/ 13640213 w 13768337"/>
              <a:gd name="connsiteY4741" fmla="*/ 1857502 h 5071335"/>
              <a:gd name="connsiteX4742" fmla="*/ 13624921 w 13768337"/>
              <a:gd name="connsiteY4742" fmla="*/ 1850813 h 5071335"/>
              <a:gd name="connsiteX4743" fmla="*/ 2053847 w 13768337"/>
              <a:gd name="connsiteY4743" fmla="*/ 1850450 h 5071335"/>
              <a:gd name="connsiteX4744" fmla="*/ 2061262 w 13768337"/>
              <a:gd name="connsiteY4744" fmla="*/ 1855328 h 5071335"/>
              <a:gd name="connsiteX4745" fmla="*/ 2046434 w 13768337"/>
              <a:gd name="connsiteY4745" fmla="*/ 1873445 h 5071335"/>
              <a:gd name="connsiteX4746" fmla="*/ 2028361 w 13768337"/>
              <a:gd name="connsiteY4746" fmla="*/ 1861320 h 5071335"/>
              <a:gd name="connsiteX4747" fmla="*/ 2044581 w 13768337"/>
              <a:gd name="connsiteY4747" fmla="*/ 1851007 h 5071335"/>
              <a:gd name="connsiteX4748" fmla="*/ 2053847 w 13768337"/>
              <a:gd name="connsiteY4748" fmla="*/ 1850450 h 5071335"/>
              <a:gd name="connsiteX4749" fmla="*/ 3296055 w 13768337"/>
              <a:gd name="connsiteY4749" fmla="*/ 1849182 h 5071335"/>
              <a:gd name="connsiteX4750" fmla="*/ 3293427 w 13768337"/>
              <a:gd name="connsiteY4750" fmla="*/ 1853377 h 5071335"/>
              <a:gd name="connsiteX4751" fmla="*/ 3293848 w 13768337"/>
              <a:gd name="connsiteY4751" fmla="*/ 1853559 h 5071335"/>
              <a:gd name="connsiteX4752" fmla="*/ 3302035 w 13768337"/>
              <a:gd name="connsiteY4752" fmla="*/ 1850735 h 5071335"/>
              <a:gd name="connsiteX4753" fmla="*/ 3299162 w 13768337"/>
              <a:gd name="connsiteY4753" fmla="*/ 1849301 h 5071335"/>
              <a:gd name="connsiteX4754" fmla="*/ 3296055 w 13768337"/>
              <a:gd name="connsiteY4754" fmla="*/ 1849182 h 5071335"/>
              <a:gd name="connsiteX4755" fmla="*/ 1990827 w 13768337"/>
              <a:gd name="connsiteY4755" fmla="*/ 1847384 h 5071335"/>
              <a:gd name="connsiteX4756" fmla="*/ 1998241 w 13768337"/>
              <a:gd name="connsiteY4756" fmla="*/ 1851565 h 5071335"/>
              <a:gd name="connsiteX4757" fmla="*/ 1993144 w 13768337"/>
              <a:gd name="connsiteY4757" fmla="*/ 1856582 h 5071335"/>
              <a:gd name="connsiteX4758" fmla="*/ 2013533 w 13768337"/>
              <a:gd name="connsiteY4758" fmla="*/ 1861878 h 5071335"/>
              <a:gd name="connsiteX4759" fmla="*/ 2016776 w 13768337"/>
              <a:gd name="connsiteY4759" fmla="*/ 1881947 h 5071335"/>
              <a:gd name="connsiteX4760" fmla="*/ 1982949 w 13768337"/>
              <a:gd name="connsiteY4760" fmla="*/ 1878183 h 5071335"/>
              <a:gd name="connsiteX4761" fmla="*/ 1969047 w 13768337"/>
              <a:gd name="connsiteY4761" fmla="*/ 1856582 h 5071335"/>
              <a:gd name="connsiteX4762" fmla="*/ 1982949 w 13768337"/>
              <a:gd name="connsiteY4762" fmla="*/ 1851565 h 5071335"/>
              <a:gd name="connsiteX4763" fmla="*/ 1990827 w 13768337"/>
              <a:gd name="connsiteY4763" fmla="*/ 1847384 h 5071335"/>
              <a:gd name="connsiteX4764" fmla="*/ 13585533 w 13768337"/>
              <a:gd name="connsiteY4764" fmla="*/ 1847189 h 5071335"/>
              <a:gd name="connsiteX4765" fmla="*/ 13585533 w 13768337"/>
              <a:gd name="connsiteY4765" fmla="*/ 1858478 h 5071335"/>
              <a:gd name="connsiteX4766" fmla="*/ 13600825 w 13768337"/>
              <a:gd name="connsiteY4766" fmla="*/ 1849558 h 5071335"/>
              <a:gd name="connsiteX4767" fmla="*/ 13607313 w 13768337"/>
              <a:gd name="connsiteY4767" fmla="*/ 1856944 h 5071335"/>
              <a:gd name="connsiteX4768" fmla="*/ 13572558 w 13768337"/>
              <a:gd name="connsiteY4768" fmla="*/ 1867397 h 5071335"/>
              <a:gd name="connsiteX4769" fmla="*/ 13513242 w 13768337"/>
              <a:gd name="connsiteY4769" fmla="*/ 1856944 h 5071335"/>
              <a:gd name="connsiteX4770" fmla="*/ 13585533 w 13768337"/>
              <a:gd name="connsiteY4770" fmla="*/ 1847189 h 5071335"/>
              <a:gd name="connsiteX4771" fmla="*/ 2938930 w 13768337"/>
              <a:gd name="connsiteY4771" fmla="*/ 1846826 h 5071335"/>
              <a:gd name="connsiteX4772" fmla="*/ 2963028 w 13768337"/>
              <a:gd name="connsiteY4772" fmla="*/ 1862713 h 5071335"/>
              <a:gd name="connsiteX4773" fmla="*/ 2958506 w 13768337"/>
              <a:gd name="connsiteY4773" fmla="*/ 1871597 h 5071335"/>
              <a:gd name="connsiteX4774" fmla="*/ 2965037 w 13768337"/>
              <a:gd name="connsiteY4774" fmla="*/ 1869701 h 5071335"/>
              <a:gd name="connsiteX4775" fmla="*/ 2983221 w 13768337"/>
              <a:gd name="connsiteY4775" fmla="*/ 1872766 h 5071335"/>
              <a:gd name="connsiteX4776" fmla="*/ 2985451 w 13768337"/>
              <a:gd name="connsiteY4776" fmla="*/ 1871868 h 5071335"/>
              <a:gd name="connsiteX4777" fmla="*/ 3007513 w 13768337"/>
              <a:gd name="connsiteY4777" fmla="*/ 1868428 h 5071335"/>
              <a:gd name="connsiteX4778" fmla="*/ 3007513 w 13768337"/>
              <a:gd name="connsiteY4778" fmla="*/ 1876860 h 5071335"/>
              <a:gd name="connsiteX4779" fmla="*/ 3019595 w 13768337"/>
              <a:gd name="connsiteY4779" fmla="*/ 1878897 h 5071335"/>
              <a:gd name="connsiteX4780" fmla="*/ 3067393 w 13768337"/>
              <a:gd name="connsiteY4780" fmla="*/ 1877730 h 5071335"/>
              <a:gd name="connsiteX4781" fmla="*/ 3060382 w 13768337"/>
              <a:gd name="connsiteY4781" fmla="*/ 1865583 h 5071335"/>
              <a:gd name="connsiteX4782" fmla="*/ 2938930 w 13768337"/>
              <a:gd name="connsiteY4782" fmla="*/ 1846826 h 5071335"/>
              <a:gd name="connsiteX4783" fmla="*/ 2914356 w 13768337"/>
              <a:gd name="connsiteY4783" fmla="*/ 1846683 h 5071335"/>
              <a:gd name="connsiteX4784" fmla="*/ 2880081 w 13768337"/>
              <a:gd name="connsiteY4784" fmla="*/ 1862713 h 5071335"/>
              <a:gd name="connsiteX4785" fmla="*/ 2931054 w 13768337"/>
              <a:gd name="connsiteY4785" fmla="*/ 1846826 h 5071335"/>
              <a:gd name="connsiteX4786" fmla="*/ 2914356 w 13768337"/>
              <a:gd name="connsiteY4786" fmla="*/ 1846683 h 5071335"/>
              <a:gd name="connsiteX4787" fmla="*/ 2590457 w 13768337"/>
              <a:gd name="connsiteY4787" fmla="*/ 1845015 h 5071335"/>
              <a:gd name="connsiteX4788" fmla="*/ 2596482 w 13768337"/>
              <a:gd name="connsiteY4788" fmla="*/ 1857139 h 5071335"/>
              <a:gd name="connsiteX4789" fmla="*/ 2599262 w 13768337"/>
              <a:gd name="connsiteY4789" fmla="*/ 1846826 h 5071335"/>
              <a:gd name="connsiteX4790" fmla="*/ 2590457 w 13768337"/>
              <a:gd name="connsiteY4790" fmla="*/ 1845015 h 5071335"/>
              <a:gd name="connsiteX4791" fmla="*/ 2562192 w 13768337"/>
              <a:gd name="connsiteY4791" fmla="*/ 1841113 h 5071335"/>
              <a:gd name="connsiteX4792" fmla="*/ 2558021 w 13768337"/>
              <a:gd name="connsiteY4792" fmla="*/ 1855328 h 5071335"/>
              <a:gd name="connsiteX4793" fmla="*/ 2589532 w 13768337"/>
              <a:gd name="connsiteY4793" fmla="*/ 1845015 h 5071335"/>
              <a:gd name="connsiteX4794" fmla="*/ 2577021 w 13768337"/>
              <a:gd name="connsiteY4794" fmla="*/ 1841113 h 5071335"/>
              <a:gd name="connsiteX4795" fmla="*/ 2562192 w 13768337"/>
              <a:gd name="connsiteY4795" fmla="*/ 1841113 h 5071335"/>
              <a:gd name="connsiteX4796" fmla="*/ 1582269 w 13768337"/>
              <a:gd name="connsiteY4796" fmla="*/ 1840435 h 5071335"/>
              <a:gd name="connsiteX4797" fmla="*/ 1592464 w 13768337"/>
              <a:gd name="connsiteY4797" fmla="*/ 1841550 h 5071335"/>
              <a:gd name="connsiteX4798" fmla="*/ 1613317 w 13768337"/>
              <a:gd name="connsiteY4798" fmla="*/ 1850051 h 5071335"/>
              <a:gd name="connsiteX4799" fmla="*/ 1575781 w 13768337"/>
              <a:gd name="connsiteY4799" fmla="*/ 1843362 h 5071335"/>
              <a:gd name="connsiteX4800" fmla="*/ 1582269 w 13768337"/>
              <a:gd name="connsiteY4800" fmla="*/ 1840435 h 5071335"/>
              <a:gd name="connsiteX4801" fmla="*/ 3224383 w 13768337"/>
              <a:gd name="connsiteY4801" fmla="*/ 1837489 h 5071335"/>
              <a:gd name="connsiteX4802" fmla="*/ 3266086 w 13768337"/>
              <a:gd name="connsiteY4802" fmla="*/ 1853377 h 5071335"/>
              <a:gd name="connsiteX4803" fmla="*/ 3262538 w 13768337"/>
              <a:gd name="connsiteY4803" fmla="*/ 1858417 h 5071335"/>
              <a:gd name="connsiteX4804" fmla="*/ 3261088 w 13768337"/>
              <a:gd name="connsiteY4804" fmla="*/ 1863448 h 5071335"/>
              <a:gd name="connsiteX4805" fmla="*/ 3259184 w 13768337"/>
              <a:gd name="connsiteY4805" fmla="*/ 1868406 h 5071335"/>
              <a:gd name="connsiteX4806" fmla="*/ 3259601 w 13768337"/>
              <a:gd name="connsiteY4806" fmla="*/ 1869925 h 5071335"/>
              <a:gd name="connsiteX4807" fmla="*/ 3268596 w 13768337"/>
              <a:gd name="connsiteY4807" fmla="*/ 1865471 h 5071335"/>
              <a:gd name="connsiteX4808" fmla="*/ 3271127 w 13768337"/>
              <a:gd name="connsiteY4808" fmla="*/ 1863359 h 5071335"/>
              <a:gd name="connsiteX4809" fmla="*/ 3271976 w 13768337"/>
              <a:gd name="connsiteY4809" fmla="*/ 1863796 h 5071335"/>
              <a:gd name="connsiteX4810" fmla="*/ 3287487 w 13768337"/>
              <a:gd name="connsiteY4810" fmla="*/ 1856114 h 5071335"/>
              <a:gd name="connsiteX4811" fmla="*/ 3288329 w 13768337"/>
              <a:gd name="connsiteY4811" fmla="*/ 1853377 h 5071335"/>
              <a:gd name="connsiteX4812" fmla="*/ 3224383 w 13768337"/>
              <a:gd name="connsiteY4812" fmla="*/ 1837489 h 5071335"/>
              <a:gd name="connsiteX4813" fmla="*/ 1628146 w 13768337"/>
              <a:gd name="connsiteY4813" fmla="*/ 1834025 h 5071335"/>
              <a:gd name="connsiteX4814" fmla="*/ 1636486 w 13768337"/>
              <a:gd name="connsiteY4814" fmla="*/ 1834442 h 5071335"/>
              <a:gd name="connsiteX4815" fmla="*/ 1644827 w 13768337"/>
              <a:gd name="connsiteY4815" fmla="*/ 1842386 h 5071335"/>
              <a:gd name="connsiteX4816" fmla="*/ 1613317 w 13768337"/>
              <a:gd name="connsiteY4816" fmla="*/ 1846567 h 5071335"/>
              <a:gd name="connsiteX4817" fmla="*/ 1628146 w 13768337"/>
              <a:gd name="connsiteY4817" fmla="*/ 1834025 h 5071335"/>
              <a:gd name="connsiteX4818" fmla="*/ 1353353 w 13768337"/>
              <a:gd name="connsiteY4818" fmla="*/ 1826638 h 5071335"/>
              <a:gd name="connsiteX4819" fmla="*/ 1386253 w 13768337"/>
              <a:gd name="connsiteY4819" fmla="*/ 1826638 h 5071335"/>
              <a:gd name="connsiteX4820" fmla="*/ 1353353 w 13768337"/>
              <a:gd name="connsiteY4820" fmla="*/ 1826638 h 5071335"/>
              <a:gd name="connsiteX4821" fmla="*/ 2430802 w 13768337"/>
              <a:gd name="connsiteY4821" fmla="*/ 1824269 h 5071335"/>
              <a:gd name="connsiteX4822" fmla="*/ 2419812 w 13768337"/>
              <a:gd name="connsiteY4822" fmla="*/ 1828987 h 5071335"/>
              <a:gd name="connsiteX4823" fmla="*/ 2420103 w 13768337"/>
              <a:gd name="connsiteY4823" fmla="*/ 1829012 h 5071335"/>
              <a:gd name="connsiteX4824" fmla="*/ 2444138 w 13768337"/>
              <a:gd name="connsiteY4824" fmla="*/ 1827646 h 5071335"/>
              <a:gd name="connsiteX4825" fmla="*/ 1887490 w 13768337"/>
              <a:gd name="connsiteY4825" fmla="*/ 1823972 h 5071335"/>
              <a:gd name="connsiteX4826" fmla="*/ 1896758 w 13768337"/>
              <a:gd name="connsiteY4826" fmla="*/ 1850589 h 5071335"/>
              <a:gd name="connsiteX4827" fmla="*/ 1882855 w 13768337"/>
              <a:gd name="connsiteY4827" fmla="*/ 1861320 h 5071335"/>
              <a:gd name="connsiteX4828" fmla="*/ 1865246 w 13768337"/>
              <a:gd name="connsiteY4828" fmla="*/ 1839720 h 5071335"/>
              <a:gd name="connsiteX4829" fmla="*/ 1887490 w 13768337"/>
              <a:gd name="connsiteY4829" fmla="*/ 1823972 h 5071335"/>
              <a:gd name="connsiteX4830" fmla="*/ 1564196 w 13768337"/>
              <a:gd name="connsiteY4830" fmla="*/ 1823433 h 5071335"/>
              <a:gd name="connsiteX4831" fmla="*/ 1595244 w 13768337"/>
              <a:gd name="connsiteY4831" fmla="*/ 1823433 h 5071335"/>
              <a:gd name="connsiteX4832" fmla="*/ 1564196 w 13768337"/>
              <a:gd name="connsiteY4832" fmla="*/ 1838763 h 5071335"/>
              <a:gd name="connsiteX4833" fmla="*/ 1573927 w 13768337"/>
              <a:gd name="connsiteY4833" fmla="*/ 1854232 h 5071335"/>
              <a:gd name="connsiteX4834" fmla="*/ 1501175 w 13768337"/>
              <a:gd name="connsiteY4834" fmla="*/ 1848936 h 5071335"/>
              <a:gd name="connsiteX4835" fmla="*/ 1564196 w 13768337"/>
              <a:gd name="connsiteY4835" fmla="*/ 1823433 h 5071335"/>
              <a:gd name="connsiteX4836" fmla="*/ 2492838 w 13768337"/>
              <a:gd name="connsiteY4836" fmla="*/ 1820507 h 5071335"/>
              <a:gd name="connsiteX4837" fmla="*/ 2482992 w 13768337"/>
              <a:gd name="connsiteY4837" fmla="*/ 1823451 h 5071335"/>
              <a:gd name="connsiteX4838" fmla="*/ 2481082 w 13768337"/>
              <a:gd name="connsiteY4838" fmla="*/ 1825742 h 5071335"/>
              <a:gd name="connsiteX4839" fmla="*/ 2495236 w 13768337"/>
              <a:gd name="connsiteY4839" fmla="*/ 1825116 h 5071335"/>
              <a:gd name="connsiteX4840" fmla="*/ 3283695 w 13768337"/>
              <a:gd name="connsiteY4840" fmla="*/ 1817421 h 5071335"/>
              <a:gd name="connsiteX4841" fmla="*/ 3256356 w 13768337"/>
              <a:gd name="connsiteY4841" fmla="*/ 1831915 h 5071335"/>
              <a:gd name="connsiteX4842" fmla="*/ 3288329 w 13768337"/>
              <a:gd name="connsiteY4842" fmla="*/ 1826619 h 5071335"/>
              <a:gd name="connsiteX4843" fmla="*/ 3283695 w 13768337"/>
              <a:gd name="connsiteY4843" fmla="*/ 1817421 h 5071335"/>
              <a:gd name="connsiteX4844" fmla="*/ 3326328 w 13768337"/>
              <a:gd name="connsiteY4844" fmla="*/ 1814495 h 5071335"/>
              <a:gd name="connsiteX4845" fmla="*/ 3320304 w 13768337"/>
              <a:gd name="connsiteY4845" fmla="*/ 1817421 h 5071335"/>
              <a:gd name="connsiteX4846" fmla="*/ 3320304 w 13768337"/>
              <a:gd name="connsiteY4846" fmla="*/ 1831915 h 5071335"/>
              <a:gd name="connsiteX4847" fmla="*/ 3302695 w 13768337"/>
              <a:gd name="connsiteY4847" fmla="*/ 1831915 h 5071335"/>
              <a:gd name="connsiteX4848" fmla="*/ 3298061 w 13768337"/>
              <a:gd name="connsiteY4848" fmla="*/ 1821044 h 5071335"/>
              <a:gd name="connsiteX4849" fmla="*/ 3306923 w 13768337"/>
              <a:gd name="connsiteY4849" fmla="*/ 1842818 h 5071335"/>
              <a:gd name="connsiteX4850" fmla="*/ 3307160 w 13768337"/>
              <a:gd name="connsiteY4850" fmla="*/ 1848966 h 5071335"/>
              <a:gd name="connsiteX4851" fmla="*/ 3319835 w 13768337"/>
              <a:gd name="connsiteY4851" fmla="*/ 1844593 h 5071335"/>
              <a:gd name="connsiteX4852" fmla="*/ 3319724 w 13768337"/>
              <a:gd name="connsiteY4852" fmla="*/ 1841218 h 5071335"/>
              <a:gd name="connsiteX4853" fmla="*/ 3339303 w 13768337"/>
              <a:gd name="connsiteY4853" fmla="*/ 1837489 h 5071335"/>
              <a:gd name="connsiteX4854" fmla="*/ 3337913 w 13768337"/>
              <a:gd name="connsiteY4854" fmla="*/ 1831915 h 5071335"/>
              <a:gd name="connsiteX4855" fmla="*/ 3329571 w 13768337"/>
              <a:gd name="connsiteY4855" fmla="*/ 1830521 h 5071335"/>
              <a:gd name="connsiteX4856" fmla="*/ 3339303 w 13768337"/>
              <a:gd name="connsiteY4856" fmla="*/ 1825365 h 5071335"/>
              <a:gd name="connsiteX4857" fmla="*/ 3341156 w 13768337"/>
              <a:gd name="connsiteY4857" fmla="*/ 1819791 h 5071335"/>
              <a:gd name="connsiteX4858" fmla="*/ 3326328 w 13768337"/>
              <a:gd name="connsiteY4858" fmla="*/ 1814495 h 5071335"/>
              <a:gd name="connsiteX4859" fmla="*/ 2470596 w 13768337"/>
              <a:gd name="connsiteY4859" fmla="*/ 1813957 h 5071335"/>
              <a:gd name="connsiteX4860" fmla="*/ 2465672 w 13768337"/>
              <a:gd name="connsiteY4860" fmla="*/ 1824321 h 5071335"/>
              <a:gd name="connsiteX4861" fmla="*/ 2457973 w 13768337"/>
              <a:gd name="connsiteY4861" fmla="*/ 1826860 h 5071335"/>
              <a:gd name="connsiteX4862" fmla="*/ 2465574 w 13768337"/>
              <a:gd name="connsiteY4862" fmla="*/ 1826428 h 5071335"/>
              <a:gd name="connsiteX4863" fmla="*/ 2472598 w 13768337"/>
              <a:gd name="connsiteY4863" fmla="*/ 1826117 h 5071335"/>
              <a:gd name="connsiteX4864" fmla="*/ 2472739 w 13768337"/>
              <a:gd name="connsiteY4864" fmla="*/ 1824566 h 5071335"/>
              <a:gd name="connsiteX4865" fmla="*/ 2470596 w 13768337"/>
              <a:gd name="connsiteY4865" fmla="*/ 1813957 h 5071335"/>
              <a:gd name="connsiteX4866" fmla="*/ 1693947 w 13768337"/>
              <a:gd name="connsiteY4866" fmla="*/ 1813957 h 5071335"/>
              <a:gd name="connsiteX4867" fmla="*/ 1679581 w 13768337"/>
              <a:gd name="connsiteY4867" fmla="*/ 1839181 h 5071335"/>
              <a:gd name="connsiteX4868" fmla="*/ 1697190 w 13768337"/>
              <a:gd name="connsiteY4868" fmla="*/ 1833607 h 5071335"/>
              <a:gd name="connsiteX4869" fmla="*/ 1693947 w 13768337"/>
              <a:gd name="connsiteY4869" fmla="*/ 1813957 h 5071335"/>
              <a:gd name="connsiteX4870" fmla="*/ 2412252 w 13768337"/>
              <a:gd name="connsiteY4870" fmla="*/ 1813029 h 5071335"/>
              <a:gd name="connsiteX4871" fmla="*/ 2403403 w 13768337"/>
              <a:gd name="connsiteY4871" fmla="*/ 1816013 h 5071335"/>
              <a:gd name="connsiteX4872" fmla="*/ 2397265 w 13768337"/>
              <a:gd name="connsiteY4872" fmla="*/ 1816242 h 5071335"/>
              <a:gd name="connsiteX4873" fmla="*/ 2379150 w 13768337"/>
              <a:gd name="connsiteY4873" fmla="*/ 1825365 h 5071335"/>
              <a:gd name="connsiteX4874" fmla="*/ 2407268 w 13768337"/>
              <a:gd name="connsiteY4874" fmla="*/ 1827870 h 5071335"/>
              <a:gd name="connsiteX4875" fmla="*/ 2404330 w 13768337"/>
              <a:gd name="connsiteY4875" fmla="*/ 1820507 h 5071335"/>
              <a:gd name="connsiteX4876" fmla="*/ 2418232 w 13768337"/>
              <a:gd name="connsiteY4876" fmla="*/ 1815350 h 5071335"/>
              <a:gd name="connsiteX4877" fmla="*/ 2412252 w 13768337"/>
              <a:gd name="connsiteY4877" fmla="*/ 1813029 h 5071335"/>
              <a:gd name="connsiteX4878" fmla="*/ 2731330 w 13768337"/>
              <a:gd name="connsiteY4878" fmla="*/ 1812126 h 5071335"/>
              <a:gd name="connsiteX4879" fmla="*/ 2701209 w 13768337"/>
              <a:gd name="connsiteY4879" fmla="*/ 1836096 h 5071335"/>
              <a:gd name="connsiteX4880" fmla="*/ 2829106 w 13768337"/>
              <a:gd name="connsiteY4880" fmla="*/ 1836096 h 5071335"/>
              <a:gd name="connsiteX4881" fmla="*/ 2782768 w 13768337"/>
              <a:gd name="connsiteY4881" fmla="*/ 1821044 h 5071335"/>
              <a:gd name="connsiteX4882" fmla="*/ 2769792 w 13768337"/>
              <a:gd name="connsiteY4882" fmla="*/ 1836096 h 5071335"/>
              <a:gd name="connsiteX4883" fmla="*/ 2728549 w 13768337"/>
              <a:gd name="connsiteY4883" fmla="*/ 1825365 h 5071335"/>
              <a:gd name="connsiteX4884" fmla="*/ 2742453 w 13768337"/>
              <a:gd name="connsiteY4884" fmla="*/ 1816028 h 5071335"/>
              <a:gd name="connsiteX4885" fmla="*/ 2731330 w 13768337"/>
              <a:gd name="connsiteY4885" fmla="*/ 1812126 h 5071335"/>
              <a:gd name="connsiteX4886" fmla="*/ 1442324 w 13768337"/>
              <a:gd name="connsiteY4886" fmla="*/ 1806849 h 5071335"/>
              <a:gd name="connsiteX4887" fmla="*/ 1442324 w 13768337"/>
              <a:gd name="connsiteY4887" fmla="*/ 1845731 h 5071335"/>
              <a:gd name="connsiteX4888" fmla="*/ 1402936 w 13768337"/>
              <a:gd name="connsiteY4888" fmla="*/ 1855487 h 5071335"/>
              <a:gd name="connsiteX4889" fmla="*/ 1387643 w 13768337"/>
              <a:gd name="connsiteY4889" fmla="*/ 1818138 h 5071335"/>
              <a:gd name="connsiteX4890" fmla="*/ 1442324 w 13768337"/>
              <a:gd name="connsiteY4890" fmla="*/ 1806849 h 5071335"/>
              <a:gd name="connsiteX4891" fmla="*/ 3334669 w 13768337"/>
              <a:gd name="connsiteY4891" fmla="*/ 1806551 h 5071335"/>
              <a:gd name="connsiteX4892" fmla="*/ 3331426 w 13768337"/>
              <a:gd name="connsiteY4892" fmla="*/ 1810313 h 5071335"/>
              <a:gd name="connsiteX4893" fmla="*/ 3341156 w 13768337"/>
              <a:gd name="connsiteY4893" fmla="*/ 1810313 h 5071335"/>
              <a:gd name="connsiteX4894" fmla="*/ 3334669 w 13768337"/>
              <a:gd name="connsiteY4894" fmla="*/ 1806551 h 5071335"/>
              <a:gd name="connsiteX4895" fmla="*/ 2426031 w 13768337"/>
              <a:gd name="connsiteY4895" fmla="*/ 1805501 h 5071335"/>
              <a:gd name="connsiteX4896" fmla="*/ 2424691 w 13768337"/>
              <a:gd name="connsiteY4896" fmla="*/ 1805869 h 5071335"/>
              <a:gd name="connsiteX4897" fmla="*/ 2426342 w 13768337"/>
              <a:gd name="connsiteY4897" fmla="*/ 1814323 h 5071335"/>
              <a:gd name="connsiteX4898" fmla="*/ 2445109 w 13768337"/>
              <a:gd name="connsiteY4898" fmla="*/ 1812563 h 5071335"/>
              <a:gd name="connsiteX4899" fmla="*/ 2446847 w 13768337"/>
              <a:gd name="connsiteY4899" fmla="*/ 1821169 h 5071335"/>
              <a:gd name="connsiteX4900" fmla="*/ 2445189 w 13768337"/>
              <a:gd name="connsiteY4900" fmla="*/ 1827587 h 5071335"/>
              <a:gd name="connsiteX4901" fmla="*/ 2454947 w 13768337"/>
              <a:gd name="connsiteY4901" fmla="*/ 1827032 h 5071335"/>
              <a:gd name="connsiteX4902" fmla="*/ 2456115 w 13768337"/>
              <a:gd name="connsiteY4902" fmla="*/ 1817580 h 5071335"/>
              <a:gd name="connsiteX4903" fmla="*/ 2460865 w 13768337"/>
              <a:gd name="connsiteY4903" fmla="*/ 1811030 h 5071335"/>
              <a:gd name="connsiteX4904" fmla="*/ 2431410 w 13768337"/>
              <a:gd name="connsiteY4904" fmla="*/ 1811128 h 5071335"/>
              <a:gd name="connsiteX4905" fmla="*/ 197184 w 13768337"/>
              <a:gd name="connsiteY4905" fmla="*/ 1805038 h 5071335"/>
              <a:gd name="connsiteX4906" fmla="*/ 179575 w 13768337"/>
              <a:gd name="connsiteY4906" fmla="*/ 1811588 h 5071335"/>
              <a:gd name="connsiteX4907" fmla="*/ 197184 w 13768337"/>
              <a:gd name="connsiteY4907" fmla="*/ 1805038 h 5071335"/>
              <a:gd name="connsiteX4908" fmla="*/ 2383709 w 13768337"/>
              <a:gd name="connsiteY4908" fmla="*/ 1801641 h 5071335"/>
              <a:gd name="connsiteX4909" fmla="*/ 2380092 w 13768337"/>
              <a:gd name="connsiteY4909" fmla="*/ 1802094 h 5071335"/>
              <a:gd name="connsiteX4910" fmla="*/ 2384661 w 13768337"/>
              <a:gd name="connsiteY4910" fmla="*/ 1804267 h 5071335"/>
              <a:gd name="connsiteX4911" fmla="*/ 2392278 w 13768337"/>
              <a:gd name="connsiteY4911" fmla="*/ 1802137 h 5071335"/>
              <a:gd name="connsiteX4912" fmla="*/ 2475660 w 13768337"/>
              <a:gd name="connsiteY4912" fmla="*/ 1798321 h 5071335"/>
              <a:gd name="connsiteX4913" fmla="*/ 2452338 w 13768337"/>
              <a:gd name="connsiteY4913" fmla="*/ 1800386 h 5071335"/>
              <a:gd name="connsiteX4914" fmla="*/ 2461118 w 13768337"/>
              <a:gd name="connsiteY4914" fmla="*/ 1801939 h 5071335"/>
              <a:gd name="connsiteX4915" fmla="*/ 2498862 w 13768337"/>
              <a:gd name="connsiteY4915" fmla="*/ 1818974 h 5071335"/>
              <a:gd name="connsiteX4916" fmla="*/ 2511490 w 13768337"/>
              <a:gd name="connsiteY4916" fmla="*/ 1812423 h 5071335"/>
              <a:gd name="connsiteX4917" fmla="*/ 2523026 w 13768337"/>
              <a:gd name="connsiteY4917" fmla="*/ 1812516 h 5071335"/>
              <a:gd name="connsiteX4918" fmla="*/ 2518560 w 13768337"/>
              <a:gd name="connsiteY4918" fmla="*/ 1807962 h 5071335"/>
              <a:gd name="connsiteX4919" fmla="*/ 2516315 w 13768337"/>
              <a:gd name="connsiteY4919" fmla="*/ 1799583 h 5071335"/>
              <a:gd name="connsiteX4920" fmla="*/ 2475660 w 13768337"/>
              <a:gd name="connsiteY4920" fmla="*/ 1798321 h 5071335"/>
              <a:gd name="connsiteX4921" fmla="*/ 1738897 w 13768337"/>
              <a:gd name="connsiteY4921" fmla="*/ 1797930 h 5071335"/>
              <a:gd name="connsiteX4922" fmla="*/ 1731019 w 13768337"/>
              <a:gd name="connsiteY4922" fmla="*/ 1803226 h 5071335"/>
              <a:gd name="connsiteX4923" fmla="*/ 1734262 w 13768337"/>
              <a:gd name="connsiteY4923" fmla="*/ 1828450 h 5071335"/>
              <a:gd name="connsiteX4924" fmla="*/ 1701825 w 13768337"/>
              <a:gd name="connsiteY4924" fmla="*/ 1818974 h 5071335"/>
              <a:gd name="connsiteX4925" fmla="*/ 1716190 w 13768337"/>
              <a:gd name="connsiteY4925" fmla="*/ 1839181 h 5071335"/>
              <a:gd name="connsiteX4926" fmla="*/ 1712019 w 13768337"/>
              <a:gd name="connsiteY4926" fmla="*/ 1828450 h 5071335"/>
              <a:gd name="connsiteX4927" fmla="*/ 1768554 w 13768337"/>
              <a:gd name="connsiteY4927" fmla="*/ 1828450 h 5071335"/>
              <a:gd name="connsiteX4928" fmla="*/ 1768554 w 13768337"/>
              <a:gd name="connsiteY4928" fmla="*/ 1854650 h 5071335"/>
              <a:gd name="connsiteX4929" fmla="*/ 1688849 w 13768337"/>
              <a:gd name="connsiteY4929" fmla="*/ 1865520 h 5071335"/>
              <a:gd name="connsiteX4930" fmla="*/ 1712019 w 13768337"/>
              <a:gd name="connsiteY4930" fmla="*/ 1854650 h 5071335"/>
              <a:gd name="connsiteX4931" fmla="*/ 1669388 w 13768337"/>
              <a:gd name="connsiteY4931" fmla="*/ 1854650 h 5071335"/>
              <a:gd name="connsiteX4932" fmla="*/ 1604975 w 13768337"/>
              <a:gd name="connsiteY4932" fmla="*/ 1828450 h 5071335"/>
              <a:gd name="connsiteX4933" fmla="*/ 1612853 w 13768337"/>
              <a:gd name="connsiteY4933" fmla="*/ 1806014 h 5071335"/>
              <a:gd name="connsiteX4934" fmla="*/ 1738897 w 13768337"/>
              <a:gd name="connsiteY4934" fmla="*/ 1797930 h 5071335"/>
              <a:gd name="connsiteX4935" fmla="*/ 2222680 w 13768337"/>
              <a:gd name="connsiteY4935" fmla="*/ 1794725 h 5071335"/>
              <a:gd name="connsiteX4936" fmla="*/ 2222449 w 13768337"/>
              <a:gd name="connsiteY4936" fmla="*/ 1794992 h 5071335"/>
              <a:gd name="connsiteX4937" fmla="*/ 2222698 w 13768337"/>
              <a:gd name="connsiteY4937" fmla="*/ 1794964 h 5071335"/>
              <a:gd name="connsiteX4938" fmla="*/ 12872833 w 13768337"/>
              <a:gd name="connsiteY4938" fmla="*/ 1789075 h 5071335"/>
              <a:gd name="connsiteX4939" fmla="*/ 12885807 w 13768337"/>
              <a:gd name="connsiteY4939" fmla="*/ 1797158 h 5071335"/>
              <a:gd name="connsiteX4940" fmla="*/ 12882100 w 13768337"/>
              <a:gd name="connsiteY4940" fmla="*/ 1809840 h 5071335"/>
              <a:gd name="connsiteX4941" fmla="*/ 12872833 w 13768337"/>
              <a:gd name="connsiteY4941" fmla="*/ 1789075 h 5071335"/>
              <a:gd name="connsiteX4942" fmla="*/ 898878 w 13768337"/>
              <a:gd name="connsiteY4942" fmla="*/ 1788105 h 5071335"/>
              <a:gd name="connsiteX4943" fmla="*/ 908494 w 13768337"/>
              <a:gd name="connsiteY4943" fmla="*/ 1790544 h 5071335"/>
              <a:gd name="connsiteX4944" fmla="*/ 864008 w 13768337"/>
              <a:gd name="connsiteY4944" fmla="*/ 1801833 h 5071335"/>
              <a:gd name="connsiteX4945" fmla="*/ 884398 w 13768337"/>
              <a:gd name="connsiteY4945" fmla="*/ 1788174 h 5071335"/>
              <a:gd name="connsiteX4946" fmla="*/ 898878 w 13768337"/>
              <a:gd name="connsiteY4946" fmla="*/ 1788105 h 5071335"/>
              <a:gd name="connsiteX4947" fmla="*/ 3012147 w 13768337"/>
              <a:gd name="connsiteY4947" fmla="*/ 1787876 h 5071335"/>
              <a:gd name="connsiteX4948" fmla="*/ 3030218 w 13768337"/>
              <a:gd name="connsiteY4948" fmla="*/ 1787876 h 5071335"/>
              <a:gd name="connsiteX4949" fmla="*/ 3030218 w 13768337"/>
              <a:gd name="connsiteY4949" fmla="*/ 1804321 h 5071335"/>
              <a:gd name="connsiteX4950" fmla="*/ 3012147 w 13768337"/>
              <a:gd name="connsiteY4950" fmla="*/ 1787876 h 5071335"/>
              <a:gd name="connsiteX4951" fmla="*/ 3513695 w 13768337"/>
              <a:gd name="connsiteY4951" fmla="*/ 1786363 h 5071335"/>
              <a:gd name="connsiteX4952" fmla="*/ 3510451 w 13768337"/>
              <a:gd name="connsiteY4952" fmla="*/ 1791101 h 5071335"/>
              <a:gd name="connsiteX4953" fmla="*/ 3507671 w 13768337"/>
              <a:gd name="connsiteY4953" fmla="*/ 1788732 h 5071335"/>
              <a:gd name="connsiteX4954" fmla="*/ 3505818 w 13768337"/>
              <a:gd name="connsiteY4954" fmla="*/ 1792913 h 5071335"/>
              <a:gd name="connsiteX4955" fmla="*/ 3510451 w 13768337"/>
              <a:gd name="connsiteY4955" fmla="*/ 1791101 h 5071335"/>
              <a:gd name="connsiteX4956" fmla="*/ 3516012 w 13768337"/>
              <a:gd name="connsiteY4956" fmla="*/ 1788732 h 5071335"/>
              <a:gd name="connsiteX4957" fmla="*/ 3513695 w 13768337"/>
              <a:gd name="connsiteY4957" fmla="*/ 1786363 h 5071335"/>
              <a:gd name="connsiteX4958" fmla="*/ 924249 w 13768337"/>
              <a:gd name="connsiteY4958" fmla="*/ 1781067 h 5071335"/>
              <a:gd name="connsiteX4959" fmla="*/ 936298 w 13768337"/>
              <a:gd name="connsiteY4959" fmla="*/ 1781625 h 5071335"/>
              <a:gd name="connsiteX4960" fmla="*/ 920543 w 13768337"/>
              <a:gd name="connsiteY4960" fmla="*/ 1806849 h 5071335"/>
              <a:gd name="connsiteX4961" fmla="*/ 924249 w 13768337"/>
              <a:gd name="connsiteY4961" fmla="*/ 1781067 h 5071335"/>
              <a:gd name="connsiteX4962" fmla="*/ 3422870 w 13768337"/>
              <a:gd name="connsiteY4962" fmla="*/ 1780231 h 5071335"/>
              <a:gd name="connsiteX4963" fmla="*/ 3434455 w 13768337"/>
              <a:gd name="connsiteY4963" fmla="*/ 1794725 h 5071335"/>
              <a:gd name="connsiteX4964" fmla="*/ 3445113 w 13768337"/>
              <a:gd name="connsiteY4964" fmla="*/ 1792355 h 5071335"/>
              <a:gd name="connsiteX4965" fmla="*/ 3422870 w 13768337"/>
              <a:gd name="connsiteY4965" fmla="*/ 1780231 h 5071335"/>
              <a:gd name="connsiteX4966" fmla="*/ 1459007 w 13768337"/>
              <a:gd name="connsiteY4966" fmla="*/ 1779814 h 5071335"/>
              <a:gd name="connsiteX4967" fmla="*/ 1474299 w 13768337"/>
              <a:gd name="connsiteY4967" fmla="*/ 1800299 h 5071335"/>
              <a:gd name="connsiteX4968" fmla="*/ 1539173 w 13768337"/>
              <a:gd name="connsiteY4968" fmla="*/ 1791101 h 5071335"/>
              <a:gd name="connsiteX4969" fmla="*/ 1524808 w 13768337"/>
              <a:gd name="connsiteY4969" fmla="*/ 1785527 h 5071335"/>
              <a:gd name="connsiteX4970" fmla="*/ 1570684 w 13768337"/>
              <a:gd name="connsiteY4970" fmla="*/ 1791101 h 5071335"/>
              <a:gd name="connsiteX4971" fmla="*/ 1502565 w 13768337"/>
              <a:gd name="connsiteY4971" fmla="*/ 1811030 h 5071335"/>
              <a:gd name="connsiteX4972" fmla="*/ 1541954 w 13768337"/>
              <a:gd name="connsiteY4972" fmla="*/ 1821901 h 5071335"/>
              <a:gd name="connsiteX4973" fmla="*/ 1474299 w 13768337"/>
              <a:gd name="connsiteY4973" fmla="*/ 1848657 h 5071335"/>
              <a:gd name="connsiteX4974" fmla="*/ 1474299 w 13768337"/>
              <a:gd name="connsiteY4974" fmla="*/ 1827057 h 5071335"/>
              <a:gd name="connsiteX4975" fmla="*/ 1497932 w 13768337"/>
              <a:gd name="connsiteY4975" fmla="*/ 1821901 h 5071335"/>
              <a:gd name="connsiteX4976" fmla="*/ 1461323 w 13768337"/>
              <a:gd name="connsiteY4976" fmla="*/ 1811030 h 5071335"/>
              <a:gd name="connsiteX4977" fmla="*/ 1452055 w 13768337"/>
              <a:gd name="connsiteY4977" fmla="*/ 1785527 h 5071335"/>
              <a:gd name="connsiteX4978" fmla="*/ 1459007 w 13768337"/>
              <a:gd name="connsiteY4978" fmla="*/ 1779814 h 5071335"/>
              <a:gd name="connsiteX4979" fmla="*/ 1833273 w 13768337"/>
              <a:gd name="connsiteY4979" fmla="*/ 1773383 h 5071335"/>
              <a:gd name="connsiteX4980" fmla="*/ 1866174 w 13768337"/>
              <a:gd name="connsiteY4980" fmla="*/ 1779794 h 5071335"/>
              <a:gd name="connsiteX4981" fmla="*/ 1824931 w 13768337"/>
              <a:gd name="connsiteY4981" fmla="*/ 1779794 h 5071335"/>
              <a:gd name="connsiteX4982" fmla="*/ 1833273 w 13768337"/>
              <a:gd name="connsiteY4982" fmla="*/ 1773383 h 5071335"/>
              <a:gd name="connsiteX4983" fmla="*/ 2329104 w 13768337"/>
              <a:gd name="connsiteY4983" fmla="*/ 1771989 h 5071335"/>
              <a:gd name="connsiteX4984" fmla="*/ 2320299 w 13768337"/>
              <a:gd name="connsiteY4984" fmla="*/ 1778539 h 5071335"/>
              <a:gd name="connsiteX4985" fmla="*/ 2321922 w 13768337"/>
              <a:gd name="connsiteY4985" fmla="*/ 1787075 h 5071335"/>
              <a:gd name="connsiteX4986" fmla="*/ 2324682 w 13768337"/>
              <a:gd name="connsiteY4986" fmla="*/ 1798537 h 5071335"/>
              <a:gd name="connsiteX4987" fmla="*/ 2325805 w 13768337"/>
              <a:gd name="connsiteY4987" fmla="*/ 1799429 h 5071335"/>
              <a:gd name="connsiteX4988" fmla="*/ 2332761 w 13768337"/>
              <a:gd name="connsiteY4988" fmla="*/ 1798196 h 5071335"/>
              <a:gd name="connsiteX4989" fmla="*/ 2337908 w 13768337"/>
              <a:gd name="connsiteY4989" fmla="*/ 1778539 h 5071335"/>
              <a:gd name="connsiteX4990" fmla="*/ 2332812 w 13768337"/>
              <a:gd name="connsiteY4990" fmla="*/ 1783696 h 5071335"/>
              <a:gd name="connsiteX4991" fmla="*/ 2329104 w 13768337"/>
              <a:gd name="connsiteY4991" fmla="*/ 1771989 h 5071335"/>
              <a:gd name="connsiteX4992" fmla="*/ 3585459 w 13768337"/>
              <a:gd name="connsiteY4992" fmla="*/ 1771456 h 5071335"/>
              <a:gd name="connsiteX4993" fmla="*/ 3583082 w 13768337"/>
              <a:gd name="connsiteY4993" fmla="*/ 1774050 h 5071335"/>
              <a:gd name="connsiteX4994" fmla="*/ 3585065 w 13768337"/>
              <a:gd name="connsiteY4994" fmla="*/ 1773903 h 5071335"/>
              <a:gd name="connsiteX4995" fmla="*/ 3587951 w 13768337"/>
              <a:gd name="connsiteY4995" fmla="*/ 1771472 h 5071335"/>
              <a:gd name="connsiteX4996" fmla="*/ 2791728 w 13768337"/>
              <a:gd name="connsiteY4996" fmla="*/ 1766713 h 5071335"/>
              <a:gd name="connsiteX4997" fmla="*/ 2800532 w 13768337"/>
              <a:gd name="connsiteY4997" fmla="*/ 1774239 h 5071335"/>
              <a:gd name="connsiteX4998" fmla="*/ 2794508 w 13768337"/>
              <a:gd name="connsiteY4998" fmla="*/ 1771312 h 5071335"/>
              <a:gd name="connsiteX4999" fmla="*/ 2791728 w 13768337"/>
              <a:gd name="connsiteY4999" fmla="*/ 1780789 h 5071335"/>
              <a:gd name="connsiteX5000" fmla="*/ 2780606 w 13768337"/>
              <a:gd name="connsiteY5000" fmla="*/ 1772706 h 5071335"/>
              <a:gd name="connsiteX5001" fmla="*/ 2791728 w 13768337"/>
              <a:gd name="connsiteY5001" fmla="*/ 1766713 h 5071335"/>
              <a:gd name="connsiteX5002" fmla="*/ 3534074 w 13768337"/>
              <a:gd name="connsiteY5002" fmla="*/ 1760620 h 5071335"/>
              <a:gd name="connsiteX5003" fmla="*/ 3533853 w 13768337"/>
              <a:gd name="connsiteY5003" fmla="*/ 1760929 h 5071335"/>
              <a:gd name="connsiteX5004" fmla="*/ 3529263 w 13768337"/>
              <a:gd name="connsiteY5004" fmla="*/ 1766369 h 5071335"/>
              <a:gd name="connsiteX5005" fmla="*/ 3526434 w 13768337"/>
              <a:gd name="connsiteY5005" fmla="*/ 1766348 h 5071335"/>
              <a:gd name="connsiteX5006" fmla="*/ 3530410 w 13768337"/>
              <a:gd name="connsiteY5006" fmla="*/ 1770069 h 5071335"/>
              <a:gd name="connsiteX5007" fmla="*/ 3532538 w 13768337"/>
              <a:gd name="connsiteY5007" fmla="*/ 1778539 h 5071335"/>
              <a:gd name="connsiteX5008" fmla="*/ 3534797 w 13768337"/>
              <a:gd name="connsiteY5008" fmla="*/ 1766694 h 5071335"/>
              <a:gd name="connsiteX5009" fmla="*/ 1727156 w 13768337"/>
              <a:gd name="connsiteY5009" fmla="*/ 1757497 h 5071335"/>
              <a:gd name="connsiteX5010" fmla="*/ 1747082 w 13768337"/>
              <a:gd name="connsiteY5010" fmla="*/ 1757497 h 5071335"/>
              <a:gd name="connsiteX5011" fmla="*/ 1756812 w 13768337"/>
              <a:gd name="connsiteY5011" fmla="*/ 1766415 h 5071335"/>
              <a:gd name="connsiteX5012" fmla="*/ 1727156 w 13768337"/>
              <a:gd name="connsiteY5012" fmla="*/ 1757497 h 5071335"/>
              <a:gd name="connsiteX5013" fmla="*/ 2140966 w 13768337"/>
              <a:gd name="connsiteY5013" fmla="*/ 1755127 h 5071335"/>
              <a:gd name="connsiteX5014" fmla="*/ 2134015 w 13768337"/>
              <a:gd name="connsiteY5014" fmla="*/ 1755546 h 5071335"/>
              <a:gd name="connsiteX5015" fmla="*/ 2132625 w 13768337"/>
              <a:gd name="connsiteY5015" fmla="*/ 1764464 h 5071335"/>
              <a:gd name="connsiteX5016" fmla="*/ 2140039 w 13768337"/>
              <a:gd name="connsiteY5016" fmla="*/ 1778539 h 5071335"/>
              <a:gd name="connsiteX5017" fmla="*/ 2140966 w 13768337"/>
              <a:gd name="connsiteY5017" fmla="*/ 1755127 h 5071335"/>
              <a:gd name="connsiteX5018" fmla="*/ 3677047 w 13768337"/>
              <a:gd name="connsiteY5018" fmla="*/ 1754986 h 5071335"/>
              <a:gd name="connsiteX5019" fmla="*/ 3676661 w 13768337"/>
              <a:gd name="connsiteY5019" fmla="*/ 1756160 h 5071335"/>
              <a:gd name="connsiteX5020" fmla="*/ 3676421 w 13768337"/>
              <a:gd name="connsiteY5020" fmla="*/ 1758710 h 5071335"/>
              <a:gd name="connsiteX5021" fmla="*/ 3680054 w 13768337"/>
              <a:gd name="connsiteY5021" fmla="*/ 1756818 h 5071335"/>
              <a:gd name="connsiteX5022" fmla="*/ 2158112 w 13768337"/>
              <a:gd name="connsiteY5022" fmla="*/ 1753734 h 5071335"/>
              <a:gd name="connsiteX5023" fmla="*/ 2154404 w 13768337"/>
              <a:gd name="connsiteY5023" fmla="*/ 1754292 h 5071335"/>
              <a:gd name="connsiteX5024" fmla="*/ 2159039 w 13768337"/>
              <a:gd name="connsiteY5024" fmla="*/ 1778539 h 5071335"/>
              <a:gd name="connsiteX5025" fmla="*/ 2191013 w 13768337"/>
              <a:gd name="connsiteY5025" fmla="*/ 1762095 h 5071335"/>
              <a:gd name="connsiteX5026" fmla="*/ 2181744 w 13768337"/>
              <a:gd name="connsiteY5026" fmla="*/ 1756939 h 5071335"/>
              <a:gd name="connsiteX5027" fmla="*/ 2181282 w 13768337"/>
              <a:gd name="connsiteY5027" fmla="*/ 1756939 h 5071335"/>
              <a:gd name="connsiteX5028" fmla="*/ 2158112 w 13768337"/>
              <a:gd name="connsiteY5028" fmla="*/ 1753734 h 5071335"/>
              <a:gd name="connsiteX5029" fmla="*/ 3546596 w 13768337"/>
              <a:gd name="connsiteY5029" fmla="*/ 1753473 h 5071335"/>
              <a:gd name="connsiteX5030" fmla="*/ 3545251 w 13768337"/>
              <a:gd name="connsiteY5030" fmla="*/ 1753710 h 5071335"/>
              <a:gd name="connsiteX5031" fmla="*/ 3549684 w 13768337"/>
              <a:gd name="connsiteY5031" fmla="*/ 1778539 h 5071335"/>
              <a:gd name="connsiteX5032" fmla="*/ 3555012 w 13768337"/>
              <a:gd name="connsiteY5032" fmla="*/ 1777361 h 5071335"/>
              <a:gd name="connsiteX5033" fmla="*/ 3550362 w 13768337"/>
              <a:gd name="connsiteY5033" fmla="*/ 1769675 h 5071335"/>
              <a:gd name="connsiteX5034" fmla="*/ 3546596 w 13768337"/>
              <a:gd name="connsiteY5034" fmla="*/ 1753473 h 5071335"/>
              <a:gd name="connsiteX5035" fmla="*/ 3442333 w 13768337"/>
              <a:gd name="connsiteY5035" fmla="*/ 1747899 h 5071335"/>
              <a:gd name="connsiteX5036" fmla="*/ 3462722 w 13768337"/>
              <a:gd name="connsiteY5036" fmla="*/ 1762114 h 5071335"/>
              <a:gd name="connsiteX5037" fmla="*/ 3425187 w 13768337"/>
              <a:gd name="connsiteY5037" fmla="*/ 1755843 h 5071335"/>
              <a:gd name="connsiteX5038" fmla="*/ 3442333 w 13768337"/>
              <a:gd name="connsiteY5038" fmla="*/ 1747899 h 5071335"/>
              <a:gd name="connsiteX5039" fmla="*/ 2077945 w 13768337"/>
              <a:gd name="connsiteY5039" fmla="*/ 1745372 h 5071335"/>
              <a:gd name="connsiteX5040" fmla="*/ 2087213 w 13768337"/>
              <a:gd name="connsiteY5040" fmla="*/ 1765858 h 5071335"/>
              <a:gd name="connsiteX5041" fmla="*/ 2063116 w 13768337"/>
              <a:gd name="connsiteY5041" fmla="*/ 1749970 h 5071335"/>
              <a:gd name="connsiteX5042" fmla="*/ 2077945 w 13768337"/>
              <a:gd name="connsiteY5042" fmla="*/ 1745372 h 5071335"/>
              <a:gd name="connsiteX5043" fmla="*/ 1189774 w 13768337"/>
              <a:gd name="connsiteY5043" fmla="*/ 1744694 h 5071335"/>
              <a:gd name="connsiteX5044" fmla="*/ 1148996 w 13768337"/>
              <a:gd name="connsiteY5044" fmla="*/ 1781067 h 5071335"/>
              <a:gd name="connsiteX5045" fmla="*/ 1142972 w 13768337"/>
              <a:gd name="connsiteY5045" fmla="*/ 1790544 h 5071335"/>
              <a:gd name="connsiteX5046" fmla="*/ 1147605 w 13768337"/>
              <a:gd name="connsiteY5046" fmla="*/ 1801833 h 5071335"/>
              <a:gd name="connsiteX5047" fmla="*/ 1106364 w 13768337"/>
              <a:gd name="connsiteY5047" fmla="*/ 1798906 h 5071335"/>
              <a:gd name="connsiteX5048" fmla="*/ 1189774 w 13768337"/>
              <a:gd name="connsiteY5048" fmla="*/ 1744694 h 5071335"/>
              <a:gd name="connsiteX5049" fmla="*/ 3332509 w 13768337"/>
              <a:gd name="connsiteY5049" fmla="*/ 1743718 h 5071335"/>
              <a:gd name="connsiteX5050" fmla="*/ 3327412 w 13768337"/>
              <a:gd name="connsiteY5050" fmla="*/ 1763926 h 5071335"/>
              <a:gd name="connsiteX5051" fmla="*/ 3304668 w 13768337"/>
              <a:gd name="connsiteY5051" fmla="*/ 1761496 h 5071335"/>
              <a:gd name="connsiteX5052" fmla="*/ 3300900 w 13768337"/>
              <a:gd name="connsiteY5052" fmla="*/ 1760324 h 5071335"/>
              <a:gd name="connsiteX5053" fmla="*/ 3301102 w 13768337"/>
              <a:gd name="connsiteY5053" fmla="*/ 1761980 h 5071335"/>
              <a:gd name="connsiteX5054" fmla="*/ 3311962 w 13768337"/>
              <a:gd name="connsiteY5054" fmla="*/ 1765021 h 5071335"/>
              <a:gd name="connsiteX5055" fmla="*/ 3307329 w 13768337"/>
              <a:gd name="connsiteY5055" fmla="*/ 1787876 h 5071335"/>
              <a:gd name="connsiteX5056" fmla="*/ 3315206 w 13768337"/>
              <a:gd name="connsiteY5056" fmla="*/ 1783696 h 5071335"/>
              <a:gd name="connsiteX5057" fmla="*/ 3317060 w 13768337"/>
              <a:gd name="connsiteY5057" fmla="*/ 1790245 h 5071335"/>
              <a:gd name="connsiteX5058" fmla="*/ 3334669 w 13768337"/>
              <a:gd name="connsiteY5058" fmla="*/ 1795820 h 5071335"/>
              <a:gd name="connsiteX5059" fmla="*/ 3337913 w 13768337"/>
              <a:gd name="connsiteY5059" fmla="*/ 1791640 h 5071335"/>
              <a:gd name="connsiteX5060" fmla="*/ 3339303 w 13768337"/>
              <a:gd name="connsiteY5060" fmla="*/ 1778539 h 5071335"/>
              <a:gd name="connsiteX5061" fmla="*/ 3345791 w 13768337"/>
              <a:gd name="connsiteY5061" fmla="*/ 1782163 h 5071335"/>
              <a:gd name="connsiteX5062" fmla="*/ 3366181 w 13768337"/>
              <a:gd name="connsiteY5062" fmla="*/ 1779515 h 5071335"/>
              <a:gd name="connsiteX5063" fmla="*/ 3366181 w 13768337"/>
              <a:gd name="connsiteY5063" fmla="*/ 1798747 h 5071335"/>
              <a:gd name="connsiteX5064" fmla="*/ 3371740 w 13768337"/>
              <a:gd name="connsiteY5064" fmla="*/ 1799583 h 5071335"/>
              <a:gd name="connsiteX5065" fmla="*/ 3381066 w 13768337"/>
              <a:gd name="connsiteY5065" fmla="*/ 1791065 h 5071335"/>
              <a:gd name="connsiteX5066" fmla="*/ 3387096 w 13768337"/>
              <a:gd name="connsiteY5066" fmla="*/ 1783866 h 5071335"/>
              <a:gd name="connsiteX5067" fmla="*/ 3385219 w 13768337"/>
              <a:gd name="connsiteY5067" fmla="*/ 1782339 h 5071335"/>
              <a:gd name="connsiteX5068" fmla="*/ 3373752 w 13768337"/>
              <a:gd name="connsiteY5068" fmla="*/ 1774517 h 5071335"/>
              <a:gd name="connsiteX5069" fmla="*/ 3383018 w 13768337"/>
              <a:gd name="connsiteY5069" fmla="*/ 1754449 h 5071335"/>
              <a:gd name="connsiteX5070" fmla="*/ 3358921 w 13768337"/>
              <a:gd name="connsiteY5070" fmla="*/ 1743718 h 5071335"/>
              <a:gd name="connsiteX5071" fmla="*/ 3373752 w 13768337"/>
              <a:gd name="connsiteY5071" fmla="*/ 1754449 h 5071335"/>
              <a:gd name="connsiteX5072" fmla="*/ 3346411 w 13768337"/>
              <a:gd name="connsiteY5072" fmla="*/ 1769501 h 5071335"/>
              <a:gd name="connsiteX5073" fmla="*/ 3332509 w 13768337"/>
              <a:gd name="connsiteY5073" fmla="*/ 1743718 h 5071335"/>
              <a:gd name="connsiteX5074" fmla="*/ 3160896 w 13768337"/>
              <a:gd name="connsiteY5074" fmla="*/ 1738264 h 5071335"/>
              <a:gd name="connsiteX5075" fmla="*/ 3203991 w 13768337"/>
              <a:gd name="connsiteY5075" fmla="*/ 1754292 h 5071335"/>
              <a:gd name="connsiteX5076" fmla="*/ 3201675 w 13768337"/>
              <a:gd name="connsiteY5076" fmla="*/ 1741330 h 5071335"/>
              <a:gd name="connsiteX5077" fmla="*/ 3202138 w 13768337"/>
              <a:gd name="connsiteY5077" fmla="*/ 1748577 h 5071335"/>
              <a:gd name="connsiteX5078" fmla="*/ 3160896 w 13768337"/>
              <a:gd name="connsiteY5078" fmla="*/ 1738264 h 5071335"/>
              <a:gd name="connsiteX5079" fmla="*/ 3605173 w 13768337"/>
              <a:gd name="connsiteY5079" fmla="*/ 1737042 h 5071335"/>
              <a:gd name="connsiteX5080" fmla="*/ 3607199 w 13768337"/>
              <a:gd name="connsiteY5080" fmla="*/ 1744405 h 5071335"/>
              <a:gd name="connsiteX5081" fmla="*/ 3620120 w 13768337"/>
              <a:gd name="connsiteY5081" fmla="*/ 1748577 h 5071335"/>
              <a:gd name="connsiteX5082" fmla="*/ 3616876 w 13768337"/>
              <a:gd name="connsiteY5082" fmla="*/ 1751365 h 5071335"/>
              <a:gd name="connsiteX5083" fmla="*/ 3628460 w 13768337"/>
              <a:gd name="connsiteY5083" fmla="*/ 1752758 h 5071335"/>
              <a:gd name="connsiteX5084" fmla="*/ 3628345 w 13768337"/>
              <a:gd name="connsiteY5084" fmla="*/ 1765370 h 5071335"/>
              <a:gd name="connsiteX5085" fmla="*/ 3630296 w 13768337"/>
              <a:gd name="connsiteY5085" fmla="*/ 1768490 h 5071335"/>
              <a:gd name="connsiteX5086" fmla="*/ 3636654 w 13768337"/>
              <a:gd name="connsiteY5086" fmla="*/ 1765422 h 5071335"/>
              <a:gd name="connsiteX5087" fmla="*/ 3652946 w 13768337"/>
              <a:gd name="connsiteY5087" fmla="*/ 1764013 h 5071335"/>
              <a:gd name="connsiteX5088" fmla="*/ 3655414 w 13768337"/>
              <a:gd name="connsiteY5088" fmla="*/ 1763799 h 5071335"/>
              <a:gd name="connsiteX5089" fmla="*/ 3632052 w 13768337"/>
              <a:gd name="connsiteY5089" fmla="*/ 1745792 h 5071335"/>
              <a:gd name="connsiteX5090" fmla="*/ 2920858 w 13768337"/>
              <a:gd name="connsiteY5090" fmla="*/ 1736871 h 5071335"/>
              <a:gd name="connsiteX5091" fmla="*/ 2941248 w 13768337"/>
              <a:gd name="connsiteY5091" fmla="*/ 1737706 h 5071335"/>
              <a:gd name="connsiteX5092" fmla="*/ 2911590 w 13768337"/>
              <a:gd name="connsiteY5092" fmla="*/ 1751921 h 5071335"/>
              <a:gd name="connsiteX5093" fmla="*/ 2920858 w 13768337"/>
              <a:gd name="connsiteY5093" fmla="*/ 1736871 h 5071335"/>
              <a:gd name="connsiteX5094" fmla="*/ 3567213 w 13768337"/>
              <a:gd name="connsiteY5094" fmla="*/ 1731115 h 5071335"/>
              <a:gd name="connsiteX5095" fmla="*/ 3559994 w 13768337"/>
              <a:gd name="connsiteY5095" fmla="*/ 1734280 h 5071335"/>
              <a:gd name="connsiteX5096" fmla="*/ 3560093 w 13768337"/>
              <a:gd name="connsiteY5096" fmla="*/ 1738893 h 5071335"/>
              <a:gd name="connsiteX5097" fmla="*/ 3552157 w 13768337"/>
              <a:gd name="connsiteY5097" fmla="*/ 1749014 h 5071335"/>
              <a:gd name="connsiteX5098" fmla="*/ 3557624 w 13768337"/>
              <a:gd name="connsiteY5098" fmla="*/ 1766700 h 5071335"/>
              <a:gd name="connsiteX5099" fmla="*/ 3563938 w 13768337"/>
              <a:gd name="connsiteY5099" fmla="*/ 1770879 h 5071335"/>
              <a:gd name="connsiteX5100" fmla="*/ 3565208 w 13768337"/>
              <a:gd name="connsiteY5100" fmla="*/ 1769324 h 5071335"/>
              <a:gd name="connsiteX5101" fmla="*/ 3582122 w 13768337"/>
              <a:gd name="connsiteY5101" fmla="*/ 1762095 h 5071335"/>
              <a:gd name="connsiteX5102" fmla="*/ 3574243 w 13768337"/>
              <a:gd name="connsiteY5102" fmla="*/ 1756939 h 5071335"/>
              <a:gd name="connsiteX5103" fmla="*/ 3586756 w 13768337"/>
              <a:gd name="connsiteY5103" fmla="*/ 1749970 h 5071335"/>
              <a:gd name="connsiteX5104" fmla="*/ 3591838 w 13768337"/>
              <a:gd name="connsiteY5104" fmla="*/ 1743501 h 5071335"/>
              <a:gd name="connsiteX5105" fmla="*/ 3595768 w 13768337"/>
              <a:gd name="connsiteY5105" fmla="*/ 1743209 h 5071335"/>
              <a:gd name="connsiteX5106" fmla="*/ 3601689 w 13768337"/>
              <a:gd name="connsiteY5106" fmla="*/ 1735908 h 5071335"/>
              <a:gd name="connsiteX5107" fmla="*/ 3587682 w 13768337"/>
              <a:gd name="connsiteY5107" fmla="*/ 1731348 h 5071335"/>
              <a:gd name="connsiteX5108" fmla="*/ 3567213 w 13768337"/>
              <a:gd name="connsiteY5108" fmla="*/ 1731115 h 5071335"/>
              <a:gd name="connsiteX5109" fmla="*/ 3188236 w 13768337"/>
              <a:gd name="connsiteY5109" fmla="*/ 1727533 h 5071335"/>
              <a:gd name="connsiteX5110" fmla="*/ 3201212 w 13768337"/>
              <a:gd name="connsiteY5110" fmla="*/ 1738821 h 5071335"/>
              <a:gd name="connsiteX5111" fmla="*/ 3200748 w 13768337"/>
              <a:gd name="connsiteY5111" fmla="*/ 1736871 h 5071335"/>
              <a:gd name="connsiteX5112" fmla="*/ 3216504 w 13768337"/>
              <a:gd name="connsiteY5112" fmla="*/ 1752758 h 5071335"/>
              <a:gd name="connsiteX5113" fmla="*/ 3288329 w 13768337"/>
              <a:gd name="connsiteY5113" fmla="*/ 1743421 h 5071335"/>
              <a:gd name="connsiteX5114" fmla="*/ 3299191 w 13768337"/>
              <a:gd name="connsiteY5114" fmla="*/ 1746384 h 5071335"/>
              <a:gd name="connsiteX5115" fmla="*/ 3300087 w 13768337"/>
              <a:gd name="connsiteY5115" fmla="*/ 1753683 h 5071335"/>
              <a:gd name="connsiteX5116" fmla="*/ 3304589 w 13768337"/>
              <a:gd name="connsiteY5116" fmla="*/ 1748213 h 5071335"/>
              <a:gd name="connsiteX5117" fmla="*/ 3318143 w 13768337"/>
              <a:gd name="connsiteY5117" fmla="*/ 1743718 h 5071335"/>
              <a:gd name="connsiteX5118" fmla="*/ 3281534 w 13768337"/>
              <a:gd name="connsiteY5118" fmla="*/ 1738702 h 5071335"/>
              <a:gd name="connsiteX5119" fmla="*/ 3285427 w 13768337"/>
              <a:gd name="connsiteY5119" fmla="*/ 1734046 h 5071335"/>
              <a:gd name="connsiteX5120" fmla="*/ 3284565 w 13768337"/>
              <a:gd name="connsiteY5120" fmla="*/ 1734067 h 5071335"/>
              <a:gd name="connsiteX5121" fmla="*/ 3224383 w 13768337"/>
              <a:gd name="connsiteY5121" fmla="*/ 1743421 h 5071335"/>
              <a:gd name="connsiteX5122" fmla="*/ 3215112 w 13768337"/>
              <a:gd name="connsiteY5122" fmla="*/ 1727533 h 5071335"/>
              <a:gd name="connsiteX5123" fmla="*/ 3188236 w 13768337"/>
              <a:gd name="connsiteY5123" fmla="*/ 1727533 h 5071335"/>
              <a:gd name="connsiteX5124" fmla="*/ 13095262 w 13768337"/>
              <a:gd name="connsiteY5124" fmla="*/ 1726920 h 5071335"/>
              <a:gd name="connsiteX5125" fmla="*/ 13133261 w 13768337"/>
              <a:gd name="connsiteY5125" fmla="*/ 1765384 h 5071335"/>
              <a:gd name="connsiteX5126" fmla="*/ 13088774 w 13768337"/>
              <a:gd name="connsiteY5126" fmla="*/ 1755907 h 5071335"/>
              <a:gd name="connsiteX5127" fmla="*/ 13095262 w 13768337"/>
              <a:gd name="connsiteY5127" fmla="*/ 1726920 h 5071335"/>
              <a:gd name="connsiteX5128" fmla="*/ 1869417 w 13768337"/>
              <a:gd name="connsiteY5128" fmla="*/ 1724328 h 5071335"/>
              <a:gd name="connsiteX5129" fmla="*/ 1874514 w 13768337"/>
              <a:gd name="connsiteY5129" fmla="*/ 1745372 h 5071335"/>
              <a:gd name="connsiteX5130" fmla="*/ 1845784 w 13768337"/>
              <a:gd name="connsiteY5130" fmla="*/ 1739797 h 5071335"/>
              <a:gd name="connsiteX5131" fmla="*/ 1866174 w 13768337"/>
              <a:gd name="connsiteY5131" fmla="*/ 1734502 h 5071335"/>
              <a:gd name="connsiteX5132" fmla="*/ 1869417 w 13768337"/>
              <a:gd name="connsiteY5132" fmla="*/ 1724328 h 5071335"/>
              <a:gd name="connsiteX5133" fmla="*/ 1717424 w 13768337"/>
              <a:gd name="connsiteY5133" fmla="*/ 1718754 h 5071335"/>
              <a:gd name="connsiteX5134" fmla="*/ 1811030 w 13768337"/>
              <a:gd name="connsiteY5134" fmla="*/ 1740076 h 5071335"/>
              <a:gd name="connsiteX5135" fmla="*/ 1692864 w 13768337"/>
              <a:gd name="connsiteY5135" fmla="*/ 1729903 h 5071335"/>
              <a:gd name="connsiteX5136" fmla="*/ 1717424 w 13768337"/>
              <a:gd name="connsiteY5136" fmla="*/ 1718754 h 5071335"/>
              <a:gd name="connsiteX5137" fmla="*/ 13064214 w 13768337"/>
              <a:gd name="connsiteY5137" fmla="*/ 1718559 h 5071335"/>
              <a:gd name="connsiteX5138" fmla="*/ 13078579 w 13768337"/>
              <a:gd name="connsiteY5138" fmla="*/ 1755907 h 5071335"/>
              <a:gd name="connsiteX5139" fmla="*/ 13059581 w 13768337"/>
              <a:gd name="connsiteY5139" fmla="*/ 1753539 h 5071335"/>
              <a:gd name="connsiteX5140" fmla="*/ 13067459 w 13768337"/>
              <a:gd name="connsiteY5140" fmla="*/ 1728732 h 5071335"/>
              <a:gd name="connsiteX5141" fmla="*/ 13053556 w 13768337"/>
              <a:gd name="connsiteY5141" fmla="*/ 1741971 h 5071335"/>
              <a:gd name="connsiteX5142" fmla="*/ 13038727 w 13768337"/>
              <a:gd name="connsiteY5142" fmla="*/ 1727477 h 5071335"/>
              <a:gd name="connsiteX5143" fmla="*/ 13064214 w 13768337"/>
              <a:gd name="connsiteY5143" fmla="*/ 1718559 h 5071335"/>
              <a:gd name="connsiteX5144" fmla="*/ 3086291 w 13768337"/>
              <a:gd name="connsiteY5144" fmla="*/ 1714016 h 5071335"/>
              <a:gd name="connsiteX5145" fmla="*/ 3090461 w 13768337"/>
              <a:gd name="connsiteY5145" fmla="*/ 1719590 h 5071335"/>
              <a:gd name="connsiteX5146" fmla="*/ 3090924 w 13768337"/>
              <a:gd name="connsiteY5146" fmla="*/ 1714016 h 5071335"/>
              <a:gd name="connsiteX5147" fmla="*/ 3086291 w 13768337"/>
              <a:gd name="connsiteY5147" fmla="*/ 1714016 h 5071335"/>
              <a:gd name="connsiteX5148" fmla="*/ 1792494 w 13768337"/>
              <a:gd name="connsiteY5148" fmla="*/ 1709835 h 5071335"/>
              <a:gd name="connsiteX5149" fmla="*/ 1836052 w 13768337"/>
              <a:gd name="connsiteY5149" fmla="*/ 1735059 h 5071335"/>
              <a:gd name="connsiteX5150" fmla="*/ 1776275 w 13768337"/>
              <a:gd name="connsiteY5150" fmla="*/ 1713458 h 5071335"/>
              <a:gd name="connsiteX5151" fmla="*/ 1792494 w 13768337"/>
              <a:gd name="connsiteY5151" fmla="*/ 1709835 h 5071335"/>
              <a:gd name="connsiteX5152" fmla="*/ 3219748 w 13768337"/>
              <a:gd name="connsiteY5152" fmla="*/ 1704539 h 5071335"/>
              <a:gd name="connsiteX5153" fmla="*/ 3219748 w 13768337"/>
              <a:gd name="connsiteY5153" fmla="*/ 1705932 h 5071335"/>
              <a:gd name="connsiteX5154" fmla="*/ 3221138 w 13768337"/>
              <a:gd name="connsiteY5154" fmla="*/ 1704539 h 5071335"/>
              <a:gd name="connsiteX5155" fmla="*/ 3219748 w 13768337"/>
              <a:gd name="connsiteY5155" fmla="*/ 1704539 h 5071335"/>
              <a:gd name="connsiteX5156" fmla="*/ 3050144 w 13768337"/>
              <a:gd name="connsiteY5156" fmla="*/ 1699940 h 5071335"/>
              <a:gd name="connsiteX5157" fmla="*/ 3053853 w 13768337"/>
              <a:gd name="connsiteY5157" fmla="*/ 1704539 h 5071335"/>
              <a:gd name="connsiteX5158" fmla="*/ 3053853 w 13768337"/>
              <a:gd name="connsiteY5158" fmla="*/ 1700358 h 5071335"/>
              <a:gd name="connsiteX5159" fmla="*/ 3050144 w 13768337"/>
              <a:gd name="connsiteY5159" fmla="*/ 1699940 h 5071335"/>
              <a:gd name="connsiteX5160" fmla="*/ 3045048 w 13768337"/>
              <a:gd name="connsiteY5160" fmla="*/ 1699522 h 5071335"/>
              <a:gd name="connsiteX5161" fmla="*/ 3037633 w 13768337"/>
              <a:gd name="connsiteY5161" fmla="*/ 1703285 h 5071335"/>
              <a:gd name="connsiteX5162" fmla="*/ 3039951 w 13768337"/>
              <a:gd name="connsiteY5162" fmla="*/ 1708302 h 5071335"/>
              <a:gd name="connsiteX5163" fmla="*/ 3045976 w 13768337"/>
              <a:gd name="connsiteY5163" fmla="*/ 1719033 h 5071335"/>
              <a:gd name="connsiteX5164" fmla="*/ 3049218 w 13768337"/>
              <a:gd name="connsiteY5164" fmla="*/ 1720566 h 5071335"/>
              <a:gd name="connsiteX5165" fmla="*/ 3045976 w 13768337"/>
              <a:gd name="connsiteY5165" fmla="*/ 1731156 h 5071335"/>
              <a:gd name="connsiteX5166" fmla="*/ 3036243 w 13768337"/>
              <a:gd name="connsiteY5166" fmla="*/ 1731156 h 5071335"/>
              <a:gd name="connsiteX5167" fmla="*/ 3032999 w 13768337"/>
              <a:gd name="connsiteY5167" fmla="*/ 1724746 h 5071335"/>
              <a:gd name="connsiteX5168" fmla="*/ 3026512 w 13768337"/>
              <a:gd name="connsiteY5168" fmla="*/ 1732690 h 5071335"/>
              <a:gd name="connsiteX5169" fmla="*/ 3053853 w 13768337"/>
              <a:gd name="connsiteY5169" fmla="*/ 1763489 h 5071335"/>
              <a:gd name="connsiteX5170" fmla="*/ 3077485 w 13768337"/>
              <a:gd name="connsiteY5170" fmla="*/ 1758472 h 5071335"/>
              <a:gd name="connsiteX5171" fmla="*/ 3072851 w 13768337"/>
              <a:gd name="connsiteY5171" fmla="*/ 1738264 h 5071335"/>
              <a:gd name="connsiteX5172" fmla="*/ 3089533 w 13768337"/>
              <a:gd name="connsiteY5172" fmla="*/ 1721402 h 5071335"/>
              <a:gd name="connsiteX5173" fmla="*/ 3053853 w 13768337"/>
              <a:gd name="connsiteY5173" fmla="*/ 1726140 h 5071335"/>
              <a:gd name="connsiteX5174" fmla="*/ 3055706 w 13768337"/>
              <a:gd name="connsiteY5174" fmla="*/ 1717638 h 5071335"/>
              <a:gd name="connsiteX5175" fmla="*/ 3052462 w 13768337"/>
              <a:gd name="connsiteY5175" fmla="*/ 1709835 h 5071335"/>
              <a:gd name="connsiteX5176" fmla="*/ 3049682 w 13768337"/>
              <a:gd name="connsiteY5176" fmla="*/ 1699940 h 5071335"/>
              <a:gd name="connsiteX5177" fmla="*/ 3045048 w 13768337"/>
              <a:gd name="connsiteY5177" fmla="*/ 1699522 h 5071335"/>
              <a:gd name="connsiteX5178" fmla="*/ 12933539 w 13768337"/>
              <a:gd name="connsiteY5178" fmla="*/ 1696958 h 5071335"/>
              <a:gd name="connsiteX5179" fmla="*/ 12942342 w 13768337"/>
              <a:gd name="connsiteY5179" fmla="*/ 1718559 h 5071335"/>
              <a:gd name="connsiteX5180" fmla="*/ 12904344 w 13768337"/>
              <a:gd name="connsiteY5180" fmla="*/ 1705876 h 5071335"/>
              <a:gd name="connsiteX5181" fmla="*/ 12925196 w 13768337"/>
              <a:gd name="connsiteY5181" fmla="*/ 1708246 h 5071335"/>
              <a:gd name="connsiteX5182" fmla="*/ 3031146 w 13768337"/>
              <a:gd name="connsiteY5182" fmla="*/ 1695341 h 5071335"/>
              <a:gd name="connsiteX5183" fmla="*/ 3014000 w 13768337"/>
              <a:gd name="connsiteY5183" fmla="*/ 1711089 h 5071335"/>
              <a:gd name="connsiteX5184" fmla="*/ 3021878 w 13768337"/>
              <a:gd name="connsiteY5184" fmla="*/ 1711089 h 5071335"/>
              <a:gd name="connsiteX5185" fmla="*/ 3026512 w 13768337"/>
              <a:gd name="connsiteY5185" fmla="*/ 1698965 h 5071335"/>
              <a:gd name="connsiteX5186" fmla="*/ 3031146 w 13768337"/>
              <a:gd name="connsiteY5186" fmla="*/ 1698965 h 5071335"/>
              <a:gd name="connsiteX5187" fmla="*/ 3031146 w 13768337"/>
              <a:gd name="connsiteY5187" fmla="*/ 1695341 h 5071335"/>
              <a:gd name="connsiteX5188" fmla="*/ 1736424 w 13768337"/>
              <a:gd name="connsiteY5188" fmla="*/ 1686701 h 5071335"/>
              <a:gd name="connsiteX5189" fmla="*/ 1741983 w 13768337"/>
              <a:gd name="connsiteY5189" fmla="*/ 1707465 h 5071335"/>
              <a:gd name="connsiteX5190" fmla="*/ 1697498 w 13768337"/>
              <a:gd name="connsiteY5190" fmla="*/ 1703285 h 5071335"/>
              <a:gd name="connsiteX5191" fmla="*/ 1736424 w 13768337"/>
              <a:gd name="connsiteY5191" fmla="*/ 1686701 h 5071335"/>
              <a:gd name="connsiteX5192" fmla="*/ 1776275 w 13768337"/>
              <a:gd name="connsiteY5192" fmla="*/ 1686422 h 5071335"/>
              <a:gd name="connsiteX5193" fmla="*/ 1793421 w 13768337"/>
              <a:gd name="connsiteY5193" fmla="*/ 1691996 h 5071335"/>
              <a:gd name="connsiteX5194" fmla="*/ 1761446 w 13768337"/>
              <a:gd name="connsiteY5194" fmla="*/ 1711647 h 5071335"/>
              <a:gd name="connsiteX5195" fmla="*/ 1761446 w 13768337"/>
              <a:gd name="connsiteY5195" fmla="*/ 1697153 h 5071335"/>
              <a:gd name="connsiteX5196" fmla="*/ 1776275 w 13768337"/>
              <a:gd name="connsiteY5196" fmla="*/ 1686422 h 5071335"/>
              <a:gd name="connsiteX5197" fmla="*/ 1861540 w 13768337"/>
              <a:gd name="connsiteY5197" fmla="*/ 1677921 h 5071335"/>
              <a:gd name="connsiteX5198" fmla="*/ 1882855 w 13768337"/>
              <a:gd name="connsiteY5198" fmla="*/ 1693251 h 5071335"/>
              <a:gd name="connsiteX5199" fmla="*/ 1939853 w 13768337"/>
              <a:gd name="connsiteY5199" fmla="*/ 1688234 h 5071335"/>
              <a:gd name="connsiteX5200" fmla="*/ 1918074 w 13768337"/>
              <a:gd name="connsiteY5200" fmla="*/ 1683077 h 5071335"/>
              <a:gd name="connsiteX5201" fmla="*/ 1913903 w 13768337"/>
              <a:gd name="connsiteY5201" fmla="*/ 1704121 h 5071335"/>
              <a:gd name="connsiteX5202" fmla="*/ 1830956 w 13768337"/>
              <a:gd name="connsiteY5202" fmla="*/ 1688234 h 5071335"/>
              <a:gd name="connsiteX5203" fmla="*/ 1861540 w 13768337"/>
              <a:gd name="connsiteY5203" fmla="*/ 1677921 h 5071335"/>
              <a:gd name="connsiteX5204" fmla="*/ 2018629 w 13768337"/>
              <a:gd name="connsiteY5204" fmla="*/ 1675551 h 5071335"/>
              <a:gd name="connsiteX5205" fmla="*/ 2018629 w 13768337"/>
              <a:gd name="connsiteY5205" fmla="*/ 1693251 h 5071335"/>
              <a:gd name="connsiteX5206" fmla="*/ 1998703 w 13768337"/>
              <a:gd name="connsiteY5206" fmla="*/ 1687676 h 5071335"/>
              <a:gd name="connsiteX5207" fmla="*/ 2018629 w 13768337"/>
              <a:gd name="connsiteY5207" fmla="*/ 1675551 h 5071335"/>
              <a:gd name="connsiteX5208" fmla="*/ 3362628 w 13768337"/>
              <a:gd name="connsiteY5208" fmla="*/ 1675431 h 5071335"/>
              <a:gd name="connsiteX5209" fmla="*/ 3380701 w 13768337"/>
              <a:gd name="connsiteY5209" fmla="*/ 1689507 h 5071335"/>
              <a:gd name="connsiteX5210" fmla="*/ 3349190 w 13768337"/>
              <a:gd name="connsiteY5210" fmla="*/ 1687138 h 5071335"/>
              <a:gd name="connsiteX5211" fmla="*/ 3362628 w 13768337"/>
              <a:gd name="connsiteY5211" fmla="*/ 1675431 h 5071335"/>
              <a:gd name="connsiteX5212" fmla="*/ 3114556 w 13768337"/>
              <a:gd name="connsiteY5212" fmla="*/ 1675134 h 5071335"/>
              <a:gd name="connsiteX5213" fmla="*/ 3077485 w 13768337"/>
              <a:gd name="connsiteY5213" fmla="*/ 1700358 h 5071335"/>
              <a:gd name="connsiteX5214" fmla="*/ 3077485 w 13768337"/>
              <a:gd name="connsiteY5214" fmla="*/ 1709835 h 5071335"/>
              <a:gd name="connsiteX5215" fmla="*/ 3083973 w 13768337"/>
              <a:gd name="connsiteY5215" fmla="*/ 1707465 h 5071335"/>
              <a:gd name="connsiteX5216" fmla="*/ 3083047 w 13768337"/>
              <a:gd name="connsiteY5216" fmla="*/ 1705932 h 5071335"/>
              <a:gd name="connsiteX5217" fmla="*/ 3085362 w 13768337"/>
              <a:gd name="connsiteY5217" fmla="*/ 1705932 h 5071335"/>
              <a:gd name="connsiteX5218" fmla="*/ 3104826 w 13768337"/>
              <a:gd name="connsiteY5218" fmla="*/ 1704539 h 5071335"/>
              <a:gd name="connsiteX5219" fmla="*/ 3104826 w 13768337"/>
              <a:gd name="connsiteY5219" fmla="*/ 1705932 h 5071335"/>
              <a:gd name="connsiteX5220" fmla="*/ 3109924 w 13768337"/>
              <a:gd name="connsiteY5220" fmla="*/ 1711089 h 5071335"/>
              <a:gd name="connsiteX5221" fmla="*/ 3100193 w 13768337"/>
              <a:gd name="connsiteY5221" fmla="*/ 1732690 h 5071335"/>
              <a:gd name="connsiteX5222" fmla="*/ 3146531 w 13768337"/>
              <a:gd name="connsiteY5222" fmla="*/ 1716663 h 5071335"/>
              <a:gd name="connsiteX5223" fmla="*/ 3114556 w 13768337"/>
              <a:gd name="connsiteY5223" fmla="*/ 1675134 h 5071335"/>
              <a:gd name="connsiteX5224" fmla="*/ 2039484 w 13768337"/>
              <a:gd name="connsiteY5224" fmla="*/ 1673740 h 5071335"/>
              <a:gd name="connsiteX5225" fmla="*/ 2063116 w 13768337"/>
              <a:gd name="connsiteY5225" fmla="*/ 1675134 h 5071335"/>
              <a:gd name="connsiteX5226" fmla="*/ 2026508 w 13768337"/>
              <a:gd name="connsiteY5226" fmla="*/ 1688791 h 5071335"/>
              <a:gd name="connsiteX5227" fmla="*/ 2039484 w 13768337"/>
              <a:gd name="connsiteY5227" fmla="*/ 1673740 h 5071335"/>
              <a:gd name="connsiteX5228" fmla="*/ 3665995 w 13768337"/>
              <a:gd name="connsiteY5228" fmla="*/ 1670953 h 5071335"/>
              <a:gd name="connsiteX5229" fmla="*/ 3664606 w 13768337"/>
              <a:gd name="connsiteY5229" fmla="*/ 1684471 h 5071335"/>
              <a:gd name="connsiteX5230" fmla="*/ 3689629 w 13768337"/>
              <a:gd name="connsiteY5230" fmla="*/ 1680569 h 5071335"/>
              <a:gd name="connsiteX5231" fmla="*/ 3665995 w 13768337"/>
              <a:gd name="connsiteY5231" fmla="*/ 1670953 h 5071335"/>
              <a:gd name="connsiteX5232" fmla="*/ 3767017 w 13768337"/>
              <a:gd name="connsiteY5232" fmla="*/ 1668026 h 5071335"/>
              <a:gd name="connsiteX5233" fmla="*/ 3695189 w 13768337"/>
              <a:gd name="connsiteY5233" fmla="*/ 1669560 h 5071335"/>
              <a:gd name="connsiteX5234" fmla="*/ 3702140 w 13768337"/>
              <a:gd name="connsiteY5234" fmla="*/ 1675551 h 5071335"/>
              <a:gd name="connsiteX5235" fmla="*/ 3697506 w 13768337"/>
              <a:gd name="connsiteY5235" fmla="*/ 1681126 h 5071335"/>
              <a:gd name="connsiteX5236" fmla="*/ 3752188 w 13768337"/>
              <a:gd name="connsiteY5236" fmla="*/ 1684471 h 5071335"/>
              <a:gd name="connsiteX5237" fmla="*/ 3642362 w 13768337"/>
              <a:gd name="connsiteY5237" fmla="*/ 1709835 h 5071335"/>
              <a:gd name="connsiteX5238" fmla="*/ 3657944 w 13768337"/>
              <a:gd name="connsiteY5238" fmla="*/ 1732812 h 5071335"/>
              <a:gd name="connsiteX5239" fmla="*/ 3670200 w 13768337"/>
              <a:gd name="connsiteY5239" fmla="*/ 1741327 h 5071335"/>
              <a:gd name="connsiteX5240" fmla="*/ 3672640 w 13768337"/>
              <a:gd name="connsiteY5240" fmla="*/ 1740096 h 5071335"/>
              <a:gd name="connsiteX5241" fmla="*/ 3670322 w 13768337"/>
              <a:gd name="connsiteY5241" fmla="*/ 1740513 h 5071335"/>
              <a:gd name="connsiteX5242" fmla="*/ 3671822 w 13768337"/>
              <a:gd name="connsiteY5242" fmla="*/ 1729145 h 5071335"/>
              <a:gd name="connsiteX5243" fmla="*/ 3660436 w 13768337"/>
              <a:gd name="connsiteY5243" fmla="*/ 1720566 h 5071335"/>
              <a:gd name="connsiteX5244" fmla="*/ 3684090 w 13768337"/>
              <a:gd name="connsiteY5244" fmla="*/ 1708385 h 5071335"/>
              <a:gd name="connsiteX5245" fmla="*/ 3707429 w 13768337"/>
              <a:gd name="connsiteY5245" fmla="*/ 1714755 h 5071335"/>
              <a:gd name="connsiteX5246" fmla="*/ 3708958 w 13768337"/>
              <a:gd name="connsiteY5246" fmla="*/ 1709697 h 5071335"/>
              <a:gd name="connsiteX5247" fmla="*/ 3706003 w 13768337"/>
              <a:gd name="connsiteY5247" fmla="*/ 1704836 h 5071335"/>
              <a:gd name="connsiteX5248" fmla="*/ 3720535 w 13768337"/>
              <a:gd name="connsiteY5248" fmla="*/ 1713480 h 5071335"/>
              <a:gd name="connsiteX5249" fmla="*/ 3715934 w 13768337"/>
              <a:gd name="connsiteY5249" fmla="*/ 1718716 h 5071335"/>
              <a:gd name="connsiteX5250" fmla="*/ 3722076 w 13768337"/>
              <a:gd name="connsiteY5250" fmla="*/ 1721590 h 5071335"/>
              <a:gd name="connsiteX5251" fmla="*/ 3723381 w 13768337"/>
              <a:gd name="connsiteY5251" fmla="*/ 1720306 h 5071335"/>
              <a:gd name="connsiteX5252" fmla="*/ 3741221 w 13768337"/>
              <a:gd name="connsiteY5252" fmla="*/ 1715289 h 5071335"/>
              <a:gd name="connsiteX5253" fmla="*/ 3743672 w 13768337"/>
              <a:gd name="connsiteY5253" fmla="*/ 1727569 h 5071335"/>
              <a:gd name="connsiteX5254" fmla="*/ 3745167 w 13768337"/>
              <a:gd name="connsiteY5254" fmla="*/ 1727318 h 5071335"/>
              <a:gd name="connsiteX5255" fmla="*/ 3756513 w 13768337"/>
              <a:gd name="connsiteY5255" fmla="*/ 1708739 h 5071335"/>
              <a:gd name="connsiteX5256" fmla="*/ 3757907 w 13768337"/>
              <a:gd name="connsiteY5256" fmla="*/ 1708992 h 5071335"/>
              <a:gd name="connsiteX5257" fmla="*/ 3757284 w 13768337"/>
              <a:gd name="connsiteY5257" fmla="*/ 1704539 h 5071335"/>
              <a:gd name="connsiteX5258" fmla="*/ 3730408 w 13768337"/>
              <a:gd name="connsiteY5258" fmla="*/ 1709835 h 5071335"/>
              <a:gd name="connsiteX5259" fmla="*/ 3770259 w 13768337"/>
              <a:gd name="connsiteY5259" fmla="*/ 1698965 h 5071335"/>
              <a:gd name="connsiteX5260" fmla="*/ 3767017 w 13768337"/>
              <a:gd name="connsiteY5260" fmla="*/ 1668026 h 5071335"/>
              <a:gd name="connsiteX5261" fmla="*/ 3656728 w 13768337"/>
              <a:gd name="connsiteY5261" fmla="*/ 1667748 h 5071335"/>
              <a:gd name="connsiteX5262" fmla="*/ 3650703 w 13768337"/>
              <a:gd name="connsiteY5262" fmla="*/ 1668026 h 5071335"/>
              <a:gd name="connsiteX5263" fmla="*/ 3596487 w 13768337"/>
              <a:gd name="connsiteY5263" fmla="*/ 1674298 h 5071335"/>
              <a:gd name="connsiteX5264" fmla="*/ 3600195 w 13768337"/>
              <a:gd name="connsiteY5264" fmla="*/ 1687676 h 5071335"/>
              <a:gd name="connsiteX5265" fmla="*/ 3644216 w 13768337"/>
              <a:gd name="connsiteY5265" fmla="*/ 1681683 h 5071335"/>
              <a:gd name="connsiteX5266" fmla="*/ 3662753 w 13768337"/>
              <a:gd name="connsiteY5266" fmla="*/ 1669560 h 5071335"/>
              <a:gd name="connsiteX5267" fmla="*/ 3656728 w 13768337"/>
              <a:gd name="connsiteY5267" fmla="*/ 1667748 h 5071335"/>
              <a:gd name="connsiteX5268" fmla="*/ 1070063 w 13768337"/>
              <a:gd name="connsiteY5268" fmla="*/ 1664821 h 5071335"/>
              <a:gd name="connsiteX5269" fmla="*/ 1090451 w 13768337"/>
              <a:gd name="connsiteY5269" fmla="*/ 1666633 h 5071335"/>
              <a:gd name="connsiteX5270" fmla="*/ 1064965 w 13768337"/>
              <a:gd name="connsiteY5270" fmla="*/ 1672765 h 5071335"/>
              <a:gd name="connsiteX5271" fmla="*/ 1070063 w 13768337"/>
              <a:gd name="connsiteY5271" fmla="*/ 1664821 h 5071335"/>
              <a:gd name="connsiteX5272" fmla="*/ 1769787 w 13768337"/>
              <a:gd name="connsiteY5272" fmla="*/ 1661058 h 5071335"/>
              <a:gd name="connsiteX5273" fmla="*/ 1769787 w 13768337"/>
              <a:gd name="connsiteY5273" fmla="*/ 1676667 h 5071335"/>
              <a:gd name="connsiteX5274" fmla="*/ 1737350 w 13768337"/>
              <a:gd name="connsiteY5274" fmla="*/ 1686701 h 5071335"/>
              <a:gd name="connsiteX5275" fmla="*/ 1727156 w 13768337"/>
              <a:gd name="connsiteY5275" fmla="*/ 1666214 h 5071335"/>
              <a:gd name="connsiteX5276" fmla="*/ 1769787 w 13768337"/>
              <a:gd name="connsiteY5276" fmla="*/ 1661058 h 5071335"/>
              <a:gd name="connsiteX5277" fmla="*/ 13396932 w 13768337"/>
              <a:gd name="connsiteY5277" fmla="*/ 1659887 h 5071335"/>
              <a:gd name="connsiteX5278" fmla="*/ 13392761 w 13768337"/>
              <a:gd name="connsiteY5278" fmla="*/ 1666995 h 5071335"/>
              <a:gd name="connsiteX5279" fmla="*/ 13379787 w 13768337"/>
              <a:gd name="connsiteY5279" fmla="*/ 1669364 h 5071335"/>
              <a:gd name="connsiteX5280" fmla="*/ 13396932 w 13768337"/>
              <a:gd name="connsiteY5280" fmla="*/ 1659887 h 5071335"/>
              <a:gd name="connsiteX5281" fmla="*/ 2050604 w 13768337"/>
              <a:gd name="connsiteY5281" fmla="*/ 1657435 h 5071335"/>
              <a:gd name="connsiteX5282" fmla="*/ 2063116 w 13768337"/>
              <a:gd name="connsiteY5282" fmla="*/ 1660640 h 5071335"/>
              <a:gd name="connsiteX5283" fmla="*/ 2013533 w 13768337"/>
              <a:gd name="connsiteY5283" fmla="*/ 1666633 h 5071335"/>
              <a:gd name="connsiteX5284" fmla="*/ 2037629 w 13768337"/>
              <a:gd name="connsiteY5284" fmla="*/ 1657714 h 5071335"/>
              <a:gd name="connsiteX5285" fmla="*/ 2050604 w 13768337"/>
              <a:gd name="connsiteY5285" fmla="*/ 1657435 h 5071335"/>
              <a:gd name="connsiteX5286" fmla="*/ 1850881 w 13768337"/>
              <a:gd name="connsiteY5286" fmla="*/ 1653254 h 5071335"/>
              <a:gd name="connsiteX5287" fmla="*/ 1820761 w 13768337"/>
              <a:gd name="connsiteY5287" fmla="*/ 1661058 h 5071335"/>
              <a:gd name="connsiteX5288" fmla="*/ 1850881 w 13768337"/>
              <a:gd name="connsiteY5288" fmla="*/ 1653254 h 5071335"/>
              <a:gd name="connsiteX5289" fmla="*/ 3684068 w 13768337"/>
              <a:gd name="connsiteY5289" fmla="*/ 1652279 h 5071335"/>
              <a:gd name="connsiteX5290" fmla="*/ 3654873 w 13768337"/>
              <a:gd name="connsiteY5290" fmla="*/ 1657435 h 5071335"/>
              <a:gd name="connsiteX5291" fmla="*/ 3654411 w 13768337"/>
              <a:gd name="connsiteY5291" fmla="*/ 1658829 h 5071335"/>
              <a:gd name="connsiteX5292" fmla="*/ 3688239 w 13768337"/>
              <a:gd name="connsiteY5292" fmla="*/ 1664821 h 5071335"/>
              <a:gd name="connsiteX5293" fmla="*/ 3684068 w 13768337"/>
              <a:gd name="connsiteY5293" fmla="*/ 1652279 h 5071335"/>
              <a:gd name="connsiteX5294" fmla="*/ 3921945 w 13768337"/>
              <a:gd name="connsiteY5294" fmla="*/ 1647978 h 5071335"/>
              <a:gd name="connsiteX5295" fmla="*/ 3887654 w 13768337"/>
              <a:gd name="connsiteY5295" fmla="*/ 1664282 h 5071335"/>
              <a:gd name="connsiteX5296" fmla="*/ 3921945 w 13768337"/>
              <a:gd name="connsiteY5296" fmla="*/ 1647978 h 5071335"/>
              <a:gd name="connsiteX5297" fmla="*/ 12843175 w 13768337"/>
              <a:gd name="connsiteY5297" fmla="*/ 1647484 h 5071335"/>
              <a:gd name="connsiteX5298" fmla="*/ 12856612 w 13768337"/>
              <a:gd name="connsiteY5298" fmla="*/ 1652082 h 5071335"/>
              <a:gd name="connsiteX5299" fmla="*/ 12836226 w 13768337"/>
              <a:gd name="connsiteY5299" fmla="*/ 1658633 h 5071335"/>
              <a:gd name="connsiteX5300" fmla="*/ 12843175 w 13768337"/>
              <a:gd name="connsiteY5300" fmla="*/ 1647484 h 5071335"/>
              <a:gd name="connsiteX5301" fmla="*/ 3973226 w 13768337"/>
              <a:gd name="connsiteY5301" fmla="*/ 1646146 h 5071335"/>
              <a:gd name="connsiteX5302" fmla="*/ 3955617 w 13768337"/>
              <a:gd name="connsiteY5302" fmla="*/ 1653532 h 5071335"/>
              <a:gd name="connsiteX5303" fmla="*/ 3973226 w 13768337"/>
              <a:gd name="connsiteY5303" fmla="*/ 1646146 h 5071335"/>
              <a:gd name="connsiteX5304" fmla="*/ 13516025 w 13768337"/>
              <a:gd name="connsiteY5304" fmla="*/ 1645394 h 5071335"/>
              <a:gd name="connsiteX5305" fmla="*/ 13552633 w 13768337"/>
              <a:gd name="connsiteY5305" fmla="*/ 1653337 h 5071335"/>
              <a:gd name="connsiteX5306" fmla="*/ 13478490 w 13768337"/>
              <a:gd name="connsiteY5306" fmla="*/ 1656682 h 5071335"/>
              <a:gd name="connsiteX5307" fmla="*/ 13516025 w 13768337"/>
              <a:gd name="connsiteY5307" fmla="*/ 1645394 h 5071335"/>
              <a:gd name="connsiteX5308" fmla="*/ 3836061 w 13768337"/>
              <a:gd name="connsiteY5308" fmla="*/ 1641966 h 5071335"/>
              <a:gd name="connsiteX5309" fmla="*/ 3846720 w 13768337"/>
              <a:gd name="connsiteY5309" fmla="*/ 1648516 h 5071335"/>
              <a:gd name="connsiteX5310" fmla="*/ 3826794 w 13768337"/>
              <a:gd name="connsiteY5310" fmla="*/ 1650327 h 5071335"/>
              <a:gd name="connsiteX5311" fmla="*/ 3836061 w 13768337"/>
              <a:gd name="connsiteY5311" fmla="*/ 1641966 h 5071335"/>
              <a:gd name="connsiteX5312" fmla="*/ 4136695 w 13768337"/>
              <a:gd name="connsiteY5312" fmla="*/ 1632203 h 5071335"/>
              <a:gd name="connsiteX5313" fmla="*/ 4133560 w 13768337"/>
              <a:gd name="connsiteY5313" fmla="*/ 1634858 h 5071335"/>
              <a:gd name="connsiteX5314" fmla="*/ 4133806 w 13768337"/>
              <a:gd name="connsiteY5314" fmla="*/ 1635679 h 5071335"/>
              <a:gd name="connsiteX5315" fmla="*/ 4134253 w 13768337"/>
              <a:gd name="connsiteY5315" fmla="*/ 1634326 h 5071335"/>
              <a:gd name="connsiteX5316" fmla="*/ 4141131 w 13768337"/>
              <a:gd name="connsiteY5316" fmla="*/ 1632508 h 5071335"/>
              <a:gd name="connsiteX5317" fmla="*/ 4161174 w 13768337"/>
              <a:gd name="connsiteY5317" fmla="*/ 1622821 h 5071335"/>
              <a:gd name="connsiteX5318" fmla="*/ 4143911 w 13768337"/>
              <a:gd name="connsiteY5318" fmla="*/ 1627769 h 5071335"/>
              <a:gd name="connsiteX5319" fmla="*/ 4154254 w 13768337"/>
              <a:gd name="connsiteY5319" fmla="*/ 1628789 h 5071335"/>
              <a:gd name="connsiteX5320" fmla="*/ 4156672 w 13768337"/>
              <a:gd name="connsiteY5320" fmla="*/ 1626653 h 5071335"/>
              <a:gd name="connsiteX5321" fmla="*/ 12940488 w 13768337"/>
              <a:gd name="connsiteY5321" fmla="*/ 1622260 h 5071335"/>
              <a:gd name="connsiteX5322" fmla="*/ 12958561 w 13768337"/>
              <a:gd name="connsiteY5322" fmla="*/ 1623514 h 5071335"/>
              <a:gd name="connsiteX5323" fmla="*/ 13028068 w 13768337"/>
              <a:gd name="connsiteY5323" fmla="*/ 1654313 h 5071335"/>
              <a:gd name="connsiteX5324" fmla="*/ 13022972 w 13768337"/>
              <a:gd name="connsiteY5324" fmla="*/ 1678282 h 5071335"/>
              <a:gd name="connsiteX5325" fmla="*/ 13054020 w 13768337"/>
              <a:gd name="connsiteY5325" fmla="*/ 1712009 h 5071335"/>
              <a:gd name="connsiteX5326" fmla="*/ 13024826 w 13768337"/>
              <a:gd name="connsiteY5326" fmla="*/ 1714795 h 5071335"/>
              <a:gd name="connsiteX5327" fmla="*/ 13031313 w 13768337"/>
              <a:gd name="connsiteY5327" fmla="*/ 1730682 h 5071335"/>
              <a:gd name="connsiteX5328" fmla="*/ 12901100 w 13768337"/>
              <a:gd name="connsiteY5328" fmla="*/ 1655706 h 5071335"/>
              <a:gd name="connsiteX5329" fmla="*/ 12940488 w 13768337"/>
              <a:gd name="connsiteY5329" fmla="*/ 1622260 h 5071335"/>
              <a:gd name="connsiteX5330" fmla="*/ 4183299 w 13768337"/>
              <a:gd name="connsiteY5330" fmla="*/ 1616900 h 5071335"/>
              <a:gd name="connsiteX5331" fmla="*/ 4171146 w 13768337"/>
              <a:gd name="connsiteY5331" fmla="*/ 1620121 h 5071335"/>
              <a:gd name="connsiteX5332" fmla="*/ 4165998 w 13768337"/>
              <a:gd name="connsiteY5332" fmla="*/ 1625939 h 5071335"/>
              <a:gd name="connsiteX5333" fmla="*/ 4175265 w 13768337"/>
              <a:gd name="connsiteY5333" fmla="*/ 1625661 h 5071335"/>
              <a:gd name="connsiteX5334" fmla="*/ 4178011 w 13768337"/>
              <a:gd name="connsiteY5334" fmla="*/ 1630116 h 5071335"/>
              <a:gd name="connsiteX5335" fmla="*/ 4188887 w 13768337"/>
              <a:gd name="connsiteY5335" fmla="*/ 1628201 h 5071335"/>
              <a:gd name="connsiteX5336" fmla="*/ 4189631 w 13768337"/>
              <a:gd name="connsiteY5336" fmla="*/ 1626497 h 5071335"/>
              <a:gd name="connsiteX5337" fmla="*/ 4190478 w 13768337"/>
              <a:gd name="connsiteY5337" fmla="*/ 1626732 h 5071335"/>
              <a:gd name="connsiteX5338" fmla="*/ 4198129 w 13768337"/>
              <a:gd name="connsiteY5338" fmla="*/ 1617457 h 5071335"/>
              <a:gd name="connsiteX5339" fmla="*/ 4183299 w 13768337"/>
              <a:gd name="connsiteY5339" fmla="*/ 1616900 h 5071335"/>
              <a:gd name="connsiteX5340" fmla="*/ 2582581 w 13768337"/>
              <a:gd name="connsiteY5340" fmla="*/ 1612003 h 5071335"/>
              <a:gd name="connsiteX5341" fmla="*/ 2606677 w 13768337"/>
              <a:gd name="connsiteY5341" fmla="*/ 1612003 h 5071335"/>
              <a:gd name="connsiteX5342" fmla="*/ 2582581 w 13768337"/>
              <a:gd name="connsiteY5342" fmla="*/ 1612003 h 5071335"/>
              <a:gd name="connsiteX5343" fmla="*/ 2695649 w 13768337"/>
              <a:gd name="connsiteY5343" fmla="*/ 1607822 h 5071335"/>
              <a:gd name="connsiteX5344" fmla="*/ 2718355 w 13768337"/>
              <a:gd name="connsiteY5344" fmla="*/ 1607822 h 5071335"/>
              <a:gd name="connsiteX5345" fmla="*/ 2695649 w 13768337"/>
              <a:gd name="connsiteY5345" fmla="*/ 1607822 h 5071335"/>
              <a:gd name="connsiteX5346" fmla="*/ 4259760 w 13768337"/>
              <a:gd name="connsiteY5346" fmla="*/ 1606726 h 5071335"/>
              <a:gd name="connsiteX5347" fmla="*/ 4247133 w 13768337"/>
              <a:gd name="connsiteY5347" fmla="*/ 1608242 h 5071335"/>
              <a:gd name="connsiteX5348" fmla="*/ 4246691 w 13768337"/>
              <a:gd name="connsiteY5348" fmla="*/ 1608247 h 5071335"/>
              <a:gd name="connsiteX5349" fmla="*/ 4247810 w 13768337"/>
              <a:gd name="connsiteY5349" fmla="*/ 1614682 h 5071335"/>
              <a:gd name="connsiteX5350" fmla="*/ 4252389 w 13768337"/>
              <a:gd name="connsiteY5350" fmla="*/ 1614132 h 5071335"/>
              <a:gd name="connsiteX5351" fmla="*/ 4259760 w 13768337"/>
              <a:gd name="connsiteY5351" fmla="*/ 1606726 h 5071335"/>
              <a:gd name="connsiteX5352" fmla="*/ 2967661 w 13768337"/>
              <a:gd name="connsiteY5352" fmla="*/ 1606428 h 5071335"/>
              <a:gd name="connsiteX5353" fmla="*/ 2904177 w 13768337"/>
              <a:gd name="connsiteY5353" fmla="*/ 1632210 h 5071335"/>
              <a:gd name="connsiteX5354" fmla="*/ 2967661 w 13768337"/>
              <a:gd name="connsiteY5354" fmla="*/ 1606428 h 5071335"/>
              <a:gd name="connsiteX5355" fmla="*/ 4117636 w 13768337"/>
              <a:gd name="connsiteY5355" fmla="*/ 1606210 h 5071335"/>
              <a:gd name="connsiteX5356" fmla="*/ 4114619 w 13768337"/>
              <a:gd name="connsiteY5356" fmla="*/ 1606723 h 5071335"/>
              <a:gd name="connsiteX5357" fmla="*/ 4110279 w 13768337"/>
              <a:gd name="connsiteY5357" fmla="*/ 1606278 h 5071335"/>
              <a:gd name="connsiteX5358" fmla="*/ 4107303 w 13768337"/>
              <a:gd name="connsiteY5358" fmla="*/ 1611011 h 5071335"/>
              <a:gd name="connsiteX5359" fmla="*/ 4102669 w 13768337"/>
              <a:gd name="connsiteY5359" fmla="*/ 1621638 h 5071335"/>
              <a:gd name="connsiteX5360" fmla="*/ 4109612 w 13768337"/>
              <a:gd name="connsiteY5360" fmla="*/ 1620822 h 5071335"/>
              <a:gd name="connsiteX5361" fmla="*/ 4110912 w 13768337"/>
              <a:gd name="connsiteY5361" fmla="*/ 1616323 h 5071335"/>
              <a:gd name="connsiteX5362" fmla="*/ 4115025 w 13768337"/>
              <a:gd name="connsiteY5362" fmla="*/ 1610609 h 5071335"/>
              <a:gd name="connsiteX5363" fmla="*/ 4121512 w 13768337"/>
              <a:gd name="connsiteY5363" fmla="*/ 1610609 h 5071335"/>
              <a:gd name="connsiteX5364" fmla="*/ 4121687 w 13768337"/>
              <a:gd name="connsiteY5364" fmla="*/ 1619156 h 5071335"/>
              <a:gd name="connsiteX5365" fmla="*/ 4128019 w 13768337"/>
              <a:gd name="connsiteY5365" fmla="*/ 1616367 h 5071335"/>
              <a:gd name="connsiteX5366" fmla="*/ 4130474 w 13768337"/>
              <a:gd name="connsiteY5366" fmla="*/ 1609096 h 5071335"/>
              <a:gd name="connsiteX5367" fmla="*/ 4119467 w 13768337"/>
              <a:gd name="connsiteY5367" fmla="*/ 1608242 h 5071335"/>
              <a:gd name="connsiteX5368" fmla="*/ 2205841 w 13768337"/>
              <a:gd name="connsiteY5368" fmla="*/ 1605453 h 5071335"/>
              <a:gd name="connsiteX5369" fmla="*/ 2216037 w 13768337"/>
              <a:gd name="connsiteY5369" fmla="*/ 1606428 h 5071335"/>
              <a:gd name="connsiteX5370" fmla="*/ 2229475 w 13768337"/>
              <a:gd name="connsiteY5370" fmla="*/ 1620365 h 5071335"/>
              <a:gd name="connsiteX5371" fmla="*/ 2201207 w 13768337"/>
              <a:gd name="connsiteY5371" fmla="*/ 1608798 h 5071335"/>
              <a:gd name="connsiteX5372" fmla="*/ 2205841 w 13768337"/>
              <a:gd name="connsiteY5372" fmla="*/ 1605453 h 5071335"/>
              <a:gd name="connsiteX5373" fmla="*/ 3734579 w 13768337"/>
              <a:gd name="connsiteY5373" fmla="*/ 1601271 h 5071335"/>
              <a:gd name="connsiteX5374" fmla="*/ 3756357 w 13768337"/>
              <a:gd name="connsiteY5374" fmla="*/ 1609077 h 5071335"/>
              <a:gd name="connsiteX5375" fmla="*/ 3727164 w 13768337"/>
              <a:gd name="connsiteY5375" fmla="*/ 1614790 h 5071335"/>
              <a:gd name="connsiteX5376" fmla="*/ 3730870 w 13768337"/>
              <a:gd name="connsiteY5376" fmla="*/ 1601690 h 5071335"/>
              <a:gd name="connsiteX5377" fmla="*/ 3734579 w 13768337"/>
              <a:gd name="connsiteY5377" fmla="*/ 1601271 h 5071335"/>
              <a:gd name="connsiteX5378" fmla="*/ 4175265 w 13768337"/>
              <a:gd name="connsiteY5378" fmla="*/ 1599878 h 5071335"/>
              <a:gd name="connsiteX5379" fmla="*/ 4170632 w 13768337"/>
              <a:gd name="connsiteY5379" fmla="*/ 1605453 h 5071335"/>
              <a:gd name="connsiteX5380" fmla="*/ 4168777 w 13768337"/>
              <a:gd name="connsiteY5380" fmla="*/ 1606428 h 5071335"/>
              <a:gd name="connsiteX5381" fmla="*/ 4165621 w 13768337"/>
              <a:gd name="connsiteY5381" fmla="*/ 1613514 h 5071335"/>
              <a:gd name="connsiteX5382" fmla="*/ 4166770 w 13768337"/>
              <a:gd name="connsiteY5382" fmla="*/ 1614014 h 5071335"/>
              <a:gd name="connsiteX5383" fmla="*/ 4170858 w 13768337"/>
              <a:gd name="connsiteY5383" fmla="*/ 1612284 h 5071335"/>
              <a:gd name="connsiteX5384" fmla="*/ 4176193 w 13768337"/>
              <a:gd name="connsiteY5384" fmla="*/ 1603501 h 5071335"/>
              <a:gd name="connsiteX5385" fmla="*/ 4176023 w 13768337"/>
              <a:gd name="connsiteY5385" fmla="*/ 1608269 h 5071335"/>
              <a:gd name="connsiteX5386" fmla="*/ 4183264 w 13768337"/>
              <a:gd name="connsiteY5386" fmla="*/ 1600577 h 5071335"/>
              <a:gd name="connsiteX5387" fmla="*/ 4248638 w 13768337"/>
              <a:gd name="connsiteY5387" fmla="*/ 1594602 h 5071335"/>
              <a:gd name="connsiteX5388" fmla="*/ 4239833 w 13768337"/>
              <a:gd name="connsiteY5388" fmla="*/ 1596413 h 5071335"/>
              <a:gd name="connsiteX5389" fmla="*/ 4233224 w 13768337"/>
              <a:gd name="connsiteY5389" fmla="*/ 1603040 h 5071335"/>
              <a:gd name="connsiteX5390" fmla="*/ 4234523 w 13768337"/>
              <a:gd name="connsiteY5390" fmla="*/ 1602666 h 5071335"/>
              <a:gd name="connsiteX5391" fmla="*/ 4245238 w 13768337"/>
              <a:gd name="connsiteY5391" fmla="*/ 1599878 h 5071335"/>
              <a:gd name="connsiteX5392" fmla="*/ 4245880 w 13768337"/>
              <a:gd name="connsiteY5392" fmla="*/ 1603574 h 5071335"/>
              <a:gd name="connsiteX5393" fmla="*/ 4251361 w 13768337"/>
              <a:gd name="connsiteY5393" fmla="*/ 1603416 h 5071335"/>
              <a:gd name="connsiteX5394" fmla="*/ 4258833 w 13768337"/>
              <a:gd name="connsiteY5394" fmla="*/ 1597807 h 5071335"/>
              <a:gd name="connsiteX5395" fmla="*/ 4248638 w 13768337"/>
              <a:gd name="connsiteY5395" fmla="*/ 1594602 h 5071335"/>
              <a:gd name="connsiteX5396" fmla="*/ 3116732 w 13768337"/>
              <a:gd name="connsiteY5396" fmla="*/ 1592547 h 5071335"/>
              <a:gd name="connsiteX5397" fmla="*/ 3115938 w 13768337"/>
              <a:gd name="connsiteY5397" fmla="*/ 1593174 h 5071335"/>
              <a:gd name="connsiteX5398" fmla="*/ 3116487 w 13768337"/>
              <a:gd name="connsiteY5398" fmla="*/ 1593121 h 5071335"/>
              <a:gd name="connsiteX5399" fmla="*/ 1389340 w 13768337"/>
              <a:gd name="connsiteY5399" fmla="*/ 1588590 h 5071335"/>
              <a:gd name="connsiteX5400" fmla="*/ 1420851 w 13768337"/>
              <a:gd name="connsiteY5400" fmla="*/ 1595697 h 5071335"/>
              <a:gd name="connsiteX5401" fmla="*/ 1381000 w 13768337"/>
              <a:gd name="connsiteY5401" fmla="*/ 1595697 h 5071335"/>
              <a:gd name="connsiteX5402" fmla="*/ 1389340 w 13768337"/>
              <a:gd name="connsiteY5402" fmla="*/ 1588590 h 5071335"/>
              <a:gd name="connsiteX5403" fmla="*/ 3617803 w 13768337"/>
              <a:gd name="connsiteY5403" fmla="*/ 1587197 h 5071335"/>
              <a:gd name="connsiteX5404" fmla="*/ 3604363 w 13768337"/>
              <a:gd name="connsiteY5404" fmla="*/ 1606428 h 5071335"/>
              <a:gd name="connsiteX5405" fmla="*/ 3617803 w 13768337"/>
              <a:gd name="connsiteY5405" fmla="*/ 1618832 h 5071335"/>
              <a:gd name="connsiteX5406" fmla="*/ 3589535 w 13768337"/>
              <a:gd name="connsiteY5406" fmla="*/ 1608798 h 5071335"/>
              <a:gd name="connsiteX5407" fmla="*/ 3594633 w 13768337"/>
              <a:gd name="connsiteY5407" fmla="*/ 1606428 h 5071335"/>
              <a:gd name="connsiteX5408" fmla="*/ 3617803 w 13768337"/>
              <a:gd name="connsiteY5408" fmla="*/ 1587197 h 5071335"/>
              <a:gd name="connsiteX5409" fmla="*/ 4448825 w 13768337"/>
              <a:gd name="connsiteY5409" fmla="*/ 1585124 h 5071335"/>
              <a:gd name="connsiteX5410" fmla="*/ 4448336 w 13768337"/>
              <a:gd name="connsiteY5410" fmla="*/ 1585159 h 5071335"/>
              <a:gd name="connsiteX5411" fmla="*/ 4448678 w 13768337"/>
              <a:gd name="connsiteY5411" fmla="*/ 1585400 h 5071335"/>
              <a:gd name="connsiteX5412" fmla="*/ 12784324 w 13768337"/>
              <a:gd name="connsiteY5412" fmla="*/ 1581427 h 5071335"/>
              <a:gd name="connsiteX5413" fmla="*/ 12806567 w 13768337"/>
              <a:gd name="connsiteY5413" fmla="*/ 1592018 h 5071335"/>
              <a:gd name="connsiteX5414" fmla="*/ 12792201 w 13768337"/>
              <a:gd name="connsiteY5414" fmla="*/ 1605675 h 5071335"/>
              <a:gd name="connsiteX5415" fmla="*/ 12817224 w 13768337"/>
              <a:gd name="connsiteY5415" fmla="*/ 1615152 h 5071335"/>
              <a:gd name="connsiteX5416" fmla="*/ 12828346 w 13768337"/>
              <a:gd name="connsiteY5416" fmla="*/ 1659887 h 5071335"/>
              <a:gd name="connsiteX5417" fmla="*/ 12792201 w 13768337"/>
              <a:gd name="connsiteY5417" fmla="*/ 1630064 h 5071335"/>
              <a:gd name="connsiteX5418" fmla="*/ 12781080 w 13768337"/>
              <a:gd name="connsiteY5418" fmla="*/ 1644139 h 5071335"/>
              <a:gd name="connsiteX5419" fmla="*/ 12748179 w 13768337"/>
              <a:gd name="connsiteY5419" fmla="*/ 1632851 h 5071335"/>
              <a:gd name="connsiteX5420" fmla="*/ 12738913 w 13768337"/>
              <a:gd name="connsiteY5420" fmla="*/ 1622260 h 5071335"/>
              <a:gd name="connsiteX5421" fmla="*/ 12743546 w 13768337"/>
              <a:gd name="connsiteY5421" fmla="*/ 1605675 h 5071335"/>
              <a:gd name="connsiteX5422" fmla="*/ 12727791 w 13768337"/>
              <a:gd name="connsiteY5422" fmla="*/ 1599126 h 5071335"/>
              <a:gd name="connsiteX5423" fmla="*/ 12784324 w 13768337"/>
              <a:gd name="connsiteY5423" fmla="*/ 1581427 h 5071335"/>
              <a:gd name="connsiteX5424" fmla="*/ 2977393 w 13768337"/>
              <a:gd name="connsiteY5424" fmla="*/ 1579671 h 5071335"/>
              <a:gd name="connsiteX5425" fmla="*/ 2940784 w 13768337"/>
              <a:gd name="connsiteY5425" fmla="*/ 1595697 h 5071335"/>
              <a:gd name="connsiteX5426" fmla="*/ 2977393 w 13768337"/>
              <a:gd name="connsiteY5426" fmla="*/ 1606428 h 5071335"/>
              <a:gd name="connsiteX5427" fmla="*/ 2985270 w 13768337"/>
              <a:gd name="connsiteY5427" fmla="*/ 1601132 h 5071335"/>
              <a:gd name="connsiteX5428" fmla="*/ 2999635 w 13768337"/>
              <a:gd name="connsiteY5428" fmla="*/ 1617019 h 5071335"/>
              <a:gd name="connsiteX5429" fmla="*/ 2977393 w 13768337"/>
              <a:gd name="connsiteY5429" fmla="*/ 1632210 h 5071335"/>
              <a:gd name="connsiteX5430" fmla="*/ 3014000 w 13768337"/>
              <a:gd name="connsiteY5430" fmla="*/ 1606428 h 5071335"/>
              <a:gd name="connsiteX5431" fmla="*/ 2977393 w 13768337"/>
              <a:gd name="connsiteY5431" fmla="*/ 1579671 h 5071335"/>
              <a:gd name="connsiteX5432" fmla="*/ 4394607 w 13768337"/>
              <a:gd name="connsiteY5432" fmla="*/ 1578574 h 5071335"/>
              <a:gd name="connsiteX5433" fmla="*/ 4393770 w 13768337"/>
              <a:gd name="connsiteY5433" fmla="*/ 1578912 h 5071335"/>
              <a:gd name="connsiteX5434" fmla="*/ 4394359 w 13768337"/>
              <a:gd name="connsiteY5434" fmla="*/ 1578890 h 5071335"/>
              <a:gd name="connsiteX5435" fmla="*/ 4477587 w 13768337"/>
              <a:gd name="connsiteY5435" fmla="*/ 1577827 h 5071335"/>
              <a:gd name="connsiteX5436" fmla="*/ 4469040 w 13768337"/>
              <a:gd name="connsiteY5436" fmla="*/ 1580857 h 5071335"/>
              <a:gd name="connsiteX5437" fmla="*/ 4460409 w 13768337"/>
              <a:gd name="connsiteY5437" fmla="*/ 1586519 h 5071335"/>
              <a:gd name="connsiteX5438" fmla="*/ 4460409 w 13768337"/>
              <a:gd name="connsiteY5438" fmla="*/ 1590133 h 5071335"/>
              <a:gd name="connsiteX5439" fmla="*/ 4468594 w 13768337"/>
              <a:gd name="connsiteY5439" fmla="*/ 1590402 h 5071335"/>
              <a:gd name="connsiteX5440" fmla="*/ 4478326 w 13768337"/>
              <a:gd name="connsiteY5440" fmla="*/ 1579671 h 5071335"/>
              <a:gd name="connsiteX5441" fmla="*/ 2838838 w 13768337"/>
              <a:gd name="connsiteY5441" fmla="*/ 1571170 h 5071335"/>
              <a:gd name="connsiteX5442" fmla="*/ 2811497 w 13768337"/>
              <a:gd name="connsiteY5442" fmla="*/ 1590402 h 5071335"/>
              <a:gd name="connsiteX5443" fmla="*/ 2847641 w 13768337"/>
              <a:gd name="connsiteY5443" fmla="*/ 1574376 h 5071335"/>
              <a:gd name="connsiteX5444" fmla="*/ 2838838 w 13768337"/>
              <a:gd name="connsiteY5444" fmla="*/ 1571170 h 5071335"/>
              <a:gd name="connsiteX5445" fmla="*/ 4571624 w 13768337"/>
              <a:gd name="connsiteY5445" fmla="*/ 1570631 h 5071335"/>
              <a:gd name="connsiteX5446" fmla="*/ 4563283 w 13768337"/>
              <a:gd name="connsiteY5446" fmla="*/ 1572444 h 5071335"/>
              <a:gd name="connsiteX5447" fmla="*/ 4566063 w 13768337"/>
              <a:gd name="connsiteY5447" fmla="*/ 1576764 h 5071335"/>
              <a:gd name="connsiteX5448" fmla="*/ 4567917 w 13768337"/>
              <a:gd name="connsiteY5448" fmla="*/ 1577181 h 5071335"/>
              <a:gd name="connsiteX5449" fmla="*/ 4571624 w 13768337"/>
              <a:gd name="connsiteY5449" fmla="*/ 1570631 h 5071335"/>
              <a:gd name="connsiteX5450" fmla="*/ 4510457 w 13768337"/>
              <a:gd name="connsiteY5450" fmla="*/ 1568820 h 5071335"/>
              <a:gd name="connsiteX5451" fmla="*/ 4497481 w 13768337"/>
              <a:gd name="connsiteY5451" fmla="*/ 1569656 h 5071335"/>
              <a:gd name="connsiteX5452" fmla="*/ 4504895 w 13768337"/>
              <a:gd name="connsiteY5452" fmla="*/ 1574813 h 5071335"/>
              <a:gd name="connsiteX5453" fmla="*/ 4510457 w 13768337"/>
              <a:gd name="connsiteY5453" fmla="*/ 1568820 h 5071335"/>
              <a:gd name="connsiteX5454" fmla="*/ 1285077 w 13768337"/>
              <a:gd name="connsiteY5454" fmla="*/ 1561972 h 5071335"/>
              <a:gd name="connsiteX5455" fmla="*/ 1306856 w 13768337"/>
              <a:gd name="connsiteY5455" fmla="*/ 1582458 h 5071335"/>
              <a:gd name="connsiteX5456" fmla="*/ 1298979 w 13768337"/>
              <a:gd name="connsiteY5456" fmla="*/ 1577302 h 5071335"/>
              <a:gd name="connsiteX5457" fmla="*/ 1280442 w 13768337"/>
              <a:gd name="connsiteY5457" fmla="*/ 1582458 h 5071335"/>
              <a:gd name="connsiteX5458" fmla="*/ 1285077 w 13768337"/>
              <a:gd name="connsiteY5458" fmla="*/ 1561972 h 5071335"/>
              <a:gd name="connsiteX5459" fmla="*/ 2174794 w 13768337"/>
              <a:gd name="connsiteY5459" fmla="*/ 1559882 h 5071335"/>
              <a:gd name="connsiteX5460" fmla="*/ 2181744 w 13768337"/>
              <a:gd name="connsiteY5460" fmla="*/ 1562808 h 5071335"/>
              <a:gd name="connsiteX5461" fmla="*/ 2181744 w 13768337"/>
              <a:gd name="connsiteY5461" fmla="*/ 1578834 h 5071335"/>
              <a:gd name="connsiteX5462" fmla="*/ 2170624 w 13768337"/>
              <a:gd name="connsiteY5462" fmla="*/ 1560160 h 5071335"/>
              <a:gd name="connsiteX5463" fmla="*/ 2174794 w 13768337"/>
              <a:gd name="connsiteY5463" fmla="*/ 1559882 h 5071335"/>
              <a:gd name="connsiteX5464" fmla="*/ 2921322 w 13768337"/>
              <a:gd name="connsiteY5464" fmla="*/ 1558070 h 5071335"/>
              <a:gd name="connsiteX5465" fmla="*/ 2931054 w 13768337"/>
              <a:gd name="connsiteY5465" fmla="*/ 1579671 h 5071335"/>
              <a:gd name="connsiteX5466" fmla="*/ 2945418 w 13768337"/>
              <a:gd name="connsiteY5466" fmla="*/ 1563784 h 5071335"/>
              <a:gd name="connsiteX5467" fmla="*/ 2921322 w 13768337"/>
              <a:gd name="connsiteY5467" fmla="*/ 1558070 h 5071335"/>
              <a:gd name="connsiteX5468" fmla="*/ 2421319 w 13768337"/>
              <a:gd name="connsiteY5468" fmla="*/ 1558070 h 5071335"/>
              <a:gd name="connsiteX5469" fmla="*/ 2448196 w 13768337"/>
              <a:gd name="connsiteY5469" fmla="*/ 1568940 h 5071335"/>
              <a:gd name="connsiteX5470" fmla="*/ 2384247 w 13768337"/>
              <a:gd name="connsiteY5470" fmla="*/ 1574376 h 5071335"/>
              <a:gd name="connsiteX5471" fmla="*/ 2421319 w 13768337"/>
              <a:gd name="connsiteY5471" fmla="*/ 1558070 h 5071335"/>
              <a:gd name="connsiteX5472" fmla="*/ 2026044 w 13768337"/>
              <a:gd name="connsiteY5472" fmla="*/ 1558070 h 5071335"/>
              <a:gd name="connsiteX5473" fmla="*/ 2066360 w 13768337"/>
              <a:gd name="connsiteY5473" fmla="*/ 1573121 h 5071335"/>
              <a:gd name="connsiteX5474" fmla="*/ 2052458 w 13768337"/>
              <a:gd name="connsiteY5474" fmla="*/ 1588590 h 5071335"/>
              <a:gd name="connsiteX5475" fmla="*/ 2003802 w 13768337"/>
              <a:gd name="connsiteY5475" fmla="*/ 1578277 h 5071335"/>
              <a:gd name="connsiteX5476" fmla="*/ 2026044 w 13768337"/>
              <a:gd name="connsiteY5476" fmla="*/ 1558070 h 5071335"/>
              <a:gd name="connsiteX5477" fmla="*/ 2338372 w 13768337"/>
              <a:gd name="connsiteY5477" fmla="*/ 1556258 h 5071335"/>
              <a:gd name="connsiteX5478" fmla="*/ 2349493 w 13768337"/>
              <a:gd name="connsiteY5478" fmla="*/ 1561414 h 5071335"/>
              <a:gd name="connsiteX5479" fmla="*/ 2336518 w 13768337"/>
              <a:gd name="connsiteY5479" fmla="*/ 1583016 h 5071335"/>
              <a:gd name="connsiteX5480" fmla="*/ 2338372 w 13768337"/>
              <a:gd name="connsiteY5480" fmla="*/ 1556258 h 5071335"/>
              <a:gd name="connsiteX5481" fmla="*/ 4370611 w 13768337"/>
              <a:gd name="connsiteY5481" fmla="*/ 1556000 h 5071335"/>
              <a:gd name="connsiteX5482" fmla="*/ 4364776 w 13768337"/>
              <a:gd name="connsiteY5482" fmla="*/ 1557200 h 5071335"/>
              <a:gd name="connsiteX5483" fmla="*/ 4361936 w 13768337"/>
              <a:gd name="connsiteY5483" fmla="*/ 1562518 h 5071335"/>
              <a:gd name="connsiteX5484" fmla="*/ 4365258 w 13768337"/>
              <a:gd name="connsiteY5484" fmla="*/ 1562250 h 5071335"/>
              <a:gd name="connsiteX5485" fmla="*/ 4643450 w 13768337"/>
              <a:gd name="connsiteY5485" fmla="*/ 1555162 h 5071335"/>
              <a:gd name="connsiteX5486" fmla="*/ 4577649 w 13768337"/>
              <a:gd name="connsiteY5486" fmla="*/ 1569098 h 5071335"/>
              <a:gd name="connsiteX5487" fmla="*/ 4600354 w 13768337"/>
              <a:gd name="connsiteY5487" fmla="*/ 1580387 h 5071335"/>
              <a:gd name="connsiteX5488" fmla="*/ 4611941 w 13768337"/>
              <a:gd name="connsiteY5488" fmla="*/ 1580108 h 5071335"/>
              <a:gd name="connsiteX5489" fmla="*/ 4634182 w 13768337"/>
              <a:gd name="connsiteY5489" fmla="*/ 1567844 h 5071335"/>
              <a:gd name="connsiteX5490" fmla="*/ 4638999 w 13768337"/>
              <a:gd name="connsiteY5490" fmla="*/ 1574975 h 5071335"/>
              <a:gd name="connsiteX5491" fmla="*/ 4642367 w 13768337"/>
              <a:gd name="connsiteY5491" fmla="*/ 1574376 h 5071335"/>
              <a:gd name="connsiteX5492" fmla="*/ 4641868 w 13768337"/>
              <a:gd name="connsiteY5492" fmla="*/ 1576542 h 5071335"/>
              <a:gd name="connsiteX5493" fmla="*/ 4644376 w 13768337"/>
              <a:gd name="connsiteY5493" fmla="*/ 1576206 h 5071335"/>
              <a:gd name="connsiteX5494" fmla="*/ 4643450 w 13768337"/>
              <a:gd name="connsiteY5494" fmla="*/ 1555162 h 5071335"/>
              <a:gd name="connsiteX5495" fmla="*/ 4374681 w 13768337"/>
              <a:gd name="connsiteY5495" fmla="*/ 1555162 h 5071335"/>
              <a:gd name="connsiteX5496" fmla="*/ 4374284 w 13768337"/>
              <a:gd name="connsiteY5496" fmla="*/ 1555244 h 5071335"/>
              <a:gd name="connsiteX5497" fmla="*/ 4378601 w 13768337"/>
              <a:gd name="connsiteY5497" fmla="*/ 1563479 h 5071335"/>
              <a:gd name="connsiteX5498" fmla="*/ 4381116 w 13768337"/>
              <a:gd name="connsiteY5498" fmla="*/ 1563870 h 5071335"/>
              <a:gd name="connsiteX5499" fmla="*/ 4383587 w 13768337"/>
              <a:gd name="connsiteY5499" fmla="*/ 1563701 h 5071335"/>
              <a:gd name="connsiteX5500" fmla="*/ 4389361 w 13768337"/>
              <a:gd name="connsiteY5500" fmla="*/ 1560500 h 5071335"/>
              <a:gd name="connsiteX5501" fmla="*/ 4394057 w 13768337"/>
              <a:gd name="connsiteY5501" fmla="*/ 1559587 h 5071335"/>
              <a:gd name="connsiteX5502" fmla="*/ 4395998 w 13768337"/>
              <a:gd name="connsiteY5502" fmla="*/ 1555720 h 5071335"/>
              <a:gd name="connsiteX5503" fmla="*/ 4374681 w 13768337"/>
              <a:gd name="connsiteY5503" fmla="*/ 1555162 h 5071335"/>
              <a:gd name="connsiteX5504" fmla="*/ 11719909 w 13768337"/>
              <a:gd name="connsiteY5504" fmla="*/ 1553275 h 5071335"/>
              <a:gd name="connsiteX5505" fmla="*/ 11718981 w 13768337"/>
              <a:gd name="connsiteY5505" fmla="*/ 1553833 h 5071335"/>
              <a:gd name="connsiteX5506" fmla="*/ 11711104 w 13768337"/>
              <a:gd name="connsiteY5506" fmla="*/ 1564425 h 5071335"/>
              <a:gd name="connsiteX5507" fmla="*/ 11712495 w 13768337"/>
              <a:gd name="connsiteY5507" fmla="*/ 1570138 h 5071335"/>
              <a:gd name="connsiteX5508" fmla="*/ 11720836 w 13768337"/>
              <a:gd name="connsiteY5508" fmla="*/ 1556621 h 5071335"/>
              <a:gd name="connsiteX5509" fmla="*/ 11719909 w 13768337"/>
              <a:gd name="connsiteY5509" fmla="*/ 1553275 h 5071335"/>
              <a:gd name="connsiteX5510" fmla="*/ 4654572 w 13768337"/>
              <a:gd name="connsiteY5510" fmla="*/ 1552793 h 5071335"/>
              <a:gd name="connsiteX5511" fmla="*/ 4647157 w 13768337"/>
              <a:gd name="connsiteY5511" fmla="*/ 1554326 h 5071335"/>
              <a:gd name="connsiteX5512" fmla="*/ 4654572 w 13768337"/>
              <a:gd name="connsiteY5512" fmla="*/ 1558089 h 5071335"/>
              <a:gd name="connsiteX5513" fmla="*/ 4654572 w 13768337"/>
              <a:gd name="connsiteY5513" fmla="*/ 1552793 h 5071335"/>
              <a:gd name="connsiteX5514" fmla="*/ 11738909 w 13768337"/>
              <a:gd name="connsiteY5514" fmla="*/ 1552300 h 5071335"/>
              <a:gd name="connsiteX5515" fmla="*/ 11733810 w 13768337"/>
              <a:gd name="connsiteY5515" fmla="*/ 1555645 h 5071335"/>
              <a:gd name="connsiteX5516" fmla="*/ 11737054 w 13768337"/>
              <a:gd name="connsiteY5516" fmla="*/ 1559408 h 5071335"/>
              <a:gd name="connsiteX5517" fmla="*/ 11715739 w 13768337"/>
              <a:gd name="connsiteY5517" fmla="*/ 1570138 h 5071335"/>
              <a:gd name="connsiteX5518" fmla="*/ 11716664 w 13768337"/>
              <a:gd name="connsiteY5518" fmla="*/ 1573343 h 5071335"/>
              <a:gd name="connsiteX5519" fmla="*/ 11757444 w 13768337"/>
              <a:gd name="connsiteY5519" fmla="*/ 1573901 h 5071335"/>
              <a:gd name="connsiteX5520" fmla="*/ 11769955 w 13768337"/>
              <a:gd name="connsiteY5520" fmla="*/ 1603864 h 5071335"/>
              <a:gd name="connsiteX5521" fmla="*/ 11782931 w 13768337"/>
              <a:gd name="connsiteY5521" fmla="*/ 1596757 h 5071335"/>
              <a:gd name="connsiteX5522" fmla="*/ 11783393 w 13768337"/>
              <a:gd name="connsiteY5522" fmla="*/ 1596477 h 5071335"/>
              <a:gd name="connsiteX5523" fmla="*/ 11786638 w 13768337"/>
              <a:gd name="connsiteY5523" fmla="*/ 1590206 h 5071335"/>
              <a:gd name="connsiteX5524" fmla="*/ 11776442 w 13768337"/>
              <a:gd name="connsiteY5524" fmla="*/ 1581427 h 5071335"/>
              <a:gd name="connsiteX5525" fmla="*/ 11771810 w 13768337"/>
              <a:gd name="connsiteY5525" fmla="*/ 1580451 h 5071335"/>
              <a:gd name="connsiteX5526" fmla="*/ 11774127 w 13768337"/>
              <a:gd name="connsiteY5526" fmla="*/ 1579058 h 5071335"/>
              <a:gd name="connsiteX5527" fmla="*/ 11738909 w 13768337"/>
              <a:gd name="connsiteY5527" fmla="*/ 1552300 h 5071335"/>
              <a:gd name="connsiteX5528" fmla="*/ 4669285 w 13768337"/>
              <a:gd name="connsiteY5528" fmla="*/ 1552020 h 5071335"/>
              <a:gd name="connsiteX5529" fmla="*/ 4668938 w 13768337"/>
              <a:gd name="connsiteY5529" fmla="*/ 1559343 h 5071335"/>
              <a:gd name="connsiteX5530" fmla="*/ 4674035 w 13768337"/>
              <a:gd name="connsiteY5530" fmla="*/ 1562688 h 5071335"/>
              <a:gd name="connsiteX5531" fmla="*/ 4673108 w 13768337"/>
              <a:gd name="connsiteY5531" fmla="*/ 1564081 h 5071335"/>
              <a:gd name="connsiteX5532" fmla="*/ 4675902 w 13768337"/>
              <a:gd name="connsiteY5532" fmla="*/ 1563435 h 5071335"/>
              <a:gd name="connsiteX5533" fmla="*/ 4675210 w 13768337"/>
              <a:gd name="connsiteY5533" fmla="*/ 1562320 h 5071335"/>
              <a:gd name="connsiteX5534" fmla="*/ 4673973 w 13768337"/>
              <a:gd name="connsiteY5534" fmla="*/ 1552807 h 5071335"/>
              <a:gd name="connsiteX5535" fmla="*/ 4672644 w 13768337"/>
              <a:gd name="connsiteY5535" fmla="*/ 1553350 h 5071335"/>
              <a:gd name="connsiteX5536" fmla="*/ 4673596 w 13768337"/>
              <a:gd name="connsiteY5536" fmla="*/ 1552074 h 5071335"/>
              <a:gd name="connsiteX5537" fmla="*/ 4658509 w 13768337"/>
              <a:gd name="connsiteY5537" fmla="*/ 1551809 h 5071335"/>
              <a:gd name="connsiteX5538" fmla="*/ 4657816 w 13768337"/>
              <a:gd name="connsiteY5538" fmla="*/ 1551957 h 5071335"/>
              <a:gd name="connsiteX5539" fmla="*/ 4663838 w 13768337"/>
              <a:gd name="connsiteY5539" fmla="*/ 1555720 h 5071335"/>
              <a:gd name="connsiteX5540" fmla="*/ 4666939 w 13768337"/>
              <a:gd name="connsiteY5540" fmla="*/ 1551991 h 5071335"/>
              <a:gd name="connsiteX5541" fmla="*/ 4659861 w 13768337"/>
              <a:gd name="connsiteY5541" fmla="*/ 1551903 h 5071335"/>
              <a:gd name="connsiteX5542" fmla="*/ 1188228 w 13768337"/>
              <a:gd name="connsiteY5542" fmla="*/ 1548873 h 5071335"/>
              <a:gd name="connsiteX5543" fmla="*/ 1208154 w 13768337"/>
              <a:gd name="connsiteY5543" fmla="*/ 1552077 h 5071335"/>
              <a:gd name="connsiteX5544" fmla="*/ 1173862 w 13768337"/>
              <a:gd name="connsiteY5544" fmla="*/ 1562808 h 5071335"/>
              <a:gd name="connsiteX5545" fmla="*/ 1188228 w 13768337"/>
              <a:gd name="connsiteY5545" fmla="*/ 1548873 h 5071335"/>
              <a:gd name="connsiteX5546" fmla="*/ 4437703 w 13768337"/>
              <a:gd name="connsiteY5546" fmla="*/ 1545686 h 5071335"/>
              <a:gd name="connsiteX5547" fmla="*/ 4427973 w 13768337"/>
              <a:gd name="connsiteY5547" fmla="*/ 1549169 h 5071335"/>
              <a:gd name="connsiteX5548" fmla="*/ 4418240 w 13768337"/>
              <a:gd name="connsiteY5548" fmla="*/ 1555162 h 5071335"/>
              <a:gd name="connsiteX5549" fmla="*/ 4405265 w 13768337"/>
              <a:gd name="connsiteY5549" fmla="*/ 1563524 h 5071335"/>
              <a:gd name="connsiteX5550" fmla="*/ 4459483 w 13768337"/>
              <a:gd name="connsiteY5550" fmla="*/ 1558089 h 5071335"/>
              <a:gd name="connsiteX5551" fmla="*/ 4446971 w 13768337"/>
              <a:gd name="connsiteY5551" fmla="*/ 1545686 h 5071335"/>
              <a:gd name="connsiteX5552" fmla="*/ 4437703 w 13768337"/>
              <a:gd name="connsiteY5552" fmla="*/ 1545686 h 5071335"/>
              <a:gd name="connsiteX5553" fmla="*/ 11680521 w 13768337"/>
              <a:gd name="connsiteY5553" fmla="*/ 1540734 h 5071335"/>
              <a:gd name="connsiteX5554" fmla="*/ 11674032 w 13768337"/>
              <a:gd name="connsiteY5554" fmla="*/ 1544356 h 5071335"/>
              <a:gd name="connsiteX5555" fmla="*/ 11680056 w 13768337"/>
              <a:gd name="connsiteY5555" fmla="*/ 1548119 h 5071335"/>
              <a:gd name="connsiteX5556" fmla="*/ 11672180 w 13768337"/>
              <a:gd name="connsiteY5556" fmla="*/ 1546308 h 5071335"/>
              <a:gd name="connsiteX5557" fmla="*/ 11671252 w 13768337"/>
              <a:gd name="connsiteY5557" fmla="*/ 1546726 h 5071335"/>
              <a:gd name="connsiteX5558" fmla="*/ 11670790 w 13768337"/>
              <a:gd name="connsiteY5558" fmla="*/ 1548677 h 5071335"/>
              <a:gd name="connsiteX5559" fmla="*/ 11674497 w 13768337"/>
              <a:gd name="connsiteY5559" fmla="*/ 1555645 h 5071335"/>
              <a:gd name="connsiteX5560" fmla="*/ 11667082 w 13768337"/>
              <a:gd name="connsiteY5560" fmla="*/ 1558014 h 5071335"/>
              <a:gd name="connsiteX5561" fmla="*/ 11666156 w 13768337"/>
              <a:gd name="connsiteY5561" fmla="*/ 1560801 h 5071335"/>
              <a:gd name="connsiteX5562" fmla="*/ 11694422 w 13768337"/>
              <a:gd name="connsiteY5562" fmla="*/ 1568327 h 5071335"/>
              <a:gd name="connsiteX5563" fmla="*/ 11695349 w 13768337"/>
              <a:gd name="connsiteY5563" fmla="*/ 1555227 h 5071335"/>
              <a:gd name="connsiteX5564" fmla="*/ 11705080 w 13768337"/>
              <a:gd name="connsiteY5564" fmla="*/ 1557596 h 5071335"/>
              <a:gd name="connsiteX5565" fmla="*/ 11707861 w 13768337"/>
              <a:gd name="connsiteY5565" fmla="*/ 1552858 h 5071335"/>
              <a:gd name="connsiteX5566" fmla="*/ 11707398 w 13768337"/>
              <a:gd name="connsiteY5566" fmla="*/ 1552021 h 5071335"/>
              <a:gd name="connsiteX5567" fmla="*/ 11703226 w 13768337"/>
              <a:gd name="connsiteY5567" fmla="*/ 1542545 h 5071335"/>
              <a:gd name="connsiteX5568" fmla="*/ 11703226 w 13768337"/>
              <a:gd name="connsiteY5568" fmla="*/ 1542127 h 5071335"/>
              <a:gd name="connsiteX5569" fmla="*/ 11701836 w 13768337"/>
              <a:gd name="connsiteY5569" fmla="*/ 1540734 h 5071335"/>
              <a:gd name="connsiteX5570" fmla="*/ 11686080 w 13768337"/>
              <a:gd name="connsiteY5570" fmla="*/ 1555227 h 5071335"/>
              <a:gd name="connsiteX5571" fmla="*/ 11680521 w 13768337"/>
              <a:gd name="connsiteY5571" fmla="*/ 1540734 h 5071335"/>
              <a:gd name="connsiteX5572" fmla="*/ 4359838 w 13768337"/>
              <a:gd name="connsiteY5572" fmla="*/ 1540235 h 5071335"/>
              <a:gd name="connsiteX5573" fmla="*/ 4345794 w 13768337"/>
              <a:gd name="connsiteY5573" fmla="*/ 1541601 h 5071335"/>
              <a:gd name="connsiteX5574" fmla="*/ 4345024 w 13768337"/>
              <a:gd name="connsiteY5574" fmla="*/ 1544431 h 5071335"/>
              <a:gd name="connsiteX5575" fmla="*/ 4362633 w 13768337"/>
              <a:gd name="connsiteY5575" fmla="*/ 1543037 h 5071335"/>
              <a:gd name="connsiteX5576" fmla="*/ 3819536 w 13768337"/>
              <a:gd name="connsiteY5576" fmla="*/ 1539832 h 5071335"/>
              <a:gd name="connsiteX5577" fmla="*/ 3788951 w 13768337"/>
              <a:gd name="connsiteY5577" fmla="*/ 1556974 h 5071335"/>
              <a:gd name="connsiteX5578" fmla="*/ 3804244 w 13768337"/>
              <a:gd name="connsiteY5578" fmla="*/ 1546800 h 5071335"/>
              <a:gd name="connsiteX5579" fmla="*/ 3791088 w 13768337"/>
              <a:gd name="connsiteY5579" fmla="*/ 1541546 h 5071335"/>
              <a:gd name="connsiteX5580" fmla="*/ 3778770 w 13768337"/>
              <a:gd name="connsiteY5580" fmla="*/ 1544908 h 5071335"/>
              <a:gd name="connsiteX5581" fmla="*/ 3779064 w 13768337"/>
              <a:gd name="connsiteY5581" fmla="*/ 1547339 h 5071335"/>
              <a:gd name="connsiteX5582" fmla="*/ 3772810 w 13768337"/>
              <a:gd name="connsiteY5582" fmla="*/ 1547082 h 5071335"/>
              <a:gd name="connsiteX5583" fmla="*/ 3763385 w 13768337"/>
              <a:gd name="connsiteY5583" fmla="*/ 1551054 h 5071335"/>
              <a:gd name="connsiteX5584" fmla="*/ 3754660 w 13768337"/>
              <a:gd name="connsiteY5584" fmla="*/ 1550425 h 5071335"/>
              <a:gd name="connsiteX5585" fmla="*/ 3758830 w 13768337"/>
              <a:gd name="connsiteY5585" fmla="*/ 1560876 h 5071335"/>
              <a:gd name="connsiteX5586" fmla="*/ 3682834 w 13768337"/>
              <a:gd name="connsiteY5586" fmla="*/ 1563106 h 5071335"/>
              <a:gd name="connsiteX5587" fmla="*/ 3681907 w 13768337"/>
              <a:gd name="connsiteY5587" fmla="*/ 1574394 h 5071335"/>
              <a:gd name="connsiteX5588" fmla="*/ 3681907 w 13768337"/>
              <a:gd name="connsiteY5588" fmla="*/ 1568263 h 5071335"/>
              <a:gd name="connsiteX5589" fmla="*/ 3674029 w 13768337"/>
              <a:gd name="connsiteY5589" fmla="*/ 1565475 h 5071335"/>
              <a:gd name="connsiteX5590" fmla="*/ 3661055 w 13768337"/>
              <a:gd name="connsiteY5590" fmla="*/ 1579133 h 5071335"/>
              <a:gd name="connsiteX5591" fmla="*/ 3642982 w 13768337"/>
              <a:gd name="connsiteY5591" fmla="*/ 1571468 h 5071335"/>
              <a:gd name="connsiteX5592" fmla="*/ 3636958 w 13768337"/>
              <a:gd name="connsiteY5592" fmla="*/ 1591257 h 5071335"/>
              <a:gd name="connsiteX5593" fmla="*/ 3544744 w 13768337"/>
              <a:gd name="connsiteY5593" fmla="*/ 1591257 h 5071335"/>
              <a:gd name="connsiteX5594" fmla="*/ 3596643 w 13768337"/>
              <a:gd name="connsiteY5594" fmla="*/ 1555720 h 5071335"/>
              <a:gd name="connsiteX5595" fmla="*/ 3491452 w 13768337"/>
              <a:gd name="connsiteY5595" fmla="*/ 1590700 h 5071335"/>
              <a:gd name="connsiteX5596" fmla="*/ 3242146 w 13768337"/>
              <a:gd name="connsiteY5596" fmla="*/ 1600176 h 5071335"/>
              <a:gd name="connsiteX5597" fmla="*/ 3193490 w 13768337"/>
              <a:gd name="connsiteY5597" fmla="*/ 1614670 h 5071335"/>
              <a:gd name="connsiteX5598" fmla="*/ 3195807 w 13768337"/>
              <a:gd name="connsiteY5598" fmla="*/ 1599061 h 5071335"/>
              <a:gd name="connsiteX5599" fmla="*/ 3083203 w 13768337"/>
              <a:gd name="connsiteY5599" fmla="*/ 1611324 h 5071335"/>
              <a:gd name="connsiteX5600" fmla="*/ 3117030 w 13768337"/>
              <a:gd name="connsiteY5600" fmla="*/ 1612719 h 5071335"/>
              <a:gd name="connsiteX5601" fmla="*/ 3109813 w 13768337"/>
              <a:gd name="connsiteY5601" fmla="*/ 1603991 h 5071335"/>
              <a:gd name="connsiteX5602" fmla="*/ 3106544 w 13768337"/>
              <a:gd name="connsiteY5602" fmla="*/ 1602312 h 5071335"/>
              <a:gd name="connsiteX5603" fmla="*/ 3040877 w 13768337"/>
              <a:gd name="connsiteY5603" fmla="*/ 1612003 h 5071335"/>
              <a:gd name="connsiteX5604" fmla="*/ 3009366 w 13768337"/>
              <a:gd name="connsiteY5604" fmla="*/ 1626497 h 5071335"/>
              <a:gd name="connsiteX5605" fmla="*/ 3036243 w 13768337"/>
              <a:gd name="connsiteY5605" fmla="*/ 1632210 h 5071335"/>
              <a:gd name="connsiteX5606" fmla="*/ 2999635 w 13768337"/>
              <a:gd name="connsiteY5606" fmla="*/ 1626497 h 5071335"/>
              <a:gd name="connsiteX5607" fmla="*/ 2985270 w 13768337"/>
              <a:gd name="connsiteY5607" fmla="*/ 1642802 h 5071335"/>
              <a:gd name="connsiteX5608" fmla="*/ 3018635 w 13768337"/>
              <a:gd name="connsiteY5608" fmla="*/ 1664403 h 5071335"/>
              <a:gd name="connsiteX5609" fmla="*/ 3004733 w 13768337"/>
              <a:gd name="connsiteY5609" fmla="*/ 1675134 h 5071335"/>
              <a:gd name="connsiteX5610" fmla="*/ 3014000 w 13768337"/>
              <a:gd name="connsiteY5610" fmla="*/ 1689627 h 5071335"/>
              <a:gd name="connsiteX5611" fmla="*/ 3040877 w 13768337"/>
              <a:gd name="connsiteY5611" fmla="*/ 1684471 h 5071335"/>
              <a:gd name="connsiteX5612" fmla="*/ 3040877 w 13768337"/>
              <a:gd name="connsiteY5612" fmla="*/ 1647958 h 5071335"/>
              <a:gd name="connsiteX5613" fmla="*/ 3058486 w 13768337"/>
              <a:gd name="connsiteY5613" fmla="*/ 1664403 h 5071335"/>
              <a:gd name="connsiteX5614" fmla="*/ 3050609 w 13768337"/>
              <a:gd name="connsiteY5614" fmla="*/ 1684471 h 5071335"/>
              <a:gd name="connsiteX5615" fmla="*/ 3091850 w 13768337"/>
              <a:gd name="connsiteY5615" fmla="*/ 1685864 h 5071335"/>
              <a:gd name="connsiteX5616" fmla="*/ 3063583 w 13768337"/>
              <a:gd name="connsiteY5616" fmla="*/ 1642802 h 5071335"/>
              <a:gd name="connsiteX5617" fmla="*/ 3074706 w 13768337"/>
              <a:gd name="connsiteY5617" fmla="*/ 1630120 h 5071335"/>
              <a:gd name="connsiteX5618" fmla="*/ 3065900 w 13768337"/>
              <a:gd name="connsiteY5618" fmla="*/ 1625661 h 5071335"/>
              <a:gd name="connsiteX5619" fmla="*/ 3082120 w 13768337"/>
              <a:gd name="connsiteY5619" fmla="*/ 1623292 h 5071335"/>
              <a:gd name="connsiteX5620" fmla="*/ 3084436 w 13768337"/>
              <a:gd name="connsiteY5620" fmla="*/ 1623292 h 5071335"/>
              <a:gd name="connsiteX5621" fmla="*/ 3090924 w 13768337"/>
              <a:gd name="connsiteY5621" fmla="*/ 1620922 h 5071335"/>
              <a:gd name="connsiteX5622" fmla="*/ 3089533 w 13768337"/>
              <a:gd name="connsiteY5622" fmla="*/ 1623292 h 5071335"/>
              <a:gd name="connsiteX5623" fmla="*/ 3100193 w 13768337"/>
              <a:gd name="connsiteY5623" fmla="*/ 1642802 h 5071335"/>
              <a:gd name="connsiteX5624" fmla="*/ 3128459 w 13768337"/>
              <a:gd name="connsiteY5624" fmla="*/ 1637228 h 5071335"/>
              <a:gd name="connsiteX5625" fmla="*/ 3119191 w 13768337"/>
              <a:gd name="connsiteY5625" fmla="*/ 1642802 h 5071335"/>
              <a:gd name="connsiteX5626" fmla="*/ 3146531 w 13768337"/>
              <a:gd name="connsiteY5626" fmla="*/ 1642802 h 5071335"/>
              <a:gd name="connsiteX5627" fmla="*/ 3128459 w 13768337"/>
              <a:gd name="connsiteY5627" fmla="*/ 1627750 h 5071335"/>
              <a:gd name="connsiteX5628" fmla="*/ 3224383 w 13768337"/>
              <a:gd name="connsiteY5628" fmla="*/ 1633464 h 5071335"/>
              <a:gd name="connsiteX5629" fmla="*/ 3229478 w 13768337"/>
              <a:gd name="connsiteY5629" fmla="*/ 1627750 h 5071335"/>
              <a:gd name="connsiteX5630" fmla="*/ 3219748 w 13768337"/>
              <a:gd name="connsiteY5630" fmla="*/ 1626497 h 5071335"/>
              <a:gd name="connsiteX5631" fmla="*/ 3235966 w 13768337"/>
              <a:gd name="connsiteY5631" fmla="*/ 1619946 h 5071335"/>
              <a:gd name="connsiteX5632" fmla="*/ 3317060 w 13768337"/>
              <a:gd name="connsiteY5632" fmla="*/ 1633464 h 5071335"/>
              <a:gd name="connsiteX5633" fmla="*/ 3275355 w 13768337"/>
              <a:gd name="connsiteY5633" fmla="*/ 1633464 h 5071335"/>
              <a:gd name="connsiteX5634" fmla="*/ 3285549 w 13768337"/>
              <a:gd name="connsiteY5634" fmla="*/ 1653532 h 5071335"/>
              <a:gd name="connsiteX5635" fmla="*/ 3251722 w 13768337"/>
              <a:gd name="connsiteY5635" fmla="*/ 1658829 h 5071335"/>
              <a:gd name="connsiteX5636" fmla="*/ 3260990 w 13768337"/>
              <a:gd name="connsiteY5636" fmla="*/ 1669560 h 5071335"/>
              <a:gd name="connsiteX5637" fmla="*/ 3260990 w 13768337"/>
              <a:gd name="connsiteY5637" fmla="*/ 1675134 h 5071335"/>
              <a:gd name="connsiteX5638" fmla="*/ 3260990 w 13768337"/>
              <a:gd name="connsiteY5638" fmla="*/ 1685864 h 5071335"/>
              <a:gd name="connsiteX5639" fmla="*/ 3229478 w 13768337"/>
              <a:gd name="connsiteY5639" fmla="*/ 1653532 h 5071335"/>
              <a:gd name="connsiteX5640" fmla="*/ 3266086 w 13768337"/>
              <a:gd name="connsiteY5640" fmla="*/ 1627750 h 5071335"/>
              <a:gd name="connsiteX5641" fmla="*/ 3254965 w 13768337"/>
              <a:gd name="connsiteY5641" fmla="*/ 1625661 h 5071335"/>
              <a:gd name="connsiteX5642" fmla="*/ 3237357 w 13768337"/>
              <a:gd name="connsiteY5642" fmla="*/ 1629284 h 5071335"/>
              <a:gd name="connsiteX5643" fmla="*/ 3183139 w 13768337"/>
              <a:gd name="connsiteY5643" fmla="*/ 1627750 h 5071335"/>
              <a:gd name="connsiteX5644" fmla="*/ 3123824 w 13768337"/>
              <a:gd name="connsiteY5644" fmla="*/ 1658829 h 5071335"/>
              <a:gd name="connsiteX5645" fmla="*/ 3136336 w 13768337"/>
              <a:gd name="connsiteY5645" fmla="*/ 1680290 h 5071335"/>
              <a:gd name="connsiteX5646" fmla="*/ 3155799 w 13768337"/>
              <a:gd name="connsiteY5646" fmla="*/ 1647958 h 5071335"/>
              <a:gd name="connsiteX5647" fmla="*/ 3197505 w 13768337"/>
              <a:gd name="connsiteY5647" fmla="*/ 1647958 h 5071335"/>
              <a:gd name="connsiteX5648" fmla="*/ 3165531 w 13768337"/>
              <a:gd name="connsiteY5648" fmla="*/ 1669560 h 5071335"/>
              <a:gd name="connsiteX5649" fmla="*/ 3188236 w 13768337"/>
              <a:gd name="connsiteY5649" fmla="*/ 1680290 h 5071335"/>
              <a:gd name="connsiteX5650" fmla="*/ 3215112 w 13768337"/>
              <a:gd name="connsiteY5650" fmla="*/ 1693808 h 5071335"/>
              <a:gd name="connsiteX5651" fmla="*/ 3210016 w 13768337"/>
              <a:gd name="connsiteY5651" fmla="*/ 1693808 h 5071335"/>
              <a:gd name="connsiteX5652" fmla="*/ 3200748 w 13768337"/>
              <a:gd name="connsiteY5652" fmla="*/ 1696595 h 5071335"/>
              <a:gd name="connsiteX5653" fmla="*/ 3202138 w 13768337"/>
              <a:gd name="connsiteY5653" fmla="*/ 1705932 h 5071335"/>
              <a:gd name="connsiteX5654" fmla="*/ 3211869 w 13768337"/>
              <a:gd name="connsiteY5654" fmla="*/ 1707465 h 5071335"/>
              <a:gd name="connsiteX5655" fmla="*/ 3215112 w 13768337"/>
              <a:gd name="connsiteY5655" fmla="*/ 1693808 h 5071335"/>
              <a:gd name="connsiteX5656" fmla="*/ 3234113 w 13768337"/>
              <a:gd name="connsiteY5656" fmla="*/ 1700358 h 5071335"/>
              <a:gd name="connsiteX5657" fmla="*/ 3229478 w 13768337"/>
              <a:gd name="connsiteY5657" fmla="*/ 1680290 h 5071335"/>
              <a:gd name="connsiteX5658" fmla="*/ 3275355 w 13768337"/>
              <a:gd name="connsiteY5658" fmla="*/ 1691161 h 5071335"/>
              <a:gd name="connsiteX5659" fmla="*/ 3260990 w 13768337"/>
              <a:gd name="connsiteY5659" fmla="*/ 1705932 h 5071335"/>
              <a:gd name="connsiteX5660" fmla="*/ 3298061 w 13768337"/>
              <a:gd name="connsiteY5660" fmla="*/ 1721960 h 5071335"/>
              <a:gd name="connsiteX5661" fmla="*/ 3302695 w 13768337"/>
              <a:gd name="connsiteY5661" fmla="*/ 1691161 h 5071335"/>
              <a:gd name="connsiteX5662" fmla="*/ 3321694 w 13768337"/>
              <a:gd name="connsiteY5662" fmla="*/ 1696595 h 5071335"/>
              <a:gd name="connsiteX5663" fmla="*/ 3307329 w 13768337"/>
              <a:gd name="connsiteY5663" fmla="*/ 1707465 h 5071335"/>
              <a:gd name="connsiteX5664" fmla="*/ 3344400 w 13768337"/>
              <a:gd name="connsiteY5664" fmla="*/ 1716663 h 5071335"/>
              <a:gd name="connsiteX5665" fmla="*/ 3330253 w 13768337"/>
              <a:gd name="connsiteY5665" fmla="*/ 1727857 h 5071335"/>
              <a:gd name="connsiteX5666" fmla="*/ 3327925 w 13768337"/>
              <a:gd name="connsiteY5666" fmla="*/ 1728715 h 5071335"/>
              <a:gd name="connsiteX5667" fmla="*/ 3334739 w 13768337"/>
              <a:gd name="connsiteY5667" fmla="*/ 1731207 h 5071335"/>
              <a:gd name="connsiteX5668" fmla="*/ 3400164 w 13768337"/>
              <a:gd name="connsiteY5668" fmla="*/ 1774517 h 5071335"/>
              <a:gd name="connsiteX5669" fmla="*/ 3473379 w 13768337"/>
              <a:gd name="connsiteY5669" fmla="*/ 1776051 h 5071335"/>
              <a:gd name="connsiteX5670" fmla="*/ 3473379 w 13768337"/>
              <a:gd name="connsiteY5670" fmla="*/ 1776886 h 5071335"/>
              <a:gd name="connsiteX5671" fmla="*/ 3474307 w 13768337"/>
              <a:gd name="connsiteY5671" fmla="*/ 1776051 h 5071335"/>
              <a:gd name="connsiteX5672" fmla="*/ 3497012 w 13768337"/>
              <a:gd name="connsiteY5672" fmla="*/ 1793470 h 5071335"/>
              <a:gd name="connsiteX5673" fmla="*/ 3511378 w 13768337"/>
              <a:gd name="connsiteY5673" fmla="*/ 1771312 h 5071335"/>
              <a:gd name="connsiteX5674" fmla="*/ 3510451 w 13768337"/>
              <a:gd name="connsiteY5674" fmla="*/ 1780789 h 5071335"/>
              <a:gd name="connsiteX5675" fmla="*/ 3513076 w 13768337"/>
              <a:gd name="connsiteY5675" fmla="*/ 1780552 h 5071335"/>
              <a:gd name="connsiteX5676" fmla="*/ 3513076 w 13768337"/>
              <a:gd name="connsiteY5676" fmla="*/ 1756939 h 5071335"/>
              <a:gd name="connsiteX5677" fmla="*/ 3522057 w 13768337"/>
              <a:gd name="connsiteY5677" fmla="*/ 1763061 h 5071335"/>
              <a:gd name="connsiteX5678" fmla="*/ 3527409 w 13768337"/>
              <a:gd name="connsiteY5678" fmla="*/ 1755654 h 5071335"/>
              <a:gd name="connsiteX5679" fmla="*/ 3533070 w 13768337"/>
              <a:gd name="connsiteY5679" fmla="*/ 1752202 h 5071335"/>
              <a:gd name="connsiteX5680" fmla="*/ 3532538 w 13768337"/>
              <a:gd name="connsiteY5680" fmla="*/ 1747742 h 5071335"/>
              <a:gd name="connsiteX5681" fmla="*/ 3515856 w 13768337"/>
              <a:gd name="connsiteY5681" fmla="*/ 1739239 h 5071335"/>
              <a:gd name="connsiteX5682" fmla="*/ 3470443 w 13768337"/>
              <a:gd name="connsiteY5682" fmla="*/ 1740633 h 5071335"/>
              <a:gd name="connsiteX5683" fmla="*/ 3470443 w 13768337"/>
              <a:gd name="connsiteY5683" fmla="*/ 1718754 h 5071335"/>
              <a:gd name="connsiteX5684" fmla="*/ 3495930 w 13768337"/>
              <a:gd name="connsiteY5684" fmla="*/ 1721960 h 5071335"/>
              <a:gd name="connsiteX5685" fmla="*/ 3471370 w 13768337"/>
              <a:gd name="connsiteY5685" fmla="*/ 1715410 h 5071335"/>
              <a:gd name="connsiteX5686" fmla="*/ 3507978 w 13768337"/>
              <a:gd name="connsiteY5686" fmla="*/ 1714852 h 5071335"/>
              <a:gd name="connsiteX5687" fmla="*/ 3508905 w 13768337"/>
              <a:gd name="connsiteY5687" fmla="*/ 1713040 h 5071335"/>
              <a:gd name="connsiteX5688" fmla="*/ 3524661 w 13768337"/>
              <a:gd name="connsiteY5688" fmla="*/ 1724328 h 5071335"/>
              <a:gd name="connsiteX5689" fmla="*/ 3522808 w 13768337"/>
              <a:gd name="connsiteY5689" fmla="*/ 1729903 h 5071335"/>
              <a:gd name="connsiteX5690" fmla="*/ 3609925 w 13768337"/>
              <a:gd name="connsiteY5690" fmla="*/ 1704121 h 5071335"/>
              <a:gd name="connsiteX5691" fmla="*/ 3609925 w 13768337"/>
              <a:gd name="connsiteY5691" fmla="*/ 1700358 h 5071335"/>
              <a:gd name="connsiteX5692" fmla="*/ 3611779 w 13768337"/>
              <a:gd name="connsiteY5692" fmla="*/ 1702727 h 5071335"/>
              <a:gd name="connsiteX5693" fmla="*/ 3621046 w 13768337"/>
              <a:gd name="connsiteY5693" fmla="*/ 1697153 h 5071335"/>
              <a:gd name="connsiteX5694" fmla="*/ 3595560 w 13768337"/>
              <a:gd name="connsiteY5694" fmla="*/ 1674298 h 5071335"/>
              <a:gd name="connsiteX5695" fmla="*/ 3591389 w 13768337"/>
              <a:gd name="connsiteY5695" fmla="*/ 1673740 h 5071335"/>
              <a:gd name="connsiteX5696" fmla="*/ 3596024 w 13768337"/>
              <a:gd name="connsiteY5696" fmla="*/ 1652279 h 5071335"/>
              <a:gd name="connsiteX5697" fmla="*/ 3752188 w 13768337"/>
              <a:gd name="connsiteY5697" fmla="*/ 1663009 h 5071335"/>
              <a:gd name="connsiteX5698" fmla="*/ 3830501 w 13768337"/>
              <a:gd name="connsiteY5698" fmla="*/ 1668026 h 5071335"/>
              <a:gd name="connsiteX5699" fmla="*/ 3784625 w 13768337"/>
              <a:gd name="connsiteY5699" fmla="*/ 1668026 h 5071335"/>
              <a:gd name="connsiteX5700" fmla="*/ 3821233 w 13768337"/>
              <a:gd name="connsiteY5700" fmla="*/ 1678758 h 5071335"/>
              <a:gd name="connsiteX5701" fmla="*/ 3774893 w 13768337"/>
              <a:gd name="connsiteY5701" fmla="*/ 1689627 h 5071335"/>
              <a:gd name="connsiteX5702" fmla="*/ 3784625 w 13768337"/>
              <a:gd name="connsiteY5702" fmla="*/ 1709835 h 5071335"/>
              <a:gd name="connsiteX5703" fmla="*/ 3816598 w 13768337"/>
              <a:gd name="connsiteY5703" fmla="*/ 1695341 h 5071335"/>
              <a:gd name="connsiteX5704" fmla="*/ 3803623 w 13768337"/>
              <a:gd name="connsiteY5704" fmla="*/ 1715410 h 5071335"/>
              <a:gd name="connsiteX5705" fmla="*/ 3819843 w 13768337"/>
              <a:gd name="connsiteY5705" fmla="*/ 1723213 h 5071335"/>
              <a:gd name="connsiteX5706" fmla="*/ 3831113 w 13768337"/>
              <a:gd name="connsiteY5706" fmla="*/ 1723213 h 5071335"/>
              <a:gd name="connsiteX5707" fmla="*/ 3830020 w 13768337"/>
              <a:gd name="connsiteY5707" fmla="*/ 1718947 h 5071335"/>
              <a:gd name="connsiteX5708" fmla="*/ 3822779 w 13768337"/>
              <a:gd name="connsiteY5708" fmla="*/ 1717101 h 5071335"/>
              <a:gd name="connsiteX5709" fmla="*/ 3833597 w 13768337"/>
              <a:gd name="connsiteY5709" fmla="*/ 1714342 h 5071335"/>
              <a:gd name="connsiteX5710" fmla="*/ 3840095 w 13768337"/>
              <a:gd name="connsiteY5710" fmla="*/ 1717309 h 5071335"/>
              <a:gd name="connsiteX5711" fmla="*/ 3840231 w 13768337"/>
              <a:gd name="connsiteY5711" fmla="*/ 1716663 h 5071335"/>
              <a:gd name="connsiteX5712" fmla="*/ 3825867 w 13768337"/>
              <a:gd name="connsiteY5712" fmla="*/ 1708302 h 5071335"/>
              <a:gd name="connsiteX5713" fmla="*/ 3849501 w 13768337"/>
              <a:gd name="connsiteY5713" fmla="*/ 1703285 h 5071335"/>
              <a:gd name="connsiteX5714" fmla="*/ 3849501 w 13768337"/>
              <a:gd name="connsiteY5714" fmla="*/ 1709835 h 5071335"/>
              <a:gd name="connsiteX5715" fmla="*/ 3867572 w 13768337"/>
              <a:gd name="connsiteY5715" fmla="*/ 1715410 h 5071335"/>
              <a:gd name="connsiteX5716" fmla="*/ 3867572 w 13768337"/>
              <a:gd name="connsiteY5716" fmla="*/ 1723213 h 5071335"/>
              <a:gd name="connsiteX5717" fmla="*/ 3872913 w 13768337"/>
              <a:gd name="connsiteY5717" fmla="*/ 1723795 h 5071335"/>
              <a:gd name="connsiteX5718" fmla="*/ 3875655 w 13768337"/>
              <a:gd name="connsiteY5718" fmla="*/ 1722391 h 5071335"/>
              <a:gd name="connsiteX5719" fmla="*/ 3881167 w 13768337"/>
              <a:gd name="connsiteY5719" fmla="*/ 1712362 h 5071335"/>
              <a:gd name="connsiteX5720" fmla="*/ 3887191 w 13768337"/>
              <a:gd name="connsiteY5720" fmla="*/ 1720863 h 5071335"/>
              <a:gd name="connsiteX5721" fmla="*/ 3892752 w 13768337"/>
              <a:gd name="connsiteY5721" fmla="*/ 1705394 h 5071335"/>
              <a:gd name="connsiteX5722" fmla="*/ 3899702 w 13768337"/>
              <a:gd name="connsiteY5722" fmla="*/ 1724486 h 5071335"/>
              <a:gd name="connsiteX5723" fmla="*/ 3933994 w 13768337"/>
              <a:gd name="connsiteY5723" fmla="*/ 1687696 h 5071335"/>
              <a:gd name="connsiteX5724" fmla="*/ 3954846 w 13768337"/>
              <a:gd name="connsiteY5724" fmla="*/ 1704836 h 5071335"/>
              <a:gd name="connsiteX5725" fmla="*/ 3975235 w 13768337"/>
              <a:gd name="connsiteY5725" fmla="*/ 1697451 h 5071335"/>
              <a:gd name="connsiteX5726" fmla="*/ 3983114 w 13768337"/>
              <a:gd name="connsiteY5726" fmla="*/ 1677800 h 5071335"/>
              <a:gd name="connsiteX5727" fmla="*/ 4000839 w 13768337"/>
              <a:gd name="connsiteY5727" fmla="*/ 1687016 h 5071335"/>
              <a:gd name="connsiteX5728" fmla="*/ 4012009 w 13768337"/>
              <a:gd name="connsiteY5728" fmla="*/ 1687306 h 5071335"/>
              <a:gd name="connsiteX5729" fmla="*/ 4014442 w 13768337"/>
              <a:gd name="connsiteY5729" fmla="*/ 1686112 h 5071335"/>
              <a:gd name="connsiteX5730" fmla="*/ 4023429 w 13768337"/>
              <a:gd name="connsiteY5730" fmla="*/ 1674595 h 5071335"/>
              <a:gd name="connsiteX5731" fmla="*/ 4071216 w 13768337"/>
              <a:gd name="connsiteY5731" fmla="*/ 1678776 h 5071335"/>
              <a:gd name="connsiteX5732" fmla="*/ 4080797 w 13768337"/>
              <a:gd name="connsiteY5732" fmla="*/ 1672388 h 5071335"/>
              <a:gd name="connsiteX5733" fmla="*/ 4085715 w 13768337"/>
              <a:gd name="connsiteY5733" fmla="*/ 1661372 h 5071335"/>
              <a:gd name="connsiteX5734" fmla="*/ 4096952 w 13768337"/>
              <a:gd name="connsiteY5734" fmla="*/ 1655066 h 5071335"/>
              <a:gd name="connsiteX5735" fmla="*/ 4096961 w 13768337"/>
              <a:gd name="connsiteY5735" fmla="*/ 1655052 h 5071335"/>
              <a:gd name="connsiteX5736" fmla="*/ 4100637 w 13768337"/>
              <a:gd name="connsiteY5736" fmla="*/ 1648555 h 5071335"/>
              <a:gd name="connsiteX5737" fmla="*/ 4082587 w 13768337"/>
              <a:gd name="connsiteY5737" fmla="*/ 1639596 h 5071335"/>
              <a:gd name="connsiteX5738" fmla="*/ 4101122 w 13768337"/>
              <a:gd name="connsiteY5738" fmla="*/ 1639596 h 5071335"/>
              <a:gd name="connsiteX5739" fmla="*/ 4096952 w 13768337"/>
              <a:gd name="connsiteY5739" fmla="*/ 1635833 h 5071335"/>
              <a:gd name="connsiteX5740" fmla="*/ 4106683 w 13768337"/>
              <a:gd name="connsiteY5740" fmla="*/ 1636671 h 5071335"/>
              <a:gd name="connsiteX5741" fmla="*/ 4116414 w 13768337"/>
              <a:gd name="connsiteY5741" fmla="*/ 1632489 h 5071335"/>
              <a:gd name="connsiteX5742" fmla="*/ 4117719 w 13768337"/>
              <a:gd name="connsiteY5742" fmla="*/ 1630899 h 5071335"/>
              <a:gd name="connsiteX5743" fmla="*/ 4099831 w 13768337"/>
              <a:gd name="connsiteY5743" fmla="*/ 1629668 h 5071335"/>
              <a:gd name="connsiteX5744" fmla="*/ 4073141 w 13768337"/>
              <a:gd name="connsiteY5744" fmla="*/ 1633433 h 5071335"/>
              <a:gd name="connsiteX5745" fmla="*/ 4078880 w 13768337"/>
              <a:gd name="connsiteY5745" fmla="*/ 1642802 h 5071335"/>
              <a:gd name="connsiteX5746" fmla="*/ 4059418 w 13768337"/>
              <a:gd name="connsiteY5746" fmla="*/ 1644614 h 5071335"/>
              <a:gd name="connsiteX5747" fmla="*/ 4070763 w 13768337"/>
              <a:gd name="connsiteY5747" fmla="*/ 1633768 h 5071335"/>
              <a:gd name="connsiteX5748" fmla="*/ 4054012 w 13768337"/>
              <a:gd name="connsiteY5748" fmla="*/ 1636131 h 5071335"/>
              <a:gd name="connsiteX5749" fmla="*/ 4080890 w 13768337"/>
              <a:gd name="connsiteY5749" fmla="*/ 1657733 h 5071335"/>
              <a:gd name="connsiteX5750" fmla="*/ 4045208 w 13768337"/>
              <a:gd name="connsiteY5750" fmla="*/ 1677242 h 5071335"/>
              <a:gd name="connsiteX5751" fmla="*/ 4056793 w 13768337"/>
              <a:gd name="connsiteY5751" fmla="*/ 1670275 h 5071335"/>
              <a:gd name="connsiteX5752" fmla="*/ 3986821 w 13768337"/>
              <a:gd name="connsiteY5752" fmla="*/ 1632508 h 5071335"/>
              <a:gd name="connsiteX5753" fmla="*/ 4015609 w 13768337"/>
              <a:gd name="connsiteY5753" fmla="*/ 1625697 h 5071335"/>
              <a:gd name="connsiteX5754" fmla="*/ 4036926 w 13768337"/>
              <a:gd name="connsiteY5754" fmla="*/ 1634813 h 5071335"/>
              <a:gd name="connsiteX5755" fmla="*/ 4038681 w 13768337"/>
              <a:gd name="connsiteY5755" fmla="*/ 1632559 h 5071335"/>
              <a:gd name="connsiteX5756" fmla="*/ 4045052 w 13768337"/>
              <a:gd name="connsiteY5756" fmla="*/ 1632489 h 5071335"/>
              <a:gd name="connsiteX5757" fmla="*/ 4046239 w 13768337"/>
              <a:gd name="connsiteY5757" fmla="*/ 1634167 h 5071335"/>
              <a:gd name="connsiteX5758" fmla="*/ 4059980 w 13768337"/>
              <a:gd name="connsiteY5758" fmla="*/ 1625163 h 5071335"/>
              <a:gd name="connsiteX5759" fmla="*/ 4102437 w 13768337"/>
              <a:gd name="connsiteY5759" fmla="*/ 1607199 h 5071335"/>
              <a:gd name="connsiteX5760" fmla="*/ 4103143 w 13768337"/>
              <a:gd name="connsiteY5760" fmla="*/ 1605546 h 5071335"/>
              <a:gd name="connsiteX5761" fmla="*/ 4102744 w 13768337"/>
              <a:gd name="connsiteY5761" fmla="*/ 1605506 h 5071335"/>
              <a:gd name="connsiteX5762" fmla="*/ 4089075 w 13768337"/>
              <a:gd name="connsiteY5762" fmla="*/ 1583852 h 5071335"/>
              <a:gd name="connsiteX5763" fmla="*/ 4102049 w 13768337"/>
              <a:gd name="connsiteY5763" fmla="*/ 1567546 h 5071335"/>
              <a:gd name="connsiteX5764" fmla="*/ 4106683 w 13768337"/>
              <a:gd name="connsiteY5764" fmla="*/ 1568940 h 5071335"/>
              <a:gd name="connsiteX5765" fmla="*/ 4102977 w 13768337"/>
              <a:gd name="connsiteY5765" fmla="*/ 1566990 h 5071335"/>
              <a:gd name="connsiteX5766" fmla="*/ 3930130 w 13768337"/>
              <a:gd name="connsiteY5766" fmla="*/ 1558628 h 5071335"/>
              <a:gd name="connsiteX5767" fmla="*/ 3879620 w 13768337"/>
              <a:gd name="connsiteY5767" fmla="*/ 1570751 h 5071335"/>
              <a:gd name="connsiteX5768" fmla="*/ 3882401 w 13768337"/>
              <a:gd name="connsiteY5768" fmla="*/ 1587197 h 5071335"/>
              <a:gd name="connsiteX5769" fmla="*/ 3869889 w 13768337"/>
              <a:gd name="connsiteY5769" fmla="*/ 1575908 h 5071335"/>
              <a:gd name="connsiteX5770" fmla="*/ 3875913 w 13768337"/>
              <a:gd name="connsiteY5770" fmla="*/ 1580089 h 5071335"/>
              <a:gd name="connsiteX5771" fmla="*/ 3879157 w 13768337"/>
              <a:gd name="connsiteY5771" fmla="*/ 1570751 h 5071335"/>
              <a:gd name="connsiteX5772" fmla="*/ 3841622 w 13768337"/>
              <a:gd name="connsiteY5772" fmla="*/ 1586221 h 5071335"/>
              <a:gd name="connsiteX5773" fmla="*/ 3843476 w 13768337"/>
              <a:gd name="connsiteY5773" fmla="*/ 1560997 h 5071335"/>
              <a:gd name="connsiteX5774" fmla="*/ 3853377 w 13768337"/>
              <a:gd name="connsiteY5774" fmla="*/ 1549384 h 5071335"/>
              <a:gd name="connsiteX5775" fmla="*/ 3839020 w 13768337"/>
              <a:gd name="connsiteY5775" fmla="*/ 1550446 h 5071335"/>
              <a:gd name="connsiteX5776" fmla="*/ 3808414 w 13768337"/>
              <a:gd name="connsiteY5776" fmla="*/ 1555720 h 5071335"/>
              <a:gd name="connsiteX5777" fmla="*/ 3819536 w 13768337"/>
              <a:gd name="connsiteY5777" fmla="*/ 1539832 h 5071335"/>
              <a:gd name="connsiteX5778" fmla="*/ 1933459 w 13768337"/>
              <a:gd name="connsiteY5778" fmla="*/ 1538077 h 5071335"/>
              <a:gd name="connsiteX5779" fmla="*/ 1954218 w 13768337"/>
              <a:gd name="connsiteY5779" fmla="*/ 1538560 h 5071335"/>
              <a:gd name="connsiteX5780" fmla="*/ 1917146 w 13768337"/>
              <a:gd name="connsiteY5780" fmla="*/ 1560997 h 5071335"/>
              <a:gd name="connsiteX5781" fmla="*/ 1936147 w 13768337"/>
              <a:gd name="connsiteY5781" fmla="*/ 1560997 h 5071335"/>
              <a:gd name="connsiteX5782" fmla="*/ 1885172 w 13768337"/>
              <a:gd name="connsiteY5782" fmla="*/ 1555422 h 5071335"/>
              <a:gd name="connsiteX5783" fmla="*/ 1933459 w 13768337"/>
              <a:gd name="connsiteY5783" fmla="*/ 1538077 h 5071335"/>
              <a:gd name="connsiteX5784" fmla="*/ 4682679 w 13768337"/>
              <a:gd name="connsiteY5784" fmla="*/ 1537286 h 5071335"/>
              <a:gd name="connsiteX5785" fmla="*/ 4680366 w 13768337"/>
              <a:gd name="connsiteY5785" fmla="*/ 1539395 h 5071335"/>
              <a:gd name="connsiteX5786" fmla="*/ 4683501 w 13768337"/>
              <a:gd name="connsiteY5786" fmla="*/ 1542273 h 5071335"/>
              <a:gd name="connsiteX5787" fmla="*/ 1264688 w 13768337"/>
              <a:gd name="connsiteY5787" fmla="*/ 1535632 h 5071335"/>
              <a:gd name="connsiteX5788" fmla="*/ 1282297 w 13768337"/>
              <a:gd name="connsiteY5788" fmla="*/ 1541207 h 5071335"/>
              <a:gd name="connsiteX5789" fmla="*/ 1260054 w 13768337"/>
              <a:gd name="connsiteY5789" fmla="*/ 1566990 h 5071335"/>
              <a:gd name="connsiteX5790" fmla="*/ 1269785 w 13768337"/>
              <a:gd name="connsiteY5790" fmla="*/ 1589008 h 5071335"/>
              <a:gd name="connsiteX5791" fmla="*/ 1254957 w 13768337"/>
              <a:gd name="connsiteY5791" fmla="*/ 1589008 h 5071335"/>
              <a:gd name="connsiteX5792" fmla="*/ 1273028 w 13768337"/>
              <a:gd name="connsiteY5792" fmla="*/ 1599878 h 5071335"/>
              <a:gd name="connsiteX5793" fmla="*/ 1232250 w 13768337"/>
              <a:gd name="connsiteY5793" fmla="*/ 1594164 h 5071335"/>
              <a:gd name="connsiteX5794" fmla="*/ 1203056 w 13768337"/>
              <a:gd name="connsiteY5794" fmla="*/ 1578277 h 5071335"/>
              <a:gd name="connsiteX5795" fmla="*/ 1217885 w 13768337"/>
              <a:gd name="connsiteY5795" fmla="*/ 1552077 h 5071335"/>
              <a:gd name="connsiteX5796" fmla="*/ 1260054 w 13768337"/>
              <a:gd name="connsiteY5796" fmla="*/ 1556258 h 5071335"/>
              <a:gd name="connsiteX5797" fmla="*/ 1264688 w 13768337"/>
              <a:gd name="connsiteY5797" fmla="*/ 1535632 h 5071335"/>
              <a:gd name="connsiteX5798" fmla="*/ 4650402 w 13768337"/>
              <a:gd name="connsiteY5798" fmla="*/ 1531471 h 5071335"/>
              <a:gd name="connsiteX5799" fmla="*/ 4649432 w 13768337"/>
              <a:gd name="connsiteY5799" fmla="*/ 1532885 h 5071335"/>
              <a:gd name="connsiteX5800" fmla="*/ 4650402 w 13768337"/>
              <a:gd name="connsiteY5800" fmla="*/ 1533173 h 5071335"/>
              <a:gd name="connsiteX5801" fmla="*/ 4670096 w 13768337"/>
              <a:gd name="connsiteY5801" fmla="*/ 1528013 h 5071335"/>
              <a:gd name="connsiteX5802" fmla="*/ 4657816 w 13768337"/>
              <a:gd name="connsiteY5802" fmla="*/ 1529381 h 5071335"/>
              <a:gd name="connsiteX5803" fmla="*/ 4668473 w 13768337"/>
              <a:gd name="connsiteY5803" fmla="*/ 1536906 h 5071335"/>
              <a:gd name="connsiteX5804" fmla="*/ 4666247 w 13768337"/>
              <a:gd name="connsiteY5804" fmla="*/ 1539142 h 5071335"/>
              <a:gd name="connsiteX5805" fmla="*/ 4668220 w 13768337"/>
              <a:gd name="connsiteY5805" fmla="*/ 1539946 h 5071335"/>
              <a:gd name="connsiteX5806" fmla="*/ 4669856 w 13768337"/>
              <a:gd name="connsiteY5806" fmla="*/ 1539605 h 5071335"/>
              <a:gd name="connsiteX5807" fmla="*/ 4670657 w 13768337"/>
              <a:gd name="connsiteY5807" fmla="*/ 1540821 h 5071335"/>
              <a:gd name="connsiteX5808" fmla="*/ 4671850 w 13768337"/>
              <a:gd name="connsiteY5808" fmla="*/ 1535267 h 5071335"/>
              <a:gd name="connsiteX5809" fmla="*/ 4782887 w 13768337"/>
              <a:gd name="connsiteY5809" fmla="*/ 1527704 h 5071335"/>
              <a:gd name="connsiteX5810" fmla="*/ 4782005 w 13768337"/>
              <a:gd name="connsiteY5810" fmla="*/ 1530357 h 5071335"/>
              <a:gd name="connsiteX5811" fmla="*/ 4778762 w 13768337"/>
              <a:gd name="connsiteY5811" fmla="*/ 1528544 h 5071335"/>
              <a:gd name="connsiteX5812" fmla="*/ 4771393 w 13768337"/>
              <a:gd name="connsiteY5812" fmla="*/ 1542621 h 5071335"/>
              <a:gd name="connsiteX5813" fmla="*/ 4772174 w 13768337"/>
              <a:gd name="connsiteY5813" fmla="*/ 1543466 h 5071335"/>
              <a:gd name="connsiteX5814" fmla="*/ 4776445 w 13768337"/>
              <a:gd name="connsiteY5814" fmla="*/ 1543037 h 5071335"/>
              <a:gd name="connsiteX5815" fmla="*/ 4777370 w 13768337"/>
              <a:gd name="connsiteY5815" fmla="*/ 1541644 h 5071335"/>
              <a:gd name="connsiteX5816" fmla="*/ 4777834 w 13768337"/>
              <a:gd name="connsiteY5816" fmla="*/ 1539832 h 5071335"/>
              <a:gd name="connsiteX5817" fmla="*/ 4778762 w 13768337"/>
              <a:gd name="connsiteY5817" fmla="*/ 1539832 h 5071335"/>
              <a:gd name="connsiteX5818" fmla="*/ 4779224 w 13768337"/>
              <a:gd name="connsiteY5818" fmla="*/ 1538857 h 5071335"/>
              <a:gd name="connsiteX5819" fmla="*/ 4781078 w 13768337"/>
              <a:gd name="connsiteY5819" fmla="*/ 1539275 h 5071335"/>
              <a:gd name="connsiteX5820" fmla="*/ 4785656 w 13768337"/>
              <a:gd name="connsiteY5820" fmla="*/ 1538958 h 5071335"/>
              <a:gd name="connsiteX5821" fmla="*/ 4787341 w 13768337"/>
              <a:gd name="connsiteY5821" fmla="*/ 1536803 h 5071335"/>
              <a:gd name="connsiteX5822" fmla="*/ 4788232 w 13768337"/>
              <a:gd name="connsiteY5822" fmla="*/ 1529090 h 5071335"/>
              <a:gd name="connsiteX5823" fmla="*/ 4560760 w 13768337"/>
              <a:gd name="connsiteY5823" fmla="*/ 1526107 h 5071335"/>
              <a:gd name="connsiteX5824" fmla="*/ 4530690 w 13768337"/>
              <a:gd name="connsiteY5824" fmla="*/ 1527271 h 5071335"/>
              <a:gd name="connsiteX5825" fmla="*/ 4524305 w 13768337"/>
              <a:gd name="connsiteY5825" fmla="*/ 1528784 h 5071335"/>
              <a:gd name="connsiteX5826" fmla="*/ 4560966 w 13768337"/>
              <a:gd name="connsiteY5826" fmla="*/ 1533282 h 5071335"/>
              <a:gd name="connsiteX5827" fmla="*/ 4562530 w 13768337"/>
              <a:gd name="connsiteY5827" fmla="*/ 1527099 h 5071335"/>
              <a:gd name="connsiteX5828" fmla="*/ 12990071 w 13768337"/>
              <a:gd name="connsiteY5828" fmla="*/ 1525682 h 5071335"/>
              <a:gd name="connsiteX5829" fmla="*/ 13063752 w 13768337"/>
              <a:gd name="connsiteY5829" fmla="*/ 1546726 h 5071335"/>
              <a:gd name="connsiteX5830" fmla="*/ 13045215 w 13768337"/>
              <a:gd name="connsiteY5830" fmla="*/ 1549653 h 5071335"/>
              <a:gd name="connsiteX5831" fmla="*/ 13021119 w 13768337"/>
              <a:gd name="connsiteY5831" fmla="*/ 1530978 h 5071335"/>
              <a:gd name="connsiteX5832" fmla="*/ 13005364 w 13768337"/>
              <a:gd name="connsiteY5832" fmla="*/ 1540176 h 5071335"/>
              <a:gd name="connsiteX5833" fmla="*/ 12990071 w 13768337"/>
              <a:gd name="connsiteY5833" fmla="*/ 1525682 h 5071335"/>
              <a:gd name="connsiteX5834" fmla="*/ 12971073 w 13768337"/>
              <a:gd name="connsiteY5834" fmla="*/ 1524150 h 5071335"/>
              <a:gd name="connsiteX5835" fmla="*/ 12980341 w 13768337"/>
              <a:gd name="connsiteY5835" fmla="*/ 1534601 h 5071335"/>
              <a:gd name="connsiteX5836" fmla="*/ 12972462 w 13768337"/>
              <a:gd name="connsiteY5836" fmla="*/ 1543938 h 5071335"/>
              <a:gd name="connsiteX5837" fmla="*/ 12965512 w 13768337"/>
              <a:gd name="connsiteY5837" fmla="*/ 1524428 h 5071335"/>
              <a:gd name="connsiteX5838" fmla="*/ 12971073 w 13768337"/>
              <a:gd name="connsiteY5838" fmla="*/ 1524150 h 5071335"/>
              <a:gd name="connsiteX5839" fmla="*/ 4585832 w 13768337"/>
              <a:gd name="connsiteY5839" fmla="*/ 1523508 h 5071335"/>
              <a:gd name="connsiteX5840" fmla="*/ 4578767 w 13768337"/>
              <a:gd name="connsiteY5840" fmla="*/ 1525161 h 5071335"/>
              <a:gd name="connsiteX5841" fmla="*/ 4581819 w 13768337"/>
              <a:gd name="connsiteY5841" fmla="*/ 1527011 h 5071335"/>
              <a:gd name="connsiteX5842" fmla="*/ 4586865 w 13768337"/>
              <a:gd name="connsiteY5842" fmla="*/ 1524205 h 5071335"/>
              <a:gd name="connsiteX5843" fmla="*/ 4751689 w 13768337"/>
              <a:gd name="connsiteY5843" fmla="*/ 1520377 h 5071335"/>
              <a:gd name="connsiteX5844" fmla="*/ 4750206 w 13768337"/>
              <a:gd name="connsiteY5844" fmla="*/ 1520384 h 5071335"/>
              <a:gd name="connsiteX5845" fmla="*/ 4750338 w 13768337"/>
              <a:gd name="connsiteY5845" fmla="*/ 1520722 h 5071335"/>
              <a:gd name="connsiteX5846" fmla="*/ 12876075 w 13768337"/>
              <a:gd name="connsiteY5846" fmla="*/ 1519132 h 5071335"/>
              <a:gd name="connsiteX5847" fmla="*/ 12879321 w 13768337"/>
              <a:gd name="connsiteY5847" fmla="*/ 1535437 h 5071335"/>
              <a:gd name="connsiteX5848" fmla="*/ 12876075 w 13768337"/>
              <a:gd name="connsiteY5848" fmla="*/ 1519132 h 5071335"/>
              <a:gd name="connsiteX5849" fmla="*/ 11865878 w 13768337"/>
              <a:gd name="connsiteY5849" fmla="*/ 1519132 h 5071335"/>
              <a:gd name="connsiteX5850" fmla="*/ 11858001 w 13768337"/>
              <a:gd name="connsiteY5850" fmla="*/ 1520526 h 5071335"/>
              <a:gd name="connsiteX5851" fmla="*/ 11859391 w 13768337"/>
              <a:gd name="connsiteY5851" fmla="*/ 1522895 h 5071335"/>
              <a:gd name="connsiteX5852" fmla="*/ 11865878 w 13768337"/>
              <a:gd name="connsiteY5852" fmla="*/ 1519132 h 5071335"/>
              <a:gd name="connsiteX5853" fmla="*/ 3527904 w 13768337"/>
              <a:gd name="connsiteY5853" fmla="*/ 1517795 h 5071335"/>
              <a:gd name="connsiteX5854" fmla="*/ 3500796 w 13768337"/>
              <a:gd name="connsiteY5854" fmla="*/ 1522322 h 5071335"/>
              <a:gd name="connsiteX5855" fmla="*/ 3500678 w 13768337"/>
              <a:gd name="connsiteY5855" fmla="*/ 1522733 h 5071335"/>
              <a:gd name="connsiteX5856" fmla="*/ 3516924 w 13768337"/>
              <a:gd name="connsiteY5856" fmla="*/ 1523285 h 5071335"/>
              <a:gd name="connsiteX5857" fmla="*/ 3529705 w 13768337"/>
              <a:gd name="connsiteY5857" fmla="*/ 1521472 h 5071335"/>
              <a:gd name="connsiteX5858" fmla="*/ 2080725 w 13768337"/>
              <a:gd name="connsiteY5858" fmla="*/ 1508040 h 5071335"/>
              <a:gd name="connsiteX5859" fmla="*/ 2137722 w 13768337"/>
              <a:gd name="connsiteY5859" fmla="*/ 1508040 h 5071335"/>
              <a:gd name="connsiteX5860" fmla="*/ 2142356 w 13768337"/>
              <a:gd name="connsiteY5860" fmla="*/ 1519327 h 5071335"/>
              <a:gd name="connsiteX5861" fmla="*/ 2120577 w 13768337"/>
              <a:gd name="connsiteY5861" fmla="*/ 1519327 h 5071335"/>
              <a:gd name="connsiteX5862" fmla="*/ 2111310 w 13768337"/>
              <a:gd name="connsiteY5862" fmla="*/ 1536747 h 5071335"/>
              <a:gd name="connsiteX5863" fmla="*/ 2133088 w 13768337"/>
              <a:gd name="connsiteY5863" fmla="*/ 1563366 h 5071335"/>
              <a:gd name="connsiteX5864" fmla="*/ 2088140 w 13768337"/>
              <a:gd name="connsiteY5864" fmla="*/ 1552077 h 5071335"/>
              <a:gd name="connsiteX5865" fmla="*/ 2106675 w 13768337"/>
              <a:gd name="connsiteY5865" fmla="*/ 1540929 h 5071335"/>
              <a:gd name="connsiteX5866" fmla="*/ 2089993 w 13768337"/>
              <a:gd name="connsiteY5866" fmla="*/ 1519327 h 5071335"/>
              <a:gd name="connsiteX5867" fmla="*/ 2085359 w 13768337"/>
              <a:gd name="connsiteY5867" fmla="*/ 1557791 h 5071335"/>
              <a:gd name="connsiteX5868" fmla="*/ 2052922 w 13768337"/>
              <a:gd name="connsiteY5868" fmla="*/ 1557791 h 5071335"/>
              <a:gd name="connsiteX5869" fmla="*/ 2054311 w 13768337"/>
              <a:gd name="connsiteY5869" fmla="*/ 1536747 h 5071335"/>
              <a:gd name="connsiteX5870" fmla="*/ 2080725 w 13768337"/>
              <a:gd name="connsiteY5870" fmla="*/ 1508040 h 5071335"/>
              <a:gd name="connsiteX5871" fmla="*/ 4661419 w 13768337"/>
              <a:gd name="connsiteY5871" fmla="*/ 1506029 h 5071335"/>
              <a:gd name="connsiteX5872" fmla="*/ 4632867 w 13768337"/>
              <a:gd name="connsiteY5872" fmla="*/ 1512526 h 5071335"/>
              <a:gd name="connsiteX5873" fmla="*/ 4642944 w 13768337"/>
              <a:gd name="connsiteY5873" fmla="*/ 1512137 h 5071335"/>
              <a:gd name="connsiteX5874" fmla="*/ 11670790 w 13768337"/>
              <a:gd name="connsiteY5874" fmla="*/ 1504220 h 5071335"/>
              <a:gd name="connsiteX5875" fmla="*/ 11658277 w 13768337"/>
              <a:gd name="connsiteY5875" fmla="*/ 1507566 h 5071335"/>
              <a:gd name="connsiteX5876" fmla="*/ 11675886 w 13768337"/>
              <a:gd name="connsiteY5876" fmla="*/ 1517321 h 5071335"/>
              <a:gd name="connsiteX5877" fmla="*/ 11675422 w 13768337"/>
              <a:gd name="connsiteY5877" fmla="*/ 1527634 h 5071335"/>
              <a:gd name="connsiteX5878" fmla="*/ 11675886 w 13768337"/>
              <a:gd name="connsiteY5878" fmla="*/ 1526797 h 5071335"/>
              <a:gd name="connsiteX5879" fmla="*/ 11687935 w 13768337"/>
              <a:gd name="connsiteY5879" fmla="*/ 1510771 h 5071335"/>
              <a:gd name="connsiteX5880" fmla="*/ 11687935 w 13768337"/>
              <a:gd name="connsiteY5880" fmla="*/ 1517321 h 5071335"/>
              <a:gd name="connsiteX5881" fmla="*/ 11703691 w 13768337"/>
              <a:gd name="connsiteY5881" fmla="*/ 1522337 h 5071335"/>
              <a:gd name="connsiteX5882" fmla="*/ 11695349 w 13768337"/>
              <a:gd name="connsiteY5882" fmla="*/ 1506032 h 5071335"/>
              <a:gd name="connsiteX5883" fmla="*/ 11670790 w 13768337"/>
              <a:gd name="connsiteY5883" fmla="*/ 1504220 h 5071335"/>
              <a:gd name="connsiteX5884" fmla="*/ 1986656 w 13768337"/>
              <a:gd name="connsiteY5884" fmla="*/ 1503858 h 5071335"/>
              <a:gd name="connsiteX5885" fmla="*/ 2043190 w 13768337"/>
              <a:gd name="connsiteY5885" fmla="*/ 1526296 h 5071335"/>
              <a:gd name="connsiteX5886" fmla="*/ 2038556 w 13768337"/>
              <a:gd name="connsiteY5886" fmla="*/ 1558070 h 5071335"/>
              <a:gd name="connsiteX5887" fmla="*/ 2018629 w 13768337"/>
              <a:gd name="connsiteY5887" fmla="*/ 1526296 h 5071335"/>
              <a:gd name="connsiteX5888" fmla="*/ 1963949 w 13768337"/>
              <a:gd name="connsiteY5888" fmla="*/ 1537026 h 5071335"/>
              <a:gd name="connsiteX5889" fmla="*/ 1954218 w 13768337"/>
              <a:gd name="connsiteY5889" fmla="*/ 1520722 h 5071335"/>
              <a:gd name="connsiteX5890" fmla="*/ 1986656 w 13768337"/>
              <a:gd name="connsiteY5890" fmla="*/ 1503858 h 5071335"/>
              <a:gd name="connsiteX5891" fmla="*/ 11573939 w 13768337"/>
              <a:gd name="connsiteY5891" fmla="*/ 1502269 h 5071335"/>
              <a:gd name="connsiteX5892" fmla="*/ 11578109 w 13768337"/>
              <a:gd name="connsiteY5892" fmla="*/ 1505197 h 5071335"/>
              <a:gd name="connsiteX5893" fmla="*/ 11578109 w 13768337"/>
              <a:gd name="connsiteY5893" fmla="*/ 1502827 h 5071335"/>
              <a:gd name="connsiteX5894" fmla="*/ 11573939 w 13768337"/>
              <a:gd name="connsiteY5894" fmla="*/ 1502269 h 5071335"/>
              <a:gd name="connsiteX5895" fmla="*/ 11604061 w 13768337"/>
              <a:gd name="connsiteY5895" fmla="*/ 1495719 h 5071335"/>
              <a:gd name="connsiteX5896" fmla="*/ 11601279 w 13768337"/>
              <a:gd name="connsiteY5896" fmla="*/ 1497112 h 5071335"/>
              <a:gd name="connsiteX5897" fmla="*/ 11605913 w 13768337"/>
              <a:gd name="connsiteY5897" fmla="*/ 1499482 h 5071335"/>
              <a:gd name="connsiteX5898" fmla="*/ 11604061 w 13768337"/>
              <a:gd name="connsiteY5898" fmla="*/ 1495719 h 5071335"/>
              <a:gd name="connsiteX5899" fmla="*/ 4707706 w 13768337"/>
              <a:gd name="connsiteY5899" fmla="*/ 1495497 h 5071335"/>
              <a:gd name="connsiteX5900" fmla="*/ 4667315 w 13768337"/>
              <a:gd name="connsiteY5900" fmla="*/ 1504688 h 5071335"/>
              <a:gd name="connsiteX5901" fmla="*/ 4671254 w 13768337"/>
              <a:gd name="connsiteY5901" fmla="*/ 1513755 h 5071335"/>
              <a:gd name="connsiteX5902" fmla="*/ 4678204 w 13768337"/>
              <a:gd name="connsiteY5902" fmla="*/ 1518232 h 5071335"/>
              <a:gd name="connsiteX5903" fmla="*/ 4683301 w 13768337"/>
              <a:gd name="connsiteY5903" fmla="*/ 1517813 h 5071335"/>
              <a:gd name="connsiteX5904" fmla="*/ 4683301 w 13768337"/>
              <a:gd name="connsiteY5904" fmla="*/ 1518232 h 5071335"/>
              <a:gd name="connsiteX5905" fmla="*/ 4697511 w 13768337"/>
              <a:gd name="connsiteY5905" fmla="*/ 1516801 h 5071335"/>
              <a:gd name="connsiteX5906" fmla="*/ 4700466 w 13768337"/>
              <a:gd name="connsiteY5906" fmla="*/ 1510025 h 5071335"/>
              <a:gd name="connsiteX5907" fmla="*/ 4712339 w 13768337"/>
              <a:gd name="connsiteY5907" fmla="*/ 1512778 h 5071335"/>
              <a:gd name="connsiteX5908" fmla="*/ 4726733 w 13768337"/>
              <a:gd name="connsiteY5908" fmla="*/ 1517046 h 5071335"/>
              <a:gd name="connsiteX5909" fmla="*/ 4726166 w 13768337"/>
              <a:gd name="connsiteY5909" fmla="*/ 1514295 h 5071335"/>
              <a:gd name="connsiteX5910" fmla="*/ 4723002 w 13768337"/>
              <a:gd name="connsiteY5910" fmla="*/ 1506974 h 5071335"/>
              <a:gd name="connsiteX5911" fmla="*/ 4715590 w 13768337"/>
              <a:gd name="connsiteY5911" fmla="*/ 1502262 h 5071335"/>
              <a:gd name="connsiteX5912" fmla="*/ 4701219 w 13768337"/>
              <a:gd name="connsiteY5912" fmla="*/ 1502047 h 5071335"/>
              <a:gd name="connsiteX5913" fmla="*/ 4707706 w 13768337"/>
              <a:gd name="connsiteY5913" fmla="*/ 1495497 h 5071335"/>
              <a:gd name="connsiteX5914" fmla="*/ 3067753 w 13768337"/>
              <a:gd name="connsiteY5914" fmla="*/ 1495497 h 5071335"/>
              <a:gd name="connsiteX5915" fmla="*/ 3026512 w 13768337"/>
              <a:gd name="connsiteY5915" fmla="*/ 1513335 h 5071335"/>
              <a:gd name="connsiteX5916" fmla="*/ 3067753 w 13768337"/>
              <a:gd name="connsiteY5916" fmla="*/ 1495497 h 5071335"/>
              <a:gd name="connsiteX5917" fmla="*/ 2824472 w 13768337"/>
              <a:gd name="connsiteY5917" fmla="*/ 1494242 h 5071335"/>
              <a:gd name="connsiteX5918" fmla="*/ 2846715 w 13768337"/>
              <a:gd name="connsiteY5918" fmla="*/ 1496472 h 5071335"/>
              <a:gd name="connsiteX5919" fmla="*/ 2824009 w 13768337"/>
              <a:gd name="connsiteY5919" fmla="*/ 1512360 h 5071335"/>
              <a:gd name="connsiteX5920" fmla="*/ 2818912 w 13768337"/>
              <a:gd name="connsiteY5920" fmla="*/ 1496472 h 5071335"/>
              <a:gd name="connsiteX5921" fmla="*/ 2824472 w 13768337"/>
              <a:gd name="connsiteY5921" fmla="*/ 1494242 h 5071335"/>
              <a:gd name="connsiteX5922" fmla="*/ 3079195 w 13768337"/>
              <a:gd name="connsiteY5922" fmla="*/ 1485092 h 5071335"/>
              <a:gd name="connsiteX5923" fmla="*/ 3090924 w 13768337"/>
              <a:gd name="connsiteY5923" fmla="*/ 1493127 h 5071335"/>
              <a:gd name="connsiteX5924" fmla="*/ 3083973 w 13768337"/>
              <a:gd name="connsiteY5924" fmla="*/ 1489922 h 5071335"/>
              <a:gd name="connsiteX5925" fmla="*/ 3077485 w 13768337"/>
              <a:gd name="connsiteY5925" fmla="*/ 1499678 h 5071335"/>
              <a:gd name="connsiteX5926" fmla="*/ 3070998 w 13768337"/>
              <a:gd name="connsiteY5926" fmla="*/ 1491176 h 5071335"/>
              <a:gd name="connsiteX5927" fmla="*/ 3074706 w 13768337"/>
              <a:gd name="connsiteY5927" fmla="*/ 1485184 h 5071335"/>
              <a:gd name="connsiteX5928" fmla="*/ 3079195 w 13768337"/>
              <a:gd name="connsiteY5928" fmla="*/ 1485092 h 5071335"/>
              <a:gd name="connsiteX5929" fmla="*/ 11717129 w 13768337"/>
              <a:gd name="connsiteY5929" fmla="*/ 1484432 h 5071335"/>
              <a:gd name="connsiteX5930" fmla="*/ 11715739 w 13768337"/>
              <a:gd name="connsiteY5930" fmla="*/ 1487776 h 5071335"/>
              <a:gd name="connsiteX5931" fmla="*/ 11718519 w 13768337"/>
              <a:gd name="connsiteY5931" fmla="*/ 1484432 h 5071335"/>
              <a:gd name="connsiteX5932" fmla="*/ 11717129 w 13768337"/>
              <a:gd name="connsiteY5932" fmla="*/ 1484432 h 5071335"/>
              <a:gd name="connsiteX5933" fmla="*/ 2093237 w 13768337"/>
              <a:gd name="connsiteY5933" fmla="*/ 1476265 h 5071335"/>
              <a:gd name="connsiteX5934" fmla="*/ 2117334 w 13768337"/>
              <a:gd name="connsiteY5934" fmla="*/ 1487832 h 5071335"/>
              <a:gd name="connsiteX5935" fmla="*/ 2087676 w 13768337"/>
              <a:gd name="connsiteY5935" fmla="*/ 1482397 h 5071335"/>
              <a:gd name="connsiteX5936" fmla="*/ 2093237 w 13768337"/>
              <a:gd name="connsiteY5936" fmla="*/ 1476265 h 5071335"/>
              <a:gd name="connsiteX5937" fmla="*/ 4848114 w 13768337"/>
              <a:gd name="connsiteY5937" fmla="*/ 1469158 h 5071335"/>
              <a:gd name="connsiteX5938" fmla="*/ 4847671 w 13768337"/>
              <a:gd name="connsiteY5938" fmla="*/ 1481805 h 5071335"/>
              <a:gd name="connsiteX5939" fmla="*/ 4847806 w 13768337"/>
              <a:gd name="connsiteY5939" fmla="*/ 1482276 h 5071335"/>
              <a:gd name="connsiteX5940" fmla="*/ 4850805 w 13768337"/>
              <a:gd name="connsiteY5940" fmla="*/ 1479817 h 5071335"/>
              <a:gd name="connsiteX5941" fmla="*/ 3719285 w 13768337"/>
              <a:gd name="connsiteY5941" fmla="*/ 1469158 h 5071335"/>
              <a:gd name="connsiteX5942" fmla="*/ 3695653 w 13768337"/>
              <a:gd name="connsiteY5942" fmla="*/ 1487553 h 5071335"/>
              <a:gd name="connsiteX5943" fmla="*/ 3621974 w 13768337"/>
              <a:gd name="connsiteY5943" fmla="*/ 1494660 h 5071335"/>
              <a:gd name="connsiteX5944" fmla="*/ 3495930 w 13768337"/>
              <a:gd name="connsiteY5944" fmla="*/ 1500096 h 5071335"/>
              <a:gd name="connsiteX5945" fmla="*/ 3588493 w 13768337"/>
              <a:gd name="connsiteY5945" fmla="*/ 1506594 h 5071335"/>
              <a:gd name="connsiteX5946" fmla="*/ 3603400 w 13768337"/>
              <a:gd name="connsiteY5946" fmla="*/ 1509202 h 5071335"/>
              <a:gd name="connsiteX5947" fmla="*/ 3628110 w 13768337"/>
              <a:gd name="connsiteY5947" fmla="*/ 1504145 h 5071335"/>
              <a:gd name="connsiteX5948" fmla="*/ 3682834 w 13768337"/>
              <a:gd name="connsiteY5948" fmla="*/ 1498024 h 5071335"/>
              <a:gd name="connsiteX5949" fmla="*/ 3675420 w 13768337"/>
              <a:gd name="connsiteY5949" fmla="*/ 1518232 h 5071335"/>
              <a:gd name="connsiteX5950" fmla="*/ 3694310 w 13768337"/>
              <a:gd name="connsiteY5950" fmla="*/ 1502763 h 5071335"/>
              <a:gd name="connsiteX5951" fmla="*/ 3693336 w 13768337"/>
              <a:gd name="connsiteY5951" fmla="*/ 1502465 h 5071335"/>
              <a:gd name="connsiteX5952" fmla="*/ 3704747 w 13768337"/>
              <a:gd name="connsiteY5952" fmla="*/ 1494051 h 5071335"/>
              <a:gd name="connsiteX5953" fmla="*/ 3705045 w 13768337"/>
              <a:gd name="connsiteY5953" fmla="*/ 1493974 h 5071335"/>
              <a:gd name="connsiteX5954" fmla="*/ 3718959 w 13768337"/>
              <a:gd name="connsiteY5954" fmla="*/ 1482580 h 5071335"/>
              <a:gd name="connsiteX5955" fmla="*/ 3717027 w 13768337"/>
              <a:gd name="connsiteY5955" fmla="*/ 1478651 h 5071335"/>
              <a:gd name="connsiteX5956" fmla="*/ 3719285 w 13768337"/>
              <a:gd name="connsiteY5956" fmla="*/ 1469158 h 5071335"/>
              <a:gd name="connsiteX5957" fmla="*/ 2853667 w 13768337"/>
              <a:gd name="connsiteY5957" fmla="*/ 1466510 h 5071335"/>
              <a:gd name="connsiteX5958" fmla="*/ 2873129 w 13768337"/>
              <a:gd name="connsiteY5958" fmla="*/ 1487553 h 5071335"/>
              <a:gd name="connsiteX5959" fmla="*/ 2853667 w 13768337"/>
              <a:gd name="connsiteY5959" fmla="*/ 1466510 h 5071335"/>
              <a:gd name="connsiteX5960" fmla="*/ 4839659 w 13768337"/>
              <a:gd name="connsiteY5960" fmla="*/ 1466446 h 5071335"/>
              <a:gd name="connsiteX5961" fmla="*/ 4840604 w 13768337"/>
              <a:gd name="connsiteY5961" fmla="*/ 1469030 h 5071335"/>
              <a:gd name="connsiteX5962" fmla="*/ 4842947 w 13768337"/>
              <a:gd name="connsiteY5962" fmla="*/ 1468736 h 5071335"/>
              <a:gd name="connsiteX5963" fmla="*/ 4843635 w 13768337"/>
              <a:gd name="connsiteY5963" fmla="*/ 1467783 h 5071335"/>
              <a:gd name="connsiteX5964" fmla="*/ 4843876 w 13768337"/>
              <a:gd name="connsiteY5964" fmla="*/ 1468620 h 5071335"/>
              <a:gd name="connsiteX5965" fmla="*/ 4846261 w 13768337"/>
              <a:gd name="connsiteY5965" fmla="*/ 1468320 h 5071335"/>
              <a:gd name="connsiteX5966" fmla="*/ 4862770 w 13768337"/>
              <a:gd name="connsiteY5966" fmla="*/ 1466247 h 5071335"/>
              <a:gd name="connsiteX5967" fmla="*/ 4853212 w 13768337"/>
              <a:gd name="connsiteY5967" fmla="*/ 1467345 h 5071335"/>
              <a:gd name="connsiteX5968" fmla="*/ 4851358 w 13768337"/>
              <a:gd name="connsiteY5968" fmla="*/ 1469158 h 5071335"/>
              <a:gd name="connsiteX5969" fmla="*/ 4858430 w 13768337"/>
              <a:gd name="connsiteY5969" fmla="*/ 1473563 h 5071335"/>
              <a:gd name="connsiteX5970" fmla="*/ 4862462 w 13768337"/>
              <a:gd name="connsiteY5970" fmla="*/ 1470257 h 5071335"/>
              <a:gd name="connsiteX5971" fmla="*/ 4774667 w 13768337"/>
              <a:gd name="connsiteY5971" fmla="*/ 1464901 h 5071335"/>
              <a:gd name="connsiteX5972" fmla="*/ 4769278 w 13768337"/>
              <a:gd name="connsiteY5972" fmla="*/ 1466248 h 5071335"/>
              <a:gd name="connsiteX5973" fmla="*/ 4735973 w 13768337"/>
              <a:gd name="connsiteY5973" fmla="*/ 1488946 h 5071335"/>
              <a:gd name="connsiteX5974" fmla="*/ 4713267 w 13768337"/>
              <a:gd name="connsiteY5974" fmla="*/ 1494103 h 5071335"/>
              <a:gd name="connsiteX5975" fmla="*/ 4724214 w 13768337"/>
              <a:gd name="connsiteY5975" fmla="*/ 1500061 h 5071335"/>
              <a:gd name="connsiteX5976" fmla="*/ 4738873 w 13768337"/>
              <a:gd name="connsiteY5976" fmla="*/ 1501788 h 5071335"/>
              <a:gd name="connsiteX5977" fmla="*/ 4747946 w 13768337"/>
              <a:gd name="connsiteY5977" fmla="*/ 1500184 h 5071335"/>
              <a:gd name="connsiteX5978" fmla="*/ 4777370 w 13768337"/>
              <a:gd name="connsiteY5978" fmla="*/ 1495376 h 5071335"/>
              <a:gd name="connsiteX5979" fmla="*/ 4771346 w 13768337"/>
              <a:gd name="connsiteY5979" fmla="*/ 1490220 h 5071335"/>
              <a:gd name="connsiteX5980" fmla="*/ 4771776 w 13768337"/>
              <a:gd name="connsiteY5980" fmla="*/ 1486944 h 5071335"/>
              <a:gd name="connsiteX5981" fmla="*/ 4761684 w 13768337"/>
              <a:gd name="connsiteY5981" fmla="*/ 1489274 h 5071335"/>
              <a:gd name="connsiteX5982" fmla="*/ 4748021 w 13768337"/>
              <a:gd name="connsiteY5982" fmla="*/ 1483651 h 5071335"/>
              <a:gd name="connsiteX5983" fmla="*/ 4773204 w 13768337"/>
              <a:gd name="connsiteY5983" fmla="*/ 1476055 h 5071335"/>
              <a:gd name="connsiteX5984" fmla="*/ 1909733 w 13768337"/>
              <a:gd name="connsiteY5984" fmla="*/ 1462329 h 5071335"/>
              <a:gd name="connsiteX5985" fmla="*/ 1923171 w 13768337"/>
              <a:gd name="connsiteY5985" fmla="*/ 1492569 h 5071335"/>
              <a:gd name="connsiteX5986" fmla="*/ 1918537 w 13768337"/>
              <a:gd name="connsiteY5986" fmla="*/ 1508040 h 5071335"/>
              <a:gd name="connsiteX5987" fmla="*/ 1870344 w 13768337"/>
              <a:gd name="connsiteY5987" fmla="*/ 1502882 h 5071335"/>
              <a:gd name="connsiteX5988" fmla="*/ 1879612 w 13768337"/>
              <a:gd name="connsiteY5988" fmla="*/ 1481839 h 5071335"/>
              <a:gd name="connsiteX5989" fmla="*/ 1909733 w 13768337"/>
              <a:gd name="connsiteY5989" fmla="*/ 1462329 h 5071335"/>
              <a:gd name="connsiteX5990" fmla="*/ 4822029 w 13768337"/>
              <a:gd name="connsiteY5990" fmla="*/ 1459289 h 5071335"/>
              <a:gd name="connsiteX5991" fmla="*/ 4822321 w 13768337"/>
              <a:gd name="connsiteY5991" fmla="*/ 1466250 h 5071335"/>
              <a:gd name="connsiteX5992" fmla="*/ 4827100 w 13768337"/>
              <a:gd name="connsiteY5992" fmla="*/ 1465734 h 5071335"/>
              <a:gd name="connsiteX5993" fmla="*/ 4829207 w 13768337"/>
              <a:gd name="connsiteY5993" fmla="*/ 1462229 h 5071335"/>
              <a:gd name="connsiteX5994" fmla="*/ 4822627 w 13768337"/>
              <a:gd name="connsiteY5994" fmla="*/ 1459402 h 5071335"/>
              <a:gd name="connsiteX5995" fmla="*/ 4806192 w 13768337"/>
              <a:gd name="connsiteY5995" fmla="*/ 1457016 h 5071335"/>
              <a:gd name="connsiteX5996" fmla="*/ 4803616 w 13768337"/>
              <a:gd name="connsiteY5996" fmla="*/ 1457661 h 5071335"/>
              <a:gd name="connsiteX5997" fmla="*/ 4804249 w 13768337"/>
              <a:gd name="connsiteY5997" fmla="*/ 1459142 h 5071335"/>
              <a:gd name="connsiteX5998" fmla="*/ 2853667 w 13768337"/>
              <a:gd name="connsiteY5998" fmla="*/ 1452016 h 5071335"/>
              <a:gd name="connsiteX5999" fmla="*/ 2844398 w 13768337"/>
              <a:gd name="connsiteY5999" fmla="*/ 1456614 h 5071335"/>
              <a:gd name="connsiteX6000" fmla="*/ 2841618 w 13768337"/>
              <a:gd name="connsiteY6000" fmla="*/ 1465953 h 5071335"/>
              <a:gd name="connsiteX6001" fmla="*/ 2828642 w 13768337"/>
              <a:gd name="connsiteY6001" fmla="*/ 1453409 h 5071335"/>
              <a:gd name="connsiteX6002" fmla="*/ 2853667 w 13768337"/>
              <a:gd name="connsiteY6002" fmla="*/ 1452016 h 5071335"/>
              <a:gd name="connsiteX6003" fmla="*/ 11570695 w 13768337"/>
              <a:gd name="connsiteY6003" fmla="*/ 1451821 h 5071335"/>
              <a:gd name="connsiteX6004" fmla="*/ 11572085 w 13768337"/>
              <a:gd name="connsiteY6004" fmla="*/ 1479972 h 5071335"/>
              <a:gd name="connsiteX6005" fmla="*/ 11587841 w 13768337"/>
              <a:gd name="connsiteY6005" fmla="*/ 1466314 h 5071335"/>
              <a:gd name="connsiteX6006" fmla="*/ 11570695 w 13768337"/>
              <a:gd name="connsiteY6006" fmla="*/ 1451821 h 5071335"/>
              <a:gd name="connsiteX6007" fmla="*/ 4868967 w 13768337"/>
              <a:gd name="connsiteY6007" fmla="*/ 1446301 h 5071335"/>
              <a:gd name="connsiteX6008" fmla="*/ 4843944 w 13768337"/>
              <a:gd name="connsiteY6008" fmla="*/ 1455779 h 5071335"/>
              <a:gd name="connsiteX6009" fmla="*/ 4846724 w 13768337"/>
              <a:gd name="connsiteY6009" fmla="*/ 1455779 h 5071335"/>
              <a:gd name="connsiteX6010" fmla="*/ 4856803 w 13768337"/>
              <a:gd name="connsiteY6010" fmla="*/ 1460709 h 5071335"/>
              <a:gd name="connsiteX6011" fmla="*/ 4863007 w 13768337"/>
              <a:gd name="connsiteY6011" fmla="*/ 1463170 h 5071335"/>
              <a:gd name="connsiteX6012" fmla="*/ 4863561 w 13768337"/>
              <a:gd name="connsiteY6012" fmla="*/ 1455937 h 5071335"/>
              <a:gd name="connsiteX6013" fmla="*/ 4870513 w 13768337"/>
              <a:gd name="connsiteY6013" fmla="*/ 1450154 h 5071335"/>
              <a:gd name="connsiteX6014" fmla="*/ 4873049 w 13768337"/>
              <a:gd name="connsiteY6014" fmla="*/ 1449167 h 5071335"/>
              <a:gd name="connsiteX6015" fmla="*/ 11649010 w 13768337"/>
              <a:gd name="connsiteY6015" fmla="*/ 1445688 h 5071335"/>
              <a:gd name="connsiteX6016" fmla="*/ 11655959 w 13768337"/>
              <a:gd name="connsiteY6016" fmla="*/ 1460182 h 5071335"/>
              <a:gd name="connsiteX6017" fmla="*/ 11650862 w 13768337"/>
              <a:gd name="connsiteY6017" fmla="*/ 1450844 h 5071335"/>
              <a:gd name="connsiteX6018" fmla="*/ 11640668 w 13768337"/>
              <a:gd name="connsiteY6018" fmla="*/ 1452378 h 5071335"/>
              <a:gd name="connsiteX6019" fmla="*/ 11649010 w 13768337"/>
              <a:gd name="connsiteY6019" fmla="*/ 1445688 h 5071335"/>
              <a:gd name="connsiteX6020" fmla="*/ 4875021 w 13768337"/>
              <a:gd name="connsiteY6020" fmla="*/ 1444688 h 5071335"/>
              <a:gd name="connsiteX6021" fmla="*/ 4873601 w 13768337"/>
              <a:gd name="connsiteY6021" fmla="*/ 1444909 h 5071335"/>
              <a:gd name="connsiteX6022" fmla="*/ 4874263 w 13768337"/>
              <a:gd name="connsiteY6022" fmla="*/ 1448694 h 5071335"/>
              <a:gd name="connsiteX6023" fmla="*/ 4875292 w 13768337"/>
              <a:gd name="connsiteY6023" fmla="*/ 1448294 h 5071335"/>
              <a:gd name="connsiteX6024" fmla="*/ 4912062 w 13768337"/>
              <a:gd name="connsiteY6024" fmla="*/ 1438916 h 5071335"/>
              <a:gd name="connsiteX6025" fmla="*/ 4876879 w 13768337"/>
              <a:gd name="connsiteY6025" fmla="*/ 1444398 h 5071335"/>
              <a:gd name="connsiteX6026" fmla="*/ 4877754 w 13768337"/>
              <a:gd name="connsiteY6026" fmla="*/ 1446077 h 5071335"/>
              <a:gd name="connsiteX6027" fmla="*/ 4875611 w 13768337"/>
              <a:gd name="connsiteY6027" fmla="*/ 1454683 h 5071335"/>
              <a:gd name="connsiteX6028" fmla="*/ 4899236 w 13768337"/>
              <a:gd name="connsiteY6028" fmla="*/ 1447593 h 5071335"/>
              <a:gd name="connsiteX6029" fmla="*/ 4919518 w 13768337"/>
              <a:gd name="connsiteY6029" fmla="*/ 1445377 h 5071335"/>
              <a:gd name="connsiteX6030" fmla="*/ 4917739 w 13768337"/>
              <a:gd name="connsiteY6030" fmla="*/ 1444142 h 5071335"/>
              <a:gd name="connsiteX6031" fmla="*/ 4912062 w 13768337"/>
              <a:gd name="connsiteY6031" fmla="*/ 1438916 h 5071335"/>
              <a:gd name="connsiteX6032" fmla="*/ 1711400 w 13768337"/>
              <a:gd name="connsiteY6032" fmla="*/ 1417315 h 5071335"/>
              <a:gd name="connsiteX6033" fmla="*/ 1732252 w 13768337"/>
              <a:gd name="connsiteY6033" fmla="*/ 1418151 h 5071335"/>
              <a:gd name="connsiteX6034" fmla="*/ 1700742 w 13768337"/>
              <a:gd name="connsiteY6034" fmla="*/ 1432366 h 5071335"/>
              <a:gd name="connsiteX6035" fmla="*/ 1711400 w 13768337"/>
              <a:gd name="connsiteY6035" fmla="*/ 1417315 h 5071335"/>
              <a:gd name="connsiteX6036" fmla="*/ 2599882 w 13768337"/>
              <a:gd name="connsiteY6036" fmla="*/ 1415522 h 5071335"/>
              <a:gd name="connsiteX6037" fmla="*/ 2612857 w 13768337"/>
              <a:gd name="connsiteY6037" fmla="*/ 1422352 h 5071335"/>
              <a:gd name="connsiteX6038" fmla="*/ 2594786 w 13768337"/>
              <a:gd name="connsiteY6038" fmla="*/ 1429737 h 5071335"/>
              <a:gd name="connsiteX6039" fmla="*/ 2593395 w 13768337"/>
              <a:gd name="connsiteY6039" fmla="*/ 1416776 h 5071335"/>
              <a:gd name="connsiteX6040" fmla="*/ 2599882 w 13768337"/>
              <a:gd name="connsiteY6040" fmla="*/ 1415522 h 5071335"/>
              <a:gd name="connsiteX6041" fmla="*/ 1880075 w 13768337"/>
              <a:gd name="connsiteY6041" fmla="*/ 1407978 h 5071335"/>
              <a:gd name="connsiteX6042" fmla="*/ 1888416 w 13768337"/>
              <a:gd name="connsiteY6042" fmla="*/ 1408396 h 5071335"/>
              <a:gd name="connsiteX6043" fmla="*/ 1866637 w 13768337"/>
              <a:gd name="connsiteY6043" fmla="*/ 1424422 h 5071335"/>
              <a:gd name="connsiteX6044" fmla="*/ 1869881 w 13768337"/>
              <a:gd name="connsiteY6044" fmla="*/ 1441564 h 5071335"/>
              <a:gd name="connsiteX6045" fmla="*/ 1862004 w 13768337"/>
              <a:gd name="connsiteY6045" fmla="*/ 1414527 h 5071335"/>
              <a:gd name="connsiteX6046" fmla="*/ 1880075 w 13768337"/>
              <a:gd name="connsiteY6046" fmla="*/ 1407978 h 5071335"/>
              <a:gd name="connsiteX6047" fmla="*/ 3037633 w 13768337"/>
              <a:gd name="connsiteY6047" fmla="*/ 1407002 h 5071335"/>
              <a:gd name="connsiteX6048" fmla="*/ 3053853 w 13768337"/>
              <a:gd name="connsiteY6048" fmla="*/ 1408396 h 5071335"/>
              <a:gd name="connsiteX6049" fmla="*/ 3028829 w 13768337"/>
              <a:gd name="connsiteY6049" fmla="*/ 1408396 h 5071335"/>
              <a:gd name="connsiteX6050" fmla="*/ 3037633 w 13768337"/>
              <a:gd name="connsiteY6050" fmla="*/ 1407002 h 5071335"/>
              <a:gd name="connsiteX6051" fmla="*/ 11563281 w 13768337"/>
              <a:gd name="connsiteY6051" fmla="*/ 1402625 h 5071335"/>
              <a:gd name="connsiteX6052" fmla="*/ 11550307 w 13768337"/>
              <a:gd name="connsiteY6052" fmla="*/ 1403601 h 5071335"/>
              <a:gd name="connsiteX6053" fmla="*/ 11559574 w 13768337"/>
              <a:gd name="connsiteY6053" fmla="*/ 1408757 h 5071335"/>
              <a:gd name="connsiteX6054" fmla="*/ 11563281 w 13768337"/>
              <a:gd name="connsiteY6054" fmla="*/ 1402625 h 5071335"/>
              <a:gd name="connsiteX6055" fmla="*/ 11621206 w 13768337"/>
              <a:gd name="connsiteY6055" fmla="*/ 1397051 h 5071335"/>
              <a:gd name="connsiteX6056" fmla="*/ 11574867 w 13768337"/>
              <a:gd name="connsiteY6056" fmla="*/ 1401232 h 5071335"/>
              <a:gd name="connsiteX6057" fmla="*/ 11612402 w 13768337"/>
              <a:gd name="connsiteY6057" fmla="*/ 1421022 h 5071335"/>
              <a:gd name="connsiteX6058" fmla="*/ 11623523 w 13768337"/>
              <a:gd name="connsiteY6058" fmla="*/ 1397051 h 5071335"/>
              <a:gd name="connsiteX6059" fmla="*/ 11621206 w 13768337"/>
              <a:gd name="connsiteY6059" fmla="*/ 1397051 h 5071335"/>
              <a:gd name="connsiteX6060" fmla="*/ 1748935 w 13768337"/>
              <a:gd name="connsiteY6060" fmla="*/ 1387910 h 5071335"/>
              <a:gd name="connsiteX6061" fmla="*/ 1752178 w 13768337"/>
              <a:gd name="connsiteY6061" fmla="*/ 1409790 h 5071335"/>
              <a:gd name="connsiteX6062" fmla="*/ 1780909 w 13768337"/>
              <a:gd name="connsiteY6062" fmla="*/ 1409790 h 5071335"/>
              <a:gd name="connsiteX6063" fmla="*/ 1756812 w 13768337"/>
              <a:gd name="connsiteY6063" fmla="*/ 1415503 h 5071335"/>
              <a:gd name="connsiteX6064" fmla="*/ 1780909 w 13768337"/>
              <a:gd name="connsiteY6064" fmla="*/ 1430416 h 5071335"/>
              <a:gd name="connsiteX6065" fmla="*/ 1825858 w 13768337"/>
              <a:gd name="connsiteY6065" fmla="*/ 1415503 h 5071335"/>
              <a:gd name="connsiteX6066" fmla="*/ 1785543 w 13768337"/>
              <a:gd name="connsiteY6066" fmla="*/ 1452852 h 5071335"/>
              <a:gd name="connsiteX6067" fmla="*/ 1766544 w 13768337"/>
              <a:gd name="connsiteY6067" fmla="*/ 1430416 h 5071335"/>
              <a:gd name="connsiteX6068" fmla="*/ 1739666 w 13768337"/>
              <a:gd name="connsiteY6068" fmla="*/ 1441564 h 5071335"/>
              <a:gd name="connsiteX6069" fmla="*/ 1752178 w 13768337"/>
              <a:gd name="connsiteY6069" fmla="*/ 1435988 h 5071335"/>
              <a:gd name="connsiteX6070" fmla="*/ 1734106 w 13768337"/>
              <a:gd name="connsiteY6070" fmla="*/ 1425258 h 5071335"/>
              <a:gd name="connsiteX6071" fmla="*/ 1752178 w 13768337"/>
              <a:gd name="connsiteY6071" fmla="*/ 1419685 h 5071335"/>
              <a:gd name="connsiteX6072" fmla="*/ 1702595 w 13768337"/>
              <a:gd name="connsiteY6072" fmla="*/ 1415503 h 5071335"/>
              <a:gd name="connsiteX6073" fmla="*/ 1724839 w 13768337"/>
              <a:gd name="connsiteY6073" fmla="*/ 1392927 h 5071335"/>
              <a:gd name="connsiteX6074" fmla="*/ 1744300 w 13768337"/>
              <a:gd name="connsiteY6074" fmla="*/ 1409790 h 5071335"/>
              <a:gd name="connsiteX6075" fmla="*/ 1748935 w 13768337"/>
              <a:gd name="connsiteY6075" fmla="*/ 1387910 h 5071335"/>
              <a:gd name="connsiteX6076" fmla="*/ 2932443 w 13768337"/>
              <a:gd name="connsiteY6076" fmla="*/ 1383590 h 5071335"/>
              <a:gd name="connsiteX6077" fmla="*/ 2928273 w 13768337"/>
              <a:gd name="connsiteY6077" fmla="*/ 1413552 h 5071335"/>
              <a:gd name="connsiteX6078" fmla="*/ 2948199 w 13768337"/>
              <a:gd name="connsiteY6078" fmla="*/ 1415782 h 5071335"/>
              <a:gd name="connsiteX6079" fmla="*/ 2897225 w 13768337"/>
              <a:gd name="connsiteY6079" fmla="*/ 1430416 h 5071335"/>
              <a:gd name="connsiteX6080" fmla="*/ 2892127 w 13768337"/>
              <a:gd name="connsiteY6080" fmla="*/ 1421078 h 5071335"/>
              <a:gd name="connsiteX6081" fmla="*/ 2899543 w 13768337"/>
              <a:gd name="connsiteY6081" fmla="*/ 1413552 h 5071335"/>
              <a:gd name="connsiteX6082" fmla="*/ 2893055 w 13768337"/>
              <a:gd name="connsiteY6082" fmla="*/ 1410207 h 5071335"/>
              <a:gd name="connsiteX6083" fmla="*/ 2932443 w 13768337"/>
              <a:gd name="connsiteY6083" fmla="*/ 1383590 h 5071335"/>
              <a:gd name="connsiteX6084" fmla="*/ 11617961 w 13768337"/>
              <a:gd name="connsiteY6084" fmla="*/ 1383394 h 5071335"/>
              <a:gd name="connsiteX6085" fmla="*/ 11602206 w 13768337"/>
              <a:gd name="connsiteY6085" fmla="*/ 1389526 h 5071335"/>
              <a:gd name="connsiteX6086" fmla="*/ 11623986 w 13768337"/>
              <a:gd name="connsiteY6086" fmla="*/ 1388690 h 5071335"/>
              <a:gd name="connsiteX6087" fmla="*/ 11617961 w 13768337"/>
              <a:gd name="connsiteY6087" fmla="*/ 1383394 h 5071335"/>
              <a:gd name="connsiteX6088" fmla="*/ 2347177 w 13768337"/>
              <a:gd name="connsiteY6088" fmla="*/ 1371325 h 5071335"/>
              <a:gd name="connsiteX6089" fmla="*/ 2364786 w 13768337"/>
              <a:gd name="connsiteY6089" fmla="*/ 1377040 h 5071335"/>
              <a:gd name="connsiteX6090" fmla="*/ 2364786 w 13768337"/>
              <a:gd name="connsiteY6090" fmla="*/ 1400035 h 5071335"/>
              <a:gd name="connsiteX6091" fmla="*/ 2334665 w 13768337"/>
              <a:gd name="connsiteY6091" fmla="*/ 1382614 h 5071335"/>
              <a:gd name="connsiteX6092" fmla="*/ 2347177 w 13768337"/>
              <a:gd name="connsiteY6092" fmla="*/ 1371325 h 5071335"/>
              <a:gd name="connsiteX6093" fmla="*/ 2425026 w 13768337"/>
              <a:gd name="connsiteY6093" fmla="*/ 1371046 h 5071335"/>
              <a:gd name="connsiteX6094" fmla="*/ 2439855 w 13768337"/>
              <a:gd name="connsiteY6094" fmla="*/ 1373694 h 5071335"/>
              <a:gd name="connsiteX6095" fmla="*/ 2434294 w 13768337"/>
              <a:gd name="connsiteY6095" fmla="*/ 1395714 h 5071335"/>
              <a:gd name="connsiteX6096" fmla="*/ 2413441 w 13768337"/>
              <a:gd name="connsiteY6096" fmla="*/ 1379408 h 5071335"/>
              <a:gd name="connsiteX6097" fmla="*/ 2425026 w 13768337"/>
              <a:gd name="connsiteY6097" fmla="*/ 1371046 h 5071335"/>
              <a:gd name="connsiteX6098" fmla="*/ 2655334 w 13768337"/>
              <a:gd name="connsiteY6098" fmla="*/ 1367703 h 5071335"/>
              <a:gd name="connsiteX6099" fmla="*/ 2663675 w 13768337"/>
              <a:gd name="connsiteY6099" fmla="*/ 1372858 h 5071335"/>
              <a:gd name="connsiteX6100" fmla="*/ 2650236 w 13768337"/>
              <a:gd name="connsiteY6100" fmla="*/ 1372858 h 5071335"/>
              <a:gd name="connsiteX6101" fmla="*/ 2655334 w 13768337"/>
              <a:gd name="connsiteY6101" fmla="*/ 1367703 h 5071335"/>
              <a:gd name="connsiteX6102" fmla="*/ 2500560 w 13768337"/>
              <a:gd name="connsiteY6102" fmla="*/ 1367703 h 5071335"/>
              <a:gd name="connsiteX6103" fmla="*/ 2586751 w 13768337"/>
              <a:gd name="connsiteY6103" fmla="*/ 1379408 h 5071335"/>
              <a:gd name="connsiteX6104" fmla="*/ 2582118 w 13768337"/>
              <a:gd name="connsiteY6104" fmla="*/ 1389164 h 5071335"/>
              <a:gd name="connsiteX6105" fmla="*/ 2478316 w 13768337"/>
              <a:gd name="connsiteY6105" fmla="*/ 1377875 h 5071335"/>
              <a:gd name="connsiteX6106" fmla="*/ 2500560 w 13768337"/>
              <a:gd name="connsiteY6106" fmla="*/ 1367703 h 5071335"/>
              <a:gd name="connsiteX6107" fmla="*/ 2721135 w 13768337"/>
              <a:gd name="connsiteY6107" fmla="*/ 1349446 h 5071335"/>
              <a:gd name="connsiteX6108" fmla="*/ 2765158 w 13768337"/>
              <a:gd name="connsiteY6108" fmla="*/ 1353209 h 5071335"/>
              <a:gd name="connsiteX6109" fmla="*/ 2751256 w 13768337"/>
              <a:gd name="connsiteY6109" fmla="*/ 1383590 h 5071335"/>
              <a:gd name="connsiteX6110" fmla="*/ 2710478 w 13768337"/>
              <a:gd name="connsiteY6110" fmla="*/ 1357946 h 5071335"/>
              <a:gd name="connsiteX6111" fmla="*/ 2721135 w 13768337"/>
              <a:gd name="connsiteY6111" fmla="*/ 1349446 h 5071335"/>
              <a:gd name="connsiteX6112" fmla="*/ 2647456 w 13768337"/>
              <a:gd name="connsiteY6112" fmla="*/ 1347077 h 5071335"/>
              <a:gd name="connsiteX6113" fmla="*/ 2683601 w 13768337"/>
              <a:gd name="connsiteY6113" fmla="*/ 1347077 h 5071335"/>
              <a:gd name="connsiteX6114" fmla="*/ 2655334 w 13768337"/>
              <a:gd name="connsiteY6114" fmla="*/ 1367703 h 5071335"/>
              <a:gd name="connsiteX6115" fmla="*/ 2660430 w 13768337"/>
              <a:gd name="connsiteY6115" fmla="*/ 1362546 h 5071335"/>
              <a:gd name="connsiteX6116" fmla="*/ 2611774 w 13768337"/>
              <a:gd name="connsiteY6116" fmla="*/ 1357390 h 5071335"/>
              <a:gd name="connsiteX6117" fmla="*/ 2647456 w 13768337"/>
              <a:gd name="connsiteY6117" fmla="*/ 1347077 h 5071335"/>
              <a:gd name="connsiteX6118" fmla="*/ 11581817 w 13768337"/>
              <a:gd name="connsiteY6118" fmla="*/ 1345627 h 5071335"/>
              <a:gd name="connsiteX6119" fmla="*/ 11579036 w 13768337"/>
              <a:gd name="connsiteY6119" fmla="*/ 1352595 h 5071335"/>
              <a:gd name="connsiteX6120" fmla="*/ 11584598 w 13768337"/>
              <a:gd name="connsiteY6120" fmla="*/ 1345627 h 5071335"/>
              <a:gd name="connsiteX6121" fmla="*/ 11581817 w 13768337"/>
              <a:gd name="connsiteY6121" fmla="*/ 1345627 h 5071335"/>
              <a:gd name="connsiteX6122" fmla="*/ 2000558 w 13768337"/>
              <a:gd name="connsiteY6122" fmla="*/ 1340109 h 5071335"/>
              <a:gd name="connsiteX6123" fmla="*/ 2058018 w 13768337"/>
              <a:gd name="connsiteY6123" fmla="*/ 1350003 h 5071335"/>
              <a:gd name="connsiteX6124" fmla="*/ 1988973 w 13768337"/>
              <a:gd name="connsiteY6124" fmla="*/ 1344708 h 5071335"/>
              <a:gd name="connsiteX6125" fmla="*/ 2000558 w 13768337"/>
              <a:gd name="connsiteY6125" fmla="*/ 1340109 h 5071335"/>
              <a:gd name="connsiteX6126" fmla="*/ 1353660 w 13768337"/>
              <a:gd name="connsiteY6126" fmla="*/ 1337879 h 5071335"/>
              <a:gd name="connsiteX6127" fmla="*/ 1371268 w 13768337"/>
              <a:gd name="connsiteY6127" fmla="*/ 1337879 h 5071335"/>
              <a:gd name="connsiteX6128" fmla="*/ 1371268 w 13768337"/>
              <a:gd name="connsiteY6128" fmla="*/ 1354741 h 5071335"/>
              <a:gd name="connsiteX6129" fmla="*/ 1353660 w 13768337"/>
              <a:gd name="connsiteY6129" fmla="*/ 1337879 h 5071335"/>
              <a:gd name="connsiteX6130" fmla="*/ 1969974 w 13768337"/>
              <a:gd name="connsiteY6130" fmla="*/ 1330772 h 5071335"/>
              <a:gd name="connsiteX6131" fmla="*/ 1983876 w 13768337"/>
              <a:gd name="connsiteY6131" fmla="*/ 1337879 h 5071335"/>
              <a:gd name="connsiteX6132" fmla="*/ 1969974 w 13768337"/>
              <a:gd name="connsiteY6132" fmla="*/ 1330772 h 5071335"/>
              <a:gd name="connsiteX6133" fmla="*/ 1931976 w 13768337"/>
              <a:gd name="connsiteY6133" fmla="*/ 1329796 h 5071335"/>
              <a:gd name="connsiteX6134" fmla="*/ 1959316 w 13768337"/>
              <a:gd name="connsiteY6134" fmla="*/ 1338714 h 5071335"/>
              <a:gd name="connsiteX6135" fmla="*/ 1924562 w 13768337"/>
              <a:gd name="connsiteY6135" fmla="*/ 1333977 h 5071335"/>
              <a:gd name="connsiteX6136" fmla="*/ 1931976 w 13768337"/>
              <a:gd name="connsiteY6136" fmla="*/ 1329796 h 5071335"/>
              <a:gd name="connsiteX6137" fmla="*/ 2648383 w 13768337"/>
              <a:gd name="connsiteY6137" fmla="*/ 1317671 h 5071335"/>
              <a:gd name="connsiteX6138" fmla="*/ 2660894 w 13768337"/>
              <a:gd name="connsiteY6138" fmla="*/ 1333977 h 5071335"/>
              <a:gd name="connsiteX6139" fmla="*/ 2652090 w 13768337"/>
              <a:gd name="connsiteY6139" fmla="*/ 1328959 h 5071335"/>
              <a:gd name="connsiteX6140" fmla="*/ 2631700 w 13768337"/>
              <a:gd name="connsiteY6140" fmla="*/ 1326033 h 5071335"/>
              <a:gd name="connsiteX6141" fmla="*/ 2648383 w 13768337"/>
              <a:gd name="connsiteY6141" fmla="*/ 1317671 h 5071335"/>
              <a:gd name="connsiteX6142" fmla="*/ 1887026 w 13768337"/>
              <a:gd name="connsiteY6142" fmla="*/ 1316835 h 5071335"/>
              <a:gd name="connsiteX6143" fmla="*/ 1905099 w 13768337"/>
              <a:gd name="connsiteY6143" fmla="*/ 1330214 h 5071335"/>
              <a:gd name="connsiteX6144" fmla="*/ 1885172 w 13768337"/>
              <a:gd name="connsiteY6144" fmla="*/ 1328959 h 5071335"/>
              <a:gd name="connsiteX6145" fmla="*/ 1887026 w 13768337"/>
              <a:gd name="connsiteY6145" fmla="*/ 1316835 h 5071335"/>
              <a:gd name="connsiteX6146" fmla="*/ 1317052 w 13768337"/>
              <a:gd name="connsiteY6146" fmla="*/ 1315859 h 5071335"/>
              <a:gd name="connsiteX6147" fmla="*/ 1351343 w 13768337"/>
              <a:gd name="connsiteY6147" fmla="*/ 1320459 h 5071335"/>
              <a:gd name="connsiteX6148" fmla="*/ 1319832 w 13768337"/>
              <a:gd name="connsiteY6148" fmla="*/ 1346101 h 5071335"/>
              <a:gd name="connsiteX6149" fmla="*/ 1292029 w 13768337"/>
              <a:gd name="connsiteY6149" fmla="*/ 1325616 h 5071335"/>
              <a:gd name="connsiteX6150" fmla="*/ 1317052 w 13768337"/>
              <a:gd name="connsiteY6150" fmla="*/ 1315859 h 5071335"/>
              <a:gd name="connsiteX6151" fmla="*/ 2892127 w 13768337"/>
              <a:gd name="connsiteY6151" fmla="*/ 1312654 h 5071335"/>
              <a:gd name="connsiteX6152" fmla="*/ 2872665 w 13768337"/>
              <a:gd name="connsiteY6152" fmla="*/ 1319065 h 5071335"/>
              <a:gd name="connsiteX6153" fmla="*/ 2892127 w 13768337"/>
              <a:gd name="connsiteY6153" fmla="*/ 1312654 h 5071335"/>
              <a:gd name="connsiteX6154" fmla="*/ 1462093 w 13768337"/>
              <a:gd name="connsiteY6154" fmla="*/ 1308753 h 5071335"/>
              <a:gd name="connsiteX6155" fmla="*/ 1514920 w 13768337"/>
              <a:gd name="connsiteY6155" fmla="*/ 1313909 h 5071335"/>
              <a:gd name="connsiteX6156" fmla="*/ 1501019 w 13768337"/>
              <a:gd name="connsiteY6156" fmla="*/ 1329796 h 5071335"/>
              <a:gd name="connsiteX6157" fmla="*/ 1466264 w 13768337"/>
              <a:gd name="connsiteY6157" fmla="*/ 1335510 h 5071335"/>
              <a:gd name="connsiteX6158" fmla="*/ 1462093 w 13768337"/>
              <a:gd name="connsiteY6158" fmla="*/ 1308753 h 5071335"/>
              <a:gd name="connsiteX6159" fmla="*/ 1437071 w 13768337"/>
              <a:gd name="connsiteY6159" fmla="*/ 1308753 h 5071335"/>
              <a:gd name="connsiteX6160" fmla="*/ 1460240 w 13768337"/>
              <a:gd name="connsiteY6160" fmla="*/ 1330772 h 5071335"/>
              <a:gd name="connsiteX6161" fmla="*/ 1455606 w 13768337"/>
              <a:gd name="connsiteY6161" fmla="*/ 1342061 h 5071335"/>
              <a:gd name="connsiteX6162" fmla="*/ 1446802 w 13768337"/>
              <a:gd name="connsiteY6162" fmla="*/ 1342061 h 5071335"/>
              <a:gd name="connsiteX6163" fmla="*/ 1432437 w 13768337"/>
              <a:gd name="connsiteY6163" fmla="*/ 1330772 h 5071335"/>
              <a:gd name="connsiteX6164" fmla="*/ 1437071 w 13768337"/>
              <a:gd name="connsiteY6164" fmla="*/ 1308753 h 5071335"/>
              <a:gd name="connsiteX6165" fmla="*/ 2494072 w 13768337"/>
              <a:gd name="connsiteY6165" fmla="*/ 1300252 h 5071335"/>
              <a:gd name="connsiteX6166" fmla="*/ 2557094 w 13768337"/>
              <a:gd name="connsiteY6166" fmla="*/ 1311122 h 5071335"/>
              <a:gd name="connsiteX6167" fmla="*/ 2562192 w 13768337"/>
              <a:gd name="connsiteY6167" fmla="*/ 1321294 h 5071335"/>
              <a:gd name="connsiteX6168" fmla="*/ 2535316 w 13768337"/>
              <a:gd name="connsiteY6168" fmla="*/ 1341084 h 5071335"/>
              <a:gd name="connsiteX6169" fmla="*/ 2607605 w 13768337"/>
              <a:gd name="connsiteY6169" fmla="*/ 1311122 h 5071335"/>
              <a:gd name="connsiteX6170" fmla="*/ 2593238 w 13768337"/>
              <a:gd name="connsiteY6170" fmla="*/ 1361571 h 5071335"/>
              <a:gd name="connsiteX6171" fmla="*/ 2566825 w 13768337"/>
              <a:gd name="connsiteY6171" fmla="*/ 1366866 h 5071335"/>
              <a:gd name="connsiteX6172" fmla="*/ 2494536 w 13768337"/>
              <a:gd name="connsiteY6172" fmla="*/ 1346101 h 5071335"/>
              <a:gd name="connsiteX6173" fmla="*/ 2535316 w 13768337"/>
              <a:gd name="connsiteY6173" fmla="*/ 1316277 h 5071335"/>
              <a:gd name="connsiteX6174" fmla="*/ 2521413 w 13768337"/>
              <a:gd name="connsiteY6174" fmla="*/ 1335510 h 5071335"/>
              <a:gd name="connsiteX6175" fmla="*/ 2508900 w 13768337"/>
              <a:gd name="connsiteY6175" fmla="*/ 1311122 h 5071335"/>
              <a:gd name="connsiteX6176" fmla="*/ 2439392 w 13768337"/>
              <a:gd name="connsiteY6176" fmla="*/ 1316277 h 5071335"/>
              <a:gd name="connsiteX6177" fmla="*/ 2393980 w 13768337"/>
              <a:gd name="connsiteY6177" fmla="*/ 1316277 h 5071335"/>
              <a:gd name="connsiteX6178" fmla="*/ 2433368 w 13768337"/>
              <a:gd name="connsiteY6178" fmla="*/ 1313490 h 5071335"/>
              <a:gd name="connsiteX6179" fmla="*/ 2489901 w 13768337"/>
              <a:gd name="connsiteY6179" fmla="*/ 1314745 h 5071335"/>
              <a:gd name="connsiteX6180" fmla="*/ 2494072 w 13768337"/>
              <a:gd name="connsiteY6180" fmla="*/ 1300252 h 5071335"/>
              <a:gd name="connsiteX6181" fmla="*/ 12174034 w 13768337"/>
              <a:gd name="connsiteY6181" fmla="*/ 1298802 h 5071335"/>
              <a:gd name="connsiteX6182" fmla="*/ 12189327 w 13768337"/>
              <a:gd name="connsiteY6182" fmla="*/ 1314271 h 5071335"/>
              <a:gd name="connsiteX6183" fmla="*/ 12189327 w 13768337"/>
              <a:gd name="connsiteY6183" fmla="*/ 1339077 h 5071335"/>
              <a:gd name="connsiteX6184" fmla="*/ 12176352 w 13768337"/>
              <a:gd name="connsiteY6184" fmla="*/ 1340331 h 5071335"/>
              <a:gd name="connsiteX6185" fmla="*/ 12159670 w 13768337"/>
              <a:gd name="connsiteY6185" fmla="*/ 1337683 h 5071335"/>
              <a:gd name="connsiteX6186" fmla="*/ 12154571 w 13768337"/>
              <a:gd name="connsiteY6186" fmla="*/ 1320820 h 5071335"/>
              <a:gd name="connsiteX6187" fmla="*/ 12174034 w 13768337"/>
              <a:gd name="connsiteY6187" fmla="*/ 1298802 h 5071335"/>
              <a:gd name="connsiteX6188" fmla="*/ 11686545 w 13768337"/>
              <a:gd name="connsiteY6188" fmla="*/ 1298802 h 5071335"/>
              <a:gd name="connsiteX6189" fmla="*/ 11696276 w 13768337"/>
              <a:gd name="connsiteY6189" fmla="*/ 1321378 h 5071335"/>
              <a:gd name="connsiteX6190" fmla="*/ 11681446 w 13768337"/>
              <a:gd name="connsiteY6190" fmla="*/ 1315107 h 5071335"/>
              <a:gd name="connsiteX6191" fmla="*/ 11686545 w 13768337"/>
              <a:gd name="connsiteY6191" fmla="*/ 1298802 h 5071335"/>
              <a:gd name="connsiteX6192" fmla="*/ 1740594 w 13768337"/>
              <a:gd name="connsiteY6192" fmla="*/ 1292865 h 5071335"/>
              <a:gd name="connsiteX6193" fmla="*/ 1761446 w 13768337"/>
              <a:gd name="connsiteY6193" fmla="*/ 1300809 h 5071335"/>
              <a:gd name="connsiteX6194" fmla="*/ 1737350 w 13768337"/>
              <a:gd name="connsiteY6194" fmla="*/ 1298022 h 5071335"/>
              <a:gd name="connsiteX6195" fmla="*/ 1740594 w 13768337"/>
              <a:gd name="connsiteY6195" fmla="*/ 1292865 h 5071335"/>
              <a:gd name="connsiteX6196" fmla="*/ 11672643 w 13768337"/>
              <a:gd name="connsiteY6196" fmla="*/ 1292670 h 5071335"/>
              <a:gd name="connsiteX6197" fmla="*/ 11685154 w 13768337"/>
              <a:gd name="connsiteY6197" fmla="*/ 1295596 h 5071335"/>
              <a:gd name="connsiteX6198" fmla="*/ 11665691 w 13768337"/>
              <a:gd name="connsiteY6198" fmla="*/ 1302983 h 5071335"/>
              <a:gd name="connsiteX6199" fmla="*/ 11672643 w 13768337"/>
              <a:gd name="connsiteY6199" fmla="*/ 1292670 h 5071335"/>
              <a:gd name="connsiteX6200" fmla="*/ 1851808 w 13768337"/>
              <a:gd name="connsiteY6200" fmla="*/ 1262903 h 5071335"/>
              <a:gd name="connsiteX6201" fmla="*/ 1865710 w 13768337"/>
              <a:gd name="connsiteY6201" fmla="*/ 1274191 h 5071335"/>
              <a:gd name="connsiteX6202" fmla="*/ 1816126 w 13768337"/>
              <a:gd name="connsiteY6202" fmla="*/ 1290496 h 5071335"/>
              <a:gd name="connsiteX6203" fmla="*/ 1816126 w 13768337"/>
              <a:gd name="connsiteY6203" fmla="*/ 1268477 h 5071335"/>
              <a:gd name="connsiteX6204" fmla="*/ 1851808 w 13768337"/>
              <a:gd name="connsiteY6204" fmla="*/ 1262903 h 5071335"/>
              <a:gd name="connsiteX6205" fmla="*/ 11567453 w 13768337"/>
              <a:gd name="connsiteY6205" fmla="*/ 1259083 h 5071335"/>
              <a:gd name="connsiteX6206" fmla="*/ 11569306 w 13768337"/>
              <a:gd name="connsiteY6206" fmla="*/ 1262429 h 5071335"/>
              <a:gd name="connsiteX6207" fmla="*/ 11566062 w 13768337"/>
              <a:gd name="connsiteY6207" fmla="*/ 1270651 h 5071335"/>
              <a:gd name="connsiteX6208" fmla="*/ 11536869 w 13768337"/>
              <a:gd name="connsiteY6208" fmla="*/ 1277201 h 5071335"/>
              <a:gd name="connsiteX6209" fmla="*/ 11552160 w 13768337"/>
              <a:gd name="connsiteY6209" fmla="*/ 1298244 h 5071335"/>
              <a:gd name="connsiteX6210" fmla="*/ 11558647 w 13768337"/>
              <a:gd name="connsiteY6210" fmla="*/ 1299220 h 5071335"/>
              <a:gd name="connsiteX6211" fmla="*/ 11560964 w 13768337"/>
              <a:gd name="connsiteY6211" fmla="*/ 1308140 h 5071335"/>
              <a:gd name="connsiteX6212" fmla="*/ 11564208 w 13768337"/>
              <a:gd name="connsiteY6212" fmla="*/ 1312877 h 5071335"/>
              <a:gd name="connsiteX6213" fmla="*/ 11571160 w 13768337"/>
              <a:gd name="connsiteY6213" fmla="*/ 1310507 h 5071335"/>
              <a:gd name="connsiteX6214" fmla="*/ 11581817 w 13768337"/>
              <a:gd name="connsiteY6214" fmla="*/ 1265076 h 5071335"/>
              <a:gd name="connsiteX6215" fmla="*/ 11567453 w 13768337"/>
              <a:gd name="connsiteY6215" fmla="*/ 1259083 h 5071335"/>
              <a:gd name="connsiteX6216" fmla="*/ 11209712 w 13768337"/>
              <a:gd name="connsiteY6216" fmla="*/ 1251419 h 5071335"/>
              <a:gd name="connsiteX6217" fmla="*/ 11149470 w 13768337"/>
              <a:gd name="connsiteY6217" fmla="*/ 1269257 h 5071335"/>
              <a:gd name="connsiteX6218" fmla="*/ 11209712 w 13768337"/>
              <a:gd name="connsiteY6218" fmla="*/ 1251419 h 5071335"/>
              <a:gd name="connsiteX6219" fmla="*/ 2360615 w 13768337"/>
              <a:gd name="connsiteY6219" fmla="*/ 1251196 h 5071335"/>
              <a:gd name="connsiteX6220" fmla="*/ 2478316 w 13768337"/>
              <a:gd name="connsiteY6220" fmla="*/ 1256909 h 5071335"/>
              <a:gd name="connsiteX6221" fmla="*/ 2450977 w 13768337"/>
              <a:gd name="connsiteY6221" fmla="*/ 1261927 h 5071335"/>
              <a:gd name="connsiteX6222" fmla="*/ 2450977 w 13768337"/>
              <a:gd name="connsiteY6222" fmla="*/ 1282413 h 5071335"/>
              <a:gd name="connsiteX6223" fmla="*/ 2436611 w 13768337"/>
              <a:gd name="connsiteY6223" fmla="*/ 1288127 h 5071335"/>
              <a:gd name="connsiteX6224" fmla="*/ 2441245 w 13768337"/>
              <a:gd name="connsiteY6224" fmla="*/ 1267083 h 5071335"/>
              <a:gd name="connsiteX6225" fmla="*/ 2322153 w 13768337"/>
              <a:gd name="connsiteY6225" fmla="*/ 1288127 h 5071335"/>
              <a:gd name="connsiteX6226" fmla="*/ 2245693 w 13768337"/>
              <a:gd name="connsiteY6226" fmla="*/ 1277396 h 5071335"/>
              <a:gd name="connsiteX6227" fmla="*/ 2360615 w 13768337"/>
              <a:gd name="connsiteY6227" fmla="*/ 1251196 h 5071335"/>
              <a:gd name="connsiteX6228" fmla="*/ 1950974 w 13768337"/>
              <a:gd name="connsiteY6228" fmla="*/ 1250778 h 5071335"/>
              <a:gd name="connsiteX6229" fmla="*/ 1965803 w 13768337"/>
              <a:gd name="connsiteY6229" fmla="*/ 1288127 h 5071335"/>
              <a:gd name="connsiteX6230" fmla="*/ 1946340 w 13768337"/>
              <a:gd name="connsiteY6230" fmla="*/ 1288127 h 5071335"/>
              <a:gd name="connsiteX6231" fmla="*/ 1950974 w 13768337"/>
              <a:gd name="connsiteY6231" fmla="*/ 1250778 h 5071335"/>
              <a:gd name="connsiteX6232" fmla="*/ 11525746 w 13768337"/>
              <a:gd name="connsiteY6232" fmla="*/ 1250583 h 5071335"/>
              <a:gd name="connsiteX6233" fmla="*/ 11511845 w 13768337"/>
              <a:gd name="connsiteY6233" fmla="*/ 1283751 h 5071335"/>
              <a:gd name="connsiteX6234" fmla="*/ 11525746 w 13768337"/>
              <a:gd name="connsiteY6234" fmla="*/ 1250583 h 5071335"/>
              <a:gd name="connsiteX6235" fmla="*/ 11492383 w 13768337"/>
              <a:gd name="connsiteY6235" fmla="*/ 1248911 h 5071335"/>
              <a:gd name="connsiteX6236" fmla="*/ 11487748 w 13768337"/>
              <a:gd name="connsiteY6236" fmla="*/ 1249050 h 5071335"/>
              <a:gd name="connsiteX6237" fmla="*/ 11401093 w 13768337"/>
              <a:gd name="connsiteY6237" fmla="*/ 1287931 h 5071335"/>
              <a:gd name="connsiteX6238" fmla="*/ 11433531 w 13768337"/>
              <a:gd name="connsiteY6238" fmla="*/ 1298244 h 5071335"/>
              <a:gd name="connsiteX6239" fmla="*/ 11436311 w 13768337"/>
              <a:gd name="connsiteY6239" fmla="*/ 1281939 h 5071335"/>
              <a:gd name="connsiteX6240" fmla="*/ 11444188 w 13768337"/>
              <a:gd name="connsiteY6240" fmla="*/ 1287096 h 5071335"/>
              <a:gd name="connsiteX6241" fmla="*/ 11467823 w 13768337"/>
              <a:gd name="connsiteY6241" fmla="*/ 1287096 h 5071335"/>
              <a:gd name="connsiteX6242" fmla="*/ 11462261 w 13768337"/>
              <a:gd name="connsiteY6242" fmla="*/ 1293227 h 5071335"/>
              <a:gd name="connsiteX6243" fmla="*/ 11488675 w 13768337"/>
              <a:gd name="connsiteY6243" fmla="*/ 1295875 h 5071335"/>
              <a:gd name="connsiteX6244" fmla="*/ 11500259 w 13768337"/>
              <a:gd name="connsiteY6244" fmla="*/ 1255878 h 5071335"/>
              <a:gd name="connsiteX6245" fmla="*/ 11492383 w 13768337"/>
              <a:gd name="connsiteY6245" fmla="*/ 1248911 h 5071335"/>
              <a:gd name="connsiteX6246" fmla="*/ 10486816 w 13768337"/>
              <a:gd name="connsiteY6246" fmla="*/ 1227170 h 5071335"/>
              <a:gd name="connsiteX6247" fmla="*/ 10490060 w 13768337"/>
              <a:gd name="connsiteY6247" fmla="*/ 1234278 h 5071335"/>
              <a:gd name="connsiteX6248" fmla="*/ 10473842 w 13768337"/>
              <a:gd name="connsiteY6248" fmla="*/ 1231351 h 5071335"/>
              <a:gd name="connsiteX6249" fmla="*/ 10486816 w 13768337"/>
              <a:gd name="connsiteY6249" fmla="*/ 1227170 h 5071335"/>
              <a:gd name="connsiteX6250" fmla="*/ 1939389 w 13768337"/>
              <a:gd name="connsiteY6250" fmla="*/ 1221652 h 5071335"/>
              <a:gd name="connsiteX6251" fmla="*/ 1942633 w 13768337"/>
              <a:gd name="connsiteY6251" fmla="*/ 1237678 h 5071335"/>
              <a:gd name="connsiteX6252" fmla="*/ 1994070 w 13768337"/>
              <a:gd name="connsiteY6252" fmla="*/ 1231965 h 5071335"/>
              <a:gd name="connsiteX6253" fmla="*/ 1939389 w 13768337"/>
              <a:gd name="connsiteY6253" fmla="*/ 1221652 h 5071335"/>
              <a:gd name="connsiteX6254" fmla="*/ 11566988 w 13768337"/>
              <a:gd name="connsiteY6254" fmla="*/ 1218251 h 5071335"/>
              <a:gd name="connsiteX6255" fmla="*/ 11561428 w 13768337"/>
              <a:gd name="connsiteY6255" fmla="*/ 1219784 h 5071335"/>
              <a:gd name="connsiteX6256" fmla="*/ 11558184 w 13768337"/>
              <a:gd name="connsiteY6256" fmla="*/ 1247796 h 5071335"/>
              <a:gd name="connsiteX6257" fmla="*/ 11579964 w 13768337"/>
              <a:gd name="connsiteY6257" fmla="*/ 1222013 h 5071335"/>
              <a:gd name="connsiteX6258" fmla="*/ 11571160 w 13768337"/>
              <a:gd name="connsiteY6258" fmla="*/ 1219227 h 5071335"/>
              <a:gd name="connsiteX6259" fmla="*/ 11566988 w 13768337"/>
              <a:gd name="connsiteY6259" fmla="*/ 1218251 h 5071335"/>
              <a:gd name="connsiteX6260" fmla="*/ 11439092 w 13768337"/>
              <a:gd name="connsiteY6260" fmla="*/ 1215603 h 5071335"/>
              <a:gd name="connsiteX6261" fmla="*/ 11431677 w 13768337"/>
              <a:gd name="connsiteY6261" fmla="*/ 1226194 h 5071335"/>
              <a:gd name="connsiteX6262" fmla="*/ 11450678 w 13768337"/>
              <a:gd name="connsiteY6262" fmla="*/ 1215603 h 5071335"/>
              <a:gd name="connsiteX6263" fmla="*/ 11439092 w 13768337"/>
              <a:gd name="connsiteY6263" fmla="*/ 1215603 h 5071335"/>
              <a:gd name="connsiteX6264" fmla="*/ 11492383 w 13768337"/>
              <a:gd name="connsiteY6264" fmla="*/ 1212676 h 5071335"/>
              <a:gd name="connsiteX6265" fmla="*/ 11470140 w 13768337"/>
              <a:gd name="connsiteY6265" fmla="*/ 1230375 h 5071335"/>
              <a:gd name="connsiteX6266" fmla="*/ 11492383 w 13768337"/>
              <a:gd name="connsiteY6266" fmla="*/ 1212676 h 5071335"/>
              <a:gd name="connsiteX6267" fmla="*/ 11272269 w 13768337"/>
              <a:gd name="connsiteY6267" fmla="*/ 1210307 h 5071335"/>
              <a:gd name="connsiteX6268" fmla="*/ 11259293 w 13768337"/>
              <a:gd name="connsiteY6268" fmla="*/ 1211422 h 5071335"/>
              <a:gd name="connsiteX6269" fmla="*/ 11272269 w 13768337"/>
              <a:gd name="connsiteY6269" fmla="*/ 1210307 h 5071335"/>
              <a:gd name="connsiteX6270" fmla="*/ 2009362 w 13768337"/>
              <a:gd name="connsiteY6270" fmla="*/ 1208134 h 5071335"/>
              <a:gd name="connsiteX6271" fmla="*/ 2043190 w 13768337"/>
              <a:gd name="connsiteY6271" fmla="*/ 1225552 h 5071335"/>
              <a:gd name="connsiteX6272" fmla="*/ 1974144 w 13768337"/>
              <a:gd name="connsiteY6272" fmla="*/ 1220397 h 5071335"/>
              <a:gd name="connsiteX6273" fmla="*/ 2009362 w 13768337"/>
              <a:gd name="connsiteY6273" fmla="*/ 1208134 h 5071335"/>
              <a:gd name="connsiteX6274" fmla="*/ 2545972 w 13768337"/>
              <a:gd name="connsiteY6274" fmla="*/ 1207157 h 5071335"/>
              <a:gd name="connsiteX6275" fmla="*/ 2567289 w 13768337"/>
              <a:gd name="connsiteY6275" fmla="*/ 1226390 h 5071335"/>
              <a:gd name="connsiteX6276" fmla="*/ 2537168 w 13768337"/>
              <a:gd name="connsiteY6276" fmla="*/ 1246597 h 5071335"/>
              <a:gd name="connsiteX6277" fmla="*/ 2537168 w 13768337"/>
              <a:gd name="connsiteY6277" fmla="*/ 1236145 h 5071335"/>
              <a:gd name="connsiteX6278" fmla="*/ 2545972 w 13768337"/>
              <a:gd name="connsiteY6278" fmla="*/ 1207157 h 5071335"/>
              <a:gd name="connsiteX6279" fmla="*/ 11965970 w 13768337"/>
              <a:gd name="connsiteY6279" fmla="*/ 1206824 h 5071335"/>
              <a:gd name="connsiteX6280" fmla="*/ 11971532 w 13768337"/>
              <a:gd name="connsiteY6280" fmla="*/ 1210307 h 5071335"/>
              <a:gd name="connsiteX6281" fmla="*/ 11947435 w 13768337"/>
              <a:gd name="connsiteY6281" fmla="*/ 1221596 h 5071335"/>
              <a:gd name="connsiteX6282" fmla="*/ 11958094 w 13768337"/>
              <a:gd name="connsiteY6282" fmla="*/ 1209332 h 5071335"/>
              <a:gd name="connsiteX6283" fmla="*/ 11965970 w 13768337"/>
              <a:gd name="connsiteY6283" fmla="*/ 1206824 h 5071335"/>
              <a:gd name="connsiteX6284" fmla="*/ 3507208 w 13768337"/>
              <a:gd name="connsiteY6284" fmla="*/ 1205644 h 5071335"/>
              <a:gd name="connsiteX6285" fmla="*/ 3566522 w 13768337"/>
              <a:gd name="connsiteY6285" fmla="*/ 1214982 h 5071335"/>
              <a:gd name="connsiteX6286" fmla="*/ 3507208 w 13768337"/>
              <a:gd name="connsiteY6286" fmla="*/ 1205644 h 5071335"/>
              <a:gd name="connsiteX6287" fmla="*/ 11237978 w 13768337"/>
              <a:gd name="connsiteY6287" fmla="*/ 1202782 h 5071335"/>
              <a:gd name="connsiteX6288" fmla="*/ 11231027 w 13768337"/>
              <a:gd name="connsiteY6288" fmla="*/ 1214070 h 5071335"/>
              <a:gd name="connsiteX6289" fmla="*/ 11252806 w 13768337"/>
              <a:gd name="connsiteY6289" fmla="*/ 1207520 h 5071335"/>
              <a:gd name="connsiteX6290" fmla="*/ 11237978 w 13768337"/>
              <a:gd name="connsiteY6290" fmla="*/ 1202782 h 5071335"/>
              <a:gd name="connsiteX6291" fmla="*/ 10592934 w 13768337"/>
              <a:gd name="connsiteY6291" fmla="*/ 1194838 h 5071335"/>
              <a:gd name="connsiteX6292" fmla="*/ 10578106 w 13768337"/>
              <a:gd name="connsiteY6292" fmla="*/ 1211700 h 5071335"/>
              <a:gd name="connsiteX6293" fmla="*/ 10578106 w 13768337"/>
              <a:gd name="connsiteY6293" fmla="*/ 1196371 h 5071335"/>
              <a:gd name="connsiteX6294" fmla="*/ 11587841 w 13768337"/>
              <a:gd name="connsiteY6294" fmla="*/ 1192469 h 5071335"/>
              <a:gd name="connsiteX6295" fmla="*/ 11578573 w 13768337"/>
              <a:gd name="connsiteY6295" fmla="*/ 1194002 h 5071335"/>
              <a:gd name="connsiteX6296" fmla="*/ 11579964 w 13768337"/>
              <a:gd name="connsiteY6296" fmla="*/ 1214070 h 5071335"/>
              <a:gd name="connsiteX6297" fmla="*/ 11592939 w 13768337"/>
              <a:gd name="connsiteY6297" fmla="*/ 1209053 h 5071335"/>
              <a:gd name="connsiteX6298" fmla="*/ 11587841 w 13768337"/>
              <a:gd name="connsiteY6298" fmla="*/ 1192469 h 5071335"/>
              <a:gd name="connsiteX6299" fmla="*/ 10619811 w 13768337"/>
              <a:gd name="connsiteY6299" fmla="*/ 1190657 h 5071335"/>
              <a:gd name="connsiteX6300" fmla="*/ 10642981 w 13768337"/>
              <a:gd name="connsiteY6300" fmla="*/ 1210307 h 5071335"/>
              <a:gd name="connsiteX6301" fmla="*/ 10619811 w 13768337"/>
              <a:gd name="connsiteY6301" fmla="*/ 1190657 h 5071335"/>
              <a:gd name="connsiteX6302" fmla="*/ 10823241 w 13768337"/>
              <a:gd name="connsiteY6302" fmla="*/ 1189960 h 5071335"/>
              <a:gd name="connsiteX6303" fmla="*/ 10809340 w 13768337"/>
              <a:gd name="connsiteY6303" fmla="*/ 1216996 h 5071335"/>
              <a:gd name="connsiteX6304" fmla="*/ 10841313 w 13768337"/>
              <a:gd name="connsiteY6304" fmla="*/ 1210307 h 5071335"/>
              <a:gd name="connsiteX6305" fmla="*/ 10838534 w 13768337"/>
              <a:gd name="connsiteY6305" fmla="*/ 1194002 h 5071335"/>
              <a:gd name="connsiteX6306" fmla="*/ 10834827 w 13768337"/>
              <a:gd name="connsiteY6306" fmla="*/ 1190378 h 5071335"/>
              <a:gd name="connsiteX6307" fmla="*/ 10823241 w 13768337"/>
              <a:gd name="connsiteY6307" fmla="*/ 1189960 h 5071335"/>
              <a:gd name="connsiteX6308" fmla="*/ 10923798 w 13768337"/>
              <a:gd name="connsiteY6308" fmla="*/ 1188846 h 5071335"/>
              <a:gd name="connsiteX6309" fmla="*/ 10876067 w 13768337"/>
              <a:gd name="connsiteY6309" fmla="*/ 1201946 h 5071335"/>
              <a:gd name="connsiteX6310" fmla="*/ 10937236 w 13768337"/>
              <a:gd name="connsiteY6310" fmla="*/ 1190378 h 5071335"/>
              <a:gd name="connsiteX6311" fmla="*/ 10923798 w 13768337"/>
              <a:gd name="connsiteY6311" fmla="*/ 1188846 h 5071335"/>
              <a:gd name="connsiteX6312" fmla="*/ 11383485 w 13768337"/>
              <a:gd name="connsiteY6312" fmla="*/ 1181459 h 5071335"/>
              <a:gd name="connsiteX6313" fmla="*/ 11374679 w 13768337"/>
              <a:gd name="connsiteY6313" fmla="*/ 1190378 h 5071335"/>
              <a:gd name="connsiteX6314" fmla="*/ 11390435 w 13768337"/>
              <a:gd name="connsiteY6314" fmla="*/ 1192469 h 5071335"/>
              <a:gd name="connsiteX6315" fmla="*/ 11383485 w 13768337"/>
              <a:gd name="connsiteY6315" fmla="*/ 1181459 h 5071335"/>
              <a:gd name="connsiteX6316" fmla="*/ 2462562 w 13768337"/>
              <a:gd name="connsiteY6316" fmla="*/ 1181098 h 5071335"/>
              <a:gd name="connsiteX6317" fmla="*/ 2473220 w 13768337"/>
              <a:gd name="connsiteY6317" fmla="*/ 1184302 h 5071335"/>
              <a:gd name="connsiteX6318" fmla="*/ 2423636 w 13768337"/>
              <a:gd name="connsiteY6318" fmla="*/ 1189319 h 5071335"/>
              <a:gd name="connsiteX6319" fmla="*/ 2462562 w 13768337"/>
              <a:gd name="connsiteY6319" fmla="*/ 1181098 h 5071335"/>
              <a:gd name="connsiteX6320" fmla="*/ 11425653 w 13768337"/>
              <a:gd name="connsiteY6320" fmla="*/ 1178115 h 5071335"/>
              <a:gd name="connsiteX6321" fmla="*/ 11433531 w 13768337"/>
              <a:gd name="connsiteY6321" fmla="*/ 1192469 h 5071335"/>
              <a:gd name="connsiteX6322" fmla="*/ 11427042 w 13768337"/>
              <a:gd name="connsiteY6322" fmla="*/ 1194002 h 5071335"/>
              <a:gd name="connsiteX6323" fmla="*/ 11425653 w 13768337"/>
              <a:gd name="connsiteY6323" fmla="*/ 1178115 h 5071335"/>
              <a:gd name="connsiteX6324" fmla="*/ 11547990 w 13768337"/>
              <a:gd name="connsiteY6324" fmla="*/ 1171425 h 5071335"/>
              <a:gd name="connsiteX6325" fmla="*/ 11543355 w 13768337"/>
              <a:gd name="connsiteY6325" fmla="*/ 1192469 h 5071335"/>
              <a:gd name="connsiteX6326" fmla="*/ 11561428 w 13768337"/>
              <a:gd name="connsiteY6326" fmla="*/ 1179368 h 5071335"/>
              <a:gd name="connsiteX6327" fmla="*/ 11547990 w 13768337"/>
              <a:gd name="connsiteY6327" fmla="*/ 1171425 h 5071335"/>
              <a:gd name="connsiteX6328" fmla="*/ 10972916 w 13768337"/>
              <a:gd name="connsiteY6328" fmla="*/ 1170589 h 5071335"/>
              <a:gd name="connsiteX6329" fmla="*/ 10965503 w 13768337"/>
              <a:gd name="connsiteY6329" fmla="*/ 1179368 h 5071335"/>
              <a:gd name="connsiteX6330" fmla="*/ 10982185 w 13768337"/>
              <a:gd name="connsiteY6330" fmla="*/ 1173794 h 5071335"/>
              <a:gd name="connsiteX6331" fmla="*/ 10972916 w 13768337"/>
              <a:gd name="connsiteY6331" fmla="*/ 1170589 h 5071335"/>
              <a:gd name="connsiteX6332" fmla="*/ 2562192 w 13768337"/>
              <a:gd name="connsiteY6332" fmla="*/ 1159078 h 5071335"/>
              <a:gd name="connsiteX6333" fmla="*/ 2562192 w 13768337"/>
              <a:gd name="connsiteY6333" fmla="*/ 1174826 h 5071335"/>
              <a:gd name="connsiteX6334" fmla="*/ 2507975 w 13768337"/>
              <a:gd name="connsiteY6334" fmla="*/ 1174826 h 5071335"/>
              <a:gd name="connsiteX6335" fmla="*/ 2562192 w 13768337"/>
              <a:gd name="connsiteY6335" fmla="*/ 1159078 h 5071335"/>
              <a:gd name="connsiteX6336" fmla="*/ 1036698 w 13768337"/>
              <a:gd name="connsiteY6336" fmla="*/ 1158241 h 5071335"/>
              <a:gd name="connsiteX6337" fmla="*/ 1057551 w 13768337"/>
              <a:gd name="connsiteY6337" fmla="*/ 1158241 h 5071335"/>
              <a:gd name="connsiteX6338" fmla="*/ 1036698 w 13768337"/>
              <a:gd name="connsiteY6338" fmla="*/ 1158241 h 5071335"/>
              <a:gd name="connsiteX6339" fmla="*/ 11644376 w 13768337"/>
              <a:gd name="connsiteY6339" fmla="*/ 1152751 h 5071335"/>
              <a:gd name="connsiteX6340" fmla="*/ 11652717 w 13768337"/>
              <a:gd name="connsiteY6340" fmla="*/ 1170171 h 5071335"/>
              <a:gd name="connsiteX6341" fmla="*/ 11642059 w 13768337"/>
              <a:gd name="connsiteY6341" fmla="*/ 1182295 h 5071335"/>
              <a:gd name="connsiteX6342" fmla="*/ 11621206 w 13768337"/>
              <a:gd name="connsiteY6342" fmla="*/ 1158047 h 5071335"/>
              <a:gd name="connsiteX6343" fmla="*/ 11644376 w 13768337"/>
              <a:gd name="connsiteY6343" fmla="*/ 1152751 h 5071335"/>
              <a:gd name="connsiteX6344" fmla="*/ 11544746 w 13768337"/>
              <a:gd name="connsiteY6344" fmla="*/ 1152333 h 5071335"/>
              <a:gd name="connsiteX6345" fmla="*/ 11545208 w 13768337"/>
              <a:gd name="connsiteY6345" fmla="*/ 1155817 h 5071335"/>
              <a:gd name="connsiteX6346" fmla="*/ 11543818 w 13768337"/>
              <a:gd name="connsiteY6346" fmla="*/ 1154284 h 5071335"/>
              <a:gd name="connsiteX6347" fmla="*/ 11544746 w 13768337"/>
              <a:gd name="connsiteY6347" fmla="*/ 1152333 h 5071335"/>
              <a:gd name="connsiteX6348" fmla="*/ 11536869 w 13768337"/>
              <a:gd name="connsiteY6348" fmla="*/ 1152333 h 5071335"/>
              <a:gd name="connsiteX6349" fmla="*/ 11509990 w 13768337"/>
              <a:gd name="connsiteY6349" fmla="*/ 1167245 h 5071335"/>
              <a:gd name="connsiteX6350" fmla="*/ 11503503 w 13768337"/>
              <a:gd name="connsiteY6350" fmla="*/ 1183271 h 5071335"/>
              <a:gd name="connsiteX6351" fmla="*/ 11536869 w 13768337"/>
              <a:gd name="connsiteY6351" fmla="*/ 1152333 h 5071335"/>
              <a:gd name="connsiteX6352" fmla="*/ 2079335 w 13768337"/>
              <a:gd name="connsiteY6352" fmla="*/ 1151134 h 5071335"/>
              <a:gd name="connsiteX6353" fmla="*/ 2097870 w 13768337"/>
              <a:gd name="connsiteY6353" fmla="*/ 1159078 h 5071335"/>
              <a:gd name="connsiteX6354" fmla="*/ 2072847 w 13768337"/>
              <a:gd name="connsiteY6354" fmla="*/ 1164653 h 5071335"/>
              <a:gd name="connsiteX6355" fmla="*/ 2076091 w 13768337"/>
              <a:gd name="connsiteY6355" fmla="*/ 1151413 h 5071335"/>
              <a:gd name="connsiteX6356" fmla="*/ 2079335 w 13768337"/>
              <a:gd name="connsiteY6356" fmla="*/ 1151134 h 5071335"/>
              <a:gd name="connsiteX6357" fmla="*/ 2378224 w 13768337"/>
              <a:gd name="connsiteY6357" fmla="*/ 1148904 h 5071335"/>
              <a:gd name="connsiteX6358" fmla="*/ 2387492 w 13768337"/>
              <a:gd name="connsiteY6358" fmla="*/ 1150576 h 5071335"/>
              <a:gd name="connsiteX6359" fmla="*/ 2412515 w 13768337"/>
              <a:gd name="connsiteY6359" fmla="*/ 1152528 h 5071335"/>
              <a:gd name="connsiteX6360" fmla="*/ 2374516 w 13768337"/>
              <a:gd name="connsiteY6360" fmla="*/ 1167997 h 5071335"/>
              <a:gd name="connsiteX6361" fmla="*/ 2368956 w 13768337"/>
              <a:gd name="connsiteY6361" fmla="*/ 1152528 h 5071335"/>
              <a:gd name="connsiteX6362" fmla="*/ 2378224 w 13768337"/>
              <a:gd name="connsiteY6362" fmla="*/ 1148904 h 5071335"/>
              <a:gd name="connsiteX6363" fmla="*/ 10431084 w 13768337"/>
              <a:gd name="connsiteY6363" fmla="*/ 1138870 h 5071335"/>
              <a:gd name="connsiteX6364" fmla="*/ 10407450 w 13768337"/>
              <a:gd name="connsiteY6364" fmla="*/ 1148766 h 5071335"/>
              <a:gd name="connsiteX6365" fmla="*/ 10431084 w 13768337"/>
              <a:gd name="connsiteY6365" fmla="*/ 1138870 h 5071335"/>
              <a:gd name="connsiteX6366" fmla="*/ 11556794 w 13768337"/>
              <a:gd name="connsiteY6366" fmla="*/ 1126829 h 5071335"/>
              <a:gd name="connsiteX6367" fmla="*/ 11571622 w 13768337"/>
              <a:gd name="connsiteY6367" fmla="*/ 1129338 h 5071335"/>
              <a:gd name="connsiteX6368" fmla="*/ 11564671 w 13768337"/>
              <a:gd name="connsiteY6368" fmla="*/ 1134912 h 5071335"/>
              <a:gd name="connsiteX6369" fmla="*/ 11568378 w 13768337"/>
              <a:gd name="connsiteY6369" fmla="*/ 1137281 h 5071335"/>
              <a:gd name="connsiteX6370" fmla="*/ 11564671 w 13768337"/>
              <a:gd name="connsiteY6370" fmla="*/ 1138815 h 5071335"/>
              <a:gd name="connsiteX6371" fmla="*/ 11546600 w 13768337"/>
              <a:gd name="connsiteY6371" fmla="*/ 1146759 h 5071335"/>
              <a:gd name="connsiteX6372" fmla="*/ 11550307 w 13768337"/>
              <a:gd name="connsiteY6372" fmla="*/ 1126968 h 5071335"/>
              <a:gd name="connsiteX6373" fmla="*/ 11556794 w 13768337"/>
              <a:gd name="connsiteY6373" fmla="*/ 1126829 h 5071335"/>
              <a:gd name="connsiteX6374" fmla="*/ 2512146 w 13768337"/>
              <a:gd name="connsiteY6374" fmla="*/ 1124377 h 5071335"/>
              <a:gd name="connsiteX6375" fmla="*/ 2542266 w 13768337"/>
              <a:gd name="connsiteY6375" fmla="*/ 1125910 h 5071335"/>
              <a:gd name="connsiteX6376" fmla="*/ 2488049 w 13768337"/>
              <a:gd name="connsiteY6376" fmla="*/ 1134272 h 5071335"/>
              <a:gd name="connsiteX6377" fmla="*/ 2512146 w 13768337"/>
              <a:gd name="connsiteY6377" fmla="*/ 1124377 h 5071335"/>
              <a:gd name="connsiteX6378" fmla="*/ 2454220 w 13768337"/>
              <a:gd name="connsiteY6378" fmla="*/ 1123541 h 5071335"/>
              <a:gd name="connsiteX6379" fmla="*/ 2482951 w 13768337"/>
              <a:gd name="connsiteY6379" fmla="*/ 1131902 h 5071335"/>
              <a:gd name="connsiteX6380" fmla="*/ 2453294 w 13768337"/>
              <a:gd name="connsiteY6380" fmla="*/ 1151134 h 5071335"/>
              <a:gd name="connsiteX6381" fmla="*/ 2448196 w 13768337"/>
              <a:gd name="connsiteY6381" fmla="*/ 1131902 h 5071335"/>
              <a:gd name="connsiteX6382" fmla="*/ 2454220 w 13768337"/>
              <a:gd name="connsiteY6382" fmla="*/ 1123541 h 5071335"/>
              <a:gd name="connsiteX6383" fmla="*/ 2234108 w 13768337"/>
              <a:gd name="connsiteY6383" fmla="*/ 1084658 h 5071335"/>
              <a:gd name="connsiteX6384" fmla="*/ 2212792 w 13768337"/>
              <a:gd name="connsiteY6384" fmla="*/ 1109326 h 5071335"/>
              <a:gd name="connsiteX6385" fmla="*/ 2234108 w 13768337"/>
              <a:gd name="connsiteY6385" fmla="*/ 1084658 h 5071335"/>
              <a:gd name="connsiteX6386" fmla="*/ 2632627 w 13768337"/>
              <a:gd name="connsiteY6386" fmla="*/ 1078526 h 5071335"/>
              <a:gd name="connsiteX6387" fmla="*/ 2646065 w 13768337"/>
              <a:gd name="connsiteY6387" fmla="*/ 1084658 h 5071335"/>
              <a:gd name="connsiteX6388" fmla="*/ 2626139 w 13768337"/>
              <a:gd name="connsiteY6388" fmla="*/ 1095390 h 5071335"/>
              <a:gd name="connsiteX6389" fmla="*/ 2626139 w 13768337"/>
              <a:gd name="connsiteY6389" fmla="*/ 1079084 h 5071335"/>
              <a:gd name="connsiteX6390" fmla="*/ 2632627 w 13768337"/>
              <a:gd name="connsiteY6390" fmla="*/ 1078526 h 5071335"/>
              <a:gd name="connsiteX6391" fmla="*/ 10403280 w 13768337"/>
              <a:gd name="connsiteY6391" fmla="*/ 1059434 h 5071335"/>
              <a:gd name="connsiteX6392" fmla="*/ 10442205 w 13768337"/>
              <a:gd name="connsiteY6392" fmla="*/ 1072535 h 5071335"/>
              <a:gd name="connsiteX6393" fmla="*/ 10443595 w 13768337"/>
              <a:gd name="connsiteY6393" fmla="*/ 1080896 h 5071335"/>
              <a:gd name="connsiteX6394" fmla="*/ 10403280 w 13768337"/>
              <a:gd name="connsiteY6394" fmla="*/ 1059434 h 5071335"/>
              <a:gd name="connsiteX6395" fmla="*/ 2498707 w 13768337"/>
              <a:gd name="connsiteY6395" fmla="*/ 1044383 h 5071335"/>
              <a:gd name="connsiteX6396" fmla="*/ 2518170 w 13768337"/>
              <a:gd name="connsiteY6396" fmla="*/ 1046195 h 5071335"/>
              <a:gd name="connsiteX6397" fmla="*/ 2552460 w 13768337"/>
              <a:gd name="connsiteY6397" fmla="*/ 1047170 h 5071335"/>
              <a:gd name="connsiteX6398" fmla="*/ 2482951 w 13768337"/>
              <a:gd name="connsiteY6398" fmla="*/ 1047170 h 5071335"/>
              <a:gd name="connsiteX6399" fmla="*/ 2498707 w 13768337"/>
              <a:gd name="connsiteY6399" fmla="*/ 1044383 h 5071335"/>
              <a:gd name="connsiteX6400" fmla="*/ 2380541 w 13768337"/>
              <a:gd name="connsiteY6400" fmla="*/ 1027382 h 5071335"/>
              <a:gd name="connsiteX6401" fmla="*/ 2403711 w 13768337"/>
              <a:gd name="connsiteY6401" fmla="*/ 1034070 h 5071335"/>
              <a:gd name="connsiteX6402" fmla="*/ 2368956 w 13768337"/>
              <a:gd name="connsiteY6402" fmla="*/ 1038809 h 5071335"/>
              <a:gd name="connsiteX6403" fmla="*/ 2375907 w 13768337"/>
              <a:gd name="connsiteY6403" fmla="*/ 1027521 h 5071335"/>
              <a:gd name="connsiteX6404" fmla="*/ 2380541 w 13768337"/>
              <a:gd name="connsiteY6404" fmla="*/ 1027382 h 5071335"/>
              <a:gd name="connsiteX6405" fmla="*/ 2346713 w 13768337"/>
              <a:gd name="connsiteY6405" fmla="*/ 1007034 h 5071335"/>
              <a:gd name="connsiteX6406" fmla="*/ 2368956 w 13768337"/>
              <a:gd name="connsiteY6406" fmla="*/ 1016232 h 5071335"/>
              <a:gd name="connsiteX6407" fmla="*/ 2324933 w 13768337"/>
              <a:gd name="connsiteY6407" fmla="*/ 1016232 h 5071335"/>
              <a:gd name="connsiteX6408" fmla="*/ 2346713 w 13768337"/>
              <a:gd name="connsiteY6408" fmla="*/ 1007034 h 5071335"/>
              <a:gd name="connsiteX6409" fmla="*/ 10335761 w 13768337"/>
              <a:gd name="connsiteY6409" fmla="*/ 1004633 h 5071335"/>
              <a:gd name="connsiteX6410" fmla="*/ 10348600 w 13768337"/>
              <a:gd name="connsiteY6410" fmla="*/ 1020135 h 5071335"/>
              <a:gd name="connsiteX6411" fmla="*/ 10328674 w 13768337"/>
              <a:gd name="connsiteY6411" fmla="*/ 1004665 h 5071335"/>
              <a:gd name="connsiteX6412" fmla="*/ 10335761 w 13768337"/>
              <a:gd name="connsiteY6412" fmla="*/ 1004633 h 5071335"/>
              <a:gd name="connsiteX6413" fmla="*/ 10308747 w 13768337"/>
              <a:gd name="connsiteY6413" fmla="*/ 997279 h 5071335"/>
              <a:gd name="connsiteX6414" fmla="*/ 10324040 w 13768337"/>
              <a:gd name="connsiteY6414" fmla="*/ 1013863 h 5071335"/>
              <a:gd name="connsiteX6415" fmla="*/ 10314308 w 13768337"/>
              <a:gd name="connsiteY6415" fmla="*/ 1017765 h 5071335"/>
              <a:gd name="connsiteX6416" fmla="*/ 10308747 w 13768337"/>
              <a:gd name="connsiteY6416" fmla="*/ 997279 h 5071335"/>
              <a:gd name="connsiteX6417" fmla="*/ 10425987 w 13768337"/>
              <a:gd name="connsiteY6417" fmla="*/ 962857 h 5071335"/>
              <a:gd name="connsiteX6418" fmla="*/ 10397255 w 13768337"/>
              <a:gd name="connsiteY6418" fmla="*/ 967596 h 5071335"/>
              <a:gd name="connsiteX6419" fmla="*/ 10394011 w 13768337"/>
              <a:gd name="connsiteY6419" fmla="*/ 999370 h 5071335"/>
              <a:gd name="connsiteX6420" fmla="*/ 10413011 w 13768337"/>
              <a:gd name="connsiteY6420" fmla="*/ 1005502 h 5071335"/>
              <a:gd name="connsiteX6421" fmla="*/ 10403280 w 13768337"/>
              <a:gd name="connsiteY6421" fmla="*/ 1001739 h 5071335"/>
              <a:gd name="connsiteX6422" fmla="*/ 10466302 w 13768337"/>
              <a:gd name="connsiteY6422" fmla="*/ 982646 h 5071335"/>
              <a:gd name="connsiteX6423" fmla="*/ 10425987 w 13768337"/>
              <a:gd name="connsiteY6423" fmla="*/ 962857 h 5071335"/>
              <a:gd name="connsiteX6424" fmla="*/ 2393980 w 13768337"/>
              <a:gd name="connsiteY6424" fmla="*/ 961046 h 5071335"/>
              <a:gd name="connsiteX6425" fmla="*/ 2359225 w 13768337"/>
              <a:gd name="connsiteY6425" fmla="*/ 976236 h 5071335"/>
              <a:gd name="connsiteX6426" fmla="*/ 2393980 w 13768337"/>
              <a:gd name="connsiteY6426" fmla="*/ 961046 h 5071335"/>
              <a:gd name="connsiteX6427" fmla="*/ 2735964 w 13768337"/>
              <a:gd name="connsiteY6427" fmla="*/ 959652 h 5071335"/>
              <a:gd name="connsiteX6428" fmla="*/ 2714648 w 13768337"/>
              <a:gd name="connsiteY6428" fmla="*/ 984458 h 5071335"/>
              <a:gd name="connsiteX6429" fmla="*/ 2735964 w 13768337"/>
              <a:gd name="connsiteY6429" fmla="*/ 959652 h 5071335"/>
              <a:gd name="connsiteX6430" fmla="*/ 2991757 w 13768337"/>
              <a:gd name="connsiteY6430" fmla="*/ 958815 h 5071335"/>
              <a:gd name="connsiteX6431" fmla="*/ 2957467 w 13768337"/>
              <a:gd name="connsiteY6431" fmla="*/ 974702 h 5071335"/>
              <a:gd name="connsiteX6432" fmla="*/ 2991757 w 13768337"/>
              <a:gd name="connsiteY6432" fmla="*/ 958815 h 5071335"/>
              <a:gd name="connsiteX6433" fmla="*/ 1381462 w 13768337"/>
              <a:gd name="connsiteY6433" fmla="*/ 956725 h 5071335"/>
              <a:gd name="connsiteX6434" fmla="*/ 1394902 w 13768337"/>
              <a:gd name="connsiteY6434" fmla="*/ 958397 h 5071335"/>
              <a:gd name="connsiteX6435" fmla="*/ 1374049 w 13768337"/>
              <a:gd name="connsiteY6435" fmla="*/ 958397 h 5071335"/>
              <a:gd name="connsiteX6436" fmla="*/ 1381462 w 13768337"/>
              <a:gd name="connsiteY6436" fmla="*/ 956725 h 5071335"/>
              <a:gd name="connsiteX6437" fmla="*/ 10193826 w 13768337"/>
              <a:gd name="connsiteY6437" fmla="*/ 955471 h 5071335"/>
              <a:gd name="connsiteX6438" fmla="*/ 10215606 w 13768337"/>
              <a:gd name="connsiteY6438" fmla="*/ 976236 h 5071335"/>
              <a:gd name="connsiteX6439" fmla="*/ 10193826 w 13768337"/>
              <a:gd name="connsiteY6439" fmla="*/ 955471 h 5071335"/>
              <a:gd name="connsiteX6440" fmla="*/ 2936150 w 13768337"/>
              <a:gd name="connsiteY6440" fmla="*/ 955471 h 5071335"/>
              <a:gd name="connsiteX6441" fmla="*/ 2952369 w 13768337"/>
              <a:gd name="connsiteY6441" fmla="*/ 973867 h 5071335"/>
              <a:gd name="connsiteX6442" fmla="*/ 2934297 w 13768337"/>
              <a:gd name="connsiteY6442" fmla="*/ 972334 h 5071335"/>
              <a:gd name="connsiteX6443" fmla="*/ 2936150 w 13768337"/>
              <a:gd name="connsiteY6443" fmla="*/ 955471 h 5071335"/>
              <a:gd name="connsiteX6444" fmla="*/ 2453294 w 13768337"/>
              <a:gd name="connsiteY6444" fmla="*/ 953659 h 5071335"/>
              <a:gd name="connsiteX6445" fmla="*/ 2438465 w 13768337"/>
              <a:gd name="connsiteY6445" fmla="*/ 961603 h 5071335"/>
              <a:gd name="connsiteX6446" fmla="*/ 2453294 w 13768337"/>
              <a:gd name="connsiteY6446" fmla="*/ 973867 h 5071335"/>
              <a:gd name="connsiteX6447" fmla="*/ 2449587 w 13768337"/>
              <a:gd name="connsiteY6447" fmla="*/ 984458 h 5071335"/>
              <a:gd name="connsiteX6448" fmla="*/ 2438929 w 13768337"/>
              <a:gd name="connsiteY6448" fmla="*/ 984458 h 5071335"/>
              <a:gd name="connsiteX6449" fmla="*/ 2433831 w 13768337"/>
              <a:gd name="connsiteY6449" fmla="*/ 968152 h 5071335"/>
              <a:gd name="connsiteX6450" fmla="*/ 2438465 w 13768337"/>
              <a:gd name="connsiteY6450" fmla="*/ 961881 h 5071335"/>
              <a:gd name="connsiteX6451" fmla="*/ 2403711 w 13768337"/>
              <a:gd name="connsiteY6451" fmla="*/ 968571 h 5071335"/>
              <a:gd name="connsiteX6452" fmla="*/ 2453294 w 13768337"/>
              <a:gd name="connsiteY6452" fmla="*/ 953659 h 5071335"/>
              <a:gd name="connsiteX6453" fmla="*/ 2604361 w 13768337"/>
              <a:gd name="connsiteY6453" fmla="*/ 952265 h 5071335"/>
              <a:gd name="connsiteX6454" fmla="*/ 2626139 w 13768337"/>
              <a:gd name="connsiteY6454" fmla="*/ 955192 h 5071335"/>
              <a:gd name="connsiteX6455" fmla="*/ 2586751 w 13768337"/>
              <a:gd name="connsiteY6455" fmla="*/ 961603 h 5071335"/>
              <a:gd name="connsiteX6456" fmla="*/ 2604361 w 13768337"/>
              <a:gd name="connsiteY6456" fmla="*/ 952265 h 5071335"/>
              <a:gd name="connsiteX6457" fmla="*/ 10704484 w 13768337"/>
              <a:gd name="connsiteY6457" fmla="*/ 950453 h 5071335"/>
              <a:gd name="connsiteX6458" fmla="*/ 10719315 w 13768337"/>
              <a:gd name="connsiteY6458" fmla="*/ 964947 h 5071335"/>
              <a:gd name="connsiteX6459" fmla="*/ 10704484 w 13768337"/>
              <a:gd name="connsiteY6459" fmla="*/ 950453 h 5071335"/>
              <a:gd name="connsiteX6460" fmla="*/ 3876841 w 13768337"/>
              <a:gd name="connsiteY6460" fmla="*/ 948363 h 5071335"/>
              <a:gd name="connsiteX6461" fmla="*/ 3863865 w 13768337"/>
              <a:gd name="connsiteY6461" fmla="*/ 960627 h 5071335"/>
              <a:gd name="connsiteX6462" fmla="*/ 3894449 w 13768337"/>
              <a:gd name="connsiteY6462" fmla="*/ 951709 h 5071335"/>
              <a:gd name="connsiteX6463" fmla="*/ 3876841 w 13768337"/>
              <a:gd name="connsiteY6463" fmla="*/ 948363 h 5071335"/>
              <a:gd name="connsiteX6464" fmla="*/ 3203065 w 13768337"/>
              <a:gd name="connsiteY6464" fmla="*/ 948363 h 5071335"/>
              <a:gd name="connsiteX6465" fmla="*/ 3209089 w 13768337"/>
              <a:gd name="connsiteY6465" fmla="*/ 953659 h 5071335"/>
              <a:gd name="connsiteX6466" fmla="*/ 3184992 w 13768337"/>
              <a:gd name="connsiteY6466" fmla="*/ 962857 h 5071335"/>
              <a:gd name="connsiteX6467" fmla="*/ 3196578 w 13768337"/>
              <a:gd name="connsiteY6467" fmla="*/ 949478 h 5071335"/>
              <a:gd name="connsiteX6468" fmla="*/ 3203065 w 13768337"/>
              <a:gd name="connsiteY6468" fmla="*/ 948363 h 5071335"/>
              <a:gd name="connsiteX6469" fmla="*/ 2912981 w 13768337"/>
              <a:gd name="connsiteY6469" fmla="*/ 947528 h 5071335"/>
              <a:gd name="connsiteX6470" fmla="*/ 2892127 w 13768337"/>
              <a:gd name="connsiteY6470" fmla="*/ 963971 h 5071335"/>
              <a:gd name="connsiteX6471" fmla="*/ 2912981 w 13768337"/>
              <a:gd name="connsiteY6471" fmla="*/ 947528 h 5071335"/>
              <a:gd name="connsiteX6472" fmla="*/ 2839301 w 13768337"/>
              <a:gd name="connsiteY6472" fmla="*/ 947528 h 5071335"/>
              <a:gd name="connsiteX6473" fmla="*/ 2846715 w 13768337"/>
              <a:gd name="connsiteY6473" fmla="*/ 972891 h 5071335"/>
              <a:gd name="connsiteX6474" fmla="*/ 2807327 w 13768337"/>
              <a:gd name="connsiteY6474" fmla="*/ 976515 h 5071335"/>
              <a:gd name="connsiteX6475" fmla="*/ 2784157 w 13768337"/>
              <a:gd name="connsiteY6475" fmla="*/ 967596 h 5071335"/>
              <a:gd name="connsiteX6476" fmla="*/ 2839301 w 13768337"/>
              <a:gd name="connsiteY6476" fmla="*/ 947528 h 5071335"/>
              <a:gd name="connsiteX6477" fmla="*/ 10697535 w 13768337"/>
              <a:gd name="connsiteY6477" fmla="*/ 940838 h 5071335"/>
              <a:gd name="connsiteX6478" fmla="*/ 10702632 w 13768337"/>
              <a:gd name="connsiteY6478" fmla="*/ 943347 h 5071335"/>
              <a:gd name="connsiteX6479" fmla="*/ 10691973 w 13768337"/>
              <a:gd name="connsiteY6479" fmla="*/ 948363 h 5071335"/>
              <a:gd name="connsiteX6480" fmla="*/ 10704484 w 13768337"/>
              <a:gd name="connsiteY6480" fmla="*/ 959652 h 5071335"/>
              <a:gd name="connsiteX6481" fmla="*/ 10684560 w 13768337"/>
              <a:gd name="connsiteY6481" fmla="*/ 957004 h 5071335"/>
              <a:gd name="connsiteX6482" fmla="*/ 10697535 w 13768337"/>
              <a:gd name="connsiteY6482" fmla="*/ 940838 h 5071335"/>
              <a:gd name="connsiteX6483" fmla="*/ 2716501 w 13768337"/>
              <a:gd name="connsiteY6483" fmla="*/ 936378 h 5071335"/>
              <a:gd name="connsiteX6484" fmla="*/ 2735037 w 13768337"/>
              <a:gd name="connsiteY6484" fmla="*/ 943347 h 5071335"/>
              <a:gd name="connsiteX6485" fmla="*/ 2707234 w 13768337"/>
              <a:gd name="connsiteY6485" fmla="*/ 936797 h 5071335"/>
              <a:gd name="connsiteX6486" fmla="*/ 2716501 w 13768337"/>
              <a:gd name="connsiteY6486" fmla="*/ 936378 h 5071335"/>
              <a:gd name="connsiteX6487" fmla="*/ 10470471 w 13768337"/>
              <a:gd name="connsiteY6487" fmla="*/ 924672 h 5071335"/>
              <a:gd name="connsiteX6488" fmla="*/ 10468619 w 13768337"/>
              <a:gd name="connsiteY6488" fmla="*/ 924951 h 5071335"/>
              <a:gd name="connsiteX6489" fmla="*/ 10469082 w 13768337"/>
              <a:gd name="connsiteY6489" fmla="*/ 926065 h 5071335"/>
              <a:gd name="connsiteX6490" fmla="*/ 10470471 w 13768337"/>
              <a:gd name="connsiteY6490" fmla="*/ 924672 h 5071335"/>
              <a:gd name="connsiteX6491" fmla="*/ 2421783 w 13768337"/>
              <a:gd name="connsiteY6491" fmla="*/ 915753 h 5071335"/>
              <a:gd name="connsiteX6492" fmla="*/ 2446806 w 13768337"/>
              <a:gd name="connsiteY6492" fmla="*/ 915753 h 5071335"/>
              <a:gd name="connsiteX6493" fmla="*/ 2421783 w 13768337"/>
              <a:gd name="connsiteY6493" fmla="*/ 915753 h 5071335"/>
              <a:gd name="connsiteX6494" fmla="*/ 10288240 w 13768337"/>
              <a:gd name="connsiteY6494" fmla="*/ 899168 h 5071335"/>
              <a:gd name="connsiteX6495" fmla="*/ 10281870 w 13768337"/>
              <a:gd name="connsiteY6495" fmla="*/ 899726 h 5071335"/>
              <a:gd name="connsiteX6496" fmla="*/ 10276773 w 13768337"/>
              <a:gd name="connsiteY6496" fmla="*/ 914359 h 5071335"/>
              <a:gd name="connsiteX6497" fmla="*/ 10293918 w 13768337"/>
              <a:gd name="connsiteY6497" fmla="*/ 900702 h 5071335"/>
              <a:gd name="connsiteX6498" fmla="*/ 10288240 w 13768337"/>
              <a:gd name="connsiteY6498" fmla="*/ 899168 h 5071335"/>
              <a:gd name="connsiteX6499" fmla="*/ 2618262 w 13768337"/>
              <a:gd name="connsiteY6499" fmla="*/ 897775 h 5071335"/>
              <a:gd name="connsiteX6500" fmla="*/ 2628456 w 13768337"/>
              <a:gd name="connsiteY6500" fmla="*/ 898890 h 5071335"/>
              <a:gd name="connsiteX6501" fmla="*/ 2649309 w 13768337"/>
              <a:gd name="connsiteY6501" fmla="*/ 907391 h 5071335"/>
              <a:gd name="connsiteX6502" fmla="*/ 2611774 w 13768337"/>
              <a:gd name="connsiteY6502" fmla="*/ 900702 h 5071335"/>
              <a:gd name="connsiteX6503" fmla="*/ 2618262 w 13768337"/>
              <a:gd name="connsiteY6503" fmla="*/ 897775 h 5071335"/>
              <a:gd name="connsiteX6504" fmla="*/ 2664138 w 13768337"/>
              <a:gd name="connsiteY6504" fmla="*/ 891365 h 5071335"/>
              <a:gd name="connsiteX6505" fmla="*/ 2672479 w 13768337"/>
              <a:gd name="connsiteY6505" fmla="*/ 891782 h 5071335"/>
              <a:gd name="connsiteX6506" fmla="*/ 2680820 w 13768337"/>
              <a:gd name="connsiteY6506" fmla="*/ 899726 h 5071335"/>
              <a:gd name="connsiteX6507" fmla="*/ 2649309 w 13768337"/>
              <a:gd name="connsiteY6507" fmla="*/ 903907 h 5071335"/>
              <a:gd name="connsiteX6508" fmla="*/ 2664138 w 13768337"/>
              <a:gd name="connsiteY6508" fmla="*/ 891365 h 5071335"/>
              <a:gd name="connsiteX6509" fmla="*/ 2389346 w 13768337"/>
              <a:gd name="connsiteY6509" fmla="*/ 883978 h 5071335"/>
              <a:gd name="connsiteX6510" fmla="*/ 2422246 w 13768337"/>
              <a:gd name="connsiteY6510" fmla="*/ 883978 h 5071335"/>
              <a:gd name="connsiteX6511" fmla="*/ 2389346 w 13768337"/>
              <a:gd name="connsiteY6511" fmla="*/ 883978 h 5071335"/>
              <a:gd name="connsiteX6512" fmla="*/ 2600189 w 13768337"/>
              <a:gd name="connsiteY6512" fmla="*/ 880773 h 5071335"/>
              <a:gd name="connsiteX6513" fmla="*/ 2631237 w 13768337"/>
              <a:gd name="connsiteY6513" fmla="*/ 880773 h 5071335"/>
              <a:gd name="connsiteX6514" fmla="*/ 2600189 w 13768337"/>
              <a:gd name="connsiteY6514" fmla="*/ 896103 h 5071335"/>
              <a:gd name="connsiteX6515" fmla="*/ 2609921 w 13768337"/>
              <a:gd name="connsiteY6515" fmla="*/ 911572 h 5071335"/>
              <a:gd name="connsiteX6516" fmla="*/ 2537168 w 13768337"/>
              <a:gd name="connsiteY6516" fmla="*/ 906276 h 5071335"/>
              <a:gd name="connsiteX6517" fmla="*/ 2600189 w 13768337"/>
              <a:gd name="connsiteY6517" fmla="*/ 880773 h 5071335"/>
              <a:gd name="connsiteX6518" fmla="*/ 10145633 w 13768337"/>
              <a:gd name="connsiteY6518" fmla="*/ 877846 h 5071335"/>
              <a:gd name="connsiteX6519" fmla="*/ 10145633 w 13768337"/>
              <a:gd name="connsiteY6519" fmla="*/ 892897 h 5071335"/>
              <a:gd name="connsiteX6520" fmla="*/ 10171119 w 13768337"/>
              <a:gd name="connsiteY6520" fmla="*/ 891365 h 5071335"/>
              <a:gd name="connsiteX6521" fmla="*/ 10145633 w 13768337"/>
              <a:gd name="connsiteY6521" fmla="*/ 877846 h 5071335"/>
              <a:gd name="connsiteX6522" fmla="*/ 2729940 w 13768337"/>
              <a:gd name="connsiteY6522" fmla="*/ 871297 h 5071335"/>
              <a:gd name="connsiteX6523" fmla="*/ 2715575 w 13768337"/>
              <a:gd name="connsiteY6523" fmla="*/ 896521 h 5071335"/>
              <a:gd name="connsiteX6524" fmla="*/ 2733183 w 13768337"/>
              <a:gd name="connsiteY6524" fmla="*/ 890947 h 5071335"/>
              <a:gd name="connsiteX6525" fmla="*/ 2729940 w 13768337"/>
              <a:gd name="connsiteY6525" fmla="*/ 871297 h 5071335"/>
              <a:gd name="connsiteX6526" fmla="*/ 2478316 w 13768337"/>
              <a:gd name="connsiteY6526" fmla="*/ 864189 h 5071335"/>
              <a:gd name="connsiteX6527" fmla="*/ 2478316 w 13768337"/>
              <a:gd name="connsiteY6527" fmla="*/ 903071 h 5071335"/>
              <a:gd name="connsiteX6528" fmla="*/ 2438929 w 13768337"/>
              <a:gd name="connsiteY6528" fmla="*/ 912826 h 5071335"/>
              <a:gd name="connsiteX6529" fmla="*/ 2423636 w 13768337"/>
              <a:gd name="connsiteY6529" fmla="*/ 875478 h 5071335"/>
              <a:gd name="connsiteX6530" fmla="*/ 2478316 w 13768337"/>
              <a:gd name="connsiteY6530" fmla="*/ 864189 h 5071335"/>
              <a:gd name="connsiteX6531" fmla="*/ 1233177 w 13768337"/>
              <a:gd name="connsiteY6531" fmla="*/ 862377 h 5071335"/>
              <a:gd name="connsiteX6532" fmla="*/ 1215568 w 13768337"/>
              <a:gd name="connsiteY6532" fmla="*/ 868928 h 5071335"/>
              <a:gd name="connsiteX6533" fmla="*/ 1233177 w 13768337"/>
              <a:gd name="connsiteY6533" fmla="*/ 862377 h 5071335"/>
              <a:gd name="connsiteX6534" fmla="*/ 10102073 w 13768337"/>
              <a:gd name="connsiteY6534" fmla="*/ 858615 h 5071335"/>
              <a:gd name="connsiteX6535" fmla="*/ 10115976 w 13768337"/>
              <a:gd name="connsiteY6535" fmla="*/ 865723 h 5071335"/>
              <a:gd name="connsiteX6536" fmla="*/ 10091879 w 13768337"/>
              <a:gd name="connsiteY6536" fmla="*/ 873666 h 5071335"/>
              <a:gd name="connsiteX6537" fmla="*/ 10102073 w 13768337"/>
              <a:gd name="connsiteY6537" fmla="*/ 858615 h 5071335"/>
              <a:gd name="connsiteX6538" fmla="*/ 2774889 w 13768337"/>
              <a:gd name="connsiteY6538" fmla="*/ 855269 h 5071335"/>
              <a:gd name="connsiteX6539" fmla="*/ 2767012 w 13768337"/>
              <a:gd name="connsiteY6539" fmla="*/ 860566 h 5071335"/>
              <a:gd name="connsiteX6540" fmla="*/ 2770256 w 13768337"/>
              <a:gd name="connsiteY6540" fmla="*/ 885790 h 5071335"/>
              <a:gd name="connsiteX6541" fmla="*/ 2737817 w 13768337"/>
              <a:gd name="connsiteY6541" fmla="*/ 876313 h 5071335"/>
              <a:gd name="connsiteX6542" fmla="*/ 2752183 w 13768337"/>
              <a:gd name="connsiteY6542" fmla="*/ 896521 h 5071335"/>
              <a:gd name="connsiteX6543" fmla="*/ 2748013 w 13768337"/>
              <a:gd name="connsiteY6543" fmla="*/ 885790 h 5071335"/>
              <a:gd name="connsiteX6544" fmla="*/ 2804546 w 13768337"/>
              <a:gd name="connsiteY6544" fmla="*/ 885790 h 5071335"/>
              <a:gd name="connsiteX6545" fmla="*/ 2804546 w 13768337"/>
              <a:gd name="connsiteY6545" fmla="*/ 911990 h 5071335"/>
              <a:gd name="connsiteX6546" fmla="*/ 2724843 w 13768337"/>
              <a:gd name="connsiteY6546" fmla="*/ 922860 h 5071335"/>
              <a:gd name="connsiteX6547" fmla="*/ 2748013 w 13768337"/>
              <a:gd name="connsiteY6547" fmla="*/ 911990 h 5071335"/>
              <a:gd name="connsiteX6548" fmla="*/ 2705381 w 13768337"/>
              <a:gd name="connsiteY6548" fmla="*/ 911990 h 5071335"/>
              <a:gd name="connsiteX6549" fmla="*/ 2640967 w 13768337"/>
              <a:gd name="connsiteY6549" fmla="*/ 885790 h 5071335"/>
              <a:gd name="connsiteX6550" fmla="*/ 2648846 w 13768337"/>
              <a:gd name="connsiteY6550" fmla="*/ 863353 h 5071335"/>
              <a:gd name="connsiteX6551" fmla="*/ 2774889 w 13768337"/>
              <a:gd name="connsiteY6551" fmla="*/ 855269 h 5071335"/>
              <a:gd name="connsiteX6552" fmla="*/ 3142361 w 13768337"/>
              <a:gd name="connsiteY6552" fmla="*/ 854016 h 5071335"/>
              <a:gd name="connsiteX6553" fmla="*/ 3150238 w 13768337"/>
              <a:gd name="connsiteY6553" fmla="*/ 868928 h 5071335"/>
              <a:gd name="connsiteX6554" fmla="*/ 3133093 w 13768337"/>
              <a:gd name="connsiteY6554" fmla="*/ 865723 h 5071335"/>
              <a:gd name="connsiteX6555" fmla="*/ 3142361 w 13768337"/>
              <a:gd name="connsiteY6555" fmla="*/ 854016 h 5071335"/>
              <a:gd name="connsiteX6556" fmla="*/ 3454631 w 13768337"/>
              <a:gd name="connsiteY6556" fmla="*/ 851768 h 5071335"/>
              <a:gd name="connsiteX6557" fmla="*/ 3534855 w 13768337"/>
              <a:gd name="connsiteY6557" fmla="*/ 876313 h 5071335"/>
              <a:gd name="connsiteX6558" fmla="*/ 3564976 w 13768337"/>
              <a:gd name="connsiteY6558" fmla="*/ 869903 h 5071335"/>
              <a:gd name="connsiteX6559" fmla="*/ 3528832 w 13768337"/>
              <a:gd name="connsiteY6559" fmla="*/ 877846 h 5071335"/>
              <a:gd name="connsiteX6560" fmla="*/ 3514003 w 13768337"/>
              <a:gd name="connsiteY6560" fmla="*/ 886766 h 5071335"/>
              <a:gd name="connsiteX6561" fmla="*/ 3506588 w 13768337"/>
              <a:gd name="connsiteY6561" fmla="*/ 871297 h 5071335"/>
              <a:gd name="connsiteX6562" fmla="*/ 3490833 w 13768337"/>
              <a:gd name="connsiteY6562" fmla="*/ 885232 h 5071335"/>
              <a:gd name="connsiteX6563" fmla="*/ 3496857 w 13768337"/>
              <a:gd name="connsiteY6563" fmla="*/ 868370 h 5071335"/>
              <a:gd name="connsiteX6564" fmla="*/ 3460249 w 13768337"/>
              <a:gd name="connsiteY6564" fmla="*/ 860984 h 5071335"/>
              <a:gd name="connsiteX6565" fmla="*/ 3481103 w 13768337"/>
              <a:gd name="connsiteY6565" fmla="*/ 869903 h 5071335"/>
              <a:gd name="connsiteX6566" fmla="*/ 3481103 w 13768337"/>
              <a:gd name="connsiteY6566" fmla="*/ 885232 h 5071335"/>
              <a:gd name="connsiteX6567" fmla="*/ 3452834 w 13768337"/>
              <a:gd name="connsiteY6567" fmla="*/ 887602 h 5071335"/>
              <a:gd name="connsiteX6568" fmla="*/ 3440323 w 13768337"/>
              <a:gd name="connsiteY6568" fmla="*/ 877846 h 5071335"/>
              <a:gd name="connsiteX6569" fmla="*/ 3454225 w 13768337"/>
              <a:gd name="connsiteY6569" fmla="*/ 872690 h 5071335"/>
              <a:gd name="connsiteX6570" fmla="*/ 3425958 w 13768337"/>
              <a:gd name="connsiteY6570" fmla="*/ 863353 h 5071335"/>
              <a:gd name="connsiteX6571" fmla="*/ 3438469 w 13768337"/>
              <a:gd name="connsiteY6571" fmla="*/ 866140 h 5071335"/>
              <a:gd name="connsiteX6572" fmla="*/ 3392594 w 13768337"/>
              <a:gd name="connsiteY6572" fmla="*/ 862377 h 5071335"/>
              <a:gd name="connsiteX6573" fmla="*/ 3367106 w 13768337"/>
              <a:gd name="connsiteY6573" fmla="*/ 860984 h 5071335"/>
              <a:gd name="connsiteX6574" fmla="*/ 3454631 w 13768337"/>
              <a:gd name="connsiteY6574" fmla="*/ 851768 h 5071335"/>
              <a:gd name="connsiteX6575" fmla="*/ 3346717 w 13768337"/>
              <a:gd name="connsiteY6575" fmla="*/ 847884 h 5071335"/>
              <a:gd name="connsiteX6576" fmla="*/ 3367106 w 13768337"/>
              <a:gd name="connsiteY6576" fmla="*/ 860984 h 5071335"/>
              <a:gd name="connsiteX6577" fmla="*/ 3283695 w 13768337"/>
              <a:gd name="connsiteY6577" fmla="*/ 860984 h 5071335"/>
              <a:gd name="connsiteX6578" fmla="*/ 3346717 w 13768337"/>
              <a:gd name="connsiteY6578" fmla="*/ 847884 h 5071335"/>
              <a:gd name="connsiteX6579" fmla="*/ 3257283 w 13768337"/>
              <a:gd name="connsiteY6579" fmla="*/ 847326 h 5071335"/>
              <a:gd name="connsiteX6580" fmla="*/ 3273501 w 13768337"/>
              <a:gd name="connsiteY6580" fmla="*/ 863910 h 5071335"/>
              <a:gd name="connsiteX6581" fmla="*/ 3264697 w 13768337"/>
              <a:gd name="connsiteY6581" fmla="*/ 868370 h 5071335"/>
              <a:gd name="connsiteX6582" fmla="*/ 3258672 w 13768337"/>
              <a:gd name="connsiteY6582" fmla="*/ 852065 h 5071335"/>
              <a:gd name="connsiteX6583" fmla="*/ 3243844 w 13768337"/>
              <a:gd name="connsiteY6583" fmla="*/ 862377 h 5071335"/>
              <a:gd name="connsiteX6584" fmla="*/ 3257283 w 13768337"/>
              <a:gd name="connsiteY6584" fmla="*/ 847326 h 5071335"/>
              <a:gd name="connsiteX6585" fmla="*/ 1934871 w 13768337"/>
              <a:gd name="connsiteY6585" fmla="*/ 845445 h 5071335"/>
              <a:gd name="connsiteX6586" fmla="*/ 1944487 w 13768337"/>
              <a:gd name="connsiteY6586" fmla="*/ 847884 h 5071335"/>
              <a:gd name="connsiteX6587" fmla="*/ 1900001 w 13768337"/>
              <a:gd name="connsiteY6587" fmla="*/ 859173 h 5071335"/>
              <a:gd name="connsiteX6588" fmla="*/ 1920391 w 13768337"/>
              <a:gd name="connsiteY6588" fmla="*/ 845514 h 5071335"/>
              <a:gd name="connsiteX6589" fmla="*/ 1934871 w 13768337"/>
              <a:gd name="connsiteY6589" fmla="*/ 845445 h 5071335"/>
              <a:gd name="connsiteX6590" fmla="*/ 4549688 w 13768337"/>
              <a:gd name="connsiteY6590" fmla="*/ 843703 h 5071335"/>
              <a:gd name="connsiteX6591" fmla="*/ 4546445 w 13768337"/>
              <a:gd name="connsiteY6591" fmla="*/ 848441 h 5071335"/>
              <a:gd name="connsiteX6592" fmla="*/ 4543664 w 13768337"/>
              <a:gd name="connsiteY6592" fmla="*/ 846072 h 5071335"/>
              <a:gd name="connsiteX6593" fmla="*/ 4541811 w 13768337"/>
              <a:gd name="connsiteY6593" fmla="*/ 850253 h 5071335"/>
              <a:gd name="connsiteX6594" fmla="*/ 4546445 w 13768337"/>
              <a:gd name="connsiteY6594" fmla="*/ 848441 h 5071335"/>
              <a:gd name="connsiteX6595" fmla="*/ 4552005 w 13768337"/>
              <a:gd name="connsiteY6595" fmla="*/ 846072 h 5071335"/>
              <a:gd name="connsiteX6596" fmla="*/ 4549688 w 13768337"/>
              <a:gd name="connsiteY6596" fmla="*/ 843703 h 5071335"/>
              <a:gd name="connsiteX6597" fmla="*/ 1960242 w 13768337"/>
              <a:gd name="connsiteY6597" fmla="*/ 838407 h 5071335"/>
              <a:gd name="connsiteX6598" fmla="*/ 1972291 w 13768337"/>
              <a:gd name="connsiteY6598" fmla="*/ 838965 h 5071335"/>
              <a:gd name="connsiteX6599" fmla="*/ 1956535 w 13768337"/>
              <a:gd name="connsiteY6599" fmla="*/ 864189 h 5071335"/>
              <a:gd name="connsiteX6600" fmla="*/ 1960242 w 13768337"/>
              <a:gd name="connsiteY6600" fmla="*/ 838407 h 5071335"/>
              <a:gd name="connsiteX6601" fmla="*/ 4458862 w 13768337"/>
              <a:gd name="connsiteY6601" fmla="*/ 837571 h 5071335"/>
              <a:gd name="connsiteX6602" fmla="*/ 4470448 w 13768337"/>
              <a:gd name="connsiteY6602" fmla="*/ 852065 h 5071335"/>
              <a:gd name="connsiteX6603" fmla="*/ 4481107 w 13768337"/>
              <a:gd name="connsiteY6603" fmla="*/ 849695 h 5071335"/>
              <a:gd name="connsiteX6604" fmla="*/ 4458862 w 13768337"/>
              <a:gd name="connsiteY6604" fmla="*/ 837571 h 5071335"/>
              <a:gd name="connsiteX6605" fmla="*/ 2494999 w 13768337"/>
              <a:gd name="connsiteY6605" fmla="*/ 837153 h 5071335"/>
              <a:gd name="connsiteX6606" fmla="*/ 2510292 w 13768337"/>
              <a:gd name="connsiteY6606" fmla="*/ 857639 h 5071335"/>
              <a:gd name="connsiteX6607" fmla="*/ 2575166 w 13768337"/>
              <a:gd name="connsiteY6607" fmla="*/ 848441 h 5071335"/>
              <a:gd name="connsiteX6608" fmla="*/ 2560801 w 13768337"/>
              <a:gd name="connsiteY6608" fmla="*/ 842867 h 5071335"/>
              <a:gd name="connsiteX6609" fmla="*/ 2606677 w 13768337"/>
              <a:gd name="connsiteY6609" fmla="*/ 848441 h 5071335"/>
              <a:gd name="connsiteX6610" fmla="*/ 2538558 w 13768337"/>
              <a:gd name="connsiteY6610" fmla="*/ 868370 h 5071335"/>
              <a:gd name="connsiteX6611" fmla="*/ 2577947 w 13768337"/>
              <a:gd name="connsiteY6611" fmla="*/ 879241 h 5071335"/>
              <a:gd name="connsiteX6612" fmla="*/ 2510292 w 13768337"/>
              <a:gd name="connsiteY6612" fmla="*/ 905997 h 5071335"/>
              <a:gd name="connsiteX6613" fmla="*/ 2510292 w 13768337"/>
              <a:gd name="connsiteY6613" fmla="*/ 884397 h 5071335"/>
              <a:gd name="connsiteX6614" fmla="*/ 2533924 w 13768337"/>
              <a:gd name="connsiteY6614" fmla="*/ 879241 h 5071335"/>
              <a:gd name="connsiteX6615" fmla="*/ 2497316 w 13768337"/>
              <a:gd name="connsiteY6615" fmla="*/ 868370 h 5071335"/>
              <a:gd name="connsiteX6616" fmla="*/ 2488049 w 13768337"/>
              <a:gd name="connsiteY6616" fmla="*/ 842867 h 5071335"/>
              <a:gd name="connsiteX6617" fmla="*/ 2494999 w 13768337"/>
              <a:gd name="connsiteY6617" fmla="*/ 837153 h 5071335"/>
              <a:gd name="connsiteX6618" fmla="*/ 3827720 w 13768337"/>
              <a:gd name="connsiteY6618" fmla="*/ 824053 h 5071335"/>
              <a:gd name="connsiteX6619" fmla="*/ 3836524 w 13768337"/>
              <a:gd name="connsiteY6619" fmla="*/ 831579 h 5071335"/>
              <a:gd name="connsiteX6620" fmla="*/ 3830501 w 13768337"/>
              <a:gd name="connsiteY6620" fmla="*/ 828652 h 5071335"/>
              <a:gd name="connsiteX6621" fmla="*/ 3827720 w 13768337"/>
              <a:gd name="connsiteY6621" fmla="*/ 838129 h 5071335"/>
              <a:gd name="connsiteX6622" fmla="*/ 3816598 w 13768337"/>
              <a:gd name="connsiteY6622" fmla="*/ 830045 h 5071335"/>
              <a:gd name="connsiteX6623" fmla="*/ 3827720 w 13768337"/>
              <a:gd name="connsiteY6623" fmla="*/ 824053 h 5071335"/>
              <a:gd name="connsiteX6624" fmla="*/ 4478326 w 13768337"/>
              <a:gd name="connsiteY6624" fmla="*/ 805239 h 5071335"/>
              <a:gd name="connsiteX6625" fmla="*/ 4498716 w 13768337"/>
              <a:gd name="connsiteY6625" fmla="*/ 819454 h 5071335"/>
              <a:gd name="connsiteX6626" fmla="*/ 4461179 w 13768337"/>
              <a:gd name="connsiteY6626" fmla="*/ 813182 h 5071335"/>
              <a:gd name="connsiteX6627" fmla="*/ 4478326 w 13768337"/>
              <a:gd name="connsiteY6627" fmla="*/ 805239 h 5071335"/>
              <a:gd name="connsiteX6628" fmla="*/ 2225767 w 13768337"/>
              <a:gd name="connsiteY6628" fmla="*/ 802034 h 5071335"/>
              <a:gd name="connsiteX6629" fmla="*/ 2184989 w 13768337"/>
              <a:gd name="connsiteY6629" fmla="*/ 838407 h 5071335"/>
              <a:gd name="connsiteX6630" fmla="*/ 2178965 w 13768337"/>
              <a:gd name="connsiteY6630" fmla="*/ 847884 h 5071335"/>
              <a:gd name="connsiteX6631" fmla="*/ 2183598 w 13768337"/>
              <a:gd name="connsiteY6631" fmla="*/ 859173 h 5071335"/>
              <a:gd name="connsiteX6632" fmla="*/ 2142356 w 13768337"/>
              <a:gd name="connsiteY6632" fmla="*/ 856245 h 5071335"/>
              <a:gd name="connsiteX6633" fmla="*/ 2225767 w 13768337"/>
              <a:gd name="connsiteY6633" fmla="*/ 802034 h 5071335"/>
              <a:gd name="connsiteX6634" fmla="*/ 4778142 w 13768337"/>
              <a:gd name="connsiteY6634" fmla="*/ 787401 h 5071335"/>
              <a:gd name="connsiteX6635" fmla="*/ 4730877 w 13768337"/>
              <a:gd name="connsiteY6635" fmla="*/ 794229 h 5071335"/>
              <a:gd name="connsiteX6636" fmla="*/ 4778142 w 13768337"/>
              <a:gd name="connsiteY6636" fmla="*/ 787401 h 5071335"/>
              <a:gd name="connsiteX6637" fmla="*/ 10927841 w 13768337"/>
              <a:gd name="connsiteY6637" fmla="*/ 733747 h 5071335"/>
              <a:gd name="connsiteX6638" fmla="*/ 10946377 w 13768337"/>
              <a:gd name="connsiteY6638" fmla="*/ 736534 h 5071335"/>
              <a:gd name="connsiteX6639" fmla="*/ 10916720 w 13768337"/>
              <a:gd name="connsiteY6639" fmla="*/ 748240 h 5071335"/>
              <a:gd name="connsiteX6640" fmla="*/ 10927841 w 13768337"/>
              <a:gd name="connsiteY6640" fmla="*/ 733747 h 5071335"/>
              <a:gd name="connsiteX6641" fmla="*/ 4398621 w 13768337"/>
              <a:gd name="connsiteY6641" fmla="*/ 732771 h 5071335"/>
              <a:gd name="connsiteX6642" fmla="*/ 4416693 w 13768337"/>
              <a:gd name="connsiteY6642" fmla="*/ 746847 h 5071335"/>
              <a:gd name="connsiteX6643" fmla="*/ 4385183 w 13768337"/>
              <a:gd name="connsiteY6643" fmla="*/ 744478 h 5071335"/>
              <a:gd name="connsiteX6644" fmla="*/ 4398621 w 13768337"/>
              <a:gd name="connsiteY6644" fmla="*/ 732771 h 5071335"/>
              <a:gd name="connsiteX6645" fmla="*/ 10894940 w 13768337"/>
              <a:gd name="connsiteY6645" fmla="*/ 730820 h 5071335"/>
              <a:gd name="connsiteX6646" fmla="*/ 10910233 w 13768337"/>
              <a:gd name="connsiteY6646" fmla="*/ 737509 h 5071335"/>
              <a:gd name="connsiteX6647" fmla="*/ 10894940 w 13768337"/>
              <a:gd name="connsiteY6647" fmla="*/ 730820 h 5071335"/>
              <a:gd name="connsiteX6648" fmla="*/ 10855552 w 13768337"/>
              <a:gd name="connsiteY6648" fmla="*/ 727196 h 5071335"/>
              <a:gd name="connsiteX6649" fmla="*/ 10855552 w 13768337"/>
              <a:gd name="connsiteY6649" fmla="*/ 738485 h 5071335"/>
              <a:gd name="connsiteX6650" fmla="*/ 10870844 w 13768337"/>
              <a:gd name="connsiteY6650" fmla="*/ 729566 h 5071335"/>
              <a:gd name="connsiteX6651" fmla="*/ 10877332 w 13768337"/>
              <a:gd name="connsiteY6651" fmla="*/ 736952 h 5071335"/>
              <a:gd name="connsiteX6652" fmla="*/ 10842577 w 13768337"/>
              <a:gd name="connsiteY6652" fmla="*/ 747405 h 5071335"/>
              <a:gd name="connsiteX6653" fmla="*/ 10783262 w 13768337"/>
              <a:gd name="connsiteY6653" fmla="*/ 736952 h 5071335"/>
              <a:gd name="connsiteX6654" fmla="*/ 10855552 w 13768337"/>
              <a:gd name="connsiteY6654" fmla="*/ 727196 h 5071335"/>
              <a:gd name="connsiteX6655" fmla="*/ 4957939 w 13768337"/>
              <a:gd name="connsiteY6655" fmla="*/ 705318 h 5071335"/>
              <a:gd name="connsiteX6656" fmla="*/ 4923648 w 13768337"/>
              <a:gd name="connsiteY6656" fmla="*/ 721622 h 5071335"/>
              <a:gd name="connsiteX6657" fmla="*/ 4957939 w 13768337"/>
              <a:gd name="connsiteY6657" fmla="*/ 705318 h 5071335"/>
              <a:gd name="connsiteX6658" fmla="*/ 5219291 w 13768337"/>
              <a:gd name="connsiteY6658" fmla="*/ 674240 h 5071335"/>
              <a:gd name="connsiteX6659" fmla="*/ 5179903 w 13768337"/>
              <a:gd name="connsiteY6659" fmla="*/ 685109 h 5071335"/>
              <a:gd name="connsiteX6660" fmla="*/ 5234122 w 13768337"/>
              <a:gd name="connsiteY6660" fmla="*/ 674796 h 5071335"/>
              <a:gd name="connsiteX6661" fmla="*/ 5219291 w 13768337"/>
              <a:gd name="connsiteY6661" fmla="*/ 674240 h 5071335"/>
              <a:gd name="connsiteX6662" fmla="*/ 10142852 w 13768337"/>
              <a:gd name="connsiteY6662" fmla="*/ 669083 h 5071335"/>
              <a:gd name="connsiteX6663" fmla="*/ 10155826 w 13768337"/>
              <a:gd name="connsiteY6663" fmla="*/ 677166 h 5071335"/>
              <a:gd name="connsiteX6664" fmla="*/ 10152120 w 13768337"/>
              <a:gd name="connsiteY6664" fmla="*/ 689848 h 5071335"/>
              <a:gd name="connsiteX6665" fmla="*/ 10142852 w 13768337"/>
              <a:gd name="connsiteY6665" fmla="*/ 669083 h 5071335"/>
              <a:gd name="connsiteX6666" fmla="*/ 5149321 w 13768337"/>
              <a:gd name="connsiteY6666" fmla="*/ 658770 h 5071335"/>
              <a:gd name="connsiteX6667" fmla="*/ 5138662 w 13768337"/>
              <a:gd name="connsiteY6667" fmla="*/ 678977 h 5071335"/>
              <a:gd name="connsiteX6668" fmla="*/ 5166467 w 13768337"/>
              <a:gd name="connsiteY6668" fmla="*/ 666435 h 5071335"/>
              <a:gd name="connsiteX6669" fmla="*/ 5149321 w 13768337"/>
              <a:gd name="connsiteY6669" fmla="*/ 658770 h 5071335"/>
              <a:gd name="connsiteX6670" fmla="*/ 5212805 w 13768337"/>
              <a:gd name="connsiteY6670" fmla="*/ 652499 h 5071335"/>
              <a:gd name="connsiteX6671" fmla="*/ 5205390 w 13768337"/>
              <a:gd name="connsiteY6671" fmla="*/ 654311 h 5071335"/>
              <a:gd name="connsiteX6672" fmla="*/ 5196586 w 13768337"/>
              <a:gd name="connsiteY6672" fmla="*/ 668664 h 5071335"/>
              <a:gd name="connsiteX6673" fmla="*/ 5220683 w 13768337"/>
              <a:gd name="connsiteY6673" fmla="*/ 656401 h 5071335"/>
              <a:gd name="connsiteX6674" fmla="*/ 5212805 w 13768337"/>
              <a:gd name="connsiteY6674" fmla="*/ 652499 h 5071335"/>
              <a:gd name="connsiteX6675" fmla="*/ 5284631 w 13768337"/>
              <a:gd name="connsiteY6675" fmla="*/ 651942 h 5071335"/>
              <a:gd name="connsiteX6676" fmla="*/ 5275826 w 13768337"/>
              <a:gd name="connsiteY6676" fmla="*/ 653753 h 5071335"/>
              <a:gd name="connsiteX6677" fmla="*/ 5261926 w 13768337"/>
              <a:gd name="connsiteY6677" fmla="*/ 667690 h 5071335"/>
              <a:gd name="connsiteX6678" fmla="*/ 5295754 w 13768337"/>
              <a:gd name="connsiteY6678" fmla="*/ 664066 h 5071335"/>
              <a:gd name="connsiteX6679" fmla="*/ 5273974 w 13768337"/>
              <a:gd name="connsiteY6679" fmla="*/ 661140 h 5071335"/>
              <a:gd name="connsiteX6680" fmla="*/ 5294825 w 13768337"/>
              <a:gd name="connsiteY6680" fmla="*/ 655147 h 5071335"/>
              <a:gd name="connsiteX6681" fmla="*/ 5284631 w 13768337"/>
              <a:gd name="connsiteY6681" fmla="*/ 651942 h 5071335"/>
              <a:gd name="connsiteX6682" fmla="*/ 5428747 w 13768337"/>
              <a:gd name="connsiteY6682" fmla="*/ 644416 h 5071335"/>
              <a:gd name="connsiteX6683" fmla="*/ 5423187 w 13768337"/>
              <a:gd name="connsiteY6683" fmla="*/ 646088 h 5071335"/>
              <a:gd name="connsiteX6684" fmla="*/ 5440332 w 13768337"/>
              <a:gd name="connsiteY6684" fmla="*/ 655565 h 5071335"/>
              <a:gd name="connsiteX6685" fmla="*/ 5439868 w 13768337"/>
              <a:gd name="connsiteY6685" fmla="*/ 652220 h 5071335"/>
              <a:gd name="connsiteX6686" fmla="*/ 5428747 w 13768337"/>
              <a:gd name="connsiteY6686" fmla="*/ 644416 h 5071335"/>
              <a:gd name="connsiteX6687" fmla="*/ 5477403 w 13768337"/>
              <a:gd name="connsiteY6687" fmla="*/ 641908 h 5071335"/>
              <a:gd name="connsiteX6688" fmla="*/ 5465356 w 13768337"/>
              <a:gd name="connsiteY6688" fmla="*/ 657934 h 5071335"/>
              <a:gd name="connsiteX6689" fmla="*/ 5474160 w 13768337"/>
              <a:gd name="connsiteY6689" fmla="*/ 655147 h 5071335"/>
              <a:gd name="connsiteX6690" fmla="*/ 5476940 w 13768337"/>
              <a:gd name="connsiteY6690" fmla="*/ 648040 h 5071335"/>
              <a:gd name="connsiteX6691" fmla="*/ 5478795 w 13768337"/>
              <a:gd name="connsiteY6691" fmla="*/ 653753 h 5071335"/>
              <a:gd name="connsiteX6692" fmla="*/ 5484817 w 13768337"/>
              <a:gd name="connsiteY6692" fmla="*/ 642464 h 5071335"/>
              <a:gd name="connsiteX6693" fmla="*/ 5476940 w 13768337"/>
              <a:gd name="connsiteY6693" fmla="*/ 643022 h 5071335"/>
              <a:gd name="connsiteX6694" fmla="*/ 5477403 w 13768337"/>
              <a:gd name="connsiteY6694" fmla="*/ 641908 h 5071335"/>
              <a:gd name="connsiteX6695" fmla="*/ 4143292 w 13768337"/>
              <a:gd name="connsiteY6695" fmla="*/ 637448 h 5071335"/>
              <a:gd name="connsiteX6696" fmla="*/ 4134950 w 13768337"/>
              <a:gd name="connsiteY6696" fmla="*/ 646227 h 5071335"/>
              <a:gd name="connsiteX6697" fmla="*/ 4154876 w 13768337"/>
              <a:gd name="connsiteY6697" fmla="*/ 644834 h 5071335"/>
              <a:gd name="connsiteX6698" fmla="*/ 4143292 w 13768337"/>
              <a:gd name="connsiteY6698" fmla="*/ 637448 h 5071335"/>
              <a:gd name="connsiteX6699" fmla="*/ 5437550 w 13768337"/>
              <a:gd name="connsiteY6699" fmla="*/ 636473 h 5071335"/>
              <a:gd name="connsiteX6700" fmla="*/ 5436625 w 13768337"/>
              <a:gd name="connsiteY6700" fmla="*/ 640653 h 5071335"/>
              <a:gd name="connsiteX6701" fmla="*/ 5443111 w 13768337"/>
              <a:gd name="connsiteY6701" fmla="*/ 645671 h 5071335"/>
              <a:gd name="connsiteX6702" fmla="*/ 5451917 w 13768337"/>
              <a:gd name="connsiteY6702" fmla="*/ 639817 h 5071335"/>
              <a:gd name="connsiteX6703" fmla="*/ 5437550 w 13768337"/>
              <a:gd name="connsiteY6703" fmla="*/ 636473 h 5071335"/>
              <a:gd name="connsiteX6704" fmla="*/ 5430600 w 13768337"/>
              <a:gd name="connsiteY6704" fmla="*/ 635914 h 5071335"/>
              <a:gd name="connsiteX6705" fmla="*/ 5414381 w 13768337"/>
              <a:gd name="connsiteY6705" fmla="*/ 642464 h 5071335"/>
              <a:gd name="connsiteX6706" fmla="*/ 5422723 w 13768337"/>
              <a:gd name="connsiteY6706" fmla="*/ 645949 h 5071335"/>
              <a:gd name="connsiteX6707" fmla="*/ 5430600 w 13768337"/>
              <a:gd name="connsiteY6707" fmla="*/ 635914 h 5071335"/>
              <a:gd name="connsiteX6708" fmla="*/ 5515402 w 13768337"/>
              <a:gd name="connsiteY6708" fmla="*/ 634521 h 5071335"/>
              <a:gd name="connsiteX6709" fmla="*/ 5496402 w 13768337"/>
              <a:gd name="connsiteY6709" fmla="*/ 643858 h 5071335"/>
              <a:gd name="connsiteX6710" fmla="*/ 5496402 w 13768337"/>
              <a:gd name="connsiteY6710" fmla="*/ 651942 h 5071335"/>
              <a:gd name="connsiteX6711" fmla="*/ 5505207 w 13768337"/>
              <a:gd name="connsiteY6711" fmla="*/ 653753 h 5071335"/>
              <a:gd name="connsiteX6712" fmla="*/ 5507524 w 13768337"/>
              <a:gd name="connsiteY6712" fmla="*/ 652220 h 5071335"/>
              <a:gd name="connsiteX6713" fmla="*/ 5509840 w 13768337"/>
              <a:gd name="connsiteY6713" fmla="*/ 647203 h 5071335"/>
              <a:gd name="connsiteX6714" fmla="*/ 5515866 w 13768337"/>
              <a:gd name="connsiteY6714" fmla="*/ 640097 h 5071335"/>
              <a:gd name="connsiteX6715" fmla="*/ 5515402 w 13768337"/>
              <a:gd name="connsiteY6715" fmla="*/ 634521 h 5071335"/>
              <a:gd name="connsiteX6716" fmla="*/ 5592788 w 13768337"/>
              <a:gd name="connsiteY6716" fmla="*/ 631177 h 5071335"/>
              <a:gd name="connsiteX6717" fmla="*/ 5589082 w 13768337"/>
              <a:gd name="connsiteY6717" fmla="*/ 631734 h 5071335"/>
              <a:gd name="connsiteX6718" fmla="*/ 5592788 w 13768337"/>
              <a:gd name="connsiteY6718" fmla="*/ 632153 h 5071335"/>
              <a:gd name="connsiteX6719" fmla="*/ 5592788 w 13768337"/>
              <a:gd name="connsiteY6719" fmla="*/ 631177 h 5071335"/>
              <a:gd name="connsiteX6720" fmla="*/ 5607617 w 13768337"/>
              <a:gd name="connsiteY6720" fmla="*/ 627971 h 5071335"/>
              <a:gd name="connsiteX6721" fmla="*/ 5599276 w 13768337"/>
              <a:gd name="connsiteY6721" fmla="*/ 629784 h 5071335"/>
              <a:gd name="connsiteX6722" fmla="*/ 5602056 w 13768337"/>
              <a:gd name="connsiteY6722" fmla="*/ 634103 h 5071335"/>
              <a:gd name="connsiteX6723" fmla="*/ 5603909 w 13768337"/>
              <a:gd name="connsiteY6723" fmla="*/ 634521 h 5071335"/>
              <a:gd name="connsiteX6724" fmla="*/ 5607617 w 13768337"/>
              <a:gd name="connsiteY6724" fmla="*/ 627971 h 5071335"/>
              <a:gd name="connsiteX6725" fmla="*/ 5546449 w 13768337"/>
              <a:gd name="connsiteY6725" fmla="*/ 626160 h 5071335"/>
              <a:gd name="connsiteX6726" fmla="*/ 5533474 w 13768337"/>
              <a:gd name="connsiteY6726" fmla="*/ 626996 h 5071335"/>
              <a:gd name="connsiteX6727" fmla="*/ 5540889 w 13768337"/>
              <a:gd name="connsiteY6727" fmla="*/ 632153 h 5071335"/>
              <a:gd name="connsiteX6728" fmla="*/ 5546449 w 13768337"/>
              <a:gd name="connsiteY6728" fmla="*/ 626160 h 5071335"/>
              <a:gd name="connsiteX6729" fmla="*/ 5679443 w 13768337"/>
              <a:gd name="connsiteY6729" fmla="*/ 612502 h 5071335"/>
              <a:gd name="connsiteX6730" fmla="*/ 5613641 w 13768337"/>
              <a:gd name="connsiteY6730" fmla="*/ 626438 h 5071335"/>
              <a:gd name="connsiteX6731" fmla="*/ 5636348 w 13768337"/>
              <a:gd name="connsiteY6731" fmla="*/ 637727 h 5071335"/>
              <a:gd name="connsiteX6732" fmla="*/ 5647932 w 13768337"/>
              <a:gd name="connsiteY6732" fmla="*/ 637448 h 5071335"/>
              <a:gd name="connsiteX6733" fmla="*/ 5670176 w 13768337"/>
              <a:gd name="connsiteY6733" fmla="*/ 625184 h 5071335"/>
              <a:gd name="connsiteX6734" fmla="*/ 5676199 w 13768337"/>
              <a:gd name="connsiteY6734" fmla="*/ 634103 h 5071335"/>
              <a:gd name="connsiteX6735" fmla="*/ 5680369 w 13768337"/>
              <a:gd name="connsiteY6735" fmla="*/ 633546 h 5071335"/>
              <a:gd name="connsiteX6736" fmla="*/ 5679443 w 13768337"/>
              <a:gd name="connsiteY6736" fmla="*/ 612502 h 5071335"/>
              <a:gd name="connsiteX6737" fmla="*/ 5410674 w 13768337"/>
              <a:gd name="connsiteY6737" fmla="*/ 612502 h 5071335"/>
              <a:gd name="connsiteX6738" fmla="*/ 5395382 w 13768337"/>
              <a:gd name="connsiteY6738" fmla="*/ 624627 h 5071335"/>
              <a:gd name="connsiteX6739" fmla="*/ 5428285 w 13768337"/>
              <a:gd name="connsiteY6739" fmla="*/ 620446 h 5071335"/>
              <a:gd name="connsiteX6740" fmla="*/ 5431990 w 13768337"/>
              <a:gd name="connsiteY6740" fmla="*/ 613059 h 5071335"/>
              <a:gd name="connsiteX6741" fmla="*/ 5410674 w 13768337"/>
              <a:gd name="connsiteY6741" fmla="*/ 612502 h 5071335"/>
              <a:gd name="connsiteX6742" fmla="*/ 5690564 w 13768337"/>
              <a:gd name="connsiteY6742" fmla="*/ 610133 h 5071335"/>
              <a:gd name="connsiteX6743" fmla="*/ 5683151 w 13768337"/>
              <a:gd name="connsiteY6743" fmla="*/ 611666 h 5071335"/>
              <a:gd name="connsiteX6744" fmla="*/ 5690564 w 13768337"/>
              <a:gd name="connsiteY6744" fmla="*/ 615429 h 5071335"/>
              <a:gd name="connsiteX6745" fmla="*/ 5690564 w 13768337"/>
              <a:gd name="connsiteY6745" fmla="*/ 610133 h 5071335"/>
              <a:gd name="connsiteX6746" fmla="*/ 10365282 w 13768337"/>
              <a:gd name="connsiteY6746" fmla="*/ 606927 h 5071335"/>
              <a:gd name="connsiteX6747" fmla="*/ 10403280 w 13768337"/>
              <a:gd name="connsiteY6747" fmla="*/ 645391 h 5071335"/>
              <a:gd name="connsiteX6748" fmla="*/ 10358793 w 13768337"/>
              <a:gd name="connsiteY6748" fmla="*/ 635914 h 5071335"/>
              <a:gd name="connsiteX6749" fmla="*/ 10365282 w 13768337"/>
              <a:gd name="connsiteY6749" fmla="*/ 606927 h 5071335"/>
              <a:gd name="connsiteX6750" fmla="*/ 5704930 w 13768337"/>
              <a:gd name="connsiteY6750" fmla="*/ 606927 h 5071335"/>
              <a:gd name="connsiteX6751" fmla="*/ 5693808 w 13768337"/>
              <a:gd name="connsiteY6751" fmla="*/ 609297 h 5071335"/>
              <a:gd name="connsiteX6752" fmla="*/ 5699832 w 13768337"/>
              <a:gd name="connsiteY6752" fmla="*/ 613059 h 5071335"/>
              <a:gd name="connsiteX6753" fmla="*/ 5704930 w 13768337"/>
              <a:gd name="connsiteY6753" fmla="*/ 606927 h 5071335"/>
              <a:gd name="connsiteX6754" fmla="*/ 5473697 w 13768337"/>
              <a:gd name="connsiteY6754" fmla="*/ 603026 h 5071335"/>
              <a:gd name="connsiteX6755" fmla="*/ 5463965 w 13768337"/>
              <a:gd name="connsiteY6755" fmla="*/ 606509 h 5071335"/>
              <a:gd name="connsiteX6756" fmla="*/ 5454234 w 13768337"/>
              <a:gd name="connsiteY6756" fmla="*/ 612502 h 5071335"/>
              <a:gd name="connsiteX6757" fmla="*/ 5441258 w 13768337"/>
              <a:gd name="connsiteY6757" fmla="*/ 620864 h 5071335"/>
              <a:gd name="connsiteX6758" fmla="*/ 5495475 w 13768337"/>
              <a:gd name="connsiteY6758" fmla="*/ 615429 h 5071335"/>
              <a:gd name="connsiteX6759" fmla="*/ 5482963 w 13768337"/>
              <a:gd name="connsiteY6759" fmla="*/ 603026 h 5071335"/>
              <a:gd name="connsiteX6760" fmla="*/ 5473697 w 13768337"/>
              <a:gd name="connsiteY6760" fmla="*/ 603026 h 5071335"/>
              <a:gd name="connsiteX6761" fmla="*/ 5185465 w 13768337"/>
              <a:gd name="connsiteY6761" fmla="*/ 600377 h 5071335"/>
              <a:gd name="connsiteX6762" fmla="*/ 5150711 w 13768337"/>
              <a:gd name="connsiteY6762" fmla="*/ 613059 h 5071335"/>
              <a:gd name="connsiteX6763" fmla="*/ 5185465 w 13768337"/>
              <a:gd name="connsiteY6763" fmla="*/ 600377 h 5071335"/>
              <a:gd name="connsiteX6764" fmla="*/ 10334234 w 13768337"/>
              <a:gd name="connsiteY6764" fmla="*/ 598566 h 5071335"/>
              <a:gd name="connsiteX6765" fmla="*/ 10348600 w 13768337"/>
              <a:gd name="connsiteY6765" fmla="*/ 635914 h 5071335"/>
              <a:gd name="connsiteX6766" fmla="*/ 10329599 w 13768337"/>
              <a:gd name="connsiteY6766" fmla="*/ 633546 h 5071335"/>
              <a:gd name="connsiteX6767" fmla="*/ 10337478 w 13768337"/>
              <a:gd name="connsiteY6767" fmla="*/ 608740 h 5071335"/>
              <a:gd name="connsiteX6768" fmla="*/ 10323575 w 13768337"/>
              <a:gd name="connsiteY6768" fmla="*/ 621979 h 5071335"/>
              <a:gd name="connsiteX6769" fmla="*/ 10308747 w 13768337"/>
              <a:gd name="connsiteY6769" fmla="*/ 607485 h 5071335"/>
              <a:gd name="connsiteX6770" fmla="*/ 10334234 w 13768337"/>
              <a:gd name="connsiteY6770" fmla="*/ 598566 h 5071335"/>
              <a:gd name="connsiteX6771" fmla="*/ 5715587 w 13768337"/>
              <a:gd name="connsiteY6771" fmla="*/ 584351 h 5071335"/>
              <a:gd name="connsiteX6772" fmla="*/ 5706319 w 13768337"/>
              <a:gd name="connsiteY6772" fmla="*/ 585327 h 5071335"/>
              <a:gd name="connsiteX6773" fmla="*/ 5693808 w 13768337"/>
              <a:gd name="connsiteY6773" fmla="*/ 586721 h 5071335"/>
              <a:gd name="connsiteX6774" fmla="*/ 5704466 w 13768337"/>
              <a:gd name="connsiteY6774" fmla="*/ 594246 h 5071335"/>
              <a:gd name="connsiteX6775" fmla="*/ 5686395 w 13768337"/>
              <a:gd name="connsiteY6775" fmla="*/ 599821 h 5071335"/>
              <a:gd name="connsiteX6776" fmla="*/ 5686395 w 13768337"/>
              <a:gd name="connsiteY6776" fmla="*/ 588811 h 5071335"/>
              <a:gd name="connsiteX6777" fmla="*/ 5680369 w 13768337"/>
              <a:gd name="connsiteY6777" fmla="*/ 597590 h 5071335"/>
              <a:gd name="connsiteX6778" fmla="*/ 5711417 w 13768337"/>
              <a:gd name="connsiteY6778" fmla="*/ 605395 h 5071335"/>
              <a:gd name="connsiteX6779" fmla="*/ 5705393 w 13768337"/>
              <a:gd name="connsiteY6779" fmla="*/ 606927 h 5071335"/>
              <a:gd name="connsiteX6780" fmla="*/ 5704930 w 13768337"/>
              <a:gd name="connsiteY6780" fmla="*/ 616683 h 5071335"/>
              <a:gd name="connsiteX6781" fmla="*/ 5710028 w 13768337"/>
              <a:gd name="connsiteY6781" fmla="*/ 620028 h 5071335"/>
              <a:gd name="connsiteX6782" fmla="*/ 5709100 w 13768337"/>
              <a:gd name="connsiteY6782" fmla="*/ 621421 h 5071335"/>
              <a:gd name="connsiteX6783" fmla="*/ 5721149 w 13768337"/>
              <a:gd name="connsiteY6783" fmla="*/ 618634 h 5071335"/>
              <a:gd name="connsiteX6784" fmla="*/ 5720222 w 13768337"/>
              <a:gd name="connsiteY6784" fmla="*/ 605953 h 5071335"/>
              <a:gd name="connsiteX6785" fmla="*/ 5708637 w 13768337"/>
              <a:gd name="connsiteY6785" fmla="*/ 610690 h 5071335"/>
              <a:gd name="connsiteX6786" fmla="*/ 5719758 w 13768337"/>
              <a:gd name="connsiteY6786" fmla="*/ 601214 h 5071335"/>
              <a:gd name="connsiteX6787" fmla="*/ 5716978 w 13768337"/>
              <a:gd name="connsiteY6787" fmla="*/ 584351 h 5071335"/>
              <a:gd name="connsiteX6788" fmla="*/ 5715587 w 13768337"/>
              <a:gd name="connsiteY6788" fmla="*/ 584351 h 5071335"/>
              <a:gd name="connsiteX6789" fmla="*/ 5824949 w 13768337"/>
              <a:gd name="connsiteY6789" fmla="*/ 580170 h 5071335"/>
              <a:gd name="connsiteX6790" fmla="*/ 5819388 w 13768337"/>
              <a:gd name="connsiteY6790" fmla="*/ 583516 h 5071335"/>
              <a:gd name="connsiteX6791" fmla="*/ 5817997 w 13768337"/>
              <a:gd name="connsiteY6791" fmla="*/ 587696 h 5071335"/>
              <a:gd name="connsiteX6792" fmla="*/ 5814754 w 13768337"/>
              <a:gd name="connsiteY6792" fmla="*/ 585884 h 5071335"/>
              <a:gd name="connsiteX6793" fmla="*/ 5806875 w 13768337"/>
              <a:gd name="connsiteY6793" fmla="*/ 600935 h 5071335"/>
              <a:gd name="connsiteX6794" fmla="*/ 5812437 w 13768337"/>
              <a:gd name="connsiteY6794" fmla="*/ 600377 h 5071335"/>
              <a:gd name="connsiteX6795" fmla="*/ 5813363 w 13768337"/>
              <a:gd name="connsiteY6795" fmla="*/ 598984 h 5071335"/>
              <a:gd name="connsiteX6796" fmla="*/ 5813827 w 13768337"/>
              <a:gd name="connsiteY6796" fmla="*/ 597172 h 5071335"/>
              <a:gd name="connsiteX6797" fmla="*/ 5814754 w 13768337"/>
              <a:gd name="connsiteY6797" fmla="*/ 597172 h 5071335"/>
              <a:gd name="connsiteX6798" fmla="*/ 5815216 w 13768337"/>
              <a:gd name="connsiteY6798" fmla="*/ 596197 h 5071335"/>
              <a:gd name="connsiteX6799" fmla="*/ 5817071 w 13768337"/>
              <a:gd name="connsiteY6799" fmla="*/ 596615 h 5071335"/>
              <a:gd name="connsiteX6800" fmla="*/ 5823095 w 13768337"/>
              <a:gd name="connsiteY6800" fmla="*/ 596197 h 5071335"/>
              <a:gd name="connsiteX6801" fmla="*/ 5824949 w 13768337"/>
              <a:gd name="connsiteY6801" fmla="*/ 580170 h 5071335"/>
              <a:gd name="connsiteX6802" fmla="*/ 10203558 w 13768337"/>
              <a:gd name="connsiteY6802" fmla="*/ 576965 h 5071335"/>
              <a:gd name="connsiteX6803" fmla="*/ 10212361 w 13768337"/>
              <a:gd name="connsiteY6803" fmla="*/ 598566 h 5071335"/>
              <a:gd name="connsiteX6804" fmla="*/ 10174364 w 13768337"/>
              <a:gd name="connsiteY6804" fmla="*/ 585884 h 5071335"/>
              <a:gd name="connsiteX6805" fmla="*/ 10195216 w 13768337"/>
              <a:gd name="connsiteY6805" fmla="*/ 588253 h 5071335"/>
              <a:gd name="connsiteX6806" fmla="*/ 5799924 w 13768337"/>
              <a:gd name="connsiteY6806" fmla="*/ 575989 h 5071335"/>
              <a:gd name="connsiteX6807" fmla="*/ 5772121 w 13768337"/>
              <a:gd name="connsiteY6807" fmla="*/ 588811 h 5071335"/>
              <a:gd name="connsiteX6808" fmla="*/ 5799924 w 13768337"/>
              <a:gd name="connsiteY6808" fmla="*/ 575989 h 5071335"/>
              <a:gd name="connsiteX6809" fmla="*/ 5205853 w 13768337"/>
              <a:gd name="connsiteY6809" fmla="*/ 560242 h 5071335"/>
              <a:gd name="connsiteX6810" fmla="*/ 5182685 w 13768337"/>
              <a:gd name="connsiteY6810" fmla="*/ 560659 h 5071335"/>
              <a:gd name="connsiteX6811" fmla="*/ 5210951 w 13768337"/>
              <a:gd name="connsiteY6811" fmla="*/ 563029 h 5071335"/>
              <a:gd name="connsiteX6812" fmla="*/ 5205853 w 13768337"/>
              <a:gd name="connsiteY6812" fmla="*/ 560242 h 5071335"/>
              <a:gd name="connsiteX6813" fmla="*/ 10666951 w 13768337"/>
              <a:gd name="connsiteY6813" fmla="*/ 539895 h 5071335"/>
              <a:gd name="connsiteX6814" fmla="*/ 10662780 w 13768337"/>
              <a:gd name="connsiteY6814" fmla="*/ 547003 h 5071335"/>
              <a:gd name="connsiteX6815" fmla="*/ 10649806 w 13768337"/>
              <a:gd name="connsiteY6815" fmla="*/ 549372 h 5071335"/>
              <a:gd name="connsiteX6816" fmla="*/ 10666951 w 13768337"/>
              <a:gd name="connsiteY6816" fmla="*/ 539895 h 5071335"/>
              <a:gd name="connsiteX6817" fmla="*/ 4817067 w 13768337"/>
              <a:gd name="connsiteY6817" fmla="*/ 535714 h 5071335"/>
              <a:gd name="connsiteX6818" fmla="*/ 4781386 w 13768337"/>
              <a:gd name="connsiteY6818" fmla="*/ 554946 h 5071335"/>
              <a:gd name="connsiteX6819" fmla="*/ 4790653 w 13768337"/>
              <a:gd name="connsiteY6819" fmla="*/ 563308 h 5071335"/>
              <a:gd name="connsiteX6820" fmla="*/ 4814287 w 13768337"/>
              <a:gd name="connsiteY6820" fmla="*/ 550765 h 5071335"/>
              <a:gd name="connsiteX6821" fmla="*/ 4817067 w 13768337"/>
              <a:gd name="connsiteY6821" fmla="*/ 535714 h 5071335"/>
              <a:gd name="connsiteX6822" fmla="*/ 10113194 w 13768337"/>
              <a:gd name="connsiteY6822" fmla="*/ 527492 h 5071335"/>
              <a:gd name="connsiteX6823" fmla="*/ 10126632 w 13768337"/>
              <a:gd name="connsiteY6823" fmla="*/ 532090 h 5071335"/>
              <a:gd name="connsiteX6824" fmla="*/ 10106245 w 13768337"/>
              <a:gd name="connsiteY6824" fmla="*/ 538640 h 5071335"/>
              <a:gd name="connsiteX6825" fmla="*/ 10113194 w 13768337"/>
              <a:gd name="connsiteY6825" fmla="*/ 527492 h 5071335"/>
              <a:gd name="connsiteX6826" fmla="*/ 10786044 w 13768337"/>
              <a:gd name="connsiteY6826" fmla="*/ 525401 h 5071335"/>
              <a:gd name="connsiteX6827" fmla="*/ 10822652 w 13768337"/>
              <a:gd name="connsiteY6827" fmla="*/ 533345 h 5071335"/>
              <a:gd name="connsiteX6828" fmla="*/ 10748509 w 13768337"/>
              <a:gd name="connsiteY6828" fmla="*/ 536690 h 5071335"/>
              <a:gd name="connsiteX6829" fmla="*/ 10786044 w 13768337"/>
              <a:gd name="connsiteY6829" fmla="*/ 525401 h 5071335"/>
              <a:gd name="connsiteX6830" fmla="*/ 5962113 w 13768337"/>
              <a:gd name="connsiteY6830" fmla="*/ 521779 h 5071335"/>
              <a:gd name="connsiteX6831" fmla="*/ 5941723 w 13768337"/>
              <a:gd name="connsiteY6831" fmla="*/ 529303 h 5071335"/>
              <a:gd name="connsiteX6832" fmla="*/ 5942186 w 13768337"/>
              <a:gd name="connsiteY6832" fmla="*/ 538083 h 5071335"/>
              <a:gd name="connsiteX6833" fmla="*/ 5962113 w 13768337"/>
              <a:gd name="connsiteY6833" fmla="*/ 521779 h 5071335"/>
              <a:gd name="connsiteX6834" fmla="*/ 5919481 w 13768337"/>
              <a:gd name="connsiteY6834" fmla="*/ 520385 h 5071335"/>
              <a:gd name="connsiteX6835" fmla="*/ 5916701 w 13768337"/>
              <a:gd name="connsiteY6835" fmla="*/ 531116 h 5071335"/>
              <a:gd name="connsiteX6836" fmla="*/ 5901408 w 13768337"/>
              <a:gd name="connsiteY6836" fmla="*/ 538083 h 5071335"/>
              <a:gd name="connsiteX6837" fmla="*/ 5926431 w 13768337"/>
              <a:gd name="connsiteY6837" fmla="*/ 541009 h 5071335"/>
              <a:gd name="connsiteX6838" fmla="*/ 5919481 w 13768337"/>
              <a:gd name="connsiteY6838" fmla="*/ 520385 h 5071335"/>
              <a:gd name="connsiteX6839" fmla="*/ 10210507 w 13768337"/>
              <a:gd name="connsiteY6839" fmla="*/ 502268 h 5071335"/>
              <a:gd name="connsiteX6840" fmla="*/ 10228580 w 13768337"/>
              <a:gd name="connsiteY6840" fmla="*/ 503522 h 5071335"/>
              <a:gd name="connsiteX6841" fmla="*/ 10298088 w 13768337"/>
              <a:gd name="connsiteY6841" fmla="*/ 534320 h 5071335"/>
              <a:gd name="connsiteX6842" fmla="*/ 10292992 w 13768337"/>
              <a:gd name="connsiteY6842" fmla="*/ 558290 h 5071335"/>
              <a:gd name="connsiteX6843" fmla="*/ 10324040 w 13768337"/>
              <a:gd name="connsiteY6843" fmla="*/ 592016 h 5071335"/>
              <a:gd name="connsiteX6844" fmla="*/ 10294846 w 13768337"/>
              <a:gd name="connsiteY6844" fmla="*/ 594803 h 5071335"/>
              <a:gd name="connsiteX6845" fmla="*/ 10301333 w 13768337"/>
              <a:gd name="connsiteY6845" fmla="*/ 610690 h 5071335"/>
              <a:gd name="connsiteX6846" fmla="*/ 10171119 w 13768337"/>
              <a:gd name="connsiteY6846" fmla="*/ 535714 h 5071335"/>
              <a:gd name="connsiteX6847" fmla="*/ 10210507 w 13768337"/>
              <a:gd name="connsiteY6847" fmla="*/ 502268 h 5071335"/>
              <a:gd name="connsiteX6848" fmla="*/ 5830508 w 13768337"/>
              <a:gd name="connsiteY6848" fmla="*/ 494184 h 5071335"/>
              <a:gd name="connsiteX6849" fmla="*/ 5819850 w 13768337"/>
              <a:gd name="connsiteY6849" fmla="*/ 499898 h 5071335"/>
              <a:gd name="connsiteX6850" fmla="*/ 5824484 w 13768337"/>
              <a:gd name="connsiteY6850" fmla="*/ 505891 h 5071335"/>
              <a:gd name="connsiteX6851" fmla="*/ 5830508 w 13768337"/>
              <a:gd name="connsiteY6851" fmla="*/ 494184 h 5071335"/>
              <a:gd name="connsiteX6852" fmla="*/ 5849973 w 13768337"/>
              <a:gd name="connsiteY6852" fmla="*/ 492233 h 5071335"/>
              <a:gd name="connsiteX6853" fmla="*/ 5850435 w 13768337"/>
              <a:gd name="connsiteY6853" fmla="*/ 492791 h 5071335"/>
              <a:gd name="connsiteX6854" fmla="*/ 5834681 w 13768337"/>
              <a:gd name="connsiteY6854" fmla="*/ 505891 h 5071335"/>
              <a:gd name="connsiteX6855" fmla="*/ 5840241 w 13768337"/>
              <a:gd name="connsiteY6855" fmla="*/ 516482 h 5071335"/>
              <a:gd name="connsiteX6856" fmla="*/ 5855996 w 13768337"/>
              <a:gd name="connsiteY6856" fmla="*/ 492233 h 5071335"/>
              <a:gd name="connsiteX6857" fmla="*/ 5849973 w 13768337"/>
              <a:gd name="connsiteY6857" fmla="*/ 492233 h 5071335"/>
              <a:gd name="connsiteX6858" fmla="*/ 6052474 w 13768337"/>
              <a:gd name="connsiteY6858" fmla="*/ 475928 h 5071335"/>
              <a:gd name="connsiteX6859" fmla="*/ 6037646 w 13768337"/>
              <a:gd name="connsiteY6859" fmla="*/ 485683 h 5071335"/>
              <a:gd name="connsiteX6860" fmla="*/ 6055719 w 13768337"/>
              <a:gd name="connsiteY6860" fmla="*/ 483872 h 5071335"/>
              <a:gd name="connsiteX6861" fmla="*/ 6052474 w 13768337"/>
              <a:gd name="connsiteY6861" fmla="*/ 475928 h 5071335"/>
              <a:gd name="connsiteX6862" fmla="*/ 6066376 w 13768337"/>
              <a:gd name="connsiteY6862" fmla="*/ 473141 h 5071335"/>
              <a:gd name="connsiteX6863" fmla="*/ 6055255 w 13768337"/>
              <a:gd name="connsiteY6863" fmla="*/ 475511 h 5071335"/>
              <a:gd name="connsiteX6864" fmla="*/ 6059426 w 13768337"/>
              <a:gd name="connsiteY6864" fmla="*/ 480109 h 5071335"/>
              <a:gd name="connsiteX6865" fmla="*/ 6065912 w 13768337"/>
              <a:gd name="connsiteY6865" fmla="*/ 477740 h 5071335"/>
              <a:gd name="connsiteX6866" fmla="*/ 6066376 w 13768337"/>
              <a:gd name="connsiteY6866" fmla="*/ 473141 h 5071335"/>
              <a:gd name="connsiteX6867" fmla="*/ 3635875 w 13768337"/>
              <a:gd name="connsiteY6867" fmla="*/ 472862 h 5071335"/>
              <a:gd name="connsiteX6868" fmla="*/ 3648851 w 13768337"/>
              <a:gd name="connsiteY6868" fmla="*/ 479691 h 5071335"/>
              <a:gd name="connsiteX6869" fmla="*/ 3630778 w 13768337"/>
              <a:gd name="connsiteY6869" fmla="*/ 487077 h 5071335"/>
              <a:gd name="connsiteX6870" fmla="*/ 3629388 w 13768337"/>
              <a:gd name="connsiteY6870" fmla="*/ 474116 h 5071335"/>
              <a:gd name="connsiteX6871" fmla="*/ 3635875 w 13768337"/>
              <a:gd name="connsiteY6871" fmla="*/ 472862 h 5071335"/>
              <a:gd name="connsiteX6872" fmla="*/ 10054344 w 13768337"/>
              <a:gd name="connsiteY6872" fmla="*/ 461435 h 5071335"/>
              <a:gd name="connsiteX6873" fmla="*/ 10076586 w 13768337"/>
              <a:gd name="connsiteY6873" fmla="*/ 472026 h 5071335"/>
              <a:gd name="connsiteX6874" fmla="*/ 10062220 w 13768337"/>
              <a:gd name="connsiteY6874" fmla="*/ 485683 h 5071335"/>
              <a:gd name="connsiteX6875" fmla="*/ 10087245 w 13768337"/>
              <a:gd name="connsiteY6875" fmla="*/ 495160 h 5071335"/>
              <a:gd name="connsiteX6876" fmla="*/ 10098366 w 13768337"/>
              <a:gd name="connsiteY6876" fmla="*/ 539895 h 5071335"/>
              <a:gd name="connsiteX6877" fmla="*/ 10062220 w 13768337"/>
              <a:gd name="connsiteY6877" fmla="*/ 510072 h 5071335"/>
              <a:gd name="connsiteX6878" fmla="*/ 10051100 w 13768337"/>
              <a:gd name="connsiteY6878" fmla="*/ 524146 h 5071335"/>
              <a:gd name="connsiteX6879" fmla="*/ 10018199 w 13768337"/>
              <a:gd name="connsiteY6879" fmla="*/ 512859 h 5071335"/>
              <a:gd name="connsiteX6880" fmla="*/ 10008932 w 13768337"/>
              <a:gd name="connsiteY6880" fmla="*/ 502268 h 5071335"/>
              <a:gd name="connsiteX6881" fmla="*/ 10013566 w 13768337"/>
              <a:gd name="connsiteY6881" fmla="*/ 485683 h 5071335"/>
              <a:gd name="connsiteX6882" fmla="*/ 9997810 w 13768337"/>
              <a:gd name="connsiteY6882" fmla="*/ 479134 h 5071335"/>
              <a:gd name="connsiteX6883" fmla="*/ 10054344 w 13768337"/>
              <a:gd name="connsiteY6883" fmla="*/ 461435 h 5071335"/>
              <a:gd name="connsiteX6884" fmla="*/ 6107620 w 13768337"/>
              <a:gd name="connsiteY6884" fmla="*/ 453073 h 5071335"/>
              <a:gd name="connsiteX6885" fmla="*/ 6097423 w 13768337"/>
              <a:gd name="connsiteY6885" fmla="*/ 457254 h 5071335"/>
              <a:gd name="connsiteX6886" fmla="*/ 6104375 w 13768337"/>
              <a:gd name="connsiteY6886" fmla="*/ 459066 h 5071335"/>
              <a:gd name="connsiteX6887" fmla="*/ 6100205 w 13768337"/>
              <a:gd name="connsiteY6887" fmla="*/ 463804 h 5071335"/>
              <a:gd name="connsiteX6888" fmla="*/ 6127546 w 13768337"/>
              <a:gd name="connsiteY6888" fmla="*/ 456278 h 5071335"/>
              <a:gd name="connsiteX6889" fmla="*/ 6107620 w 13768337"/>
              <a:gd name="connsiteY6889" fmla="*/ 453073 h 5071335"/>
              <a:gd name="connsiteX6890" fmla="*/ 6051549 w 13768337"/>
              <a:gd name="connsiteY6890" fmla="*/ 439974 h 5071335"/>
              <a:gd name="connsiteX6891" fmla="*/ 6007989 w 13768337"/>
              <a:gd name="connsiteY6891" fmla="*/ 473141 h 5071335"/>
              <a:gd name="connsiteX6892" fmla="*/ 5994551 w 13768337"/>
              <a:gd name="connsiteY6892" fmla="*/ 459623 h 5071335"/>
              <a:gd name="connsiteX6893" fmla="*/ 5922725 w 13768337"/>
              <a:gd name="connsiteY6893" fmla="*/ 496553 h 5071335"/>
              <a:gd name="connsiteX6894" fmla="*/ 5941260 w 13768337"/>
              <a:gd name="connsiteY6894" fmla="*/ 480109 h 5071335"/>
              <a:gd name="connsiteX6895" fmla="*/ 5889824 w 13768337"/>
              <a:gd name="connsiteY6895" fmla="*/ 503522 h 5071335"/>
              <a:gd name="connsiteX6896" fmla="*/ 5875922 w 13768337"/>
              <a:gd name="connsiteY6896" fmla="*/ 485266 h 5071335"/>
              <a:gd name="connsiteX6897" fmla="*/ 5856461 w 13768337"/>
              <a:gd name="connsiteY6897" fmla="*/ 492233 h 5071335"/>
              <a:gd name="connsiteX6898" fmla="*/ 5858314 w 13768337"/>
              <a:gd name="connsiteY6898" fmla="*/ 523590 h 5071335"/>
              <a:gd name="connsiteX6899" fmla="*/ 5872215 w 13768337"/>
              <a:gd name="connsiteY6899" fmla="*/ 514391 h 5071335"/>
              <a:gd name="connsiteX6900" fmla="*/ 5877313 w 13768337"/>
              <a:gd name="connsiteY6900" fmla="*/ 528328 h 5071335"/>
              <a:gd name="connsiteX6901" fmla="*/ 5879629 w 13768337"/>
              <a:gd name="connsiteY6901" fmla="*/ 525122 h 5071335"/>
              <a:gd name="connsiteX6902" fmla="*/ 5883799 w 13768337"/>
              <a:gd name="connsiteY6902" fmla="*/ 539616 h 5071335"/>
              <a:gd name="connsiteX6903" fmla="*/ 5899555 w 13768337"/>
              <a:gd name="connsiteY6903" fmla="*/ 513277 h 5071335"/>
              <a:gd name="connsiteX6904" fmla="*/ 5910678 w 13768337"/>
              <a:gd name="connsiteY6904" fmla="*/ 497529 h 5071335"/>
              <a:gd name="connsiteX6905" fmla="*/ 5911603 w 13768337"/>
              <a:gd name="connsiteY6905" fmla="*/ 512023 h 5071335"/>
              <a:gd name="connsiteX6906" fmla="*/ 6009843 w 13768337"/>
              <a:gd name="connsiteY6906" fmla="*/ 492233 h 5071335"/>
              <a:gd name="connsiteX6907" fmla="*/ 6014477 w 13768337"/>
              <a:gd name="connsiteY6907" fmla="*/ 507285 h 5071335"/>
              <a:gd name="connsiteX6908" fmla="*/ 6024672 w 13768337"/>
              <a:gd name="connsiteY6908" fmla="*/ 476485 h 5071335"/>
              <a:gd name="connsiteX6909" fmla="*/ 6048767 w 13768337"/>
              <a:gd name="connsiteY6909" fmla="*/ 469936 h 5071335"/>
              <a:gd name="connsiteX6910" fmla="*/ 6051549 w 13768337"/>
              <a:gd name="connsiteY6910" fmla="*/ 439974 h 5071335"/>
              <a:gd name="connsiteX6911" fmla="*/ 8989928 w 13768337"/>
              <a:gd name="connsiteY6911" fmla="*/ 433283 h 5071335"/>
              <a:gd name="connsiteX6912" fmla="*/ 8989000 w 13768337"/>
              <a:gd name="connsiteY6912" fmla="*/ 433841 h 5071335"/>
              <a:gd name="connsiteX6913" fmla="*/ 8981124 w 13768337"/>
              <a:gd name="connsiteY6913" fmla="*/ 444432 h 5071335"/>
              <a:gd name="connsiteX6914" fmla="*/ 8982514 w 13768337"/>
              <a:gd name="connsiteY6914" fmla="*/ 450146 h 5071335"/>
              <a:gd name="connsiteX6915" fmla="*/ 8990855 w 13768337"/>
              <a:gd name="connsiteY6915" fmla="*/ 436628 h 5071335"/>
              <a:gd name="connsiteX6916" fmla="*/ 8989928 w 13768337"/>
              <a:gd name="connsiteY6916" fmla="*/ 433283 h 5071335"/>
              <a:gd name="connsiteX6917" fmla="*/ 9008928 w 13768337"/>
              <a:gd name="connsiteY6917" fmla="*/ 432308 h 5071335"/>
              <a:gd name="connsiteX6918" fmla="*/ 9003829 w 13768337"/>
              <a:gd name="connsiteY6918" fmla="*/ 435652 h 5071335"/>
              <a:gd name="connsiteX6919" fmla="*/ 9007073 w 13768337"/>
              <a:gd name="connsiteY6919" fmla="*/ 439416 h 5071335"/>
              <a:gd name="connsiteX6920" fmla="*/ 8985758 w 13768337"/>
              <a:gd name="connsiteY6920" fmla="*/ 450146 h 5071335"/>
              <a:gd name="connsiteX6921" fmla="*/ 8986683 w 13768337"/>
              <a:gd name="connsiteY6921" fmla="*/ 453351 h 5071335"/>
              <a:gd name="connsiteX6922" fmla="*/ 9027463 w 13768337"/>
              <a:gd name="connsiteY6922" fmla="*/ 453909 h 5071335"/>
              <a:gd name="connsiteX6923" fmla="*/ 9039974 w 13768337"/>
              <a:gd name="connsiteY6923" fmla="*/ 483872 h 5071335"/>
              <a:gd name="connsiteX6924" fmla="*/ 9052950 w 13768337"/>
              <a:gd name="connsiteY6924" fmla="*/ 476764 h 5071335"/>
              <a:gd name="connsiteX6925" fmla="*/ 9053412 w 13768337"/>
              <a:gd name="connsiteY6925" fmla="*/ 476485 h 5071335"/>
              <a:gd name="connsiteX6926" fmla="*/ 9056657 w 13768337"/>
              <a:gd name="connsiteY6926" fmla="*/ 470214 h 5071335"/>
              <a:gd name="connsiteX6927" fmla="*/ 9046461 w 13768337"/>
              <a:gd name="connsiteY6927" fmla="*/ 461435 h 5071335"/>
              <a:gd name="connsiteX6928" fmla="*/ 9041829 w 13768337"/>
              <a:gd name="connsiteY6928" fmla="*/ 460459 h 5071335"/>
              <a:gd name="connsiteX6929" fmla="*/ 9044146 w 13768337"/>
              <a:gd name="connsiteY6929" fmla="*/ 459066 h 5071335"/>
              <a:gd name="connsiteX6930" fmla="*/ 9008928 w 13768337"/>
              <a:gd name="connsiteY6930" fmla="*/ 432308 h 5071335"/>
              <a:gd name="connsiteX6931" fmla="*/ 6073791 w 13768337"/>
              <a:gd name="connsiteY6931" fmla="*/ 427848 h 5071335"/>
              <a:gd name="connsiteX6932" fmla="*/ 6070547 w 13768337"/>
              <a:gd name="connsiteY6932" fmla="*/ 429661 h 5071335"/>
              <a:gd name="connsiteX6933" fmla="*/ 6069621 w 13768337"/>
              <a:gd name="connsiteY6933" fmla="*/ 428127 h 5071335"/>
              <a:gd name="connsiteX6934" fmla="*/ 6058499 w 13768337"/>
              <a:gd name="connsiteY6934" fmla="*/ 439416 h 5071335"/>
              <a:gd name="connsiteX6935" fmla="*/ 6056645 w 13768337"/>
              <a:gd name="connsiteY6935" fmla="*/ 459066 h 5071335"/>
              <a:gd name="connsiteX6936" fmla="*/ 6073791 w 13768337"/>
              <a:gd name="connsiteY6936" fmla="*/ 450982 h 5071335"/>
              <a:gd name="connsiteX6937" fmla="*/ 6074718 w 13768337"/>
              <a:gd name="connsiteY6937" fmla="*/ 444432 h 5071335"/>
              <a:gd name="connsiteX6938" fmla="*/ 6079351 w 13768337"/>
              <a:gd name="connsiteY6938" fmla="*/ 448335 h 5071335"/>
              <a:gd name="connsiteX6939" fmla="*/ 6093252 w 13768337"/>
              <a:gd name="connsiteY6939" fmla="*/ 436628 h 5071335"/>
              <a:gd name="connsiteX6940" fmla="*/ 6090010 w 13768337"/>
              <a:gd name="connsiteY6940" fmla="*/ 429103 h 5071335"/>
              <a:gd name="connsiteX6941" fmla="*/ 6073791 w 13768337"/>
              <a:gd name="connsiteY6941" fmla="*/ 427848 h 5071335"/>
              <a:gd name="connsiteX6942" fmla="*/ 8950540 w 13768337"/>
              <a:gd name="connsiteY6942" fmla="*/ 420741 h 5071335"/>
              <a:gd name="connsiteX6943" fmla="*/ 8944052 w 13768337"/>
              <a:gd name="connsiteY6943" fmla="*/ 424364 h 5071335"/>
              <a:gd name="connsiteX6944" fmla="*/ 8950076 w 13768337"/>
              <a:gd name="connsiteY6944" fmla="*/ 428127 h 5071335"/>
              <a:gd name="connsiteX6945" fmla="*/ 8942199 w 13768337"/>
              <a:gd name="connsiteY6945" fmla="*/ 426315 h 5071335"/>
              <a:gd name="connsiteX6946" fmla="*/ 8941271 w 13768337"/>
              <a:gd name="connsiteY6946" fmla="*/ 426734 h 5071335"/>
              <a:gd name="connsiteX6947" fmla="*/ 8940809 w 13768337"/>
              <a:gd name="connsiteY6947" fmla="*/ 428685 h 5071335"/>
              <a:gd name="connsiteX6948" fmla="*/ 8944516 w 13768337"/>
              <a:gd name="connsiteY6948" fmla="*/ 435652 h 5071335"/>
              <a:gd name="connsiteX6949" fmla="*/ 8937102 w 13768337"/>
              <a:gd name="connsiteY6949" fmla="*/ 438022 h 5071335"/>
              <a:gd name="connsiteX6950" fmla="*/ 8936175 w 13768337"/>
              <a:gd name="connsiteY6950" fmla="*/ 440809 h 5071335"/>
              <a:gd name="connsiteX6951" fmla="*/ 8964441 w 13768337"/>
              <a:gd name="connsiteY6951" fmla="*/ 448335 h 5071335"/>
              <a:gd name="connsiteX6952" fmla="*/ 8965368 w 13768337"/>
              <a:gd name="connsiteY6952" fmla="*/ 435235 h 5071335"/>
              <a:gd name="connsiteX6953" fmla="*/ 8975100 w 13768337"/>
              <a:gd name="connsiteY6953" fmla="*/ 437604 h 5071335"/>
              <a:gd name="connsiteX6954" fmla="*/ 8977880 w 13768337"/>
              <a:gd name="connsiteY6954" fmla="*/ 432866 h 5071335"/>
              <a:gd name="connsiteX6955" fmla="*/ 8977417 w 13768337"/>
              <a:gd name="connsiteY6955" fmla="*/ 432029 h 5071335"/>
              <a:gd name="connsiteX6956" fmla="*/ 8973246 w 13768337"/>
              <a:gd name="connsiteY6956" fmla="*/ 422553 h 5071335"/>
              <a:gd name="connsiteX6957" fmla="*/ 8973246 w 13768337"/>
              <a:gd name="connsiteY6957" fmla="*/ 422135 h 5071335"/>
              <a:gd name="connsiteX6958" fmla="*/ 8971855 w 13768337"/>
              <a:gd name="connsiteY6958" fmla="*/ 420741 h 5071335"/>
              <a:gd name="connsiteX6959" fmla="*/ 8956100 w 13768337"/>
              <a:gd name="connsiteY6959" fmla="*/ 435235 h 5071335"/>
              <a:gd name="connsiteX6960" fmla="*/ 8950540 w 13768337"/>
              <a:gd name="connsiteY6960" fmla="*/ 420741 h 5071335"/>
              <a:gd name="connsiteX6961" fmla="*/ 10260091 w 13768337"/>
              <a:gd name="connsiteY6961" fmla="*/ 405690 h 5071335"/>
              <a:gd name="connsiteX6962" fmla="*/ 10333771 w 13768337"/>
              <a:gd name="connsiteY6962" fmla="*/ 426734 h 5071335"/>
              <a:gd name="connsiteX6963" fmla="*/ 10315233 w 13768337"/>
              <a:gd name="connsiteY6963" fmla="*/ 429661 h 5071335"/>
              <a:gd name="connsiteX6964" fmla="*/ 10291139 w 13768337"/>
              <a:gd name="connsiteY6964" fmla="*/ 410985 h 5071335"/>
              <a:gd name="connsiteX6965" fmla="*/ 10275383 w 13768337"/>
              <a:gd name="connsiteY6965" fmla="*/ 420183 h 5071335"/>
              <a:gd name="connsiteX6966" fmla="*/ 10260091 w 13768337"/>
              <a:gd name="connsiteY6966" fmla="*/ 405690 h 5071335"/>
              <a:gd name="connsiteX6967" fmla="*/ 10241093 w 13768337"/>
              <a:gd name="connsiteY6967" fmla="*/ 404157 h 5071335"/>
              <a:gd name="connsiteX6968" fmla="*/ 10250359 w 13768337"/>
              <a:gd name="connsiteY6968" fmla="*/ 414609 h 5071335"/>
              <a:gd name="connsiteX6969" fmla="*/ 10242482 w 13768337"/>
              <a:gd name="connsiteY6969" fmla="*/ 423946 h 5071335"/>
              <a:gd name="connsiteX6970" fmla="*/ 10235531 w 13768337"/>
              <a:gd name="connsiteY6970" fmla="*/ 404436 h 5071335"/>
              <a:gd name="connsiteX6971" fmla="*/ 10241093 w 13768337"/>
              <a:gd name="connsiteY6971" fmla="*/ 404157 h 5071335"/>
              <a:gd name="connsiteX6972" fmla="*/ 10146095 w 13768337"/>
              <a:gd name="connsiteY6972" fmla="*/ 399139 h 5071335"/>
              <a:gd name="connsiteX6973" fmla="*/ 10149339 w 13768337"/>
              <a:gd name="connsiteY6973" fmla="*/ 415445 h 5071335"/>
              <a:gd name="connsiteX6974" fmla="*/ 10146095 w 13768337"/>
              <a:gd name="connsiteY6974" fmla="*/ 399139 h 5071335"/>
              <a:gd name="connsiteX6975" fmla="*/ 9135897 w 13768337"/>
              <a:gd name="connsiteY6975" fmla="*/ 399139 h 5071335"/>
              <a:gd name="connsiteX6976" fmla="*/ 9128021 w 13768337"/>
              <a:gd name="connsiteY6976" fmla="*/ 400533 h 5071335"/>
              <a:gd name="connsiteX6977" fmla="*/ 9129410 w 13768337"/>
              <a:gd name="connsiteY6977" fmla="*/ 402903 h 5071335"/>
              <a:gd name="connsiteX6978" fmla="*/ 9135897 w 13768337"/>
              <a:gd name="connsiteY6978" fmla="*/ 399139 h 5071335"/>
              <a:gd name="connsiteX6979" fmla="*/ 8940809 w 13768337"/>
              <a:gd name="connsiteY6979" fmla="*/ 384228 h 5071335"/>
              <a:gd name="connsiteX6980" fmla="*/ 8928296 w 13768337"/>
              <a:gd name="connsiteY6980" fmla="*/ 387574 h 5071335"/>
              <a:gd name="connsiteX6981" fmla="*/ 8945906 w 13768337"/>
              <a:gd name="connsiteY6981" fmla="*/ 397329 h 5071335"/>
              <a:gd name="connsiteX6982" fmla="*/ 8945441 w 13768337"/>
              <a:gd name="connsiteY6982" fmla="*/ 407641 h 5071335"/>
              <a:gd name="connsiteX6983" fmla="*/ 8945906 w 13768337"/>
              <a:gd name="connsiteY6983" fmla="*/ 406805 h 5071335"/>
              <a:gd name="connsiteX6984" fmla="*/ 8957954 w 13768337"/>
              <a:gd name="connsiteY6984" fmla="*/ 390778 h 5071335"/>
              <a:gd name="connsiteX6985" fmla="*/ 8957954 w 13768337"/>
              <a:gd name="connsiteY6985" fmla="*/ 397329 h 5071335"/>
              <a:gd name="connsiteX6986" fmla="*/ 8973710 w 13768337"/>
              <a:gd name="connsiteY6986" fmla="*/ 402345 h 5071335"/>
              <a:gd name="connsiteX6987" fmla="*/ 8965368 w 13768337"/>
              <a:gd name="connsiteY6987" fmla="*/ 386040 h 5071335"/>
              <a:gd name="connsiteX6988" fmla="*/ 8940809 w 13768337"/>
              <a:gd name="connsiteY6988" fmla="*/ 384228 h 5071335"/>
              <a:gd name="connsiteX6989" fmla="*/ 8843959 w 13768337"/>
              <a:gd name="connsiteY6989" fmla="*/ 382277 h 5071335"/>
              <a:gd name="connsiteX6990" fmla="*/ 8848128 w 13768337"/>
              <a:gd name="connsiteY6990" fmla="*/ 385204 h 5071335"/>
              <a:gd name="connsiteX6991" fmla="*/ 8848128 w 13768337"/>
              <a:gd name="connsiteY6991" fmla="*/ 382835 h 5071335"/>
              <a:gd name="connsiteX6992" fmla="*/ 8843959 w 13768337"/>
              <a:gd name="connsiteY6992" fmla="*/ 382277 h 5071335"/>
              <a:gd name="connsiteX6993" fmla="*/ 8874080 w 13768337"/>
              <a:gd name="connsiteY6993" fmla="*/ 375727 h 5071335"/>
              <a:gd name="connsiteX6994" fmla="*/ 8871298 w 13768337"/>
              <a:gd name="connsiteY6994" fmla="*/ 377120 h 5071335"/>
              <a:gd name="connsiteX6995" fmla="*/ 8875933 w 13768337"/>
              <a:gd name="connsiteY6995" fmla="*/ 379490 h 5071335"/>
              <a:gd name="connsiteX6996" fmla="*/ 8874080 w 13768337"/>
              <a:gd name="connsiteY6996" fmla="*/ 375727 h 5071335"/>
              <a:gd name="connsiteX6997" fmla="*/ 8987148 w 13768337"/>
              <a:gd name="connsiteY6997" fmla="*/ 364440 h 5071335"/>
              <a:gd name="connsiteX6998" fmla="*/ 8985758 w 13768337"/>
              <a:gd name="connsiteY6998" fmla="*/ 367783 h 5071335"/>
              <a:gd name="connsiteX6999" fmla="*/ 8988538 w 13768337"/>
              <a:gd name="connsiteY6999" fmla="*/ 364440 h 5071335"/>
              <a:gd name="connsiteX7000" fmla="*/ 8987148 w 13768337"/>
              <a:gd name="connsiteY7000" fmla="*/ 364440 h 5071335"/>
              <a:gd name="connsiteX7001" fmla="*/ 5936164 w 13768337"/>
              <a:gd name="connsiteY7001" fmla="*/ 342559 h 5071335"/>
              <a:gd name="connsiteX7002" fmla="*/ 5907896 w 13768337"/>
              <a:gd name="connsiteY7002" fmla="*/ 349667 h 5071335"/>
              <a:gd name="connsiteX7003" fmla="*/ 5930601 w 13768337"/>
              <a:gd name="connsiteY7003" fmla="*/ 352872 h 5071335"/>
              <a:gd name="connsiteX7004" fmla="*/ 5938480 w 13768337"/>
              <a:gd name="connsiteY7004" fmla="*/ 343117 h 5071335"/>
              <a:gd name="connsiteX7005" fmla="*/ 5936164 w 13768337"/>
              <a:gd name="connsiteY7005" fmla="*/ 342559 h 5071335"/>
              <a:gd name="connsiteX7006" fmla="*/ 5132638 w 13768337"/>
              <a:gd name="connsiteY7006" fmla="*/ 333083 h 5071335"/>
              <a:gd name="connsiteX7007" fmla="*/ 5146540 w 13768337"/>
              <a:gd name="connsiteY7007" fmla="*/ 335591 h 5071335"/>
              <a:gd name="connsiteX7008" fmla="*/ 5166003 w 13768337"/>
              <a:gd name="connsiteY7008" fmla="*/ 345764 h 5071335"/>
              <a:gd name="connsiteX7009" fmla="*/ 5141906 w 13768337"/>
              <a:gd name="connsiteY7009" fmla="*/ 348134 h 5071335"/>
              <a:gd name="connsiteX7010" fmla="*/ 5129857 w 13768337"/>
              <a:gd name="connsiteY7010" fmla="*/ 336567 h 5071335"/>
              <a:gd name="connsiteX7011" fmla="*/ 5132638 w 13768337"/>
              <a:gd name="connsiteY7011" fmla="*/ 333083 h 5071335"/>
              <a:gd name="connsiteX7012" fmla="*/ 8840715 w 13768337"/>
              <a:gd name="connsiteY7012" fmla="*/ 331828 h 5071335"/>
              <a:gd name="connsiteX7013" fmla="*/ 8842104 w 13768337"/>
              <a:gd name="connsiteY7013" fmla="*/ 359979 h 5071335"/>
              <a:gd name="connsiteX7014" fmla="*/ 8857860 w 13768337"/>
              <a:gd name="connsiteY7014" fmla="*/ 346322 h 5071335"/>
              <a:gd name="connsiteX7015" fmla="*/ 8840715 w 13768337"/>
              <a:gd name="connsiteY7015" fmla="*/ 331828 h 5071335"/>
              <a:gd name="connsiteX7016" fmla="*/ 8919030 w 13768337"/>
              <a:gd name="connsiteY7016" fmla="*/ 325696 h 5071335"/>
              <a:gd name="connsiteX7017" fmla="*/ 8925979 w 13768337"/>
              <a:gd name="connsiteY7017" fmla="*/ 340190 h 5071335"/>
              <a:gd name="connsiteX7018" fmla="*/ 8920882 w 13768337"/>
              <a:gd name="connsiteY7018" fmla="*/ 330852 h 5071335"/>
              <a:gd name="connsiteX7019" fmla="*/ 8910688 w 13768337"/>
              <a:gd name="connsiteY7019" fmla="*/ 332386 h 5071335"/>
              <a:gd name="connsiteX7020" fmla="*/ 8919030 w 13768337"/>
              <a:gd name="connsiteY7020" fmla="*/ 325696 h 5071335"/>
              <a:gd name="connsiteX7021" fmla="*/ 5076566 w 13768337"/>
              <a:gd name="connsiteY7021" fmla="*/ 323466 h 5071335"/>
              <a:gd name="connsiteX7022" fmla="*/ 5087225 w 13768337"/>
              <a:gd name="connsiteY7022" fmla="*/ 337821 h 5071335"/>
              <a:gd name="connsiteX7023" fmla="*/ 5065446 w 13768337"/>
              <a:gd name="connsiteY7023" fmla="*/ 336567 h 5071335"/>
              <a:gd name="connsiteX7024" fmla="*/ 5076566 w 13768337"/>
              <a:gd name="connsiteY7024" fmla="*/ 323466 h 5071335"/>
              <a:gd name="connsiteX7025" fmla="*/ 6039963 w 13768337"/>
              <a:gd name="connsiteY7025" fmla="*/ 318729 h 5071335"/>
              <a:gd name="connsiteX7026" fmla="*/ 6046914 w 13768337"/>
              <a:gd name="connsiteY7026" fmla="*/ 323466 h 5071335"/>
              <a:gd name="connsiteX7027" fmla="*/ 6048304 w 13768337"/>
              <a:gd name="connsiteY7027" fmla="*/ 322073 h 5071335"/>
              <a:gd name="connsiteX7028" fmla="*/ 6039963 w 13768337"/>
              <a:gd name="connsiteY7028" fmla="*/ 318729 h 5071335"/>
              <a:gd name="connsiteX7029" fmla="*/ 5007984 w 13768337"/>
              <a:gd name="connsiteY7029" fmla="*/ 316777 h 5071335"/>
              <a:gd name="connsiteX7030" fmla="*/ 5015863 w 13768337"/>
              <a:gd name="connsiteY7030" fmla="*/ 333640 h 5071335"/>
              <a:gd name="connsiteX7031" fmla="*/ 4997790 w 13768337"/>
              <a:gd name="connsiteY7031" fmla="*/ 325696 h 5071335"/>
              <a:gd name="connsiteX7032" fmla="*/ 5007984 w 13768337"/>
              <a:gd name="connsiteY7032" fmla="*/ 316777 h 5071335"/>
              <a:gd name="connsiteX7033" fmla="*/ 8833300 w 13768337"/>
              <a:gd name="connsiteY7033" fmla="*/ 282633 h 5071335"/>
              <a:gd name="connsiteX7034" fmla="*/ 8820326 w 13768337"/>
              <a:gd name="connsiteY7034" fmla="*/ 283609 h 5071335"/>
              <a:gd name="connsiteX7035" fmla="*/ 8829593 w 13768337"/>
              <a:gd name="connsiteY7035" fmla="*/ 288765 h 5071335"/>
              <a:gd name="connsiteX7036" fmla="*/ 8833300 w 13768337"/>
              <a:gd name="connsiteY7036" fmla="*/ 282633 h 5071335"/>
              <a:gd name="connsiteX7037" fmla="*/ 8891225 w 13768337"/>
              <a:gd name="connsiteY7037" fmla="*/ 277059 h 5071335"/>
              <a:gd name="connsiteX7038" fmla="*/ 8844886 w 13768337"/>
              <a:gd name="connsiteY7038" fmla="*/ 281240 h 5071335"/>
              <a:gd name="connsiteX7039" fmla="*/ 8882421 w 13768337"/>
              <a:gd name="connsiteY7039" fmla="*/ 301030 h 5071335"/>
              <a:gd name="connsiteX7040" fmla="*/ 8893542 w 13768337"/>
              <a:gd name="connsiteY7040" fmla="*/ 277059 h 5071335"/>
              <a:gd name="connsiteX7041" fmla="*/ 8891225 w 13768337"/>
              <a:gd name="connsiteY7041" fmla="*/ 277059 h 5071335"/>
              <a:gd name="connsiteX7042" fmla="*/ 8887981 w 13768337"/>
              <a:gd name="connsiteY7042" fmla="*/ 263402 h 5071335"/>
              <a:gd name="connsiteX7043" fmla="*/ 8872226 w 13768337"/>
              <a:gd name="connsiteY7043" fmla="*/ 269534 h 5071335"/>
              <a:gd name="connsiteX7044" fmla="*/ 8894005 w 13768337"/>
              <a:gd name="connsiteY7044" fmla="*/ 268697 h 5071335"/>
              <a:gd name="connsiteX7045" fmla="*/ 8887981 w 13768337"/>
              <a:gd name="connsiteY7045" fmla="*/ 263402 h 5071335"/>
              <a:gd name="connsiteX7046" fmla="*/ 4543201 w 13768337"/>
              <a:gd name="connsiteY7046" fmla="*/ 262984 h 5071335"/>
              <a:gd name="connsiteX7047" fmla="*/ 4602516 w 13768337"/>
              <a:gd name="connsiteY7047" fmla="*/ 272322 h 5071335"/>
              <a:gd name="connsiteX7048" fmla="*/ 4543201 w 13768337"/>
              <a:gd name="connsiteY7048" fmla="*/ 262984 h 5071335"/>
              <a:gd name="connsiteX7049" fmla="*/ 6340704 w 13768337"/>
              <a:gd name="connsiteY7049" fmla="*/ 262148 h 5071335"/>
              <a:gd name="connsiteX7050" fmla="*/ 6338387 w 13768337"/>
              <a:gd name="connsiteY7050" fmla="*/ 264517 h 5071335"/>
              <a:gd name="connsiteX7051" fmla="*/ 6343485 w 13768337"/>
              <a:gd name="connsiteY7051" fmla="*/ 263402 h 5071335"/>
              <a:gd name="connsiteX7052" fmla="*/ 6340704 w 13768337"/>
              <a:gd name="connsiteY7052" fmla="*/ 262148 h 5071335"/>
              <a:gd name="connsiteX7053" fmla="*/ 6295755 w 13768337"/>
              <a:gd name="connsiteY7053" fmla="*/ 261172 h 5071335"/>
              <a:gd name="connsiteX7054" fmla="*/ 6281391 w 13768337"/>
              <a:gd name="connsiteY7054" fmla="*/ 269534 h 5071335"/>
              <a:gd name="connsiteX7055" fmla="*/ 6311048 w 13768337"/>
              <a:gd name="connsiteY7055" fmla="*/ 267165 h 5071335"/>
              <a:gd name="connsiteX7056" fmla="*/ 6295755 w 13768337"/>
              <a:gd name="connsiteY7056" fmla="*/ 261172 h 5071335"/>
              <a:gd name="connsiteX7057" fmla="*/ 6331900 w 13768337"/>
              <a:gd name="connsiteY7057" fmla="*/ 255040 h 5071335"/>
              <a:gd name="connsiteX7058" fmla="*/ 6332363 w 13768337"/>
              <a:gd name="connsiteY7058" fmla="*/ 262565 h 5071335"/>
              <a:gd name="connsiteX7059" fmla="*/ 6341169 w 13768337"/>
              <a:gd name="connsiteY7059" fmla="*/ 257409 h 5071335"/>
              <a:gd name="connsiteX7060" fmla="*/ 6331900 w 13768337"/>
              <a:gd name="connsiteY7060" fmla="*/ 255040 h 5071335"/>
              <a:gd name="connsiteX7061" fmla="*/ 5130785 w 13768337"/>
              <a:gd name="connsiteY7061" fmla="*/ 238734 h 5071335"/>
              <a:gd name="connsiteX7062" fmla="*/ 5166003 w 13768337"/>
              <a:gd name="connsiteY7062" fmla="*/ 253646 h 5071335"/>
              <a:gd name="connsiteX7063" fmla="*/ 5096493 w 13768337"/>
              <a:gd name="connsiteY7063" fmla="*/ 246678 h 5071335"/>
              <a:gd name="connsiteX7064" fmla="*/ 5130785 w 13768337"/>
              <a:gd name="connsiteY7064" fmla="*/ 238734 h 5071335"/>
              <a:gd name="connsiteX7065" fmla="*/ 8851836 w 13768337"/>
              <a:gd name="connsiteY7065" fmla="*/ 225635 h 5071335"/>
              <a:gd name="connsiteX7066" fmla="*/ 8849056 w 13768337"/>
              <a:gd name="connsiteY7066" fmla="*/ 232602 h 5071335"/>
              <a:gd name="connsiteX7067" fmla="*/ 8854618 w 13768337"/>
              <a:gd name="connsiteY7067" fmla="*/ 225635 h 5071335"/>
              <a:gd name="connsiteX7068" fmla="*/ 8851836 w 13768337"/>
              <a:gd name="connsiteY7068" fmla="*/ 225635 h 5071335"/>
              <a:gd name="connsiteX7069" fmla="*/ 6903266 w 13768337"/>
              <a:gd name="connsiteY7069" fmla="*/ 218528 h 5071335"/>
              <a:gd name="connsiteX7070" fmla="*/ 6899094 w 13768337"/>
              <a:gd name="connsiteY7070" fmla="*/ 220339 h 5071335"/>
              <a:gd name="connsiteX7071" fmla="*/ 6886582 w 13768337"/>
              <a:gd name="connsiteY7071" fmla="*/ 227447 h 5071335"/>
              <a:gd name="connsiteX7072" fmla="*/ 6905118 w 13768337"/>
              <a:gd name="connsiteY7072" fmla="*/ 248490 h 5071335"/>
              <a:gd name="connsiteX7073" fmla="*/ 6908362 w 13768337"/>
              <a:gd name="connsiteY7073" fmla="*/ 230235 h 5071335"/>
              <a:gd name="connsiteX7074" fmla="*/ 6895851 w 13768337"/>
              <a:gd name="connsiteY7074" fmla="*/ 226889 h 5071335"/>
              <a:gd name="connsiteX7075" fmla="*/ 6911142 w 13768337"/>
              <a:gd name="connsiteY7075" fmla="*/ 221315 h 5071335"/>
              <a:gd name="connsiteX7076" fmla="*/ 6903266 w 13768337"/>
              <a:gd name="connsiteY7076" fmla="*/ 218528 h 5071335"/>
              <a:gd name="connsiteX7077" fmla="*/ 6021892 w 13768337"/>
              <a:gd name="connsiteY7077" fmla="*/ 208772 h 5071335"/>
              <a:gd name="connsiteX7078" fmla="*/ 5995939 w 13768337"/>
              <a:gd name="connsiteY7078" fmla="*/ 223684 h 5071335"/>
              <a:gd name="connsiteX7079" fmla="*/ 6021892 w 13768337"/>
              <a:gd name="connsiteY7079" fmla="*/ 208772 h 5071335"/>
              <a:gd name="connsiteX7080" fmla="*/ 7096037 w 13768337"/>
              <a:gd name="connsiteY7080" fmla="*/ 187171 h 5071335"/>
              <a:gd name="connsiteX7081" fmla="*/ 7097891 w 13768337"/>
              <a:gd name="connsiteY7081" fmla="*/ 202640 h 5071335"/>
              <a:gd name="connsiteX7082" fmla="*/ 7085842 w 13768337"/>
              <a:gd name="connsiteY7082" fmla="*/ 207936 h 5071335"/>
              <a:gd name="connsiteX7083" fmla="*/ 7074721 w 13768337"/>
              <a:gd name="connsiteY7083" fmla="*/ 192467 h 5071335"/>
              <a:gd name="connsiteX7084" fmla="*/ 7096037 w 13768337"/>
              <a:gd name="connsiteY7084" fmla="*/ 187171 h 5071335"/>
              <a:gd name="connsiteX7085" fmla="*/ 7241543 w 13768337"/>
              <a:gd name="connsiteY7085" fmla="*/ 183966 h 5071335"/>
              <a:gd name="connsiteX7086" fmla="*/ 7230422 w 13768337"/>
              <a:gd name="connsiteY7086" fmla="*/ 209190 h 5071335"/>
              <a:gd name="connsiteX7087" fmla="*/ 7241543 w 13768337"/>
              <a:gd name="connsiteY7087" fmla="*/ 183966 h 5071335"/>
              <a:gd name="connsiteX7088" fmla="*/ 9444054 w 13768337"/>
              <a:gd name="connsiteY7088" fmla="*/ 178810 h 5071335"/>
              <a:gd name="connsiteX7089" fmla="*/ 9459346 w 13768337"/>
              <a:gd name="connsiteY7089" fmla="*/ 194278 h 5071335"/>
              <a:gd name="connsiteX7090" fmla="*/ 9459346 w 13768337"/>
              <a:gd name="connsiteY7090" fmla="*/ 219085 h 5071335"/>
              <a:gd name="connsiteX7091" fmla="*/ 9446371 w 13768337"/>
              <a:gd name="connsiteY7091" fmla="*/ 220339 h 5071335"/>
              <a:gd name="connsiteX7092" fmla="*/ 9429689 w 13768337"/>
              <a:gd name="connsiteY7092" fmla="*/ 217691 h 5071335"/>
              <a:gd name="connsiteX7093" fmla="*/ 9424591 w 13768337"/>
              <a:gd name="connsiteY7093" fmla="*/ 200828 h 5071335"/>
              <a:gd name="connsiteX7094" fmla="*/ 9444054 w 13768337"/>
              <a:gd name="connsiteY7094" fmla="*/ 178810 h 5071335"/>
              <a:gd name="connsiteX7095" fmla="*/ 8956565 w 13768337"/>
              <a:gd name="connsiteY7095" fmla="*/ 178810 h 5071335"/>
              <a:gd name="connsiteX7096" fmla="*/ 8966296 w 13768337"/>
              <a:gd name="connsiteY7096" fmla="*/ 201386 h 5071335"/>
              <a:gd name="connsiteX7097" fmla="*/ 8951465 w 13768337"/>
              <a:gd name="connsiteY7097" fmla="*/ 195115 h 5071335"/>
              <a:gd name="connsiteX7098" fmla="*/ 8956565 w 13768337"/>
              <a:gd name="connsiteY7098" fmla="*/ 178810 h 5071335"/>
              <a:gd name="connsiteX7099" fmla="*/ 8942662 w 13768337"/>
              <a:gd name="connsiteY7099" fmla="*/ 172678 h 5071335"/>
              <a:gd name="connsiteX7100" fmla="*/ 8955173 w 13768337"/>
              <a:gd name="connsiteY7100" fmla="*/ 175604 h 5071335"/>
              <a:gd name="connsiteX7101" fmla="*/ 8935710 w 13768337"/>
              <a:gd name="connsiteY7101" fmla="*/ 182990 h 5071335"/>
              <a:gd name="connsiteX7102" fmla="*/ 8942662 w 13768337"/>
              <a:gd name="connsiteY7102" fmla="*/ 172678 h 5071335"/>
              <a:gd name="connsiteX7103" fmla="*/ 7125230 w 13768337"/>
              <a:gd name="connsiteY7103" fmla="*/ 166127 h 5071335"/>
              <a:gd name="connsiteX7104" fmla="*/ 7133571 w 13768337"/>
              <a:gd name="connsiteY7104" fmla="*/ 199296 h 5071335"/>
              <a:gd name="connsiteX7105" fmla="*/ 7125230 w 13768337"/>
              <a:gd name="connsiteY7105" fmla="*/ 166127 h 5071335"/>
              <a:gd name="connsiteX7106" fmla="*/ 8837472 w 13768337"/>
              <a:gd name="connsiteY7106" fmla="*/ 139091 h 5071335"/>
              <a:gd name="connsiteX7107" fmla="*/ 8839325 w 13768337"/>
              <a:gd name="connsiteY7107" fmla="*/ 142436 h 5071335"/>
              <a:gd name="connsiteX7108" fmla="*/ 8836082 w 13768337"/>
              <a:gd name="connsiteY7108" fmla="*/ 150658 h 5071335"/>
              <a:gd name="connsiteX7109" fmla="*/ 8806889 w 13768337"/>
              <a:gd name="connsiteY7109" fmla="*/ 157209 h 5071335"/>
              <a:gd name="connsiteX7110" fmla="*/ 8822179 w 13768337"/>
              <a:gd name="connsiteY7110" fmla="*/ 178252 h 5071335"/>
              <a:gd name="connsiteX7111" fmla="*/ 8828666 w 13768337"/>
              <a:gd name="connsiteY7111" fmla="*/ 179228 h 5071335"/>
              <a:gd name="connsiteX7112" fmla="*/ 8830983 w 13768337"/>
              <a:gd name="connsiteY7112" fmla="*/ 188147 h 5071335"/>
              <a:gd name="connsiteX7113" fmla="*/ 8834228 w 13768337"/>
              <a:gd name="connsiteY7113" fmla="*/ 192884 h 5071335"/>
              <a:gd name="connsiteX7114" fmla="*/ 8841179 w 13768337"/>
              <a:gd name="connsiteY7114" fmla="*/ 190515 h 5071335"/>
              <a:gd name="connsiteX7115" fmla="*/ 8851836 w 13768337"/>
              <a:gd name="connsiteY7115" fmla="*/ 145084 h 5071335"/>
              <a:gd name="connsiteX7116" fmla="*/ 8837472 w 13768337"/>
              <a:gd name="connsiteY7116" fmla="*/ 139091 h 5071335"/>
              <a:gd name="connsiteX7117" fmla="*/ 7291126 w 13768337"/>
              <a:gd name="connsiteY7117" fmla="*/ 136723 h 5071335"/>
              <a:gd name="connsiteX7118" fmla="*/ 7283713 w 13768337"/>
              <a:gd name="connsiteY7118" fmla="*/ 137698 h 5071335"/>
              <a:gd name="connsiteX7119" fmla="*/ 7287882 w 13768337"/>
              <a:gd name="connsiteY7119" fmla="*/ 143691 h 5071335"/>
              <a:gd name="connsiteX7120" fmla="*/ 7291126 w 13768337"/>
              <a:gd name="connsiteY7120" fmla="*/ 136723 h 5071335"/>
              <a:gd name="connsiteX7121" fmla="*/ 6359242 w 13768337"/>
              <a:gd name="connsiteY7121" fmla="*/ 135886 h 5071335"/>
              <a:gd name="connsiteX7122" fmla="*/ 6378703 w 13768337"/>
              <a:gd name="connsiteY7122" fmla="*/ 143273 h 5071335"/>
              <a:gd name="connsiteX7123" fmla="*/ 6397239 w 13768337"/>
              <a:gd name="connsiteY7123" fmla="*/ 142436 h 5071335"/>
              <a:gd name="connsiteX7124" fmla="*/ 6372216 w 13768337"/>
              <a:gd name="connsiteY7124" fmla="*/ 151216 h 5071335"/>
              <a:gd name="connsiteX7125" fmla="*/ 6364339 w 13768337"/>
              <a:gd name="connsiteY7125" fmla="*/ 140903 h 5071335"/>
              <a:gd name="connsiteX7126" fmla="*/ 6341632 w 13768337"/>
              <a:gd name="connsiteY7126" fmla="*/ 142436 h 5071335"/>
              <a:gd name="connsiteX7127" fmla="*/ 6359242 w 13768337"/>
              <a:gd name="connsiteY7127" fmla="*/ 135886 h 5071335"/>
              <a:gd name="connsiteX7128" fmla="*/ 6866658 w 13768337"/>
              <a:gd name="connsiteY7128" fmla="*/ 133795 h 5071335"/>
              <a:gd name="connsiteX7129" fmla="*/ 6870365 w 13768337"/>
              <a:gd name="connsiteY7129" fmla="*/ 136723 h 5071335"/>
              <a:gd name="connsiteX7130" fmla="*/ 6850438 w 13768337"/>
              <a:gd name="connsiteY7130" fmla="*/ 144247 h 5071335"/>
              <a:gd name="connsiteX7131" fmla="*/ 6861096 w 13768337"/>
              <a:gd name="connsiteY7131" fmla="*/ 135329 h 5071335"/>
              <a:gd name="connsiteX7132" fmla="*/ 6866658 w 13768337"/>
              <a:gd name="connsiteY7132" fmla="*/ 133795 h 5071335"/>
              <a:gd name="connsiteX7133" fmla="*/ 8479731 w 13768337"/>
              <a:gd name="connsiteY7133" fmla="*/ 131427 h 5071335"/>
              <a:gd name="connsiteX7134" fmla="*/ 8419489 w 13768337"/>
              <a:gd name="connsiteY7134" fmla="*/ 149265 h 5071335"/>
              <a:gd name="connsiteX7135" fmla="*/ 8479731 w 13768337"/>
              <a:gd name="connsiteY7135" fmla="*/ 131427 h 5071335"/>
              <a:gd name="connsiteX7136" fmla="*/ 8795765 w 13768337"/>
              <a:gd name="connsiteY7136" fmla="*/ 130590 h 5071335"/>
              <a:gd name="connsiteX7137" fmla="*/ 8781864 w 13768337"/>
              <a:gd name="connsiteY7137" fmla="*/ 163758 h 5071335"/>
              <a:gd name="connsiteX7138" fmla="*/ 8795765 w 13768337"/>
              <a:gd name="connsiteY7138" fmla="*/ 130590 h 5071335"/>
              <a:gd name="connsiteX7139" fmla="*/ 6341632 w 13768337"/>
              <a:gd name="connsiteY7139" fmla="*/ 130590 h 5071335"/>
              <a:gd name="connsiteX7140" fmla="*/ 6312437 w 13768337"/>
              <a:gd name="connsiteY7140" fmla="*/ 139091 h 5071335"/>
              <a:gd name="connsiteX7141" fmla="*/ 6341632 w 13768337"/>
              <a:gd name="connsiteY7141" fmla="*/ 130590 h 5071335"/>
              <a:gd name="connsiteX7142" fmla="*/ 6842098 w 13768337"/>
              <a:gd name="connsiteY7142" fmla="*/ 129057 h 5071335"/>
              <a:gd name="connsiteX7143" fmla="*/ 6780002 w 13768337"/>
              <a:gd name="connsiteY7143" fmla="*/ 151634 h 5071335"/>
              <a:gd name="connsiteX7144" fmla="*/ 6771662 w 13768337"/>
              <a:gd name="connsiteY7144" fmla="*/ 141879 h 5071335"/>
              <a:gd name="connsiteX7145" fmla="*/ 6842098 w 13768337"/>
              <a:gd name="connsiteY7145" fmla="*/ 129057 h 5071335"/>
              <a:gd name="connsiteX7146" fmla="*/ 8762402 w 13768337"/>
              <a:gd name="connsiteY7146" fmla="*/ 128918 h 5071335"/>
              <a:gd name="connsiteX7147" fmla="*/ 8757768 w 13768337"/>
              <a:gd name="connsiteY7147" fmla="*/ 129057 h 5071335"/>
              <a:gd name="connsiteX7148" fmla="*/ 8671112 w 13768337"/>
              <a:gd name="connsiteY7148" fmla="*/ 167939 h 5071335"/>
              <a:gd name="connsiteX7149" fmla="*/ 8703550 w 13768337"/>
              <a:gd name="connsiteY7149" fmla="*/ 178252 h 5071335"/>
              <a:gd name="connsiteX7150" fmla="*/ 8706330 w 13768337"/>
              <a:gd name="connsiteY7150" fmla="*/ 161947 h 5071335"/>
              <a:gd name="connsiteX7151" fmla="*/ 8714208 w 13768337"/>
              <a:gd name="connsiteY7151" fmla="*/ 167103 h 5071335"/>
              <a:gd name="connsiteX7152" fmla="*/ 8737842 w 13768337"/>
              <a:gd name="connsiteY7152" fmla="*/ 167103 h 5071335"/>
              <a:gd name="connsiteX7153" fmla="*/ 8732280 w 13768337"/>
              <a:gd name="connsiteY7153" fmla="*/ 173235 h 5071335"/>
              <a:gd name="connsiteX7154" fmla="*/ 8758694 w 13768337"/>
              <a:gd name="connsiteY7154" fmla="*/ 175882 h 5071335"/>
              <a:gd name="connsiteX7155" fmla="*/ 8770279 w 13768337"/>
              <a:gd name="connsiteY7155" fmla="*/ 135886 h 5071335"/>
              <a:gd name="connsiteX7156" fmla="*/ 8762402 w 13768337"/>
              <a:gd name="connsiteY7156" fmla="*/ 128918 h 5071335"/>
              <a:gd name="connsiteX7157" fmla="*/ 6289993 w 13768337"/>
              <a:gd name="connsiteY7157" fmla="*/ 128461 h 5071335"/>
              <a:gd name="connsiteX7158" fmla="*/ 6302243 w 13768337"/>
              <a:gd name="connsiteY7158" fmla="*/ 133517 h 5071335"/>
              <a:gd name="connsiteX7159" fmla="*/ 6282317 w 13768337"/>
              <a:gd name="connsiteY7159" fmla="*/ 135329 h 5071335"/>
              <a:gd name="connsiteX7160" fmla="*/ 6286023 w 13768337"/>
              <a:gd name="connsiteY7160" fmla="*/ 128779 h 5071335"/>
              <a:gd name="connsiteX7161" fmla="*/ 6289993 w 13768337"/>
              <a:gd name="connsiteY7161" fmla="*/ 128461 h 5071335"/>
              <a:gd name="connsiteX7162" fmla="*/ 6932922 w 13768337"/>
              <a:gd name="connsiteY7162" fmla="*/ 127246 h 5071335"/>
              <a:gd name="connsiteX7163" fmla="*/ 6912069 w 13768337"/>
              <a:gd name="connsiteY7163" fmla="*/ 130590 h 5071335"/>
              <a:gd name="connsiteX7164" fmla="*/ 6956092 w 13768337"/>
              <a:gd name="connsiteY7164" fmla="*/ 130590 h 5071335"/>
              <a:gd name="connsiteX7165" fmla="*/ 6932922 w 13768337"/>
              <a:gd name="connsiteY7165" fmla="*/ 127246 h 5071335"/>
              <a:gd name="connsiteX7166" fmla="*/ 5929213 w 13768337"/>
              <a:gd name="connsiteY7166" fmla="*/ 125016 h 5071335"/>
              <a:gd name="connsiteX7167" fmla="*/ 5986674 w 13768337"/>
              <a:gd name="connsiteY7167" fmla="*/ 127804 h 5071335"/>
              <a:gd name="connsiteX7168" fmla="*/ 5976016 w 13768337"/>
              <a:gd name="connsiteY7168" fmla="*/ 144247 h 5071335"/>
              <a:gd name="connsiteX7169" fmla="*/ 5926431 w 13768337"/>
              <a:gd name="connsiteY7169" fmla="*/ 145641 h 5071335"/>
              <a:gd name="connsiteX7170" fmla="*/ 5929213 w 13768337"/>
              <a:gd name="connsiteY7170" fmla="*/ 125016 h 5071335"/>
              <a:gd name="connsiteX7171" fmla="*/ 7121988 w 13768337"/>
              <a:gd name="connsiteY7171" fmla="*/ 124597 h 5071335"/>
              <a:gd name="connsiteX7172" fmla="*/ 7125230 w 13768337"/>
              <a:gd name="connsiteY7172" fmla="*/ 128221 h 5071335"/>
              <a:gd name="connsiteX7173" fmla="*/ 7176668 w 13768337"/>
              <a:gd name="connsiteY7173" fmla="*/ 135886 h 5071335"/>
              <a:gd name="connsiteX7174" fmla="*/ 7147010 w 13768337"/>
              <a:gd name="connsiteY7174" fmla="*/ 149265 h 5071335"/>
              <a:gd name="connsiteX7175" fmla="*/ 7121988 w 13768337"/>
              <a:gd name="connsiteY7175" fmla="*/ 143273 h 5071335"/>
              <a:gd name="connsiteX7176" fmla="*/ 7121988 w 13768337"/>
              <a:gd name="connsiteY7176" fmla="*/ 124597 h 5071335"/>
              <a:gd name="connsiteX7177" fmla="*/ 6042280 w 13768337"/>
              <a:gd name="connsiteY7177" fmla="*/ 122228 h 5071335"/>
              <a:gd name="connsiteX7178" fmla="*/ 6051549 w 13768337"/>
              <a:gd name="connsiteY7178" fmla="*/ 137141 h 5071335"/>
              <a:gd name="connsiteX7179" fmla="*/ 6030233 w 13768337"/>
              <a:gd name="connsiteY7179" fmla="*/ 134353 h 5071335"/>
              <a:gd name="connsiteX7180" fmla="*/ 6042280 w 13768337"/>
              <a:gd name="connsiteY7180" fmla="*/ 122228 h 5071335"/>
              <a:gd name="connsiteX7181" fmla="*/ 6223004 w 13768337"/>
              <a:gd name="connsiteY7181" fmla="*/ 120835 h 5071335"/>
              <a:gd name="connsiteX7182" fmla="*/ 6277684 w 13768337"/>
              <a:gd name="connsiteY7182" fmla="*/ 131148 h 5071335"/>
              <a:gd name="connsiteX7183" fmla="*/ 6242929 w 13768337"/>
              <a:gd name="connsiteY7183" fmla="*/ 141879 h 5071335"/>
              <a:gd name="connsiteX7184" fmla="*/ 6217905 w 13768337"/>
              <a:gd name="connsiteY7184" fmla="*/ 128779 h 5071335"/>
              <a:gd name="connsiteX7185" fmla="*/ 6223004 w 13768337"/>
              <a:gd name="connsiteY7185" fmla="*/ 120835 h 5071335"/>
              <a:gd name="connsiteX7186" fmla="*/ 7244787 w 13768337"/>
              <a:gd name="connsiteY7186" fmla="*/ 116654 h 5071335"/>
              <a:gd name="connsiteX7187" fmla="*/ 7247567 w 13768337"/>
              <a:gd name="connsiteY7187" fmla="*/ 143273 h 5071335"/>
              <a:gd name="connsiteX7188" fmla="*/ 7225787 w 13768337"/>
              <a:gd name="connsiteY7188" fmla="*/ 137976 h 5071335"/>
              <a:gd name="connsiteX7189" fmla="*/ 7244787 w 13768337"/>
              <a:gd name="connsiteY7189" fmla="*/ 127804 h 5071335"/>
              <a:gd name="connsiteX7190" fmla="*/ 6147470 w 13768337"/>
              <a:gd name="connsiteY7190" fmla="*/ 116654 h 5071335"/>
              <a:gd name="connsiteX7191" fmla="*/ 6157201 w 13768337"/>
              <a:gd name="connsiteY7191" fmla="*/ 135886 h 5071335"/>
              <a:gd name="connsiteX7192" fmla="*/ 6180372 w 13768337"/>
              <a:gd name="connsiteY7192" fmla="*/ 118047 h 5071335"/>
              <a:gd name="connsiteX7193" fmla="*/ 6190102 w 13768337"/>
              <a:gd name="connsiteY7193" fmla="*/ 118047 h 5071335"/>
              <a:gd name="connsiteX7194" fmla="*/ 6217905 w 13768337"/>
              <a:gd name="connsiteY7194" fmla="*/ 142436 h 5071335"/>
              <a:gd name="connsiteX7195" fmla="*/ 6115961 w 13768337"/>
              <a:gd name="connsiteY7195" fmla="*/ 154004 h 5071335"/>
              <a:gd name="connsiteX7196" fmla="*/ 6114107 w 13768337"/>
              <a:gd name="connsiteY7196" fmla="*/ 130590 h 5071335"/>
              <a:gd name="connsiteX7197" fmla="*/ 6147470 w 13768337"/>
              <a:gd name="connsiteY7197" fmla="*/ 116654 h 5071335"/>
              <a:gd name="connsiteX7198" fmla="*/ 6934312 w 13768337"/>
              <a:gd name="connsiteY7198" fmla="*/ 116097 h 5071335"/>
              <a:gd name="connsiteX7199" fmla="*/ 6957946 w 13768337"/>
              <a:gd name="connsiteY7199" fmla="*/ 129057 h 5071335"/>
              <a:gd name="connsiteX7200" fmla="*/ 6965823 w 13768337"/>
              <a:gd name="connsiteY7200" fmla="*/ 123623 h 5071335"/>
              <a:gd name="connsiteX7201" fmla="*/ 7070550 w 13768337"/>
              <a:gd name="connsiteY7201" fmla="*/ 126410 h 5071335"/>
              <a:gd name="connsiteX7202" fmla="*/ 7117354 w 13768337"/>
              <a:gd name="connsiteY7202" fmla="*/ 138534 h 5071335"/>
              <a:gd name="connsiteX7203" fmla="*/ 7046453 w 13768337"/>
              <a:gd name="connsiteY7203" fmla="*/ 141322 h 5071335"/>
              <a:gd name="connsiteX7204" fmla="*/ 7049698 w 13768337"/>
              <a:gd name="connsiteY7204" fmla="*/ 149823 h 5071335"/>
              <a:gd name="connsiteX7205" fmla="*/ 6980189 w 13768337"/>
              <a:gd name="connsiteY7205" fmla="*/ 155397 h 5071335"/>
              <a:gd name="connsiteX7206" fmla="*/ 6988530 w 13768337"/>
              <a:gd name="connsiteY7206" fmla="*/ 158184 h 5071335"/>
              <a:gd name="connsiteX7207" fmla="*/ 6900021 w 13768337"/>
              <a:gd name="connsiteY7207" fmla="*/ 178810 h 5071335"/>
              <a:gd name="connsiteX7208" fmla="*/ 6894925 w 13768337"/>
              <a:gd name="connsiteY7208" fmla="*/ 125016 h 5071335"/>
              <a:gd name="connsiteX7209" fmla="*/ 6910680 w 13768337"/>
              <a:gd name="connsiteY7209" fmla="*/ 130172 h 5071335"/>
              <a:gd name="connsiteX7210" fmla="*/ 6934312 w 13768337"/>
              <a:gd name="connsiteY7210" fmla="*/ 116097 h 5071335"/>
              <a:gd name="connsiteX7211" fmla="*/ 7756835 w 13768337"/>
              <a:gd name="connsiteY7211" fmla="*/ 107178 h 5071335"/>
              <a:gd name="connsiteX7212" fmla="*/ 7760080 w 13768337"/>
              <a:gd name="connsiteY7212" fmla="*/ 114286 h 5071335"/>
              <a:gd name="connsiteX7213" fmla="*/ 7743862 w 13768337"/>
              <a:gd name="connsiteY7213" fmla="*/ 111359 h 5071335"/>
              <a:gd name="connsiteX7214" fmla="*/ 7756835 w 13768337"/>
              <a:gd name="connsiteY7214" fmla="*/ 107178 h 5071335"/>
              <a:gd name="connsiteX7215" fmla="*/ 8837008 w 13768337"/>
              <a:gd name="connsiteY7215" fmla="*/ 98258 h 5071335"/>
              <a:gd name="connsiteX7216" fmla="*/ 8831448 w 13768337"/>
              <a:gd name="connsiteY7216" fmla="*/ 99792 h 5071335"/>
              <a:gd name="connsiteX7217" fmla="*/ 8828204 w 13768337"/>
              <a:gd name="connsiteY7217" fmla="*/ 127804 h 5071335"/>
              <a:gd name="connsiteX7218" fmla="*/ 8849983 w 13768337"/>
              <a:gd name="connsiteY7218" fmla="*/ 102021 h 5071335"/>
              <a:gd name="connsiteX7219" fmla="*/ 8841179 w 13768337"/>
              <a:gd name="connsiteY7219" fmla="*/ 99234 h 5071335"/>
              <a:gd name="connsiteX7220" fmla="*/ 8837008 w 13768337"/>
              <a:gd name="connsiteY7220" fmla="*/ 98258 h 5071335"/>
              <a:gd name="connsiteX7221" fmla="*/ 7660914 w 13768337"/>
              <a:gd name="connsiteY7221" fmla="*/ 97980 h 5071335"/>
              <a:gd name="connsiteX7222" fmla="*/ 7666474 w 13768337"/>
              <a:gd name="connsiteY7222" fmla="*/ 99234 h 5071335"/>
              <a:gd name="connsiteX7223" fmla="*/ 7674353 w 13768337"/>
              <a:gd name="connsiteY7223" fmla="*/ 110941 h 5071335"/>
              <a:gd name="connsiteX7224" fmla="*/ 7648402 w 13768337"/>
              <a:gd name="connsiteY7224" fmla="*/ 123623 h 5071335"/>
              <a:gd name="connsiteX7225" fmla="*/ 7632647 w 13768337"/>
              <a:gd name="connsiteY7225" fmla="*/ 113310 h 5071335"/>
              <a:gd name="connsiteX7226" fmla="*/ 7658133 w 13768337"/>
              <a:gd name="connsiteY7226" fmla="*/ 116097 h 5071335"/>
              <a:gd name="connsiteX7227" fmla="*/ 7658133 w 13768337"/>
              <a:gd name="connsiteY7227" fmla="*/ 100628 h 5071335"/>
              <a:gd name="connsiteX7228" fmla="*/ 7660914 w 13768337"/>
              <a:gd name="connsiteY7228" fmla="*/ 97980 h 5071335"/>
              <a:gd name="connsiteX7229" fmla="*/ 8709111 w 13768337"/>
              <a:gd name="connsiteY7229" fmla="*/ 95611 h 5071335"/>
              <a:gd name="connsiteX7230" fmla="*/ 8701696 w 13768337"/>
              <a:gd name="connsiteY7230" fmla="*/ 106202 h 5071335"/>
              <a:gd name="connsiteX7231" fmla="*/ 8720697 w 13768337"/>
              <a:gd name="connsiteY7231" fmla="*/ 95611 h 5071335"/>
              <a:gd name="connsiteX7232" fmla="*/ 8709111 w 13768337"/>
              <a:gd name="connsiteY7232" fmla="*/ 95611 h 5071335"/>
              <a:gd name="connsiteX7233" fmla="*/ 8762402 w 13768337"/>
              <a:gd name="connsiteY7233" fmla="*/ 92684 h 5071335"/>
              <a:gd name="connsiteX7234" fmla="*/ 8740159 w 13768337"/>
              <a:gd name="connsiteY7234" fmla="*/ 110383 h 5071335"/>
              <a:gd name="connsiteX7235" fmla="*/ 8762402 w 13768337"/>
              <a:gd name="connsiteY7235" fmla="*/ 92684 h 5071335"/>
              <a:gd name="connsiteX7236" fmla="*/ 8542288 w 13768337"/>
              <a:gd name="connsiteY7236" fmla="*/ 90315 h 5071335"/>
              <a:gd name="connsiteX7237" fmla="*/ 8529313 w 13768337"/>
              <a:gd name="connsiteY7237" fmla="*/ 91430 h 5071335"/>
              <a:gd name="connsiteX7238" fmla="*/ 8542288 w 13768337"/>
              <a:gd name="connsiteY7238" fmla="*/ 90315 h 5071335"/>
              <a:gd name="connsiteX7239" fmla="*/ 9235990 w 13768337"/>
              <a:gd name="connsiteY7239" fmla="*/ 86831 h 5071335"/>
              <a:gd name="connsiteX7240" fmla="*/ 9241551 w 13768337"/>
              <a:gd name="connsiteY7240" fmla="*/ 90315 h 5071335"/>
              <a:gd name="connsiteX7241" fmla="*/ 9217455 w 13768337"/>
              <a:gd name="connsiteY7241" fmla="*/ 101604 h 5071335"/>
              <a:gd name="connsiteX7242" fmla="*/ 9228113 w 13768337"/>
              <a:gd name="connsiteY7242" fmla="*/ 89340 h 5071335"/>
              <a:gd name="connsiteX7243" fmla="*/ 9235990 w 13768337"/>
              <a:gd name="connsiteY7243" fmla="*/ 86831 h 5071335"/>
              <a:gd name="connsiteX7244" fmla="*/ 5783243 w 13768337"/>
              <a:gd name="connsiteY7244" fmla="*/ 86134 h 5071335"/>
              <a:gd name="connsiteX7245" fmla="*/ 5794365 w 13768337"/>
              <a:gd name="connsiteY7245" fmla="*/ 88503 h 5071335"/>
              <a:gd name="connsiteX7246" fmla="*/ 5790194 w 13768337"/>
              <a:gd name="connsiteY7246" fmla="*/ 103973 h 5071335"/>
              <a:gd name="connsiteX7247" fmla="*/ 5783243 w 13768337"/>
              <a:gd name="connsiteY7247" fmla="*/ 86134 h 5071335"/>
              <a:gd name="connsiteX7248" fmla="*/ 8507998 w 13768337"/>
              <a:gd name="connsiteY7248" fmla="*/ 82789 h 5071335"/>
              <a:gd name="connsiteX7249" fmla="*/ 8501046 w 13768337"/>
              <a:gd name="connsiteY7249" fmla="*/ 94078 h 5071335"/>
              <a:gd name="connsiteX7250" fmla="*/ 8522826 w 13768337"/>
              <a:gd name="connsiteY7250" fmla="*/ 87527 h 5071335"/>
              <a:gd name="connsiteX7251" fmla="*/ 8507998 w 13768337"/>
              <a:gd name="connsiteY7251" fmla="*/ 82789 h 5071335"/>
              <a:gd name="connsiteX7252" fmla="*/ 7862954 w 13768337"/>
              <a:gd name="connsiteY7252" fmla="*/ 74846 h 5071335"/>
              <a:gd name="connsiteX7253" fmla="*/ 7848126 w 13768337"/>
              <a:gd name="connsiteY7253" fmla="*/ 91708 h 5071335"/>
              <a:gd name="connsiteX7254" fmla="*/ 7848126 w 13768337"/>
              <a:gd name="connsiteY7254" fmla="*/ 76379 h 5071335"/>
              <a:gd name="connsiteX7255" fmla="*/ 7748496 w 13768337"/>
              <a:gd name="connsiteY7255" fmla="*/ 74846 h 5071335"/>
              <a:gd name="connsiteX7256" fmla="*/ 7756835 w 13768337"/>
              <a:gd name="connsiteY7256" fmla="*/ 107178 h 5071335"/>
              <a:gd name="connsiteX7257" fmla="*/ 7742007 w 13768337"/>
              <a:gd name="connsiteY7257" fmla="*/ 95053 h 5071335"/>
              <a:gd name="connsiteX7258" fmla="*/ 7680840 w 13768337"/>
              <a:gd name="connsiteY7258" fmla="*/ 132960 h 5071335"/>
              <a:gd name="connsiteX7259" fmla="*/ 7682229 w 13768337"/>
              <a:gd name="connsiteY7259" fmla="*/ 100628 h 5071335"/>
              <a:gd name="connsiteX7260" fmla="*/ 7748496 w 13768337"/>
              <a:gd name="connsiteY7260" fmla="*/ 74846 h 5071335"/>
              <a:gd name="connsiteX7261" fmla="*/ 8857860 w 13768337"/>
              <a:gd name="connsiteY7261" fmla="*/ 72476 h 5071335"/>
              <a:gd name="connsiteX7262" fmla="*/ 8848593 w 13768337"/>
              <a:gd name="connsiteY7262" fmla="*/ 74009 h 5071335"/>
              <a:gd name="connsiteX7263" fmla="*/ 8849983 w 13768337"/>
              <a:gd name="connsiteY7263" fmla="*/ 94078 h 5071335"/>
              <a:gd name="connsiteX7264" fmla="*/ 8862959 w 13768337"/>
              <a:gd name="connsiteY7264" fmla="*/ 89060 h 5071335"/>
              <a:gd name="connsiteX7265" fmla="*/ 8857860 w 13768337"/>
              <a:gd name="connsiteY7265" fmla="*/ 72476 h 5071335"/>
              <a:gd name="connsiteX7266" fmla="*/ 7889831 w 13768337"/>
              <a:gd name="connsiteY7266" fmla="*/ 70665 h 5071335"/>
              <a:gd name="connsiteX7267" fmla="*/ 7913001 w 13768337"/>
              <a:gd name="connsiteY7267" fmla="*/ 90315 h 5071335"/>
              <a:gd name="connsiteX7268" fmla="*/ 7889831 w 13768337"/>
              <a:gd name="connsiteY7268" fmla="*/ 70665 h 5071335"/>
              <a:gd name="connsiteX7269" fmla="*/ 8093261 w 13768337"/>
              <a:gd name="connsiteY7269" fmla="*/ 69968 h 5071335"/>
              <a:gd name="connsiteX7270" fmla="*/ 8079359 w 13768337"/>
              <a:gd name="connsiteY7270" fmla="*/ 97004 h 5071335"/>
              <a:gd name="connsiteX7271" fmla="*/ 8111333 w 13768337"/>
              <a:gd name="connsiteY7271" fmla="*/ 90315 h 5071335"/>
              <a:gd name="connsiteX7272" fmla="*/ 8108553 w 13768337"/>
              <a:gd name="connsiteY7272" fmla="*/ 74009 h 5071335"/>
              <a:gd name="connsiteX7273" fmla="*/ 8104846 w 13768337"/>
              <a:gd name="connsiteY7273" fmla="*/ 70386 h 5071335"/>
              <a:gd name="connsiteX7274" fmla="*/ 8093261 w 13768337"/>
              <a:gd name="connsiteY7274" fmla="*/ 69968 h 5071335"/>
              <a:gd name="connsiteX7275" fmla="*/ 8193817 w 13768337"/>
              <a:gd name="connsiteY7275" fmla="*/ 68853 h 5071335"/>
              <a:gd name="connsiteX7276" fmla="*/ 8146086 w 13768337"/>
              <a:gd name="connsiteY7276" fmla="*/ 81953 h 5071335"/>
              <a:gd name="connsiteX7277" fmla="*/ 8207256 w 13768337"/>
              <a:gd name="connsiteY7277" fmla="*/ 70386 h 5071335"/>
              <a:gd name="connsiteX7278" fmla="*/ 8193817 w 13768337"/>
              <a:gd name="connsiteY7278" fmla="*/ 68853 h 5071335"/>
              <a:gd name="connsiteX7279" fmla="*/ 7231347 w 13768337"/>
              <a:gd name="connsiteY7279" fmla="*/ 62303 h 5071335"/>
              <a:gd name="connsiteX7280" fmla="*/ 7250810 w 13768337"/>
              <a:gd name="connsiteY7280" fmla="*/ 65649 h 5071335"/>
              <a:gd name="connsiteX7281" fmla="*/ 7247567 w 13768337"/>
              <a:gd name="connsiteY7281" fmla="*/ 79166 h 5071335"/>
              <a:gd name="connsiteX7282" fmla="*/ 7231347 w 13768337"/>
              <a:gd name="connsiteY7282" fmla="*/ 62303 h 5071335"/>
              <a:gd name="connsiteX7283" fmla="*/ 7223933 w 13768337"/>
              <a:gd name="connsiteY7283" fmla="*/ 62303 h 5071335"/>
              <a:gd name="connsiteX7284" fmla="*/ 7225324 w 13768337"/>
              <a:gd name="connsiteY7284" fmla="*/ 80142 h 5071335"/>
              <a:gd name="connsiteX7285" fmla="*/ 7213740 w 13768337"/>
              <a:gd name="connsiteY7285" fmla="*/ 81395 h 5071335"/>
              <a:gd name="connsiteX7286" fmla="*/ 7223933 w 13768337"/>
              <a:gd name="connsiteY7286" fmla="*/ 62303 h 5071335"/>
              <a:gd name="connsiteX7287" fmla="*/ 5788341 w 13768337"/>
              <a:gd name="connsiteY7287" fmla="*/ 62303 h 5071335"/>
              <a:gd name="connsiteX7288" fmla="*/ 5791121 w 13768337"/>
              <a:gd name="connsiteY7288" fmla="*/ 83347 h 5071335"/>
              <a:gd name="connsiteX7289" fmla="*/ 5775830 w 13768337"/>
              <a:gd name="connsiteY7289" fmla="*/ 80560 h 5071335"/>
              <a:gd name="connsiteX7290" fmla="*/ 5788341 w 13768337"/>
              <a:gd name="connsiteY7290" fmla="*/ 62303 h 5071335"/>
              <a:gd name="connsiteX7291" fmla="*/ 8653504 w 13768337"/>
              <a:gd name="connsiteY7291" fmla="*/ 61467 h 5071335"/>
              <a:gd name="connsiteX7292" fmla="*/ 8644698 w 13768337"/>
              <a:gd name="connsiteY7292" fmla="*/ 70386 h 5071335"/>
              <a:gd name="connsiteX7293" fmla="*/ 8660454 w 13768337"/>
              <a:gd name="connsiteY7293" fmla="*/ 72476 h 5071335"/>
              <a:gd name="connsiteX7294" fmla="*/ 8653504 w 13768337"/>
              <a:gd name="connsiteY7294" fmla="*/ 61467 h 5071335"/>
              <a:gd name="connsiteX7295" fmla="*/ 8695672 w 13768337"/>
              <a:gd name="connsiteY7295" fmla="*/ 58122 h 5071335"/>
              <a:gd name="connsiteX7296" fmla="*/ 8703550 w 13768337"/>
              <a:gd name="connsiteY7296" fmla="*/ 72476 h 5071335"/>
              <a:gd name="connsiteX7297" fmla="*/ 8697062 w 13768337"/>
              <a:gd name="connsiteY7297" fmla="*/ 74009 h 5071335"/>
              <a:gd name="connsiteX7298" fmla="*/ 8695672 w 13768337"/>
              <a:gd name="connsiteY7298" fmla="*/ 58122 h 5071335"/>
              <a:gd name="connsiteX7299" fmla="*/ 8818009 w 13768337"/>
              <a:gd name="connsiteY7299" fmla="*/ 51433 h 5071335"/>
              <a:gd name="connsiteX7300" fmla="*/ 8813375 w 13768337"/>
              <a:gd name="connsiteY7300" fmla="*/ 72476 h 5071335"/>
              <a:gd name="connsiteX7301" fmla="*/ 8831448 w 13768337"/>
              <a:gd name="connsiteY7301" fmla="*/ 59376 h 5071335"/>
              <a:gd name="connsiteX7302" fmla="*/ 8818009 w 13768337"/>
              <a:gd name="connsiteY7302" fmla="*/ 51433 h 5071335"/>
              <a:gd name="connsiteX7303" fmla="*/ 8242936 w 13768337"/>
              <a:gd name="connsiteY7303" fmla="*/ 50597 h 5071335"/>
              <a:gd name="connsiteX7304" fmla="*/ 8235522 w 13768337"/>
              <a:gd name="connsiteY7304" fmla="*/ 59376 h 5071335"/>
              <a:gd name="connsiteX7305" fmla="*/ 8252205 w 13768337"/>
              <a:gd name="connsiteY7305" fmla="*/ 53802 h 5071335"/>
              <a:gd name="connsiteX7306" fmla="*/ 8242936 w 13768337"/>
              <a:gd name="connsiteY7306" fmla="*/ 50597 h 5071335"/>
              <a:gd name="connsiteX7307" fmla="*/ 8914395 w 13768337"/>
              <a:gd name="connsiteY7307" fmla="*/ 32759 h 5071335"/>
              <a:gd name="connsiteX7308" fmla="*/ 8922736 w 13768337"/>
              <a:gd name="connsiteY7308" fmla="*/ 50179 h 5071335"/>
              <a:gd name="connsiteX7309" fmla="*/ 8912078 w 13768337"/>
              <a:gd name="connsiteY7309" fmla="*/ 62303 h 5071335"/>
              <a:gd name="connsiteX7310" fmla="*/ 8891225 w 13768337"/>
              <a:gd name="connsiteY7310" fmla="*/ 38055 h 5071335"/>
              <a:gd name="connsiteX7311" fmla="*/ 8914395 w 13768337"/>
              <a:gd name="connsiteY7311" fmla="*/ 32759 h 5071335"/>
              <a:gd name="connsiteX7312" fmla="*/ 8814765 w 13768337"/>
              <a:gd name="connsiteY7312" fmla="*/ 32341 h 5071335"/>
              <a:gd name="connsiteX7313" fmla="*/ 8815227 w 13768337"/>
              <a:gd name="connsiteY7313" fmla="*/ 35825 h 5071335"/>
              <a:gd name="connsiteX7314" fmla="*/ 8813838 w 13768337"/>
              <a:gd name="connsiteY7314" fmla="*/ 34292 h 5071335"/>
              <a:gd name="connsiteX7315" fmla="*/ 8814765 w 13768337"/>
              <a:gd name="connsiteY7315" fmla="*/ 32341 h 5071335"/>
              <a:gd name="connsiteX7316" fmla="*/ 8806889 w 13768337"/>
              <a:gd name="connsiteY7316" fmla="*/ 32341 h 5071335"/>
              <a:gd name="connsiteX7317" fmla="*/ 8780009 w 13768337"/>
              <a:gd name="connsiteY7317" fmla="*/ 47252 h 5071335"/>
              <a:gd name="connsiteX7318" fmla="*/ 8773522 w 13768337"/>
              <a:gd name="connsiteY7318" fmla="*/ 63279 h 5071335"/>
              <a:gd name="connsiteX7319" fmla="*/ 8806889 w 13768337"/>
              <a:gd name="connsiteY7319" fmla="*/ 32341 h 5071335"/>
              <a:gd name="connsiteX7320" fmla="*/ 8780009 w 13768337"/>
              <a:gd name="connsiteY7320" fmla="*/ 6976 h 5071335"/>
              <a:gd name="connsiteX7321" fmla="*/ 8791133 w 13768337"/>
              <a:gd name="connsiteY7321" fmla="*/ 30112 h 5071335"/>
              <a:gd name="connsiteX7322" fmla="*/ 8813838 w 13768337"/>
              <a:gd name="connsiteY7322" fmla="*/ 34292 h 5071335"/>
              <a:gd name="connsiteX7323" fmla="*/ 8824496 w 13768337"/>
              <a:gd name="connsiteY7323" fmla="*/ 51433 h 5071335"/>
              <a:gd name="connsiteX7324" fmla="*/ 8856470 w 13768337"/>
              <a:gd name="connsiteY7324" fmla="*/ 32341 h 5071335"/>
              <a:gd name="connsiteX7325" fmla="*/ 8843959 w 13768337"/>
              <a:gd name="connsiteY7325" fmla="*/ 38055 h 5071335"/>
              <a:gd name="connsiteX7326" fmla="*/ 8845349 w 13768337"/>
              <a:gd name="connsiteY7326" fmla="*/ 70386 h 5071335"/>
              <a:gd name="connsiteX7327" fmla="*/ 8867592 w 13768337"/>
              <a:gd name="connsiteY7327" fmla="*/ 63279 h 5071335"/>
              <a:gd name="connsiteX7328" fmla="*/ 8871298 w 13768337"/>
              <a:gd name="connsiteY7328" fmla="*/ 71641 h 5071335"/>
              <a:gd name="connsiteX7329" fmla="*/ 8853227 w 13768337"/>
              <a:gd name="connsiteY7329" fmla="*/ 109129 h 5071335"/>
              <a:gd name="connsiteX7330" fmla="*/ 8857860 w 13768337"/>
              <a:gd name="connsiteY7330" fmla="*/ 125016 h 5071335"/>
              <a:gd name="connsiteX7331" fmla="*/ 8871298 w 13768337"/>
              <a:gd name="connsiteY7331" fmla="*/ 119860 h 5071335"/>
              <a:gd name="connsiteX7332" fmla="*/ 8883811 w 13768337"/>
              <a:gd name="connsiteY7332" fmla="*/ 130590 h 5071335"/>
              <a:gd name="connsiteX7333" fmla="*/ 8885201 w 13768337"/>
              <a:gd name="connsiteY7333" fmla="*/ 162504 h 5071335"/>
              <a:gd name="connsiteX7334" fmla="*/ 8872226 w 13768337"/>
              <a:gd name="connsiteY7334" fmla="*/ 163758 h 5071335"/>
              <a:gd name="connsiteX7335" fmla="*/ 8864348 w 13768337"/>
              <a:gd name="connsiteY7335" fmla="*/ 197484 h 5071335"/>
              <a:gd name="connsiteX7336" fmla="*/ 8880567 w 13768337"/>
              <a:gd name="connsiteY7336" fmla="*/ 196091 h 5071335"/>
              <a:gd name="connsiteX7337" fmla="*/ 8882421 w 13768337"/>
              <a:gd name="connsiteY7337" fmla="*/ 224241 h 5071335"/>
              <a:gd name="connsiteX7338" fmla="*/ 8860642 w 13768337"/>
              <a:gd name="connsiteY7338" fmla="*/ 225635 h 5071335"/>
              <a:gd name="connsiteX7339" fmla="*/ 8894932 w 13768337"/>
              <a:gd name="connsiteY7339" fmla="*/ 238178 h 5071335"/>
              <a:gd name="connsiteX7340" fmla="*/ 8870835 w 13768337"/>
              <a:gd name="connsiteY7340" fmla="*/ 244309 h 5071335"/>
              <a:gd name="connsiteX7341" fmla="*/ 8889836 w 13768337"/>
              <a:gd name="connsiteY7341" fmla="*/ 257409 h 5071335"/>
              <a:gd name="connsiteX7342" fmla="*/ 8912078 w 13768337"/>
              <a:gd name="connsiteY7342" fmla="*/ 262148 h 5071335"/>
              <a:gd name="connsiteX7343" fmla="*/ 8909298 w 13768337"/>
              <a:gd name="connsiteY7343" fmla="*/ 268139 h 5071335"/>
              <a:gd name="connsiteX7344" fmla="*/ 8969538 w 13768337"/>
              <a:gd name="connsiteY7344" fmla="*/ 236923 h 5071335"/>
              <a:gd name="connsiteX7345" fmla="*/ 8993635 w 13768337"/>
              <a:gd name="connsiteY7345" fmla="*/ 228979 h 5071335"/>
              <a:gd name="connsiteX7346" fmla="*/ 9080754 w 13768337"/>
              <a:gd name="connsiteY7346" fmla="*/ 230791 h 5071335"/>
              <a:gd name="connsiteX7347" fmla="*/ 9062217 w 13768337"/>
              <a:gd name="connsiteY7347" fmla="*/ 247096 h 5071335"/>
              <a:gd name="connsiteX7348" fmla="*/ 9071948 w 13768337"/>
              <a:gd name="connsiteY7348" fmla="*/ 271903 h 5071335"/>
              <a:gd name="connsiteX7349" fmla="*/ 9237844 w 13768337"/>
              <a:gd name="connsiteY7349" fmla="*/ 261590 h 5071335"/>
              <a:gd name="connsiteX7350" fmla="*/ 9331450 w 13768337"/>
              <a:gd name="connsiteY7350" fmla="*/ 278453 h 5071335"/>
              <a:gd name="connsiteX7351" fmla="*/ 9118289 w 13768337"/>
              <a:gd name="connsiteY7351" fmla="*/ 277059 h 5071335"/>
              <a:gd name="connsiteX7352" fmla="*/ 9067315 w 13768337"/>
              <a:gd name="connsiteY7352" fmla="*/ 267722 h 5071335"/>
              <a:gd name="connsiteX7353" fmla="*/ 9027926 w 13768337"/>
              <a:gd name="connsiteY7353" fmla="*/ 279986 h 5071335"/>
              <a:gd name="connsiteX7354" fmla="*/ 9001977 w 13768337"/>
              <a:gd name="connsiteY7354" fmla="*/ 268697 h 5071335"/>
              <a:gd name="connsiteX7355" fmla="*/ 8993635 w 13768337"/>
              <a:gd name="connsiteY7355" fmla="*/ 273715 h 5071335"/>
              <a:gd name="connsiteX7356" fmla="*/ 8992245 w 13768337"/>
              <a:gd name="connsiteY7356" fmla="*/ 298939 h 5071335"/>
              <a:gd name="connsiteX7357" fmla="*/ 8973710 w 13768337"/>
              <a:gd name="connsiteY7357" fmla="*/ 290020 h 5071335"/>
              <a:gd name="connsiteX7358" fmla="*/ 8901419 w 13768337"/>
              <a:gd name="connsiteY7358" fmla="*/ 277617 h 5071335"/>
              <a:gd name="connsiteX7359" fmla="*/ 8904201 w 13768337"/>
              <a:gd name="connsiteY7359" fmla="*/ 293922 h 5071335"/>
              <a:gd name="connsiteX7360" fmla="*/ 8919955 w 13768337"/>
              <a:gd name="connsiteY7360" fmla="*/ 304652 h 5071335"/>
              <a:gd name="connsiteX7361" fmla="*/ 8922272 w 13768337"/>
              <a:gd name="connsiteY7361" fmla="*/ 312596 h 5071335"/>
              <a:gd name="connsiteX7362" fmla="*/ 8906053 w 13768337"/>
              <a:gd name="connsiteY7362" fmla="*/ 334197 h 5071335"/>
              <a:gd name="connsiteX7363" fmla="*/ 8861105 w 13768337"/>
              <a:gd name="connsiteY7363" fmla="*/ 342559 h 5071335"/>
              <a:gd name="connsiteX7364" fmla="*/ 8880567 w 13768337"/>
              <a:gd name="connsiteY7364" fmla="*/ 344928 h 5071335"/>
              <a:gd name="connsiteX7365" fmla="*/ 8885201 w 13768337"/>
              <a:gd name="connsiteY7365" fmla="*/ 360816 h 5071335"/>
              <a:gd name="connsiteX7366" fmla="*/ 8904664 w 13768337"/>
              <a:gd name="connsiteY7366" fmla="*/ 359979 h 5071335"/>
              <a:gd name="connsiteX7367" fmla="*/ 8905127 w 13768337"/>
              <a:gd name="connsiteY7367" fmla="*/ 360816 h 5071335"/>
              <a:gd name="connsiteX7368" fmla="*/ 8916712 w 13768337"/>
              <a:gd name="connsiteY7368" fmla="*/ 359979 h 5071335"/>
              <a:gd name="connsiteX7369" fmla="*/ 8929686 w 13768337"/>
              <a:gd name="connsiteY7369" fmla="*/ 357889 h 5071335"/>
              <a:gd name="connsiteX7370" fmla="*/ 8930150 w 13768337"/>
              <a:gd name="connsiteY7370" fmla="*/ 358446 h 5071335"/>
              <a:gd name="connsiteX7371" fmla="*/ 8932003 w 13768337"/>
              <a:gd name="connsiteY7371" fmla="*/ 358446 h 5071335"/>
              <a:gd name="connsiteX7372" fmla="*/ 8940345 w 13768337"/>
              <a:gd name="connsiteY7372" fmla="*/ 350085 h 5071335"/>
              <a:gd name="connsiteX7373" fmla="*/ 8970928 w 13768337"/>
              <a:gd name="connsiteY7373" fmla="*/ 354684 h 5071335"/>
              <a:gd name="connsiteX7374" fmla="*/ 8990855 w 13768337"/>
              <a:gd name="connsiteY7374" fmla="*/ 352872 h 5071335"/>
              <a:gd name="connsiteX7375" fmla="*/ 8989000 w 13768337"/>
              <a:gd name="connsiteY7375" fmla="*/ 357610 h 5071335"/>
              <a:gd name="connsiteX7376" fmla="*/ 8997805 w 13768337"/>
              <a:gd name="connsiteY7376" fmla="*/ 358864 h 5071335"/>
              <a:gd name="connsiteX7377" fmla="*/ 9001977 w 13768337"/>
              <a:gd name="connsiteY7377" fmla="*/ 357610 h 5071335"/>
              <a:gd name="connsiteX7378" fmla="*/ 9001514 w 13768337"/>
              <a:gd name="connsiteY7378" fmla="*/ 359422 h 5071335"/>
              <a:gd name="connsiteX7379" fmla="*/ 9009853 w 13768337"/>
              <a:gd name="connsiteY7379" fmla="*/ 360816 h 5071335"/>
              <a:gd name="connsiteX7380" fmla="*/ 9000586 w 13768337"/>
              <a:gd name="connsiteY7380" fmla="*/ 362349 h 5071335"/>
              <a:gd name="connsiteX7381" fmla="*/ 9000586 w 13768337"/>
              <a:gd name="connsiteY7381" fmla="*/ 372104 h 5071335"/>
              <a:gd name="connsiteX7382" fmla="*/ 9009853 w 13768337"/>
              <a:gd name="connsiteY7382" fmla="*/ 375309 h 5071335"/>
              <a:gd name="connsiteX7383" fmla="*/ 9006146 w 13768337"/>
              <a:gd name="connsiteY7383" fmla="*/ 376703 h 5071335"/>
              <a:gd name="connsiteX7384" fmla="*/ 9025609 w 13768337"/>
              <a:gd name="connsiteY7384" fmla="*/ 406805 h 5071335"/>
              <a:gd name="connsiteX7385" fmla="*/ 9079364 w 13768337"/>
              <a:gd name="connsiteY7385" fmla="*/ 403878 h 5071335"/>
              <a:gd name="connsiteX7386" fmla="*/ 9086778 w 13768337"/>
              <a:gd name="connsiteY7386" fmla="*/ 424364 h 5071335"/>
              <a:gd name="connsiteX7387" fmla="*/ 9075655 w 13768337"/>
              <a:gd name="connsiteY7387" fmla="*/ 378654 h 5071335"/>
              <a:gd name="connsiteX7388" fmla="*/ 9089558 w 13768337"/>
              <a:gd name="connsiteY7388" fmla="*/ 381023 h 5071335"/>
              <a:gd name="connsiteX7389" fmla="*/ 9113190 w 13768337"/>
              <a:gd name="connsiteY7389" fmla="*/ 372104 h 5071335"/>
              <a:gd name="connsiteX7390" fmla="*/ 9104386 w 13768337"/>
              <a:gd name="connsiteY7390" fmla="*/ 383392 h 5071335"/>
              <a:gd name="connsiteX7391" fmla="*/ 9126629 w 13768337"/>
              <a:gd name="connsiteY7391" fmla="*/ 398722 h 5071335"/>
              <a:gd name="connsiteX7392" fmla="*/ 9153043 w 13768337"/>
              <a:gd name="connsiteY7392" fmla="*/ 387851 h 5071335"/>
              <a:gd name="connsiteX7393" fmla="*/ 9238771 w 13768337"/>
              <a:gd name="connsiteY7393" fmla="*/ 429661 h 5071335"/>
              <a:gd name="connsiteX7394" fmla="*/ 9261477 w 13768337"/>
              <a:gd name="connsiteY7394" fmla="*/ 399139 h 5071335"/>
              <a:gd name="connsiteX7395" fmla="*/ 9236917 w 13768337"/>
              <a:gd name="connsiteY7395" fmla="*/ 383392 h 5071335"/>
              <a:gd name="connsiteX7396" fmla="*/ 9222089 w 13768337"/>
              <a:gd name="connsiteY7396" fmla="*/ 371546 h 5071335"/>
              <a:gd name="connsiteX7397" fmla="*/ 9239234 w 13768337"/>
              <a:gd name="connsiteY7397" fmla="*/ 374751 h 5071335"/>
              <a:gd name="connsiteX7398" fmla="*/ 9286036 w 13768337"/>
              <a:gd name="connsiteY7398" fmla="*/ 374751 h 5071335"/>
              <a:gd name="connsiteX7399" fmla="*/ 9271672 w 13768337"/>
              <a:gd name="connsiteY7399" fmla="*/ 307859 h 5071335"/>
              <a:gd name="connsiteX7400" fmla="*/ 9311987 w 13768337"/>
              <a:gd name="connsiteY7400" fmla="*/ 392590 h 5071335"/>
              <a:gd name="connsiteX7401" fmla="*/ 9293452 w 13768337"/>
              <a:gd name="connsiteY7401" fmla="*/ 378933 h 5071335"/>
              <a:gd name="connsiteX7402" fmla="*/ 9305963 w 13768337"/>
              <a:gd name="connsiteY7402" fmla="*/ 408617 h 5071335"/>
              <a:gd name="connsiteX7403" fmla="*/ 9365278 w 13768337"/>
              <a:gd name="connsiteY7403" fmla="*/ 415445 h 5071335"/>
              <a:gd name="connsiteX7404" fmla="*/ 9329133 w 13768337"/>
              <a:gd name="connsiteY7404" fmla="*/ 384646 h 5071335"/>
              <a:gd name="connsiteX7405" fmla="*/ 9346741 w 13768337"/>
              <a:gd name="connsiteY7405" fmla="*/ 365554 h 5071335"/>
              <a:gd name="connsiteX7406" fmla="*/ 9323571 w 13768337"/>
              <a:gd name="connsiteY7406" fmla="*/ 310785 h 5071335"/>
              <a:gd name="connsiteX7407" fmla="*/ 9368520 w 13768337"/>
              <a:gd name="connsiteY7407" fmla="*/ 357889 h 5071335"/>
              <a:gd name="connsiteX7408" fmla="*/ 9418104 w 13768337"/>
              <a:gd name="connsiteY7408" fmla="*/ 434677 h 5071335"/>
              <a:gd name="connsiteX7409" fmla="*/ 9433397 w 13768337"/>
              <a:gd name="connsiteY7409" fmla="*/ 428127 h 5071335"/>
              <a:gd name="connsiteX7410" fmla="*/ 9440811 w 13768337"/>
              <a:gd name="connsiteY7410" fmla="*/ 421577 h 5071335"/>
              <a:gd name="connsiteX7411" fmla="*/ 9413470 w 13768337"/>
              <a:gd name="connsiteY7411" fmla="*/ 340190 h 5071335"/>
              <a:gd name="connsiteX7412" fmla="*/ 9444054 w 13768337"/>
              <a:gd name="connsiteY7412" fmla="*/ 341306 h 5071335"/>
              <a:gd name="connsiteX7413" fmla="*/ 9452395 w 13768337"/>
              <a:gd name="connsiteY7413" fmla="*/ 372522 h 5071335"/>
              <a:gd name="connsiteX7414" fmla="*/ 9473247 w 13768337"/>
              <a:gd name="connsiteY7414" fmla="*/ 380047 h 5071335"/>
              <a:gd name="connsiteX7415" fmla="*/ 9482979 w 13768337"/>
              <a:gd name="connsiteY7415" fmla="*/ 362349 h 5071335"/>
              <a:gd name="connsiteX7416" fmla="*/ 9574267 w 13768337"/>
              <a:gd name="connsiteY7416" fmla="*/ 375309 h 5071335"/>
              <a:gd name="connsiteX7417" fmla="*/ 9604853 w 13768337"/>
              <a:gd name="connsiteY7417" fmla="*/ 372104 h 5071335"/>
              <a:gd name="connsiteX7418" fmla="*/ 9654434 w 13768337"/>
              <a:gd name="connsiteY7418" fmla="*/ 395935 h 5071335"/>
              <a:gd name="connsiteX7419" fmla="*/ 9766113 w 13768337"/>
              <a:gd name="connsiteY7419" fmla="*/ 443596 h 5071335"/>
              <a:gd name="connsiteX7420" fmla="*/ 9784648 w 13768337"/>
              <a:gd name="connsiteY7420" fmla="*/ 435235 h 5071335"/>
              <a:gd name="connsiteX7421" fmla="*/ 10022370 w 13768337"/>
              <a:gd name="connsiteY7421" fmla="*/ 794229 h 5071335"/>
              <a:gd name="connsiteX7422" fmla="*/ 10037198 w 13768337"/>
              <a:gd name="connsiteY7422" fmla="*/ 780991 h 5071335"/>
              <a:gd name="connsiteX7423" fmla="*/ 10043685 w 13768337"/>
              <a:gd name="connsiteY7423" fmla="*/ 807191 h 5071335"/>
              <a:gd name="connsiteX7424" fmla="*/ 10078440 w 13768337"/>
              <a:gd name="connsiteY7424" fmla="*/ 857639 h 5071335"/>
              <a:gd name="connsiteX7425" fmla="*/ 10090025 w 13768337"/>
              <a:gd name="connsiteY7425" fmla="*/ 857639 h 5071335"/>
              <a:gd name="connsiteX7426" fmla="*/ 10079831 w 13768337"/>
              <a:gd name="connsiteY7426" fmla="*/ 865723 h 5071335"/>
              <a:gd name="connsiteX7427" fmla="*/ 10084001 w 13768337"/>
              <a:gd name="connsiteY7427" fmla="*/ 891782 h 5071335"/>
              <a:gd name="connsiteX7428" fmla="*/ 10084001 w 13768337"/>
              <a:gd name="connsiteY7428" fmla="*/ 892897 h 5071335"/>
              <a:gd name="connsiteX7429" fmla="*/ 10133122 w 13768337"/>
              <a:gd name="connsiteY7429" fmla="*/ 882027 h 5071335"/>
              <a:gd name="connsiteX7430" fmla="*/ 10122000 w 13768337"/>
              <a:gd name="connsiteY7430" fmla="*/ 863353 h 5071335"/>
              <a:gd name="connsiteX7431" fmla="*/ 10139608 w 13768337"/>
              <a:gd name="connsiteY7431" fmla="*/ 873944 h 5071335"/>
              <a:gd name="connsiteX7432" fmla="*/ 10140998 w 13768337"/>
              <a:gd name="connsiteY7432" fmla="*/ 861820 h 5071335"/>
              <a:gd name="connsiteX7433" fmla="*/ 10204483 w 13768337"/>
              <a:gd name="connsiteY7433" fmla="*/ 908645 h 5071335"/>
              <a:gd name="connsiteX7434" fmla="*/ 10250824 w 13768337"/>
              <a:gd name="connsiteY7434" fmla="*/ 912826 h 5071335"/>
              <a:gd name="connsiteX7435" fmla="*/ 10258700 w 13768337"/>
              <a:gd name="connsiteY7435" fmla="*/ 895128 h 5071335"/>
              <a:gd name="connsiteX7436" fmla="*/ 10300405 w 13768337"/>
              <a:gd name="connsiteY7436" fmla="*/ 891365 h 5071335"/>
              <a:gd name="connsiteX7437" fmla="*/ 10305040 w 13768337"/>
              <a:gd name="connsiteY7437" fmla="*/ 907391 h 5071335"/>
              <a:gd name="connsiteX7438" fmla="*/ 10315233 w 13768337"/>
              <a:gd name="connsiteY7438" fmla="*/ 899726 h 5071335"/>
              <a:gd name="connsiteX7439" fmla="*/ 10316161 w 13768337"/>
              <a:gd name="connsiteY7439" fmla="*/ 898890 h 5071335"/>
              <a:gd name="connsiteX7440" fmla="*/ 10317551 w 13768337"/>
              <a:gd name="connsiteY7440" fmla="*/ 901260 h 5071335"/>
              <a:gd name="connsiteX7441" fmla="*/ 10318478 w 13768337"/>
              <a:gd name="connsiteY7441" fmla="*/ 902095 h 5071335"/>
              <a:gd name="connsiteX7442" fmla="*/ 10332381 w 13768337"/>
              <a:gd name="connsiteY7442" fmla="*/ 884954 h 5071335"/>
              <a:gd name="connsiteX7443" fmla="*/ 10340258 w 13768337"/>
              <a:gd name="connsiteY7443" fmla="*/ 906276 h 5071335"/>
              <a:gd name="connsiteX7444" fmla="*/ 10341185 w 13768337"/>
              <a:gd name="connsiteY7444" fmla="*/ 908366 h 5071335"/>
              <a:gd name="connsiteX7445" fmla="*/ 10362965 w 13768337"/>
              <a:gd name="connsiteY7445" fmla="*/ 894152 h 5071335"/>
              <a:gd name="connsiteX7446" fmla="*/ 10370841 w 13768337"/>
              <a:gd name="connsiteY7446" fmla="*/ 905997 h 5071335"/>
              <a:gd name="connsiteX7447" fmla="*/ 10409767 w 13768337"/>
              <a:gd name="connsiteY7447" fmla="*/ 908366 h 5071335"/>
              <a:gd name="connsiteX7448" fmla="*/ 10404207 w 13768337"/>
              <a:gd name="connsiteY7448" fmla="*/ 897914 h 5071335"/>
              <a:gd name="connsiteX7449" fmla="*/ 10418570 w 13768337"/>
              <a:gd name="connsiteY7449" fmla="*/ 909621 h 5071335"/>
              <a:gd name="connsiteX7450" fmla="*/ 10435253 w 13768337"/>
              <a:gd name="connsiteY7450" fmla="*/ 920770 h 5071335"/>
              <a:gd name="connsiteX7451" fmla="*/ 10447764 w 13768337"/>
              <a:gd name="connsiteY7451" fmla="*/ 917147 h 5071335"/>
              <a:gd name="connsiteX7452" fmla="*/ 10476958 w 13768337"/>
              <a:gd name="connsiteY7452" fmla="*/ 918958 h 5071335"/>
              <a:gd name="connsiteX7453" fmla="*/ 10510324 w 13768337"/>
              <a:gd name="connsiteY7453" fmla="*/ 918121 h 5071335"/>
              <a:gd name="connsiteX7454" fmla="*/ 10516811 w 13768337"/>
              <a:gd name="connsiteY7454" fmla="*/ 930246 h 5071335"/>
              <a:gd name="connsiteX7455" fmla="*/ 10661853 w 13768337"/>
              <a:gd name="connsiteY7455" fmla="*/ 949478 h 5071335"/>
              <a:gd name="connsiteX7456" fmla="*/ 10650731 w 13768337"/>
              <a:gd name="connsiteY7456" fmla="*/ 967316 h 5071335"/>
              <a:gd name="connsiteX7457" fmla="*/ 10661853 w 13768337"/>
              <a:gd name="connsiteY7457" fmla="*/ 982228 h 5071335"/>
              <a:gd name="connsiteX7458" fmla="*/ 10663245 w 13768337"/>
              <a:gd name="connsiteY7458" fmla="*/ 969964 h 5071335"/>
              <a:gd name="connsiteX7459" fmla="*/ 10693364 w 13768337"/>
              <a:gd name="connsiteY7459" fmla="*/ 987803 h 5071335"/>
              <a:gd name="connsiteX7460" fmla="*/ 10665097 w 13768337"/>
              <a:gd name="connsiteY7460" fmla="*/ 1002853 h 5071335"/>
              <a:gd name="connsiteX7461" fmla="*/ 10529322 w 13768337"/>
              <a:gd name="connsiteY7461" fmla="*/ 978048 h 5071335"/>
              <a:gd name="connsiteX7462" fmla="*/ 10522835 w 13768337"/>
              <a:gd name="connsiteY7462" fmla="*/ 987803 h 5071335"/>
              <a:gd name="connsiteX7463" fmla="*/ 10490861 w 13768337"/>
              <a:gd name="connsiteY7463" fmla="*/ 978048 h 5071335"/>
              <a:gd name="connsiteX7464" fmla="*/ 10481130 w 13768337"/>
              <a:gd name="connsiteY7464" fmla="*/ 982228 h 5071335"/>
              <a:gd name="connsiteX7465" fmla="*/ 10482520 w 13768337"/>
              <a:gd name="connsiteY7465" fmla="*/ 991565 h 5071335"/>
              <a:gd name="connsiteX7466" fmla="*/ 10463520 w 13768337"/>
              <a:gd name="connsiteY7466" fmla="*/ 1004665 h 5071335"/>
              <a:gd name="connsiteX7467" fmla="*/ 10473252 w 13768337"/>
              <a:gd name="connsiteY7467" fmla="*/ 1011773 h 5071335"/>
              <a:gd name="connsiteX7468" fmla="*/ 10526542 w 13768337"/>
              <a:gd name="connsiteY7468" fmla="*/ 999370 h 5071335"/>
              <a:gd name="connsiteX7469" fmla="*/ 10524690 w 13768337"/>
              <a:gd name="connsiteY7469" fmla="*/ 1026684 h 5071335"/>
              <a:gd name="connsiteX7470" fmla="*/ 10506152 w 13768337"/>
              <a:gd name="connsiteY7470" fmla="*/ 1024315 h 5071335"/>
              <a:gd name="connsiteX7471" fmla="*/ 10521908 w 13768337"/>
              <a:gd name="connsiteY7471" fmla="*/ 1014978 h 5071335"/>
              <a:gd name="connsiteX7472" fmla="*/ 10514031 w 13768337"/>
              <a:gd name="connsiteY7472" fmla="*/ 1000484 h 5071335"/>
              <a:gd name="connsiteX7473" fmla="*/ 10506152 w 13768337"/>
              <a:gd name="connsiteY7473" fmla="*/ 1016232 h 5071335"/>
              <a:gd name="connsiteX7474" fmla="*/ 10482520 w 13768337"/>
              <a:gd name="connsiteY7474" fmla="*/ 1011215 h 5071335"/>
              <a:gd name="connsiteX7475" fmla="*/ 10477423 w 13768337"/>
              <a:gd name="connsiteY7475" fmla="*/ 1022782 h 5071335"/>
              <a:gd name="connsiteX7476" fmla="*/ 10362965 w 13768337"/>
              <a:gd name="connsiteY7476" fmla="*/ 1013584 h 5071335"/>
              <a:gd name="connsiteX7477" fmla="*/ 10343502 w 13768337"/>
              <a:gd name="connsiteY7477" fmla="*/ 975678 h 5071335"/>
              <a:gd name="connsiteX7478" fmla="*/ 10357403 w 13768337"/>
              <a:gd name="connsiteY7478" fmla="*/ 982228 h 5071335"/>
              <a:gd name="connsiteX7479" fmla="*/ 10357403 w 13768337"/>
              <a:gd name="connsiteY7479" fmla="*/ 993935 h 5071335"/>
              <a:gd name="connsiteX7480" fmla="*/ 10370379 w 13768337"/>
              <a:gd name="connsiteY7480" fmla="*/ 998115 h 5071335"/>
              <a:gd name="connsiteX7481" fmla="*/ 10364354 w 13768337"/>
              <a:gd name="connsiteY7481" fmla="*/ 982228 h 5071335"/>
              <a:gd name="connsiteX7482" fmla="*/ 10395401 w 13768337"/>
              <a:gd name="connsiteY7482" fmla="*/ 967316 h 5071335"/>
              <a:gd name="connsiteX7483" fmla="*/ 10355551 w 13768337"/>
              <a:gd name="connsiteY7483" fmla="*/ 945715 h 5071335"/>
              <a:gd name="connsiteX7484" fmla="*/ 10354624 w 13768337"/>
              <a:gd name="connsiteY7484" fmla="*/ 947528 h 5071335"/>
              <a:gd name="connsiteX7485" fmla="*/ 10333771 w 13768337"/>
              <a:gd name="connsiteY7485" fmla="*/ 933591 h 5071335"/>
              <a:gd name="connsiteX7486" fmla="*/ 10321723 w 13768337"/>
              <a:gd name="connsiteY7486" fmla="*/ 931222 h 5071335"/>
              <a:gd name="connsiteX7487" fmla="*/ 10266578 w 13768337"/>
              <a:gd name="connsiteY7487" fmla="*/ 930246 h 5071335"/>
              <a:gd name="connsiteX7488" fmla="*/ 10161388 w 13768337"/>
              <a:gd name="connsiteY7488" fmla="*/ 928852 h 5071335"/>
              <a:gd name="connsiteX7489" fmla="*/ 10134511 w 13768337"/>
              <a:gd name="connsiteY7489" fmla="*/ 918121 h 5071335"/>
              <a:gd name="connsiteX7490" fmla="*/ 10131731 w 13768337"/>
              <a:gd name="connsiteY7490" fmla="*/ 899447 h 5071335"/>
              <a:gd name="connsiteX7491" fmla="*/ 10120145 w 13768337"/>
              <a:gd name="connsiteY7491" fmla="*/ 899447 h 5071335"/>
              <a:gd name="connsiteX7492" fmla="*/ 10122000 w 13768337"/>
              <a:gd name="connsiteY7492" fmla="*/ 907391 h 5071335"/>
              <a:gd name="connsiteX7493" fmla="*/ 10087245 w 13768337"/>
              <a:gd name="connsiteY7493" fmla="*/ 908366 h 5071335"/>
              <a:gd name="connsiteX7494" fmla="*/ 10096049 w 13768337"/>
              <a:gd name="connsiteY7494" fmla="*/ 951290 h 5071335"/>
              <a:gd name="connsiteX7495" fmla="*/ 10110415 w 13768337"/>
              <a:gd name="connsiteY7495" fmla="*/ 945158 h 5071335"/>
              <a:gd name="connsiteX7496" fmla="*/ 10097904 w 13768337"/>
              <a:gd name="connsiteY7496" fmla="*/ 954634 h 5071335"/>
              <a:gd name="connsiteX7497" fmla="*/ 10123390 w 13768337"/>
              <a:gd name="connsiteY7497" fmla="*/ 956028 h 5071335"/>
              <a:gd name="connsiteX7498" fmla="*/ 10128487 w 13768337"/>
              <a:gd name="connsiteY7498" fmla="*/ 976236 h 5071335"/>
              <a:gd name="connsiteX7499" fmla="*/ 10102538 w 13768337"/>
              <a:gd name="connsiteY7499" fmla="*/ 965226 h 5071335"/>
              <a:gd name="connsiteX7500" fmla="*/ 10099293 w 13768337"/>
              <a:gd name="connsiteY7500" fmla="*/ 969128 h 5071335"/>
              <a:gd name="connsiteX7501" fmla="*/ 10103463 w 13768337"/>
              <a:gd name="connsiteY7501" fmla="*/ 992820 h 5071335"/>
              <a:gd name="connsiteX7502" fmla="*/ 10117828 w 13768337"/>
              <a:gd name="connsiteY7502" fmla="*/ 995189 h 5071335"/>
              <a:gd name="connsiteX7503" fmla="*/ 10117828 w 13768337"/>
              <a:gd name="connsiteY7503" fmla="*/ 999370 h 5071335"/>
              <a:gd name="connsiteX7504" fmla="*/ 10133122 w 13768337"/>
              <a:gd name="connsiteY7504" fmla="*/ 999928 h 5071335"/>
              <a:gd name="connsiteX7505" fmla="*/ 10140535 w 13768337"/>
              <a:gd name="connsiteY7505" fmla="*/ 1005083 h 5071335"/>
              <a:gd name="connsiteX7506" fmla="*/ 10140535 w 13768337"/>
              <a:gd name="connsiteY7506" fmla="*/ 991008 h 5071335"/>
              <a:gd name="connsiteX7507" fmla="*/ 10150267 w 13768337"/>
              <a:gd name="connsiteY7507" fmla="*/ 990171 h 5071335"/>
              <a:gd name="connsiteX7508" fmla="*/ 10132656 w 13768337"/>
              <a:gd name="connsiteY7508" fmla="*/ 975121 h 5071335"/>
              <a:gd name="connsiteX7509" fmla="*/ 10132656 w 13768337"/>
              <a:gd name="connsiteY7509" fmla="*/ 955192 h 5071335"/>
              <a:gd name="connsiteX7510" fmla="*/ 10150267 w 13768337"/>
              <a:gd name="connsiteY7510" fmla="*/ 981671 h 5071335"/>
              <a:gd name="connsiteX7511" fmla="*/ 10158144 w 13768337"/>
              <a:gd name="connsiteY7511" fmla="*/ 973867 h 5071335"/>
              <a:gd name="connsiteX7512" fmla="*/ 10148412 w 13768337"/>
              <a:gd name="connsiteY7512" fmla="*/ 962021 h 5071335"/>
              <a:gd name="connsiteX7513" fmla="*/ 10159533 w 13768337"/>
              <a:gd name="connsiteY7513" fmla="*/ 944740 h 5071335"/>
              <a:gd name="connsiteX7514" fmla="*/ 10158144 w 13768337"/>
              <a:gd name="connsiteY7514" fmla="*/ 957841 h 5071335"/>
              <a:gd name="connsiteX7515" fmla="*/ 10174364 w 13768337"/>
              <a:gd name="connsiteY7515" fmla="*/ 972334 h 5071335"/>
              <a:gd name="connsiteX7516" fmla="*/ 10177606 w 13768337"/>
              <a:gd name="connsiteY7516" fmla="*/ 959234 h 5071335"/>
              <a:gd name="connsiteX7517" fmla="*/ 10219775 w 13768337"/>
              <a:gd name="connsiteY7517" fmla="*/ 987246 h 5071335"/>
              <a:gd name="connsiteX7518" fmla="*/ 10182240 w 13768337"/>
              <a:gd name="connsiteY7518" fmla="*/ 991008 h 5071335"/>
              <a:gd name="connsiteX7519" fmla="*/ 10197996 w 13768337"/>
              <a:gd name="connsiteY7519" fmla="*/ 993935 h 5071335"/>
              <a:gd name="connsiteX7520" fmla="*/ 10147022 w 13768337"/>
              <a:gd name="connsiteY7520" fmla="*/ 998115 h 5071335"/>
              <a:gd name="connsiteX7521" fmla="*/ 10177606 w 13768337"/>
              <a:gd name="connsiteY7521" fmla="*/ 1011215 h 5071335"/>
              <a:gd name="connsiteX7522" fmla="*/ 10144242 w 13768337"/>
              <a:gd name="connsiteY7522" fmla="*/ 1007871 h 5071335"/>
              <a:gd name="connsiteX7523" fmla="*/ 10187338 w 13768337"/>
              <a:gd name="connsiteY7523" fmla="*/ 1030726 h 5071335"/>
              <a:gd name="connsiteX7524" fmla="*/ 10309674 w 13768337"/>
              <a:gd name="connsiteY7524" fmla="*/ 1095390 h 5071335"/>
              <a:gd name="connsiteX7525" fmla="*/ 10334234 w 13768337"/>
              <a:gd name="connsiteY7525" fmla="*/ 1089815 h 5071335"/>
              <a:gd name="connsiteX7526" fmla="*/ 10410324 w 13768337"/>
              <a:gd name="connsiteY7526" fmla="*/ 1169312 h 5071335"/>
              <a:gd name="connsiteX7527" fmla="*/ 10450359 w 13768337"/>
              <a:gd name="connsiteY7527" fmla="*/ 1223690 h 5071335"/>
              <a:gd name="connsiteX7528" fmla="*/ 10468969 w 13768337"/>
              <a:gd name="connsiteY7528" fmla="*/ 1215623 h 5071335"/>
              <a:gd name="connsiteX7529" fmla="*/ 10478476 w 13768337"/>
              <a:gd name="connsiteY7529" fmla="*/ 1194838 h 5071335"/>
              <a:gd name="connsiteX7530" fmla="*/ 10486816 w 13768337"/>
              <a:gd name="connsiteY7530" fmla="*/ 1227170 h 5071335"/>
              <a:gd name="connsiteX7531" fmla="*/ 10471988 w 13768337"/>
              <a:gd name="connsiteY7531" fmla="*/ 1215046 h 5071335"/>
              <a:gd name="connsiteX7532" fmla="*/ 10460280 w 13768337"/>
              <a:gd name="connsiteY7532" fmla="*/ 1231963 h 5071335"/>
              <a:gd name="connsiteX7533" fmla="*/ 10457619 w 13768337"/>
              <a:gd name="connsiteY7533" fmla="*/ 1233551 h 5071335"/>
              <a:gd name="connsiteX7534" fmla="*/ 10474815 w 13768337"/>
              <a:gd name="connsiteY7534" fmla="*/ 1256909 h 5071335"/>
              <a:gd name="connsiteX7535" fmla="*/ 10482785 w 13768337"/>
              <a:gd name="connsiteY7535" fmla="*/ 1273772 h 5071335"/>
              <a:gd name="connsiteX7536" fmla="*/ 10485426 w 13768337"/>
              <a:gd name="connsiteY7536" fmla="*/ 1273020 h 5071335"/>
              <a:gd name="connsiteX7537" fmla="*/ 10486070 w 13768337"/>
              <a:gd name="connsiteY7537" fmla="*/ 1280722 h 5071335"/>
              <a:gd name="connsiteX7538" fmla="*/ 10491792 w 13768337"/>
              <a:gd name="connsiteY7538" fmla="*/ 1292830 h 5071335"/>
              <a:gd name="connsiteX7539" fmla="*/ 10494456 w 13768337"/>
              <a:gd name="connsiteY7539" fmla="*/ 1292491 h 5071335"/>
              <a:gd name="connsiteX7540" fmla="*/ 10504426 w 13768337"/>
              <a:gd name="connsiteY7540" fmla="*/ 1283751 h 5071335"/>
              <a:gd name="connsiteX7541" fmla="*/ 10537789 w 13768337"/>
              <a:gd name="connsiteY7541" fmla="*/ 1305352 h 5071335"/>
              <a:gd name="connsiteX7542" fmla="*/ 10560496 w 13768337"/>
              <a:gd name="connsiteY7542" fmla="*/ 1297408 h 5071335"/>
              <a:gd name="connsiteX7543" fmla="*/ 10600812 w 13768337"/>
              <a:gd name="connsiteY7543" fmla="*/ 1293227 h 5071335"/>
              <a:gd name="connsiteX7544" fmla="*/ 10664296 w 13768337"/>
              <a:gd name="connsiteY7544" fmla="*/ 1291695 h 5071335"/>
              <a:gd name="connsiteX7545" fmla="*/ 10667540 w 13768337"/>
              <a:gd name="connsiteY7545" fmla="*/ 1280127 h 5071335"/>
              <a:gd name="connsiteX7546" fmla="*/ 10753732 w 13768337"/>
              <a:gd name="connsiteY7546" fmla="*/ 1265076 h 5071335"/>
              <a:gd name="connsiteX7547" fmla="*/ 10774122 w 13768337"/>
              <a:gd name="connsiteY7547" fmla="*/ 1283751 h 5071335"/>
              <a:gd name="connsiteX7548" fmla="*/ 10803316 w 13768337"/>
              <a:gd name="connsiteY7548" fmla="*/ 1269257 h 5071335"/>
              <a:gd name="connsiteX7549" fmla="*/ 10828338 w 13768337"/>
              <a:gd name="connsiteY7549" fmla="*/ 1282497 h 5071335"/>
              <a:gd name="connsiteX7550" fmla="*/ 10873287 w 13768337"/>
              <a:gd name="connsiteY7550" fmla="*/ 1275807 h 5071335"/>
              <a:gd name="connsiteX7551" fmla="*/ 10897384 w 13768337"/>
              <a:gd name="connsiteY7551" fmla="*/ 1285283 h 5071335"/>
              <a:gd name="connsiteX7552" fmla="*/ 10922870 w 13768337"/>
              <a:gd name="connsiteY7552" fmla="*/ 1275807 h 5071335"/>
              <a:gd name="connsiteX7553" fmla="*/ 10956234 w 13768337"/>
              <a:gd name="connsiteY7553" fmla="*/ 1289464 h 5071335"/>
              <a:gd name="connsiteX7554" fmla="*/ 11029915 w 13768337"/>
              <a:gd name="connsiteY7554" fmla="*/ 1286677 h 5071335"/>
              <a:gd name="connsiteX7555" fmla="*/ 11034549 w 13768337"/>
              <a:gd name="connsiteY7555" fmla="*/ 1306885 h 5071335"/>
              <a:gd name="connsiteX7556" fmla="*/ 11098496 w 13768337"/>
              <a:gd name="connsiteY7556" fmla="*/ 1301589 h 5071335"/>
              <a:gd name="connsiteX7557" fmla="*/ 11084131 w 13768337"/>
              <a:gd name="connsiteY7557" fmla="*/ 1278733 h 5071335"/>
              <a:gd name="connsiteX7558" fmla="*/ 11168932 w 13768337"/>
              <a:gd name="connsiteY7558" fmla="*/ 1287931 h 5071335"/>
              <a:gd name="connsiteX7559" fmla="*/ 11141593 w 13768337"/>
              <a:gd name="connsiteY7559" fmla="*/ 1261314 h 5071335"/>
              <a:gd name="connsiteX7560" fmla="*/ 11090155 w 13768337"/>
              <a:gd name="connsiteY7560" fmla="*/ 1273020 h 5071335"/>
              <a:gd name="connsiteX7561" fmla="*/ 11250027 w 13768337"/>
              <a:gd name="connsiteY7561" fmla="*/ 1232744 h 5071335"/>
              <a:gd name="connsiteX7562" fmla="*/ 11155494 w 13768337"/>
              <a:gd name="connsiteY7562" fmla="*/ 1207520 h 5071335"/>
              <a:gd name="connsiteX7563" fmla="*/ 11117033 w 13768337"/>
              <a:gd name="connsiteY7563" fmla="*/ 1227728 h 5071335"/>
              <a:gd name="connsiteX7564" fmla="*/ 11109617 w 13768337"/>
              <a:gd name="connsiteY7564" fmla="*/ 1203339 h 5071335"/>
              <a:gd name="connsiteX7565" fmla="*/ 11037791 w 13768337"/>
              <a:gd name="connsiteY7565" fmla="*/ 1234278 h 5071335"/>
              <a:gd name="connsiteX7566" fmla="*/ 11003965 w 13768337"/>
              <a:gd name="connsiteY7566" fmla="*/ 1229121 h 5071335"/>
              <a:gd name="connsiteX7567" fmla="*/ 11013696 w 13768337"/>
              <a:gd name="connsiteY7567" fmla="*/ 1219784 h 5071335"/>
              <a:gd name="connsiteX7568" fmla="*/ 10971990 w 13768337"/>
              <a:gd name="connsiteY7568" fmla="*/ 1227728 h 5071335"/>
              <a:gd name="connsiteX7569" fmla="*/ 10911749 w 13768337"/>
              <a:gd name="connsiteY7569" fmla="*/ 1235671 h 5071335"/>
              <a:gd name="connsiteX7570" fmla="*/ 10824168 w 13768337"/>
              <a:gd name="connsiteY7570" fmla="*/ 1239852 h 5071335"/>
              <a:gd name="connsiteX7571" fmla="*/ 10815827 w 13768337"/>
              <a:gd name="connsiteY7571" fmla="*/ 1223546 h 5071335"/>
              <a:gd name="connsiteX7572" fmla="*/ 10726390 w 13768337"/>
              <a:gd name="connsiteY7572" fmla="*/ 1223546 h 5071335"/>
              <a:gd name="connsiteX7573" fmla="*/ 10800071 w 13768337"/>
              <a:gd name="connsiteY7573" fmla="*/ 1200970 h 5071335"/>
              <a:gd name="connsiteX7574" fmla="*/ 10792194 w 13768337"/>
              <a:gd name="connsiteY7574" fmla="*/ 1190378 h 5071335"/>
              <a:gd name="connsiteX7575" fmla="*/ 10769487 w 13768337"/>
              <a:gd name="connsiteY7575" fmla="*/ 1187452 h 5071335"/>
              <a:gd name="connsiteX7576" fmla="*/ 10727782 w 13768337"/>
              <a:gd name="connsiteY7576" fmla="*/ 1195396 h 5071335"/>
              <a:gd name="connsiteX7577" fmla="*/ 10687002 w 13768337"/>
              <a:gd name="connsiteY7577" fmla="*/ 1226194 h 5071335"/>
              <a:gd name="connsiteX7578" fmla="*/ 10670785 w 13768337"/>
              <a:gd name="connsiteY7578" fmla="*/ 1211422 h 5071335"/>
              <a:gd name="connsiteX7579" fmla="*/ 10820924 w 13768337"/>
              <a:gd name="connsiteY7579" fmla="*/ 1171425 h 5071335"/>
              <a:gd name="connsiteX7580" fmla="*/ 10846410 w 13768337"/>
              <a:gd name="connsiteY7580" fmla="*/ 1172540 h 5071335"/>
              <a:gd name="connsiteX7581" fmla="*/ 10866800 w 13768337"/>
              <a:gd name="connsiteY7581" fmla="*/ 1191633 h 5071335"/>
              <a:gd name="connsiteX7582" fmla="*/ 10879311 w 13768337"/>
              <a:gd name="connsiteY7582" fmla="*/ 1173794 h 5071335"/>
              <a:gd name="connsiteX7583" fmla="*/ 10889507 w 13768337"/>
              <a:gd name="connsiteY7583" fmla="*/ 1185919 h 5071335"/>
              <a:gd name="connsiteX7584" fmla="*/ 10908505 w 13768337"/>
              <a:gd name="connsiteY7584" fmla="*/ 1167245 h 5071335"/>
              <a:gd name="connsiteX7585" fmla="*/ 10914529 w 13768337"/>
              <a:gd name="connsiteY7585" fmla="*/ 1175328 h 5071335"/>
              <a:gd name="connsiteX7586" fmla="*/ 11023428 w 13768337"/>
              <a:gd name="connsiteY7586" fmla="*/ 1158047 h 5071335"/>
              <a:gd name="connsiteX7587" fmla="*/ 11117033 w 13768337"/>
              <a:gd name="connsiteY7587" fmla="*/ 1159300 h 5071335"/>
              <a:gd name="connsiteX7588" fmla="*/ 11161981 w 13768337"/>
              <a:gd name="connsiteY7588" fmla="*/ 1155120 h 5071335"/>
              <a:gd name="connsiteX7589" fmla="*/ 11178201 w 13768337"/>
              <a:gd name="connsiteY7589" fmla="*/ 1141462 h 5071335"/>
              <a:gd name="connsiteX7590" fmla="*/ 11171249 w 13768337"/>
              <a:gd name="connsiteY7590" fmla="*/ 1129895 h 5071335"/>
              <a:gd name="connsiteX7591" fmla="*/ 11193956 w 13768337"/>
              <a:gd name="connsiteY7591" fmla="*/ 1132265 h 5071335"/>
              <a:gd name="connsiteX7592" fmla="*/ 11329729 w 13768337"/>
              <a:gd name="connsiteY7592" fmla="*/ 1133659 h 5071335"/>
              <a:gd name="connsiteX7593" fmla="*/ 11317218 w 13768337"/>
              <a:gd name="connsiteY7593" fmla="*/ 1141462 h 5071335"/>
              <a:gd name="connsiteX7594" fmla="*/ 11313512 w 13768337"/>
              <a:gd name="connsiteY7594" fmla="*/ 1151497 h 5071335"/>
              <a:gd name="connsiteX7595" fmla="*/ 11321853 w 13768337"/>
              <a:gd name="connsiteY7595" fmla="*/ 1150104 h 5071335"/>
              <a:gd name="connsiteX7596" fmla="*/ 11325097 w 13768337"/>
              <a:gd name="connsiteY7596" fmla="*/ 1165850 h 5071335"/>
              <a:gd name="connsiteX7597" fmla="*/ 11409897 w 13768337"/>
              <a:gd name="connsiteY7597" fmla="*/ 1159300 h 5071335"/>
              <a:gd name="connsiteX7598" fmla="*/ 11401093 w 13768337"/>
              <a:gd name="connsiteY7598" fmla="*/ 1155120 h 5071335"/>
              <a:gd name="connsiteX7599" fmla="*/ 11403872 w 13768337"/>
              <a:gd name="connsiteY7599" fmla="*/ 1154284 h 5071335"/>
              <a:gd name="connsiteX7600" fmla="*/ 11422873 w 13768337"/>
              <a:gd name="connsiteY7600" fmla="*/ 1137003 h 5071335"/>
              <a:gd name="connsiteX7601" fmla="*/ 11424725 w 13768337"/>
              <a:gd name="connsiteY7601" fmla="*/ 1146201 h 5071335"/>
              <a:gd name="connsiteX7602" fmla="*/ 11498869 w 13768337"/>
              <a:gd name="connsiteY7602" fmla="*/ 1142996 h 5071335"/>
              <a:gd name="connsiteX7603" fmla="*/ 11509990 w 13768337"/>
              <a:gd name="connsiteY7603" fmla="*/ 1126968 h 5071335"/>
              <a:gd name="connsiteX7604" fmla="*/ 11521114 w 13768337"/>
              <a:gd name="connsiteY7604" fmla="*/ 1150104 h 5071335"/>
              <a:gd name="connsiteX7605" fmla="*/ 11543818 w 13768337"/>
              <a:gd name="connsiteY7605" fmla="*/ 1154284 h 5071335"/>
              <a:gd name="connsiteX7606" fmla="*/ 11554477 w 13768337"/>
              <a:gd name="connsiteY7606" fmla="*/ 1171425 h 5071335"/>
              <a:gd name="connsiteX7607" fmla="*/ 11586451 w 13768337"/>
              <a:gd name="connsiteY7607" fmla="*/ 1152333 h 5071335"/>
              <a:gd name="connsiteX7608" fmla="*/ 11573939 w 13768337"/>
              <a:gd name="connsiteY7608" fmla="*/ 1158047 h 5071335"/>
              <a:gd name="connsiteX7609" fmla="*/ 11575330 w 13768337"/>
              <a:gd name="connsiteY7609" fmla="*/ 1190378 h 5071335"/>
              <a:gd name="connsiteX7610" fmla="*/ 11597572 w 13768337"/>
              <a:gd name="connsiteY7610" fmla="*/ 1183271 h 5071335"/>
              <a:gd name="connsiteX7611" fmla="*/ 11601279 w 13768337"/>
              <a:gd name="connsiteY7611" fmla="*/ 1191633 h 5071335"/>
              <a:gd name="connsiteX7612" fmla="*/ 11583208 w 13768337"/>
              <a:gd name="connsiteY7612" fmla="*/ 1229121 h 5071335"/>
              <a:gd name="connsiteX7613" fmla="*/ 11587841 w 13768337"/>
              <a:gd name="connsiteY7613" fmla="*/ 1245008 h 5071335"/>
              <a:gd name="connsiteX7614" fmla="*/ 11601279 w 13768337"/>
              <a:gd name="connsiteY7614" fmla="*/ 1239852 h 5071335"/>
              <a:gd name="connsiteX7615" fmla="*/ 11613791 w 13768337"/>
              <a:gd name="connsiteY7615" fmla="*/ 1250583 h 5071335"/>
              <a:gd name="connsiteX7616" fmla="*/ 11615182 w 13768337"/>
              <a:gd name="connsiteY7616" fmla="*/ 1282497 h 5071335"/>
              <a:gd name="connsiteX7617" fmla="*/ 11602206 w 13768337"/>
              <a:gd name="connsiteY7617" fmla="*/ 1283751 h 5071335"/>
              <a:gd name="connsiteX7618" fmla="*/ 11594329 w 13768337"/>
              <a:gd name="connsiteY7618" fmla="*/ 1317476 h 5071335"/>
              <a:gd name="connsiteX7619" fmla="*/ 11610548 w 13768337"/>
              <a:gd name="connsiteY7619" fmla="*/ 1316083 h 5071335"/>
              <a:gd name="connsiteX7620" fmla="*/ 11612402 w 13768337"/>
              <a:gd name="connsiteY7620" fmla="*/ 1344234 h 5071335"/>
              <a:gd name="connsiteX7621" fmla="*/ 11590622 w 13768337"/>
              <a:gd name="connsiteY7621" fmla="*/ 1345627 h 5071335"/>
              <a:gd name="connsiteX7622" fmla="*/ 11624913 w 13768337"/>
              <a:gd name="connsiteY7622" fmla="*/ 1358170 h 5071335"/>
              <a:gd name="connsiteX7623" fmla="*/ 11600816 w 13768337"/>
              <a:gd name="connsiteY7623" fmla="*/ 1364302 h 5071335"/>
              <a:gd name="connsiteX7624" fmla="*/ 11619816 w 13768337"/>
              <a:gd name="connsiteY7624" fmla="*/ 1377401 h 5071335"/>
              <a:gd name="connsiteX7625" fmla="*/ 11642059 w 13768337"/>
              <a:gd name="connsiteY7625" fmla="*/ 1382140 h 5071335"/>
              <a:gd name="connsiteX7626" fmla="*/ 11639279 w 13768337"/>
              <a:gd name="connsiteY7626" fmla="*/ 1388132 h 5071335"/>
              <a:gd name="connsiteX7627" fmla="*/ 11699519 w 13768337"/>
              <a:gd name="connsiteY7627" fmla="*/ 1356916 h 5071335"/>
              <a:gd name="connsiteX7628" fmla="*/ 11723615 w 13768337"/>
              <a:gd name="connsiteY7628" fmla="*/ 1348972 h 5071335"/>
              <a:gd name="connsiteX7629" fmla="*/ 11810734 w 13768337"/>
              <a:gd name="connsiteY7629" fmla="*/ 1350784 h 5071335"/>
              <a:gd name="connsiteX7630" fmla="*/ 11792197 w 13768337"/>
              <a:gd name="connsiteY7630" fmla="*/ 1367088 h 5071335"/>
              <a:gd name="connsiteX7631" fmla="*/ 11801929 w 13768337"/>
              <a:gd name="connsiteY7631" fmla="*/ 1391895 h 5071335"/>
              <a:gd name="connsiteX7632" fmla="*/ 11967825 w 13768337"/>
              <a:gd name="connsiteY7632" fmla="*/ 1381582 h 5071335"/>
              <a:gd name="connsiteX7633" fmla="*/ 12061430 w 13768337"/>
              <a:gd name="connsiteY7633" fmla="*/ 1398445 h 5071335"/>
              <a:gd name="connsiteX7634" fmla="*/ 11848270 w 13768337"/>
              <a:gd name="connsiteY7634" fmla="*/ 1397051 h 5071335"/>
              <a:gd name="connsiteX7635" fmla="*/ 11797296 w 13768337"/>
              <a:gd name="connsiteY7635" fmla="*/ 1387714 h 5071335"/>
              <a:gd name="connsiteX7636" fmla="*/ 11757907 w 13768337"/>
              <a:gd name="connsiteY7636" fmla="*/ 1399978 h 5071335"/>
              <a:gd name="connsiteX7637" fmla="*/ 11731957 w 13768337"/>
              <a:gd name="connsiteY7637" fmla="*/ 1388690 h 5071335"/>
              <a:gd name="connsiteX7638" fmla="*/ 11723615 w 13768337"/>
              <a:gd name="connsiteY7638" fmla="*/ 1393707 h 5071335"/>
              <a:gd name="connsiteX7639" fmla="*/ 11722226 w 13768337"/>
              <a:gd name="connsiteY7639" fmla="*/ 1418931 h 5071335"/>
              <a:gd name="connsiteX7640" fmla="*/ 11703691 w 13768337"/>
              <a:gd name="connsiteY7640" fmla="*/ 1410013 h 5071335"/>
              <a:gd name="connsiteX7641" fmla="*/ 11631400 w 13768337"/>
              <a:gd name="connsiteY7641" fmla="*/ 1397609 h 5071335"/>
              <a:gd name="connsiteX7642" fmla="*/ 11634181 w 13768337"/>
              <a:gd name="connsiteY7642" fmla="*/ 1413914 h 5071335"/>
              <a:gd name="connsiteX7643" fmla="*/ 11649935 w 13768337"/>
              <a:gd name="connsiteY7643" fmla="*/ 1424645 h 5071335"/>
              <a:gd name="connsiteX7644" fmla="*/ 11652253 w 13768337"/>
              <a:gd name="connsiteY7644" fmla="*/ 1432589 h 5071335"/>
              <a:gd name="connsiteX7645" fmla="*/ 11636034 w 13768337"/>
              <a:gd name="connsiteY7645" fmla="*/ 1454190 h 5071335"/>
              <a:gd name="connsiteX7646" fmla="*/ 11591085 w 13768337"/>
              <a:gd name="connsiteY7646" fmla="*/ 1462552 h 5071335"/>
              <a:gd name="connsiteX7647" fmla="*/ 11610548 w 13768337"/>
              <a:gd name="connsiteY7647" fmla="*/ 1464921 h 5071335"/>
              <a:gd name="connsiteX7648" fmla="*/ 11615182 w 13768337"/>
              <a:gd name="connsiteY7648" fmla="*/ 1480808 h 5071335"/>
              <a:gd name="connsiteX7649" fmla="*/ 11634644 w 13768337"/>
              <a:gd name="connsiteY7649" fmla="*/ 1479972 h 5071335"/>
              <a:gd name="connsiteX7650" fmla="*/ 11635107 w 13768337"/>
              <a:gd name="connsiteY7650" fmla="*/ 1480808 h 5071335"/>
              <a:gd name="connsiteX7651" fmla="*/ 11646693 w 13768337"/>
              <a:gd name="connsiteY7651" fmla="*/ 1479972 h 5071335"/>
              <a:gd name="connsiteX7652" fmla="*/ 11659666 w 13768337"/>
              <a:gd name="connsiteY7652" fmla="*/ 1477882 h 5071335"/>
              <a:gd name="connsiteX7653" fmla="*/ 11660131 w 13768337"/>
              <a:gd name="connsiteY7653" fmla="*/ 1478439 h 5071335"/>
              <a:gd name="connsiteX7654" fmla="*/ 11661983 w 13768337"/>
              <a:gd name="connsiteY7654" fmla="*/ 1478439 h 5071335"/>
              <a:gd name="connsiteX7655" fmla="*/ 11670325 w 13768337"/>
              <a:gd name="connsiteY7655" fmla="*/ 1470077 h 5071335"/>
              <a:gd name="connsiteX7656" fmla="*/ 11700909 w 13768337"/>
              <a:gd name="connsiteY7656" fmla="*/ 1474676 h 5071335"/>
              <a:gd name="connsiteX7657" fmla="*/ 11720836 w 13768337"/>
              <a:gd name="connsiteY7657" fmla="*/ 1472864 h 5071335"/>
              <a:gd name="connsiteX7658" fmla="*/ 11718981 w 13768337"/>
              <a:gd name="connsiteY7658" fmla="*/ 1477602 h 5071335"/>
              <a:gd name="connsiteX7659" fmla="*/ 11727785 w 13768337"/>
              <a:gd name="connsiteY7659" fmla="*/ 1478856 h 5071335"/>
              <a:gd name="connsiteX7660" fmla="*/ 11731957 w 13768337"/>
              <a:gd name="connsiteY7660" fmla="*/ 1477602 h 5071335"/>
              <a:gd name="connsiteX7661" fmla="*/ 11731494 w 13768337"/>
              <a:gd name="connsiteY7661" fmla="*/ 1479414 h 5071335"/>
              <a:gd name="connsiteX7662" fmla="*/ 11739834 w 13768337"/>
              <a:gd name="connsiteY7662" fmla="*/ 1480808 h 5071335"/>
              <a:gd name="connsiteX7663" fmla="*/ 11730567 w 13768337"/>
              <a:gd name="connsiteY7663" fmla="*/ 1482341 h 5071335"/>
              <a:gd name="connsiteX7664" fmla="*/ 11730567 w 13768337"/>
              <a:gd name="connsiteY7664" fmla="*/ 1492096 h 5071335"/>
              <a:gd name="connsiteX7665" fmla="*/ 11739834 w 13768337"/>
              <a:gd name="connsiteY7665" fmla="*/ 1495301 h 5071335"/>
              <a:gd name="connsiteX7666" fmla="*/ 11736127 w 13768337"/>
              <a:gd name="connsiteY7666" fmla="*/ 1496695 h 5071335"/>
              <a:gd name="connsiteX7667" fmla="*/ 11755590 w 13768337"/>
              <a:gd name="connsiteY7667" fmla="*/ 1526797 h 5071335"/>
              <a:gd name="connsiteX7668" fmla="*/ 11809345 w 13768337"/>
              <a:gd name="connsiteY7668" fmla="*/ 1523870 h 5071335"/>
              <a:gd name="connsiteX7669" fmla="*/ 11816758 w 13768337"/>
              <a:gd name="connsiteY7669" fmla="*/ 1544356 h 5071335"/>
              <a:gd name="connsiteX7670" fmla="*/ 11805636 w 13768337"/>
              <a:gd name="connsiteY7670" fmla="*/ 1498646 h 5071335"/>
              <a:gd name="connsiteX7671" fmla="*/ 11819539 w 13768337"/>
              <a:gd name="connsiteY7671" fmla="*/ 1501016 h 5071335"/>
              <a:gd name="connsiteX7672" fmla="*/ 11843171 w 13768337"/>
              <a:gd name="connsiteY7672" fmla="*/ 1492096 h 5071335"/>
              <a:gd name="connsiteX7673" fmla="*/ 11834367 w 13768337"/>
              <a:gd name="connsiteY7673" fmla="*/ 1503384 h 5071335"/>
              <a:gd name="connsiteX7674" fmla="*/ 11856609 w 13768337"/>
              <a:gd name="connsiteY7674" fmla="*/ 1518714 h 5071335"/>
              <a:gd name="connsiteX7675" fmla="*/ 11883023 w 13768337"/>
              <a:gd name="connsiteY7675" fmla="*/ 1507844 h 5071335"/>
              <a:gd name="connsiteX7676" fmla="*/ 11968752 w 13768337"/>
              <a:gd name="connsiteY7676" fmla="*/ 1549653 h 5071335"/>
              <a:gd name="connsiteX7677" fmla="*/ 11991457 w 13768337"/>
              <a:gd name="connsiteY7677" fmla="*/ 1519132 h 5071335"/>
              <a:gd name="connsiteX7678" fmla="*/ 11966898 w 13768337"/>
              <a:gd name="connsiteY7678" fmla="*/ 1503384 h 5071335"/>
              <a:gd name="connsiteX7679" fmla="*/ 11952070 w 13768337"/>
              <a:gd name="connsiteY7679" fmla="*/ 1491538 h 5071335"/>
              <a:gd name="connsiteX7680" fmla="*/ 11969215 w 13768337"/>
              <a:gd name="connsiteY7680" fmla="*/ 1494743 h 5071335"/>
              <a:gd name="connsiteX7681" fmla="*/ 12016016 w 13768337"/>
              <a:gd name="connsiteY7681" fmla="*/ 1494743 h 5071335"/>
              <a:gd name="connsiteX7682" fmla="*/ 12001653 w 13768337"/>
              <a:gd name="connsiteY7682" fmla="*/ 1427851 h 5071335"/>
              <a:gd name="connsiteX7683" fmla="*/ 12041968 w 13768337"/>
              <a:gd name="connsiteY7683" fmla="*/ 1512582 h 5071335"/>
              <a:gd name="connsiteX7684" fmla="*/ 12023432 w 13768337"/>
              <a:gd name="connsiteY7684" fmla="*/ 1498925 h 5071335"/>
              <a:gd name="connsiteX7685" fmla="*/ 12035944 w 13768337"/>
              <a:gd name="connsiteY7685" fmla="*/ 1528609 h 5071335"/>
              <a:gd name="connsiteX7686" fmla="*/ 12095259 w 13768337"/>
              <a:gd name="connsiteY7686" fmla="*/ 1535437 h 5071335"/>
              <a:gd name="connsiteX7687" fmla="*/ 12059113 w 13768337"/>
              <a:gd name="connsiteY7687" fmla="*/ 1504639 h 5071335"/>
              <a:gd name="connsiteX7688" fmla="*/ 12076722 w 13768337"/>
              <a:gd name="connsiteY7688" fmla="*/ 1485546 h 5071335"/>
              <a:gd name="connsiteX7689" fmla="*/ 12053552 w 13768337"/>
              <a:gd name="connsiteY7689" fmla="*/ 1430777 h 5071335"/>
              <a:gd name="connsiteX7690" fmla="*/ 12098501 w 13768337"/>
              <a:gd name="connsiteY7690" fmla="*/ 1477882 h 5071335"/>
              <a:gd name="connsiteX7691" fmla="*/ 12148084 w 13768337"/>
              <a:gd name="connsiteY7691" fmla="*/ 1554669 h 5071335"/>
              <a:gd name="connsiteX7692" fmla="*/ 12163378 w 13768337"/>
              <a:gd name="connsiteY7692" fmla="*/ 1548119 h 5071335"/>
              <a:gd name="connsiteX7693" fmla="*/ 12170791 w 13768337"/>
              <a:gd name="connsiteY7693" fmla="*/ 1541569 h 5071335"/>
              <a:gd name="connsiteX7694" fmla="*/ 12143451 w 13768337"/>
              <a:gd name="connsiteY7694" fmla="*/ 1460182 h 5071335"/>
              <a:gd name="connsiteX7695" fmla="*/ 12174034 w 13768337"/>
              <a:gd name="connsiteY7695" fmla="*/ 1461298 h 5071335"/>
              <a:gd name="connsiteX7696" fmla="*/ 12182376 w 13768337"/>
              <a:gd name="connsiteY7696" fmla="*/ 1492514 h 5071335"/>
              <a:gd name="connsiteX7697" fmla="*/ 12203228 w 13768337"/>
              <a:gd name="connsiteY7697" fmla="*/ 1500040 h 5071335"/>
              <a:gd name="connsiteX7698" fmla="*/ 12212959 w 13768337"/>
              <a:gd name="connsiteY7698" fmla="*/ 1482341 h 5071335"/>
              <a:gd name="connsiteX7699" fmla="*/ 12304247 w 13768337"/>
              <a:gd name="connsiteY7699" fmla="*/ 1495301 h 5071335"/>
              <a:gd name="connsiteX7700" fmla="*/ 12334834 w 13768337"/>
              <a:gd name="connsiteY7700" fmla="*/ 1492096 h 5071335"/>
              <a:gd name="connsiteX7701" fmla="*/ 12384415 w 13768337"/>
              <a:gd name="connsiteY7701" fmla="*/ 1515927 h 5071335"/>
              <a:gd name="connsiteX7702" fmla="*/ 12496092 w 13768337"/>
              <a:gd name="connsiteY7702" fmla="*/ 1563588 h 5071335"/>
              <a:gd name="connsiteX7703" fmla="*/ 12514630 w 13768337"/>
              <a:gd name="connsiteY7703" fmla="*/ 1555227 h 5071335"/>
              <a:gd name="connsiteX7704" fmla="*/ 12752350 w 13768337"/>
              <a:gd name="connsiteY7704" fmla="*/ 1914221 h 5071335"/>
              <a:gd name="connsiteX7705" fmla="*/ 12767179 w 13768337"/>
              <a:gd name="connsiteY7705" fmla="*/ 1900983 h 5071335"/>
              <a:gd name="connsiteX7706" fmla="*/ 12773665 w 13768337"/>
              <a:gd name="connsiteY7706" fmla="*/ 1927183 h 5071335"/>
              <a:gd name="connsiteX7707" fmla="*/ 12808420 w 13768337"/>
              <a:gd name="connsiteY7707" fmla="*/ 1977631 h 5071335"/>
              <a:gd name="connsiteX7708" fmla="*/ 12820005 w 13768337"/>
              <a:gd name="connsiteY7708" fmla="*/ 1977631 h 5071335"/>
              <a:gd name="connsiteX7709" fmla="*/ 12809811 w 13768337"/>
              <a:gd name="connsiteY7709" fmla="*/ 1985715 h 5071335"/>
              <a:gd name="connsiteX7710" fmla="*/ 12813982 w 13768337"/>
              <a:gd name="connsiteY7710" fmla="*/ 2011775 h 5071335"/>
              <a:gd name="connsiteX7711" fmla="*/ 12813982 w 13768337"/>
              <a:gd name="connsiteY7711" fmla="*/ 2012890 h 5071335"/>
              <a:gd name="connsiteX7712" fmla="*/ 12863103 w 13768337"/>
              <a:gd name="connsiteY7712" fmla="*/ 2002019 h 5071335"/>
              <a:gd name="connsiteX7713" fmla="*/ 12851981 w 13768337"/>
              <a:gd name="connsiteY7713" fmla="*/ 1983346 h 5071335"/>
              <a:gd name="connsiteX7714" fmla="*/ 12869588 w 13768337"/>
              <a:gd name="connsiteY7714" fmla="*/ 1993936 h 5071335"/>
              <a:gd name="connsiteX7715" fmla="*/ 12870978 w 13768337"/>
              <a:gd name="connsiteY7715" fmla="*/ 1981812 h 5071335"/>
              <a:gd name="connsiteX7716" fmla="*/ 12934463 w 13768337"/>
              <a:gd name="connsiteY7716" fmla="*/ 2028638 h 5071335"/>
              <a:gd name="connsiteX7717" fmla="*/ 12980805 w 13768337"/>
              <a:gd name="connsiteY7717" fmla="*/ 2032819 h 5071335"/>
              <a:gd name="connsiteX7718" fmla="*/ 12988680 w 13768337"/>
              <a:gd name="connsiteY7718" fmla="*/ 2015120 h 5071335"/>
              <a:gd name="connsiteX7719" fmla="*/ 13030386 w 13768337"/>
              <a:gd name="connsiteY7719" fmla="*/ 2011357 h 5071335"/>
              <a:gd name="connsiteX7720" fmla="*/ 13035020 w 13768337"/>
              <a:gd name="connsiteY7720" fmla="*/ 2027383 h 5071335"/>
              <a:gd name="connsiteX7721" fmla="*/ 13045215 w 13768337"/>
              <a:gd name="connsiteY7721" fmla="*/ 2019718 h 5071335"/>
              <a:gd name="connsiteX7722" fmla="*/ 13046141 w 13768337"/>
              <a:gd name="connsiteY7722" fmla="*/ 2018883 h 5071335"/>
              <a:gd name="connsiteX7723" fmla="*/ 13047531 w 13768337"/>
              <a:gd name="connsiteY7723" fmla="*/ 2021252 h 5071335"/>
              <a:gd name="connsiteX7724" fmla="*/ 13048459 w 13768337"/>
              <a:gd name="connsiteY7724" fmla="*/ 2022087 h 5071335"/>
              <a:gd name="connsiteX7725" fmla="*/ 13062362 w 13768337"/>
              <a:gd name="connsiteY7725" fmla="*/ 2004946 h 5071335"/>
              <a:gd name="connsiteX7726" fmla="*/ 13070238 w 13768337"/>
              <a:gd name="connsiteY7726" fmla="*/ 2026268 h 5071335"/>
              <a:gd name="connsiteX7727" fmla="*/ 13071166 w 13768337"/>
              <a:gd name="connsiteY7727" fmla="*/ 2028358 h 5071335"/>
              <a:gd name="connsiteX7728" fmla="*/ 13092945 w 13768337"/>
              <a:gd name="connsiteY7728" fmla="*/ 2014144 h 5071335"/>
              <a:gd name="connsiteX7729" fmla="*/ 13100822 w 13768337"/>
              <a:gd name="connsiteY7729" fmla="*/ 2025990 h 5071335"/>
              <a:gd name="connsiteX7730" fmla="*/ 13139747 w 13768337"/>
              <a:gd name="connsiteY7730" fmla="*/ 2028358 h 5071335"/>
              <a:gd name="connsiteX7731" fmla="*/ 13134188 w 13768337"/>
              <a:gd name="connsiteY7731" fmla="*/ 2017907 h 5071335"/>
              <a:gd name="connsiteX7732" fmla="*/ 13148551 w 13768337"/>
              <a:gd name="connsiteY7732" fmla="*/ 2029614 h 5071335"/>
              <a:gd name="connsiteX7733" fmla="*/ 13165233 w 13768337"/>
              <a:gd name="connsiteY7733" fmla="*/ 2040762 h 5071335"/>
              <a:gd name="connsiteX7734" fmla="*/ 13177744 w 13768337"/>
              <a:gd name="connsiteY7734" fmla="*/ 2037139 h 5071335"/>
              <a:gd name="connsiteX7735" fmla="*/ 13206939 w 13768337"/>
              <a:gd name="connsiteY7735" fmla="*/ 2038951 h 5071335"/>
              <a:gd name="connsiteX7736" fmla="*/ 13240305 w 13768337"/>
              <a:gd name="connsiteY7736" fmla="*/ 2038114 h 5071335"/>
              <a:gd name="connsiteX7737" fmla="*/ 13246791 w 13768337"/>
              <a:gd name="connsiteY7737" fmla="*/ 2050239 h 5071335"/>
              <a:gd name="connsiteX7738" fmla="*/ 13391833 w 13768337"/>
              <a:gd name="connsiteY7738" fmla="*/ 2069470 h 5071335"/>
              <a:gd name="connsiteX7739" fmla="*/ 13380713 w 13768337"/>
              <a:gd name="connsiteY7739" fmla="*/ 2087309 h 5071335"/>
              <a:gd name="connsiteX7740" fmla="*/ 13391833 w 13768337"/>
              <a:gd name="connsiteY7740" fmla="*/ 2102220 h 5071335"/>
              <a:gd name="connsiteX7741" fmla="*/ 13393225 w 13768337"/>
              <a:gd name="connsiteY7741" fmla="*/ 2089957 h 5071335"/>
              <a:gd name="connsiteX7742" fmla="*/ 13423344 w 13768337"/>
              <a:gd name="connsiteY7742" fmla="*/ 2107795 h 5071335"/>
              <a:gd name="connsiteX7743" fmla="*/ 13395079 w 13768337"/>
              <a:gd name="connsiteY7743" fmla="*/ 2122846 h 5071335"/>
              <a:gd name="connsiteX7744" fmla="*/ 13259302 w 13768337"/>
              <a:gd name="connsiteY7744" fmla="*/ 2098040 h 5071335"/>
              <a:gd name="connsiteX7745" fmla="*/ 13252816 w 13768337"/>
              <a:gd name="connsiteY7745" fmla="*/ 2107795 h 5071335"/>
              <a:gd name="connsiteX7746" fmla="*/ 13220842 w 13768337"/>
              <a:gd name="connsiteY7746" fmla="*/ 2098040 h 5071335"/>
              <a:gd name="connsiteX7747" fmla="*/ 13211110 w 13768337"/>
              <a:gd name="connsiteY7747" fmla="*/ 2102220 h 5071335"/>
              <a:gd name="connsiteX7748" fmla="*/ 13212501 w 13768337"/>
              <a:gd name="connsiteY7748" fmla="*/ 2111557 h 5071335"/>
              <a:gd name="connsiteX7749" fmla="*/ 13193501 w 13768337"/>
              <a:gd name="connsiteY7749" fmla="*/ 2124657 h 5071335"/>
              <a:gd name="connsiteX7750" fmla="*/ 13203232 w 13768337"/>
              <a:gd name="connsiteY7750" fmla="*/ 2131765 h 5071335"/>
              <a:gd name="connsiteX7751" fmla="*/ 13256523 w 13768337"/>
              <a:gd name="connsiteY7751" fmla="*/ 2119362 h 5071335"/>
              <a:gd name="connsiteX7752" fmla="*/ 13254671 w 13768337"/>
              <a:gd name="connsiteY7752" fmla="*/ 2146676 h 5071335"/>
              <a:gd name="connsiteX7753" fmla="*/ 13236134 w 13768337"/>
              <a:gd name="connsiteY7753" fmla="*/ 2144307 h 5071335"/>
              <a:gd name="connsiteX7754" fmla="*/ 13251889 w 13768337"/>
              <a:gd name="connsiteY7754" fmla="*/ 2134970 h 5071335"/>
              <a:gd name="connsiteX7755" fmla="*/ 13244012 w 13768337"/>
              <a:gd name="connsiteY7755" fmla="*/ 2120476 h 5071335"/>
              <a:gd name="connsiteX7756" fmla="*/ 13236134 w 13768337"/>
              <a:gd name="connsiteY7756" fmla="*/ 2136225 h 5071335"/>
              <a:gd name="connsiteX7757" fmla="*/ 13212501 w 13768337"/>
              <a:gd name="connsiteY7757" fmla="*/ 2131208 h 5071335"/>
              <a:gd name="connsiteX7758" fmla="*/ 13207403 w 13768337"/>
              <a:gd name="connsiteY7758" fmla="*/ 2142775 h 5071335"/>
              <a:gd name="connsiteX7759" fmla="*/ 13092945 w 13768337"/>
              <a:gd name="connsiteY7759" fmla="*/ 2133577 h 5071335"/>
              <a:gd name="connsiteX7760" fmla="*/ 13073482 w 13768337"/>
              <a:gd name="connsiteY7760" fmla="*/ 2095670 h 5071335"/>
              <a:gd name="connsiteX7761" fmla="*/ 13087384 w 13768337"/>
              <a:gd name="connsiteY7761" fmla="*/ 2102220 h 5071335"/>
              <a:gd name="connsiteX7762" fmla="*/ 13087384 w 13768337"/>
              <a:gd name="connsiteY7762" fmla="*/ 2113927 h 5071335"/>
              <a:gd name="connsiteX7763" fmla="*/ 13100359 w 13768337"/>
              <a:gd name="connsiteY7763" fmla="*/ 2118107 h 5071335"/>
              <a:gd name="connsiteX7764" fmla="*/ 13094336 w 13768337"/>
              <a:gd name="connsiteY7764" fmla="*/ 2102220 h 5071335"/>
              <a:gd name="connsiteX7765" fmla="*/ 13125381 w 13768337"/>
              <a:gd name="connsiteY7765" fmla="*/ 2087309 h 5071335"/>
              <a:gd name="connsiteX7766" fmla="*/ 13085532 w 13768337"/>
              <a:gd name="connsiteY7766" fmla="*/ 2065708 h 5071335"/>
              <a:gd name="connsiteX7767" fmla="*/ 13084604 w 13768337"/>
              <a:gd name="connsiteY7767" fmla="*/ 2067520 h 5071335"/>
              <a:gd name="connsiteX7768" fmla="*/ 13063752 w 13768337"/>
              <a:gd name="connsiteY7768" fmla="*/ 2053583 h 5071335"/>
              <a:gd name="connsiteX7769" fmla="*/ 13051703 w 13768337"/>
              <a:gd name="connsiteY7769" fmla="*/ 2051214 h 5071335"/>
              <a:gd name="connsiteX7770" fmla="*/ 12996558 w 13768337"/>
              <a:gd name="connsiteY7770" fmla="*/ 2050239 h 5071335"/>
              <a:gd name="connsiteX7771" fmla="*/ 12891369 w 13768337"/>
              <a:gd name="connsiteY7771" fmla="*/ 2048845 h 5071335"/>
              <a:gd name="connsiteX7772" fmla="*/ 12864492 w 13768337"/>
              <a:gd name="connsiteY7772" fmla="*/ 2038114 h 5071335"/>
              <a:gd name="connsiteX7773" fmla="*/ 12861713 w 13768337"/>
              <a:gd name="connsiteY7773" fmla="*/ 2019440 h 5071335"/>
              <a:gd name="connsiteX7774" fmla="*/ 12850126 w 13768337"/>
              <a:gd name="connsiteY7774" fmla="*/ 2019440 h 5071335"/>
              <a:gd name="connsiteX7775" fmla="*/ 12851981 w 13768337"/>
              <a:gd name="connsiteY7775" fmla="*/ 2027383 h 5071335"/>
              <a:gd name="connsiteX7776" fmla="*/ 12817224 w 13768337"/>
              <a:gd name="connsiteY7776" fmla="*/ 2028358 h 5071335"/>
              <a:gd name="connsiteX7777" fmla="*/ 12826029 w 13768337"/>
              <a:gd name="connsiteY7777" fmla="*/ 2071283 h 5071335"/>
              <a:gd name="connsiteX7778" fmla="*/ 12840394 w 13768337"/>
              <a:gd name="connsiteY7778" fmla="*/ 2065151 h 5071335"/>
              <a:gd name="connsiteX7779" fmla="*/ 12827883 w 13768337"/>
              <a:gd name="connsiteY7779" fmla="*/ 2074626 h 5071335"/>
              <a:gd name="connsiteX7780" fmla="*/ 12853370 w 13768337"/>
              <a:gd name="connsiteY7780" fmla="*/ 2076020 h 5071335"/>
              <a:gd name="connsiteX7781" fmla="*/ 12858467 w 13768337"/>
              <a:gd name="connsiteY7781" fmla="*/ 2096228 h 5071335"/>
              <a:gd name="connsiteX7782" fmla="*/ 12832519 w 13768337"/>
              <a:gd name="connsiteY7782" fmla="*/ 2085219 h 5071335"/>
              <a:gd name="connsiteX7783" fmla="*/ 12829274 w 13768337"/>
              <a:gd name="connsiteY7783" fmla="*/ 2089120 h 5071335"/>
              <a:gd name="connsiteX7784" fmla="*/ 12833444 w 13768337"/>
              <a:gd name="connsiteY7784" fmla="*/ 2112812 h 5071335"/>
              <a:gd name="connsiteX7785" fmla="*/ 12847808 w 13768337"/>
              <a:gd name="connsiteY7785" fmla="*/ 2115182 h 5071335"/>
              <a:gd name="connsiteX7786" fmla="*/ 12847808 w 13768337"/>
              <a:gd name="connsiteY7786" fmla="*/ 2119362 h 5071335"/>
              <a:gd name="connsiteX7787" fmla="*/ 12863103 w 13768337"/>
              <a:gd name="connsiteY7787" fmla="*/ 2119920 h 5071335"/>
              <a:gd name="connsiteX7788" fmla="*/ 12870517 w 13768337"/>
              <a:gd name="connsiteY7788" fmla="*/ 2125075 h 5071335"/>
              <a:gd name="connsiteX7789" fmla="*/ 12870517 w 13768337"/>
              <a:gd name="connsiteY7789" fmla="*/ 2111000 h 5071335"/>
              <a:gd name="connsiteX7790" fmla="*/ 12880247 w 13768337"/>
              <a:gd name="connsiteY7790" fmla="*/ 2110163 h 5071335"/>
              <a:gd name="connsiteX7791" fmla="*/ 12862637 w 13768337"/>
              <a:gd name="connsiteY7791" fmla="*/ 2095113 h 5071335"/>
              <a:gd name="connsiteX7792" fmla="*/ 12862637 w 13768337"/>
              <a:gd name="connsiteY7792" fmla="*/ 2075184 h 5071335"/>
              <a:gd name="connsiteX7793" fmla="*/ 12880247 w 13768337"/>
              <a:gd name="connsiteY7793" fmla="*/ 2101663 h 5071335"/>
              <a:gd name="connsiteX7794" fmla="*/ 12888125 w 13768337"/>
              <a:gd name="connsiteY7794" fmla="*/ 2093859 h 5071335"/>
              <a:gd name="connsiteX7795" fmla="*/ 12878392 w 13768337"/>
              <a:gd name="connsiteY7795" fmla="*/ 2082013 h 5071335"/>
              <a:gd name="connsiteX7796" fmla="*/ 12889514 w 13768337"/>
              <a:gd name="connsiteY7796" fmla="*/ 2064733 h 5071335"/>
              <a:gd name="connsiteX7797" fmla="*/ 12888125 w 13768337"/>
              <a:gd name="connsiteY7797" fmla="*/ 2077833 h 5071335"/>
              <a:gd name="connsiteX7798" fmla="*/ 12904344 w 13768337"/>
              <a:gd name="connsiteY7798" fmla="*/ 2092326 h 5071335"/>
              <a:gd name="connsiteX7799" fmla="*/ 12907587 w 13768337"/>
              <a:gd name="connsiteY7799" fmla="*/ 2079226 h 5071335"/>
              <a:gd name="connsiteX7800" fmla="*/ 12949757 w 13768337"/>
              <a:gd name="connsiteY7800" fmla="*/ 2107238 h 5071335"/>
              <a:gd name="connsiteX7801" fmla="*/ 12912221 w 13768337"/>
              <a:gd name="connsiteY7801" fmla="*/ 2111000 h 5071335"/>
              <a:gd name="connsiteX7802" fmla="*/ 12927977 w 13768337"/>
              <a:gd name="connsiteY7802" fmla="*/ 2113927 h 5071335"/>
              <a:gd name="connsiteX7803" fmla="*/ 12877003 w 13768337"/>
              <a:gd name="connsiteY7803" fmla="*/ 2118107 h 5071335"/>
              <a:gd name="connsiteX7804" fmla="*/ 12907587 w 13768337"/>
              <a:gd name="connsiteY7804" fmla="*/ 2131208 h 5071335"/>
              <a:gd name="connsiteX7805" fmla="*/ 12874223 w 13768337"/>
              <a:gd name="connsiteY7805" fmla="*/ 2127863 h 5071335"/>
              <a:gd name="connsiteX7806" fmla="*/ 12917318 w 13768337"/>
              <a:gd name="connsiteY7806" fmla="*/ 2150718 h 5071335"/>
              <a:gd name="connsiteX7807" fmla="*/ 13039655 w 13768337"/>
              <a:gd name="connsiteY7807" fmla="*/ 2215382 h 5071335"/>
              <a:gd name="connsiteX7808" fmla="*/ 13064214 w 13768337"/>
              <a:gd name="connsiteY7808" fmla="*/ 2209807 h 5071335"/>
              <a:gd name="connsiteX7809" fmla="*/ 13279693 w 13768337"/>
              <a:gd name="connsiteY7809" fmla="*/ 2600437 h 5071335"/>
              <a:gd name="connsiteX7810" fmla="*/ 13298692 w 13768337"/>
              <a:gd name="connsiteY7810" fmla="*/ 2589707 h 5071335"/>
              <a:gd name="connsiteX7811" fmla="*/ 13301010 w 13768337"/>
              <a:gd name="connsiteY7811" fmla="*/ 2607545 h 5071335"/>
              <a:gd name="connsiteX7812" fmla="*/ 13335763 w 13768337"/>
              <a:gd name="connsiteY7812" fmla="*/ 2612561 h 5071335"/>
              <a:gd name="connsiteX7813" fmla="*/ 13309351 w 13768337"/>
              <a:gd name="connsiteY7813" fmla="*/ 2618695 h 5071335"/>
              <a:gd name="connsiteX7814" fmla="*/ 13333911 w 13768337"/>
              <a:gd name="connsiteY7814" fmla="*/ 2706213 h 5071335"/>
              <a:gd name="connsiteX7815" fmla="*/ 13307959 w 13768337"/>
              <a:gd name="connsiteY7815" fmla="*/ 2888776 h 5071335"/>
              <a:gd name="connsiteX7816" fmla="*/ 13311203 w 13768337"/>
              <a:gd name="connsiteY7816" fmla="*/ 2951907 h 5071335"/>
              <a:gd name="connsiteX7817" fmla="*/ 13292205 w 13768337"/>
              <a:gd name="connsiteY7817" fmla="*/ 2951907 h 5071335"/>
              <a:gd name="connsiteX7818" fmla="*/ 13253742 w 13768337"/>
              <a:gd name="connsiteY7818" fmla="*/ 3161507 h 5071335"/>
              <a:gd name="connsiteX7819" fmla="*/ 13225012 w 13768337"/>
              <a:gd name="connsiteY7819" fmla="*/ 3177254 h 5071335"/>
              <a:gd name="connsiteX7820" fmla="*/ 13155503 w 13768337"/>
              <a:gd name="connsiteY7820" fmla="*/ 3291949 h 5071335"/>
              <a:gd name="connsiteX7821" fmla="*/ 13177744 w 13768337"/>
              <a:gd name="connsiteY7821" fmla="*/ 3312714 h 5071335"/>
              <a:gd name="connsiteX7822" fmla="*/ 13137430 w 13768337"/>
              <a:gd name="connsiteY7822" fmla="*/ 3309369 h 5071335"/>
              <a:gd name="connsiteX7823" fmla="*/ 13075800 w 13768337"/>
              <a:gd name="connsiteY7823" fmla="*/ 3383231 h 5071335"/>
              <a:gd name="connsiteX7824" fmla="*/ 13107773 w 13768337"/>
              <a:gd name="connsiteY7824" fmla="*/ 3367761 h 5071335"/>
              <a:gd name="connsiteX7825" fmla="*/ 13105919 w 13768337"/>
              <a:gd name="connsiteY7825" fmla="*/ 3388806 h 5071335"/>
              <a:gd name="connsiteX7826" fmla="*/ 13212501 w 13768337"/>
              <a:gd name="connsiteY7826" fmla="*/ 3481899 h 5071335"/>
              <a:gd name="connsiteX7827" fmla="*/ 13240767 w 13768337"/>
              <a:gd name="connsiteY7827" fmla="*/ 3485243 h 5071335"/>
              <a:gd name="connsiteX7828" fmla="*/ 13114260 w 13768337"/>
              <a:gd name="connsiteY7828" fmla="*/ 3452076 h 5071335"/>
              <a:gd name="connsiteX7829" fmla="*/ 13108702 w 13768337"/>
              <a:gd name="connsiteY7829" fmla="*/ 3491375 h 5071335"/>
              <a:gd name="connsiteX7830" fmla="*/ 13083677 w 13768337"/>
              <a:gd name="connsiteY7830" fmla="*/ 3493187 h 5071335"/>
              <a:gd name="connsiteX7831" fmla="*/ 13057727 w 13768337"/>
              <a:gd name="connsiteY7831" fmla="*/ 3475906 h 5071335"/>
              <a:gd name="connsiteX7832" fmla="*/ 13078579 w 13768337"/>
              <a:gd name="connsiteY7832" fmla="*/ 3474513 h 5071335"/>
              <a:gd name="connsiteX7833" fmla="*/ 13040118 w 13768337"/>
              <a:gd name="connsiteY7833" fmla="*/ 3462389 h 5071335"/>
              <a:gd name="connsiteX7834" fmla="*/ 13034559 w 13768337"/>
              <a:gd name="connsiteY7834" fmla="*/ 3445525 h 5071335"/>
              <a:gd name="connsiteX7835" fmla="*/ 13014631 w 13768337"/>
              <a:gd name="connsiteY7835" fmla="*/ 3473956 h 5071335"/>
              <a:gd name="connsiteX7836" fmla="*/ 12780154 w 13768337"/>
              <a:gd name="connsiteY7836" fmla="*/ 3608300 h 5071335"/>
              <a:gd name="connsiteX7837" fmla="*/ 12737058 w 13768337"/>
              <a:gd name="connsiteY7837" fmla="*/ 3633664 h 5071335"/>
              <a:gd name="connsiteX7838" fmla="*/ 12641136 w 13768337"/>
              <a:gd name="connsiteY7838" fmla="*/ 3659306 h 5071335"/>
              <a:gd name="connsiteX7839" fmla="*/ 12627628 w 13768337"/>
              <a:gd name="connsiteY7839" fmla="*/ 3660712 h 5071335"/>
              <a:gd name="connsiteX7840" fmla="*/ 12628781 w 13768337"/>
              <a:gd name="connsiteY7840" fmla="*/ 3670474 h 5071335"/>
              <a:gd name="connsiteX7841" fmla="*/ 12620338 w 13768337"/>
              <a:gd name="connsiteY7841" fmla="*/ 3665904 h 5071335"/>
              <a:gd name="connsiteX7842" fmla="*/ 12620507 w 13768337"/>
              <a:gd name="connsiteY7842" fmla="*/ 3661453 h 5071335"/>
              <a:gd name="connsiteX7843" fmla="*/ 12599952 w 13768337"/>
              <a:gd name="connsiteY7843" fmla="*/ 3663592 h 5071335"/>
              <a:gd name="connsiteX7844" fmla="*/ 12559115 w 13768337"/>
              <a:gd name="connsiteY7844" fmla="*/ 3659724 h 5071335"/>
              <a:gd name="connsiteX7845" fmla="*/ 12565602 w 13768337"/>
              <a:gd name="connsiteY7845" fmla="*/ 3702787 h 5071335"/>
              <a:gd name="connsiteX7846" fmla="*/ 12550311 w 13768337"/>
              <a:gd name="connsiteY7846" fmla="*/ 3708919 h 5071335"/>
              <a:gd name="connsiteX7847" fmla="*/ 12555408 w 13768337"/>
              <a:gd name="connsiteY7847" fmla="*/ 3817481 h 5071335"/>
              <a:gd name="connsiteX7848" fmla="*/ 12345955 w 13768337"/>
              <a:gd name="connsiteY7848" fmla="*/ 3950293 h 5071335"/>
              <a:gd name="connsiteX7849" fmla="*/ 12313979 w 13768337"/>
              <a:gd name="connsiteY7849" fmla="*/ 3908206 h 5071335"/>
              <a:gd name="connsiteX7850" fmla="*/ 12445120 w 13768337"/>
              <a:gd name="connsiteY7850" fmla="*/ 3789051 h 5071335"/>
              <a:gd name="connsiteX7851" fmla="*/ 12430754 w 13768337"/>
              <a:gd name="connsiteY7851" fmla="*/ 3764663 h 5071335"/>
              <a:gd name="connsiteX7852" fmla="*/ 12419170 w 13768337"/>
              <a:gd name="connsiteY7852" fmla="*/ 3780133 h 5071335"/>
              <a:gd name="connsiteX7853" fmla="*/ 12320468 w 13768337"/>
              <a:gd name="connsiteY7853" fmla="*/ 3779018 h 5071335"/>
              <a:gd name="connsiteX7854" fmla="*/ 12308709 w 13768337"/>
              <a:gd name="connsiteY7854" fmla="*/ 3770151 h 5071335"/>
              <a:gd name="connsiteX7855" fmla="*/ 12300901 w 13768337"/>
              <a:gd name="connsiteY7855" fmla="*/ 3764012 h 5071335"/>
              <a:gd name="connsiteX7856" fmla="*/ 12295962 w 13768337"/>
              <a:gd name="connsiteY7856" fmla="*/ 3795738 h 5071335"/>
              <a:gd name="connsiteX7857" fmla="*/ 12271966 w 13768337"/>
              <a:gd name="connsiteY7857" fmla="*/ 3831436 h 5071335"/>
              <a:gd name="connsiteX7858" fmla="*/ 12275211 w 13768337"/>
              <a:gd name="connsiteY7858" fmla="*/ 3894567 h 5071335"/>
              <a:gd name="connsiteX7859" fmla="*/ 12256213 w 13768337"/>
              <a:gd name="connsiteY7859" fmla="*/ 3894567 h 5071335"/>
              <a:gd name="connsiteX7860" fmla="*/ 12217750 w 13768337"/>
              <a:gd name="connsiteY7860" fmla="*/ 4104167 h 5071335"/>
              <a:gd name="connsiteX7861" fmla="*/ 12189019 w 13768337"/>
              <a:gd name="connsiteY7861" fmla="*/ 4119914 h 5071335"/>
              <a:gd name="connsiteX7862" fmla="*/ 12119510 w 13768337"/>
              <a:gd name="connsiteY7862" fmla="*/ 4234609 h 5071335"/>
              <a:gd name="connsiteX7863" fmla="*/ 12141752 w 13768337"/>
              <a:gd name="connsiteY7863" fmla="*/ 4255374 h 5071335"/>
              <a:gd name="connsiteX7864" fmla="*/ 12101438 w 13768337"/>
              <a:gd name="connsiteY7864" fmla="*/ 4252029 h 5071335"/>
              <a:gd name="connsiteX7865" fmla="*/ 12039807 w 13768337"/>
              <a:gd name="connsiteY7865" fmla="*/ 4325892 h 5071335"/>
              <a:gd name="connsiteX7866" fmla="*/ 12071781 w 13768337"/>
              <a:gd name="connsiteY7866" fmla="*/ 4310421 h 5071335"/>
              <a:gd name="connsiteX7867" fmla="*/ 12069927 w 13768337"/>
              <a:gd name="connsiteY7867" fmla="*/ 4331466 h 5071335"/>
              <a:gd name="connsiteX7868" fmla="*/ 12176508 w 13768337"/>
              <a:gd name="connsiteY7868" fmla="*/ 4424560 h 5071335"/>
              <a:gd name="connsiteX7869" fmla="*/ 12204775 w 13768337"/>
              <a:gd name="connsiteY7869" fmla="*/ 4427903 h 5071335"/>
              <a:gd name="connsiteX7870" fmla="*/ 12078268 w 13768337"/>
              <a:gd name="connsiteY7870" fmla="*/ 4394736 h 5071335"/>
              <a:gd name="connsiteX7871" fmla="*/ 12072708 w 13768337"/>
              <a:gd name="connsiteY7871" fmla="*/ 4434035 h 5071335"/>
              <a:gd name="connsiteX7872" fmla="*/ 12047684 w 13768337"/>
              <a:gd name="connsiteY7872" fmla="*/ 4435847 h 5071335"/>
              <a:gd name="connsiteX7873" fmla="*/ 12021735 w 13768337"/>
              <a:gd name="connsiteY7873" fmla="*/ 4418566 h 5071335"/>
              <a:gd name="connsiteX7874" fmla="*/ 12042588 w 13768337"/>
              <a:gd name="connsiteY7874" fmla="*/ 4417173 h 5071335"/>
              <a:gd name="connsiteX7875" fmla="*/ 12004125 w 13768337"/>
              <a:gd name="connsiteY7875" fmla="*/ 4405049 h 5071335"/>
              <a:gd name="connsiteX7876" fmla="*/ 11998565 w 13768337"/>
              <a:gd name="connsiteY7876" fmla="*/ 4388186 h 5071335"/>
              <a:gd name="connsiteX7877" fmla="*/ 11978638 w 13768337"/>
              <a:gd name="connsiteY7877" fmla="*/ 4416616 h 5071335"/>
              <a:gd name="connsiteX7878" fmla="*/ 11744162 w 13768337"/>
              <a:gd name="connsiteY7878" fmla="*/ 4550960 h 5071335"/>
              <a:gd name="connsiteX7879" fmla="*/ 11701066 w 13768337"/>
              <a:gd name="connsiteY7879" fmla="*/ 4576324 h 5071335"/>
              <a:gd name="connsiteX7880" fmla="*/ 11605142 w 13768337"/>
              <a:gd name="connsiteY7880" fmla="*/ 4601967 h 5071335"/>
              <a:gd name="connsiteX7881" fmla="*/ 11523123 w 13768337"/>
              <a:gd name="connsiteY7881" fmla="*/ 4602384 h 5071335"/>
              <a:gd name="connsiteX7882" fmla="*/ 11529610 w 13768337"/>
              <a:gd name="connsiteY7882" fmla="*/ 4645447 h 5071335"/>
              <a:gd name="connsiteX7883" fmla="*/ 11514319 w 13768337"/>
              <a:gd name="connsiteY7883" fmla="*/ 4651579 h 5071335"/>
              <a:gd name="connsiteX7884" fmla="*/ 11519415 w 13768337"/>
              <a:gd name="connsiteY7884" fmla="*/ 4760141 h 5071335"/>
              <a:gd name="connsiteX7885" fmla="*/ 11309962 w 13768337"/>
              <a:gd name="connsiteY7885" fmla="*/ 4892953 h 5071335"/>
              <a:gd name="connsiteX7886" fmla="*/ 11277986 w 13768337"/>
              <a:gd name="connsiteY7886" fmla="*/ 4850866 h 5071335"/>
              <a:gd name="connsiteX7887" fmla="*/ 11409127 w 13768337"/>
              <a:gd name="connsiteY7887" fmla="*/ 4731712 h 5071335"/>
              <a:gd name="connsiteX7888" fmla="*/ 11394762 w 13768337"/>
              <a:gd name="connsiteY7888" fmla="*/ 4707323 h 5071335"/>
              <a:gd name="connsiteX7889" fmla="*/ 11383177 w 13768337"/>
              <a:gd name="connsiteY7889" fmla="*/ 4722793 h 5071335"/>
              <a:gd name="connsiteX7890" fmla="*/ 11284475 w 13768337"/>
              <a:gd name="connsiteY7890" fmla="*/ 4721678 h 5071335"/>
              <a:gd name="connsiteX7891" fmla="*/ 11261306 w 13768337"/>
              <a:gd name="connsiteY7891" fmla="*/ 4703840 h 5071335"/>
              <a:gd name="connsiteX7892" fmla="*/ 11184380 w 13768337"/>
              <a:gd name="connsiteY7892" fmla="*/ 4720702 h 5071335"/>
              <a:gd name="connsiteX7893" fmla="*/ 11057411 w 13768337"/>
              <a:gd name="connsiteY7893" fmla="*/ 4747041 h 5071335"/>
              <a:gd name="connsiteX7894" fmla="*/ 11189942 w 13768337"/>
              <a:gd name="connsiteY7894" fmla="*/ 4696454 h 5071335"/>
              <a:gd name="connsiteX7895" fmla="*/ 11140359 w 13768337"/>
              <a:gd name="connsiteY7895" fmla="*/ 4704954 h 5071335"/>
              <a:gd name="connsiteX7896" fmla="*/ 11163528 w 13768337"/>
              <a:gd name="connsiteY7896" fmla="*/ 4679173 h 5071335"/>
              <a:gd name="connsiteX7897" fmla="*/ 11115336 w 13768337"/>
              <a:gd name="connsiteY7897" fmla="*/ 4697847 h 5071335"/>
              <a:gd name="connsiteX7898" fmla="*/ 11028680 w 13768337"/>
              <a:gd name="connsiteY7898" fmla="*/ 4700217 h 5071335"/>
              <a:gd name="connsiteX7899" fmla="*/ 11048607 w 13768337"/>
              <a:gd name="connsiteY7899" fmla="*/ 4724047 h 5071335"/>
              <a:gd name="connsiteX7900" fmla="*/ 11031925 w 13768337"/>
              <a:gd name="connsiteY7900" fmla="*/ 4744673 h 5071335"/>
              <a:gd name="connsiteX7901" fmla="*/ 11057874 w 13768337"/>
              <a:gd name="connsiteY7901" fmla="*/ 4757773 h 5071335"/>
              <a:gd name="connsiteX7902" fmla="*/ 11091239 w 13768337"/>
              <a:gd name="connsiteY7902" fmla="*/ 4798048 h 5071335"/>
              <a:gd name="connsiteX7903" fmla="*/ 11065753 w 13768337"/>
              <a:gd name="connsiteY7903" fmla="*/ 4786760 h 5071335"/>
              <a:gd name="connsiteX7904" fmla="*/ 11057411 w 13768337"/>
              <a:gd name="connsiteY7904" fmla="*/ 4791916 h 5071335"/>
              <a:gd name="connsiteX7905" fmla="*/ 11044436 w 13768337"/>
              <a:gd name="connsiteY7905" fmla="*/ 4792752 h 5071335"/>
              <a:gd name="connsiteX7906" fmla="*/ 11045828 w 13768337"/>
              <a:gd name="connsiteY7906" fmla="*/ 4848078 h 5071335"/>
              <a:gd name="connsiteX7907" fmla="*/ 10986513 w 13768337"/>
              <a:gd name="connsiteY7907" fmla="*/ 4891559 h 5071335"/>
              <a:gd name="connsiteX7908" fmla="*/ 10992537 w 13768337"/>
              <a:gd name="connsiteY7908" fmla="*/ 4916366 h 5071335"/>
              <a:gd name="connsiteX7909" fmla="*/ 10982805 w 13768337"/>
              <a:gd name="connsiteY7909" fmla="*/ 4907168 h 5071335"/>
              <a:gd name="connsiteX7910" fmla="*/ 10922101 w 13768337"/>
              <a:gd name="connsiteY7910" fmla="*/ 4923474 h 5071335"/>
              <a:gd name="connsiteX7911" fmla="*/ 10872055 w 13768337"/>
              <a:gd name="connsiteY7911" fmla="*/ 4966396 h 5071335"/>
              <a:gd name="connsiteX7912" fmla="*/ 10881786 w 13768337"/>
              <a:gd name="connsiteY7912" fmla="*/ 5025485 h 5071335"/>
              <a:gd name="connsiteX7913" fmla="*/ 10863248 w 13768337"/>
              <a:gd name="connsiteY7913" fmla="*/ 5035241 h 5071335"/>
              <a:gd name="connsiteX7914" fmla="*/ 10863248 w 13768337"/>
              <a:gd name="connsiteY7914" fmla="*/ 5036635 h 5071335"/>
              <a:gd name="connsiteX7915" fmla="*/ 10871590 w 13768337"/>
              <a:gd name="connsiteY7915" fmla="*/ 5043185 h 5071335"/>
              <a:gd name="connsiteX7916" fmla="*/ 10857689 w 13768337"/>
              <a:gd name="connsiteY7916" fmla="*/ 5044718 h 5071335"/>
              <a:gd name="connsiteX7917" fmla="*/ 10856762 w 13768337"/>
              <a:gd name="connsiteY7917" fmla="*/ 5035798 h 5071335"/>
              <a:gd name="connsiteX7918" fmla="*/ 10727011 w 13768337"/>
              <a:gd name="connsiteY7918" fmla="*/ 5064229 h 5071335"/>
              <a:gd name="connsiteX7919" fmla="*/ 10718672 w 13768337"/>
              <a:gd name="connsiteY7919" fmla="*/ 5020330 h 5071335"/>
              <a:gd name="connsiteX7920" fmla="*/ 10522192 w 13768337"/>
              <a:gd name="connsiteY7920" fmla="*/ 4983259 h 5071335"/>
              <a:gd name="connsiteX7921" fmla="*/ 10540727 w 13768337"/>
              <a:gd name="connsiteY7921" fmla="*/ 5016567 h 5071335"/>
              <a:gd name="connsiteX7922" fmla="*/ 10544898 w 13768337"/>
              <a:gd name="connsiteY7922" fmla="*/ 5071335 h 5071335"/>
              <a:gd name="connsiteX7923" fmla="*/ 10509680 w 13768337"/>
              <a:gd name="connsiteY7923" fmla="*/ 5054472 h 5071335"/>
              <a:gd name="connsiteX7924" fmla="*/ 10505046 w 13768337"/>
              <a:gd name="connsiteY7924" fmla="*/ 5039979 h 5071335"/>
              <a:gd name="connsiteX7925" fmla="*/ 10516167 w 13768337"/>
              <a:gd name="connsiteY7925" fmla="*/ 5024511 h 5071335"/>
              <a:gd name="connsiteX7926" fmla="*/ 10490680 w 13768337"/>
              <a:gd name="connsiteY7926" fmla="*/ 5016010 h 5071335"/>
              <a:gd name="connsiteX7927" fmla="*/ 10483729 w 13768337"/>
              <a:gd name="connsiteY7927" fmla="*/ 5037053 h 5071335"/>
              <a:gd name="connsiteX7928" fmla="*/ 10469365 w 13768337"/>
              <a:gd name="connsiteY7928" fmla="*/ 5008483 h 5071335"/>
              <a:gd name="connsiteX7929" fmla="*/ 10452220 w 13768337"/>
              <a:gd name="connsiteY7929" fmla="*/ 4999704 h 5071335"/>
              <a:gd name="connsiteX7930" fmla="*/ 10453610 w 13768337"/>
              <a:gd name="connsiteY7930" fmla="*/ 5020330 h 5071335"/>
              <a:gd name="connsiteX7931" fmla="*/ 10392904 w 13768337"/>
              <a:gd name="connsiteY7931" fmla="*/ 5035798 h 5071335"/>
              <a:gd name="connsiteX7932" fmla="*/ 10382710 w 13768337"/>
              <a:gd name="connsiteY7932" fmla="*/ 5015591 h 5071335"/>
              <a:gd name="connsiteX7933" fmla="*/ 10256204 w 13768337"/>
              <a:gd name="connsiteY7933" fmla="*/ 4992596 h 5071335"/>
              <a:gd name="connsiteX7934" fmla="*/ 10253887 w 13768337"/>
              <a:gd name="connsiteY7934" fmla="*/ 5007648 h 5071335"/>
              <a:gd name="connsiteX7935" fmla="*/ 10195962 w 13768337"/>
              <a:gd name="connsiteY7935" fmla="*/ 4964585 h 5071335"/>
              <a:gd name="connsiteX7936" fmla="*/ 10139891 w 13768337"/>
              <a:gd name="connsiteY7936" fmla="*/ 4973504 h 5071335"/>
              <a:gd name="connsiteX7937" fmla="*/ 10147305 w 13768337"/>
              <a:gd name="connsiteY7937" fmla="*/ 4983259 h 5071335"/>
              <a:gd name="connsiteX7938" fmla="*/ 10126452 w 13768337"/>
              <a:gd name="connsiteY7938" fmla="*/ 4965561 h 5071335"/>
              <a:gd name="connsiteX7939" fmla="*/ 10048138 w 13768337"/>
              <a:gd name="connsiteY7939" fmla="*/ 4981866 h 5071335"/>
              <a:gd name="connsiteX7940" fmla="*/ 10033310 w 13768337"/>
              <a:gd name="connsiteY7940" fmla="*/ 4953436 h 5071335"/>
              <a:gd name="connsiteX7941" fmla="*/ 10021726 w 13768337"/>
              <a:gd name="connsiteY7941" fmla="*/ 4964585 h 5071335"/>
              <a:gd name="connsiteX7942" fmla="*/ 10039798 w 13768337"/>
              <a:gd name="connsiteY7942" fmla="*/ 4967930 h 5071335"/>
              <a:gd name="connsiteX7943" fmla="*/ 9930438 w 13768337"/>
              <a:gd name="connsiteY7943" fmla="*/ 5003467 h 5071335"/>
              <a:gd name="connsiteX7944" fmla="*/ 9923486 w 13768337"/>
              <a:gd name="connsiteY7944" fmla="*/ 4982841 h 5071335"/>
              <a:gd name="connsiteX7945" fmla="*/ 9881317 w 13768337"/>
              <a:gd name="connsiteY7945" fmla="*/ 5007090 h 5071335"/>
              <a:gd name="connsiteX7946" fmla="*/ 9907268 w 13768337"/>
              <a:gd name="connsiteY7946" fmla="*/ 4975316 h 5071335"/>
              <a:gd name="connsiteX7947" fmla="*/ 9865098 w 13768337"/>
              <a:gd name="connsiteY7947" fmla="*/ 4959010 h 5071335"/>
              <a:gd name="connsiteX7948" fmla="*/ 9853515 w 13768337"/>
              <a:gd name="connsiteY7948" fmla="*/ 4970577 h 5071335"/>
              <a:gd name="connsiteX7949" fmla="*/ 9863245 w 13768337"/>
              <a:gd name="connsiteY7949" fmla="*/ 5003885 h 5071335"/>
              <a:gd name="connsiteX7950" fmla="*/ 9848416 w 13768337"/>
              <a:gd name="connsiteY7950" fmla="*/ 4971135 h 5071335"/>
              <a:gd name="connsiteX7951" fmla="*/ 9834977 w 13768337"/>
              <a:gd name="connsiteY7951" fmla="*/ 4961380 h 5071335"/>
              <a:gd name="connsiteX7952" fmla="*/ 9805320 w 13768337"/>
              <a:gd name="connsiteY7952" fmla="*/ 4984792 h 5071335"/>
              <a:gd name="connsiteX7953" fmla="*/ 9824320 w 13768337"/>
              <a:gd name="connsiteY7953" fmla="*/ 4983259 h 5071335"/>
              <a:gd name="connsiteX7954" fmla="*/ 9773347 w 13768337"/>
              <a:gd name="connsiteY7954" fmla="*/ 5012664 h 5071335"/>
              <a:gd name="connsiteX7955" fmla="*/ 9799759 w 13768337"/>
              <a:gd name="connsiteY7955" fmla="*/ 4985210 h 5071335"/>
              <a:gd name="connsiteX7956" fmla="*/ 9771030 w 13768337"/>
              <a:gd name="connsiteY7956" fmla="*/ 4982841 h 5071335"/>
              <a:gd name="connsiteX7957" fmla="*/ 9773347 w 13768337"/>
              <a:gd name="connsiteY7957" fmla="*/ 4967930 h 5071335"/>
              <a:gd name="connsiteX7958" fmla="*/ 9712642 w 13768337"/>
              <a:gd name="connsiteY7958" fmla="*/ 4983259 h 5071335"/>
              <a:gd name="connsiteX7959" fmla="*/ 9699204 w 13768337"/>
              <a:gd name="connsiteY7959" fmla="*/ 4969184 h 5071335"/>
              <a:gd name="connsiteX7960" fmla="*/ 9674180 w 13768337"/>
              <a:gd name="connsiteY7960" fmla="*/ 4971135 h 5071335"/>
              <a:gd name="connsiteX7961" fmla="*/ 9668156 w 13768337"/>
              <a:gd name="connsiteY7961" fmla="*/ 4982424 h 5071335"/>
              <a:gd name="connsiteX7962" fmla="*/ 9688083 w 13768337"/>
              <a:gd name="connsiteY7962" fmla="*/ 4989252 h 5071335"/>
              <a:gd name="connsiteX7963" fmla="*/ 9659814 w 13768337"/>
              <a:gd name="connsiteY7963" fmla="*/ 4987440 h 5071335"/>
              <a:gd name="connsiteX7964" fmla="*/ 9631547 w 13768337"/>
              <a:gd name="connsiteY7964" fmla="*/ 5005836 h 5071335"/>
              <a:gd name="connsiteX7965" fmla="*/ 9455922 w 13768337"/>
              <a:gd name="connsiteY7965" fmla="*/ 5031897 h 5071335"/>
              <a:gd name="connsiteX7966" fmla="*/ 9428118 w 13768337"/>
              <a:gd name="connsiteY7966" fmla="*/ 5042627 h 5071335"/>
              <a:gd name="connsiteX7967" fmla="*/ 9423021 w 13768337"/>
              <a:gd name="connsiteY7967" fmla="*/ 5023953 h 5071335"/>
              <a:gd name="connsiteX7968" fmla="*/ 9404948 w 13768337"/>
              <a:gd name="connsiteY7968" fmla="*/ 5020747 h 5071335"/>
              <a:gd name="connsiteX7969" fmla="*/ 9399387 w 13768337"/>
              <a:gd name="connsiteY7969" fmla="*/ 5040815 h 5071335"/>
              <a:gd name="connsiteX7970" fmla="*/ 9389656 w 13768337"/>
              <a:gd name="connsiteY7970" fmla="*/ 5028133 h 5071335"/>
              <a:gd name="connsiteX7971" fmla="*/ 9354902 w 13768337"/>
              <a:gd name="connsiteY7971" fmla="*/ 5020330 h 5071335"/>
              <a:gd name="connsiteX7972" fmla="*/ 9372510 w 13768337"/>
              <a:gd name="connsiteY7972" fmla="*/ 5033707 h 5071335"/>
              <a:gd name="connsiteX7973" fmla="*/ 9305319 w 13768337"/>
              <a:gd name="connsiteY7973" fmla="*/ 5055867 h 5071335"/>
              <a:gd name="connsiteX7974" fmla="*/ 9320147 w 13768337"/>
              <a:gd name="connsiteY7974" fmla="*/ 5044161 h 5071335"/>
              <a:gd name="connsiteX7975" fmla="*/ 9267321 w 13768337"/>
              <a:gd name="connsiteY7975" fmla="*/ 5003467 h 5071335"/>
              <a:gd name="connsiteX7976" fmla="*/ 9322001 w 13768337"/>
              <a:gd name="connsiteY7976" fmla="*/ 5023117 h 5071335"/>
              <a:gd name="connsiteX7977" fmla="*/ 9395217 w 13768337"/>
              <a:gd name="connsiteY7977" fmla="*/ 5012664 h 5071335"/>
              <a:gd name="connsiteX7978" fmla="*/ 9404021 w 13768337"/>
              <a:gd name="connsiteY7978" fmla="*/ 5005836 h 5071335"/>
              <a:gd name="connsiteX7979" fmla="*/ 9394290 w 13768337"/>
              <a:gd name="connsiteY7979" fmla="*/ 4997893 h 5071335"/>
              <a:gd name="connsiteX7980" fmla="*/ 9454995 w 13768337"/>
              <a:gd name="connsiteY7980" fmla="*/ 4981030 h 5071335"/>
              <a:gd name="connsiteX7981" fmla="*/ 9429508 w 13768337"/>
              <a:gd name="connsiteY7981" fmla="*/ 4969742 h 5071335"/>
              <a:gd name="connsiteX7982" fmla="*/ 9426264 w 13768337"/>
              <a:gd name="connsiteY7982" fmla="*/ 4971553 h 5071335"/>
              <a:gd name="connsiteX7983" fmla="*/ 9416532 w 13768337"/>
              <a:gd name="connsiteY7983" fmla="*/ 4987440 h 5071335"/>
              <a:gd name="connsiteX7984" fmla="*/ 9417922 w 13768337"/>
              <a:gd name="connsiteY7984" fmla="*/ 4976849 h 5071335"/>
              <a:gd name="connsiteX7985" fmla="*/ 9404948 w 13768337"/>
              <a:gd name="connsiteY7985" fmla="*/ 4975874 h 5071335"/>
              <a:gd name="connsiteX7986" fmla="*/ 9414215 w 13768337"/>
              <a:gd name="connsiteY7986" fmla="*/ 4972111 h 5071335"/>
              <a:gd name="connsiteX7987" fmla="*/ 9417922 w 13768337"/>
              <a:gd name="connsiteY7987" fmla="*/ 4970299 h 5071335"/>
              <a:gd name="connsiteX7988" fmla="*/ 9451750 w 13768337"/>
              <a:gd name="connsiteY7988" fmla="*/ 4956083 h 5071335"/>
              <a:gd name="connsiteX7989" fmla="*/ 9448508 w 13768337"/>
              <a:gd name="connsiteY7989" fmla="*/ 4953436 h 5071335"/>
              <a:gd name="connsiteX7990" fmla="*/ 9488358 w 13768337"/>
              <a:gd name="connsiteY7990" fmla="*/ 4926678 h 5071335"/>
              <a:gd name="connsiteX7991" fmla="*/ 9483262 w 13768337"/>
              <a:gd name="connsiteY7991" fmla="*/ 4919293 h 5071335"/>
              <a:gd name="connsiteX7992" fmla="*/ 9473530 w 13768337"/>
              <a:gd name="connsiteY7992" fmla="*/ 4918735 h 5071335"/>
              <a:gd name="connsiteX7993" fmla="*/ 9475385 w 13768337"/>
              <a:gd name="connsiteY7993" fmla="*/ 4921104 h 5071335"/>
              <a:gd name="connsiteX7994" fmla="*/ 9407265 w 13768337"/>
              <a:gd name="connsiteY7994" fmla="*/ 4907168 h 5071335"/>
              <a:gd name="connsiteX7995" fmla="*/ 9414215 w 13768337"/>
              <a:gd name="connsiteY7995" fmla="*/ 4912185 h 5071335"/>
              <a:gd name="connsiteX7996" fmla="*/ 9395680 w 13768337"/>
              <a:gd name="connsiteY7996" fmla="*/ 4922916 h 5071335"/>
              <a:gd name="connsiteX7997" fmla="*/ 9397070 w 13768337"/>
              <a:gd name="connsiteY7997" fmla="*/ 4933229 h 5071335"/>
              <a:gd name="connsiteX7998" fmla="*/ 9392436 w 13768337"/>
              <a:gd name="connsiteY7998" fmla="*/ 4907168 h 5071335"/>
              <a:gd name="connsiteX7999" fmla="*/ 9397070 w 13768337"/>
              <a:gd name="connsiteY7999" fmla="*/ 4906610 h 5071335"/>
              <a:gd name="connsiteX8000" fmla="*/ 9359535 w 13768337"/>
              <a:gd name="connsiteY8000" fmla="*/ 4914972 h 5071335"/>
              <a:gd name="connsiteX8001" fmla="*/ 9387803 w 13768337"/>
              <a:gd name="connsiteY8001" fmla="*/ 4911627 h 5071335"/>
              <a:gd name="connsiteX8002" fmla="*/ 9384559 w 13768337"/>
              <a:gd name="connsiteY8002" fmla="*/ 4924867 h 5071335"/>
              <a:gd name="connsiteX8003" fmla="*/ 9343316 w 13768337"/>
              <a:gd name="connsiteY8003" fmla="*/ 4926678 h 5071335"/>
              <a:gd name="connsiteX8004" fmla="*/ 9340999 w 13768337"/>
              <a:gd name="connsiteY8004" fmla="*/ 4931834 h 5071335"/>
              <a:gd name="connsiteX8005" fmla="*/ 9251565 w 13768337"/>
              <a:gd name="connsiteY8005" fmla="*/ 4951902 h 5071335"/>
              <a:gd name="connsiteX8006" fmla="*/ 9242296 w 13768337"/>
              <a:gd name="connsiteY8006" fmla="*/ 4939779 h 5071335"/>
              <a:gd name="connsiteX8007" fmla="*/ 9084279 w 13768337"/>
              <a:gd name="connsiteY8007" fmla="*/ 4945353 h 5071335"/>
              <a:gd name="connsiteX8008" fmla="*/ 9062500 w 13768337"/>
              <a:gd name="connsiteY8008" fmla="*/ 4935598 h 5071335"/>
              <a:gd name="connsiteX8009" fmla="*/ 9066671 w 13768337"/>
              <a:gd name="connsiteY8009" fmla="*/ 4941590 h 5071335"/>
              <a:gd name="connsiteX8010" fmla="*/ 9008746 w 13768337"/>
              <a:gd name="connsiteY8010" fmla="*/ 4942984 h 5071335"/>
              <a:gd name="connsiteX8011" fmla="*/ 9029599 w 13768337"/>
              <a:gd name="connsiteY8011" fmla="*/ 4923474 h 5071335"/>
              <a:gd name="connsiteX8012" fmla="*/ 9011063 w 13768337"/>
              <a:gd name="connsiteY8012" fmla="*/ 4922498 h 5071335"/>
              <a:gd name="connsiteX8013" fmla="*/ 8957310 w 13768337"/>
              <a:gd name="connsiteY8013" fmla="*/ 4929048 h 5071335"/>
              <a:gd name="connsiteX8014" fmla="*/ 8977700 w 13768337"/>
              <a:gd name="connsiteY8014" fmla="*/ 4911627 h 5071335"/>
              <a:gd name="connsiteX8015" fmla="*/ 8950359 w 13768337"/>
              <a:gd name="connsiteY8015" fmla="*/ 4907446 h 5071335"/>
              <a:gd name="connsiteX8016" fmla="*/ 8950359 w 13768337"/>
              <a:gd name="connsiteY8016" fmla="*/ 4899502 h 5071335"/>
              <a:gd name="connsiteX8017" fmla="*/ 8941554 w 13768337"/>
              <a:gd name="connsiteY8017" fmla="*/ 4900339 h 5071335"/>
              <a:gd name="connsiteX8018" fmla="*/ 8936920 w 13768337"/>
              <a:gd name="connsiteY8018" fmla="*/ 4901454 h 5071335"/>
              <a:gd name="connsiteX8019" fmla="*/ 8899385 w 13768337"/>
              <a:gd name="connsiteY8019" fmla="*/ 4909815 h 5071335"/>
              <a:gd name="connsiteX8020" fmla="*/ 8880850 w 13768337"/>
              <a:gd name="connsiteY8020" fmla="*/ 4896298 h 5071335"/>
              <a:gd name="connsiteX8021" fmla="*/ 8874363 w 13768337"/>
              <a:gd name="connsiteY8021" fmla="*/ 4911627 h 5071335"/>
              <a:gd name="connsiteX8022" fmla="*/ 8818755 w 13768337"/>
              <a:gd name="connsiteY8022" fmla="*/ 4901454 h 5071335"/>
              <a:gd name="connsiteX8023" fmla="*/ 8864167 w 13768337"/>
              <a:gd name="connsiteY8023" fmla="*/ 4893511 h 5071335"/>
              <a:gd name="connsiteX8024" fmla="*/ 8826632 w 13768337"/>
              <a:gd name="connsiteY8024" fmla="*/ 4870516 h 5071335"/>
              <a:gd name="connsiteX8025" fmla="*/ 8809486 w 13768337"/>
              <a:gd name="connsiteY8025" fmla="*/ 4876648 h 5071335"/>
              <a:gd name="connsiteX8026" fmla="*/ 8769634 w 13768337"/>
              <a:gd name="connsiteY8026" fmla="*/ 4879017 h 5071335"/>
              <a:gd name="connsiteX8027" fmla="*/ 8705687 w 13768337"/>
              <a:gd name="connsiteY8027" fmla="*/ 4880410 h 5071335"/>
              <a:gd name="connsiteX8028" fmla="*/ 8702907 w 13768337"/>
              <a:gd name="connsiteY8028" fmla="*/ 4892535 h 5071335"/>
              <a:gd name="connsiteX8029" fmla="*/ 8616251 w 13768337"/>
              <a:gd name="connsiteY8029" fmla="*/ 4908422 h 5071335"/>
              <a:gd name="connsiteX8030" fmla="*/ 8595863 w 13768337"/>
              <a:gd name="connsiteY8030" fmla="*/ 4889747 h 5071335"/>
              <a:gd name="connsiteX8031" fmla="*/ 8567132 w 13768337"/>
              <a:gd name="connsiteY8031" fmla="*/ 4904799 h 5071335"/>
              <a:gd name="connsiteX8032" fmla="*/ 8541182 w 13768337"/>
              <a:gd name="connsiteY8032" fmla="*/ 4889747 h 5071335"/>
              <a:gd name="connsiteX8033" fmla="*/ 8496696 w 13768337"/>
              <a:gd name="connsiteY8033" fmla="*/ 4898249 h 5071335"/>
              <a:gd name="connsiteX8034" fmla="*/ 8472599 w 13768337"/>
              <a:gd name="connsiteY8034" fmla="*/ 4888215 h 5071335"/>
              <a:gd name="connsiteX8035" fmla="*/ 8447577 w 13768337"/>
              <a:gd name="connsiteY8035" fmla="*/ 4898249 h 5071335"/>
              <a:gd name="connsiteX8036" fmla="*/ 8415601 w 13768337"/>
              <a:gd name="connsiteY8036" fmla="*/ 4884591 h 5071335"/>
              <a:gd name="connsiteX8037" fmla="*/ 8340069 w 13768337"/>
              <a:gd name="connsiteY8037" fmla="*/ 4887379 h 5071335"/>
              <a:gd name="connsiteX8038" fmla="*/ 8335436 w 13768337"/>
              <a:gd name="connsiteY8038" fmla="*/ 4867172 h 5071335"/>
              <a:gd name="connsiteX8039" fmla="*/ 8271949 w 13768337"/>
              <a:gd name="connsiteY8039" fmla="*/ 4872467 h 5071335"/>
              <a:gd name="connsiteX8040" fmla="*/ 8285852 w 13768337"/>
              <a:gd name="connsiteY8040" fmla="*/ 4895322 h 5071335"/>
              <a:gd name="connsiteX8041" fmla="*/ 8201513 w 13768337"/>
              <a:gd name="connsiteY8041" fmla="*/ 4886125 h 5071335"/>
              <a:gd name="connsiteX8042" fmla="*/ 8228855 w 13768337"/>
              <a:gd name="connsiteY8042" fmla="*/ 4912603 h 5071335"/>
              <a:gd name="connsiteX8043" fmla="*/ 8279828 w 13768337"/>
              <a:gd name="connsiteY8043" fmla="*/ 4899085 h 5071335"/>
              <a:gd name="connsiteX8044" fmla="*/ 8120421 w 13768337"/>
              <a:gd name="connsiteY8044" fmla="*/ 4940754 h 5071335"/>
              <a:gd name="connsiteX8045" fmla="*/ 8214489 w 13768337"/>
              <a:gd name="connsiteY8045" fmla="*/ 4965003 h 5071335"/>
              <a:gd name="connsiteX8046" fmla="*/ 8252951 w 13768337"/>
              <a:gd name="connsiteY8046" fmla="*/ 4946328 h 5071335"/>
              <a:gd name="connsiteX8047" fmla="*/ 8260829 w 13768337"/>
              <a:gd name="connsiteY8047" fmla="*/ 4970299 h 5071335"/>
              <a:gd name="connsiteX8048" fmla="*/ 8334044 w 13768337"/>
              <a:gd name="connsiteY8048" fmla="*/ 4939220 h 5071335"/>
              <a:gd name="connsiteX8049" fmla="*/ 8366020 w 13768337"/>
              <a:gd name="connsiteY8049" fmla="*/ 4944796 h 5071335"/>
              <a:gd name="connsiteX8050" fmla="*/ 8356288 w 13768337"/>
              <a:gd name="connsiteY8050" fmla="*/ 4954272 h 5071335"/>
              <a:gd name="connsiteX8051" fmla="*/ 8397993 w 13768337"/>
              <a:gd name="connsiteY8051" fmla="*/ 4946328 h 5071335"/>
              <a:gd name="connsiteX8052" fmla="*/ 8460088 w 13768337"/>
              <a:gd name="connsiteY8052" fmla="*/ 4938385 h 5071335"/>
              <a:gd name="connsiteX8053" fmla="*/ 8546279 w 13768337"/>
              <a:gd name="connsiteY8053" fmla="*/ 4934204 h 5071335"/>
              <a:gd name="connsiteX8054" fmla="*/ 8554156 w 13768337"/>
              <a:gd name="connsiteY8054" fmla="*/ 4950091 h 5071335"/>
              <a:gd name="connsiteX8055" fmla="*/ 8645445 w 13768337"/>
              <a:gd name="connsiteY8055" fmla="*/ 4950091 h 5071335"/>
              <a:gd name="connsiteX8056" fmla="*/ 8571766 w 13768337"/>
              <a:gd name="connsiteY8056" fmla="*/ 4972946 h 5071335"/>
              <a:gd name="connsiteX8057" fmla="*/ 8578253 w 13768337"/>
              <a:gd name="connsiteY8057" fmla="*/ 4983677 h 5071335"/>
              <a:gd name="connsiteX8058" fmla="*/ 8600495 w 13768337"/>
              <a:gd name="connsiteY8058" fmla="*/ 4986604 h 5071335"/>
              <a:gd name="connsiteX8059" fmla="*/ 8642202 w 13768337"/>
              <a:gd name="connsiteY8059" fmla="*/ 4978660 h 5071335"/>
              <a:gd name="connsiteX8060" fmla="*/ 8683445 w 13768337"/>
              <a:gd name="connsiteY8060" fmla="*/ 4947722 h 5071335"/>
              <a:gd name="connsiteX8061" fmla="*/ 8699663 w 13768337"/>
              <a:gd name="connsiteY8061" fmla="*/ 4962215 h 5071335"/>
              <a:gd name="connsiteX8062" fmla="*/ 8549524 w 13768337"/>
              <a:gd name="connsiteY8062" fmla="*/ 5002631 h 5071335"/>
              <a:gd name="connsiteX8063" fmla="*/ 8524037 w 13768337"/>
              <a:gd name="connsiteY8063" fmla="*/ 5001098 h 5071335"/>
              <a:gd name="connsiteX8064" fmla="*/ 8503183 w 13768337"/>
              <a:gd name="connsiteY8064" fmla="*/ 4982424 h 5071335"/>
              <a:gd name="connsiteX8065" fmla="*/ 8491599 w 13768337"/>
              <a:gd name="connsiteY8065" fmla="*/ 5000261 h 5071335"/>
              <a:gd name="connsiteX8066" fmla="*/ 8480941 w 13768337"/>
              <a:gd name="connsiteY8066" fmla="*/ 4987998 h 5071335"/>
              <a:gd name="connsiteX8067" fmla="*/ 8463332 w 13768337"/>
              <a:gd name="connsiteY8067" fmla="*/ 5005278 h 5071335"/>
              <a:gd name="connsiteX8068" fmla="*/ 8455454 w 13768337"/>
              <a:gd name="connsiteY8068" fmla="*/ 4998728 h 5071335"/>
              <a:gd name="connsiteX8069" fmla="*/ 8347020 w 13768337"/>
              <a:gd name="connsiteY8069" fmla="*/ 5014754 h 5071335"/>
              <a:gd name="connsiteX8070" fmla="*/ 8252951 w 13768337"/>
              <a:gd name="connsiteY8070" fmla="*/ 5014754 h 5071335"/>
              <a:gd name="connsiteX8071" fmla="*/ 8208002 w 13768337"/>
              <a:gd name="connsiteY8071" fmla="*/ 5018935 h 5071335"/>
              <a:gd name="connsiteX8072" fmla="*/ 8191782 w 13768337"/>
              <a:gd name="connsiteY8072" fmla="*/ 5031897 h 5071335"/>
              <a:gd name="connsiteX8073" fmla="*/ 8198271 w 13768337"/>
              <a:gd name="connsiteY8073" fmla="*/ 5042627 h 5071335"/>
              <a:gd name="connsiteX8074" fmla="*/ 8176029 w 13768337"/>
              <a:gd name="connsiteY8074" fmla="*/ 5041791 h 5071335"/>
              <a:gd name="connsiteX8075" fmla="*/ 8040253 w 13768337"/>
              <a:gd name="connsiteY8075" fmla="*/ 5040258 h 5071335"/>
              <a:gd name="connsiteX8076" fmla="*/ 8053229 w 13768337"/>
              <a:gd name="connsiteY8076" fmla="*/ 5031060 h 5071335"/>
              <a:gd name="connsiteX8077" fmla="*/ 8056471 w 13768337"/>
              <a:gd name="connsiteY8077" fmla="*/ 5022559 h 5071335"/>
              <a:gd name="connsiteX8078" fmla="*/ 8049985 w 13768337"/>
              <a:gd name="connsiteY8078" fmla="*/ 5023953 h 5071335"/>
              <a:gd name="connsiteX8079" fmla="*/ 8044888 w 13768337"/>
              <a:gd name="connsiteY8079" fmla="*/ 5008205 h 5071335"/>
              <a:gd name="connsiteX8080" fmla="*/ 7961941 w 13768337"/>
              <a:gd name="connsiteY8080" fmla="*/ 5014754 h 5071335"/>
              <a:gd name="connsiteX8081" fmla="*/ 7968890 w 13768337"/>
              <a:gd name="connsiteY8081" fmla="*/ 5017403 h 5071335"/>
              <a:gd name="connsiteX8082" fmla="*/ 7966111 w 13768337"/>
              <a:gd name="connsiteY8082" fmla="*/ 5018378 h 5071335"/>
              <a:gd name="connsiteX8083" fmla="*/ 7947575 w 13768337"/>
              <a:gd name="connsiteY8083" fmla="*/ 5037053 h 5071335"/>
              <a:gd name="connsiteX8084" fmla="*/ 7945721 w 13768337"/>
              <a:gd name="connsiteY8084" fmla="*/ 5026879 h 5071335"/>
              <a:gd name="connsiteX8085" fmla="*/ 7871579 w 13768337"/>
              <a:gd name="connsiteY8085" fmla="*/ 5029667 h 5071335"/>
              <a:gd name="connsiteX8086" fmla="*/ 7859994 w 13768337"/>
              <a:gd name="connsiteY8086" fmla="*/ 5047086 h 5071335"/>
              <a:gd name="connsiteX8087" fmla="*/ 7848872 w 13768337"/>
              <a:gd name="connsiteY8087" fmla="*/ 5023953 h 5071335"/>
              <a:gd name="connsiteX8088" fmla="*/ 7827093 w 13768337"/>
              <a:gd name="connsiteY8088" fmla="*/ 5020330 h 5071335"/>
              <a:gd name="connsiteX8089" fmla="*/ 7815508 w 13768337"/>
              <a:gd name="connsiteY8089" fmla="*/ 5002631 h 5071335"/>
              <a:gd name="connsiteX8090" fmla="*/ 7783534 w 13768337"/>
              <a:gd name="connsiteY8090" fmla="*/ 5021305 h 5071335"/>
              <a:gd name="connsiteX8091" fmla="*/ 7796045 w 13768337"/>
              <a:gd name="connsiteY8091" fmla="*/ 5016010 h 5071335"/>
              <a:gd name="connsiteX8092" fmla="*/ 7794656 w 13768337"/>
              <a:gd name="connsiteY8092" fmla="*/ 4983677 h 5071335"/>
              <a:gd name="connsiteX8093" fmla="*/ 7771949 w 13768337"/>
              <a:gd name="connsiteY8093" fmla="*/ 4989252 h 5071335"/>
              <a:gd name="connsiteX8094" fmla="*/ 7769631 w 13768337"/>
              <a:gd name="connsiteY8094" fmla="*/ 4982424 h 5071335"/>
              <a:gd name="connsiteX8095" fmla="*/ 7786777 w 13768337"/>
              <a:gd name="connsiteY8095" fmla="*/ 4943542 h 5071335"/>
              <a:gd name="connsiteX8096" fmla="*/ 7783534 w 13768337"/>
              <a:gd name="connsiteY8096" fmla="*/ 4929048 h 5071335"/>
              <a:gd name="connsiteX8097" fmla="*/ 7771023 w 13768337"/>
              <a:gd name="connsiteY8097" fmla="*/ 4934204 h 5071335"/>
              <a:gd name="connsiteX8098" fmla="*/ 7756193 w 13768337"/>
              <a:gd name="connsiteY8098" fmla="*/ 4921940 h 5071335"/>
              <a:gd name="connsiteX8099" fmla="*/ 7754803 w 13768337"/>
              <a:gd name="connsiteY8099" fmla="*/ 4889747 h 5071335"/>
              <a:gd name="connsiteX8100" fmla="*/ 7767778 w 13768337"/>
              <a:gd name="connsiteY8100" fmla="*/ 4889747 h 5071335"/>
              <a:gd name="connsiteX8101" fmla="*/ 7775193 w 13768337"/>
              <a:gd name="connsiteY8101" fmla="*/ 4856441 h 5071335"/>
              <a:gd name="connsiteX8102" fmla="*/ 7759438 w 13768337"/>
              <a:gd name="connsiteY8102" fmla="*/ 4857415 h 5071335"/>
              <a:gd name="connsiteX8103" fmla="*/ 7759438 w 13768337"/>
              <a:gd name="connsiteY8103" fmla="*/ 4829404 h 5071335"/>
              <a:gd name="connsiteX8104" fmla="*/ 7788168 w 13768337"/>
              <a:gd name="connsiteY8104" fmla="*/ 4826617 h 5071335"/>
              <a:gd name="connsiteX8105" fmla="*/ 7799289 w 13768337"/>
              <a:gd name="connsiteY8105" fmla="*/ 4802786 h 5071335"/>
              <a:gd name="connsiteX8106" fmla="*/ 7815508 w 13768337"/>
              <a:gd name="connsiteY8106" fmla="*/ 4801393 h 5071335"/>
              <a:gd name="connsiteX8107" fmla="*/ 7842385 w 13768337"/>
              <a:gd name="connsiteY8107" fmla="*/ 4806409 h 5071335"/>
              <a:gd name="connsiteX8108" fmla="*/ 7828482 w 13768337"/>
              <a:gd name="connsiteY8108" fmla="*/ 4795678 h 5071335"/>
              <a:gd name="connsiteX8109" fmla="*/ 7810410 w 13768337"/>
              <a:gd name="connsiteY8109" fmla="*/ 4764880 h 5071335"/>
              <a:gd name="connsiteX8110" fmla="*/ 7802532 w 13768337"/>
              <a:gd name="connsiteY8110" fmla="*/ 4782579 h 5071335"/>
              <a:gd name="connsiteX8111" fmla="*/ 7758046 w 13768337"/>
              <a:gd name="connsiteY8111" fmla="*/ 4753034 h 5071335"/>
              <a:gd name="connsiteX8112" fmla="*/ 7752950 w 13768337"/>
              <a:gd name="connsiteY8112" fmla="*/ 4789128 h 5071335"/>
              <a:gd name="connsiteX8113" fmla="*/ 7727464 w 13768337"/>
              <a:gd name="connsiteY8113" fmla="*/ 4791916 h 5071335"/>
              <a:gd name="connsiteX8114" fmla="*/ 7740437 w 13768337"/>
              <a:gd name="connsiteY8114" fmla="*/ 4778259 h 5071335"/>
              <a:gd name="connsiteX8115" fmla="*/ 7735805 w 13768337"/>
              <a:gd name="connsiteY8115" fmla="*/ 4759584 h 5071335"/>
              <a:gd name="connsiteX8116" fmla="*/ 7720049 w 13768337"/>
              <a:gd name="connsiteY8116" fmla="*/ 4748854 h 5071335"/>
              <a:gd name="connsiteX8117" fmla="*/ 7720049 w 13768337"/>
              <a:gd name="connsiteY8117" fmla="*/ 4740910 h 5071335"/>
              <a:gd name="connsiteX8118" fmla="*/ 7733950 w 13768337"/>
              <a:gd name="connsiteY8118" fmla="*/ 4719448 h 5071335"/>
              <a:gd name="connsiteX8119" fmla="*/ 7778900 w 13768337"/>
              <a:gd name="connsiteY8119" fmla="*/ 4711504 h 5071335"/>
              <a:gd name="connsiteX8120" fmla="*/ 7759438 w 13768337"/>
              <a:gd name="connsiteY8120" fmla="*/ 4708578 h 5071335"/>
              <a:gd name="connsiteX8121" fmla="*/ 7756193 w 13768337"/>
              <a:gd name="connsiteY8121" fmla="*/ 4694642 h 5071335"/>
              <a:gd name="connsiteX8122" fmla="*/ 7701512 w 13768337"/>
              <a:gd name="connsiteY8122" fmla="*/ 4701192 h 5071335"/>
              <a:gd name="connsiteX8123" fmla="*/ 7699660 w 13768337"/>
              <a:gd name="connsiteY8123" fmla="*/ 4703003 h 5071335"/>
              <a:gd name="connsiteX8124" fmla="*/ 7692246 w 13768337"/>
              <a:gd name="connsiteY8124" fmla="*/ 4701749 h 5071335"/>
              <a:gd name="connsiteX8125" fmla="*/ 7615785 w 13768337"/>
              <a:gd name="connsiteY8125" fmla="*/ 4706209 h 5071335"/>
              <a:gd name="connsiteX8126" fmla="*/ 7622272 w 13768337"/>
              <a:gd name="connsiteY8126" fmla="*/ 4716521 h 5071335"/>
              <a:gd name="connsiteX8127" fmla="*/ 7538862 w 13768337"/>
              <a:gd name="connsiteY8127" fmla="*/ 4718333 h 5071335"/>
              <a:gd name="connsiteX8128" fmla="*/ 7544886 w 13768337"/>
              <a:gd name="connsiteY8128" fmla="*/ 4703003 h 5071335"/>
              <a:gd name="connsiteX8129" fmla="*/ 7518472 w 13768337"/>
              <a:gd name="connsiteY8129" fmla="*/ 4730597 h 5071335"/>
              <a:gd name="connsiteX8130" fmla="*/ 7520327 w 13768337"/>
              <a:gd name="connsiteY8130" fmla="*/ 4710947 h 5071335"/>
              <a:gd name="connsiteX8131" fmla="*/ 7451281 w 13768337"/>
              <a:gd name="connsiteY8131" fmla="*/ 4711923 h 5071335"/>
              <a:gd name="connsiteX8132" fmla="*/ 7431354 w 13768337"/>
              <a:gd name="connsiteY8132" fmla="*/ 4724047 h 5071335"/>
              <a:gd name="connsiteX8133" fmla="*/ 7442013 w 13768337"/>
              <a:gd name="connsiteY8133" fmla="*/ 4748296 h 5071335"/>
              <a:gd name="connsiteX8134" fmla="*/ 7420233 w 13768337"/>
              <a:gd name="connsiteY8134" fmla="*/ 4745648 h 5071335"/>
              <a:gd name="connsiteX8135" fmla="*/ 7428110 w 13768337"/>
              <a:gd name="connsiteY8135" fmla="*/ 4730179 h 5071335"/>
              <a:gd name="connsiteX8136" fmla="*/ 7414673 w 13768337"/>
              <a:gd name="connsiteY8136" fmla="*/ 4720702 h 5071335"/>
              <a:gd name="connsiteX8137" fmla="*/ 7395209 w 13768337"/>
              <a:gd name="connsiteY8137" fmla="*/ 4741746 h 5071335"/>
              <a:gd name="connsiteX8138" fmla="*/ 7390113 w 13768337"/>
              <a:gd name="connsiteY8138" fmla="*/ 4722793 h 5071335"/>
              <a:gd name="connsiteX8139" fmla="*/ 7250632 w 13768337"/>
              <a:gd name="connsiteY8139" fmla="*/ 4751641 h 5071335"/>
              <a:gd name="connsiteX8140" fmla="*/ 7162122 w 13768337"/>
              <a:gd name="connsiteY8140" fmla="*/ 4734917 h 5071335"/>
              <a:gd name="connsiteX8141" fmla="*/ 7128295 w 13768337"/>
              <a:gd name="connsiteY8141" fmla="*/ 4713316 h 5071335"/>
              <a:gd name="connsiteX8142" fmla="*/ 7119953 w 13768337"/>
              <a:gd name="connsiteY8142" fmla="*/ 4718890 h 5071335"/>
              <a:gd name="connsiteX8143" fmla="*/ 7130612 w 13768337"/>
              <a:gd name="connsiteY8143" fmla="*/ 4743279 h 5071335"/>
              <a:gd name="connsiteX8144" fmla="*/ 7094930 w 13768337"/>
              <a:gd name="connsiteY8144" fmla="*/ 4711923 h 5071335"/>
              <a:gd name="connsiteX8145" fmla="*/ 7122734 w 13768337"/>
              <a:gd name="connsiteY8145" fmla="*/ 4709554 h 5071335"/>
              <a:gd name="connsiteX8146" fmla="*/ 7076858 w 13768337"/>
              <a:gd name="connsiteY8146" fmla="*/ 4713316 h 5071335"/>
              <a:gd name="connsiteX8147" fmla="*/ 7095858 w 13768337"/>
              <a:gd name="connsiteY8147" fmla="*/ 4726417 h 5071335"/>
              <a:gd name="connsiteX8148" fmla="*/ 6999472 w 13768337"/>
              <a:gd name="connsiteY8148" fmla="*/ 4720702 h 5071335"/>
              <a:gd name="connsiteX8149" fmla="*/ 6994837 w 13768337"/>
              <a:gd name="connsiteY8149" fmla="*/ 4755403 h 5071335"/>
              <a:gd name="connsiteX8150" fmla="*/ 7082881 w 13768337"/>
              <a:gd name="connsiteY8150" fmla="*/ 4768085 h 5071335"/>
              <a:gd name="connsiteX8151" fmla="*/ 7056469 w 13768337"/>
              <a:gd name="connsiteY8151" fmla="*/ 4789547 h 5071335"/>
              <a:gd name="connsiteX8152" fmla="*/ 7004569 w 13768337"/>
              <a:gd name="connsiteY8152" fmla="*/ 4784391 h 5071335"/>
              <a:gd name="connsiteX8153" fmla="*/ 6982790 w 13768337"/>
              <a:gd name="connsiteY8153" fmla="*/ 4801393 h 5071335"/>
              <a:gd name="connsiteX8154" fmla="*/ 6861380 w 13768337"/>
              <a:gd name="connsiteY8154" fmla="*/ 4792752 h 5071335"/>
              <a:gd name="connsiteX8155" fmla="*/ 6881307 w 13768337"/>
              <a:gd name="connsiteY8155" fmla="*/ 4795678 h 5071335"/>
              <a:gd name="connsiteX8156" fmla="*/ 6848869 w 13768337"/>
              <a:gd name="connsiteY8156" fmla="*/ 4793867 h 5071335"/>
              <a:gd name="connsiteX8157" fmla="*/ 6853039 w 13768337"/>
              <a:gd name="connsiteY8157" fmla="*/ 4804041 h 5071335"/>
              <a:gd name="connsiteX8158" fmla="*/ 6742288 w 13768337"/>
              <a:gd name="connsiteY8158" fmla="*/ 4814354 h 5071335"/>
              <a:gd name="connsiteX8159" fmla="*/ 6654243 w 13768337"/>
              <a:gd name="connsiteY8159" fmla="*/ 4843480 h 5071335"/>
              <a:gd name="connsiteX8160" fmla="*/ 6621805 w 13768337"/>
              <a:gd name="connsiteY8160" fmla="*/ 4816165 h 5071335"/>
              <a:gd name="connsiteX8161" fmla="*/ 6606049 w 13768337"/>
              <a:gd name="connsiteY8161" fmla="*/ 4817697 h 5071335"/>
              <a:gd name="connsiteX8162" fmla="*/ 6395207 w 13768337"/>
              <a:gd name="connsiteY8162" fmla="*/ 4868704 h 5071335"/>
              <a:gd name="connsiteX8163" fmla="*/ 6378523 w 13768337"/>
              <a:gd name="connsiteY8163" fmla="*/ 4855046 h 5071335"/>
              <a:gd name="connsiteX8164" fmla="*/ 6383157 w 13768337"/>
              <a:gd name="connsiteY8164" fmla="*/ 4873721 h 5071335"/>
              <a:gd name="connsiteX8165" fmla="*/ 6348403 w 13768337"/>
              <a:gd name="connsiteY8165" fmla="*/ 4861596 h 5071335"/>
              <a:gd name="connsiteX8166" fmla="*/ 6347013 w 13768337"/>
              <a:gd name="connsiteY8166" fmla="*/ 4842504 h 5071335"/>
              <a:gd name="connsiteX8167" fmla="*/ 6393814 w 13768337"/>
              <a:gd name="connsiteY8167" fmla="*/ 4847660 h 5071335"/>
              <a:gd name="connsiteX8168" fmla="*/ 6367865 w 13768337"/>
              <a:gd name="connsiteY8168" fmla="*/ 4840553 h 5071335"/>
              <a:gd name="connsiteX8169" fmla="*/ 6392888 w 13768337"/>
              <a:gd name="connsiteY8169" fmla="*/ 4838741 h 5071335"/>
              <a:gd name="connsiteX8170" fmla="*/ 6333112 w 13768337"/>
              <a:gd name="connsiteY8170" fmla="*/ 4824248 h 5071335"/>
              <a:gd name="connsiteX8171" fmla="*/ 6625050 w 13768337"/>
              <a:gd name="connsiteY8171" fmla="*/ 4790662 h 5071335"/>
              <a:gd name="connsiteX8172" fmla="*/ 6654707 w 13768337"/>
              <a:gd name="connsiteY8172" fmla="*/ 4807803 h 5071335"/>
              <a:gd name="connsiteX8173" fmla="*/ 6669535 w 13768337"/>
              <a:gd name="connsiteY8173" fmla="*/ 4791497 h 5071335"/>
              <a:gd name="connsiteX8174" fmla="*/ 6701045 w 13768337"/>
              <a:gd name="connsiteY8174" fmla="*/ 4804041 h 5071335"/>
              <a:gd name="connsiteX8175" fmla="*/ 6726532 w 13768337"/>
              <a:gd name="connsiteY8175" fmla="*/ 4772266 h 5071335"/>
              <a:gd name="connsiteX8176" fmla="*/ 6743679 w 13768337"/>
              <a:gd name="connsiteY8176" fmla="*/ 4784391 h 5071335"/>
              <a:gd name="connsiteX8177" fmla="*/ 6821528 w 13768337"/>
              <a:gd name="connsiteY8177" fmla="*/ 4757215 h 5071335"/>
              <a:gd name="connsiteX8178" fmla="*/ 6889647 w 13768337"/>
              <a:gd name="connsiteY8178" fmla="*/ 4750386 h 5071335"/>
              <a:gd name="connsiteX8179" fmla="*/ 6824309 w 13768337"/>
              <a:gd name="connsiteY8179" fmla="*/ 4748017 h 5071335"/>
              <a:gd name="connsiteX8180" fmla="*/ 6743679 w 13768337"/>
              <a:gd name="connsiteY8180" fmla="*/ 4740910 h 5071335"/>
              <a:gd name="connsiteX8181" fmla="*/ 6754336 w 13768337"/>
              <a:gd name="connsiteY8181" fmla="*/ 4718890 h 5071335"/>
              <a:gd name="connsiteX8182" fmla="*/ 6749701 w 13768337"/>
              <a:gd name="connsiteY8182" fmla="*/ 4704397 h 5071335"/>
              <a:gd name="connsiteX8183" fmla="*/ 6701510 w 13768337"/>
              <a:gd name="connsiteY8183" fmla="*/ 4725162 h 5071335"/>
              <a:gd name="connsiteX8184" fmla="*/ 6582880 w 13768337"/>
              <a:gd name="connsiteY8184" fmla="*/ 4701192 h 5071335"/>
              <a:gd name="connsiteX8185" fmla="*/ 6546272 w 13768337"/>
              <a:gd name="connsiteY8185" fmla="*/ 4714710 h 5071335"/>
              <a:gd name="connsiteX8186" fmla="*/ 6563418 w 13768337"/>
              <a:gd name="connsiteY8186" fmla="*/ 4707323 h 5071335"/>
              <a:gd name="connsiteX8187" fmla="*/ 6492519 w 13768337"/>
              <a:gd name="connsiteY8187" fmla="*/ 4705373 h 5071335"/>
              <a:gd name="connsiteX8188" fmla="*/ 6520785 w 13768337"/>
              <a:gd name="connsiteY8188" fmla="*/ 4707742 h 5071335"/>
              <a:gd name="connsiteX8189" fmla="*/ 6468885 w 13768337"/>
              <a:gd name="connsiteY8189" fmla="*/ 4722236 h 5071335"/>
              <a:gd name="connsiteX8190" fmla="*/ 6484177 w 13768337"/>
              <a:gd name="connsiteY8190" fmla="*/ 4710529 h 5071335"/>
              <a:gd name="connsiteX8191" fmla="*/ 6396596 w 13768337"/>
              <a:gd name="connsiteY8191" fmla="*/ 4703840 h 5071335"/>
              <a:gd name="connsiteX8192" fmla="*/ 6406791 w 13768337"/>
              <a:gd name="connsiteY8192" fmla="*/ 4722793 h 5071335"/>
              <a:gd name="connsiteX8193" fmla="*/ 6385938 w 13768337"/>
              <a:gd name="connsiteY8193" fmla="*/ 4724604 h 5071335"/>
              <a:gd name="connsiteX8194" fmla="*/ 6333112 w 13768337"/>
              <a:gd name="connsiteY8194" fmla="*/ 4730179 h 5071335"/>
              <a:gd name="connsiteX8195" fmla="*/ 6303917 w 13768337"/>
              <a:gd name="connsiteY8195" fmla="*/ 4723071 h 5071335"/>
              <a:gd name="connsiteX8196" fmla="*/ 6384085 w 13768337"/>
              <a:gd name="connsiteY8196" fmla="*/ 4700634 h 5071335"/>
              <a:gd name="connsiteX8197" fmla="*/ 6329868 w 13768337"/>
              <a:gd name="connsiteY8197" fmla="*/ 4696036 h 5071335"/>
              <a:gd name="connsiteX8198" fmla="*/ 6244603 w 13768337"/>
              <a:gd name="connsiteY8198" fmla="*/ 4669836 h 5071335"/>
              <a:gd name="connsiteX8199" fmla="*/ 6105122 w 13768337"/>
              <a:gd name="connsiteY8199" fmla="*/ 4677779 h 5071335"/>
              <a:gd name="connsiteX8200" fmla="*/ 6049515 w 13768337"/>
              <a:gd name="connsiteY8200" fmla="*/ 4668860 h 5071335"/>
              <a:gd name="connsiteX8201" fmla="*/ 6068514 w 13768337"/>
              <a:gd name="connsiteY8201" fmla="*/ 4686699 h 5071335"/>
              <a:gd name="connsiteX8202" fmla="*/ 6092609 w 13768337"/>
              <a:gd name="connsiteY8202" fmla="*/ 4674434 h 5071335"/>
              <a:gd name="connsiteX8203" fmla="*/ 6043491 w 13768337"/>
              <a:gd name="connsiteY8203" fmla="*/ 4679591 h 5071335"/>
              <a:gd name="connsiteX8204" fmla="*/ 5896594 w 13768337"/>
              <a:gd name="connsiteY8204" fmla="*/ 4664122 h 5071335"/>
              <a:gd name="connsiteX8205" fmla="*/ 5910033 w 13768337"/>
              <a:gd name="connsiteY8205" fmla="*/ 4676803 h 5071335"/>
              <a:gd name="connsiteX8206" fmla="*/ 5768698 w 13768337"/>
              <a:gd name="connsiteY8206" fmla="*/ 4686141 h 5071335"/>
              <a:gd name="connsiteX8207" fmla="*/ 5644508 w 13768337"/>
              <a:gd name="connsiteY8207" fmla="*/ 4688510 h 5071335"/>
              <a:gd name="connsiteX8208" fmla="*/ 5653776 w 13768337"/>
              <a:gd name="connsiteY8208" fmla="*/ 4692273 h 5071335"/>
              <a:gd name="connsiteX8209" fmla="*/ 5329864 w 13768337"/>
              <a:gd name="connsiteY8209" fmla="*/ 4724047 h 5071335"/>
              <a:gd name="connsiteX8210" fmla="*/ 5334960 w 13768337"/>
              <a:gd name="connsiteY8210" fmla="*/ 4703840 h 5071335"/>
              <a:gd name="connsiteX8211" fmla="*/ 5304377 w 13768337"/>
              <a:gd name="connsiteY8211" fmla="*/ 4721678 h 5071335"/>
              <a:gd name="connsiteX8212" fmla="*/ 5086118 w 13768337"/>
              <a:gd name="connsiteY8212" fmla="*/ 4738541 h 5071335"/>
              <a:gd name="connsiteX8213" fmla="*/ 5085192 w 13768337"/>
              <a:gd name="connsiteY8213" fmla="*/ 4728367 h 5071335"/>
              <a:gd name="connsiteX8214" fmla="*/ 5072216 w 13768337"/>
              <a:gd name="connsiteY8214" fmla="*/ 4725162 h 5071335"/>
              <a:gd name="connsiteX8215" fmla="*/ 4962392 w 13768337"/>
              <a:gd name="connsiteY8215" fmla="*/ 4751641 h 5071335"/>
              <a:gd name="connsiteX8216" fmla="*/ 4957295 w 13768337"/>
              <a:gd name="connsiteY8216" fmla="*/ 4731154 h 5071335"/>
              <a:gd name="connsiteX8217" fmla="*/ 4933198 w 13768337"/>
              <a:gd name="connsiteY8217" fmla="*/ 4734360 h 5071335"/>
              <a:gd name="connsiteX8218" fmla="*/ 4934588 w 13768337"/>
              <a:gd name="connsiteY8218" fmla="*/ 4753591 h 5071335"/>
              <a:gd name="connsiteX8219" fmla="*/ 4843299 w 13768337"/>
              <a:gd name="connsiteY8219" fmla="*/ 4742721 h 5071335"/>
              <a:gd name="connsiteX8220" fmla="*/ 4836350 w 13768337"/>
              <a:gd name="connsiteY8220" fmla="*/ 4724047 h 5071335"/>
              <a:gd name="connsiteX8221" fmla="*/ 4777961 w 13768337"/>
              <a:gd name="connsiteY8221" fmla="*/ 4730179 h 5071335"/>
              <a:gd name="connsiteX8222" fmla="*/ 4791864 w 13768337"/>
              <a:gd name="connsiteY8222" fmla="*/ 4710947 h 5071335"/>
              <a:gd name="connsiteX8223" fmla="*/ 4785839 w 13768337"/>
              <a:gd name="connsiteY8223" fmla="*/ 4707742 h 5071335"/>
              <a:gd name="connsiteX8224" fmla="*/ 4731621 w 13768337"/>
              <a:gd name="connsiteY8224" fmla="*/ 4700634 h 5071335"/>
              <a:gd name="connsiteX8225" fmla="*/ 4718184 w 13768337"/>
              <a:gd name="connsiteY8225" fmla="*/ 4715128 h 5071335"/>
              <a:gd name="connsiteX8226" fmla="*/ 4688063 w 13768337"/>
              <a:gd name="connsiteY8226" fmla="*/ 4695060 h 5071335"/>
              <a:gd name="connsiteX8227" fmla="*/ 4674161 w 13768337"/>
              <a:gd name="connsiteY8227" fmla="*/ 4696036 h 5071335"/>
              <a:gd name="connsiteX8228" fmla="*/ 4693624 w 13768337"/>
              <a:gd name="connsiteY8228" fmla="*/ 4703003 h 5071335"/>
              <a:gd name="connsiteX8229" fmla="*/ 4651919 w 13768337"/>
              <a:gd name="connsiteY8229" fmla="*/ 4731154 h 5071335"/>
              <a:gd name="connsiteX8230" fmla="*/ 4597700 w 13768337"/>
              <a:gd name="connsiteY8230" fmla="*/ 4739097 h 5071335"/>
              <a:gd name="connsiteX8231" fmla="*/ 4581947 w 13768337"/>
              <a:gd name="connsiteY8231" fmla="*/ 4709135 h 5071335"/>
              <a:gd name="connsiteX8232" fmla="*/ 4641723 w 13768337"/>
              <a:gd name="connsiteY8232" fmla="*/ 4703560 h 5071335"/>
              <a:gd name="connsiteX8233" fmla="*/ 4639406 w 13768337"/>
              <a:gd name="connsiteY8233" fmla="*/ 4703840 h 5071335"/>
              <a:gd name="connsiteX8234" fmla="*/ 4638017 w 13768337"/>
              <a:gd name="connsiteY8234" fmla="*/ 4698823 h 5071335"/>
              <a:gd name="connsiteX8235" fmla="*/ 4617627 w 13768337"/>
              <a:gd name="connsiteY8235" fmla="*/ 4689067 h 5071335"/>
              <a:gd name="connsiteX8236" fmla="*/ 4542558 w 13768337"/>
              <a:gd name="connsiteY8236" fmla="*/ 4695060 h 5071335"/>
              <a:gd name="connsiteX8237" fmla="*/ 4533291 w 13768337"/>
              <a:gd name="connsiteY8237" fmla="*/ 4710529 h 5071335"/>
              <a:gd name="connsiteX8238" fmla="*/ 4434122 w 13768337"/>
              <a:gd name="connsiteY8238" fmla="*/ 4710947 h 5071335"/>
              <a:gd name="connsiteX8239" fmla="*/ 4304835 w 13768337"/>
              <a:gd name="connsiteY8239" fmla="*/ 4668860 h 5071335"/>
              <a:gd name="connsiteX8240" fmla="*/ 4210767 w 13768337"/>
              <a:gd name="connsiteY8240" fmla="*/ 4668860 h 5071335"/>
              <a:gd name="connsiteX8241" fmla="*/ 4194085 w 13768337"/>
              <a:gd name="connsiteY8241" fmla="*/ 4685165 h 5071335"/>
              <a:gd name="connsiteX8242" fmla="*/ 4189450 w 13768337"/>
              <a:gd name="connsiteY8242" fmla="*/ 4670671 h 5071335"/>
              <a:gd name="connsiteX8243" fmla="*/ 4165817 w 13768337"/>
              <a:gd name="connsiteY8243" fmla="*/ 4682796 h 5071335"/>
              <a:gd name="connsiteX8244" fmla="*/ 4178329 w 13768337"/>
              <a:gd name="connsiteY8244" fmla="*/ 4688092 h 5071335"/>
              <a:gd name="connsiteX8245" fmla="*/ 4085187 w 13768337"/>
              <a:gd name="connsiteY8245" fmla="*/ 4697010 h 5071335"/>
              <a:gd name="connsiteX8246" fmla="*/ 4157476 w 13768337"/>
              <a:gd name="connsiteY8246" fmla="*/ 4689486 h 5071335"/>
              <a:gd name="connsiteX8247" fmla="*/ 4165354 w 13768337"/>
              <a:gd name="connsiteY8247" fmla="*/ 4678615 h 5071335"/>
              <a:gd name="connsiteX8248" fmla="*/ 4124112 w 13768337"/>
              <a:gd name="connsiteY8248" fmla="*/ 4672623 h 5071335"/>
              <a:gd name="connsiteX8249" fmla="*/ 4083333 w 13768337"/>
              <a:gd name="connsiteY8249" fmla="*/ 4651997 h 5071335"/>
              <a:gd name="connsiteX8250" fmla="*/ 4062018 w 13768337"/>
              <a:gd name="connsiteY8250" fmla="*/ 4679173 h 5071335"/>
              <a:gd name="connsiteX8251" fmla="*/ 3967485 w 13768337"/>
              <a:gd name="connsiteY8251" fmla="*/ 4645029 h 5071335"/>
              <a:gd name="connsiteX8252" fmla="*/ 3855344 w 13768337"/>
              <a:gd name="connsiteY8252" fmla="*/ 4646005 h 5071335"/>
              <a:gd name="connsiteX8253" fmla="*/ 3845148 w 13768337"/>
              <a:gd name="connsiteY8253" fmla="*/ 4623010 h 5071335"/>
              <a:gd name="connsiteX8254" fmla="*/ 3894269 w 13768337"/>
              <a:gd name="connsiteY8254" fmla="*/ 4617854 h 5071335"/>
              <a:gd name="connsiteX8255" fmla="*/ 3867855 w 13768337"/>
              <a:gd name="connsiteY8255" fmla="*/ 4600573 h 5071335"/>
              <a:gd name="connsiteX8256" fmla="*/ 3853027 w 13768337"/>
              <a:gd name="connsiteY8256" fmla="*/ 4611861 h 5071335"/>
              <a:gd name="connsiteX8257" fmla="*/ 3861368 w 13768337"/>
              <a:gd name="connsiteY8257" fmla="*/ 4586080 h 5071335"/>
              <a:gd name="connsiteX8258" fmla="*/ 3989729 w 13768337"/>
              <a:gd name="connsiteY8258" fmla="*/ 4547615 h 5071335"/>
              <a:gd name="connsiteX8259" fmla="*/ 3940144 w 13768337"/>
              <a:gd name="connsiteY8259" fmla="*/ 4548173 h 5071335"/>
              <a:gd name="connsiteX8260" fmla="*/ 3953583 w 13768337"/>
              <a:gd name="connsiteY8260" fmla="*/ 4562108 h 5071335"/>
              <a:gd name="connsiteX8261" fmla="*/ 3934584 w 13768337"/>
              <a:gd name="connsiteY8261" fmla="*/ 4568381 h 5071335"/>
              <a:gd name="connsiteX8262" fmla="*/ 3923926 w 13768337"/>
              <a:gd name="connsiteY8262" fmla="*/ 4540787 h 5071335"/>
              <a:gd name="connsiteX8263" fmla="*/ 3948022 w 13768337"/>
              <a:gd name="connsiteY8263" fmla="*/ 4537442 h 5071335"/>
              <a:gd name="connsiteX8264" fmla="*/ 3891951 w 13768337"/>
              <a:gd name="connsiteY8264" fmla="*/ 4523924 h 5071335"/>
              <a:gd name="connsiteX8265" fmla="*/ 3921609 w 13768337"/>
              <a:gd name="connsiteY8265" fmla="*/ 4515284 h 5071335"/>
              <a:gd name="connsiteX8266" fmla="*/ 3878049 w 13768337"/>
              <a:gd name="connsiteY8266" fmla="*/ 4500790 h 5071335"/>
              <a:gd name="connsiteX8267" fmla="*/ 3941534 w 13768337"/>
              <a:gd name="connsiteY8267" fmla="*/ 4477934 h 5071335"/>
              <a:gd name="connsiteX8268" fmla="*/ 3969803 w 13768337"/>
              <a:gd name="connsiteY8268" fmla="*/ 4471384 h 5071335"/>
              <a:gd name="connsiteX8269" fmla="*/ 4017068 w 13768337"/>
              <a:gd name="connsiteY8269" fmla="*/ 4441004 h 5071335"/>
              <a:gd name="connsiteX8270" fmla="*/ 4011044 w 13768337"/>
              <a:gd name="connsiteY8270" fmla="*/ 4456055 h 5071335"/>
              <a:gd name="connsiteX8271" fmla="*/ 4051359 w 13768337"/>
              <a:gd name="connsiteY8271" fmla="*/ 4408254 h 5071335"/>
              <a:gd name="connsiteX8272" fmla="*/ 4026800 w 13768337"/>
              <a:gd name="connsiteY8272" fmla="*/ 4405327 h 5071335"/>
              <a:gd name="connsiteX8273" fmla="*/ 4052287 w 13768337"/>
              <a:gd name="connsiteY8273" fmla="*/ 4372717 h 5071335"/>
              <a:gd name="connsiteX8274" fmla="*/ 4009191 w 13768337"/>
              <a:gd name="connsiteY8274" fmla="*/ 4360592 h 5071335"/>
              <a:gd name="connsiteX8275" fmla="*/ 4009191 w 13768337"/>
              <a:gd name="connsiteY8275" fmla="*/ 4376479 h 5071335"/>
              <a:gd name="connsiteX8276" fmla="*/ 3948485 w 13768337"/>
              <a:gd name="connsiteY8276" fmla="*/ 4365609 h 5071335"/>
              <a:gd name="connsiteX8277" fmla="*/ 3948485 w 13768337"/>
              <a:gd name="connsiteY8277" fmla="*/ 4349861 h 5071335"/>
              <a:gd name="connsiteX8278" fmla="*/ 4063872 w 13768337"/>
              <a:gd name="connsiteY8278" fmla="*/ 4354879 h 5071335"/>
              <a:gd name="connsiteX8279" fmla="*/ 4082870 w 13768337"/>
              <a:gd name="connsiteY8279" fmla="*/ 4324079 h 5071335"/>
              <a:gd name="connsiteX8280" fmla="*/ 4058774 w 13768337"/>
              <a:gd name="connsiteY8280" fmla="*/ 4324079 h 5071335"/>
              <a:gd name="connsiteX8281" fmla="*/ 4063872 w 13768337"/>
              <a:gd name="connsiteY8281" fmla="*/ 4334811 h 5071335"/>
              <a:gd name="connsiteX8282" fmla="*/ 4053676 w 13768337"/>
              <a:gd name="connsiteY8282" fmla="*/ 4338992 h 5071335"/>
              <a:gd name="connsiteX8283" fmla="*/ 4045799 w 13768337"/>
              <a:gd name="connsiteY8283" fmla="*/ 4338992 h 5071335"/>
              <a:gd name="connsiteX8284" fmla="*/ 4049043 w 13768337"/>
              <a:gd name="connsiteY8284" fmla="*/ 4318784 h 5071335"/>
              <a:gd name="connsiteX8285" fmla="*/ 4017532 w 13768337"/>
              <a:gd name="connsiteY8285" fmla="*/ 4318784 h 5071335"/>
              <a:gd name="connsiteX8286" fmla="*/ 3994824 w 13768337"/>
              <a:gd name="connsiteY8286" fmla="*/ 4334811 h 5071335"/>
              <a:gd name="connsiteX8287" fmla="*/ 3967485 w 13768337"/>
              <a:gd name="connsiteY8287" fmla="*/ 4308192 h 5071335"/>
              <a:gd name="connsiteX8288" fmla="*/ 3994824 w 13768337"/>
              <a:gd name="connsiteY8288" fmla="*/ 4308192 h 5071335"/>
              <a:gd name="connsiteX8289" fmla="*/ 3977679 w 13768337"/>
              <a:gd name="connsiteY8289" fmla="*/ 4290354 h 5071335"/>
              <a:gd name="connsiteX8290" fmla="*/ 3963313 w 13768337"/>
              <a:gd name="connsiteY8290" fmla="*/ 4290354 h 5071335"/>
              <a:gd name="connsiteX8291" fmla="*/ 3924852 w 13768337"/>
              <a:gd name="connsiteY8291" fmla="*/ 4290354 h 5071335"/>
              <a:gd name="connsiteX8292" fmla="*/ 3881757 w 13768337"/>
              <a:gd name="connsiteY8292" fmla="*/ 4293280 h 5071335"/>
              <a:gd name="connsiteX8293" fmla="*/ 3838661 w 13768337"/>
              <a:gd name="connsiteY8293" fmla="*/ 4302478 h 5071335"/>
              <a:gd name="connsiteX8294" fmla="*/ 3830784 w 13768337"/>
              <a:gd name="connsiteY8294" fmla="*/ 4291747 h 5071335"/>
              <a:gd name="connsiteX8295" fmla="*/ 3862294 w 13768337"/>
              <a:gd name="connsiteY8295" fmla="*/ 4286590 h 5071335"/>
              <a:gd name="connsiteX8296" fmla="*/ 3866928 w 13768337"/>
              <a:gd name="connsiteY8296" fmla="*/ 4280041 h 5071335"/>
              <a:gd name="connsiteX8297" fmla="*/ 3851172 w 13768337"/>
              <a:gd name="connsiteY8297" fmla="*/ 4267778 h 5071335"/>
              <a:gd name="connsiteX8298" fmla="*/ 3804833 w 13768337"/>
              <a:gd name="connsiteY8298" fmla="*/ 4289378 h 5071335"/>
              <a:gd name="connsiteX8299" fmla="*/ 3806687 w 13768337"/>
              <a:gd name="connsiteY8299" fmla="*/ 4277253 h 5071335"/>
              <a:gd name="connsiteX8300" fmla="*/ 3806687 w 13768337"/>
              <a:gd name="connsiteY8300" fmla="*/ 4275860 h 5071335"/>
              <a:gd name="connsiteX8301" fmla="*/ 3789078 w 13768337"/>
              <a:gd name="connsiteY8301" fmla="*/ 4281016 h 5071335"/>
              <a:gd name="connsiteX8302" fmla="*/ 3795567 w 13768337"/>
              <a:gd name="connsiteY8302" fmla="*/ 4267778 h 5071335"/>
              <a:gd name="connsiteX8303" fmla="*/ 3752471 w 13768337"/>
              <a:gd name="connsiteY8303" fmla="*/ 4266523 h 5071335"/>
              <a:gd name="connsiteX8304" fmla="*/ 3738105 w 13768337"/>
              <a:gd name="connsiteY8304" fmla="*/ 4271679 h 5071335"/>
              <a:gd name="connsiteX8305" fmla="*/ 3741348 w 13768337"/>
              <a:gd name="connsiteY8305" fmla="*/ 4266523 h 5071335"/>
              <a:gd name="connsiteX8306" fmla="*/ 3728837 w 13768337"/>
              <a:gd name="connsiteY8306" fmla="*/ 4267778 h 5071335"/>
              <a:gd name="connsiteX8307" fmla="*/ 3728837 w 13768337"/>
              <a:gd name="connsiteY8307" fmla="*/ 4271679 h 5071335"/>
              <a:gd name="connsiteX8308" fmla="*/ 3724203 w 13768337"/>
              <a:gd name="connsiteY8308" fmla="*/ 4267778 h 5071335"/>
              <a:gd name="connsiteX8309" fmla="*/ 3704740 w 13768337"/>
              <a:gd name="connsiteY8309" fmla="*/ 4269310 h 5071335"/>
              <a:gd name="connsiteX8310" fmla="*/ 3752471 w 13768337"/>
              <a:gd name="connsiteY8310" fmla="*/ 4329654 h 5071335"/>
              <a:gd name="connsiteX8311" fmla="*/ 3728837 w 13768337"/>
              <a:gd name="connsiteY8311" fmla="*/ 4308192 h 5071335"/>
              <a:gd name="connsiteX8312" fmla="*/ 3655158 w 13768337"/>
              <a:gd name="connsiteY8312" fmla="*/ 4318784 h 5071335"/>
              <a:gd name="connsiteX8313" fmla="*/ 3618549 w 13768337"/>
              <a:gd name="connsiteY8313" fmla="*/ 4281016 h 5071335"/>
              <a:gd name="connsiteX8314" fmla="*/ 3605574 w 13768337"/>
              <a:gd name="connsiteY8314" fmla="*/ 4291747 h 5071335"/>
              <a:gd name="connsiteX8315" fmla="*/ 3627817 w 13768337"/>
              <a:gd name="connsiteY8315" fmla="*/ 4302478 h 5071335"/>
              <a:gd name="connsiteX8316" fmla="*/ 3573600 w 13768337"/>
              <a:gd name="connsiteY8316" fmla="*/ 4324079 h 5071335"/>
              <a:gd name="connsiteX8317" fmla="*/ 3508261 w 13768337"/>
              <a:gd name="connsiteY8317" fmla="*/ 4324079 h 5071335"/>
              <a:gd name="connsiteX8318" fmla="*/ 3496213 w 13768337"/>
              <a:gd name="connsiteY8318" fmla="*/ 4310004 h 5071335"/>
              <a:gd name="connsiteX8319" fmla="*/ 3486945 w 13768337"/>
              <a:gd name="connsiteY8319" fmla="*/ 4318505 h 5071335"/>
              <a:gd name="connsiteX8320" fmla="*/ 3472579 w 13768337"/>
              <a:gd name="connsiteY8320" fmla="*/ 4288821 h 5071335"/>
              <a:gd name="connsiteX8321" fmla="*/ 3482311 w 13768337"/>
              <a:gd name="connsiteY8321" fmla="*/ 4278229 h 5071335"/>
              <a:gd name="connsiteX8322" fmla="*/ 3495750 w 13768337"/>
              <a:gd name="connsiteY8322" fmla="*/ 4293559 h 5071335"/>
              <a:gd name="connsiteX8323" fmla="*/ 3495750 w 13768337"/>
              <a:gd name="connsiteY8323" fmla="*/ 4291747 h 5071335"/>
              <a:gd name="connsiteX8324" fmla="*/ 3572673 w 13768337"/>
              <a:gd name="connsiteY8324" fmla="*/ 4286590 h 5071335"/>
              <a:gd name="connsiteX8325" fmla="*/ 3530504 w 13768337"/>
              <a:gd name="connsiteY8325" fmla="*/ 4263597 h 5071335"/>
              <a:gd name="connsiteX8326" fmla="*/ 3521699 w 13768337"/>
              <a:gd name="connsiteY8326" fmla="*/ 4263597 h 5071335"/>
              <a:gd name="connsiteX8327" fmla="*/ 3525870 w 13768337"/>
              <a:gd name="connsiteY8327" fmla="*/ 4259834 h 5071335"/>
              <a:gd name="connsiteX8328" fmla="*/ 3517992 w 13768337"/>
              <a:gd name="connsiteY8328" fmla="*/ 4255653 h 5071335"/>
              <a:gd name="connsiteX8329" fmla="*/ 3565723 w 13768337"/>
              <a:gd name="connsiteY8329" fmla="*/ 4239347 h 5071335"/>
              <a:gd name="connsiteX8330" fmla="*/ 3589818 w 13768337"/>
              <a:gd name="connsiteY8330" fmla="*/ 4238512 h 5071335"/>
              <a:gd name="connsiteX8331" fmla="*/ 3586575 w 13768337"/>
              <a:gd name="connsiteY8331" fmla="*/ 4244922 h 5071335"/>
              <a:gd name="connsiteX8332" fmla="*/ 3607427 w 13768337"/>
              <a:gd name="connsiteY8332" fmla="*/ 4251472 h 5071335"/>
              <a:gd name="connsiteX8333" fmla="*/ 3699643 w 13768337"/>
              <a:gd name="connsiteY8333" fmla="*/ 4253005 h 5071335"/>
              <a:gd name="connsiteX8334" fmla="*/ 3698253 w 13768337"/>
              <a:gd name="connsiteY8334" fmla="*/ 4251472 h 5071335"/>
              <a:gd name="connsiteX8335" fmla="*/ 3696862 w 13768337"/>
              <a:gd name="connsiteY8335" fmla="*/ 4250079 h 5071335"/>
              <a:gd name="connsiteX8336" fmla="*/ 3685741 w 13768337"/>
              <a:gd name="connsiteY8336" fmla="*/ 4247710 h 5071335"/>
              <a:gd name="connsiteX8337" fmla="*/ 3712618 w 13768337"/>
              <a:gd name="connsiteY8337" fmla="*/ 4236979 h 5071335"/>
              <a:gd name="connsiteX8338" fmla="*/ 3709374 w 13768337"/>
              <a:gd name="connsiteY8338" fmla="*/ 4250079 h 5071335"/>
              <a:gd name="connsiteX8339" fmla="*/ 3732080 w 13768337"/>
              <a:gd name="connsiteY8339" fmla="*/ 4246455 h 5071335"/>
              <a:gd name="connsiteX8340" fmla="*/ 3749227 w 13768337"/>
              <a:gd name="connsiteY8340" fmla="*/ 4236979 h 5071335"/>
              <a:gd name="connsiteX8341" fmla="*/ 3764982 w 13768337"/>
              <a:gd name="connsiteY8341" fmla="*/ 4242134 h 5071335"/>
              <a:gd name="connsiteX8342" fmla="*/ 3775176 w 13768337"/>
              <a:gd name="connsiteY8342" fmla="*/ 4244922 h 5071335"/>
              <a:gd name="connsiteX8343" fmla="*/ 3796956 w 13768337"/>
              <a:gd name="connsiteY8343" fmla="*/ 4247710 h 5071335"/>
              <a:gd name="connsiteX8344" fmla="*/ 3802053 w 13768337"/>
              <a:gd name="connsiteY8344" fmla="*/ 4239347 h 5071335"/>
              <a:gd name="connsiteX8345" fmla="*/ 3808077 w 13768337"/>
              <a:gd name="connsiteY8345" fmla="*/ 4247710 h 5071335"/>
              <a:gd name="connsiteX8346" fmla="*/ 3830784 w 13768337"/>
              <a:gd name="connsiteY8346" fmla="*/ 4244922 h 5071335"/>
              <a:gd name="connsiteX8347" fmla="*/ 3821052 w 13768337"/>
              <a:gd name="connsiteY8347" fmla="*/ 4239347 h 5071335"/>
              <a:gd name="connsiteX8348" fmla="*/ 3842831 w 13768337"/>
              <a:gd name="connsiteY8348" fmla="*/ 4235166 h 5071335"/>
              <a:gd name="connsiteX8349" fmla="*/ 3834027 w 13768337"/>
              <a:gd name="connsiteY8349" fmla="*/ 4244922 h 5071335"/>
              <a:gd name="connsiteX8350" fmla="*/ 3856270 w 13768337"/>
              <a:gd name="connsiteY8350" fmla="*/ 4240741 h 5071335"/>
              <a:gd name="connsiteX8351" fmla="*/ 3844222 w 13768337"/>
              <a:gd name="connsiteY8351" fmla="*/ 4234609 h 5071335"/>
              <a:gd name="connsiteX8352" fmla="*/ 3904000 w 13768337"/>
              <a:gd name="connsiteY8352" fmla="*/ 4229035 h 5071335"/>
              <a:gd name="connsiteX8353" fmla="*/ 3900756 w 13768337"/>
              <a:gd name="connsiteY8353" fmla="*/ 4231404 h 5071335"/>
              <a:gd name="connsiteX8354" fmla="*/ 3915584 w 13768337"/>
              <a:gd name="connsiteY8354" fmla="*/ 4231404 h 5071335"/>
              <a:gd name="connsiteX8355" fmla="*/ 3918365 w 13768337"/>
              <a:gd name="connsiteY8355" fmla="*/ 4236979 h 5071335"/>
              <a:gd name="connsiteX8356" fmla="*/ 3926707 w 13768337"/>
              <a:gd name="connsiteY8356" fmla="*/ 4239347 h 5071335"/>
              <a:gd name="connsiteX8357" fmla="*/ 3943851 w 13768337"/>
              <a:gd name="connsiteY8357" fmla="*/ 4246455 h 5071335"/>
              <a:gd name="connsiteX8358" fmla="*/ 3961924 w 13768337"/>
              <a:gd name="connsiteY8358" fmla="*/ 4246455 h 5071335"/>
              <a:gd name="connsiteX8359" fmla="*/ 3972583 w 13768337"/>
              <a:gd name="connsiteY8359" fmla="*/ 4229035 h 5071335"/>
              <a:gd name="connsiteX8360" fmla="*/ 3990191 w 13768337"/>
              <a:gd name="connsiteY8360" fmla="*/ 4239347 h 5071335"/>
              <a:gd name="connsiteX8361" fmla="*/ 3980460 w 13768337"/>
              <a:gd name="connsiteY8361" fmla="*/ 4253005 h 5071335"/>
              <a:gd name="connsiteX8362" fmla="*/ 3983703 w 13768337"/>
              <a:gd name="connsiteY8362" fmla="*/ 4246455 h 5071335"/>
              <a:gd name="connsiteX8363" fmla="*/ 4014288 w 13768337"/>
              <a:gd name="connsiteY8363" fmla="*/ 4255653 h 5071335"/>
              <a:gd name="connsiteX8364" fmla="*/ 4034677 w 13768337"/>
              <a:gd name="connsiteY8364" fmla="*/ 4254399 h 5071335"/>
              <a:gd name="connsiteX8365" fmla="*/ 4017532 w 13768337"/>
              <a:gd name="connsiteY8365" fmla="*/ 4244922 h 5071335"/>
              <a:gd name="connsiteX8366" fmla="*/ 4041164 w 13768337"/>
              <a:gd name="connsiteY8366" fmla="*/ 4234331 h 5071335"/>
              <a:gd name="connsiteX8367" fmla="*/ 4036531 w 13768337"/>
              <a:gd name="connsiteY8367" fmla="*/ 4254399 h 5071335"/>
              <a:gd name="connsiteX8368" fmla="*/ 4058774 w 13768337"/>
              <a:gd name="connsiteY8368" fmla="*/ 4255653 h 5071335"/>
              <a:gd name="connsiteX8369" fmla="*/ 4045799 w 13768337"/>
              <a:gd name="connsiteY8369" fmla="*/ 4234331 h 5071335"/>
              <a:gd name="connsiteX8370" fmla="*/ 4150989 w 13768337"/>
              <a:gd name="connsiteY8370" fmla="*/ 4244922 h 5071335"/>
              <a:gd name="connsiteX8371" fmla="*/ 4119480 w 13768337"/>
              <a:gd name="connsiteY8371" fmla="*/ 4234331 h 5071335"/>
              <a:gd name="connsiteX8372" fmla="*/ 4127356 w 13768337"/>
              <a:gd name="connsiteY8372" fmla="*/ 4224853 h 5071335"/>
              <a:gd name="connsiteX8373" fmla="*/ 4120869 w 13768337"/>
              <a:gd name="connsiteY8373" fmla="*/ 4224853 h 5071335"/>
              <a:gd name="connsiteX8374" fmla="*/ 4135233 w 13768337"/>
              <a:gd name="connsiteY8374" fmla="*/ 4214123 h 5071335"/>
              <a:gd name="connsiteX8375" fmla="*/ 4138478 w 13768337"/>
              <a:gd name="connsiteY8375" fmla="*/ 4199072 h 5071335"/>
              <a:gd name="connsiteX8376" fmla="*/ 4146355 w 13768337"/>
              <a:gd name="connsiteY8376" fmla="*/ 4203253 h 5071335"/>
              <a:gd name="connsiteX8377" fmla="*/ 4160720 w 13768337"/>
              <a:gd name="connsiteY8377" fmla="*/ 4203253 h 5071335"/>
              <a:gd name="connsiteX8378" fmla="*/ 4131990 w 13768337"/>
              <a:gd name="connsiteY8378" fmla="*/ 4181792 h 5071335"/>
              <a:gd name="connsiteX8379" fmla="*/ 4131990 w 13768337"/>
              <a:gd name="connsiteY8379" fmla="*/ 4208827 h 5071335"/>
              <a:gd name="connsiteX8380" fmla="*/ 4124112 w 13768337"/>
              <a:gd name="connsiteY8380" fmla="*/ 4181792 h 5071335"/>
              <a:gd name="connsiteX8381" fmla="*/ 4109747 w 13768337"/>
              <a:gd name="connsiteY8381" fmla="*/ 4187505 h 5071335"/>
              <a:gd name="connsiteX8382" fmla="*/ 4150989 w 13768337"/>
              <a:gd name="connsiteY8382" fmla="*/ 4176635 h 5071335"/>
              <a:gd name="connsiteX8383" fmla="*/ 4087504 w 13768337"/>
              <a:gd name="connsiteY8383" fmla="*/ 4161723 h 5071335"/>
              <a:gd name="connsiteX8384" fmla="*/ 4104649 w 13768337"/>
              <a:gd name="connsiteY8384" fmla="*/ 4171060 h 5071335"/>
              <a:gd name="connsiteX8385" fmla="*/ 4063872 w 13768337"/>
              <a:gd name="connsiteY8385" fmla="*/ 4187505 h 5071335"/>
              <a:gd name="connsiteX8386" fmla="*/ 4004556 w 13768337"/>
              <a:gd name="connsiteY8386" fmla="*/ 4181792 h 5071335"/>
              <a:gd name="connsiteX8387" fmla="*/ 4009191 w 13768337"/>
              <a:gd name="connsiteY8387" fmla="*/ 4165905 h 5071335"/>
              <a:gd name="connsiteX8388" fmla="*/ 4058774 w 13768337"/>
              <a:gd name="connsiteY8388" fmla="*/ 4171060 h 5071335"/>
              <a:gd name="connsiteX8389" fmla="*/ 4031896 w 13768337"/>
              <a:gd name="connsiteY8389" fmla="*/ 4134966 h 5071335"/>
              <a:gd name="connsiteX8390" fmla="*/ 4095383 w 13768337"/>
              <a:gd name="connsiteY8390" fmla="*/ 4118661 h 5071335"/>
              <a:gd name="connsiteX8391" fmla="*/ 4095383 w 13768337"/>
              <a:gd name="connsiteY8391" fmla="*/ 4134966 h 5071335"/>
              <a:gd name="connsiteX8392" fmla="*/ 4124112 w 13768337"/>
              <a:gd name="connsiteY8392" fmla="*/ 4118661 h 5071335"/>
              <a:gd name="connsiteX8393" fmla="*/ 4092138 w 13768337"/>
              <a:gd name="connsiteY8393" fmla="*/ 4104167 h 5071335"/>
              <a:gd name="connsiteX8394" fmla="*/ 4050433 w 13768337"/>
              <a:gd name="connsiteY8394" fmla="*/ 4113364 h 5071335"/>
              <a:gd name="connsiteX8395" fmla="*/ 4068505 w 13768337"/>
              <a:gd name="connsiteY8395" fmla="*/ 4093436 h 5071335"/>
              <a:gd name="connsiteX8396" fmla="*/ 3999459 w 13768337"/>
              <a:gd name="connsiteY8396" fmla="*/ 4055948 h 5071335"/>
              <a:gd name="connsiteX8397" fmla="*/ 4050433 w 13768337"/>
              <a:gd name="connsiteY8397" fmla="*/ 4041036 h 5071335"/>
              <a:gd name="connsiteX8398" fmla="*/ 3967485 w 13768337"/>
              <a:gd name="connsiteY8398" fmla="*/ 4025010 h 5071335"/>
              <a:gd name="connsiteX8399" fmla="*/ 4045799 w 13768337"/>
              <a:gd name="connsiteY8399" fmla="*/ 4014279 h 5071335"/>
              <a:gd name="connsiteX8400" fmla="*/ 4041164 w 13768337"/>
              <a:gd name="connsiteY8400" fmla="*/ 4055948 h 5071335"/>
              <a:gd name="connsiteX8401" fmla="*/ 4077773 w 13768337"/>
              <a:gd name="connsiteY8401" fmla="*/ 4046053 h 5071335"/>
              <a:gd name="connsiteX8402" fmla="*/ 4109747 w 13768337"/>
              <a:gd name="connsiteY8402" fmla="*/ 4076992 h 5071335"/>
              <a:gd name="connsiteX8403" fmla="*/ 4092138 w 13768337"/>
              <a:gd name="connsiteY8403" fmla="*/ 4093436 h 5071335"/>
              <a:gd name="connsiteX8404" fmla="*/ 4095383 w 13768337"/>
              <a:gd name="connsiteY8404" fmla="*/ 4104167 h 5071335"/>
              <a:gd name="connsiteX8405" fmla="*/ 4124112 w 13768337"/>
              <a:gd name="connsiteY8405" fmla="*/ 4071835 h 5071335"/>
              <a:gd name="connsiteX8406" fmla="*/ 4150989 w 13768337"/>
              <a:gd name="connsiteY8406" fmla="*/ 4066260 h 5071335"/>
              <a:gd name="connsiteX8407" fmla="*/ 4165817 w 13768337"/>
              <a:gd name="connsiteY8407" fmla="*/ 4087861 h 5071335"/>
              <a:gd name="connsiteX8408" fmla="*/ 4192694 w 13768337"/>
              <a:gd name="connsiteY8408" fmla="*/ 4041036 h 5071335"/>
              <a:gd name="connsiteX8409" fmla="*/ 4229303 w 13768337"/>
              <a:gd name="connsiteY8409" fmla="*/ 4061104 h 5071335"/>
              <a:gd name="connsiteX8410" fmla="*/ 4271009 w 13768337"/>
              <a:gd name="connsiteY8410" fmla="*/ 4082566 h 5071335"/>
              <a:gd name="connsiteX8411" fmla="*/ 4283520 w 13768337"/>
              <a:gd name="connsiteY8411" fmla="*/ 4046053 h 5071335"/>
              <a:gd name="connsiteX8412" fmla="*/ 4283520 w 13768337"/>
              <a:gd name="connsiteY8412" fmla="*/ 4061104 h 5071335"/>
              <a:gd name="connsiteX8413" fmla="*/ 4307153 w 13768337"/>
              <a:gd name="connsiteY8413" fmla="*/ 4071835 h 5071335"/>
              <a:gd name="connsiteX8414" fmla="*/ 4417904 w 13768337"/>
              <a:gd name="connsiteY8414" fmla="*/ 4056784 h 5071335"/>
              <a:gd name="connsiteX8415" fmla="*/ 4403538 w 13768337"/>
              <a:gd name="connsiteY8415" fmla="*/ 4071835 h 5071335"/>
              <a:gd name="connsiteX8416" fmla="*/ 4435049 w 13768337"/>
              <a:gd name="connsiteY8416" fmla="*/ 4082566 h 5071335"/>
              <a:gd name="connsiteX8417" fmla="*/ 4444782 w 13768337"/>
              <a:gd name="connsiteY8417" fmla="*/ 4071835 h 5071335"/>
              <a:gd name="connsiteX8418" fmla="*/ 4427172 w 13768337"/>
              <a:gd name="connsiteY8418" fmla="*/ 4056784 h 5071335"/>
              <a:gd name="connsiteX8419" fmla="*/ 4439684 w 13768337"/>
              <a:gd name="connsiteY8419" fmla="*/ 4061104 h 5071335"/>
              <a:gd name="connsiteX8420" fmla="*/ 4390564 w 13768337"/>
              <a:gd name="connsiteY8420" fmla="*/ 4025010 h 5071335"/>
              <a:gd name="connsiteX8421" fmla="*/ 4361834 w 13768337"/>
              <a:gd name="connsiteY8421" fmla="*/ 4041036 h 5071335"/>
              <a:gd name="connsiteX8422" fmla="*/ 4353956 w 13768337"/>
              <a:gd name="connsiteY8422" fmla="*/ 4025010 h 5071335"/>
              <a:gd name="connsiteX8423" fmla="*/ 4380833 w 13768337"/>
              <a:gd name="connsiteY8423" fmla="*/ 4019435 h 5071335"/>
              <a:gd name="connsiteX8424" fmla="*/ 4229303 w 13768337"/>
              <a:gd name="connsiteY8424" fmla="*/ 3997973 h 5071335"/>
              <a:gd name="connsiteX8425" fmla="*/ 4229303 w 13768337"/>
              <a:gd name="connsiteY8425" fmla="*/ 3983480 h 5071335"/>
              <a:gd name="connsiteX8426" fmla="*/ 4197792 w 13768337"/>
              <a:gd name="connsiteY8426" fmla="*/ 4003409 h 5071335"/>
              <a:gd name="connsiteX8427" fmla="*/ 4210303 w 13768337"/>
              <a:gd name="connsiteY8427" fmla="*/ 4014279 h 5071335"/>
              <a:gd name="connsiteX8428" fmla="*/ 4182964 w 13768337"/>
              <a:gd name="connsiteY8428" fmla="*/ 4019435 h 5071335"/>
              <a:gd name="connsiteX8429" fmla="*/ 4192694 w 13768337"/>
              <a:gd name="connsiteY8429" fmla="*/ 4008704 h 5071335"/>
              <a:gd name="connsiteX8430" fmla="*/ 4141721 w 13768337"/>
              <a:gd name="connsiteY8430" fmla="*/ 3983480 h 5071335"/>
              <a:gd name="connsiteX8431" fmla="*/ 4119480 w 13768337"/>
              <a:gd name="connsiteY8431" fmla="*/ 3972610 h 5071335"/>
              <a:gd name="connsiteX8432" fmla="*/ 4124112 w 13768337"/>
              <a:gd name="connsiteY8432" fmla="*/ 3945573 h 5071335"/>
              <a:gd name="connsiteX8433" fmla="*/ 4229765 w 13768337"/>
              <a:gd name="connsiteY8433" fmla="*/ 3933450 h 5071335"/>
              <a:gd name="connsiteX8434" fmla="*/ 4216790 w 13768337"/>
              <a:gd name="connsiteY8434" fmla="*/ 3923137 h 5071335"/>
              <a:gd name="connsiteX8435" fmla="*/ 4239497 w 13768337"/>
              <a:gd name="connsiteY8435" fmla="*/ 3917422 h 5071335"/>
              <a:gd name="connsiteX8436" fmla="*/ 4248765 w 13768337"/>
              <a:gd name="connsiteY8436" fmla="*/ 3893173 h 5071335"/>
              <a:gd name="connsiteX8437" fmla="*/ 4285373 w 13768337"/>
              <a:gd name="connsiteY8437" fmla="*/ 3893173 h 5071335"/>
              <a:gd name="connsiteX8438" fmla="*/ 4224669 w 13768337"/>
              <a:gd name="connsiteY8438" fmla="*/ 3888017 h 5071335"/>
              <a:gd name="connsiteX8439" fmla="*/ 4210303 w 13768337"/>
              <a:gd name="connsiteY8439" fmla="*/ 3862235 h 5071335"/>
              <a:gd name="connsiteX8440" fmla="*/ 4134943 w 13768337"/>
              <a:gd name="connsiteY8440" fmla="*/ 3864047 h 5071335"/>
              <a:gd name="connsiteX8441" fmla="*/ 4131981 w 13768337"/>
              <a:gd name="connsiteY8441" fmla="*/ 3864862 h 5071335"/>
              <a:gd name="connsiteX8442" fmla="*/ 4138641 w 13768337"/>
              <a:gd name="connsiteY8442" fmla="*/ 3870670 h 5071335"/>
              <a:gd name="connsiteX8443" fmla="*/ 4157349 w 13768337"/>
              <a:gd name="connsiteY8443" fmla="*/ 3868981 h 5071335"/>
              <a:gd name="connsiteX8444" fmla="*/ 4167544 w 13768337"/>
              <a:gd name="connsiteY8444" fmla="*/ 3880548 h 5071335"/>
              <a:gd name="connsiteX8445" fmla="*/ 4165892 w 13768337"/>
              <a:gd name="connsiteY8445" fmla="*/ 3888800 h 5071335"/>
              <a:gd name="connsiteX8446" fmla="*/ 4200862 w 13768337"/>
              <a:gd name="connsiteY8446" fmla="*/ 3887253 h 5071335"/>
              <a:gd name="connsiteX8447" fmla="*/ 4229303 w 13768337"/>
              <a:gd name="connsiteY8447" fmla="*/ 3893173 h 5071335"/>
              <a:gd name="connsiteX8448" fmla="*/ 4087504 w 13768337"/>
              <a:gd name="connsiteY8448" fmla="*/ 3934703 h 5071335"/>
              <a:gd name="connsiteX8449" fmla="*/ 4095383 w 13768337"/>
              <a:gd name="connsiteY8449" fmla="*/ 3940278 h 5071335"/>
              <a:gd name="connsiteX8450" fmla="*/ 4087504 w 13768337"/>
              <a:gd name="connsiteY8450" fmla="*/ 3951149 h 5071335"/>
              <a:gd name="connsiteX8451" fmla="*/ 4077773 w 13768337"/>
              <a:gd name="connsiteY8451" fmla="*/ 3951149 h 5071335"/>
              <a:gd name="connsiteX8452" fmla="*/ 4068505 w 13768337"/>
              <a:gd name="connsiteY8452" fmla="*/ 3925366 h 5071335"/>
              <a:gd name="connsiteX8453" fmla="*/ 4092080 w 13768337"/>
              <a:gd name="connsiteY8453" fmla="*/ 3913538 h 5071335"/>
              <a:gd name="connsiteX8454" fmla="*/ 4117935 w 13768337"/>
              <a:gd name="connsiteY8454" fmla="*/ 3914705 h 5071335"/>
              <a:gd name="connsiteX8455" fmla="*/ 4116142 w 13768337"/>
              <a:gd name="connsiteY8455" fmla="*/ 3912311 h 5071335"/>
              <a:gd name="connsiteX8456" fmla="*/ 4111101 w 13768337"/>
              <a:gd name="connsiteY8456" fmla="*/ 3908587 h 5071335"/>
              <a:gd name="connsiteX8457" fmla="*/ 4098498 w 13768337"/>
              <a:gd name="connsiteY8457" fmla="*/ 3909256 h 5071335"/>
              <a:gd name="connsiteX8458" fmla="*/ 4099671 w 13768337"/>
              <a:gd name="connsiteY8458" fmla="*/ 3905904 h 5071335"/>
              <a:gd name="connsiteX8459" fmla="*/ 4088663 w 13768337"/>
              <a:gd name="connsiteY8459" fmla="*/ 3905245 h 5071335"/>
              <a:gd name="connsiteX8460" fmla="*/ 4041164 w 13768337"/>
              <a:gd name="connsiteY8460" fmla="*/ 3898748 h 5071335"/>
              <a:gd name="connsiteX8461" fmla="*/ 4060628 w 13768337"/>
              <a:gd name="connsiteY8461" fmla="*/ 3877147 h 5071335"/>
              <a:gd name="connsiteX8462" fmla="*/ 3974436 w 13768337"/>
              <a:gd name="connsiteY8462" fmla="*/ 3874499 h 5071335"/>
              <a:gd name="connsiteX8463" fmla="*/ 3982314 w 13768337"/>
              <a:gd name="connsiteY8463" fmla="*/ 3882443 h 5071335"/>
              <a:gd name="connsiteX8464" fmla="*/ 3935974 w 13768337"/>
              <a:gd name="connsiteY8464" fmla="*/ 3898748 h 5071335"/>
              <a:gd name="connsiteX8465" fmla="*/ 3967485 w 13768337"/>
              <a:gd name="connsiteY8465" fmla="*/ 3877147 h 5071335"/>
              <a:gd name="connsiteX8466" fmla="*/ 3969803 w 13768337"/>
              <a:gd name="connsiteY8466" fmla="*/ 3874499 h 5071335"/>
              <a:gd name="connsiteX8467" fmla="*/ 3789078 w 13768337"/>
              <a:gd name="connsiteY8467" fmla="*/ 3872130 h 5071335"/>
              <a:gd name="connsiteX8468" fmla="*/ 3926707 w 13768337"/>
              <a:gd name="connsiteY8468" fmla="*/ 3851922 h 5071335"/>
              <a:gd name="connsiteX8469" fmla="*/ 3953120 w 13768337"/>
              <a:gd name="connsiteY8469" fmla="*/ 3846348 h 5071335"/>
              <a:gd name="connsiteX8470" fmla="*/ 3963313 w 13768337"/>
              <a:gd name="connsiteY8470" fmla="*/ 3830321 h 5071335"/>
              <a:gd name="connsiteX8471" fmla="*/ 3870636 w 13768337"/>
              <a:gd name="connsiteY8471" fmla="*/ 3793531 h 5071335"/>
              <a:gd name="connsiteX8472" fmla="*/ 3873878 w 13768337"/>
              <a:gd name="connsiteY8472" fmla="*/ 3797712 h 5071335"/>
              <a:gd name="connsiteX8473" fmla="*/ 3883148 w 13768337"/>
              <a:gd name="connsiteY8473" fmla="*/ 3797712 h 5071335"/>
              <a:gd name="connsiteX8474" fmla="*/ 3902146 w 13768337"/>
              <a:gd name="connsiteY8474" fmla="*/ 3812205 h 5071335"/>
              <a:gd name="connsiteX8475" fmla="*/ 3931340 w 13768337"/>
              <a:gd name="connsiteY8475" fmla="*/ 3815410 h 5071335"/>
              <a:gd name="connsiteX8476" fmla="*/ 3935974 w 13768337"/>
              <a:gd name="connsiteY8476" fmla="*/ 3835617 h 5071335"/>
              <a:gd name="connsiteX8477" fmla="*/ 3880366 w 13768337"/>
              <a:gd name="connsiteY8477" fmla="*/ 3851922 h 5071335"/>
              <a:gd name="connsiteX8478" fmla="*/ 3815955 w 13768337"/>
              <a:gd name="connsiteY8478" fmla="*/ 3846348 h 5071335"/>
              <a:gd name="connsiteX8479" fmla="*/ 3815955 w 13768337"/>
              <a:gd name="connsiteY8479" fmla="*/ 3827674 h 5071335"/>
              <a:gd name="connsiteX8480" fmla="*/ 3801126 w 13768337"/>
              <a:gd name="connsiteY8480" fmla="*/ 3828510 h 5071335"/>
              <a:gd name="connsiteX8481" fmla="*/ 3796492 w 13768337"/>
              <a:gd name="connsiteY8481" fmla="*/ 3818198 h 5071335"/>
              <a:gd name="connsiteX8482" fmla="*/ 3833564 w 13768337"/>
              <a:gd name="connsiteY8482" fmla="*/ 3809836 h 5071335"/>
              <a:gd name="connsiteX8483" fmla="*/ 3815955 w 13768337"/>
              <a:gd name="connsiteY8483" fmla="*/ 3788792 h 5071335"/>
              <a:gd name="connsiteX8484" fmla="*/ 3796956 w 13768337"/>
              <a:gd name="connsiteY8484" fmla="*/ 3793808 h 5071335"/>
              <a:gd name="connsiteX8485" fmla="*/ 3780736 w 13768337"/>
              <a:gd name="connsiteY8485" fmla="*/ 3778062 h 5071335"/>
              <a:gd name="connsiteX8486" fmla="*/ 3791859 w 13768337"/>
              <a:gd name="connsiteY8486" fmla="*/ 3792973 h 5071335"/>
              <a:gd name="connsiteX8487" fmla="*/ 3737178 w 13768337"/>
              <a:gd name="connsiteY8487" fmla="*/ 3797991 h 5071335"/>
              <a:gd name="connsiteX8488" fmla="*/ 3737178 w 13768337"/>
              <a:gd name="connsiteY8488" fmla="*/ 3814573 h 5071335"/>
              <a:gd name="connsiteX8489" fmla="*/ 3712618 w 13768337"/>
              <a:gd name="connsiteY8489" fmla="*/ 3820149 h 5071335"/>
              <a:gd name="connsiteX8490" fmla="*/ 3671376 w 13768337"/>
              <a:gd name="connsiteY8490" fmla="*/ 3803704 h 5071335"/>
              <a:gd name="connsiteX8491" fmla="*/ 3631061 w 13768337"/>
              <a:gd name="connsiteY8491" fmla="*/ 3776668 h 5071335"/>
              <a:gd name="connsiteX8492" fmla="*/ 3593989 w 13768337"/>
              <a:gd name="connsiteY8492" fmla="*/ 3792973 h 5071335"/>
              <a:gd name="connsiteX8493" fmla="*/ 3616232 w 13768337"/>
              <a:gd name="connsiteY8493" fmla="*/ 3766773 h 5071335"/>
              <a:gd name="connsiteX8494" fmla="*/ 3638938 w 13768337"/>
              <a:gd name="connsiteY8494" fmla="*/ 3770954 h 5071335"/>
              <a:gd name="connsiteX8495" fmla="*/ 3644905 w 13768337"/>
              <a:gd name="connsiteY8495" fmla="*/ 3755032 h 5071335"/>
              <a:gd name="connsiteX8496" fmla="*/ 3650885 w 13768337"/>
              <a:gd name="connsiteY8496" fmla="*/ 3751780 h 5071335"/>
              <a:gd name="connsiteX8497" fmla="*/ 3643251 w 13768337"/>
              <a:gd name="connsiteY8497" fmla="*/ 3745289 h 5071335"/>
              <a:gd name="connsiteX8498" fmla="*/ 3618422 w 13768337"/>
              <a:gd name="connsiteY8498" fmla="*/ 3741604 h 5071335"/>
              <a:gd name="connsiteX8499" fmla="*/ 3617032 w 13768337"/>
              <a:gd name="connsiteY8499" fmla="*/ 3722512 h 5071335"/>
              <a:gd name="connsiteX8500" fmla="*/ 3663834 w 13768337"/>
              <a:gd name="connsiteY8500" fmla="*/ 3727668 h 5071335"/>
              <a:gd name="connsiteX8501" fmla="*/ 3637885 w 13768337"/>
              <a:gd name="connsiteY8501" fmla="*/ 3720561 h 5071335"/>
              <a:gd name="connsiteX8502" fmla="*/ 3662908 w 13768337"/>
              <a:gd name="connsiteY8502" fmla="*/ 3718749 h 5071335"/>
              <a:gd name="connsiteX8503" fmla="*/ 3603130 w 13768337"/>
              <a:gd name="connsiteY8503" fmla="*/ 3704255 h 5071335"/>
              <a:gd name="connsiteX8504" fmla="*/ 3895069 w 13768337"/>
              <a:gd name="connsiteY8504" fmla="*/ 3670670 h 5071335"/>
              <a:gd name="connsiteX8505" fmla="*/ 3895775 w 13768337"/>
              <a:gd name="connsiteY8505" fmla="*/ 3671031 h 5071335"/>
              <a:gd name="connsiteX8506" fmla="*/ 3899829 w 13768337"/>
              <a:gd name="connsiteY8506" fmla="*/ 3668105 h 5071335"/>
              <a:gd name="connsiteX8507" fmla="*/ 3910024 w 13768337"/>
              <a:gd name="connsiteY8507" fmla="*/ 3669080 h 5071335"/>
              <a:gd name="connsiteX8508" fmla="*/ 3923463 w 13768337"/>
              <a:gd name="connsiteY8508" fmla="*/ 3683017 h 5071335"/>
              <a:gd name="connsiteX8509" fmla="*/ 3915392 w 13768337"/>
              <a:gd name="connsiteY8509" fmla="*/ 3681737 h 5071335"/>
              <a:gd name="connsiteX8510" fmla="*/ 3924725 w 13768337"/>
              <a:gd name="connsiteY8510" fmla="*/ 3687811 h 5071335"/>
              <a:gd name="connsiteX8511" fmla="*/ 3939554 w 13768337"/>
              <a:gd name="connsiteY8511" fmla="*/ 3671505 h 5071335"/>
              <a:gd name="connsiteX8512" fmla="*/ 3971065 w 13768337"/>
              <a:gd name="connsiteY8512" fmla="*/ 3684048 h 5071335"/>
              <a:gd name="connsiteX8513" fmla="*/ 3996552 w 13768337"/>
              <a:gd name="connsiteY8513" fmla="*/ 3652274 h 5071335"/>
              <a:gd name="connsiteX8514" fmla="*/ 4013698 w 13768337"/>
              <a:gd name="connsiteY8514" fmla="*/ 3664399 h 5071335"/>
              <a:gd name="connsiteX8515" fmla="*/ 4076321 w 13768337"/>
              <a:gd name="connsiteY8515" fmla="*/ 3644644 h 5071335"/>
              <a:gd name="connsiteX8516" fmla="*/ 4088860 w 13768337"/>
              <a:gd name="connsiteY8516" fmla="*/ 3638533 h 5071335"/>
              <a:gd name="connsiteX8517" fmla="*/ 4078235 w 13768337"/>
              <a:gd name="connsiteY8517" fmla="*/ 3637028 h 5071335"/>
              <a:gd name="connsiteX8518" fmla="*/ 4115307 w 13768337"/>
              <a:gd name="connsiteY8518" fmla="*/ 3620722 h 5071335"/>
              <a:gd name="connsiteX8519" fmla="*/ 4142184 w 13768337"/>
              <a:gd name="connsiteY8519" fmla="*/ 3631593 h 5071335"/>
              <a:gd name="connsiteX8520" fmla="*/ 4118915 w 13768337"/>
              <a:gd name="connsiteY8520" fmla="*/ 3640428 h 5071335"/>
              <a:gd name="connsiteX8521" fmla="*/ 4121437 w 13768337"/>
              <a:gd name="connsiteY8521" fmla="*/ 3640289 h 5071335"/>
              <a:gd name="connsiteX8522" fmla="*/ 4159666 w 13768337"/>
              <a:gd name="connsiteY8522" fmla="*/ 3630394 h 5071335"/>
              <a:gd name="connsiteX8523" fmla="*/ 4094328 w 13768337"/>
              <a:gd name="connsiteY8523" fmla="*/ 3628025 h 5071335"/>
              <a:gd name="connsiteX8524" fmla="*/ 4013698 w 13768337"/>
              <a:gd name="connsiteY8524" fmla="*/ 3620918 h 5071335"/>
              <a:gd name="connsiteX8525" fmla="*/ 4024355 w 13768337"/>
              <a:gd name="connsiteY8525" fmla="*/ 3598898 h 5071335"/>
              <a:gd name="connsiteX8526" fmla="*/ 4019721 w 13768337"/>
              <a:gd name="connsiteY8526" fmla="*/ 3584405 h 5071335"/>
              <a:gd name="connsiteX8527" fmla="*/ 3971529 w 13768337"/>
              <a:gd name="connsiteY8527" fmla="*/ 3605170 h 5071335"/>
              <a:gd name="connsiteX8528" fmla="*/ 3852899 w 13768337"/>
              <a:gd name="connsiteY8528" fmla="*/ 3581200 h 5071335"/>
              <a:gd name="connsiteX8529" fmla="*/ 3816291 w 13768337"/>
              <a:gd name="connsiteY8529" fmla="*/ 3594718 h 5071335"/>
              <a:gd name="connsiteX8530" fmla="*/ 3818262 w 13768337"/>
              <a:gd name="connsiteY8530" fmla="*/ 3589353 h 5071335"/>
              <a:gd name="connsiteX8531" fmla="*/ 3831517 w 13768337"/>
              <a:gd name="connsiteY8531" fmla="*/ 3587587 h 5071335"/>
              <a:gd name="connsiteX8532" fmla="*/ 3827193 w 13768337"/>
              <a:gd name="connsiteY8532" fmla="*/ 3586212 h 5071335"/>
              <a:gd name="connsiteX8533" fmla="*/ 3825171 w 13768337"/>
              <a:gd name="connsiteY8533" fmla="*/ 3584984 h 5071335"/>
              <a:gd name="connsiteX8534" fmla="*/ 3814589 w 13768337"/>
              <a:gd name="connsiteY8534" fmla="*/ 3581981 h 5071335"/>
              <a:gd name="connsiteX8535" fmla="*/ 3814565 w 13768337"/>
              <a:gd name="connsiteY8535" fmla="*/ 3581979 h 5071335"/>
              <a:gd name="connsiteX8536" fmla="*/ 3805297 w 13768337"/>
              <a:gd name="connsiteY8536" fmla="*/ 3599399 h 5071335"/>
              <a:gd name="connsiteX8537" fmla="*/ 3827076 w 13768337"/>
              <a:gd name="connsiteY8537" fmla="*/ 3626018 h 5071335"/>
              <a:gd name="connsiteX8538" fmla="*/ 3782128 w 13768337"/>
              <a:gd name="connsiteY8538" fmla="*/ 3614729 h 5071335"/>
              <a:gd name="connsiteX8539" fmla="*/ 3800663 w 13768337"/>
              <a:gd name="connsiteY8539" fmla="*/ 3603581 h 5071335"/>
              <a:gd name="connsiteX8540" fmla="*/ 3794582 w 13768337"/>
              <a:gd name="connsiteY8540" fmla="*/ 3589540 h 5071335"/>
              <a:gd name="connsiteX8541" fmla="*/ 3790608 w 13768337"/>
              <a:gd name="connsiteY8541" fmla="*/ 3588231 h 5071335"/>
              <a:gd name="connsiteX8542" fmla="*/ 3785498 w 13768337"/>
              <a:gd name="connsiteY8542" fmla="*/ 3600715 h 5071335"/>
              <a:gd name="connsiteX8543" fmla="*/ 3778396 w 13768337"/>
              <a:gd name="connsiteY8543" fmla="*/ 3601565 h 5071335"/>
              <a:gd name="connsiteX8544" fmla="*/ 3779347 w 13768337"/>
              <a:gd name="connsiteY8544" fmla="*/ 3620443 h 5071335"/>
              <a:gd name="connsiteX8545" fmla="*/ 3746910 w 13768337"/>
              <a:gd name="connsiteY8545" fmla="*/ 3620443 h 5071335"/>
              <a:gd name="connsiteX8546" fmla="*/ 3749863 w 13768337"/>
              <a:gd name="connsiteY8546" fmla="*/ 3605113 h 5071335"/>
              <a:gd name="connsiteX8547" fmla="*/ 3748748 w 13768337"/>
              <a:gd name="connsiteY8547" fmla="*/ 3601040 h 5071335"/>
              <a:gd name="connsiteX8548" fmla="*/ 3738904 w 13768337"/>
              <a:gd name="connsiteY8548" fmla="*/ 3602243 h 5071335"/>
              <a:gd name="connsiteX8549" fmla="*/ 3754196 w 13768337"/>
              <a:gd name="connsiteY8549" fmla="*/ 3590537 h 5071335"/>
              <a:gd name="connsiteX8550" fmla="*/ 3727197 w 13768337"/>
              <a:gd name="connsiteY8550" fmla="*/ 3583115 h 5071335"/>
              <a:gd name="connsiteX8551" fmla="*/ 3737178 w 13768337"/>
              <a:gd name="connsiteY8551" fmla="*/ 3588948 h 5071335"/>
              <a:gd name="connsiteX8552" fmla="*/ 3732544 w 13768337"/>
              <a:gd name="connsiteY8552" fmla="*/ 3620722 h 5071335"/>
              <a:gd name="connsiteX8553" fmla="*/ 3712618 w 13768337"/>
              <a:gd name="connsiteY8553" fmla="*/ 3588948 h 5071335"/>
              <a:gd name="connsiteX8554" fmla="*/ 3686668 w 13768337"/>
              <a:gd name="connsiteY8554" fmla="*/ 3596978 h 5071335"/>
              <a:gd name="connsiteX8555" fmla="*/ 3676530 w 13768337"/>
              <a:gd name="connsiteY8555" fmla="*/ 3596748 h 5071335"/>
              <a:gd name="connsiteX8556" fmla="*/ 3676810 w 13768337"/>
              <a:gd name="connsiteY8556" fmla="*/ 3602801 h 5071335"/>
              <a:gd name="connsiteX8557" fmla="*/ 3668701 w 13768337"/>
              <a:gd name="connsiteY8557" fmla="*/ 3597664 h 5071335"/>
              <a:gd name="connsiteX8558" fmla="*/ 3657937 w 13768337"/>
              <a:gd name="connsiteY8558" fmla="*/ 3599678 h 5071335"/>
              <a:gd name="connsiteX8559" fmla="*/ 3657376 w 13768337"/>
              <a:gd name="connsiteY8559" fmla="*/ 3597766 h 5071335"/>
              <a:gd name="connsiteX8560" fmla="*/ 3655957 w 13768337"/>
              <a:gd name="connsiteY8560" fmla="*/ 3604612 h 5071335"/>
              <a:gd name="connsiteX8561" fmla="*/ 3648051 w 13768337"/>
              <a:gd name="connsiteY8561" fmla="*/ 3601354 h 5071335"/>
              <a:gd name="connsiteX8562" fmla="*/ 3648206 w 13768337"/>
              <a:gd name="connsiteY8562" fmla="*/ 3601212 h 5071335"/>
              <a:gd name="connsiteX8563" fmla="*/ 3647676 w 13768337"/>
              <a:gd name="connsiteY8563" fmla="*/ 3601199 h 5071335"/>
              <a:gd name="connsiteX8564" fmla="*/ 3635985 w 13768337"/>
              <a:gd name="connsiteY8564" fmla="*/ 3596381 h 5071335"/>
              <a:gd name="connsiteX8565" fmla="*/ 3615817 w 13768337"/>
              <a:gd name="connsiteY8565" fmla="*/ 3600144 h 5071335"/>
              <a:gd name="connsiteX8566" fmla="*/ 3612240 w 13768337"/>
              <a:gd name="connsiteY8566" fmla="*/ 3602975 h 5071335"/>
              <a:gd name="connsiteX8567" fmla="*/ 3627447 w 13768337"/>
              <a:gd name="connsiteY8567" fmla="*/ 3600730 h 5071335"/>
              <a:gd name="connsiteX8568" fmla="*/ 3647676 w 13768337"/>
              <a:gd name="connsiteY8568" fmla="*/ 3601199 h 5071335"/>
              <a:gd name="connsiteX8569" fmla="*/ 3648051 w 13768337"/>
              <a:gd name="connsiteY8569" fmla="*/ 3601354 h 5071335"/>
              <a:gd name="connsiteX8570" fmla="*/ 3640133 w 13768337"/>
              <a:gd name="connsiteY8570" fmla="*/ 3608598 h 5071335"/>
              <a:gd name="connsiteX8571" fmla="*/ 3611135 w 13768337"/>
              <a:gd name="connsiteY8571" fmla="*/ 3623649 h 5071335"/>
              <a:gd name="connsiteX8572" fmla="*/ 3630134 w 13768337"/>
              <a:gd name="connsiteY8572" fmla="*/ 3623649 h 5071335"/>
              <a:gd name="connsiteX8573" fmla="*/ 3579161 w 13768337"/>
              <a:gd name="connsiteY8573" fmla="*/ 3618074 h 5071335"/>
              <a:gd name="connsiteX8574" fmla="*/ 3598218 w 13768337"/>
              <a:gd name="connsiteY8574" fmla="*/ 3606776 h 5071335"/>
              <a:gd name="connsiteX8575" fmla="*/ 3591314 w 13768337"/>
              <a:gd name="connsiteY8575" fmla="*/ 3601982 h 5071335"/>
              <a:gd name="connsiteX8576" fmla="*/ 3573937 w 13768337"/>
              <a:gd name="connsiteY8576" fmla="*/ 3603079 h 5071335"/>
              <a:gd name="connsiteX8577" fmla="*/ 3629978 w 13768337"/>
              <a:gd name="connsiteY8577" fmla="*/ 3589067 h 5071335"/>
              <a:gd name="connsiteX8578" fmla="*/ 3648103 w 13768337"/>
              <a:gd name="connsiteY8578" fmla="*/ 3582737 h 5071335"/>
              <a:gd name="connsiteX8579" fmla="*/ 3646858 w 13768337"/>
              <a:gd name="connsiteY8579" fmla="*/ 3575032 h 5071335"/>
              <a:gd name="connsiteX8580" fmla="*/ 3640875 w 13768337"/>
              <a:gd name="connsiteY8580" fmla="*/ 3570399 h 5071335"/>
              <a:gd name="connsiteX8581" fmla="*/ 3626126 w 13768337"/>
              <a:gd name="connsiteY8581" fmla="*/ 3566636 h 5071335"/>
              <a:gd name="connsiteX8582" fmla="*/ 3613514 w 13768337"/>
              <a:gd name="connsiteY8582" fmla="*/ 3568478 h 5071335"/>
              <a:gd name="connsiteX8583" fmla="*/ 3612525 w 13768337"/>
              <a:gd name="connsiteY8583" fmla="*/ 3570692 h 5071335"/>
              <a:gd name="connsiteX8584" fmla="*/ 3610697 w 13768337"/>
              <a:gd name="connsiteY8584" fmla="*/ 3569410 h 5071335"/>
              <a:gd name="connsiteX8585" fmla="*/ 3599886 w 13768337"/>
              <a:gd name="connsiteY8585" fmla="*/ 3576043 h 5071335"/>
              <a:gd name="connsiteX8586" fmla="*/ 3514621 w 13768337"/>
              <a:gd name="connsiteY8586" fmla="*/ 3549843 h 5071335"/>
              <a:gd name="connsiteX8587" fmla="*/ 3375141 w 13768337"/>
              <a:gd name="connsiteY8587" fmla="*/ 3557787 h 5071335"/>
              <a:gd name="connsiteX8588" fmla="*/ 3319533 w 13768337"/>
              <a:gd name="connsiteY8588" fmla="*/ 3548867 h 5071335"/>
              <a:gd name="connsiteX8589" fmla="*/ 3338533 w 13768337"/>
              <a:gd name="connsiteY8589" fmla="*/ 3566707 h 5071335"/>
              <a:gd name="connsiteX8590" fmla="*/ 3362628 w 13768337"/>
              <a:gd name="connsiteY8590" fmla="*/ 3554442 h 5071335"/>
              <a:gd name="connsiteX8591" fmla="*/ 3313509 w 13768337"/>
              <a:gd name="connsiteY8591" fmla="*/ 3559599 h 5071335"/>
              <a:gd name="connsiteX8592" fmla="*/ 3166613 w 13768337"/>
              <a:gd name="connsiteY8592" fmla="*/ 3544130 h 5071335"/>
              <a:gd name="connsiteX8593" fmla="*/ 3180051 w 13768337"/>
              <a:gd name="connsiteY8593" fmla="*/ 3556811 h 5071335"/>
              <a:gd name="connsiteX8594" fmla="*/ 3038717 w 13768337"/>
              <a:gd name="connsiteY8594" fmla="*/ 3566149 h 5071335"/>
              <a:gd name="connsiteX8595" fmla="*/ 2914527 w 13768337"/>
              <a:gd name="connsiteY8595" fmla="*/ 3568518 h 5071335"/>
              <a:gd name="connsiteX8596" fmla="*/ 2923795 w 13768337"/>
              <a:gd name="connsiteY8596" fmla="*/ 3572281 h 5071335"/>
              <a:gd name="connsiteX8597" fmla="*/ 2599882 w 13768337"/>
              <a:gd name="connsiteY8597" fmla="*/ 3604055 h 5071335"/>
              <a:gd name="connsiteX8598" fmla="*/ 2604980 w 13768337"/>
              <a:gd name="connsiteY8598" fmla="*/ 3583847 h 5071335"/>
              <a:gd name="connsiteX8599" fmla="*/ 2574396 w 13768337"/>
              <a:gd name="connsiteY8599" fmla="*/ 3601686 h 5071335"/>
              <a:gd name="connsiteX8600" fmla="*/ 2356137 w 13768337"/>
              <a:gd name="connsiteY8600" fmla="*/ 3618549 h 5071335"/>
              <a:gd name="connsiteX8601" fmla="*/ 2355211 w 13768337"/>
              <a:gd name="connsiteY8601" fmla="*/ 3608375 h 5071335"/>
              <a:gd name="connsiteX8602" fmla="*/ 2342235 w 13768337"/>
              <a:gd name="connsiteY8602" fmla="*/ 3605170 h 5071335"/>
              <a:gd name="connsiteX8603" fmla="*/ 2232411 w 13768337"/>
              <a:gd name="connsiteY8603" fmla="*/ 3631648 h 5071335"/>
              <a:gd name="connsiteX8604" fmla="*/ 2227315 w 13768337"/>
              <a:gd name="connsiteY8604" fmla="*/ 3611162 h 5071335"/>
              <a:gd name="connsiteX8605" fmla="*/ 2203217 w 13768337"/>
              <a:gd name="connsiteY8605" fmla="*/ 3614368 h 5071335"/>
              <a:gd name="connsiteX8606" fmla="*/ 2204607 w 13768337"/>
              <a:gd name="connsiteY8606" fmla="*/ 3633599 h 5071335"/>
              <a:gd name="connsiteX8607" fmla="*/ 2113318 w 13768337"/>
              <a:gd name="connsiteY8607" fmla="*/ 3622729 h 5071335"/>
              <a:gd name="connsiteX8608" fmla="*/ 2106369 w 13768337"/>
              <a:gd name="connsiteY8608" fmla="*/ 3604055 h 5071335"/>
              <a:gd name="connsiteX8609" fmla="*/ 2047980 w 13768337"/>
              <a:gd name="connsiteY8609" fmla="*/ 3610187 h 5071335"/>
              <a:gd name="connsiteX8610" fmla="*/ 2061882 w 13768337"/>
              <a:gd name="connsiteY8610" fmla="*/ 3590955 h 5071335"/>
              <a:gd name="connsiteX8611" fmla="*/ 2055858 w 13768337"/>
              <a:gd name="connsiteY8611" fmla="*/ 3587750 h 5071335"/>
              <a:gd name="connsiteX8612" fmla="*/ 2001641 w 13768337"/>
              <a:gd name="connsiteY8612" fmla="*/ 3580642 h 5071335"/>
              <a:gd name="connsiteX8613" fmla="*/ 1988203 w 13768337"/>
              <a:gd name="connsiteY8613" fmla="*/ 3595136 h 5071335"/>
              <a:gd name="connsiteX8614" fmla="*/ 1958082 w 13768337"/>
              <a:gd name="connsiteY8614" fmla="*/ 3575068 h 5071335"/>
              <a:gd name="connsiteX8615" fmla="*/ 1944179 w 13768337"/>
              <a:gd name="connsiteY8615" fmla="*/ 3576043 h 5071335"/>
              <a:gd name="connsiteX8616" fmla="*/ 1963643 w 13768337"/>
              <a:gd name="connsiteY8616" fmla="*/ 3583011 h 5071335"/>
              <a:gd name="connsiteX8617" fmla="*/ 1921937 w 13768337"/>
              <a:gd name="connsiteY8617" fmla="*/ 3611162 h 5071335"/>
              <a:gd name="connsiteX8618" fmla="*/ 1867720 w 13768337"/>
              <a:gd name="connsiteY8618" fmla="*/ 3619105 h 5071335"/>
              <a:gd name="connsiteX8619" fmla="*/ 1851965 w 13768337"/>
              <a:gd name="connsiteY8619" fmla="*/ 3589143 h 5071335"/>
              <a:gd name="connsiteX8620" fmla="*/ 1911742 w 13768337"/>
              <a:gd name="connsiteY8620" fmla="*/ 3583568 h 5071335"/>
              <a:gd name="connsiteX8621" fmla="*/ 1909425 w 13768337"/>
              <a:gd name="connsiteY8621" fmla="*/ 3583847 h 5071335"/>
              <a:gd name="connsiteX8622" fmla="*/ 1908036 w 13768337"/>
              <a:gd name="connsiteY8622" fmla="*/ 3578831 h 5071335"/>
              <a:gd name="connsiteX8623" fmla="*/ 1887646 w 13768337"/>
              <a:gd name="connsiteY8623" fmla="*/ 3569074 h 5071335"/>
              <a:gd name="connsiteX8624" fmla="*/ 1812576 w 13768337"/>
              <a:gd name="connsiteY8624" fmla="*/ 3575068 h 5071335"/>
              <a:gd name="connsiteX8625" fmla="*/ 1803309 w 13768337"/>
              <a:gd name="connsiteY8625" fmla="*/ 3590537 h 5071335"/>
              <a:gd name="connsiteX8626" fmla="*/ 1704141 w 13768337"/>
              <a:gd name="connsiteY8626" fmla="*/ 3590955 h 5071335"/>
              <a:gd name="connsiteX8627" fmla="*/ 1574855 w 13768337"/>
              <a:gd name="connsiteY8627" fmla="*/ 3548867 h 5071335"/>
              <a:gd name="connsiteX8628" fmla="*/ 1480786 w 13768337"/>
              <a:gd name="connsiteY8628" fmla="*/ 3548867 h 5071335"/>
              <a:gd name="connsiteX8629" fmla="*/ 1464104 w 13768337"/>
              <a:gd name="connsiteY8629" fmla="*/ 3565173 h 5071335"/>
              <a:gd name="connsiteX8630" fmla="*/ 1459470 w 13768337"/>
              <a:gd name="connsiteY8630" fmla="*/ 3550679 h 5071335"/>
              <a:gd name="connsiteX8631" fmla="*/ 1435836 w 13768337"/>
              <a:gd name="connsiteY8631" fmla="*/ 3562803 h 5071335"/>
              <a:gd name="connsiteX8632" fmla="*/ 1448348 w 13768337"/>
              <a:gd name="connsiteY8632" fmla="*/ 3568100 h 5071335"/>
              <a:gd name="connsiteX8633" fmla="*/ 1355206 w 13768337"/>
              <a:gd name="connsiteY8633" fmla="*/ 3577018 h 5071335"/>
              <a:gd name="connsiteX8634" fmla="*/ 1427496 w 13768337"/>
              <a:gd name="connsiteY8634" fmla="*/ 3569493 h 5071335"/>
              <a:gd name="connsiteX8635" fmla="*/ 1435374 w 13768337"/>
              <a:gd name="connsiteY8635" fmla="*/ 3558623 h 5071335"/>
              <a:gd name="connsiteX8636" fmla="*/ 1394131 w 13768337"/>
              <a:gd name="connsiteY8636" fmla="*/ 3552631 h 5071335"/>
              <a:gd name="connsiteX8637" fmla="*/ 1353353 w 13768337"/>
              <a:gd name="connsiteY8637" fmla="*/ 3532005 h 5071335"/>
              <a:gd name="connsiteX8638" fmla="*/ 1332037 w 13768337"/>
              <a:gd name="connsiteY8638" fmla="*/ 3559180 h 5071335"/>
              <a:gd name="connsiteX8639" fmla="*/ 1237503 w 13768337"/>
              <a:gd name="connsiteY8639" fmla="*/ 3525037 h 5071335"/>
              <a:gd name="connsiteX8640" fmla="*/ 1125362 w 13768337"/>
              <a:gd name="connsiteY8640" fmla="*/ 3526013 h 5071335"/>
              <a:gd name="connsiteX8641" fmla="*/ 1115168 w 13768337"/>
              <a:gd name="connsiteY8641" fmla="*/ 3503018 h 5071335"/>
              <a:gd name="connsiteX8642" fmla="*/ 1164288 w 13768337"/>
              <a:gd name="connsiteY8642" fmla="*/ 3497862 h 5071335"/>
              <a:gd name="connsiteX8643" fmla="*/ 1137874 w 13768337"/>
              <a:gd name="connsiteY8643" fmla="*/ 3480580 h 5071335"/>
              <a:gd name="connsiteX8644" fmla="*/ 1123046 w 13768337"/>
              <a:gd name="connsiteY8644" fmla="*/ 3491869 h 5071335"/>
              <a:gd name="connsiteX8645" fmla="*/ 1131387 w 13768337"/>
              <a:gd name="connsiteY8645" fmla="*/ 3466087 h 5071335"/>
              <a:gd name="connsiteX8646" fmla="*/ 1259747 w 13768337"/>
              <a:gd name="connsiteY8646" fmla="*/ 3427622 h 5071335"/>
              <a:gd name="connsiteX8647" fmla="*/ 1210163 w 13768337"/>
              <a:gd name="connsiteY8647" fmla="*/ 3428180 h 5071335"/>
              <a:gd name="connsiteX8648" fmla="*/ 1223602 w 13768337"/>
              <a:gd name="connsiteY8648" fmla="*/ 3442116 h 5071335"/>
              <a:gd name="connsiteX8649" fmla="*/ 1204602 w 13768337"/>
              <a:gd name="connsiteY8649" fmla="*/ 3448389 h 5071335"/>
              <a:gd name="connsiteX8650" fmla="*/ 1193945 w 13768337"/>
              <a:gd name="connsiteY8650" fmla="*/ 3420794 h 5071335"/>
              <a:gd name="connsiteX8651" fmla="*/ 1218041 w 13768337"/>
              <a:gd name="connsiteY8651" fmla="*/ 3417450 h 5071335"/>
              <a:gd name="connsiteX8652" fmla="*/ 1161971 w 13768337"/>
              <a:gd name="connsiteY8652" fmla="*/ 3403932 h 5071335"/>
              <a:gd name="connsiteX8653" fmla="*/ 1191628 w 13768337"/>
              <a:gd name="connsiteY8653" fmla="*/ 3395292 h 5071335"/>
              <a:gd name="connsiteX8654" fmla="*/ 1148069 w 13768337"/>
              <a:gd name="connsiteY8654" fmla="*/ 3380798 h 5071335"/>
              <a:gd name="connsiteX8655" fmla="*/ 1211553 w 13768337"/>
              <a:gd name="connsiteY8655" fmla="*/ 3357942 h 5071335"/>
              <a:gd name="connsiteX8656" fmla="*/ 1239821 w 13768337"/>
              <a:gd name="connsiteY8656" fmla="*/ 3351392 h 5071335"/>
              <a:gd name="connsiteX8657" fmla="*/ 1287087 w 13768337"/>
              <a:gd name="connsiteY8657" fmla="*/ 3321012 h 5071335"/>
              <a:gd name="connsiteX8658" fmla="*/ 1281063 w 13768337"/>
              <a:gd name="connsiteY8658" fmla="*/ 3336062 h 5071335"/>
              <a:gd name="connsiteX8659" fmla="*/ 1321378 w 13768337"/>
              <a:gd name="connsiteY8659" fmla="*/ 3288261 h 5071335"/>
              <a:gd name="connsiteX8660" fmla="*/ 1296819 w 13768337"/>
              <a:gd name="connsiteY8660" fmla="*/ 3285335 h 5071335"/>
              <a:gd name="connsiteX8661" fmla="*/ 1322305 w 13768337"/>
              <a:gd name="connsiteY8661" fmla="*/ 3252724 h 5071335"/>
              <a:gd name="connsiteX8662" fmla="*/ 1279210 w 13768337"/>
              <a:gd name="connsiteY8662" fmla="*/ 3240600 h 5071335"/>
              <a:gd name="connsiteX8663" fmla="*/ 1279210 w 13768337"/>
              <a:gd name="connsiteY8663" fmla="*/ 3256487 h 5071335"/>
              <a:gd name="connsiteX8664" fmla="*/ 1218505 w 13768337"/>
              <a:gd name="connsiteY8664" fmla="*/ 3245617 h 5071335"/>
              <a:gd name="connsiteX8665" fmla="*/ 1218505 w 13768337"/>
              <a:gd name="connsiteY8665" fmla="*/ 3229869 h 5071335"/>
              <a:gd name="connsiteX8666" fmla="*/ 1333890 w 13768337"/>
              <a:gd name="connsiteY8666" fmla="*/ 3234887 h 5071335"/>
              <a:gd name="connsiteX8667" fmla="*/ 1352889 w 13768337"/>
              <a:gd name="connsiteY8667" fmla="*/ 3204087 h 5071335"/>
              <a:gd name="connsiteX8668" fmla="*/ 1328793 w 13768337"/>
              <a:gd name="connsiteY8668" fmla="*/ 3204087 h 5071335"/>
              <a:gd name="connsiteX8669" fmla="*/ 1333890 w 13768337"/>
              <a:gd name="connsiteY8669" fmla="*/ 3214819 h 5071335"/>
              <a:gd name="connsiteX8670" fmla="*/ 1323695 w 13768337"/>
              <a:gd name="connsiteY8670" fmla="*/ 3219000 h 5071335"/>
              <a:gd name="connsiteX8671" fmla="*/ 1315818 w 13768337"/>
              <a:gd name="connsiteY8671" fmla="*/ 3219000 h 5071335"/>
              <a:gd name="connsiteX8672" fmla="*/ 1319061 w 13768337"/>
              <a:gd name="connsiteY8672" fmla="*/ 3198791 h 5071335"/>
              <a:gd name="connsiteX8673" fmla="*/ 1287551 w 13768337"/>
              <a:gd name="connsiteY8673" fmla="*/ 3198791 h 5071335"/>
              <a:gd name="connsiteX8674" fmla="*/ 1264844 w 13768337"/>
              <a:gd name="connsiteY8674" fmla="*/ 3214819 h 5071335"/>
              <a:gd name="connsiteX8675" fmla="*/ 1237503 w 13768337"/>
              <a:gd name="connsiteY8675" fmla="*/ 3188200 h 5071335"/>
              <a:gd name="connsiteX8676" fmla="*/ 1264844 w 13768337"/>
              <a:gd name="connsiteY8676" fmla="*/ 3188200 h 5071335"/>
              <a:gd name="connsiteX8677" fmla="*/ 1247699 w 13768337"/>
              <a:gd name="connsiteY8677" fmla="*/ 3170362 h 5071335"/>
              <a:gd name="connsiteX8678" fmla="*/ 1233333 w 13768337"/>
              <a:gd name="connsiteY8678" fmla="*/ 3170362 h 5071335"/>
              <a:gd name="connsiteX8679" fmla="*/ 1194872 w 13768337"/>
              <a:gd name="connsiteY8679" fmla="*/ 3170362 h 5071335"/>
              <a:gd name="connsiteX8680" fmla="*/ 1151775 w 13768337"/>
              <a:gd name="connsiteY8680" fmla="*/ 3173288 h 5071335"/>
              <a:gd name="connsiteX8681" fmla="*/ 1108680 w 13768337"/>
              <a:gd name="connsiteY8681" fmla="*/ 3182485 h 5071335"/>
              <a:gd name="connsiteX8682" fmla="*/ 1100803 w 13768337"/>
              <a:gd name="connsiteY8682" fmla="*/ 3171755 h 5071335"/>
              <a:gd name="connsiteX8683" fmla="*/ 1132313 w 13768337"/>
              <a:gd name="connsiteY8683" fmla="*/ 3166598 h 5071335"/>
              <a:gd name="connsiteX8684" fmla="*/ 1136947 w 13768337"/>
              <a:gd name="connsiteY8684" fmla="*/ 3160049 h 5071335"/>
              <a:gd name="connsiteX8685" fmla="*/ 1121192 w 13768337"/>
              <a:gd name="connsiteY8685" fmla="*/ 3147785 h 5071335"/>
              <a:gd name="connsiteX8686" fmla="*/ 1074853 w 13768337"/>
              <a:gd name="connsiteY8686" fmla="*/ 3169386 h 5071335"/>
              <a:gd name="connsiteX8687" fmla="*/ 1076707 w 13768337"/>
              <a:gd name="connsiteY8687" fmla="*/ 3157261 h 5071335"/>
              <a:gd name="connsiteX8688" fmla="*/ 1076707 w 13768337"/>
              <a:gd name="connsiteY8688" fmla="*/ 3155868 h 5071335"/>
              <a:gd name="connsiteX8689" fmla="*/ 1059098 w 13768337"/>
              <a:gd name="connsiteY8689" fmla="*/ 3161024 h 5071335"/>
              <a:gd name="connsiteX8690" fmla="*/ 1065585 w 13768337"/>
              <a:gd name="connsiteY8690" fmla="*/ 3147785 h 5071335"/>
              <a:gd name="connsiteX8691" fmla="*/ 1022489 w 13768337"/>
              <a:gd name="connsiteY8691" fmla="*/ 3146531 h 5071335"/>
              <a:gd name="connsiteX8692" fmla="*/ 1008124 w 13768337"/>
              <a:gd name="connsiteY8692" fmla="*/ 3151687 h 5071335"/>
              <a:gd name="connsiteX8693" fmla="*/ 1011367 w 13768337"/>
              <a:gd name="connsiteY8693" fmla="*/ 3146531 h 5071335"/>
              <a:gd name="connsiteX8694" fmla="*/ 998856 w 13768337"/>
              <a:gd name="connsiteY8694" fmla="*/ 3147785 h 5071335"/>
              <a:gd name="connsiteX8695" fmla="*/ 998856 w 13768337"/>
              <a:gd name="connsiteY8695" fmla="*/ 3151687 h 5071335"/>
              <a:gd name="connsiteX8696" fmla="*/ 994222 w 13768337"/>
              <a:gd name="connsiteY8696" fmla="*/ 3147785 h 5071335"/>
              <a:gd name="connsiteX8697" fmla="*/ 974759 w 13768337"/>
              <a:gd name="connsiteY8697" fmla="*/ 3149318 h 5071335"/>
              <a:gd name="connsiteX8698" fmla="*/ 1022489 w 13768337"/>
              <a:gd name="connsiteY8698" fmla="*/ 3209662 h 5071335"/>
              <a:gd name="connsiteX8699" fmla="*/ 998856 w 13768337"/>
              <a:gd name="connsiteY8699" fmla="*/ 3188200 h 5071335"/>
              <a:gd name="connsiteX8700" fmla="*/ 925177 w 13768337"/>
              <a:gd name="connsiteY8700" fmla="*/ 3198791 h 5071335"/>
              <a:gd name="connsiteX8701" fmla="*/ 888569 w 13768337"/>
              <a:gd name="connsiteY8701" fmla="*/ 3161024 h 5071335"/>
              <a:gd name="connsiteX8702" fmla="*/ 875593 w 13768337"/>
              <a:gd name="connsiteY8702" fmla="*/ 3171755 h 5071335"/>
              <a:gd name="connsiteX8703" fmla="*/ 897836 w 13768337"/>
              <a:gd name="connsiteY8703" fmla="*/ 3182485 h 5071335"/>
              <a:gd name="connsiteX8704" fmla="*/ 843620 w 13768337"/>
              <a:gd name="connsiteY8704" fmla="*/ 3204087 h 5071335"/>
              <a:gd name="connsiteX8705" fmla="*/ 778280 w 13768337"/>
              <a:gd name="connsiteY8705" fmla="*/ 3204087 h 5071335"/>
              <a:gd name="connsiteX8706" fmla="*/ 766232 w 13768337"/>
              <a:gd name="connsiteY8706" fmla="*/ 3190011 h 5071335"/>
              <a:gd name="connsiteX8707" fmla="*/ 756964 w 13768337"/>
              <a:gd name="connsiteY8707" fmla="*/ 3198513 h 5071335"/>
              <a:gd name="connsiteX8708" fmla="*/ 742598 w 13768337"/>
              <a:gd name="connsiteY8708" fmla="*/ 3168829 h 5071335"/>
              <a:gd name="connsiteX8709" fmla="*/ 752330 w 13768337"/>
              <a:gd name="connsiteY8709" fmla="*/ 3158237 h 5071335"/>
              <a:gd name="connsiteX8710" fmla="*/ 765769 w 13768337"/>
              <a:gd name="connsiteY8710" fmla="*/ 3173567 h 5071335"/>
              <a:gd name="connsiteX8711" fmla="*/ 765769 w 13768337"/>
              <a:gd name="connsiteY8711" fmla="*/ 3171755 h 5071335"/>
              <a:gd name="connsiteX8712" fmla="*/ 842693 w 13768337"/>
              <a:gd name="connsiteY8712" fmla="*/ 3166598 h 5071335"/>
              <a:gd name="connsiteX8713" fmla="*/ 800523 w 13768337"/>
              <a:gd name="connsiteY8713" fmla="*/ 3143604 h 5071335"/>
              <a:gd name="connsiteX8714" fmla="*/ 791718 w 13768337"/>
              <a:gd name="connsiteY8714" fmla="*/ 3143604 h 5071335"/>
              <a:gd name="connsiteX8715" fmla="*/ 795889 w 13768337"/>
              <a:gd name="connsiteY8715" fmla="*/ 3139842 h 5071335"/>
              <a:gd name="connsiteX8716" fmla="*/ 788012 w 13768337"/>
              <a:gd name="connsiteY8716" fmla="*/ 3135661 h 5071335"/>
              <a:gd name="connsiteX8717" fmla="*/ 835742 w 13768337"/>
              <a:gd name="connsiteY8717" fmla="*/ 3119355 h 5071335"/>
              <a:gd name="connsiteX8718" fmla="*/ 859837 w 13768337"/>
              <a:gd name="connsiteY8718" fmla="*/ 3118519 h 5071335"/>
              <a:gd name="connsiteX8719" fmla="*/ 856594 w 13768337"/>
              <a:gd name="connsiteY8719" fmla="*/ 3124930 h 5071335"/>
              <a:gd name="connsiteX8720" fmla="*/ 877446 w 13768337"/>
              <a:gd name="connsiteY8720" fmla="*/ 3131480 h 5071335"/>
              <a:gd name="connsiteX8721" fmla="*/ 969662 w 13768337"/>
              <a:gd name="connsiteY8721" fmla="*/ 3133012 h 5071335"/>
              <a:gd name="connsiteX8722" fmla="*/ 968272 w 13768337"/>
              <a:gd name="connsiteY8722" fmla="*/ 3131480 h 5071335"/>
              <a:gd name="connsiteX8723" fmla="*/ 966881 w 13768337"/>
              <a:gd name="connsiteY8723" fmla="*/ 3130087 h 5071335"/>
              <a:gd name="connsiteX8724" fmla="*/ 955761 w 13768337"/>
              <a:gd name="connsiteY8724" fmla="*/ 3127717 h 5071335"/>
              <a:gd name="connsiteX8725" fmla="*/ 982637 w 13768337"/>
              <a:gd name="connsiteY8725" fmla="*/ 3116986 h 5071335"/>
              <a:gd name="connsiteX8726" fmla="*/ 979394 w 13768337"/>
              <a:gd name="connsiteY8726" fmla="*/ 3130087 h 5071335"/>
              <a:gd name="connsiteX8727" fmla="*/ 1002099 w 13768337"/>
              <a:gd name="connsiteY8727" fmla="*/ 3126463 h 5071335"/>
              <a:gd name="connsiteX8728" fmla="*/ 1019245 w 13768337"/>
              <a:gd name="connsiteY8728" fmla="*/ 3116986 h 5071335"/>
              <a:gd name="connsiteX8729" fmla="*/ 1035000 w 13768337"/>
              <a:gd name="connsiteY8729" fmla="*/ 3122142 h 5071335"/>
              <a:gd name="connsiteX8730" fmla="*/ 1045195 w 13768337"/>
              <a:gd name="connsiteY8730" fmla="*/ 3124930 h 5071335"/>
              <a:gd name="connsiteX8731" fmla="*/ 1066975 w 13768337"/>
              <a:gd name="connsiteY8731" fmla="*/ 3127717 h 5071335"/>
              <a:gd name="connsiteX8732" fmla="*/ 1072072 w 13768337"/>
              <a:gd name="connsiteY8732" fmla="*/ 3119355 h 5071335"/>
              <a:gd name="connsiteX8733" fmla="*/ 1078096 w 13768337"/>
              <a:gd name="connsiteY8733" fmla="*/ 3127717 h 5071335"/>
              <a:gd name="connsiteX8734" fmla="*/ 1100803 w 13768337"/>
              <a:gd name="connsiteY8734" fmla="*/ 3124930 h 5071335"/>
              <a:gd name="connsiteX8735" fmla="*/ 1091071 w 13768337"/>
              <a:gd name="connsiteY8735" fmla="*/ 3119355 h 5071335"/>
              <a:gd name="connsiteX8736" fmla="*/ 1112851 w 13768337"/>
              <a:gd name="connsiteY8736" fmla="*/ 3115174 h 5071335"/>
              <a:gd name="connsiteX8737" fmla="*/ 1104046 w 13768337"/>
              <a:gd name="connsiteY8737" fmla="*/ 3124930 h 5071335"/>
              <a:gd name="connsiteX8738" fmla="*/ 1126289 w 13768337"/>
              <a:gd name="connsiteY8738" fmla="*/ 3120748 h 5071335"/>
              <a:gd name="connsiteX8739" fmla="*/ 1114242 w 13768337"/>
              <a:gd name="connsiteY8739" fmla="*/ 3114617 h 5071335"/>
              <a:gd name="connsiteX8740" fmla="*/ 1174019 w 13768337"/>
              <a:gd name="connsiteY8740" fmla="*/ 3109043 h 5071335"/>
              <a:gd name="connsiteX8741" fmla="*/ 1170775 w 13768337"/>
              <a:gd name="connsiteY8741" fmla="*/ 3111411 h 5071335"/>
              <a:gd name="connsiteX8742" fmla="*/ 1185604 w 13768337"/>
              <a:gd name="connsiteY8742" fmla="*/ 3111411 h 5071335"/>
              <a:gd name="connsiteX8743" fmla="*/ 1188384 w 13768337"/>
              <a:gd name="connsiteY8743" fmla="*/ 3116986 h 5071335"/>
              <a:gd name="connsiteX8744" fmla="*/ 1196725 w 13768337"/>
              <a:gd name="connsiteY8744" fmla="*/ 3119355 h 5071335"/>
              <a:gd name="connsiteX8745" fmla="*/ 1213870 w 13768337"/>
              <a:gd name="connsiteY8745" fmla="*/ 3126463 h 5071335"/>
              <a:gd name="connsiteX8746" fmla="*/ 1231943 w 13768337"/>
              <a:gd name="connsiteY8746" fmla="*/ 3126463 h 5071335"/>
              <a:gd name="connsiteX8747" fmla="*/ 1242601 w 13768337"/>
              <a:gd name="connsiteY8747" fmla="*/ 3109043 h 5071335"/>
              <a:gd name="connsiteX8748" fmla="*/ 1260210 w 13768337"/>
              <a:gd name="connsiteY8748" fmla="*/ 3119355 h 5071335"/>
              <a:gd name="connsiteX8749" fmla="*/ 1250478 w 13768337"/>
              <a:gd name="connsiteY8749" fmla="*/ 3133012 h 5071335"/>
              <a:gd name="connsiteX8750" fmla="*/ 1253723 w 13768337"/>
              <a:gd name="connsiteY8750" fmla="*/ 3126463 h 5071335"/>
              <a:gd name="connsiteX8751" fmla="*/ 1284306 w 13768337"/>
              <a:gd name="connsiteY8751" fmla="*/ 3135661 h 5071335"/>
              <a:gd name="connsiteX8752" fmla="*/ 1304696 w 13768337"/>
              <a:gd name="connsiteY8752" fmla="*/ 3134406 h 5071335"/>
              <a:gd name="connsiteX8753" fmla="*/ 1287551 w 13768337"/>
              <a:gd name="connsiteY8753" fmla="*/ 3124930 h 5071335"/>
              <a:gd name="connsiteX8754" fmla="*/ 1311183 w 13768337"/>
              <a:gd name="connsiteY8754" fmla="*/ 3114338 h 5071335"/>
              <a:gd name="connsiteX8755" fmla="*/ 1306550 w 13768337"/>
              <a:gd name="connsiteY8755" fmla="*/ 3134406 h 5071335"/>
              <a:gd name="connsiteX8756" fmla="*/ 1328793 w 13768337"/>
              <a:gd name="connsiteY8756" fmla="*/ 3135661 h 5071335"/>
              <a:gd name="connsiteX8757" fmla="*/ 1315818 w 13768337"/>
              <a:gd name="connsiteY8757" fmla="*/ 3114338 h 5071335"/>
              <a:gd name="connsiteX8758" fmla="*/ 1421008 w 13768337"/>
              <a:gd name="connsiteY8758" fmla="*/ 3124930 h 5071335"/>
              <a:gd name="connsiteX8759" fmla="*/ 1389498 w 13768337"/>
              <a:gd name="connsiteY8759" fmla="*/ 3114338 h 5071335"/>
              <a:gd name="connsiteX8760" fmla="*/ 1397375 w 13768337"/>
              <a:gd name="connsiteY8760" fmla="*/ 3104861 h 5071335"/>
              <a:gd name="connsiteX8761" fmla="*/ 1390887 w 13768337"/>
              <a:gd name="connsiteY8761" fmla="*/ 3104861 h 5071335"/>
              <a:gd name="connsiteX8762" fmla="*/ 1405252 w 13768337"/>
              <a:gd name="connsiteY8762" fmla="*/ 3094131 h 5071335"/>
              <a:gd name="connsiteX8763" fmla="*/ 1408497 w 13768337"/>
              <a:gd name="connsiteY8763" fmla="*/ 3079080 h 5071335"/>
              <a:gd name="connsiteX8764" fmla="*/ 1416374 w 13768337"/>
              <a:gd name="connsiteY8764" fmla="*/ 3083261 h 5071335"/>
              <a:gd name="connsiteX8765" fmla="*/ 1430739 w 13768337"/>
              <a:gd name="connsiteY8765" fmla="*/ 3083261 h 5071335"/>
              <a:gd name="connsiteX8766" fmla="*/ 1402009 w 13768337"/>
              <a:gd name="connsiteY8766" fmla="*/ 3061800 h 5071335"/>
              <a:gd name="connsiteX8767" fmla="*/ 1402009 w 13768337"/>
              <a:gd name="connsiteY8767" fmla="*/ 3088835 h 5071335"/>
              <a:gd name="connsiteX8768" fmla="*/ 1394131 w 13768337"/>
              <a:gd name="connsiteY8768" fmla="*/ 3061800 h 5071335"/>
              <a:gd name="connsiteX8769" fmla="*/ 1379766 w 13768337"/>
              <a:gd name="connsiteY8769" fmla="*/ 3067513 h 5071335"/>
              <a:gd name="connsiteX8770" fmla="*/ 1421008 w 13768337"/>
              <a:gd name="connsiteY8770" fmla="*/ 3056643 h 5071335"/>
              <a:gd name="connsiteX8771" fmla="*/ 1357523 w 13768337"/>
              <a:gd name="connsiteY8771" fmla="*/ 3041731 h 5071335"/>
              <a:gd name="connsiteX8772" fmla="*/ 1374669 w 13768337"/>
              <a:gd name="connsiteY8772" fmla="*/ 3051068 h 5071335"/>
              <a:gd name="connsiteX8773" fmla="*/ 1333890 w 13768337"/>
              <a:gd name="connsiteY8773" fmla="*/ 3067513 h 5071335"/>
              <a:gd name="connsiteX8774" fmla="*/ 1274575 w 13768337"/>
              <a:gd name="connsiteY8774" fmla="*/ 3061800 h 5071335"/>
              <a:gd name="connsiteX8775" fmla="*/ 1279210 w 13768337"/>
              <a:gd name="connsiteY8775" fmla="*/ 3045912 h 5071335"/>
              <a:gd name="connsiteX8776" fmla="*/ 1328793 w 13768337"/>
              <a:gd name="connsiteY8776" fmla="*/ 3051068 h 5071335"/>
              <a:gd name="connsiteX8777" fmla="*/ 1301915 w 13768337"/>
              <a:gd name="connsiteY8777" fmla="*/ 3014974 h 5071335"/>
              <a:gd name="connsiteX8778" fmla="*/ 1365401 w 13768337"/>
              <a:gd name="connsiteY8778" fmla="*/ 2998668 h 5071335"/>
              <a:gd name="connsiteX8779" fmla="*/ 1365401 w 13768337"/>
              <a:gd name="connsiteY8779" fmla="*/ 3014974 h 5071335"/>
              <a:gd name="connsiteX8780" fmla="*/ 1394131 w 13768337"/>
              <a:gd name="connsiteY8780" fmla="*/ 2998668 h 5071335"/>
              <a:gd name="connsiteX8781" fmla="*/ 1362157 w 13768337"/>
              <a:gd name="connsiteY8781" fmla="*/ 2984175 h 5071335"/>
              <a:gd name="connsiteX8782" fmla="*/ 1320452 w 13768337"/>
              <a:gd name="connsiteY8782" fmla="*/ 2993372 h 5071335"/>
              <a:gd name="connsiteX8783" fmla="*/ 1338523 w 13768337"/>
              <a:gd name="connsiteY8783" fmla="*/ 2973444 h 5071335"/>
              <a:gd name="connsiteX8784" fmla="*/ 1269478 w 13768337"/>
              <a:gd name="connsiteY8784" fmla="*/ 2935955 h 5071335"/>
              <a:gd name="connsiteX8785" fmla="*/ 1320452 w 13768337"/>
              <a:gd name="connsiteY8785" fmla="*/ 2921044 h 5071335"/>
              <a:gd name="connsiteX8786" fmla="*/ 1237503 w 13768337"/>
              <a:gd name="connsiteY8786" fmla="*/ 2905018 h 5071335"/>
              <a:gd name="connsiteX8787" fmla="*/ 1315818 w 13768337"/>
              <a:gd name="connsiteY8787" fmla="*/ 2894286 h 5071335"/>
              <a:gd name="connsiteX8788" fmla="*/ 1311183 w 13768337"/>
              <a:gd name="connsiteY8788" fmla="*/ 2935955 h 5071335"/>
              <a:gd name="connsiteX8789" fmla="*/ 1347792 w 13768337"/>
              <a:gd name="connsiteY8789" fmla="*/ 2926061 h 5071335"/>
              <a:gd name="connsiteX8790" fmla="*/ 1379766 w 13768337"/>
              <a:gd name="connsiteY8790" fmla="*/ 2956999 h 5071335"/>
              <a:gd name="connsiteX8791" fmla="*/ 1362157 w 13768337"/>
              <a:gd name="connsiteY8791" fmla="*/ 2973444 h 5071335"/>
              <a:gd name="connsiteX8792" fmla="*/ 1365401 w 13768337"/>
              <a:gd name="connsiteY8792" fmla="*/ 2984175 h 5071335"/>
              <a:gd name="connsiteX8793" fmla="*/ 1394131 w 13768337"/>
              <a:gd name="connsiteY8793" fmla="*/ 2951843 h 5071335"/>
              <a:gd name="connsiteX8794" fmla="*/ 1421008 w 13768337"/>
              <a:gd name="connsiteY8794" fmla="*/ 2946268 h 5071335"/>
              <a:gd name="connsiteX8795" fmla="*/ 1435836 w 13768337"/>
              <a:gd name="connsiteY8795" fmla="*/ 2967869 h 5071335"/>
              <a:gd name="connsiteX8796" fmla="*/ 1462714 w 13768337"/>
              <a:gd name="connsiteY8796" fmla="*/ 2921044 h 5071335"/>
              <a:gd name="connsiteX8797" fmla="*/ 1499322 w 13768337"/>
              <a:gd name="connsiteY8797" fmla="*/ 2941112 h 5071335"/>
              <a:gd name="connsiteX8798" fmla="*/ 1541028 w 13768337"/>
              <a:gd name="connsiteY8798" fmla="*/ 2962574 h 5071335"/>
              <a:gd name="connsiteX8799" fmla="*/ 1553539 w 13768337"/>
              <a:gd name="connsiteY8799" fmla="*/ 2926061 h 5071335"/>
              <a:gd name="connsiteX8800" fmla="*/ 1553539 w 13768337"/>
              <a:gd name="connsiteY8800" fmla="*/ 2941112 h 5071335"/>
              <a:gd name="connsiteX8801" fmla="*/ 1577172 w 13768337"/>
              <a:gd name="connsiteY8801" fmla="*/ 2951843 h 5071335"/>
              <a:gd name="connsiteX8802" fmla="*/ 1687923 w 13768337"/>
              <a:gd name="connsiteY8802" fmla="*/ 2936792 h 5071335"/>
              <a:gd name="connsiteX8803" fmla="*/ 1673558 w 13768337"/>
              <a:gd name="connsiteY8803" fmla="*/ 2951843 h 5071335"/>
              <a:gd name="connsiteX8804" fmla="*/ 1705069 w 13768337"/>
              <a:gd name="connsiteY8804" fmla="*/ 2962574 h 5071335"/>
              <a:gd name="connsiteX8805" fmla="*/ 1714799 w 13768337"/>
              <a:gd name="connsiteY8805" fmla="*/ 2951843 h 5071335"/>
              <a:gd name="connsiteX8806" fmla="*/ 1697190 w 13768337"/>
              <a:gd name="connsiteY8806" fmla="*/ 2936792 h 5071335"/>
              <a:gd name="connsiteX8807" fmla="*/ 1709703 w 13768337"/>
              <a:gd name="connsiteY8807" fmla="*/ 2941112 h 5071335"/>
              <a:gd name="connsiteX8808" fmla="*/ 1660582 w 13768337"/>
              <a:gd name="connsiteY8808" fmla="*/ 2905018 h 5071335"/>
              <a:gd name="connsiteX8809" fmla="*/ 1631852 w 13768337"/>
              <a:gd name="connsiteY8809" fmla="*/ 2921044 h 5071335"/>
              <a:gd name="connsiteX8810" fmla="*/ 1623975 w 13768337"/>
              <a:gd name="connsiteY8810" fmla="*/ 2905018 h 5071335"/>
              <a:gd name="connsiteX8811" fmla="*/ 1650852 w 13768337"/>
              <a:gd name="connsiteY8811" fmla="*/ 2899443 h 5071335"/>
              <a:gd name="connsiteX8812" fmla="*/ 1499322 w 13768337"/>
              <a:gd name="connsiteY8812" fmla="*/ 2877981 h 5071335"/>
              <a:gd name="connsiteX8813" fmla="*/ 1499322 w 13768337"/>
              <a:gd name="connsiteY8813" fmla="*/ 2863488 h 5071335"/>
              <a:gd name="connsiteX8814" fmla="*/ 1467811 w 13768337"/>
              <a:gd name="connsiteY8814" fmla="*/ 2883417 h 5071335"/>
              <a:gd name="connsiteX8815" fmla="*/ 1480322 w 13768337"/>
              <a:gd name="connsiteY8815" fmla="*/ 2894286 h 5071335"/>
              <a:gd name="connsiteX8816" fmla="*/ 1452983 w 13768337"/>
              <a:gd name="connsiteY8816" fmla="*/ 2899443 h 5071335"/>
              <a:gd name="connsiteX8817" fmla="*/ 1462714 w 13768337"/>
              <a:gd name="connsiteY8817" fmla="*/ 2888712 h 5071335"/>
              <a:gd name="connsiteX8818" fmla="*/ 1411740 w 13768337"/>
              <a:gd name="connsiteY8818" fmla="*/ 2863488 h 5071335"/>
              <a:gd name="connsiteX8819" fmla="*/ 1389498 w 13768337"/>
              <a:gd name="connsiteY8819" fmla="*/ 2852618 h 5071335"/>
              <a:gd name="connsiteX8820" fmla="*/ 1394131 w 13768337"/>
              <a:gd name="connsiteY8820" fmla="*/ 2825581 h 5071335"/>
              <a:gd name="connsiteX8821" fmla="*/ 1499784 w 13768337"/>
              <a:gd name="connsiteY8821" fmla="*/ 2813457 h 5071335"/>
              <a:gd name="connsiteX8822" fmla="*/ 1486809 w 13768337"/>
              <a:gd name="connsiteY8822" fmla="*/ 2803145 h 5071335"/>
              <a:gd name="connsiteX8823" fmla="*/ 1509517 w 13768337"/>
              <a:gd name="connsiteY8823" fmla="*/ 2797430 h 5071335"/>
              <a:gd name="connsiteX8824" fmla="*/ 1518784 w 13768337"/>
              <a:gd name="connsiteY8824" fmla="*/ 2773181 h 5071335"/>
              <a:gd name="connsiteX8825" fmla="*/ 1555392 w 13768337"/>
              <a:gd name="connsiteY8825" fmla="*/ 2773181 h 5071335"/>
              <a:gd name="connsiteX8826" fmla="*/ 1494688 w 13768337"/>
              <a:gd name="connsiteY8826" fmla="*/ 2768025 h 5071335"/>
              <a:gd name="connsiteX8827" fmla="*/ 1480322 w 13768337"/>
              <a:gd name="connsiteY8827" fmla="*/ 2742243 h 5071335"/>
              <a:gd name="connsiteX8828" fmla="*/ 1343157 w 13768337"/>
              <a:gd name="connsiteY8828" fmla="*/ 2768025 h 5071335"/>
              <a:gd name="connsiteX8829" fmla="*/ 1499322 w 13768337"/>
              <a:gd name="connsiteY8829" fmla="*/ 2773181 h 5071335"/>
              <a:gd name="connsiteX8830" fmla="*/ 1357523 w 13768337"/>
              <a:gd name="connsiteY8830" fmla="*/ 2814710 h 5071335"/>
              <a:gd name="connsiteX8831" fmla="*/ 1365401 w 13768337"/>
              <a:gd name="connsiteY8831" fmla="*/ 2820285 h 5071335"/>
              <a:gd name="connsiteX8832" fmla="*/ 1357523 w 13768337"/>
              <a:gd name="connsiteY8832" fmla="*/ 2831157 h 5071335"/>
              <a:gd name="connsiteX8833" fmla="*/ 1347792 w 13768337"/>
              <a:gd name="connsiteY8833" fmla="*/ 2831157 h 5071335"/>
              <a:gd name="connsiteX8834" fmla="*/ 1338523 w 13768337"/>
              <a:gd name="connsiteY8834" fmla="*/ 2805373 h 5071335"/>
              <a:gd name="connsiteX8835" fmla="*/ 1389498 w 13768337"/>
              <a:gd name="connsiteY8835" fmla="*/ 2794783 h 5071335"/>
              <a:gd name="connsiteX8836" fmla="*/ 1311183 w 13768337"/>
              <a:gd name="connsiteY8836" fmla="*/ 2778756 h 5071335"/>
              <a:gd name="connsiteX8837" fmla="*/ 1330646 w 13768337"/>
              <a:gd name="connsiteY8837" fmla="*/ 2757155 h 5071335"/>
              <a:gd name="connsiteX8838" fmla="*/ 1244455 w 13768337"/>
              <a:gd name="connsiteY8838" fmla="*/ 2754507 h 5071335"/>
              <a:gd name="connsiteX8839" fmla="*/ 1252333 w 13768337"/>
              <a:gd name="connsiteY8839" fmla="*/ 2762451 h 5071335"/>
              <a:gd name="connsiteX8840" fmla="*/ 1205993 w 13768337"/>
              <a:gd name="connsiteY8840" fmla="*/ 2778756 h 5071335"/>
              <a:gd name="connsiteX8841" fmla="*/ 1237503 w 13768337"/>
              <a:gd name="connsiteY8841" fmla="*/ 2757155 h 5071335"/>
              <a:gd name="connsiteX8842" fmla="*/ 1239821 w 13768337"/>
              <a:gd name="connsiteY8842" fmla="*/ 2754507 h 5071335"/>
              <a:gd name="connsiteX8843" fmla="*/ 1059098 w 13768337"/>
              <a:gd name="connsiteY8843" fmla="*/ 2752138 h 5071335"/>
              <a:gd name="connsiteX8844" fmla="*/ 1196725 w 13768337"/>
              <a:gd name="connsiteY8844" fmla="*/ 2731930 h 5071335"/>
              <a:gd name="connsiteX8845" fmla="*/ 1223139 w 13768337"/>
              <a:gd name="connsiteY8845" fmla="*/ 2726356 h 5071335"/>
              <a:gd name="connsiteX8846" fmla="*/ 1233333 w 13768337"/>
              <a:gd name="connsiteY8846" fmla="*/ 2710329 h 5071335"/>
              <a:gd name="connsiteX8847" fmla="*/ 1140655 w 13768337"/>
              <a:gd name="connsiteY8847" fmla="*/ 2673538 h 5071335"/>
              <a:gd name="connsiteX8848" fmla="*/ 1143898 w 13768337"/>
              <a:gd name="connsiteY8848" fmla="*/ 2677719 h 5071335"/>
              <a:gd name="connsiteX8849" fmla="*/ 1153167 w 13768337"/>
              <a:gd name="connsiteY8849" fmla="*/ 2677719 h 5071335"/>
              <a:gd name="connsiteX8850" fmla="*/ 1172165 w 13768337"/>
              <a:gd name="connsiteY8850" fmla="*/ 2692212 h 5071335"/>
              <a:gd name="connsiteX8851" fmla="*/ 1201359 w 13768337"/>
              <a:gd name="connsiteY8851" fmla="*/ 2695418 h 5071335"/>
              <a:gd name="connsiteX8852" fmla="*/ 1205993 w 13768337"/>
              <a:gd name="connsiteY8852" fmla="*/ 2715625 h 5071335"/>
              <a:gd name="connsiteX8853" fmla="*/ 1150386 w 13768337"/>
              <a:gd name="connsiteY8853" fmla="*/ 2731930 h 5071335"/>
              <a:gd name="connsiteX8854" fmla="*/ 1085974 w 13768337"/>
              <a:gd name="connsiteY8854" fmla="*/ 2726356 h 5071335"/>
              <a:gd name="connsiteX8855" fmla="*/ 1085974 w 13768337"/>
              <a:gd name="connsiteY8855" fmla="*/ 2707681 h 5071335"/>
              <a:gd name="connsiteX8856" fmla="*/ 1071146 w 13768337"/>
              <a:gd name="connsiteY8856" fmla="*/ 2708518 h 5071335"/>
              <a:gd name="connsiteX8857" fmla="*/ 1066511 w 13768337"/>
              <a:gd name="connsiteY8857" fmla="*/ 2698206 h 5071335"/>
              <a:gd name="connsiteX8858" fmla="*/ 1103583 w 13768337"/>
              <a:gd name="connsiteY8858" fmla="*/ 2689844 h 5071335"/>
              <a:gd name="connsiteX8859" fmla="*/ 1085974 w 13768337"/>
              <a:gd name="connsiteY8859" fmla="*/ 2668800 h 5071335"/>
              <a:gd name="connsiteX8860" fmla="*/ 1066975 w 13768337"/>
              <a:gd name="connsiteY8860" fmla="*/ 2673816 h 5071335"/>
              <a:gd name="connsiteX8861" fmla="*/ 1050756 w 13768337"/>
              <a:gd name="connsiteY8861" fmla="*/ 2658070 h 5071335"/>
              <a:gd name="connsiteX8862" fmla="*/ 1061878 w 13768337"/>
              <a:gd name="connsiteY8862" fmla="*/ 2672981 h 5071335"/>
              <a:gd name="connsiteX8863" fmla="*/ 1007197 w 13768337"/>
              <a:gd name="connsiteY8863" fmla="*/ 2677999 h 5071335"/>
              <a:gd name="connsiteX8864" fmla="*/ 1007197 w 13768337"/>
              <a:gd name="connsiteY8864" fmla="*/ 2694581 h 5071335"/>
              <a:gd name="connsiteX8865" fmla="*/ 982637 w 13768337"/>
              <a:gd name="connsiteY8865" fmla="*/ 2700157 h 5071335"/>
              <a:gd name="connsiteX8866" fmla="*/ 941395 w 13768337"/>
              <a:gd name="connsiteY8866" fmla="*/ 2683712 h 5071335"/>
              <a:gd name="connsiteX8867" fmla="*/ 901080 w 13768337"/>
              <a:gd name="connsiteY8867" fmla="*/ 2656676 h 5071335"/>
              <a:gd name="connsiteX8868" fmla="*/ 864008 w 13768337"/>
              <a:gd name="connsiteY8868" fmla="*/ 2672981 h 5071335"/>
              <a:gd name="connsiteX8869" fmla="*/ 886251 w 13768337"/>
              <a:gd name="connsiteY8869" fmla="*/ 2646781 h 5071335"/>
              <a:gd name="connsiteX8870" fmla="*/ 908958 w 13768337"/>
              <a:gd name="connsiteY8870" fmla="*/ 2650962 h 5071335"/>
              <a:gd name="connsiteX8871" fmla="*/ 933054 w 13768337"/>
              <a:gd name="connsiteY8871" fmla="*/ 2625180 h 5071335"/>
              <a:gd name="connsiteX8872" fmla="*/ 923323 w 13768337"/>
              <a:gd name="connsiteY8872" fmla="*/ 2641625 h 5071335"/>
              <a:gd name="connsiteX8873" fmla="*/ 1002099 w 13768337"/>
              <a:gd name="connsiteY8873" fmla="*/ 2641625 h 5071335"/>
              <a:gd name="connsiteX8874" fmla="*/ 965028 w 13768337"/>
              <a:gd name="connsiteY8874" fmla="*/ 2650962 h 5071335"/>
              <a:gd name="connsiteX8875" fmla="*/ 1015075 w 13768337"/>
              <a:gd name="connsiteY8875" fmla="*/ 2646781 h 5071335"/>
              <a:gd name="connsiteX8876" fmla="*/ 1047976 w 13768337"/>
              <a:gd name="connsiteY8876" fmla="*/ 2654865 h 5071335"/>
              <a:gd name="connsiteX8877" fmla="*/ 1091071 w 13768337"/>
              <a:gd name="connsiteY8877" fmla="*/ 2673816 h 5071335"/>
              <a:gd name="connsiteX8878" fmla="*/ 1237503 w 13768337"/>
              <a:gd name="connsiteY8878" fmla="*/ 2610686 h 5071335"/>
              <a:gd name="connsiteX8879" fmla="*/ 1237503 w 13768337"/>
              <a:gd name="connsiteY8879" fmla="*/ 2627131 h 5071335"/>
              <a:gd name="connsiteX8880" fmla="*/ 1325548 w 13768337"/>
              <a:gd name="connsiteY8880" fmla="*/ 2627131 h 5071335"/>
              <a:gd name="connsiteX8881" fmla="*/ 1215262 w 13768337"/>
              <a:gd name="connsiteY8881" fmla="*/ 2652495 h 5071335"/>
              <a:gd name="connsiteX8882" fmla="*/ 1252333 w 13768337"/>
              <a:gd name="connsiteY8882" fmla="*/ 2690402 h 5071335"/>
              <a:gd name="connsiteX8883" fmla="*/ 1237503 w 13768337"/>
              <a:gd name="connsiteY8883" fmla="*/ 2721199 h 5071335"/>
              <a:gd name="connsiteX8884" fmla="*/ 1242601 w 13768337"/>
              <a:gd name="connsiteY8884" fmla="*/ 2737086 h 5071335"/>
              <a:gd name="connsiteX8885" fmla="*/ 1260210 w 13768337"/>
              <a:gd name="connsiteY8885" fmla="*/ 2726356 h 5071335"/>
              <a:gd name="connsiteX8886" fmla="*/ 1252333 w 13768337"/>
              <a:gd name="connsiteY8886" fmla="*/ 2715625 h 5071335"/>
              <a:gd name="connsiteX8887" fmla="*/ 1301915 w 13768337"/>
              <a:gd name="connsiteY8887" fmla="*/ 2704755 h 5071335"/>
              <a:gd name="connsiteX8888" fmla="*/ 1288941 w 13768337"/>
              <a:gd name="connsiteY8888" fmla="*/ 2684827 h 5071335"/>
              <a:gd name="connsiteX8889" fmla="*/ 1274575 w 13768337"/>
              <a:gd name="connsiteY8889" fmla="*/ 2699599 h 5071335"/>
              <a:gd name="connsiteX8890" fmla="*/ 1233333 w 13768337"/>
              <a:gd name="connsiteY8890" fmla="*/ 2663226 h 5071335"/>
              <a:gd name="connsiteX8891" fmla="*/ 1333890 w 13768337"/>
              <a:gd name="connsiteY8891" fmla="*/ 2663226 h 5071335"/>
              <a:gd name="connsiteX8892" fmla="*/ 1330646 w 13768337"/>
              <a:gd name="connsiteY8892" fmla="*/ 2647199 h 5071335"/>
              <a:gd name="connsiteX8893" fmla="*/ 1301915 w 13768337"/>
              <a:gd name="connsiteY8893" fmla="*/ 2652495 h 5071335"/>
              <a:gd name="connsiteX8894" fmla="*/ 1343157 w 13768337"/>
              <a:gd name="connsiteY8894" fmla="*/ 2641625 h 5071335"/>
              <a:gd name="connsiteX8895" fmla="*/ 1338523 w 13768337"/>
              <a:gd name="connsiteY8895" fmla="*/ 2610686 h 5071335"/>
              <a:gd name="connsiteX8896" fmla="*/ 1256966 w 13768337"/>
              <a:gd name="connsiteY8896" fmla="*/ 2594938 h 5071335"/>
              <a:gd name="connsiteX8897" fmla="*/ 1228236 w 13768337"/>
              <a:gd name="connsiteY8897" fmla="*/ 2600095 h 5071335"/>
              <a:gd name="connsiteX8898" fmla="*/ 1164288 w 13768337"/>
              <a:gd name="connsiteY8898" fmla="*/ 2616400 h 5071335"/>
              <a:gd name="connsiteX8899" fmla="*/ 1172165 w 13768337"/>
              <a:gd name="connsiteY8899" fmla="*/ 2597726 h 5071335"/>
              <a:gd name="connsiteX8900" fmla="*/ 1145288 w 13768337"/>
              <a:gd name="connsiteY8900" fmla="*/ 2597726 h 5071335"/>
              <a:gd name="connsiteX8901" fmla="*/ 1186531 w 13768337"/>
              <a:gd name="connsiteY8901" fmla="*/ 2586995 h 5071335"/>
              <a:gd name="connsiteX8902" fmla="*/ 1186531 w 13768337"/>
              <a:gd name="connsiteY8902" fmla="*/ 2588249 h 5071335"/>
              <a:gd name="connsiteX8903" fmla="*/ 1325548 w 13768337"/>
              <a:gd name="connsiteY8903" fmla="*/ 2605669 h 5071335"/>
              <a:gd name="connsiteX8904" fmla="*/ 1403862 w 13768337"/>
              <a:gd name="connsiteY8904" fmla="*/ 2610686 h 5071335"/>
              <a:gd name="connsiteX8905" fmla="*/ 1357523 w 13768337"/>
              <a:gd name="connsiteY8905" fmla="*/ 2610686 h 5071335"/>
              <a:gd name="connsiteX8906" fmla="*/ 1394131 w 13768337"/>
              <a:gd name="connsiteY8906" fmla="*/ 2621418 h 5071335"/>
              <a:gd name="connsiteX8907" fmla="*/ 1347792 w 13768337"/>
              <a:gd name="connsiteY8907" fmla="*/ 2632287 h 5071335"/>
              <a:gd name="connsiteX8908" fmla="*/ 1357523 w 13768337"/>
              <a:gd name="connsiteY8908" fmla="*/ 2652495 h 5071335"/>
              <a:gd name="connsiteX8909" fmla="*/ 1389498 w 13768337"/>
              <a:gd name="connsiteY8909" fmla="*/ 2638001 h 5071335"/>
              <a:gd name="connsiteX8910" fmla="*/ 1374669 w 13768337"/>
              <a:gd name="connsiteY8910" fmla="*/ 2658070 h 5071335"/>
              <a:gd name="connsiteX8911" fmla="*/ 1407106 w 13768337"/>
              <a:gd name="connsiteY8911" fmla="*/ 2679531 h 5071335"/>
              <a:gd name="connsiteX8912" fmla="*/ 1421008 w 13768337"/>
              <a:gd name="connsiteY8912" fmla="*/ 2652495 h 5071335"/>
              <a:gd name="connsiteX8913" fmla="*/ 1440470 w 13768337"/>
              <a:gd name="connsiteY8913" fmla="*/ 2658070 h 5071335"/>
              <a:gd name="connsiteX8914" fmla="*/ 1467811 w 13768337"/>
              <a:gd name="connsiteY8914" fmla="*/ 2668800 h 5071335"/>
              <a:gd name="connsiteX8915" fmla="*/ 1467811 w 13768337"/>
              <a:gd name="connsiteY8915" fmla="*/ 2690402 h 5071335"/>
              <a:gd name="connsiteX8916" fmla="*/ 1435836 w 13768337"/>
              <a:gd name="connsiteY8916" fmla="*/ 2673816 h 5071335"/>
              <a:gd name="connsiteX8917" fmla="*/ 1435836 w 13768337"/>
              <a:gd name="connsiteY8917" fmla="*/ 2704755 h 5071335"/>
              <a:gd name="connsiteX8918" fmla="*/ 1416374 w 13768337"/>
              <a:gd name="connsiteY8918" fmla="*/ 2704755 h 5071335"/>
              <a:gd name="connsiteX8919" fmla="*/ 1426105 w 13768337"/>
              <a:gd name="connsiteY8919" fmla="*/ 2690402 h 5071335"/>
              <a:gd name="connsiteX8920" fmla="*/ 1315818 w 13768337"/>
              <a:gd name="connsiteY8920" fmla="*/ 2715625 h 5071335"/>
              <a:gd name="connsiteX8921" fmla="*/ 1325548 w 13768337"/>
              <a:gd name="connsiteY8921" fmla="*/ 2704755 h 5071335"/>
              <a:gd name="connsiteX8922" fmla="*/ 1311183 w 13768337"/>
              <a:gd name="connsiteY8922" fmla="*/ 2715625 h 5071335"/>
              <a:gd name="connsiteX8923" fmla="*/ 1325548 w 13768337"/>
              <a:gd name="connsiteY8923" fmla="*/ 2731930 h 5071335"/>
              <a:gd name="connsiteX8924" fmla="*/ 1301915 w 13768337"/>
              <a:gd name="connsiteY8924" fmla="*/ 2737086 h 5071335"/>
              <a:gd name="connsiteX8925" fmla="*/ 1330646 w 13768337"/>
              <a:gd name="connsiteY8925" fmla="*/ 2737086 h 5071335"/>
              <a:gd name="connsiteX8926" fmla="*/ 1362157 w 13768337"/>
              <a:gd name="connsiteY8926" fmla="*/ 2726356 h 5071335"/>
              <a:gd name="connsiteX8927" fmla="*/ 1338523 w 13768337"/>
              <a:gd name="connsiteY8927" fmla="*/ 2737086 h 5071335"/>
              <a:gd name="connsiteX8928" fmla="*/ 1374669 w 13768337"/>
              <a:gd name="connsiteY8928" fmla="*/ 2742243 h 5071335"/>
              <a:gd name="connsiteX8929" fmla="*/ 1374669 w 13768337"/>
              <a:gd name="connsiteY8929" fmla="*/ 2710329 h 5071335"/>
              <a:gd name="connsiteX8930" fmla="*/ 1357523 w 13768337"/>
              <a:gd name="connsiteY8930" fmla="*/ 2715625 h 5071335"/>
              <a:gd name="connsiteX8931" fmla="*/ 1379766 w 13768337"/>
              <a:gd name="connsiteY8931" fmla="*/ 2699599 h 5071335"/>
              <a:gd name="connsiteX8932" fmla="*/ 1379766 w 13768337"/>
              <a:gd name="connsiteY8932" fmla="*/ 2726356 h 5071335"/>
              <a:gd name="connsiteX8933" fmla="*/ 1482177 w 13768337"/>
              <a:gd name="connsiteY8933" fmla="*/ 2704755 h 5071335"/>
              <a:gd name="connsiteX8934" fmla="*/ 1555392 w 13768337"/>
              <a:gd name="connsiteY8934" fmla="*/ 2747957 h 5071335"/>
              <a:gd name="connsiteX8935" fmla="*/ 1555392 w 13768337"/>
              <a:gd name="connsiteY8935" fmla="*/ 2726356 h 5071335"/>
              <a:gd name="connsiteX8936" fmla="*/ 1587366 w 13768337"/>
              <a:gd name="connsiteY8936" fmla="*/ 2758688 h 5071335"/>
              <a:gd name="connsiteX8937" fmla="*/ 1563270 w 13768337"/>
              <a:gd name="connsiteY8937" fmla="*/ 2758688 h 5071335"/>
              <a:gd name="connsiteX8938" fmla="*/ 1604512 w 13768337"/>
              <a:gd name="connsiteY8938" fmla="*/ 2789486 h 5071335"/>
              <a:gd name="connsiteX8939" fmla="*/ 1614244 w 13768337"/>
              <a:gd name="connsiteY8939" fmla="*/ 2758688 h 5071335"/>
              <a:gd name="connsiteX8940" fmla="*/ 1595244 w 13768337"/>
              <a:gd name="connsiteY8940" fmla="*/ 2742243 h 5071335"/>
              <a:gd name="connsiteX8941" fmla="*/ 1631852 w 13768337"/>
              <a:gd name="connsiteY8941" fmla="*/ 2747957 h 5071335"/>
              <a:gd name="connsiteX8942" fmla="*/ 1631852 w 13768337"/>
              <a:gd name="connsiteY8942" fmla="*/ 2762451 h 5071335"/>
              <a:gd name="connsiteX8943" fmla="*/ 1631852 w 13768337"/>
              <a:gd name="connsiteY8943" fmla="*/ 2773181 h 5071335"/>
              <a:gd name="connsiteX8944" fmla="*/ 1614244 w 13768337"/>
              <a:gd name="connsiteY8944" fmla="*/ 2778756 h 5071335"/>
              <a:gd name="connsiteX8945" fmla="*/ 1660582 w 13768337"/>
              <a:gd name="connsiteY8945" fmla="*/ 2778756 h 5071335"/>
              <a:gd name="connsiteX8946" fmla="*/ 1631852 w 13768337"/>
              <a:gd name="connsiteY8946" fmla="*/ 2762451 h 5071335"/>
              <a:gd name="connsiteX8947" fmla="*/ 1741677 w 13768337"/>
              <a:gd name="connsiteY8947" fmla="*/ 2761336 h 5071335"/>
              <a:gd name="connsiteX8948" fmla="*/ 1738897 w 13768337"/>
              <a:gd name="connsiteY8948" fmla="*/ 2752973 h 5071335"/>
              <a:gd name="connsiteX8949" fmla="*/ 1834355 w 13768337"/>
              <a:gd name="connsiteY8949" fmla="*/ 2752973 h 5071335"/>
              <a:gd name="connsiteX8950" fmla="*/ 1807479 w 13768337"/>
              <a:gd name="connsiteY8950" fmla="*/ 2731930 h 5071335"/>
              <a:gd name="connsiteX8951" fmla="*/ 1811648 w 13768337"/>
              <a:gd name="connsiteY8951" fmla="*/ 2723568 h 5071335"/>
              <a:gd name="connsiteX8952" fmla="*/ 1848721 w 13768337"/>
              <a:gd name="connsiteY8952" fmla="*/ 2726356 h 5071335"/>
              <a:gd name="connsiteX8953" fmla="*/ 1834355 w 13768337"/>
              <a:gd name="connsiteY8953" fmla="*/ 2731930 h 5071335"/>
              <a:gd name="connsiteX8954" fmla="*/ 1829721 w 13768337"/>
              <a:gd name="connsiteY8954" fmla="*/ 2737086 h 5071335"/>
              <a:gd name="connsiteX8955" fmla="*/ 1848721 w 13768337"/>
              <a:gd name="connsiteY8955" fmla="*/ 2752973 h 5071335"/>
              <a:gd name="connsiteX8956" fmla="*/ 1876061 w 13768337"/>
              <a:gd name="connsiteY8956" fmla="*/ 2737086 h 5071335"/>
              <a:gd name="connsiteX8957" fmla="*/ 1934912 w 13768337"/>
              <a:gd name="connsiteY8957" fmla="*/ 2747957 h 5071335"/>
              <a:gd name="connsiteX8958" fmla="*/ 1944179 w 13768337"/>
              <a:gd name="connsiteY8958" fmla="*/ 2763704 h 5071335"/>
              <a:gd name="connsiteX8959" fmla="*/ 1922401 w 13768337"/>
              <a:gd name="connsiteY8959" fmla="*/ 2769279 h 5071335"/>
              <a:gd name="connsiteX8960" fmla="*/ 1963643 w 13768337"/>
              <a:gd name="connsiteY8960" fmla="*/ 2774575 h 5071335"/>
              <a:gd name="connsiteX8961" fmla="*/ 2105904 w 13768337"/>
              <a:gd name="connsiteY8961" fmla="*/ 2796037 h 5071335"/>
              <a:gd name="connsiteX8962" fmla="*/ 2086443 w 13768337"/>
              <a:gd name="connsiteY8962" fmla="*/ 2769279 h 5071335"/>
              <a:gd name="connsiteX8963" fmla="*/ 2132783 w 13768337"/>
              <a:gd name="connsiteY8963" fmla="*/ 2790880 h 5071335"/>
              <a:gd name="connsiteX8964" fmla="*/ 2117952 w 13768337"/>
              <a:gd name="connsiteY8964" fmla="*/ 2803980 h 5071335"/>
              <a:gd name="connsiteX8965" fmla="*/ 2118879 w 13768337"/>
              <a:gd name="connsiteY8965" fmla="*/ 2803980 h 5071335"/>
              <a:gd name="connsiteX8966" fmla="*/ 2117026 w 13768337"/>
              <a:gd name="connsiteY8966" fmla="*/ 2811367 h 5071335"/>
              <a:gd name="connsiteX8967" fmla="*/ 2118416 w 13768337"/>
              <a:gd name="connsiteY8967" fmla="*/ 2816105 h 5071335"/>
              <a:gd name="connsiteX8968" fmla="*/ 2116563 w 13768337"/>
              <a:gd name="connsiteY8968" fmla="*/ 2814710 h 5071335"/>
              <a:gd name="connsiteX8969" fmla="*/ 2118879 w 13768337"/>
              <a:gd name="connsiteY8969" fmla="*/ 2822654 h 5071335"/>
              <a:gd name="connsiteX8970" fmla="*/ 2113318 w 13768337"/>
              <a:gd name="connsiteY8970" fmla="*/ 2828787 h 5071335"/>
              <a:gd name="connsiteX8971" fmla="*/ 2104514 w 13768337"/>
              <a:gd name="connsiteY8971" fmla="*/ 2828787 h 5071335"/>
              <a:gd name="connsiteX8972" fmla="*/ 2105904 w 13768337"/>
              <a:gd name="connsiteY8972" fmla="*/ 2810530 h 5071335"/>
              <a:gd name="connsiteX8973" fmla="*/ 2095710 w 13768337"/>
              <a:gd name="connsiteY8973" fmla="*/ 2821818 h 5071335"/>
              <a:gd name="connsiteX8974" fmla="*/ 2068833 w 13768337"/>
              <a:gd name="connsiteY8974" fmla="*/ 2826836 h 5071335"/>
              <a:gd name="connsiteX8975" fmla="*/ 2078564 w 13768337"/>
              <a:gd name="connsiteY8975" fmla="*/ 2805373 h 5071335"/>
              <a:gd name="connsiteX8976" fmla="*/ 2054931 w 13768337"/>
              <a:gd name="connsiteY8976" fmla="*/ 2796037 h 5071335"/>
              <a:gd name="connsiteX8977" fmla="*/ 2068833 w 13768337"/>
              <a:gd name="connsiteY8977" fmla="*/ 2811088 h 5071335"/>
              <a:gd name="connsiteX8978" fmla="*/ 2032224 w 13768337"/>
              <a:gd name="connsiteY8978" fmla="*/ 2821818 h 5071335"/>
              <a:gd name="connsiteX8979" fmla="*/ 1902937 w 13768337"/>
              <a:gd name="connsiteY8979" fmla="*/ 2789486 h 5071335"/>
              <a:gd name="connsiteX8980" fmla="*/ 1927034 w 13768337"/>
              <a:gd name="connsiteY8980" fmla="*/ 2805373 h 5071335"/>
              <a:gd name="connsiteX8981" fmla="*/ 1876061 w 13768337"/>
              <a:gd name="connsiteY8981" fmla="*/ 2832411 h 5071335"/>
              <a:gd name="connsiteX8982" fmla="*/ 1891817 w 13768337"/>
              <a:gd name="connsiteY8982" fmla="*/ 2842862 h 5071335"/>
              <a:gd name="connsiteX8983" fmla="*/ 1898305 w 13768337"/>
              <a:gd name="connsiteY8983" fmla="*/ 2841887 h 5071335"/>
              <a:gd name="connsiteX8984" fmla="*/ 1971520 w 13768337"/>
              <a:gd name="connsiteY8984" fmla="*/ 2811088 h 5071335"/>
              <a:gd name="connsiteX8985" fmla="*/ 1981251 w 13768337"/>
              <a:gd name="connsiteY8985" fmla="*/ 2832411 h 5071335"/>
              <a:gd name="connsiteX8986" fmla="*/ 1979397 w 13768337"/>
              <a:gd name="connsiteY8986" fmla="*/ 2835338 h 5071335"/>
              <a:gd name="connsiteX8987" fmla="*/ 2173097 w 13768337"/>
              <a:gd name="connsiteY8987" fmla="*/ 2829762 h 5071335"/>
              <a:gd name="connsiteX8988" fmla="*/ 2173097 w 13768337"/>
              <a:gd name="connsiteY8988" fmla="*/ 2815826 h 5071335"/>
              <a:gd name="connsiteX8989" fmla="*/ 2160122 w 13768337"/>
              <a:gd name="connsiteY8989" fmla="*/ 2796037 h 5071335"/>
              <a:gd name="connsiteX8990" fmla="*/ 2172634 w 13768337"/>
              <a:gd name="connsiteY8990" fmla="*/ 2811088 h 5071335"/>
              <a:gd name="connsiteX8991" fmla="*/ 2177730 w 13768337"/>
              <a:gd name="connsiteY8991" fmla="*/ 2800217 h 5071335"/>
              <a:gd name="connsiteX8992" fmla="*/ 2183756 w 13768337"/>
              <a:gd name="connsiteY8992" fmla="*/ 2785305 h 5071335"/>
              <a:gd name="connsiteX8993" fmla="*/ 2142049 w 13768337"/>
              <a:gd name="connsiteY8993" fmla="*/ 2774575 h 5071335"/>
              <a:gd name="connsiteX8994" fmla="*/ 2188389 w 13768337"/>
              <a:gd name="connsiteY8994" fmla="*/ 2758688 h 5071335"/>
              <a:gd name="connsiteX8995" fmla="*/ 2179120 w 13768337"/>
              <a:gd name="connsiteY8995" fmla="*/ 2743498 h 5071335"/>
              <a:gd name="connsiteX8996" fmla="*/ 2152244 w 13768337"/>
              <a:gd name="connsiteY8996" fmla="*/ 2752973 h 5071335"/>
              <a:gd name="connsiteX8997" fmla="*/ 2127684 w 13768337"/>
              <a:gd name="connsiteY8997" fmla="*/ 2711444 h 5071335"/>
              <a:gd name="connsiteX8998" fmla="*/ 2161512 w 13768337"/>
              <a:gd name="connsiteY8998" fmla="*/ 2722175 h 5071335"/>
              <a:gd name="connsiteX8999" fmla="*/ 2100343 w 13768337"/>
              <a:gd name="connsiteY8999" fmla="*/ 2706149 h 5071335"/>
              <a:gd name="connsiteX9000" fmla="*/ 2105904 w 13768337"/>
              <a:gd name="connsiteY9000" fmla="*/ 2686081 h 5071335"/>
              <a:gd name="connsiteX9001" fmla="*/ 2091075 w 13768337"/>
              <a:gd name="connsiteY9001" fmla="*/ 2711444 h 5071335"/>
              <a:gd name="connsiteX9002" fmla="*/ 2059565 w 13768337"/>
              <a:gd name="connsiteY9002" fmla="*/ 2695418 h 5071335"/>
              <a:gd name="connsiteX9003" fmla="*/ 2047055 w 13768337"/>
              <a:gd name="connsiteY9003" fmla="*/ 2711444 h 5071335"/>
              <a:gd name="connsiteX9004" fmla="*/ 2059565 w 13768337"/>
              <a:gd name="connsiteY9004" fmla="*/ 2716879 h 5071335"/>
              <a:gd name="connsiteX9005" fmla="*/ 2032224 w 13768337"/>
              <a:gd name="connsiteY9005" fmla="*/ 2747957 h 5071335"/>
              <a:gd name="connsiteX9006" fmla="*/ 2036859 w 13768337"/>
              <a:gd name="connsiteY9006" fmla="*/ 2722175 h 5071335"/>
              <a:gd name="connsiteX9007" fmla="*/ 2009983 w 13768337"/>
              <a:gd name="connsiteY9007" fmla="*/ 2738480 h 5071335"/>
              <a:gd name="connsiteX9008" fmla="*/ 2009983 w 13768337"/>
              <a:gd name="connsiteY9008" fmla="*/ 2706149 h 5071335"/>
              <a:gd name="connsiteX9009" fmla="*/ 1968740 w 13768337"/>
              <a:gd name="connsiteY9009" fmla="*/ 2722175 h 5071335"/>
              <a:gd name="connsiteX9010" fmla="*/ 1944179 w 13768337"/>
              <a:gd name="connsiteY9010" fmla="*/ 2695418 h 5071335"/>
              <a:gd name="connsiteX9011" fmla="*/ 1981251 w 13768337"/>
              <a:gd name="connsiteY9011" fmla="*/ 2701132 h 5071335"/>
              <a:gd name="connsiteX9012" fmla="*/ 1973374 w 13768337"/>
              <a:gd name="connsiteY9012" fmla="*/ 2690402 h 5071335"/>
              <a:gd name="connsiteX9013" fmla="*/ 1981251 w 13768337"/>
              <a:gd name="connsiteY9013" fmla="*/ 2684827 h 5071335"/>
              <a:gd name="connsiteX9014" fmla="*/ 1949277 w 13768337"/>
              <a:gd name="connsiteY9014" fmla="*/ 2659323 h 5071335"/>
              <a:gd name="connsiteX9015" fmla="*/ 1917303 w 13768337"/>
              <a:gd name="connsiteY9015" fmla="*/ 2664620 h 5071335"/>
              <a:gd name="connsiteX9016" fmla="*/ 1922401 w 13768337"/>
              <a:gd name="connsiteY9016" fmla="*/ 2638001 h 5071335"/>
              <a:gd name="connsiteX9017" fmla="*/ 1899694 w 13768337"/>
              <a:gd name="connsiteY9017" fmla="*/ 2643018 h 5071335"/>
              <a:gd name="connsiteX9018" fmla="*/ 1949277 w 13768337"/>
              <a:gd name="connsiteY9018" fmla="*/ 2621418 h 5071335"/>
              <a:gd name="connsiteX9019" fmla="*/ 1953911 w 13768337"/>
              <a:gd name="connsiteY9019" fmla="*/ 2643018 h 5071335"/>
              <a:gd name="connsiteX9020" fmla="*/ 1973374 w 13768337"/>
              <a:gd name="connsiteY9020" fmla="*/ 2638001 h 5071335"/>
              <a:gd name="connsiteX9021" fmla="*/ 1959009 w 13768337"/>
              <a:gd name="connsiteY9021" fmla="*/ 2607063 h 5071335"/>
              <a:gd name="connsiteX9022" fmla="*/ 1908036 w 13768337"/>
              <a:gd name="connsiteY9022" fmla="*/ 2596192 h 5071335"/>
              <a:gd name="connsiteX9023" fmla="*/ 1912668 w 13768337"/>
              <a:gd name="connsiteY9023" fmla="*/ 2617794 h 5071335"/>
              <a:gd name="connsiteX9024" fmla="*/ 1865867 w 13768337"/>
              <a:gd name="connsiteY9024" fmla="*/ 2621418 h 5071335"/>
              <a:gd name="connsiteX9025" fmla="*/ 1885329 w 13768337"/>
              <a:gd name="connsiteY9025" fmla="*/ 2627131 h 5071335"/>
              <a:gd name="connsiteX9026" fmla="*/ 1883939 w 13768337"/>
              <a:gd name="connsiteY9026" fmla="*/ 2648592 h 5071335"/>
              <a:gd name="connsiteX9027" fmla="*/ 1902937 w 13768337"/>
              <a:gd name="connsiteY9027" fmla="*/ 2652495 h 5071335"/>
              <a:gd name="connsiteX9028" fmla="*/ 1871427 w 13768337"/>
              <a:gd name="connsiteY9028" fmla="*/ 2679531 h 5071335"/>
              <a:gd name="connsiteX9029" fmla="*/ 1844087 w 13768337"/>
              <a:gd name="connsiteY9029" fmla="*/ 2658070 h 5071335"/>
              <a:gd name="connsiteX9030" fmla="*/ 1857062 w 13768337"/>
              <a:gd name="connsiteY9030" fmla="*/ 2650125 h 5071335"/>
              <a:gd name="connsiteX9031" fmla="*/ 1793113 w 13768337"/>
              <a:gd name="connsiteY9031" fmla="*/ 2627131 h 5071335"/>
              <a:gd name="connsiteX9032" fmla="*/ 1714799 w 13768337"/>
              <a:gd name="connsiteY9032" fmla="*/ 2610686 h 5071335"/>
              <a:gd name="connsiteX9033" fmla="*/ 1650852 w 13768337"/>
              <a:gd name="connsiteY9033" fmla="*/ 2621418 h 5071335"/>
              <a:gd name="connsiteX9034" fmla="*/ 1692556 w 13768337"/>
              <a:gd name="connsiteY9034" fmla="*/ 2590618 h 5071335"/>
              <a:gd name="connsiteX9035" fmla="*/ 1687923 w 13768337"/>
              <a:gd name="connsiteY9035" fmla="*/ 2600095 h 5071335"/>
              <a:gd name="connsiteX9036" fmla="*/ 1733799 w 13768337"/>
              <a:gd name="connsiteY9036" fmla="*/ 2590618 h 5071335"/>
              <a:gd name="connsiteX9037" fmla="*/ 1729165 w 13768337"/>
              <a:gd name="connsiteY9037" fmla="*/ 2605669 h 5071335"/>
              <a:gd name="connsiteX9038" fmla="*/ 1738897 w 13768337"/>
              <a:gd name="connsiteY9038" fmla="*/ 2585462 h 5071335"/>
              <a:gd name="connsiteX9039" fmla="*/ 1760676 w 13768337"/>
              <a:gd name="connsiteY9039" fmla="*/ 2590618 h 5071335"/>
              <a:gd name="connsiteX9040" fmla="*/ 1760676 w 13768337"/>
              <a:gd name="connsiteY9040" fmla="*/ 2569157 h 5071335"/>
              <a:gd name="connsiteX9041" fmla="*/ 1775504 w 13768337"/>
              <a:gd name="connsiteY9041" fmla="*/ 2585462 h 5071335"/>
              <a:gd name="connsiteX9042" fmla="*/ 1793113 w 13768337"/>
              <a:gd name="connsiteY9042" fmla="*/ 2569157 h 5071335"/>
              <a:gd name="connsiteX9043" fmla="*/ 1789869 w 13768337"/>
              <a:gd name="connsiteY9043" fmla="*/ 2590618 h 5071335"/>
              <a:gd name="connsiteX9044" fmla="*/ 1807479 w 13768337"/>
              <a:gd name="connsiteY9044" fmla="*/ 2585462 h 5071335"/>
              <a:gd name="connsiteX9045" fmla="*/ 1780139 w 13768337"/>
              <a:gd name="connsiteY9045" fmla="*/ 2596192 h 5071335"/>
              <a:gd name="connsiteX9046" fmla="*/ 1831112 w 13768337"/>
              <a:gd name="connsiteY9046" fmla="*/ 2574870 h 5071335"/>
              <a:gd name="connsiteX9047" fmla="*/ 1834355 w 13768337"/>
              <a:gd name="connsiteY9047" fmla="*/ 2596192 h 5071335"/>
              <a:gd name="connsiteX9048" fmla="*/ 1868184 w 13768337"/>
              <a:gd name="connsiteY9048" fmla="*/ 2543792 h 5071335"/>
              <a:gd name="connsiteX9049" fmla="*/ 1838989 w 13768337"/>
              <a:gd name="connsiteY9049" fmla="*/ 2569157 h 5071335"/>
              <a:gd name="connsiteX9050" fmla="*/ 1802382 w 13768337"/>
              <a:gd name="connsiteY9050" fmla="*/ 2563861 h 5071335"/>
              <a:gd name="connsiteX9051" fmla="*/ 1834355 w 13768337"/>
              <a:gd name="connsiteY9051" fmla="*/ 2558286 h 5071335"/>
              <a:gd name="connsiteX9052" fmla="*/ 1848721 w 13768337"/>
              <a:gd name="connsiteY9052" fmla="*/ 2538357 h 5071335"/>
              <a:gd name="connsiteX9053" fmla="*/ 1794503 w 13768337"/>
              <a:gd name="connsiteY9053" fmla="*/ 2558286 h 5071335"/>
              <a:gd name="connsiteX9054" fmla="*/ 1766237 w 13768337"/>
              <a:gd name="connsiteY9054" fmla="*/ 2558286 h 5071335"/>
              <a:gd name="connsiteX9055" fmla="*/ 1760676 w 13768337"/>
              <a:gd name="connsiteY9055" fmla="*/ 2522331 h 5071335"/>
              <a:gd name="connsiteX9056" fmla="*/ 1760676 w 13768337"/>
              <a:gd name="connsiteY9056" fmla="*/ 2543792 h 5071335"/>
              <a:gd name="connsiteX9057" fmla="*/ 1738897 w 13768337"/>
              <a:gd name="connsiteY9057" fmla="*/ 2538357 h 5071335"/>
              <a:gd name="connsiteX9058" fmla="*/ 1743531 w 13768337"/>
              <a:gd name="connsiteY9058" fmla="*/ 2548113 h 5071335"/>
              <a:gd name="connsiteX9059" fmla="*/ 1748164 w 13768337"/>
              <a:gd name="connsiteY9059" fmla="*/ 2527488 h 5071335"/>
              <a:gd name="connsiteX9060" fmla="*/ 1748164 w 13768337"/>
              <a:gd name="connsiteY9060" fmla="*/ 2500730 h 5071335"/>
              <a:gd name="connsiteX9061" fmla="*/ 1733799 w 13768337"/>
              <a:gd name="connsiteY9061" fmla="*/ 2495713 h 5071335"/>
              <a:gd name="connsiteX9062" fmla="*/ 1752798 w 13768337"/>
              <a:gd name="connsiteY9062" fmla="*/ 2475506 h 5071335"/>
              <a:gd name="connsiteX9063" fmla="*/ 1712019 w 13768337"/>
              <a:gd name="connsiteY9063" fmla="*/ 2469931 h 5071335"/>
              <a:gd name="connsiteX9064" fmla="*/ 1821844 w 13768337"/>
              <a:gd name="connsiteY9064" fmla="*/ 2464776 h 5071335"/>
              <a:gd name="connsiteX9065" fmla="*/ 1821844 w 13768337"/>
              <a:gd name="connsiteY9065" fmla="*/ 2459201 h 5071335"/>
              <a:gd name="connsiteX9066" fmla="*/ 1936302 w 13768337"/>
              <a:gd name="connsiteY9066" fmla="*/ 2444707 h 5071335"/>
              <a:gd name="connsiteX9067" fmla="*/ 1922401 w 13768337"/>
              <a:gd name="connsiteY9067" fmla="*/ 2469931 h 5071335"/>
              <a:gd name="connsiteX9068" fmla="*/ 1904791 w 13768337"/>
              <a:gd name="connsiteY9068" fmla="*/ 2464776 h 5071335"/>
              <a:gd name="connsiteX9069" fmla="*/ 1889963 w 13768337"/>
              <a:gd name="connsiteY9069" fmla="*/ 2475506 h 5071335"/>
              <a:gd name="connsiteX9070" fmla="*/ 1927034 w 13768337"/>
              <a:gd name="connsiteY9070" fmla="*/ 2491532 h 5071335"/>
              <a:gd name="connsiteX9071" fmla="*/ 1917303 w 13768337"/>
              <a:gd name="connsiteY9071" fmla="*/ 2506444 h 5071335"/>
              <a:gd name="connsiteX9072" fmla="*/ 1946034 w 13768337"/>
              <a:gd name="connsiteY9072" fmla="*/ 2522331 h 5071335"/>
              <a:gd name="connsiteX9073" fmla="*/ 2009983 w 13768337"/>
              <a:gd name="connsiteY9073" fmla="*/ 2507281 h 5071335"/>
              <a:gd name="connsiteX9074" fmla="*/ 2041492 w 13768337"/>
              <a:gd name="connsiteY9074" fmla="*/ 2533062 h 5071335"/>
              <a:gd name="connsiteX9075" fmla="*/ 2051688 w 13768337"/>
              <a:gd name="connsiteY9075" fmla="*/ 2522331 h 5071335"/>
              <a:gd name="connsiteX9076" fmla="*/ 2027590 w 13768337"/>
              <a:gd name="connsiteY9076" fmla="*/ 2507281 h 5071335"/>
              <a:gd name="connsiteX9077" fmla="*/ 2078564 w 13768337"/>
              <a:gd name="connsiteY9077" fmla="*/ 2502263 h 5071335"/>
              <a:gd name="connsiteX9078" fmla="*/ 2055858 w 13768337"/>
              <a:gd name="connsiteY9078" fmla="*/ 2507281 h 5071335"/>
              <a:gd name="connsiteX9079" fmla="*/ 2060955 w 13768337"/>
              <a:gd name="connsiteY9079" fmla="*/ 2522331 h 5071335"/>
              <a:gd name="connsiteX9080" fmla="*/ 2092467 w 13768337"/>
              <a:gd name="connsiteY9080" fmla="*/ 2517036 h 5071335"/>
              <a:gd name="connsiteX9081" fmla="*/ 2078564 w 13768337"/>
              <a:gd name="connsiteY9081" fmla="*/ 2549088 h 5071335"/>
              <a:gd name="connsiteX9082" fmla="*/ 2004885 w 13768337"/>
              <a:gd name="connsiteY9082" fmla="*/ 2554663 h 5071335"/>
              <a:gd name="connsiteX9083" fmla="*/ 1973374 w 13768337"/>
              <a:gd name="connsiteY9083" fmla="*/ 2569157 h 5071335"/>
              <a:gd name="connsiteX9084" fmla="*/ 2000250 w 13768337"/>
              <a:gd name="connsiteY9084" fmla="*/ 2574870 h 5071335"/>
              <a:gd name="connsiteX9085" fmla="*/ 1963643 w 13768337"/>
              <a:gd name="connsiteY9085" fmla="*/ 2569157 h 5071335"/>
              <a:gd name="connsiteX9086" fmla="*/ 1949277 w 13768337"/>
              <a:gd name="connsiteY9086" fmla="*/ 2585462 h 5071335"/>
              <a:gd name="connsiteX9087" fmla="*/ 1982642 w 13768337"/>
              <a:gd name="connsiteY9087" fmla="*/ 2607063 h 5071335"/>
              <a:gd name="connsiteX9088" fmla="*/ 1968740 w 13768337"/>
              <a:gd name="connsiteY9088" fmla="*/ 2617794 h 5071335"/>
              <a:gd name="connsiteX9089" fmla="*/ 1978008 w 13768337"/>
              <a:gd name="connsiteY9089" fmla="*/ 2632287 h 5071335"/>
              <a:gd name="connsiteX9090" fmla="*/ 2004885 w 13768337"/>
              <a:gd name="connsiteY9090" fmla="*/ 2627131 h 5071335"/>
              <a:gd name="connsiteX9091" fmla="*/ 2004885 w 13768337"/>
              <a:gd name="connsiteY9091" fmla="*/ 2590618 h 5071335"/>
              <a:gd name="connsiteX9092" fmla="*/ 2022493 w 13768337"/>
              <a:gd name="connsiteY9092" fmla="*/ 2607063 h 5071335"/>
              <a:gd name="connsiteX9093" fmla="*/ 2014615 w 13768337"/>
              <a:gd name="connsiteY9093" fmla="*/ 2627131 h 5071335"/>
              <a:gd name="connsiteX9094" fmla="*/ 2055858 w 13768337"/>
              <a:gd name="connsiteY9094" fmla="*/ 2628524 h 5071335"/>
              <a:gd name="connsiteX9095" fmla="*/ 2027590 w 13768337"/>
              <a:gd name="connsiteY9095" fmla="*/ 2585462 h 5071335"/>
              <a:gd name="connsiteX9096" fmla="*/ 2038714 w 13768337"/>
              <a:gd name="connsiteY9096" fmla="*/ 2572780 h 5071335"/>
              <a:gd name="connsiteX9097" fmla="*/ 2029907 w 13768337"/>
              <a:gd name="connsiteY9097" fmla="*/ 2568321 h 5071335"/>
              <a:gd name="connsiteX9098" fmla="*/ 2046126 w 13768337"/>
              <a:gd name="connsiteY9098" fmla="*/ 2565952 h 5071335"/>
              <a:gd name="connsiteX9099" fmla="*/ 2048444 w 13768337"/>
              <a:gd name="connsiteY9099" fmla="*/ 2565952 h 5071335"/>
              <a:gd name="connsiteX9100" fmla="*/ 2054931 w 13768337"/>
              <a:gd name="connsiteY9100" fmla="*/ 2563582 h 5071335"/>
              <a:gd name="connsiteX9101" fmla="*/ 2053541 w 13768337"/>
              <a:gd name="connsiteY9101" fmla="*/ 2565952 h 5071335"/>
              <a:gd name="connsiteX9102" fmla="*/ 2064199 w 13768337"/>
              <a:gd name="connsiteY9102" fmla="*/ 2585462 h 5071335"/>
              <a:gd name="connsiteX9103" fmla="*/ 2092467 w 13768337"/>
              <a:gd name="connsiteY9103" fmla="*/ 2579888 h 5071335"/>
              <a:gd name="connsiteX9104" fmla="*/ 2083199 w 13768337"/>
              <a:gd name="connsiteY9104" fmla="*/ 2585462 h 5071335"/>
              <a:gd name="connsiteX9105" fmla="*/ 2110539 w 13768337"/>
              <a:gd name="connsiteY9105" fmla="*/ 2585462 h 5071335"/>
              <a:gd name="connsiteX9106" fmla="*/ 2092467 w 13768337"/>
              <a:gd name="connsiteY9106" fmla="*/ 2570411 h 5071335"/>
              <a:gd name="connsiteX9107" fmla="*/ 2142339 w 13768337"/>
              <a:gd name="connsiteY9107" fmla="*/ 2559158 h 5071335"/>
              <a:gd name="connsiteX9108" fmla="*/ 2162663 w 13768337"/>
              <a:gd name="connsiteY9108" fmla="*/ 2566074 h 5071335"/>
              <a:gd name="connsiteX9109" fmla="*/ 2151160 w 13768337"/>
              <a:gd name="connsiteY9109" fmla="*/ 2560358 h 5071335"/>
              <a:gd name="connsiteX9110" fmla="*/ 2200281 w 13768337"/>
              <a:gd name="connsiteY9110" fmla="*/ 2555201 h 5071335"/>
              <a:gd name="connsiteX9111" fmla="*/ 2173867 w 13768337"/>
              <a:gd name="connsiteY9111" fmla="*/ 2537920 h 5071335"/>
              <a:gd name="connsiteX9112" fmla="*/ 2159039 w 13768337"/>
              <a:gd name="connsiteY9112" fmla="*/ 2549209 h 5071335"/>
              <a:gd name="connsiteX9113" fmla="*/ 2167380 w 13768337"/>
              <a:gd name="connsiteY9113" fmla="*/ 2523427 h 5071335"/>
              <a:gd name="connsiteX9114" fmla="*/ 2295739 w 13768337"/>
              <a:gd name="connsiteY9114" fmla="*/ 2484962 h 5071335"/>
              <a:gd name="connsiteX9115" fmla="*/ 2246156 w 13768337"/>
              <a:gd name="connsiteY9115" fmla="*/ 2485520 h 5071335"/>
              <a:gd name="connsiteX9116" fmla="*/ 2259595 w 13768337"/>
              <a:gd name="connsiteY9116" fmla="*/ 2499456 h 5071335"/>
              <a:gd name="connsiteX9117" fmla="*/ 2240596 w 13768337"/>
              <a:gd name="connsiteY9117" fmla="*/ 2505729 h 5071335"/>
              <a:gd name="connsiteX9118" fmla="*/ 2229938 w 13768337"/>
              <a:gd name="connsiteY9118" fmla="*/ 2478134 h 5071335"/>
              <a:gd name="connsiteX9119" fmla="*/ 2254034 w 13768337"/>
              <a:gd name="connsiteY9119" fmla="*/ 2474790 h 5071335"/>
              <a:gd name="connsiteX9120" fmla="*/ 2246463 w 13768337"/>
              <a:gd name="connsiteY9120" fmla="*/ 2464434 h 5071335"/>
              <a:gd name="connsiteX9121" fmla="*/ 2234728 w 13768337"/>
              <a:gd name="connsiteY9121" fmla="*/ 2465194 h 5071335"/>
              <a:gd name="connsiteX9122" fmla="*/ 2207851 w 13768337"/>
              <a:gd name="connsiteY9122" fmla="*/ 2464776 h 5071335"/>
              <a:gd name="connsiteX9123" fmla="*/ 2208344 w 13768337"/>
              <a:gd name="connsiteY9123" fmla="*/ 2463975 h 5071335"/>
              <a:gd name="connsiteX9124" fmla="*/ 2197964 w 13768337"/>
              <a:gd name="connsiteY9124" fmla="*/ 2461272 h 5071335"/>
              <a:gd name="connsiteX9125" fmla="*/ 2199289 w 13768337"/>
              <a:gd name="connsiteY9125" fmla="*/ 2457640 h 5071335"/>
              <a:gd name="connsiteX9126" fmla="*/ 2194877 w 13768337"/>
              <a:gd name="connsiteY9126" fmla="*/ 2456273 h 5071335"/>
              <a:gd name="connsiteX9127" fmla="*/ 2165219 w 13768337"/>
              <a:gd name="connsiteY9127" fmla="*/ 2439133 h 5071335"/>
              <a:gd name="connsiteX9128" fmla="*/ 2224070 w 13768337"/>
              <a:gd name="connsiteY9128" fmla="*/ 2398857 h 5071335"/>
              <a:gd name="connsiteX9129" fmla="*/ 2200900 w 13768337"/>
              <a:gd name="connsiteY9129" fmla="*/ 2370705 h 5071335"/>
              <a:gd name="connsiteX9130" fmla="*/ 2172634 w 13768337"/>
              <a:gd name="connsiteY9130" fmla="*/ 2398439 h 5071335"/>
              <a:gd name="connsiteX9131" fmla="*/ 2170780 w 13768337"/>
              <a:gd name="connsiteY9131" fmla="*/ 2374469 h 5071335"/>
              <a:gd name="connsiteX9132" fmla="*/ 2081808 w 13768337"/>
              <a:gd name="connsiteY9132" fmla="*/ 2348686 h 5071335"/>
              <a:gd name="connsiteX9133" fmla="*/ 2184682 w 13768337"/>
              <a:gd name="connsiteY9133" fmla="*/ 2347850 h 5071335"/>
              <a:gd name="connsiteX9134" fmla="*/ 2185608 w 13768337"/>
              <a:gd name="connsiteY9134" fmla="*/ 2317888 h 5071335"/>
              <a:gd name="connsiteX9135" fmla="*/ 2143439 w 13768337"/>
              <a:gd name="connsiteY9135" fmla="*/ 2301861 h 5071335"/>
              <a:gd name="connsiteX9136" fmla="*/ 2182828 w 13768337"/>
              <a:gd name="connsiteY9136" fmla="*/ 2279563 h 5071335"/>
              <a:gd name="connsiteX9137" fmla="*/ 2264385 w 13768337"/>
              <a:gd name="connsiteY9137" fmla="*/ 2256569 h 5071335"/>
              <a:gd name="connsiteX9138" fmla="*/ 2276353 w 13768337"/>
              <a:gd name="connsiteY9138" fmla="*/ 2255626 h 5071335"/>
              <a:gd name="connsiteX9139" fmla="*/ 2273496 w 13768337"/>
              <a:gd name="connsiteY9139" fmla="*/ 2245540 h 5071335"/>
              <a:gd name="connsiteX9140" fmla="*/ 2300837 w 13768337"/>
              <a:gd name="connsiteY9140" fmla="*/ 2245540 h 5071335"/>
              <a:gd name="connsiteX9141" fmla="*/ 2283692 w 13768337"/>
              <a:gd name="connsiteY9141" fmla="*/ 2227702 h 5071335"/>
              <a:gd name="connsiteX9142" fmla="*/ 2269325 w 13768337"/>
              <a:gd name="connsiteY9142" fmla="*/ 2227702 h 5071335"/>
              <a:gd name="connsiteX9143" fmla="*/ 2230864 w 13768337"/>
              <a:gd name="connsiteY9143" fmla="*/ 2227702 h 5071335"/>
              <a:gd name="connsiteX9144" fmla="*/ 2187768 w 13768337"/>
              <a:gd name="connsiteY9144" fmla="*/ 2230628 h 5071335"/>
              <a:gd name="connsiteX9145" fmla="*/ 2144673 w 13768337"/>
              <a:gd name="connsiteY9145" fmla="*/ 2239825 h 5071335"/>
              <a:gd name="connsiteX9146" fmla="*/ 2136795 w 13768337"/>
              <a:gd name="connsiteY9146" fmla="*/ 2229095 h 5071335"/>
              <a:gd name="connsiteX9147" fmla="*/ 2168306 w 13768337"/>
              <a:gd name="connsiteY9147" fmla="*/ 2223938 h 5071335"/>
              <a:gd name="connsiteX9148" fmla="*/ 2172941 w 13768337"/>
              <a:gd name="connsiteY9148" fmla="*/ 2217389 h 5071335"/>
              <a:gd name="connsiteX9149" fmla="*/ 2157185 w 13768337"/>
              <a:gd name="connsiteY9149" fmla="*/ 2205125 h 5071335"/>
              <a:gd name="connsiteX9150" fmla="*/ 2110845 w 13768337"/>
              <a:gd name="connsiteY9150" fmla="*/ 2226726 h 5071335"/>
              <a:gd name="connsiteX9151" fmla="*/ 2112699 w 13768337"/>
              <a:gd name="connsiteY9151" fmla="*/ 2214601 h 5071335"/>
              <a:gd name="connsiteX9152" fmla="*/ 2112699 w 13768337"/>
              <a:gd name="connsiteY9152" fmla="*/ 2213208 h 5071335"/>
              <a:gd name="connsiteX9153" fmla="*/ 2095090 w 13768337"/>
              <a:gd name="connsiteY9153" fmla="*/ 2218364 h 5071335"/>
              <a:gd name="connsiteX9154" fmla="*/ 2101578 w 13768337"/>
              <a:gd name="connsiteY9154" fmla="*/ 2205125 h 5071335"/>
              <a:gd name="connsiteX9155" fmla="*/ 2058482 w 13768337"/>
              <a:gd name="connsiteY9155" fmla="*/ 2203871 h 5071335"/>
              <a:gd name="connsiteX9156" fmla="*/ 2044117 w 13768337"/>
              <a:gd name="connsiteY9156" fmla="*/ 2209027 h 5071335"/>
              <a:gd name="connsiteX9157" fmla="*/ 2047360 w 13768337"/>
              <a:gd name="connsiteY9157" fmla="*/ 2203871 h 5071335"/>
              <a:gd name="connsiteX9158" fmla="*/ 2034849 w 13768337"/>
              <a:gd name="connsiteY9158" fmla="*/ 2205125 h 5071335"/>
              <a:gd name="connsiteX9159" fmla="*/ 2034849 w 13768337"/>
              <a:gd name="connsiteY9159" fmla="*/ 2209027 h 5071335"/>
              <a:gd name="connsiteX9160" fmla="*/ 2030214 w 13768337"/>
              <a:gd name="connsiteY9160" fmla="*/ 2205125 h 5071335"/>
              <a:gd name="connsiteX9161" fmla="*/ 2010752 w 13768337"/>
              <a:gd name="connsiteY9161" fmla="*/ 2206658 h 5071335"/>
              <a:gd name="connsiteX9162" fmla="*/ 2058482 w 13768337"/>
              <a:gd name="connsiteY9162" fmla="*/ 2267002 h 5071335"/>
              <a:gd name="connsiteX9163" fmla="*/ 2034849 w 13768337"/>
              <a:gd name="connsiteY9163" fmla="*/ 2245540 h 5071335"/>
              <a:gd name="connsiteX9164" fmla="*/ 1961170 w 13768337"/>
              <a:gd name="connsiteY9164" fmla="*/ 2256131 h 5071335"/>
              <a:gd name="connsiteX9165" fmla="*/ 1924562 w 13768337"/>
              <a:gd name="connsiteY9165" fmla="*/ 2218364 h 5071335"/>
              <a:gd name="connsiteX9166" fmla="*/ 1911586 w 13768337"/>
              <a:gd name="connsiteY9166" fmla="*/ 2229095 h 5071335"/>
              <a:gd name="connsiteX9167" fmla="*/ 1933830 w 13768337"/>
              <a:gd name="connsiteY9167" fmla="*/ 2239825 h 5071335"/>
              <a:gd name="connsiteX9168" fmla="*/ 1879612 w 13768337"/>
              <a:gd name="connsiteY9168" fmla="*/ 2261427 h 5071335"/>
              <a:gd name="connsiteX9169" fmla="*/ 1814273 w 13768337"/>
              <a:gd name="connsiteY9169" fmla="*/ 2261427 h 5071335"/>
              <a:gd name="connsiteX9170" fmla="*/ 1802225 w 13768337"/>
              <a:gd name="connsiteY9170" fmla="*/ 2247351 h 5071335"/>
              <a:gd name="connsiteX9171" fmla="*/ 1792957 w 13768337"/>
              <a:gd name="connsiteY9171" fmla="*/ 2255853 h 5071335"/>
              <a:gd name="connsiteX9172" fmla="*/ 1778591 w 13768337"/>
              <a:gd name="connsiteY9172" fmla="*/ 2226169 h 5071335"/>
              <a:gd name="connsiteX9173" fmla="*/ 1788323 w 13768337"/>
              <a:gd name="connsiteY9173" fmla="*/ 2215577 h 5071335"/>
              <a:gd name="connsiteX9174" fmla="*/ 1801762 w 13768337"/>
              <a:gd name="connsiteY9174" fmla="*/ 2230907 h 5071335"/>
              <a:gd name="connsiteX9175" fmla="*/ 1801762 w 13768337"/>
              <a:gd name="connsiteY9175" fmla="*/ 2229095 h 5071335"/>
              <a:gd name="connsiteX9176" fmla="*/ 1878685 w 13768337"/>
              <a:gd name="connsiteY9176" fmla="*/ 2223938 h 5071335"/>
              <a:gd name="connsiteX9177" fmla="*/ 1836516 w 13768337"/>
              <a:gd name="connsiteY9177" fmla="*/ 2200944 h 5071335"/>
              <a:gd name="connsiteX9178" fmla="*/ 1827711 w 13768337"/>
              <a:gd name="connsiteY9178" fmla="*/ 2200944 h 5071335"/>
              <a:gd name="connsiteX9179" fmla="*/ 1831882 w 13768337"/>
              <a:gd name="connsiteY9179" fmla="*/ 2197182 h 5071335"/>
              <a:gd name="connsiteX9180" fmla="*/ 1824005 w 13768337"/>
              <a:gd name="connsiteY9180" fmla="*/ 2193001 h 5071335"/>
              <a:gd name="connsiteX9181" fmla="*/ 1871734 w 13768337"/>
              <a:gd name="connsiteY9181" fmla="*/ 2176695 h 5071335"/>
              <a:gd name="connsiteX9182" fmla="*/ 1895831 w 13768337"/>
              <a:gd name="connsiteY9182" fmla="*/ 2175859 h 5071335"/>
              <a:gd name="connsiteX9183" fmla="*/ 1892587 w 13768337"/>
              <a:gd name="connsiteY9183" fmla="*/ 2182270 h 5071335"/>
              <a:gd name="connsiteX9184" fmla="*/ 1913439 w 13768337"/>
              <a:gd name="connsiteY9184" fmla="*/ 2188820 h 5071335"/>
              <a:gd name="connsiteX9185" fmla="*/ 2005656 w 13768337"/>
              <a:gd name="connsiteY9185" fmla="*/ 2190352 h 5071335"/>
              <a:gd name="connsiteX9186" fmla="*/ 2004265 w 13768337"/>
              <a:gd name="connsiteY9186" fmla="*/ 2188820 h 5071335"/>
              <a:gd name="connsiteX9187" fmla="*/ 2002874 w 13768337"/>
              <a:gd name="connsiteY9187" fmla="*/ 2187427 h 5071335"/>
              <a:gd name="connsiteX9188" fmla="*/ 1991753 w 13768337"/>
              <a:gd name="connsiteY9188" fmla="*/ 2185057 h 5071335"/>
              <a:gd name="connsiteX9189" fmla="*/ 2018629 w 13768337"/>
              <a:gd name="connsiteY9189" fmla="*/ 2174326 h 5071335"/>
              <a:gd name="connsiteX9190" fmla="*/ 2015387 w 13768337"/>
              <a:gd name="connsiteY9190" fmla="*/ 2187427 h 5071335"/>
              <a:gd name="connsiteX9191" fmla="*/ 2038092 w 13768337"/>
              <a:gd name="connsiteY9191" fmla="*/ 2183803 h 5071335"/>
              <a:gd name="connsiteX9192" fmla="*/ 2055238 w 13768337"/>
              <a:gd name="connsiteY9192" fmla="*/ 2174326 h 5071335"/>
              <a:gd name="connsiteX9193" fmla="*/ 2070993 w 13768337"/>
              <a:gd name="connsiteY9193" fmla="*/ 2179482 h 5071335"/>
              <a:gd name="connsiteX9194" fmla="*/ 2081188 w 13768337"/>
              <a:gd name="connsiteY9194" fmla="*/ 2182270 h 5071335"/>
              <a:gd name="connsiteX9195" fmla="*/ 2102968 w 13768337"/>
              <a:gd name="connsiteY9195" fmla="*/ 2185057 h 5071335"/>
              <a:gd name="connsiteX9196" fmla="*/ 2108066 w 13768337"/>
              <a:gd name="connsiteY9196" fmla="*/ 2176695 h 5071335"/>
              <a:gd name="connsiteX9197" fmla="*/ 2114089 w 13768337"/>
              <a:gd name="connsiteY9197" fmla="*/ 2185057 h 5071335"/>
              <a:gd name="connsiteX9198" fmla="*/ 2136795 w 13768337"/>
              <a:gd name="connsiteY9198" fmla="*/ 2182270 h 5071335"/>
              <a:gd name="connsiteX9199" fmla="*/ 2127064 w 13768337"/>
              <a:gd name="connsiteY9199" fmla="*/ 2176695 h 5071335"/>
              <a:gd name="connsiteX9200" fmla="*/ 2148843 w 13768337"/>
              <a:gd name="connsiteY9200" fmla="*/ 2172514 h 5071335"/>
              <a:gd name="connsiteX9201" fmla="*/ 2140039 w 13768337"/>
              <a:gd name="connsiteY9201" fmla="*/ 2182270 h 5071335"/>
              <a:gd name="connsiteX9202" fmla="*/ 2162282 w 13768337"/>
              <a:gd name="connsiteY9202" fmla="*/ 2178088 h 5071335"/>
              <a:gd name="connsiteX9203" fmla="*/ 2150235 w 13768337"/>
              <a:gd name="connsiteY9203" fmla="*/ 2171957 h 5071335"/>
              <a:gd name="connsiteX9204" fmla="*/ 2210011 w 13768337"/>
              <a:gd name="connsiteY9204" fmla="*/ 2166383 h 5071335"/>
              <a:gd name="connsiteX9205" fmla="*/ 2206768 w 13768337"/>
              <a:gd name="connsiteY9205" fmla="*/ 2168751 h 5071335"/>
              <a:gd name="connsiteX9206" fmla="*/ 2221596 w 13768337"/>
              <a:gd name="connsiteY9206" fmla="*/ 2168751 h 5071335"/>
              <a:gd name="connsiteX9207" fmla="*/ 2224377 w 13768337"/>
              <a:gd name="connsiteY9207" fmla="*/ 2174326 h 5071335"/>
              <a:gd name="connsiteX9208" fmla="*/ 2232718 w 13768337"/>
              <a:gd name="connsiteY9208" fmla="*/ 2176695 h 5071335"/>
              <a:gd name="connsiteX9209" fmla="*/ 2249864 w 13768337"/>
              <a:gd name="connsiteY9209" fmla="*/ 2183803 h 5071335"/>
              <a:gd name="connsiteX9210" fmla="*/ 2267937 w 13768337"/>
              <a:gd name="connsiteY9210" fmla="*/ 2183803 h 5071335"/>
              <a:gd name="connsiteX9211" fmla="*/ 2278594 w 13768337"/>
              <a:gd name="connsiteY9211" fmla="*/ 2166383 h 5071335"/>
              <a:gd name="connsiteX9212" fmla="*/ 2296202 w 13768337"/>
              <a:gd name="connsiteY9212" fmla="*/ 2176695 h 5071335"/>
              <a:gd name="connsiteX9213" fmla="*/ 2286471 w 13768337"/>
              <a:gd name="connsiteY9213" fmla="*/ 2190352 h 5071335"/>
              <a:gd name="connsiteX9214" fmla="*/ 2289716 w 13768337"/>
              <a:gd name="connsiteY9214" fmla="*/ 2183803 h 5071335"/>
              <a:gd name="connsiteX9215" fmla="*/ 2320299 w 13768337"/>
              <a:gd name="connsiteY9215" fmla="*/ 2193001 h 5071335"/>
              <a:gd name="connsiteX9216" fmla="*/ 2340689 w 13768337"/>
              <a:gd name="connsiteY9216" fmla="*/ 2191746 h 5071335"/>
              <a:gd name="connsiteX9217" fmla="*/ 2323544 w 13768337"/>
              <a:gd name="connsiteY9217" fmla="*/ 2182270 h 5071335"/>
              <a:gd name="connsiteX9218" fmla="*/ 2347177 w 13768337"/>
              <a:gd name="connsiteY9218" fmla="*/ 2171678 h 5071335"/>
              <a:gd name="connsiteX9219" fmla="*/ 2342542 w 13768337"/>
              <a:gd name="connsiteY9219" fmla="*/ 2191746 h 5071335"/>
              <a:gd name="connsiteX9220" fmla="*/ 2364786 w 13768337"/>
              <a:gd name="connsiteY9220" fmla="*/ 2193001 h 5071335"/>
              <a:gd name="connsiteX9221" fmla="*/ 2351810 w 13768337"/>
              <a:gd name="connsiteY9221" fmla="*/ 2171678 h 5071335"/>
              <a:gd name="connsiteX9222" fmla="*/ 2457001 w 13768337"/>
              <a:gd name="connsiteY9222" fmla="*/ 2182270 h 5071335"/>
              <a:gd name="connsiteX9223" fmla="*/ 2425491 w 13768337"/>
              <a:gd name="connsiteY9223" fmla="*/ 2171678 h 5071335"/>
              <a:gd name="connsiteX9224" fmla="*/ 2433368 w 13768337"/>
              <a:gd name="connsiteY9224" fmla="*/ 2162201 h 5071335"/>
              <a:gd name="connsiteX9225" fmla="*/ 2426880 w 13768337"/>
              <a:gd name="connsiteY9225" fmla="*/ 2162201 h 5071335"/>
              <a:gd name="connsiteX9226" fmla="*/ 2441245 w 13768337"/>
              <a:gd name="connsiteY9226" fmla="*/ 2151471 h 5071335"/>
              <a:gd name="connsiteX9227" fmla="*/ 2444490 w 13768337"/>
              <a:gd name="connsiteY9227" fmla="*/ 2136420 h 5071335"/>
              <a:gd name="connsiteX9228" fmla="*/ 2452367 w 13768337"/>
              <a:gd name="connsiteY9228" fmla="*/ 2140601 h 5071335"/>
              <a:gd name="connsiteX9229" fmla="*/ 2466732 w 13768337"/>
              <a:gd name="connsiteY9229" fmla="*/ 2140601 h 5071335"/>
              <a:gd name="connsiteX9230" fmla="*/ 2438002 w 13768337"/>
              <a:gd name="connsiteY9230" fmla="*/ 2119139 h 5071335"/>
              <a:gd name="connsiteX9231" fmla="*/ 2438002 w 13768337"/>
              <a:gd name="connsiteY9231" fmla="*/ 2146175 h 5071335"/>
              <a:gd name="connsiteX9232" fmla="*/ 2430124 w 13768337"/>
              <a:gd name="connsiteY9232" fmla="*/ 2119139 h 5071335"/>
              <a:gd name="connsiteX9233" fmla="*/ 2415759 w 13768337"/>
              <a:gd name="connsiteY9233" fmla="*/ 2124853 h 5071335"/>
              <a:gd name="connsiteX9234" fmla="*/ 2457001 w 13768337"/>
              <a:gd name="connsiteY9234" fmla="*/ 2113983 h 5071335"/>
              <a:gd name="connsiteX9235" fmla="*/ 2393517 w 13768337"/>
              <a:gd name="connsiteY9235" fmla="*/ 2099071 h 5071335"/>
              <a:gd name="connsiteX9236" fmla="*/ 2410661 w 13768337"/>
              <a:gd name="connsiteY9236" fmla="*/ 2108408 h 5071335"/>
              <a:gd name="connsiteX9237" fmla="*/ 2369883 w 13768337"/>
              <a:gd name="connsiteY9237" fmla="*/ 2124853 h 5071335"/>
              <a:gd name="connsiteX9238" fmla="*/ 2310569 w 13768337"/>
              <a:gd name="connsiteY9238" fmla="*/ 2119139 h 5071335"/>
              <a:gd name="connsiteX9239" fmla="*/ 2315203 w 13768337"/>
              <a:gd name="connsiteY9239" fmla="*/ 2103252 h 5071335"/>
              <a:gd name="connsiteX9240" fmla="*/ 2364786 w 13768337"/>
              <a:gd name="connsiteY9240" fmla="*/ 2108408 h 5071335"/>
              <a:gd name="connsiteX9241" fmla="*/ 2337908 w 13768337"/>
              <a:gd name="connsiteY9241" fmla="*/ 2072314 h 5071335"/>
              <a:gd name="connsiteX9242" fmla="*/ 2401394 w 13768337"/>
              <a:gd name="connsiteY9242" fmla="*/ 2056008 h 5071335"/>
              <a:gd name="connsiteX9243" fmla="*/ 2401394 w 13768337"/>
              <a:gd name="connsiteY9243" fmla="*/ 2072314 h 5071335"/>
              <a:gd name="connsiteX9244" fmla="*/ 2430124 w 13768337"/>
              <a:gd name="connsiteY9244" fmla="*/ 2056008 h 5071335"/>
              <a:gd name="connsiteX9245" fmla="*/ 2398150 w 13768337"/>
              <a:gd name="connsiteY9245" fmla="*/ 2041515 h 5071335"/>
              <a:gd name="connsiteX9246" fmla="*/ 2356445 w 13768337"/>
              <a:gd name="connsiteY9246" fmla="*/ 2050712 h 5071335"/>
              <a:gd name="connsiteX9247" fmla="*/ 2374516 w 13768337"/>
              <a:gd name="connsiteY9247" fmla="*/ 2030784 h 5071335"/>
              <a:gd name="connsiteX9248" fmla="*/ 2305472 w 13768337"/>
              <a:gd name="connsiteY9248" fmla="*/ 1993296 h 5071335"/>
              <a:gd name="connsiteX9249" fmla="*/ 2356445 w 13768337"/>
              <a:gd name="connsiteY9249" fmla="*/ 1978384 h 5071335"/>
              <a:gd name="connsiteX9250" fmla="*/ 2273496 w 13768337"/>
              <a:gd name="connsiteY9250" fmla="*/ 1962358 h 5071335"/>
              <a:gd name="connsiteX9251" fmla="*/ 2351810 w 13768337"/>
              <a:gd name="connsiteY9251" fmla="*/ 1951626 h 5071335"/>
              <a:gd name="connsiteX9252" fmla="*/ 2347177 w 13768337"/>
              <a:gd name="connsiteY9252" fmla="*/ 1993296 h 5071335"/>
              <a:gd name="connsiteX9253" fmla="*/ 2383785 w 13768337"/>
              <a:gd name="connsiteY9253" fmla="*/ 1983401 h 5071335"/>
              <a:gd name="connsiteX9254" fmla="*/ 2415759 w 13768337"/>
              <a:gd name="connsiteY9254" fmla="*/ 2014340 h 5071335"/>
              <a:gd name="connsiteX9255" fmla="*/ 2398150 w 13768337"/>
              <a:gd name="connsiteY9255" fmla="*/ 2030784 h 5071335"/>
              <a:gd name="connsiteX9256" fmla="*/ 2401394 w 13768337"/>
              <a:gd name="connsiteY9256" fmla="*/ 2041515 h 5071335"/>
              <a:gd name="connsiteX9257" fmla="*/ 2430124 w 13768337"/>
              <a:gd name="connsiteY9257" fmla="*/ 2009183 h 5071335"/>
              <a:gd name="connsiteX9258" fmla="*/ 2457001 w 13768337"/>
              <a:gd name="connsiteY9258" fmla="*/ 2003608 h 5071335"/>
              <a:gd name="connsiteX9259" fmla="*/ 2471829 w 13768337"/>
              <a:gd name="connsiteY9259" fmla="*/ 2025209 h 5071335"/>
              <a:gd name="connsiteX9260" fmla="*/ 2498707 w 13768337"/>
              <a:gd name="connsiteY9260" fmla="*/ 1978384 h 5071335"/>
              <a:gd name="connsiteX9261" fmla="*/ 2535316 w 13768337"/>
              <a:gd name="connsiteY9261" fmla="*/ 1998452 h 5071335"/>
              <a:gd name="connsiteX9262" fmla="*/ 2577021 w 13768337"/>
              <a:gd name="connsiteY9262" fmla="*/ 2019914 h 5071335"/>
              <a:gd name="connsiteX9263" fmla="*/ 2589532 w 13768337"/>
              <a:gd name="connsiteY9263" fmla="*/ 1983401 h 5071335"/>
              <a:gd name="connsiteX9264" fmla="*/ 2589532 w 13768337"/>
              <a:gd name="connsiteY9264" fmla="*/ 1998452 h 5071335"/>
              <a:gd name="connsiteX9265" fmla="*/ 2613165 w 13768337"/>
              <a:gd name="connsiteY9265" fmla="*/ 2009183 h 5071335"/>
              <a:gd name="connsiteX9266" fmla="*/ 2723916 w 13768337"/>
              <a:gd name="connsiteY9266" fmla="*/ 1994132 h 5071335"/>
              <a:gd name="connsiteX9267" fmla="*/ 2709550 w 13768337"/>
              <a:gd name="connsiteY9267" fmla="*/ 2009183 h 5071335"/>
              <a:gd name="connsiteX9268" fmla="*/ 2741061 w 13768337"/>
              <a:gd name="connsiteY9268" fmla="*/ 2019914 h 5071335"/>
              <a:gd name="connsiteX9269" fmla="*/ 2750793 w 13768337"/>
              <a:gd name="connsiteY9269" fmla="*/ 2009183 h 5071335"/>
              <a:gd name="connsiteX9270" fmla="*/ 2735444 w 13768337"/>
              <a:gd name="connsiteY9270" fmla="*/ 1996065 h 5071335"/>
              <a:gd name="connsiteX9271" fmla="*/ 2726390 w 13768337"/>
              <a:gd name="connsiteY9271" fmla="*/ 1997774 h 5071335"/>
              <a:gd name="connsiteX9272" fmla="*/ 2739386 w 13768337"/>
              <a:gd name="connsiteY9272" fmla="*/ 1982448 h 5071335"/>
              <a:gd name="connsiteX9273" fmla="*/ 2735037 w 13768337"/>
              <a:gd name="connsiteY9273" fmla="*/ 1971416 h 5071335"/>
              <a:gd name="connsiteX9274" fmla="*/ 2717597 w 13768337"/>
              <a:gd name="connsiteY9274" fmla="*/ 1963162 h 5071335"/>
              <a:gd name="connsiteX9275" fmla="*/ 2717471 w 13768337"/>
              <a:gd name="connsiteY9275" fmla="*/ 1963134 h 5071335"/>
              <a:gd name="connsiteX9276" fmla="*/ 2696575 w 13768337"/>
              <a:gd name="connsiteY9276" fmla="*/ 1962358 h 5071335"/>
              <a:gd name="connsiteX9277" fmla="*/ 2667846 w 13768337"/>
              <a:gd name="connsiteY9277" fmla="*/ 1978384 h 5071335"/>
              <a:gd name="connsiteX9278" fmla="*/ 2659968 w 13768337"/>
              <a:gd name="connsiteY9278" fmla="*/ 1962358 h 5071335"/>
              <a:gd name="connsiteX9279" fmla="*/ 2670452 w 13768337"/>
              <a:gd name="connsiteY9279" fmla="*/ 1956069 h 5071335"/>
              <a:gd name="connsiteX9280" fmla="*/ 2673513 w 13768337"/>
              <a:gd name="connsiteY9280" fmla="*/ 1956202 h 5071335"/>
              <a:gd name="connsiteX9281" fmla="*/ 2673289 w 13768337"/>
              <a:gd name="connsiteY9281" fmla="*/ 1952247 h 5071335"/>
              <a:gd name="connsiteX9282" fmla="*/ 2647008 w 13768337"/>
              <a:gd name="connsiteY9282" fmla="*/ 1943454 h 5071335"/>
              <a:gd name="connsiteX9283" fmla="*/ 2635293 w 13768337"/>
              <a:gd name="connsiteY9283" fmla="*/ 1941646 h 5071335"/>
              <a:gd name="connsiteX9284" fmla="*/ 2635115 w 13768337"/>
              <a:gd name="connsiteY9284" fmla="*/ 1941657 h 5071335"/>
              <a:gd name="connsiteX9285" fmla="*/ 2634960 w 13768337"/>
              <a:gd name="connsiteY9285" fmla="*/ 1941595 h 5071335"/>
              <a:gd name="connsiteX9286" fmla="*/ 2608647 w 13768337"/>
              <a:gd name="connsiteY9286" fmla="*/ 1937534 h 5071335"/>
              <a:gd name="connsiteX9287" fmla="*/ 2535316 w 13768337"/>
              <a:gd name="connsiteY9287" fmla="*/ 1935321 h 5071335"/>
              <a:gd name="connsiteX9288" fmla="*/ 2535316 w 13768337"/>
              <a:gd name="connsiteY9288" fmla="*/ 1920828 h 5071335"/>
              <a:gd name="connsiteX9289" fmla="*/ 2503804 w 13768337"/>
              <a:gd name="connsiteY9289" fmla="*/ 1940757 h 5071335"/>
              <a:gd name="connsiteX9290" fmla="*/ 2516315 w 13768337"/>
              <a:gd name="connsiteY9290" fmla="*/ 1951626 h 5071335"/>
              <a:gd name="connsiteX9291" fmla="*/ 2488975 w 13768337"/>
              <a:gd name="connsiteY9291" fmla="*/ 1956783 h 5071335"/>
              <a:gd name="connsiteX9292" fmla="*/ 2498707 w 13768337"/>
              <a:gd name="connsiteY9292" fmla="*/ 1946052 h 5071335"/>
              <a:gd name="connsiteX9293" fmla="*/ 2447733 w 13768337"/>
              <a:gd name="connsiteY9293" fmla="*/ 1920828 h 5071335"/>
              <a:gd name="connsiteX9294" fmla="*/ 2425491 w 13768337"/>
              <a:gd name="connsiteY9294" fmla="*/ 1909958 h 5071335"/>
              <a:gd name="connsiteX9295" fmla="*/ 2430124 w 13768337"/>
              <a:gd name="connsiteY9295" fmla="*/ 1882921 h 5071335"/>
              <a:gd name="connsiteX9296" fmla="*/ 2535778 w 13768337"/>
              <a:gd name="connsiteY9296" fmla="*/ 1870797 h 5071335"/>
              <a:gd name="connsiteX9297" fmla="*/ 2522802 w 13768337"/>
              <a:gd name="connsiteY9297" fmla="*/ 1860485 h 5071335"/>
              <a:gd name="connsiteX9298" fmla="*/ 2545509 w 13768337"/>
              <a:gd name="connsiteY9298" fmla="*/ 1854770 h 5071335"/>
              <a:gd name="connsiteX9299" fmla="*/ 2554777 w 13768337"/>
              <a:gd name="connsiteY9299" fmla="*/ 1830521 h 5071335"/>
              <a:gd name="connsiteX9300" fmla="*/ 2591386 w 13768337"/>
              <a:gd name="connsiteY9300" fmla="*/ 1830521 h 5071335"/>
              <a:gd name="connsiteX9301" fmla="*/ 2530680 w 13768337"/>
              <a:gd name="connsiteY9301" fmla="*/ 1825365 h 5071335"/>
              <a:gd name="connsiteX9302" fmla="*/ 2528436 w 13768337"/>
              <a:gd name="connsiteY9302" fmla="*/ 1817770 h 5071335"/>
              <a:gd name="connsiteX9303" fmla="*/ 2525523 w 13768337"/>
              <a:gd name="connsiteY9303" fmla="*/ 1814954 h 5071335"/>
              <a:gd name="connsiteX9304" fmla="*/ 2510477 w 13768337"/>
              <a:gd name="connsiteY9304" fmla="*/ 1825351 h 5071335"/>
              <a:gd name="connsiteX9305" fmla="*/ 2535316 w 13768337"/>
              <a:gd name="connsiteY9305" fmla="*/ 1830521 h 5071335"/>
              <a:gd name="connsiteX9306" fmla="*/ 2393517 w 13768337"/>
              <a:gd name="connsiteY9306" fmla="*/ 1872050 h 5071335"/>
              <a:gd name="connsiteX9307" fmla="*/ 2401394 w 13768337"/>
              <a:gd name="connsiteY9307" fmla="*/ 1877626 h 5071335"/>
              <a:gd name="connsiteX9308" fmla="*/ 2393517 w 13768337"/>
              <a:gd name="connsiteY9308" fmla="*/ 1888497 h 5071335"/>
              <a:gd name="connsiteX9309" fmla="*/ 2383785 w 13768337"/>
              <a:gd name="connsiteY9309" fmla="*/ 1888497 h 5071335"/>
              <a:gd name="connsiteX9310" fmla="*/ 2374516 w 13768337"/>
              <a:gd name="connsiteY9310" fmla="*/ 1862713 h 5071335"/>
              <a:gd name="connsiteX9311" fmla="*/ 2425491 w 13768337"/>
              <a:gd name="connsiteY9311" fmla="*/ 1852123 h 5071335"/>
              <a:gd name="connsiteX9312" fmla="*/ 2347177 w 13768337"/>
              <a:gd name="connsiteY9312" fmla="*/ 1836096 h 5071335"/>
              <a:gd name="connsiteX9313" fmla="*/ 2366639 w 13768337"/>
              <a:gd name="connsiteY9313" fmla="*/ 1814495 h 5071335"/>
              <a:gd name="connsiteX9314" fmla="*/ 2280448 w 13768337"/>
              <a:gd name="connsiteY9314" fmla="*/ 1811847 h 5071335"/>
              <a:gd name="connsiteX9315" fmla="*/ 2288326 w 13768337"/>
              <a:gd name="connsiteY9315" fmla="*/ 1819791 h 5071335"/>
              <a:gd name="connsiteX9316" fmla="*/ 2241986 w 13768337"/>
              <a:gd name="connsiteY9316" fmla="*/ 1836096 h 5071335"/>
              <a:gd name="connsiteX9317" fmla="*/ 2273496 w 13768337"/>
              <a:gd name="connsiteY9317" fmla="*/ 1814495 h 5071335"/>
              <a:gd name="connsiteX9318" fmla="*/ 2275814 w 13768337"/>
              <a:gd name="connsiteY9318" fmla="*/ 1811847 h 5071335"/>
              <a:gd name="connsiteX9319" fmla="*/ 2114064 w 13768337"/>
              <a:gd name="connsiteY9319" fmla="*/ 1809727 h 5071335"/>
              <a:gd name="connsiteX9320" fmla="*/ 2114246 w 13768337"/>
              <a:gd name="connsiteY9320" fmla="*/ 1811588 h 5071335"/>
              <a:gd name="connsiteX9321" fmla="*/ 2103552 w 13768337"/>
              <a:gd name="connsiteY9321" fmla="*/ 1809589 h 5071335"/>
              <a:gd name="connsiteX9322" fmla="*/ 2095090 w 13768337"/>
              <a:gd name="connsiteY9322" fmla="*/ 1809478 h 5071335"/>
              <a:gd name="connsiteX9323" fmla="*/ 2097193 w 13768337"/>
              <a:gd name="connsiteY9323" fmla="*/ 1808013 h 5071335"/>
              <a:gd name="connsiteX9324" fmla="*/ 2099128 w 13768337"/>
              <a:gd name="connsiteY9324" fmla="*/ 1800230 h 5071335"/>
              <a:gd name="connsiteX9325" fmla="*/ 2106369 w 13768337"/>
              <a:gd name="connsiteY9325" fmla="*/ 1796676 h 5071335"/>
              <a:gd name="connsiteX9326" fmla="*/ 2111036 w 13768337"/>
              <a:gd name="connsiteY9326" fmla="*/ 1798806 h 5071335"/>
              <a:gd name="connsiteX9327" fmla="*/ 2128650 w 13768337"/>
              <a:gd name="connsiteY9327" fmla="*/ 1794052 h 5071335"/>
              <a:gd name="connsiteX9328" fmla="*/ 2209845 w 13768337"/>
              <a:gd name="connsiteY9328" fmla="*/ 1796387 h 5071335"/>
              <a:gd name="connsiteX9329" fmla="*/ 2212161 w 13768337"/>
              <a:gd name="connsiteY9329" fmla="*/ 1796131 h 5071335"/>
              <a:gd name="connsiteX9330" fmla="*/ 2212833 w 13768337"/>
              <a:gd name="connsiteY9330" fmla="*/ 1794742 h 5071335"/>
              <a:gd name="connsiteX9331" fmla="*/ 2221291 w 13768337"/>
              <a:gd name="connsiteY9331" fmla="*/ 1789986 h 5071335"/>
              <a:gd name="connsiteX9332" fmla="*/ 2228301 w 13768337"/>
              <a:gd name="connsiteY9332" fmla="*/ 1792095 h 5071335"/>
              <a:gd name="connsiteX9333" fmla="*/ 2232718 w 13768337"/>
              <a:gd name="connsiteY9333" fmla="*/ 1789270 h 5071335"/>
              <a:gd name="connsiteX9334" fmla="*/ 2259132 w 13768337"/>
              <a:gd name="connsiteY9334" fmla="*/ 1783696 h 5071335"/>
              <a:gd name="connsiteX9335" fmla="*/ 2269325 w 13768337"/>
              <a:gd name="connsiteY9335" fmla="*/ 1767669 h 5071335"/>
              <a:gd name="connsiteX9336" fmla="*/ 2176648 w 13768337"/>
              <a:gd name="connsiteY9336" fmla="*/ 1730879 h 5071335"/>
              <a:gd name="connsiteX9337" fmla="*/ 2179891 w 13768337"/>
              <a:gd name="connsiteY9337" fmla="*/ 1735059 h 5071335"/>
              <a:gd name="connsiteX9338" fmla="*/ 2189159 w 13768337"/>
              <a:gd name="connsiteY9338" fmla="*/ 1735059 h 5071335"/>
              <a:gd name="connsiteX9339" fmla="*/ 2208159 w 13768337"/>
              <a:gd name="connsiteY9339" fmla="*/ 1749552 h 5071335"/>
              <a:gd name="connsiteX9340" fmla="*/ 2237352 w 13768337"/>
              <a:gd name="connsiteY9340" fmla="*/ 1752758 h 5071335"/>
              <a:gd name="connsiteX9341" fmla="*/ 2241986 w 13768337"/>
              <a:gd name="connsiteY9341" fmla="*/ 1772965 h 5071335"/>
              <a:gd name="connsiteX9342" fmla="*/ 2186379 w 13768337"/>
              <a:gd name="connsiteY9342" fmla="*/ 1789270 h 5071335"/>
              <a:gd name="connsiteX9343" fmla="*/ 2121966 w 13768337"/>
              <a:gd name="connsiteY9343" fmla="*/ 1783696 h 5071335"/>
              <a:gd name="connsiteX9344" fmla="*/ 2121966 w 13768337"/>
              <a:gd name="connsiteY9344" fmla="*/ 1765021 h 5071335"/>
              <a:gd name="connsiteX9345" fmla="*/ 2107139 w 13768337"/>
              <a:gd name="connsiteY9345" fmla="*/ 1765858 h 5071335"/>
              <a:gd name="connsiteX9346" fmla="*/ 2102504 w 13768337"/>
              <a:gd name="connsiteY9346" fmla="*/ 1755546 h 5071335"/>
              <a:gd name="connsiteX9347" fmla="*/ 2139575 w 13768337"/>
              <a:gd name="connsiteY9347" fmla="*/ 1747184 h 5071335"/>
              <a:gd name="connsiteX9348" fmla="*/ 2121966 w 13768337"/>
              <a:gd name="connsiteY9348" fmla="*/ 1726140 h 5071335"/>
              <a:gd name="connsiteX9349" fmla="*/ 2102968 w 13768337"/>
              <a:gd name="connsiteY9349" fmla="*/ 1731156 h 5071335"/>
              <a:gd name="connsiteX9350" fmla="*/ 2086748 w 13768337"/>
              <a:gd name="connsiteY9350" fmla="*/ 1715410 h 5071335"/>
              <a:gd name="connsiteX9351" fmla="*/ 2097870 w 13768337"/>
              <a:gd name="connsiteY9351" fmla="*/ 1730321 h 5071335"/>
              <a:gd name="connsiteX9352" fmla="*/ 2043190 w 13768337"/>
              <a:gd name="connsiteY9352" fmla="*/ 1735339 h 5071335"/>
              <a:gd name="connsiteX9353" fmla="*/ 2043190 w 13768337"/>
              <a:gd name="connsiteY9353" fmla="*/ 1751921 h 5071335"/>
              <a:gd name="connsiteX9354" fmla="*/ 2018629 w 13768337"/>
              <a:gd name="connsiteY9354" fmla="*/ 1757497 h 5071335"/>
              <a:gd name="connsiteX9355" fmla="*/ 1977388 w 13768337"/>
              <a:gd name="connsiteY9355" fmla="*/ 1741052 h 5071335"/>
              <a:gd name="connsiteX9356" fmla="*/ 1937072 w 13768337"/>
              <a:gd name="connsiteY9356" fmla="*/ 1714016 h 5071335"/>
              <a:gd name="connsiteX9357" fmla="*/ 1900001 w 13768337"/>
              <a:gd name="connsiteY9357" fmla="*/ 1730321 h 5071335"/>
              <a:gd name="connsiteX9358" fmla="*/ 1922245 w 13768337"/>
              <a:gd name="connsiteY9358" fmla="*/ 1704121 h 5071335"/>
              <a:gd name="connsiteX9359" fmla="*/ 1944950 w 13768337"/>
              <a:gd name="connsiteY9359" fmla="*/ 1708302 h 5071335"/>
              <a:gd name="connsiteX9360" fmla="*/ 1969047 w 13768337"/>
              <a:gd name="connsiteY9360" fmla="*/ 1682520 h 5071335"/>
              <a:gd name="connsiteX9361" fmla="*/ 1959316 w 13768337"/>
              <a:gd name="connsiteY9361" fmla="*/ 1698965 h 5071335"/>
              <a:gd name="connsiteX9362" fmla="*/ 2038092 w 13768337"/>
              <a:gd name="connsiteY9362" fmla="*/ 1698965 h 5071335"/>
              <a:gd name="connsiteX9363" fmla="*/ 2001020 w 13768337"/>
              <a:gd name="connsiteY9363" fmla="*/ 1708302 h 5071335"/>
              <a:gd name="connsiteX9364" fmla="*/ 2051069 w 13768337"/>
              <a:gd name="connsiteY9364" fmla="*/ 1704121 h 5071335"/>
              <a:gd name="connsiteX9365" fmla="*/ 2083969 w 13768337"/>
              <a:gd name="connsiteY9365" fmla="*/ 1712205 h 5071335"/>
              <a:gd name="connsiteX9366" fmla="*/ 2127064 w 13768337"/>
              <a:gd name="connsiteY9366" fmla="*/ 1731156 h 5071335"/>
              <a:gd name="connsiteX9367" fmla="*/ 2273496 w 13768337"/>
              <a:gd name="connsiteY9367" fmla="*/ 1668026 h 5071335"/>
              <a:gd name="connsiteX9368" fmla="*/ 2273496 w 13768337"/>
              <a:gd name="connsiteY9368" fmla="*/ 1684471 h 5071335"/>
              <a:gd name="connsiteX9369" fmla="*/ 2361542 w 13768337"/>
              <a:gd name="connsiteY9369" fmla="*/ 1684471 h 5071335"/>
              <a:gd name="connsiteX9370" fmla="*/ 2251254 w 13768337"/>
              <a:gd name="connsiteY9370" fmla="*/ 1709835 h 5071335"/>
              <a:gd name="connsiteX9371" fmla="*/ 2288326 w 13768337"/>
              <a:gd name="connsiteY9371" fmla="*/ 1747742 h 5071335"/>
              <a:gd name="connsiteX9372" fmla="*/ 2273496 w 13768337"/>
              <a:gd name="connsiteY9372" fmla="*/ 1778539 h 5071335"/>
              <a:gd name="connsiteX9373" fmla="*/ 2275524 w 13768337"/>
              <a:gd name="connsiteY9373" fmla="*/ 1786954 h 5071335"/>
              <a:gd name="connsiteX9374" fmla="*/ 2277733 w 13768337"/>
              <a:gd name="connsiteY9374" fmla="*/ 1792329 h 5071335"/>
              <a:gd name="connsiteX9375" fmla="*/ 2286617 w 13768337"/>
              <a:gd name="connsiteY9375" fmla="*/ 1793219 h 5071335"/>
              <a:gd name="connsiteX9376" fmla="*/ 2289136 w 13768337"/>
              <a:gd name="connsiteY9376" fmla="*/ 1790525 h 5071335"/>
              <a:gd name="connsiteX9377" fmla="*/ 2296202 w 13768337"/>
              <a:gd name="connsiteY9377" fmla="*/ 1783696 h 5071335"/>
              <a:gd name="connsiteX9378" fmla="*/ 2288326 w 13768337"/>
              <a:gd name="connsiteY9378" fmla="*/ 1772965 h 5071335"/>
              <a:gd name="connsiteX9379" fmla="*/ 2337908 w 13768337"/>
              <a:gd name="connsiteY9379" fmla="*/ 1762095 h 5071335"/>
              <a:gd name="connsiteX9380" fmla="*/ 2324933 w 13768337"/>
              <a:gd name="connsiteY9380" fmla="*/ 1742167 h 5071335"/>
              <a:gd name="connsiteX9381" fmla="*/ 2310569 w 13768337"/>
              <a:gd name="connsiteY9381" fmla="*/ 1756939 h 5071335"/>
              <a:gd name="connsiteX9382" fmla="*/ 2269325 w 13768337"/>
              <a:gd name="connsiteY9382" fmla="*/ 1720566 h 5071335"/>
              <a:gd name="connsiteX9383" fmla="*/ 2369883 w 13768337"/>
              <a:gd name="connsiteY9383" fmla="*/ 1720566 h 5071335"/>
              <a:gd name="connsiteX9384" fmla="*/ 2366639 w 13768337"/>
              <a:gd name="connsiteY9384" fmla="*/ 1704539 h 5071335"/>
              <a:gd name="connsiteX9385" fmla="*/ 2337908 w 13768337"/>
              <a:gd name="connsiteY9385" fmla="*/ 1709835 h 5071335"/>
              <a:gd name="connsiteX9386" fmla="*/ 2379150 w 13768337"/>
              <a:gd name="connsiteY9386" fmla="*/ 1698965 h 5071335"/>
              <a:gd name="connsiteX9387" fmla="*/ 2374516 w 13768337"/>
              <a:gd name="connsiteY9387" fmla="*/ 1668026 h 5071335"/>
              <a:gd name="connsiteX9388" fmla="*/ 2292960 w 13768337"/>
              <a:gd name="connsiteY9388" fmla="*/ 1652279 h 5071335"/>
              <a:gd name="connsiteX9389" fmla="*/ 2264229 w 13768337"/>
              <a:gd name="connsiteY9389" fmla="*/ 1657435 h 5071335"/>
              <a:gd name="connsiteX9390" fmla="*/ 2200281 w 13768337"/>
              <a:gd name="connsiteY9390" fmla="*/ 1673740 h 5071335"/>
              <a:gd name="connsiteX9391" fmla="*/ 2208159 w 13768337"/>
              <a:gd name="connsiteY9391" fmla="*/ 1655066 h 5071335"/>
              <a:gd name="connsiteX9392" fmla="*/ 2181282 w 13768337"/>
              <a:gd name="connsiteY9392" fmla="*/ 1655066 h 5071335"/>
              <a:gd name="connsiteX9393" fmla="*/ 2222523 w 13768337"/>
              <a:gd name="connsiteY9393" fmla="*/ 1644335 h 5071335"/>
              <a:gd name="connsiteX9394" fmla="*/ 2222523 w 13768337"/>
              <a:gd name="connsiteY9394" fmla="*/ 1645589 h 5071335"/>
              <a:gd name="connsiteX9395" fmla="*/ 2361542 w 13768337"/>
              <a:gd name="connsiteY9395" fmla="*/ 1663009 h 5071335"/>
              <a:gd name="connsiteX9396" fmla="*/ 2439855 w 13768337"/>
              <a:gd name="connsiteY9396" fmla="*/ 1668026 h 5071335"/>
              <a:gd name="connsiteX9397" fmla="*/ 2393517 w 13768337"/>
              <a:gd name="connsiteY9397" fmla="*/ 1668026 h 5071335"/>
              <a:gd name="connsiteX9398" fmla="*/ 2430124 w 13768337"/>
              <a:gd name="connsiteY9398" fmla="*/ 1678758 h 5071335"/>
              <a:gd name="connsiteX9399" fmla="*/ 2383785 w 13768337"/>
              <a:gd name="connsiteY9399" fmla="*/ 1689627 h 5071335"/>
              <a:gd name="connsiteX9400" fmla="*/ 2393517 w 13768337"/>
              <a:gd name="connsiteY9400" fmla="*/ 1709835 h 5071335"/>
              <a:gd name="connsiteX9401" fmla="*/ 2425491 w 13768337"/>
              <a:gd name="connsiteY9401" fmla="*/ 1695341 h 5071335"/>
              <a:gd name="connsiteX9402" fmla="*/ 2410661 w 13768337"/>
              <a:gd name="connsiteY9402" fmla="*/ 1715410 h 5071335"/>
              <a:gd name="connsiteX9403" fmla="*/ 2443099 w 13768337"/>
              <a:gd name="connsiteY9403" fmla="*/ 1736871 h 5071335"/>
              <a:gd name="connsiteX9404" fmla="*/ 2457001 w 13768337"/>
              <a:gd name="connsiteY9404" fmla="*/ 1709835 h 5071335"/>
              <a:gd name="connsiteX9405" fmla="*/ 2476464 w 13768337"/>
              <a:gd name="connsiteY9405" fmla="*/ 1715410 h 5071335"/>
              <a:gd name="connsiteX9406" fmla="*/ 2503804 w 13768337"/>
              <a:gd name="connsiteY9406" fmla="*/ 1726140 h 5071335"/>
              <a:gd name="connsiteX9407" fmla="*/ 2503804 w 13768337"/>
              <a:gd name="connsiteY9407" fmla="*/ 1747742 h 5071335"/>
              <a:gd name="connsiteX9408" fmla="*/ 2471829 w 13768337"/>
              <a:gd name="connsiteY9408" fmla="*/ 1731156 h 5071335"/>
              <a:gd name="connsiteX9409" fmla="*/ 2471829 w 13768337"/>
              <a:gd name="connsiteY9409" fmla="*/ 1762095 h 5071335"/>
              <a:gd name="connsiteX9410" fmla="*/ 2452367 w 13768337"/>
              <a:gd name="connsiteY9410" fmla="*/ 1762095 h 5071335"/>
              <a:gd name="connsiteX9411" fmla="*/ 2462098 w 13768337"/>
              <a:gd name="connsiteY9411" fmla="*/ 1747742 h 5071335"/>
              <a:gd name="connsiteX9412" fmla="*/ 2351810 w 13768337"/>
              <a:gd name="connsiteY9412" fmla="*/ 1772965 h 5071335"/>
              <a:gd name="connsiteX9413" fmla="*/ 2361542 w 13768337"/>
              <a:gd name="connsiteY9413" fmla="*/ 1762095 h 5071335"/>
              <a:gd name="connsiteX9414" fmla="*/ 2347177 w 13768337"/>
              <a:gd name="connsiteY9414" fmla="*/ 1772965 h 5071335"/>
              <a:gd name="connsiteX9415" fmla="*/ 2361542 w 13768337"/>
              <a:gd name="connsiteY9415" fmla="*/ 1789270 h 5071335"/>
              <a:gd name="connsiteX9416" fmla="*/ 2337908 w 13768337"/>
              <a:gd name="connsiteY9416" fmla="*/ 1794426 h 5071335"/>
              <a:gd name="connsiteX9417" fmla="*/ 2366639 w 13768337"/>
              <a:gd name="connsiteY9417" fmla="*/ 1794426 h 5071335"/>
              <a:gd name="connsiteX9418" fmla="*/ 2398150 w 13768337"/>
              <a:gd name="connsiteY9418" fmla="*/ 1783696 h 5071335"/>
              <a:gd name="connsiteX9419" fmla="*/ 2374516 w 13768337"/>
              <a:gd name="connsiteY9419" fmla="*/ 1794426 h 5071335"/>
              <a:gd name="connsiteX9420" fmla="*/ 2375109 w 13768337"/>
              <a:gd name="connsiteY9420" fmla="*/ 1795342 h 5071335"/>
              <a:gd name="connsiteX9421" fmla="*/ 2413763 w 13768337"/>
              <a:gd name="connsiteY9421" fmla="*/ 1794531 h 5071335"/>
              <a:gd name="connsiteX9422" fmla="*/ 2414963 w 13768337"/>
              <a:gd name="connsiteY9422" fmla="*/ 1792578 h 5071335"/>
              <a:gd name="connsiteX9423" fmla="*/ 2410661 w 13768337"/>
              <a:gd name="connsiteY9423" fmla="*/ 1767669 h 5071335"/>
              <a:gd name="connsiteX9424" fmla="*/ 2393517 w 13768337"/>
              <a:gd name="connsiteY9424" fmla="*/ 1772965 h 5071335"/>
              <a:gd name="connsiteX9425" fmla="*/ 2415759 w 13768337"/>
              <a:gd name="connsiteY9425" fmla="*/ 1756939 h 5071335"/>
              <a:gd name="connsiteX9426" fmla="*/ 2415759 w 13768337"/>
              <a:gd name="connsiteY9426" fmla="*/ 1783696 h 5071335"/>
              <a:gd name="connsiteX9427" fmla="*/ 2518170 w 13768337"/>
              <a:gd name="connsiteY9427" fmla="*/ 1762095 h 5071335"/>
              <a:gd name="connsiteX9428" fmla="*/ 2591386 w 13768337"/>
              <a:gd name="connsiteY9428" fmla="*/ 1805297 h 5071335"/>
              <a:gd name="connsiteX9429" fmla="*/ 2591386 w 13768337"/>
              <a:gd name="connsiteY9429" fmla="*/ 1783696 h 5071335"/>
              <a:gd name="connsiteX9430" fmla="*/ 2623359 w 13768337"/>
              <a:gd name="connsiteY9430" fmla="*/ 1816028 h 5071335"/>
              <a:gd name="connsiteX9431" fmla="*/ 2599262 w 13768337"/>
              <a:gd name="connsiteY9431" fmla="*/ 1816028 h 5071335"/>
              <a:gd name="connsiteX9432" fmla="*/ 2640505 w 13768337"/>
              <a:gd name="connsiteY9432" fmla="*/ 1846826 h 5071335"/>
              <a:gd name="connsiteX9433" fmla="*/ 2650236 w 13768337"/>
              <a:gd name="connsiteY9433" fmla="*/ 1816028 h 5071335"/>
              <a:gd name="connsiteX9434" fmla="*/ 2631237 w 13768337"/>
              <a:gd name="connsiteY9434" fmla="*/ 1799583 h 5071335"/>
              <a:gd name="connsiteX9435" fmla="*/ 2667846 w 13768337"/>
              <a:gd name="connsiteY9435" fmla="*/ 1805297 h 5071335"/>
              <a:gd name="connsiteX9436" fmla="*/ 2667846 w 13768337"/>
              <a:gd name="connsiteY9436" fmla="*/ 1819791 h 5071335"/>
              <a:gd name="connsiteX9437" fmla="*/ 2667846 w 13768337"/>
              <a:gd name="connsiteY9437" fmla="*/ 1830521 h 5071335"/>
              <a:gd name="connsiteX9438" fmla="*/ 2650236 w 13768337"/>
              <a:gd name="connsiteY9438" fmla="*/ 1836096 h 5071335"/>
              <a:gd name="connsiteX9439" fmla="*/ 2696575 w 13768337"/>
              <a:gd name="connsiteY9439" fmla="*/ 1836096 h 5071335"/>
              <a:gd name="connsiteX9440" fmla="*/ 2667846 w 13768337"/>
              <a:gd name="connsiteY9440" fmla="*/ 1819791 h 5071335"/>
              <a:gd name="connsiteX9441" fmla="*/ 2777670 w 13768337"/>
              <a:gd name="connsiteY9441" fmla="*/ 1818676 h 5071335"/>
              <a:gd name="connsiteX9442" fmla="*/ 2774889 w 13768337"/>
              <a:gd name="connsiteY9442" fmla="*/ 1810313 h 5071335"/>
              <a:gd name="connsiteX9443" fmla="*/ 2870349 w 13768337"/>
              <a:gd name="connsiteY9443" fmla="*/ 1810313 h 5071335"/>
              <a:gd name="connsiteX9444" fmla="*/ 2843471 w 13768337"/>
              <a:gd name="connsiteY9444" fmla="*/ 1789270 h 5071335"/>
              <a:gd name="connsiteX9445" fmla="*/ 2847641 w 13768337"/>
              <a:gd name="connsiteY9445" fmla="*/ 1780909 h 5071335"/>
              <a:gd name="connsiteX9446" fmla="*/ 2884714 w 13768337"/>
              <a:gd name="connsiteY9446" fmla="*/ 1783696 h 5071335"/>
              <a:gd name="connsiteX9447" fmla="*/ 2870349 w 13768337"/>
              <a:gd name="connsiteY9447" fmla="*/ 1789270 h 5071335"/>
              <a:gd name="connsiteX9448" fmla="*/ 2865714 w 13768337"/>
              <a:gd name="connsiteY9448" fmla="*/ 1794426 h 5071335"/>
              <a:gd name="connsiteX9449" fmla="*/ 2884714 w 13768337"/>
              <a:gd name="connsiteY9449" fmla="*/ 1810313 h 5071335"/>
              <a:gd name="connsiteX9450" fmla="*/ 2912053 w 13768337"/>
              <a:gd name="connsiteY9450" fmla="*/ 1794426 h 5071335"/>
              <a:gd name="connsiteX9451" fmla="*/ 2970905 w 13768337"/>
              <a:gd name="connsiteY9451" fmla="*/ 1805297 h 5071335"/>
              <a:gd name="connsiteX9452" fmla="*/ 2980172 w 13768337"/>
              <a:gd name="connsiteY9452" fmla="*/ 1821044 h 5071335"/>
              <a:gd name="connsiteX9453" fmla="*/ 2958395 w 13768337"/>
              <a:gd name="connsiteY9453" fmla="*/ 1826619 h 5071335"/>
              <a:gd name="connsiteX9454" fmla="*/ 2999635 w 13768337"/>
              <a:gd name="connsiteY9454" fmla="*/ 1831915 h 5071335"/>
              <a:gd name="connsiteX9455" fmla="*/ 3141897 w 13768337"/>
              <a:gd name="connsiteY9455" fmla="*/ 1853377 h 5071335"/>
              <a:gd name="connsiteX9456" fmla="*/ 3122435 w 13768337"/>
              <a:gd name="connsiteY9456" fmla="*/ 1826619 h 5071335"/>
              <a:gd name="connsiteX9457" fmla="*/ 3168775 w 13768337"/>
              <a:gd name="connsiteY9457" fmla="*/ 1848220 h 5071335"/>
              <a:gd name="connsiteX9458" fmla="*/ 3153946 w 13768337"/>
              <a:gd name="connsiteY9458" fmla="*/ 1861320 h 5071335"/>
              <a:gd name="connsiteX9459" fmla="*/ 3154872 w 13768337"/>
              <a:gd name="connsiteY9459" fmla="*/ 1861320 h 5071335"/>
              <a:gd name="connsiteX9460" fmla="*/ 3153019 w 13768337"/>
              <a:gd name="connsiteY9460" fmla="*/ 1868707 h 5071335"/>
              <a:gd name="connsiteX9461" fmla="*/ 3154409 w 13768337"/>
              <a:gd name="connsiteY9461" fmla="*/ 1873445 h 5071335"/>
              <a:gd name="connsiteX9462" fmla="*/ 3152555 w 13768337"/>
              <a:gd name="connsiteY9462" fmla="*/ 1872050 h 5071335"/>
              <a:gd name="connsiteX9463" fmla="*/ 3153290 w 13768337"/>
              <a:gd name="connsiteY9463" fmla="*/ 1874570 h 5071335"/>
              <a:gd name="connsiteX9464" fmla="*/ 3158772 w 13768337"/>
              <a:gd name="connsiteY9464" fmla="*/ 1874346 h 5071335"/>
              <a:gd name="connsiteX9465" fmla="*/ 3209089 w 13768337"/>
              <a:gd name="connsiteY9465" fmla="*/ 1879313 h 5071335"/>
              <a:gd name="connsiteX9466" fmla="*/ 3209089 w 13768337"/>
              <a:gd name="connsiteY9466" fmla="*/ 1873166 h 5071335"/>
              <a:gd name="connsiteX9467" fmla="*/ 3196114 w 13768337"/>
              <a:gd name="connsiteY9467" fmla="*/ 1853377 h 5071335"/>
              <a:gd name="connsiteX9468" fmla="*/ 3208626 w 13768337"/>
              <a:gd name="connsiteY9468" fmla="*/ 1868428 h 5071335"/>
              <a:gd name="connsiteX9469" fmla="*/ 3213723 w 13768337"/>
              <a:gd name="connsiteY9469" fmla="*/ 1857557 h 5071335"/>
              <a:gd name="connsiteX9470" fmla="*/ 3219748 w 13768337"/>
              <a:gd name="connsiteY9470" fmla="*/ 1842645 h 5071335"/>
              <a:gd name="connsiteX9471" fmla="*/ 3178042 w 13768337"/>
              <a:gd name="connsiteY9471" fmla="*/ 1831915 h 5071335"/>
              <a:gd name="connsiteX9472" fmla="*/ 3224383 w 13768337"/>
              <a:gd name="connsiteY9472" fmla="*/ 1816028 h 5071335"/>
              <a:gd name="connsiteX9473" fmla="*/ 3215112 w 13768337"/>
              <a:gd name="connsiteY9473" fmla="*/ 1800838 h 5071335"/>
              <a:gd name="connsiteX9474" fmla="*/ 3188236 w 13768337"/>
              <a:gd name="connsiteY9474" fmla="*/ 1810313 h 5071335"/>
              <a:gd name="connsiteX9475" fmla="*/ 3163677 w 13768337"/>
              <a:gd name="connsiteY9475" fmla="*/ 1768784 h 5071335"/>
              <a:gd name="connsiteX9476" fmla="*/ 3197505 w 13768337"/>
              <a:gd name="connsiteY9476" fmla="*/ 1779515 h 5071335"/>
              <a:gd name="connsiteX9477" fmla="*/ 3136336 w 13768337"/>
              <a:gd name="connsiteY9477" fmla="*/ 1763489 h 5071335"/>
              <a:gd name="connsiteX9478" fmla="*/ 3141897 w 13768337"/>
              <a:gd name="connsiteY9478" fmla="*/ 1743421 h 5071335"/>
              <a:gd name="connsiteX9479" fmla="*/ 3127068 w 13768337"/>
              <a:gd name="connsiteY9479" fmla="*/ 1768784 h 5071335"/>
              <a:gd name="connsiteX9480" fmla="*/ 3095558 w 13768337"/>
              <a:gd name="connsiteY9480" fmla="*/ 1752758 h 5071335"/>
              <a:gd name="connsiteX9481" fmla="*/ 3083047 w 13768337"/>
              <a:gd name="connsiteY9481" fmla="*/ 1768784 h 5071335"/>
              <a:gd name="connsiteX9482" fmla="*/ 3095558 w 13768337"/>
              <a:gd name="connsiteY9482" fmla="*/ 1774220 h 5071335"/>
              <a:gd name="connsiteX9483" fmla="*/ 3068217 w 13768337"/>
              <a:gd name="connsiteY9483" fmla="*/ 1805297 h 5071335"/>
              <a:gd name="connsiteX9484" fmla="*/ 3072851 w 13768337"/>
              <a:gd name="connsiteY9484" fmla="*/ 1779515 h 5071335"/>
              <a:gd name="connsiteX9485" fmla="*/ 3045976 w 13768337"/>
              <a:gd name="connsiteY9485" fmla="*/ 1795820 h 5071335"/>
              <a:gd name="connsiteX9486" fmla="*/ 3045976 w 13768337"/>
              <a:gd name="connsiteY9486" fmla="*/ 1763489 h 5071335"/>
              <a:gd name="connsiteX9487" fmla="*/ 3004733 w 13768337"/>
              <a:gd name="connsiteY9487" fmla="*/ 1779515 h 5071335"/>
              <a:gd name="connsiteX9488" fmla="*/ 2980172 w 13768337"/>
              <a:gd name="connsiteY9488" fmla="*/ 1752758 h 5071335"/>
              <a:gd name="connsiteX9489" fmla="*/ 3017244 w 13768337"/>
              <a:gd name="connsiteY9489" fmla="*/ 1758472 h 5071335"/>
              <a:gd name="connsiteX9490" fmla="*/ 3009366 w 13768337"/>
              <a:gd name="connsiteY9490" fmla="*/ 1747742 h 5071335"/>
              <a:gd name="connsiteX9491" fmla="*/ 3017244 w 13768337"/>
              <a:gd name="connsiteY9491" fmla="*/ 1742167 h 5071335"/>
              <a:gd name="connsiteX9492" fmla="*/ 2985270 w 13768337"/>
              <a:gd name="connsiteY9492" fmla="*/ 1716663 h 5071335"/>
              <a:gd name="connsiteX9493" fmla="*/ 2953295 w 13768337"/>
              <a:gd name="connsiteY9493" fmla="*/ 1721960 h 5071335"/>
              <a:gd name="connsiteX9494" fmla="*/ 2958395 w 13768337"/>
              <a:gd name="connsiteY9494" fmla="*/ 1695341 h 5071335"/>
              <a:gd name="connsiteX9495" fmla="*/ 2935687 w 13768337"/>
              <a:gd name="connsiteY9495" fmla="*/ 1700358 h 5071335"/>
              <a:gd name="connsiteX9496" fmla="*/ 2985270 w 13768337"/>
              <a:gd name="connsiteY9496" fmla="*/ 1678758 h 5071335"/>
              <a:gd name="connsiteX9497" fmla="*/ 2989904 w 13768337"/>
              <a:gd name="connsiteY9497" fmla="*/ 1700358 h 5071335"/>
              <a:gd name="connsiteX9498" fmla="*/ 3009366 w 13768337"/>
              <a:gd name="connsiteY9498" fmla="*/ 1695341 h 5071335"/>
              <a:gd name="connsiteX9499" fmla="*/ 2995002 w 13768337"/>
              <a:gd name="connsiteY9499" fmla="*/ 1664403 h 5071335"/>
              <a:gd name="connsiteX9500" fmla="*/ 2944028 w 13768337"/>
              <a:gd name="connsiteY9500" fmla="*/ 1653532 h 5071335"/>
              <a:gd name="connsiteX9501" fmla="*/ 2948661 w 13768337"/>
              <a:gd name="connsiteY9501" fmla="*/ 1675134 h 5071335"/>
              <a:gd name="connsiteX9502" fmla="*/ 2901858 w 13768337"/>
              <a:gd name="connsiteY9502" fmla="*/ 1678758 h 5071335"/>
              <a:gd name="connsiteX9503" fmla="*/ 2921322 w 13768337"/>
              <a:gd name="connsiteY9503" fmla="*/ 1684471 h 5071335"/>
              <a:gd name="connsiteX9504" fmla="*/ 2919931 w 13768337"/>
              <a:gd name="connsiteY9504" fmla="*/ 1705932 h 5071335"/>
              <a:gd name="connsiteX9505" fmla="*/ 2938930 w 13768337"/>
              <a:gd name="connsiteY9505" fmla="*/ 1709835 h 5071335"/>
              <a:gd name="connsiteX9506" fmla="*/ 2907420 w 13768337"/>
              <a:gd name="connsiteY9506" fmla="*/ 1736871 h 5071335"/>
              <a:gd name="connsiteX9507" fmla="*/ 2880081 w 13768337"/>
              <a:gd name="connsiteY9507" fmla="*/ 1715410 h 5071335"/>
              <a:gd name="connsiteX9508" fmla="*/ 2893055 w 13768337"/>
              <a:gd name="connsiteY9508" fmla="*/ 1707465 h 5071335"/>
              <a:gd name="connsiteX9509" fmla="*/ 2829106 w 13768337"/>
              <a:gd name="connsiteY9509" fmla="*/ 1684471 h 5071335"/>
              <a:gd name="connsiteX9510" fmla="*/ 2750793 w 13768337"/>
              <a:gd name="connsiteY9510" fmla="*/ 1668026 h 5071335"/>
              <a:gd name="connsiteX9511" fmla="*/ 2686845 w 13768337"/>
              <a:gd name="connsiteY9511" fmla="*/ 1678758 h 5071335"/>
              <a:gd name="connsiteX9512" fmla="*/ 2728549 w 13768337"/>
              <a:gd name="connsiteY9512" fmla="*/ 1647958 h 5071335"/>
              <a:gd name="connsiteX9513" fmla="*/ 2723916 w 13768337"/>
              <a:gd name="connsiteY9513" fmla="*/ 1657435 h 5071335"/>
              <a:gd name="connsiteX9514" fmla="*/ 2769792 w 13768337"/>
              <a:gd name="connsiteY9514" fmla="*/ 1647958 h 5071335"/>
              <a:gd name="connsiteX9515" fmla="*/ 2765158 w 13768337"/>
              <a:gd name="connsiteY9515" fmla="*/ 1663009 h 5071335"/>
              <a:gd name="connsiteX9516" fmla="*/ 2774889 w 13768337"/>
              <a:gd name="connsiteY9516" fmla="*/ 1642802 h 5071335"/>
              <a:gd name="connsiteX9517" fmla="*/ 2796670 w 13768337"/>
              <a:gd name="connsiteY9517" fmla="*/ 1647958 h 5071335"/>
              <a:gd name="connsiteX9518" fmla="*/ 2796670 w 13768337"/>
              <a:gd name="connsiteY9518" fmla="*/ 1626497 h 5071335"/>
              <a:gd name="connsiteX9519" fmla="*/ 2811497 w 13768337"/>
              <a:gd name="connsiteY9519" fmla="*/ 1642802 h 5071335"/>
              <a:gd name="connsiteX9520" fmla="*/ 2829106 w 13768337"/>
              <a:gd name="connsiteY9520" fmla="*/ 1626497 h 5071335"/>
              <a:gd name="connsiteX9521" fmla="*/ 2825862 w 13768337"/>
              <a:gd name="connsiteY9521" fmla="*/ 1647958 h 5071335"/>
              <a:gd name="connsiteX9522" fmla="*/ 2843471 w 13768337"/>
              <a:gd name="connsiteY9522" fmla="*/ 1642802 h 5071335"/>
              <a:gd name="connsiteX9523" fmla="*/ 2816131 w 13768337"/>
              <a:gd name="connsiteY9523" fmla="*/ 1653532 h 5071335"/>
              <a:gd name="connsiteX9524" fmla="*/ 2867105 w 13768337"/>
              <a:gd name="connsiteY9524" fmla="*/ 1632210 h 5071335"/>
              <a:gd name="connsiteX9525" fmla="*/ 2870349 w 13768337"/>
              <a:gd name="connsiteY9525" fmla="*/ 1653532 h 5071335"/>
              <a:gd name="connsiteX9526" fmla="*/ 2904177 w 13768337"/>
              <a:gd name="connsiteY9526" fmla="*/ 1601132 h 5071335"/>
              <a:gd name="connsiteX9527" fmla="*/ 2874982 w 13768337"/>
              <a:gd name="connsiteY9527" fmla="*/ 1626497 h 5071335"/>
              <a:gd name="connsiteX9528" fmla="*/ 2838374 w 13768337"/>
              <a:gd name="connsiteY9528" fmla="*/ 1621201 h 5071335"/>
              <a:gd name="connsiteX9529" fmla="*/ 2870349 w 13768337"/>
              <a:gd name="connsiteY9529" fmla="*/ 1615626 h 5071335"/>
              <a:gd name="connsiteX9530" fmla="*/ 2884714 w 13768337"/>
              <a:gd name="connsiteY9530" fmla="*/ 1595697 h 5071335"/>
              <a:gd name="connsiteX9531" fmla="*/ 2830497 w 13768337"/>
              <a:gd name="connsiteY9531" fmla="*/ 1615626 h 5071335"/>
              <a:gd name="connsiteX9532" fmla="*/ 2802229 w 13768337"/>
              <a:gd name="connsiteY9532" fmla="*/ 1615626 h 5071335"/>
              <a:gd name="connsiteX9533" fmla="*/ 2796670 w 13768337"/>
              <a:gd name="connsiteY9533" fmla="*/ 1579671 h 5071335"/>
              <a:gd name="connsiteX9534" fmla="*/ 2796670 w 13768337"/>
              <a:gd name="connsiteY9534" fmla="*/ 1601132 h 5071335"/>
              <a:gd name="connsiteX9535" fmla="*/ 2774889 w 13768337"/>
              <a:gd name="connsiteY9535" fmla="*/ 1595697 h 5071335"/>
              <a:gd name="connsiteX9536" fmla="*/ 2779524 w 13768337"/>
              <a:gd name="connsiteY9536" fmla="*/ 1605453 h 5071335"/>
              <a:gd name="connsiteX9537" fmla="*/ 2784157 w 13768337"/>
              <a:gd name="connsiteY9537" fmla="*/ 1584828 h 5071335"/>
              <a:gd name="connsiteX9538" fmla="*/ 2784157 w 13768337"/>
              <a:gd name="connsiteY9538" fmla="*/ 1558070 h 5071335"/>
              <a:gd name="connsiteX9539" fmla="*/ 2769792 w 13768337"/>
              <a:gd name="connsiteY9539" fmla="*/ 1553053 h 5071335"/>
              <a:gd name="connsiteX9540" fmla="*/ 2788790 w 13768337"/>
              <a:gd name="connsiteY9540" fmla="*/ 1532846 h 5071335"/>
              <a:gd name="connsiteX9541" fmla="*/ 2748013 w 13768337"/>
              <a:gd name="connsiteY9541" fmla="*/ 1527271 h 5071335"/>
              <a:gd name="connsiteX9542" fmla="*/ 2857837 w 13768337"/>
              <a:gd name="connsiteY9542" fmla="*/ 1522115 h 5071335"/>
              <a:gd name="connsiteX9543" fmla="*/ 2857837 w 13768337"/>
              <a:gd name="connsiteY9543" fmla="*/ 1516540 h 5071335"/>
              <a:gd name="connsiteX9544" fmla="*/ 2972295 w 13768337"/>
              <a:gd name="connsiteY9544" fmla="*/ 1502047 h 5071335"/>
              <a:gd name="connsiteX9545" fmla="*/ 2958395 w 13768337"/>
              <a:gd name="connsiteY9545" fmla="*/ 1527271 h 5071335"/>
              <a:gd name="connsiteX9546" fmla="*/ 2940784 w 13768337"/>
              <a:gd name="connsiteY9546" fmla="*/ 1522115 h 5071335"/>
              <a:gd name="connsiteX9547" fmla="*/ 2925955 w 13768337"/>
              <a:gd name="connsiteY9547" fmla="*/ 1532846 h 5071335"/>
              <a:gd name="connsiteX9548" fmla="*/ 2963028 w 13768337"/>
              <a:gd name="connsiteY9548" fmla="*/ 1548873 h 5071335"/>
              <a:gd name="connsiteX9549" fmla="*/ 2953295 w 13768337"/>
              <a:gd name="connsiteY9549" fmla="*/ 1563784 h 5071335"/>
              <a:gd name="connsiteX9550" fmla="*/ 2982026 w 13768337"/>
              <a:gd name="connsiteY9550" fmla="*/ 1579671 h 5071335"/>
              <a:gd name="connsiteX9551" fmla="*/ 3045976 w 13768337"/>
              <a:gd name="connsiteY9551" fmla="*/ 1564621 h 5071335"/>
              <a:gd name="connsiteX9552" fmla="*/ 3055447 w 13768337"/>
              <a:gd name="connsiteY9552" fmla="*/ 1583641 h 5071335"/>
              <a:gd name="connsiteX9553" fmla="*/ 3057202 w 13768337"/>
              <a:gd name="connsiteY9553" fmla="*/ 1579022 h 5071335"/>
              <a:gd name="connsiteX9554" fmla="*/ 3065535 w 13768337"/>
              <a:gd name="connsiteY9554" fmla="*/ 1572426 h 5071335"/>
              <a:gd name="connsiteX9555" fmla="*/ 3070936 w 13768337"/>
              <a:gd name="connsiteY9555" fmla="*/ 1567168 h 5071335"/>
              <a:gd name="connsiteX9556" fmla="*/ 3063583 w 13768337"/>
              <a:gd name="connsiteY9556" fmla="*/ 1564621 h 5071335"/>
              <a:gd name="connsiteX9557" fmla="*/ 3073705 w 13768337"/>
              <a:gd name="connsiteY9557" fmla="*/ 1560502 h 5071335"/>
              <a:gd name="connsiteX9558" fmla="*/ 3074861 w 13768337"/>
              <a:gd name="connsiteY9558" fmla="*/ 1551957 h 5071335"/>
              <a:gd name="connsiteX9559" fmla="*/ 3083916 w 13768337"/>
              <a:gd name="connsiteY9559" fmla="*/ 1556348 h 5071335"/>
              <a:gd name="connsiteX9560" fmla="*/ 3088375 w 13768337"/>
              <a:gd name="connsiteY9560" fmla="*/ 1554534 h 5071335"/>
              <a:gd name="connsiteX9561" fmla="*/ 3114556 w 13768337"/>
              <a:gd name="connsiteY9561" fmla="*/ 1559603 h 5071335"/>
              <a:gd name="connsiteX9562" fmla="*/ 3113412 w 13768337"/>
              <a:gd name="connsiteY9562" fmla="*/ 1563484 h 5071335"/>
              <a:gd name="connsiteX9563" fmla="*/ 3117667 w 13768337"/>
              <a:gd name="connsiteY9563" fmla="*/ 1563681 h 5071335"/>
              <a:gd name="connsiteX9564" fmla="*/ 3165687 w 13768337"/>
              <a:gd name="connsiteY9564" fmla="*/ 1553769 h 5071335"/>
              <a:gd name="connsiteX9565" fmla="*/ 3154102 w 13768337"/>
              <a:gd name="connsiteY9565" fmla="*/ 1569656 h 5071335"/>
              <a:gd name="connsiteX9566" fmla="*/ 3223611 w 13768337"/>
              <a:gd name="connsiteY9566" fmla="*/ 1543595 h 5071335"/>
              <a:gd name="connsiteX9567" fmla="*/ 3331582 w 13768337"/>
              <a:gd name="connsiteY9567" fmla="*/ 1542063 h 5071335"/>
              <a:gd name="connsiteX9568" fmla="*/ 3346873 w 13768337"/>
              <a:gd name="connsiteY9568" fmla="*/ 1515444 h 5071335"/>
              <a:gd name="connsiteX9569" fmla="*/ 3444649 w 13768337"/>
              <a:gd name="connsiteY9569" fmla="*/ 1536488 h 5071335"/>
              <a:gd name="connsiteX9570" fmla="*/ 3450210 w 13768337"/>
              <a:gd name="connsiteY9570" fmla="*/ 1521019 h 5071335"/>
              <a:gd name="connsiteX9571" fmla="*/ 3465057 w 13768337"/>
              <a:gd name="connsiteY9571" fmla="*/ 1521523 h 5071335"/>
              <a:gd name="connsiteX9572" fmla="*/ 3461001 w 13768337"/>
              <a:gd name="connsiteY9572" fmla="*/ 1514049 h 5071335"/>
              <a:gd name="connsiteX9573" fmla="*/ 3449127 w 13768337"/>
              <a:gd name="connsiteY9573" fmla="*/ 1503858 h 5071335"/>
              <a:gd name="connsiteX9574" fmla="*/ 3444493 w 13768337"/>
              <a:gd name="connsiteY9574" fmla="*/ 1526296 h 5071335"/>
              <a:gd name="connsiteX9575" fmla="*/ 3431519 w 13768337"/>
              <a:gd name="connsiteY9575" fmla="*/ 1523508 h 5071335"/>
              <a:gd name="connsiteX9576" fmla="*/ 3426884 w 13768337"/>
              <a:gd name="connsiteY9576" fmla="*/ 1506785 h 5071335"/>
              <a:gd name="connsiteX9577" fmla="*/ 3465347 w 13768337"/>
              <a:gd name="connsiteY9577" fmla="*/ 1498284 h 5071335"/>
              <a:gd name="connsiteX9578" fmla="*/ 3477988 w 13768337"/>
              <a:gd name="connsiteY9578" fmla="*/ 1512160 h 5071335"/>
              <a:gd name="connsiteX9579" fmla="*/ 3480157 w 13768337"/>
              <a:gd name="connsiteY9579" fmla="*/ 1522037 h 5071335"/>
              <a:gd name="connsiteX9580" fmla="*/ 3480224 w 13768337"/>
              <a:gd name="connsiteY9580" fmla="*/ 1522039 h 5071335"/>
              <a:gd name="connsiteX9581" fmla="*/ 3485968 w 13768337"/>
              <a:gd name="connsiteY9581" fmla="*/ 1513004 h 5071335"/>
              <a:gd name="connsiteX9582" fmla="*/ 3490369 w 13768337"/>
              <a:gd name="connsiteY9582" fmla="*/ 1501489 h 5071335"/>
              <a:gd name="connsiteX9583" fmla="*/ 3489444 w 13768337"/>
              <a:gd name="connsiteY9583" fmla="*/ 1502047 h 5071335"/>
              <a:gd name="connsiteX9584" fmla="*/ 3470443 w 13768337"/>
              <a:gd name="connsiteY9584" fmla="*/ 1494660 h 5071335"/>
              <a:gd name="connsiteX9585" fmla="*/ 3270720 w 13768337"/>
              <a:gd name="connsiteY9585" fmla="*/ 1522534 h 5071335"/>
              <a:gd name="connsiteX9586" fmla="*/ 3243844 w 13768337"/>
              <a:gd name="connsiteY9586" fmla="*/ 1522115 h 5071335"/>
              <a:gd name="connsiteX9587" fmla="*/ 3246160 w 13768337"/>
              <a:gd name="connsiteY9587" fmla="*/ 1518351 h 5071335"/>
              <a:gd name="connsiteX9588" fmla="*/ 3230870 w 13768337"/>
              <a:gd name="connsiteY9588" fmla="*/ 1513613 h 5071335"/>
              <a:gd name="connsiteX9589" fmla="*/ 3201212 w 13768337"/>
              <a:gd name="connsiteY9589" fmla="*/ 1496472 h 5071335"/>
              <a:gd name="connsiteX9590" fmla="*/ 3260063 w 13768337"/>
              <a:gd name="connsiteY9590" fmla="*/ 1456197 h 5071335"/>
              <a:gd name="connsiteX9591" fmla="*/ 3236892 w 13768337"/>
              <a:gd name="connsiteY9591" fmla="*/ 1428045 h 5071335"/>
              <a:gd name="connsiteX9592" fmla="*/ 3208626 w 13768337"/>
              <a:gd name="connsiteY9592" fmla="*/ 1455779 h 5071335"/>
              <a:gd name="connsiteX9593" fmla="*/ 3206772 w 13768337"/>
              <a:gd name="connsiteY9593" fmla="*/ 1431809 h 5071335"/>
              <a:gd name="connsiteX9594" fmla="*/ 3117800 w 13768337"/>
              <a:gd name="connsiteY9594" fmla="*/ 1406026 h 5071335"/>
              <a:gd name="connsiteX9595" fmla="*/ 3220674 w 13768337"/>
              <a:gd name="connsiteY9595" fmla="*/ 1405190 h 5071335"/>
              <a:gd name="connsiteX9596" fmla="*/ 3221601 w 13768337"/>
              <a:gd name="connsiteY9596" fmla="*/ 1375228 h 5071335"/>
              <a:gd name="connsiteX9597" fmla="*/ 3179432 w 13768337"/>
              <a:gd name="connsiteY9597" fmla="*/ 1359201 h 5071335"/>
              <a:gd name="connsiteX9598" fmla="*/ 3218821 w 13768337"/>
              <a:gd name="connsiteY9598" fmla="*/ 1336903 h 5071335"/>
              <a:gd name="connsiteX9599" fmla="*/ 3300378 w 13768337"/>
              <a:gd name="connsiteY9599" fmla="*/ 1313909 h 5071335"/>
              <a:gd name="connsiteX9600" fmla="*/ 3947739 w 13768337"/>
              <a:gd name="connsiteY9600" fmla="*/ 1200329 h 5071335"/>
              <a:gd name="connsiteX9601" fmla="*/ 3950056 w 13768337"/>
              <a:gd name="connsiteY9601" fmla="*/ 1185278 h 5071335"/>
              <a:gd name="connsiteX9602" fmla="*/ 3992688 w 13768337"/>
              <a:gd name="connsiteY9602" fmla="*/ 1184860 h 5071335"/>
              <a:gd name="connsiteX9603" fmla="*/ 3928741 w 13768337"/>
              <a:gd name="connsiteY9603" fmla="*/ 1182491 h 5071335"/>
              <a:gd name="connsiteX9604" fmla="*/ 3854598 w 13768337"/>
              <a:gd name="connsiteY9604" fmla="*/ 1183745 h 5071335"/>
              <a:gd name="connsiteX9605" fmla="*/ 3697506 w 13768337"/>
              <a:gd name="connsiteY9605" fmla="*/ 1198796 h 5071335"/>
              <a:gd name="connsiteX9606" fmla="*/ 3629851 w 13768337"/>
              <a:gd name="connsiteY9606" fmla="*/ 1190853 h 5071335"/>
              <a:gd name="connsiteX9607" fmla="*/ 3699824 w 13768337"/>
              <a:gd name="connsiteY9607" fmla="*/ 1179564 h 5071335"/>
              <a:gd name="connsiteX9608" fmla="*/ 3746164 w 13768337"/>
              <a:gd name="connsiteY9608" fmla="*/ 1139846 h 5071335"/>
              <a:gd name="connsiteX9609" fmla="*/ 3747553 w 13768337"/>
              <a:gd name="connsiteY9609" fmla="*/ 1154898 h 5071335"/>
              <a:gd name="connsiteX9610" fmla="*/ 3771649 w 13768337"/>
              <a:gd name="connsiteY9610" fmla="*/ 1146954 h 5071335"/>
              <a:gd name="connsiteX9611" fmla="*/ 3767017 w 13768337"/>
              <a:gd name="connsiteY9611" fmla="*/ 1127722 h 5071335"/>
              <a:gd name="connsiteX9612" fmla="*/ 3822624 w 13768337"/>
              <a:gd name="connsiteY9612" fmla="*/ 1113228 h 5071335"/>
              <a:gd name="connsiteX9613" fmla="*/ 3820305 w 13768337"/>
              <a:gd name="connsiteY9613" fmla="*/ 1132460 h 5071335"/>
              <a:gd name="connsiteX9614" fmla="*/ 3849963 w 13768337"/>
              <a:gd name="connsiteY9614" fmla="*/ 1130091 h 5071335"/>
              <a:gd name="connsiteX9615" fmla="*/ 3843938 w 13768337"/>
              <a:gd name="connsiteY9615" fmla="*/ 1116015 h 5071335"/>
              <a:gd name="connsiteX9616" fmla="*/ 3885645 w 13768337"/>
              <a:gd name="connsiteY9616" fmla="*/ 1106678 h 5071335"/>
              <a:gd name="connsiteX9617" fmla="*/ 3875449 w 13768337"/>
              <a:gd name="connsiteY9617" fmla="*/ 1088004 h 5071335"/>
              <a:gd name="connsiteX9618" fmla="*/ 3793893 w 13768337"/>
              <a:gd name="connsiteY9618" fmla="*/ 1070583 h 5071335"/>
              <a:gd name="connsiteX9619" fmla="*/ 3858768 w 13768337"/>
              <a:gd name="connsiteY9619" fmla="*/ 1054696 h 5071335"/>
              <a:gd name="connsiteX9620" fmla="*/ 3762381 w 13768337"/>
              <a:gd name="connsiteY9620" fmla="*/ 1055114 h 5071335"/>
              <a:gd name="connsiteX9621" fmla="*/ 3798526 w 13768337"/>
              <a:gd name="connsiteY9621" fmla="*/ 1035465 h 5071335"/>
              <a:gd name="connsiteX9622" fmla="*/ 3791112 w 13768337"/>
              <a:gd name="connsiteY9622" fmla="*/ 1031702 h 5071335"/>
              <a:gd name="connsiteX9623" fmla="*/ 3802697 w 13768337"/>
              <a:gd name="connsiteY9623" fmla="*/ 1024733 h 5071335"/>
              <a:gd name="connsiteX9624" fmla="*/ 3709555 w 13768337"/>
              <a:gd name="connsiteY9624" fmla="*/ 1014421 h 5071335"/>
              <a:gd name="connsiteX9625" fmla="*/ 3661362 w 13768337"/>
              <a:gd name="connsiteY9625" fmla="*/ 989615 h 5071335"/>
              <a:gd name="connsiteX9626" fmla="*/ 3833745 w 13768337"/>
              <a:gd name="connsiteY9626" fmla="*/ 962857 h 5071335"/>
              <a:gd name="connsiteX9627" fmla="*/ 3837916 w 13768337"/>
              <a:gd name="connsiteY9627" fmla="*/ 953659 h 5071335"/>
              <a:gd name="connsiteX9628" fmla="*/ 3905571 w 13768337"/>
              <a:gd name="connsiteY9628" fmla="*/ 931780 h 5071335"/>
              <a:gd name="connsiteX9629" fmla="*/ 4001029 w 13768337"/>
              <a:gd name="connsiteY9629" fmla="*/ 927041 h 5071335"/>
              <a:gd name="connsiteX9630" fmla="*/ 4252189 w 13768337"/>
              <a:gd name="connsiteY9630" fmla="*/ 937354 h 5071335"/>
              <a:gd name="connsiteX9631" fmla="*/ 4299455 w 13768337"/>
              <a:gd name="connsiteY9631" fmla="*/ 912547 h 5071335"/>
              <a:gd name="connsiteX9632" fmla="*/ 4294358 w 13768337"/>
              <a:gd name="connsiteY9632" fmla="*/ 927877 h 5071335"/>
              <a:gd name="connsiteX9633" fmla="*/ 4422255 w 13768337"/>
              <a:gd name="connsiteY9633" fmla="*/ 874502 h 5071335"/>
              <a:gd name="connsiteX9634" fmla="*/ 4414376 w 13768337"/>
              <a:gd name="connsiteY9634" fmla="*/ 869903 h 5071335"/>
              <a:gd name="connsiteX9635" fmla="*/ 4414376 w 13768337"/>
              <a:gd name="connsiteY9635" fmla="*/ 867534 h 5071335"/>
              <a:gd name="connsiteX9636" fmla="*/ 4404182 w 13768337"/>
              <a:gd name="connsiteY9636" fmla="*/ 858197 h 5071335"/>
              <a:gd name="connsiteX9637" fmla="*/ 4415304 w 13768337"/>
              <a:gd name="connsiteY9637" fmla="*/ 857360 h 5071335"/>
              <a:gd name="connsiteX9638" fmla="*/ 4431985 w 13768337"/>
              <a:gd name="connsiteY9638" fmla="*/ 848441 h 5071335"/>
              <a:gd name="connsiteX9639" fmla="*/ 4409744 w 13768337"/>
              <a:gd name="connsiteY9639" fmla="*/ 831857 h 5071335"/>
              <a:gd name="connsiteX9640" fmla="*/ 4419011 w 13768337"/>
              <a:gd name="connsiteY9640" fmla="*/ 811789 h 5071335"/>
              <a:gd name="connsiteX9641" fmla="*/ 4394914 w 13768337"/>
              <a:gd name="connsiteY9641" fmla="*/ 801058 h 5071335"/>
              <a:gd name="connsiteX9642" fmla="*/ 4409744 w 13768337"/>
              <a:gd name="connsiteY9642" fmla="*/ 811789 h 5071335"/>
              <a:gd name="connsiteX9643" fmla="*/ 4382403 w 13768337"/>
              <a:gd name="connsiteY9643" fmla="*/ 826841 h 5071335"/>
              <a:gd name="connsiteX9644" fmla="*/ 4368501 w 13768337"/>
              <a:gd name="connsiteY9644" fmla="*/ 801058 h 5071335"/>
              <a:gd name="connsiteX9645" fmla="*/ 4363405 w 13768337"/>
              <a:gd name="connsiteY9645" fmla="*/ 821266 h 5071335"/>
              <a:gd name="connsiteX9646" fmla="*/ 4331894 w 13768337"/>
              <a:gd name="connsiteY9646" fmla="*/ 816109 h 5071335"/>
              <a:gd name="connsiteX9647" fmla="*/ 4354136 w 13768337"/>
              <a:gd name="connsiteY9647" fmla="*/ 801058 h 5071335"/>
              <a:gd name="connsiteX9648" fmla="*/ 4317527 w 13768337"/>
              <a:gd name="connsiteY9648" fmla="*/ 796041 h 5071335"/>
              <a:gd name="connsiteX9649" fmla="*/ 4346257 w 13768337"/>
              <a:gd name="connsiteY9649" fmla="*/ 779597 h 5071335"/>
              <a:gd name="connsiteX9650" fmla="*/ 4436156 w 13768337"/>
              <a:gd name="connsiteY9650" fmla="*/ 831857 h 5071335"/>
              <a:gd name="connsiteX9651" fmla="*/ 4509372 w 13768337"/>
              <a:gd name="connsiteY9651" fmla="*/ 833391 h 5071335"/>
              <a:gd name="connsiteX9652" fmla="*/ 4509372 w 13768337"/>
              <a:gd name="connsiteY9652" fmla="*/ 834226 h 5071335"/>
              <a:gd name="connsiteX9653" fmla="*/ 4510300 w 13768337"/>
              <a:gd name="connsiteY9653" fmla="*/ 833391 h 5071335"/>
              <a:gd name="connsiteX9654" fmla="*/ 4533006 w 13768337"/>
              <a:gd name="connsiteY9654" fmla="*/ 850810 h 5071335"/>
              <a:gd name="connsiteX9655" fmla="*/ 4547371 w 13768337"/>
              <a:gd name="connsiteY9655" fmla="*/ 828652 h 5071335"/>
              <a:gd name="connsiteX9656" fmla="*/ 4546445 w 13768337"/>
              <a:gd name="connsiteY9656" fmla="*/ 838129 h 5071335"/>
              <a:gd name="connsiteX9657" fmla="*/ 4563126 w 13768337"/>
              <a:gd name="connsiteY9657" fmla="*/ 831021 h 5071335"/>
              <a:gd name="connsiteX9658" fmla="*/ 4564517 w 13768337"/>
              <a:gd name="connsiteY9658" fmla="*/ 841334 h 5071335"/>
              <a:gd name="connsiteX9659" fmla="*/ 4575176 w 13768337"/>
              <a:gd name="connsiteY9659" fmla="*/ 840776 h 5071335"/>
              <a:gd name="connsiteX9660" fmla="*/ 4572859 w 13768337"/>
              <a:gd name="connsiteY9660" fmla="*/ 835759 h 5071335"/>
              <a:gd name="connsiteX9661" fmla="*/ 4586760 w 13768337"/>
              <a:gd name="connsiteY9661" fmla="*/ 840497 h 5071335"/>
              <a:gd name="connsiteX9662" fmla="*/ 4589541 w 13768337"/>
              <a:gd name="connsiteY9662" fmla="*/ 839940 h 5071335"/>
              <a:gd name="connsiteX9663" fmla="*/ 4593247 w 13768337"/>
              <a:gd name="connsiteY9663" fmla="*/ 838407 h 5071335"/>
              <a:gd name="connsiteX9664" fmla="*/ 4582590 w 13768337"/>
              <a:gd name="connsiteY9664" fmla="*/ 810813 h 5071335"/>
              <a:gd name="connsiteX9665" fmla="*/ 4555713 w 13768337"/>
              <a:gd name="connsiteY9665" fmla="*/ 823636 h 5071335"/>
              <a:gd name="connsiteX9666" fmla="*/ 4593247 w 13768337"/>
              <a:gd name="connsiteY9666" fmla="*/ 784753 h 5071335"/>
              <a:gd name="connsiteX9667" fmla="*/ 4588149 w 13768337"/>
              <a:gd name="connsiteY9667" fmla="*/ 806354 h 5071335"/>
              <a:gd name="connsiteX9668" fmla="*/ 4633563 w 13768337"/>
              <a:gd name="connsiteY9668" fmla="*/ 820708 h 5071335"/>
              <a:gd name="connsiteX9669" fmla="*/ 4620588 w 13768337"/>
              <a:gd name="connsiteY9669" fmla="*/ 817085 h 5071335"/>
              <a:gd name="connsiteX9670" fmla="*/ 4640050 w 13768337"/>
              <a:gd name="connsiteY9670" fmla="*/ 790328 h 5071335"/>
              <a:gd name="connsiteX9671" fmla="*/ 4660439 w 13768337"/>
              <a:gd name="connsiteY9671" fmla="*/ 828652 h 5071335"/>
              <a:gd name="connsiteX9672" fmla="*/ 4716047 w 13768337"/>
              <a:gd name="connsiteY9672" fmla="*/ 814158 h 5071335"/>
              <a:gd name="connsiteX9673" fmla="*/ 4683145 w 13768337"/>
              <a:gd name="connsiteY9673" fmla="*/ 797436 h 5071335"/>
              <a:gd name="connsiteX9674" fmla="*/ 4708633 w 13768337"/>
              <a:gd name="connsiteY9674" fmla="*/ 797436 h 5071335"/>
              <a:gd name="connsiteX9675" fmla="*/ 4706315 w 13768337"/>
              <a:gd name="connsiteY9675" fmla="*/ 797853 h 5071335"/>
              <a:gd name="connsiteX9676" fmla="*/ 4716047 w 13768337"/>
              <a:gd name="connsiteY9676" fmla="*/ 776810 h 5071335"/>
              <a:gd name="connsiteX9677" fmla="*/ 4730877 w 13768337"/>
              <a:gd name="connsiteY9677" fmla="*/ 792697 h 5071335"/>
              <a:gd name="connsiteX9678" fmla="*/ 4745241 w 13768337"/>
              <a:gd name="connsiteY9678" fmla="*/ 776810 h 5071335"/>
              <a:gd name="connsiteX9679" fmla="*/ 4741997 w 13768337"/>
              <a:gd name="connsiteY9679" fmla="*/ 776810 h 5071335"/>
              <a:gd name="connsiteX9680" fmla="*/ 4741997 w 13768337"/>
              <a:gd name="connsiteY9680" fmla="*/ 762176 h 5071335"/>
              <a:gd name="connsiteX9681" fmla="*/ 4751265 w 13768337"/>
              <a:gd name="connsiteY9681" fmla="*/ 776810 h 5071335"/>
              <a:gd name="connsiteX9682" fmla="*/ 4777215 w 13768337"/>
              <a:gd name="connsiteY9682" fmla="*/ 772629 h 5071335"/>
              <a:gd name="connsiteX9683" fmla="*/ 4779996 w 13768337"/>
              <a:gd name="connsiteY9683" fmla="*/ 786565 h 5071335"/>
              <a:gd name="connsiteX9684" fmla="*/ 4792506 w 13768337"/>
              <a:gd name="connsiteY9684" fmla="*/ 766079 h 5071335"/>
              <a:gd name="connsiteX9685" fmla="*/ 4821237 w 13768337"/>
              <a:gd name="connsiteY9685" fmla="*/ 768448 h 5071335"/>
              <a:gd name="connsiteX9686" fmla="*/ 4868040 w 13768337"/>
              <a:gd name="connsiteY9686" fmla="*/ 784196 h 5071335"/>
              <a:gd name="connsiteX9687" fmla="*/ 4858772 w 13768337"/>
              <a:gd name="connsiteY9687" fmla="*/ 774440 h 5071335"/>
              <a:gd name="connsiteX9688" fmla="*/ 4917159 w 13768337"/>
              <a:gd name="connsiteY9688" fmla="*/ 769702 h 5071335"/>
              <a:gd name="connsiteX9689" fmla="*/ 4923183 w 13768337"/>
              <a:gd name="connsiteY9689" fmla="*/ 778203 h 5071335"/>
              <a:gd name="connsiteX9690" fmla="*/ 4928745 w 13768337"/>
              <a:gd name="connsiteY9690" fmla="*/ 762734 h 5071335"/>
              <a:gd name="connsiteX9691" fmla="*/ 4935695 w 13768337"/>
              <a:gd name="connsiteY9691" fmla="*/ 781826 h 5071335"/>
              <a:gd name="connsiteX9692" fmla="*/ 4969988 w 13768337"/>
              <a:gd name="connsiteY9692" fmla="*/ 745036 h 5071335"/>
              <a:gd name="connsiteX9693" fmla="*/ 4990838 w 13768337"/>
              <a:gd name="connsiteY9693" fmla="*/ 762176 h 5071335"/>
              <a:gd name="connsiteX9694" fmla="*/ 5011228 w 13768337"/>
              <a:gd name="connsiteY9694" fmla="*/ 754791 h 5071335"/>
              <a:gd name="connsiteX9695" fmla="*/ 5019107 w 13768337"/>
              <a:gd name="connsiteY9695" fmla="*/ 735140 h 5071335"/>
              <a:gd name="connsiteX9696" fmla="*/ 5059422 w 13768337"/>
              <a:gd name="connsiteY9696" fmla="*/ 731935 h 5071335"/>
              <a:gd name="connsiteX9697" fmla="*/ 5137272 w 13768337"/>
              <a:gd name="connsiteY9697" fmla="*/ 704760 h 5071335"/>
              <a:gd name="connsiteX9698" fmla="*/ 5162294 w 13768337"/>
              <a:gd name="connsiteY9698" fmla="*/ 707128 h 5071335"/>
              <a:gd name="connsiteX9699" fmla="*/ 5177124 w 13768337"/>
              <a:gd name="connsiteY9699" fmla="*/ 689848 h 5071335"/>
              <a:gd name="connsiteX9700" fmla="*/ 5090005 w 13768337"/>
              <a:gd name="connsiteY9700" fmla="*/ 693471 h 5071335"/>
              <a:gd name="connsiteX9701" fmla="*/ 5116884 w 13768337"/>
              <a:gd name="connsiteY9701" fmla="*/ 715073 h 5071335"/>
              <a:gd name="connsiteX9702" fmla="*/ 5081201 w 13768337"/>
              <a:gd name="connsiteY9702" fmla="*/ 734582 h 5071335"/>
              <a:gd name="connsiteX9703" fmla="*/ 5092786 w 13768337"/>
              <a:gd name="connsiteY9703" fmla="*/ 727615 h 5071335"/>
              <a:gd name="connsiteX9704" fmla="*/ 5022813 w 13768337"/>
              <a:gd name="connsiteY9704" fmla="*/ 689848 h 5071335"/>
              <a:gd name="connsiteX9705" fmla="*/ 5077958 w 13768337"/>
              <a:gd name="connsiteY9705" fmla="*/ 694307 h 5071335"/>
              <a:gd name="connsiteX9706" fmla="*/ 5142369 w 13768337"/>
              <a:gd name="connsiteY9706" fmla="*/ 638702 h 5071335"/>
              <a:gd name="connsiteX9707" fmla="*/ 5198903 w 13768337"/>
              <a:gd name="connsiteY9707" fmla="*/ 608740 h 5071335"/>
              <a:gd name="connsiteX9708" fmla="*/ 5176659 w 13768337"/>
              <a:gd name="connsiteY9708" fmla="*/ 640097 h 5071335"/>
              <a:gd name="connsiteX9709" fmla="*/ 5213732 w 13768337"/>
              <a:gd name="connsiteY9709" fmla="*/ 637448 h 5071335"/>
              <a:gd name="connsiteX9710" fmla="*/ 5211878 w 13768337"/>
              <a:gd name="connsiteY9710" fmla="*/ 611945 h 5071335"/>
              <a:gd name="connsiteX9711" fmla="*/ 5260997 w 13768337"/>
              <a:gd name="connsiteY9711" fmla="*/ 616405 h 5071335"/>
              <a:gd name="connsiteX9712" fmla="*/ 5260072 w 13768337"/>
              <a:gd name="connsiteY9712" fmla="*/ 614871 h 5071335"/>
              <a:gd name="connsiteX9713" fmla="*/ 5261926 w 13768337"/>
              <a:gd name="connsiteY9713" fmla="*/ 616405 h 5071335"/>
              <a:gd name="connsiteX9714" fmla="*/ 5336995 w 13768337"/>
              <a:gd name="connsiteY9714" fmla="*/ 605116 h 5071335"/>
              <a:gd name="connsiteX9715" fmla="*/ 5318923 w 13768337"/>
              <a:gd name="connsiteY9715" fmla="*/ 602189 h 5071335"/>
              <a:gd name="connsiteX9716" fmla="*/ 5330044 w 13768337"/>
              <a:gd name="connsiteY9716" fmla="*/ 581982 h 5071335"/>
              <a:gd name="connsiteX9717" fmla="*/ 5338384 w 13768337"/>
              <a:gd name="connsiteY9717" fmla="*/ 581146 h 5071335"/>
              <a:gd name="connsiteX9718" fmla="*/ 5385188 w 13768337"/>
              <a:gd name="connsiteY9718" fmla="*/ 586442 h 5071335"/>
              <a:gd name="connsiteX9719" fmla="*/ 5381017 w 13768337"/>
              <a:gd name="connsiteY9719" fmla="*/ 601771 h 5071335"/>
              <a:gd name="connsiteX9720" fmla="*/ 5398626 w 13768337"/>
              <a:gd name="connsiteY9720" fmla="*/ 600377 h 5071335"/>
              <a:gd name="connsiteX9721" fmla="*/ 5388894 w 13768337"/>
              <a:gd name="connsiteY9721" fmla="*/ 590622 h 5071335"/>
              <a:gd name="connsiteX9722" fmla="*/ 5596959 w 13768337"/>
              <a:gd name="connsiteY9722" fmla="*/ 590622 h 5071335"/>
              <a:gd name="connsiteX9723" fmla="*/ 5588618 w 13768337"/>
              <a:gd name="connsiteY9723" fmla="*/ 582540 h 5071335"/>
              <a:gd name="connsiteX9724" fmla="*/ 5617812 w 13768337"/>
              <a:gd name="connsiteY9724" fmla="*/ 584351 h 5071335"/>
              <a:gd name="connsiteX9725" fmla="*/ 5703076 w 13768337"/>
              <a:gd name="connsiteY9725" fmla="*/ 561496 h 5071335"/>
              <a:gd name="connsiteX9726" fmla="*/ 5714197 w 13768337"/>
              <a:gd name="connsiteY9726" fmla="*/ 575572 h 5071335"/>
              <a:gd name="connsiteX9727" fmla="*/ 5719295 w 13768337"/>
              <a:gd name="connsiteY9727" fmla="*/ 575153 h 5071335"/>
              <a:gd name="connsiteX9728" fmla="*/ 5719295 w 13768337"/>
              <a:gd name="connsiteY9728" fmla="*/ 575572 h 5071335"/>
              <a:gd name="connsiteX9729" fmla="*/ 5755904 w 13768337"/>
              <a:gd name="connsiteY9729" fmla="*/ 581146 h 5071335"/>
              <a:gd name="connsiteX9730" fmla="*/ 5761463 w 13768337"/>
              <a:gd name="connsiteY9730" fmla="*/ 561496 h 5071335"/>
              <a:gd name="connsiteX9731" fmla="*/ 5813363 w 13768337"/>
              <a:gd name="connsiteY9731" fmla="*/ 552716 h 5071335"/>
              <a:gd name="connsiteX9732" fmla="*/ 5807339 w 13768337"/>
              <a:gd name="connsiteY9732" fmla="*/ 547560 h 5071335"/>
              <a:gd name="connsiteX9733" fmla="*/ 5812437 w 13768337"/>
              <a:gd name="connsiteY9733" fmla="*/ 508678 h 5071335"/>
              <a:gd name="connsiteX9734" fmla="*/ 5810583 w 13768337"/>
              <a:gd name="connsiteY9734" fmla="*/ 511048 h 5071335"/>
              <a:gd name="connsiteX9735" fmla="*/ 5790657 w 13768337"/>
              <a:gd name="connsiteY9735" fmla="*/ 504078 h 5071335"/>
              <a:gd name="connsiteX9736" fmla="*/ 5803633 w 13768337"/>
              <a:gd name="connsiteY9736" fmla="*/ 512023 h 5071335"/>
              <a:gd name="connsiteX9737" fmla="*/ 5723465 w 13768337"/>
              <a:gd name="connsiteY9737" fmla="*/ 509096 h 5071335"/>
              <a:gd name="connsiteX9738" fmla="*/ 5722075 w 13768337"/>
              <a:gd name="connsiteY9738" fmla="*/ 489864 h 5071335"/>
              <a:gd name="connsiteX9739" fmla="*/ 5679907 w 13768337"/>
              <a:gd name="connsiteY9739" fmla="*/ 503522 h 5071335"/>
              <a:gd name="connsiteX9740" fmla="*/ 5679443 w 13768337"/>
              <a:gd name="connsiteY9740" fmla="*/ 504916 h 5071335"/>
              <a:gd name="connsiteX9741" fmla="*/ 5679443 w 13768337"/>
              <a:gd name="connsiteY9741" fmla="*/ 503522 h 5071335"/>
              <a:gd name="connsiteX9742" fmla="*/ 5676663 w 13768337"/>
              <a:gd name="connsiteY9742" fmla="*/ 504078 h 5071335"/>
              <a:gd name="connsiteX9743" fmla="*/ 5679443 w 13768337"/>
              <a:gd name="connsiteY9743" fmla="*/ 504916 h 5071335"/>
              <a:gd name="connsiteX9744" fmla="*/ 5723928 w 13768337"/>
              <a:gd name="connsiteY9744" fmla="*/ 515228 h 5071335"/>
              <a:gd name="connsiteX9745" fmla="*/ 5678052 w 13768337"/>
              <a:gd name="connsiteY9745" fmla="*/ 520524 h 5071335"/>
              <a:gd name="connsiteX9746" fmla="*/ 5644226 w 13768337"/>
              <a:gd name="connsiteY9746" fmla="*/ 515228 h 5071335"/>
              <a:gd name="connsiteX9747" fmla="*/ 5663687 w 13768337"/>
              <a:gd name="connsiteY9747" fmla="*/ 521221 h 5071335"/>
              <a:gd name="connsiteX9748" fmla="*/ 5670638 w 13768337"/>
              <a:gd name="connsiteY9748" fmla="*/ 514671 h 5071335"/>
              <a:gd name="connsiteX9749" fmla="*/ 5635421 w 13768337"/>
              <a:gd name="connsiteY9749" fmla="*/ 497808 h 5071335"/>
              <a:gd name="connsiteX9750" fmla="*/ 5615495 w 13768337"/>
              <a:gd name="connsiteY9750" fmla="*/ 510072 h 5071335"/>
              <a:gd name="connsiteX9751" fmla="*/ 5639591 w 13768337"/>
              <a:gd name="connsiteY9751" fmla="*/ 508259 h 5071335"/>
              <a:gd name="connsiteX9752" fmla="*/ 5625690 w 13768337"/>
              <a:gd name="connsiteY9752" fmla="*/ 533066 h 5071335"/>
              <a:gd name="connsiteX9753" fmla="*/ 5581203 w 13768337"/>
              <a:gd name="connsiteY9753" fmla="*/ 508259 h 5071335"/>
              <a:gd name="connsiteX9754" fmla="*/ 5579350 w 13768337"/>
              <a:gd name="connsiteY9754" fmla="*/ 527770 h 5071335"/>
              <a:gd name="connsiteX9755" fmla="*/ 5569618 w 13768337"/>
              <a:gd name="connsiteY9755" fmla="*/ 513835 h 5071335"/>
              <a:gd name="connsiteX9756" fmla="*/ 5380090 w 13768337"/>
              <a:gd name="connsiteY9756" fmla="*/ 546445 h 5071335"/>
              <a:gd name="connsiteX9757" fmla="*/ 5261461 w 13768337"/>
              <a:gd name="connsiteY9757" fmla="*/ 568047 h 5071335"/>
              <a:gd name="connsiteX9758" fmla="*/ 5178514 w 13768337"/>
              <a:gd name="connsiteY9758" fmla="*/ 575989 h 5071335"/>
              <a:gd name="connsiteX9759" fmla="*/ 4976010 w 13768337"/>
              <a:gd name="connsiteY9759" fmla="*/ 594803 h 5071335"/>
              <a:gd name="connsiteX9760" fmla="*/ 4983426 w 13768337"/>
              <a:gd name="connsiteY9760" fmla="*/ 579334 h 5071335"/>
              <a:gd name="connsiteX9761" fmla="*/ 4961646 w 13768337"/>
              <a:gd name="connsiteY9761" fmla="*/ 576547 h 5071335"/>
              <a:gd name="connsiteX9762" fmla="*/ 4972305 w 13768337"/>
              <a:gd name="connsiteY9762" fmla="*/ 595361 h 5071335"/>
              <a:gd name="connsiteX9763" fmla="*/ 4844407 w 13768337"/>
              <a:gd name="connsiteY9763" fmla="*/ 613059 h 5071335"/>
              <a:gd name="connsiteX9764" fmla="*/ 4855529 w 13768337"/>
              <a:gd name="connsiteY9764" fmla="*/ 597172 h 5071335"/>
              <a:gd name="connsiteX9765" fmla="*/ 4824944 w 13768337"/>
              <a:gd name="connsiteY9765" fmla="*/ 614314 h 5071335"/>
              <a:gd name="connsiteX9766" fmla="*/ 4840236 w 13768337"/>
              <a:gd name="connsiteY9766" fmla="*/ 604140 h 5071335"/>
              <a:gd name="connsiteX9767" fmla="*/ 4790653 w 13768337"/>
              <a:gd name="connsiteY9767" fmla="*/ 607764 h 5071335"/>
              <a:gd name="connsiteX9768" fmla="*/ 4794823 w 13768337"/>
              <a:gd name="connsiteY9768" fmla="*/ 618216 h 5071335"/>
              <a:gd name="connsiteX9769" fmla="*/ 4718827 w 13768337"/>
              <a:gd name="connsiteY9769" fmla="*/ 620446 h 5071335"/>
              <a:gd name="connsiteX9770" fmla="*/ 4717900 w 13768337"/>
              <a:gd name="connsiteY9770" fmla="*/ 631734 h 5071335"/>
              <a:gd name="connsiteX9771" fmla="*/ 4717900 w 13768337"/>
              <a:gd name="connsiteY9771" fmla="*/ 625603 h 5071335"/>
              <a:gd name="connsiteX9772" fmla="*/ 4710022 w 13768337"/>
              <a:gd name="connsiteY9772" fmla="*/ 622815 h 5071335"/>
              <a:gd name="connsiteX9773" fmla="*/ 4697048 w 13768337"/>
              <a:gd name="connsiteY9773" fmla="*/ 636473 h 5071335"/>
              <a:gd name="connsiteX9774" fmla="*/ 4678975 w 13768337"/>
              <a:gd name="connsiteY9774" fmla="*/ 628808 h 5071335"/>
              <a:gd name="connsiteX9775" fmla="*/ 4672951 w 13768337"/>
              <a:gd name="connsiteY9775" fmla="*/ 648596 h 5071335"/>
              <a:gd name="connsiteX9776" fmla="*/ 4580736 w 13768337"/>
              <a:gd name="connsiteY9776" fmla="*/ 648596 h 5071335"/>
              <a:gd name="connsiteX9777" fmla="*/ 4632636 w 13768337"/>
              <a:gd name="connsiteY9777" fmla="*/ 613059 h 5071335"/>
              <a:gd name="connsiteX9778" fmla="*/ 4527445 w 13768337"/>
              <a:gd name="connsiteY9778" fmla="*/ 648040 h 5071335"/>
              <a:gd name="connsiteX9779" fmla="*/ 4278139 w 13768337"/>
              <a:gd name="connsiteY9779" fmla="*/ 657516 h 5071335"/>
              <a:gd name="connsiteX9780" fmla="*/ 4229482 w 13768337"/>
              <a:gd name="connsiteY9780" fmla="*/ 672010 h 5071335"/>
              <a:gd name="connsiteX9781" fmla="*/ 4231799 w 13768337"/>
              <a:gd name="connsiteY9781" fmla="*/ 656401 h 5071335"/>
              <a:gd name="connsiteX9782" fmla="*/ 4119195 w 13768337"/>
              <a:gd name="connsiteY9782" fmla="*/ 668664 h 5071335"/>
              <a:gd name="connsiteX9783" fmla="*/ 4153023 w 13768337"/>
              <a:gd name="connsiteY9783" fmla="*/ 670059 h 5071335"/>
              <a:gd name="connsiteX9784" fmla="*/ 4089075 w 13768337"/>
              <a:gd name="connsiteY9784" fmla="*/ 647203 h 5071335"/>
              <a:gd name="connsiteX9785" fmla="*/ 4110853 w 13768337"/>
              <a:gd name="connsiteY9785" fmla="*/ 609297 h 5071335"/>
              <a:gd name="connsiteX9786" fmla="*/ 4201680 w 13768337"/>
              <a:gd name="connsiteY9786" fmla="*/ 611109 h 5071335"/>
              <a:gd name="connsiteX9787" fmla="*/ 4190094 w 13768337"/>
              <a:gd name="connsiteY9787" fmla="*/ 626996 h 5071335"/>
              <a:gd name="connsiteX9788" fmla="*/ 4259603 w 13768337"/>
              <a:gd name="connsiteY9788" fmla="*/ 600935 h 5071335"/>
              <a:gd name="connsiteX9789" fmla="*/ 4367574 w 13768337"/>
              <a:gd name="connsiteY9789" fmla="*/ 599403 h 5071335"/>
              <a:gd name="connsiteX9790" fmla="*/ 4382866 w 13768337"/>
              <a:gd name="connsiteY9790" fmla="*/ 572784 h 5071335"/>
              <a:gd name="connsiteX9791" fmla="*/ 4480642 w 13768337"/>
              <a:gd name="connsiteY9791" fmla="*/ 593828 h 5071335"/>
              <a:gd name="connsiteX9792" fmla="*/ 4486204 w 13768337"/>
              <a:gd name="connsiteY9792" fmla="*/ 578359 h 5071335"/>
              <a:gd name="connsiteX9793" fmla="*/ 4718827 w 13768337"/>
              <a:gd name="connsiteY9793" fmla="*/ 555364 h 5071335"/>
              <a:gd name="connsiteX9794" fmla="*/ 4711412 w 13768337"/>
              <a:gd name="connsiteY9794" fmla="*/ 575572 h 5071335"/>
              <a:gd name="connsiteX9795" fmla="*/ 4758216 w 13768337"/>
              <a:gd name="connsiteY9795" fmla="*/ 537247 h 5071335"/>
              <a:gd name="connsiteX9796" fmla="*/ 4806873 w 13768337"/>
              <a:gd name="connsiteY9796" fmla="*/ 523311 h 5071335"/>
              <a:gd name="connsiteX9797" fmla="*/ 4886575 w 13768337"/>
              <a:gd name="connsiteY9797" fmla="*/ 519966 h 5071335"/>
              <a:gd name="connsiteX9798" fmla="*/ 4949598 w 13768337"/>
              <a:gd name="connsiteY9798" fmla="*/ 534320 h 5071335"/>
              <a:gd name="connsiteX9799" fmla="*/ 4953768 w 13768337"/>
              <a:gd name="connsiteY9799" fmla="*/ 518851 h 5071335"/>
              <a:gd name="connsiteX9800" fmla="*/ 4985279 w 13768337"/>
              <a:gd name="connsiteY9800" fmla="*/ 510490 h 5071335"/>
              <a:gd name="connsiteX9801" fmla="*/ 5016788 w 13768337"/>
              <a:gd name="connsiteY9801" fmla="*/ 532090 h 5071335"/>
              <a:gd name="connsiteX9802" fmla="*/ 5029764 w 13768337"/>
              <a:gd name="connsiteY9802" fmla="*/ 535435 h 5071335"/>
              <a:gd name="connsiteX9803" fmla="*/ 5056640 w 13768337"/>
              <a:gd name="connsiteY9803" fmla="*/ 518572 h 5071335"/>
              <a:gd name="connsiteX9804" fmla="*/ 5133563 w 13768337"/>
              <a:gd name="connsiteY9804" fmla="*/ 521221 h 5071335"/>
              <a:gd name="connsiteX9805" fmla="*/ 5155809 w 13768337"/>
              <a:gd name="connsiteY9805" fmla="*/ 494184 h 5071335"/>
              <a:gd name="connsiteX9806" fmla="*/ 5233195 w 13768337"/>
              <a:gd name="connsiteY9806" fmla="*/ 482059 h 5071335"/>
              <a:gd name="connsiteX9807" fmla="*/ 5222073 w 13768337"/>
              <a:gd name="connsiteY9807" fmla="*/ 497808 h 5071335"/>
              <a:gd name="connsiteX9808" fmla="*/ 5506597 w 13768337"/>
              <a:gd name="connsiteY9808" fmla="*/ 415445 h 5071335"/>
              <a:gd name="connsiteX9809" fmla="*/ 5488987 w 13768337"/>
              <a:gd name="connsiteY9809" fmla="*/ 397886 h 5071335"/>
              <a:gd name="connsiteX9810" fmla="*/ 5525132 w 13768337"/>
              <a:gd name="connsiteY9810" fmla="*/ 380047 h 5071335"/>
              <a:gd name="connsiteX9811" fmla="*/ 5517718 w 13768337"/>
              <a:gd name="connsiteY9811" fmla="*/ 395517 h 5071335"/>
              <a:gd name="connsiteX9812" fmla="*/ 5535792 w 13768337"/>
              <a:gd name="connsiteY9812" fmla="*/ 402903 h 5071335"/>
              <a:gd name="connsiteX9813" fmla="*/ 5538108 w 13768337"/>
              <a:gd name="connsiteY9813" fmla="*/ 389384 h 5071335"/>
              <a:gd name="connsiteX9814" fmla="*/ 5558960 w 13768337"/>
              <a:gd name="connsiteY9814" fmla="*/ 381859 h 5071335"/>
              <a:gd name="connsiteX9815" fmla="*/ 5563595 w 13768337"/>
              <a:gd name="connsiteY9815" fmla="*/ 396353 h 5071335"/>
              <a:gd name="connsiteX9816" fmla="*/ 5573788 w 13768337"/>
              <a:gd name="connsiteY9816" fmla="*/ 370153 h 5071335"/>
              <a:gd name="connsiteX9817" fmla="*/ 5583983 w 13768337"/>
              <a:gd name="connsiteY9817" fmla="*/ 384228 h 5071335"/>
              <a:gd name="connsiteX9818" fmla="*/ 5755439 w 13768337"/>
              <a:gd name="connsiteY9818" fmla="*/ 348134 h 5071335"/>
              <a:gd name="connsiteX9819" fmla="*/ 5773048 w 13768337"/>
              <a:gd name="connsiteY9819" fmla="*/ 351478 h 5071335"/>
              <a:gd name="connsiteX9820" fmla="*/ 5852288 w 13768337"/>
              <a:gd name="connsiteY9820" fmla="*/ 364440 h 5071335"/>
              <a:gd name="connsiteX9821" fmla="*/ 5895384 w 13768337"/>
              <a:gd name="connsiteY9821" fmla="*/ 352314 h 5071335"/>
              <a:gd name="connsiteX9822" fmla="*/ 5898165 w 13768337"/>
              <a:gd name="connsiteY9822" fmla="*/ 339772 h 5071335"/>
              <a:gd name="connsiteX9823" fmla="*/ 5898165 w 13768337"/>
              <a:gd name="connsiteY9823" fmla="*/ 351061 h 5071335"/>
              <a:gd name="connsiteX9824" fmla="*/ 5900946 w 13768337"/>
              <a:gd name="connsiteY9824" fmla="*/ 350085 h 5071335"/>
              <a:gd name="connsiteX9825" fmla="*/ 5900946 w 13768337"/>
              <a:gd name="connsiteY9825" fmla="*/ 350503 h 5071335"/>
              <a:gd name="connsiteX9826" fmla="*/ 5907433 w 13768337"/>
              <a:gd name="connsiteY9826" fmla="*/ 349109 h 5071335"/>
              <a:gd name="connsiteX9827" fmla="*/ 5941260 w 13768337"/>
              <a:gd name="connsiteY9827" fmla="*/ 332386 h 5071335"/>
              <a:gd name="connsiteX9828" fmla="*/ 5939869 w 13768337"/>
              <a:gd name="connsiteY9828" fmla="*/ 324720 h 5071335"/>
              <a:gd name="connsiteX9829" fmla="*/ 5986209 w 13768337"/>
              <a:gd name="connsiteY9829" fmla="*/ 308973 h 5071335"/>
              <a:gd name="connsiteX9830" fmla="*/ 5997794 w 13768337"/>
              <a:gd name="connsiteY9830" fmla="*/ 309809 h 5071335"/>
              <a:gd name="connsiteX9831" fmla="*/ 6001965 w 13768337"/>
              <a:gd name="connsiteY9831" fmla="*/ 305071 h 5071335"/>
              <a:gd name="connsiteX9832" fmla="*/ 6097423 w 13768337"/>
              <a:gd name="connsiteY9832" fmla="*/ 304235 h 5071335"/>
              <a:gd name="connsiteX9833" fmla="*/ 6099276 w 13768337"/>
              <a:gd name="connsiteY9833" fmla="*/ 302283 h 5071335"/>
              <a:gd name="connsiteX9834" fmla="*/ 6099741 w 13768337"/>
              <a:gd name="connsiteY9834" fmla="*/ 303677 h 5071335"/>
              <a:gd name="connsiteX9835" fmla="*/ 6106229 w 13768337"/>
              <a:gd name="connsiteY9835" fmla="*/ 301308 h 5071335"/>
              <a:gd name="connsiteX9836" fmla="*/ 6103911 w 13768337"/>
              <a:gd name="connsiteY9836" fmla="*/ 316777 h 5071335"/>
              <a:gd name="connsiteX9837" fmla="*/ 6104837 w 13768337"/>
              <a:gd name="connsiteY9837" fmla="*/ 318729 h 5071335"/>
              <a:gd name="connsiteX9838" fmla="*/ 6108082 w 13768337"/>
              <a:gd name="connsiteY9838" fmla="*/ 323466 h 5071335"/>
              <a:gd name="connsiteX9839" fmla="*/ 6116885 w 13768337"/>
              <a:gd name="connsiteY9839" fmla="*/ 324720 h 5071335"/>
              <a:gd name="connsiteX9840" fmla="*/ 6120593 w 13768337"/>
              <a:gd name="connsiteY9840" fmla="*/ 324720 h 5071335"/>
              <a:gd name="connsiteX9841" fmla="*/ 6122447 w 13768337"/>
              <a:gd name="connsiteY9841" fmla="*/ 300054 h 5071335"/>
              <a:gd name="connsiteX9842" fmla="*/ 6265636 w 13768337"/>
              <a:gd name="connsiteY9842" fmla="*/ 275247 h 5071335"/>
              <a:gd name="connsiteX9843" fmla="*/ 6273512 w 13768337"/>
              <a:gd name="connsiteY9843" fmla="*/ 255040 h 5071335"/>
              <a:gd name="connsiteX9844" fmla="*/ 6355534 w 13768337"/>
              <a:gd name="connsiteY9844" fmla="*/ 242915 h 5071335"/>
              <a:gd name="connsiteX9845" fmla="*/ 6363411 w 13768337"/>
              <a:gd name="connsiteY9845" fmla="*/ 253228 h 5071335"/>
              <a:gd name="connsiteX9846" fmla="*/ 6451920 w 13768337"/>
              <a:gd name="connsiteY9846" fmla="*/ 236366 h 5071335"/>
              <a:gd name="connsiteX9847" fmla="*/ 6507526 w 13768337"/>
              <a:gd name="connsiteY9847" fmla="*/ 240546 h 5071335"/>
              <a:gd name="connsiteX9848" fmla="*/ 6520501 w 13768337"/>
              <a:gd name="connsiteY9848" fmla="*/ 231349 h 5071335"/>
              <a:gd name="connsiteX9849" fmla="*/ 6536258 w 13768337"/>
              <a:gd name="connsiteY9849" fmla="*/ 245564 h 5071335"/>
              <a:gd name="connsiteX9850" fmla="*/ 6539502 w 13768337"/>
              <a:gd name="connsiteY9850" fmla="*/ 236366 h 5071335"/>
              <a:gd name="connsiteX9851" fmla="*/ 6563598 w 13768337"/>
              <a:gd name="connsiteY9851" fmla="*/ 242915 h 5071335"/>
              <a:gd name="connsiteX9852" fmla="*/ 6655350 w 13768337"/>
              <a:gd name="connsiteY9852" fmla="*/ 233439 h 5071335"/>
              <a:gd name="connsiteX9853" fmla="*/ 6673422 w 13768337"/>
              <a:gd name="connsiteY9853" fmla="*/ 214765 h 5071335"/>
              <a:gd name="connsiteX9854" fmla="*/ 6668788 w 13768337"/>
              <a:gd name="connsiteY9854" fmla="*/ 232185 h 5071335"/>
              <a:gd name="connsiteX9855" fmla="*/ 6756370 w 13768337"/>
              <a:gd name="connsiteY9855" fmla="*/ 228422 h 5071335"/>
              <a:gd name="connsiteX9856" fmla="*/ 6798539 w 13768337"/>
              <a:gd name="connsiteY9856" fmla="*/ 212117 h 5071335"/>
              <a:gd name="connsiteX9857" fmla="*/ 6800391 w 13768337"/>
              <a:gd name="connsiteY9857" fmla="*/ 223265 h 5071335"/>
              <a:gd name="connsiteX9858" fmla="*/ 6805488 w 13768337"/>
              <a:gd name="connsiteY9858" fmla="*/ 222430 h 5071335"/>
              <a:gd name="connsiteX9859" fmla="*/ 6817537 w 13768337"/>
              <a:gd name="connsiteY9859" fmla="*/ 204591 h 5071335"/>
              <a:gd name="connsiteX9860" fmla="*/ 6848121 w 13768337"/>
              <a:gd name="connsiteY9860" fmla="*/ 206821 h 5071335"/>
              <a:gd name="connsiteX9861" fmla="*/ 6847196 w 13768337"/>
              <a:gd name="connsiteY9861" fmla="*/ 220339 h 5071335"/>
              <a:gd name="connsiteX9862" fmla="*/ 6855072 w 13768337"/>
              <a:gd name="connsiteY9862" fmla="*/ 220339 h 5071335"/>
              <a:gd name="connsiteX9863" fmla="*/ 6881022 w 13768337"/>
              <a:gd name="connsiteY9863" fmla="*/ 199854 h 5071335"/>
              <a:gd name="connsiteX9864" fmla="*/ 6901410 w 13768337"/>
              <a:gd name="connsiteY9864" fmla="*/ 207378 h 5071335"/>
              <a:gd name="connsiteX9865" fmla="*/ 6915776 w 13768337"/>
              <a:gd name="connsiteY9865" fmla="*/ 216158 h 5071335"/>
              <a:gd name="connsiteX9866" fmla="*/ 6946825 w 13768337"/>
              <a:gd name="connsiteY9866" fmla="*/ 206821 h 5071335"/>
              <a:gd name="connsiteX9867" fmla="*/ 6950067 w 13768337"/>
              <a:gd name="connsiteY9867" fmla="*/ 226889 h 5071335"/>
              <a:gd name="connsiteX9868" fmla="*/ 6958409 w 13768337"/>
              <a:gd name="connsiteY9868" fmla="*/ 221315 h 5071335"/>
              <a:gd name="connsiteX9869" fmla="*/ 6957018 w 13768337"/>
              <a:gd name="connsiteY9869" fmla="*/ 216158 h 5071335"/>
              <a:gd name="connsiteX9870" fmla="*/ 6959336 w 13768337"/>
              <a:gd name="connsiteY9870" fmla="*/ 216158 h 5071335"/>
              <a:gd name="connsiteX9871" fmla="*/ 6959336 w 13768337"/>
              <a:gd name="connsiteY9871" fmla="*/ 205567 h 5071335"/>
              <a:gd name="connsiteX9872" fmla="*/ 6968140 w 13768337"/>
              <a:gd name="connsiteY9872" fmla="*/ 216715 h 5071335"/>
              <a:gd name="connsiteX9873" fmla="*/ 6974627 w 13768337"/>
              <a:gd name="connsiteY9873" fmla="*/ 217134 h 5071335"/>
              <a:gd name="connsiteX9874" fmla="*/ 6986675 w 13768337"/>
              <a:gd name="connsiteY9874" fmla="*/ 218109 h 5071335"/>
              <a:gd name="connsiteX9875" fmla="*/ 6989457 w 13768337"/>
              <a:gd name="connsiteY9875" fmla="*/ 218109 h 5071335"/>
              <a:gd name="connsiteX9876" fmla="*/ 6975091 w 13768337"/>
              <a:gd name="connsiteY9876" fmla="*/ 200271 h 5071335"/>
              <a:gd name="connsiteX9877" fmla="*/ 7010772 w 13768337"/>
              <a:gd name="connsiteY9877" fmla="*/ 221315 h 5071335"/>
              <a:gd name="connsiteX9878" fmla="*/ 7016796 w 13768337"/>
              <a:gd name="connsiteY9878" fmla="*/ 223684 h 5071335"/>
              <a:gd name="connsiteX9879" fmla="*/ 7020041 w 13768337"/>
              <a:gd name="connsiteY9879" fmla="*/ 208215 h 5071335"/>
              <a:gd name="connsiteX9880" fmla="*/ 7107622 w 13768337"/>
              <a:gd name="connsiteY9880" fmla="*/ 213510 h 5071335"/>
              <a:gd name="connsiteX9881" fmla="*/ 7109475 w 13768337"/>
              <a:gd name="connsiteY9881" fmla="*/ 225635 h 5071335"/>
              <a:gd name="connsiteX9882" fmla="*/ 7126620 w 13768337"/>
              <a:gd name="connsiteY9882" fmla="*/ 212117 h 5071335"/>
              <a:gd name="connsiteX9883" fmla="*/ 7144693 w 13768337"/>
              <a:gd name="connsiteY9883" fmla="*/ 221872 h 5071335"/>
              <a:gd name="connsiteX9884" fmla="*/ 7176204 w 13768337"/>
              <a:gd name="connsiteY9884" fmla="*/ 200271 h 5071335"/>
              <a:gd name="connsiteX9885" fmla="*/ 7189179 w 13768337"/>
              <a:gd name="connsiteY9885" fmla="*/ 212395 h 5071335"/>
              <a:gd name="connsiteX9886" fmla="*/ 7243395 w 13768337"/>
              <a:gd name="connsiteY9886" fmla="*/ 159578 h 5071335"/>
              <a:gd name="connsiteX9887" fmla="*/ 7268420 w 13768337"/>
              <a:gd name="connsiteY9887" fmla="*/ 146060 h 5071335"/>
              <a:gd name="connsiteX9888" fmla="*/ 7281395 w 13768337"/>
              <a:gd name="connsiteY9888" fmla="*/ 153028 h 5071335"/>
              <a:gd name="connsiteX9889" fmla="*/ 7280467 w 13768337"/>
              <a:gd name="connsiteY9889" fmla="*/ 137976 h 5071335"/>
              <a:gd name="connsiteX9890" fmla="*/ 7250810 w 13768337"/>
              <a:gd name="connsiteY9890" fmla="*/ 141879 h 5071335"/>
              <a:gd name="connsiteX9891" fmla="*/ 7254054 w 13768337"/>
              <a:gd name="connsiteY9891" fmla="*/ 129614 h 5071335"/>
              <a:gd name="connsiteX9892" fmla="*/ 7295296 w 13768337"/>
              <a:gd name="connsiteY9892" fmla="*/ 127246 h 5071335"/>
              <a:gd name="connsiteX9893" fmla="*/ 7299004 w 13768337"/>
              <a:gd name="connsiteY9893" fmla="*/ 119302 h 5071335"/>
              <a:gd name="connsiteX9894" fmla="*/ 7388440 w 13768337"/>
              <a:gd name="connsiteY9894" fmla="*/ 99234 h 5071335"/>
              <a:gd name="connsiteX9895" fmla="*/ 7399560 w 13768337"/>
              <a:gd name="connsiteY9895" fmla="*/ 111359 h 5071335"/>
              <a:gd name="connsiteX9896" fmla="*/ 7555723 w 13768337"/>
              <a:gd name="connsiteY9896" fmla="*/ 105923 h 5071335"/>
              <a:gd name="connsiteX9897" fmla="*/ 7576113 w 13768337"/>
              <a:gd name="connsiteY9897" fmla="*/ 115121 h 5071335"/>
              <a:gd name="connsiteX9898" fmla="*/ 7573333 w 13768337"/>
              <a:gd name="connsiteY9898" fmla="*/ 111359 h 5071335"/>
              <a:gd name="connsiteX9899" fmla="*/ 7631256 w 13768337"/>
              <a:gd name="connsiteY9899" fmla="*/ 109547 h 5071335"/>
              <a:gd name="connsiteX9900" fmla="*/ 7612258 w 13768337"/>
              <a:gd name="connsiteY9900" fmla="*/ 127804 h 5071335"/>
              <a:gd name="connsiteX9901" fmla="*/ 7690108 w 13768337"/>
              <a:gd name="connsiteY9901" fmla="*/ 142436 h 5071335"/>
              <a:gd name="connsiteX9902" fmla="*/ 7690108 w 13768337"/>
              <a:gd name="connsiteY9902" fmla="*/ 154560 h 5071335"/>
              <a:gd name="connsiteX9903" fmla="*/ 7728569 w 13768337"/>
              <a:gd name="connsiteY9903" fmla="*/ 147454 h 5071335"/>
              <a:gd name="connsiteX9904" fmla="*/ 7755446 w 13768337"/>
              <a:gd name="connsiteY9904" fmla="*/ 153028 h 5071335"/>
              <a:gd name="connsiteX9905" fmla="*/ 7758691 w 13768337"/>
              <a:gd name="connsiteY9905" fmla="*/ 173235 h 5071335"/>
              <a:gd name="connsiteX9906" fmla="*/ 7774446 w 13768337"/>
              <a:gd name="connsiteY9906" fmla="*/ 163758 h 5071335"/>
              <a:gd name="connsiteX9907" fmla="*/ 7807809 w 13768337"/>
              <a:gd name="connsiteY9907" fmla="*/ 185360 h 5071335"/>
              <a:gd name="connsiteX9908" fmla="*/ 7830516 w 13768337"/>
              <a:gd name="connsiteY9908" fmla="*/ 177415 h 5071335"/>
              <a:gd name="connsiteX9909" fmla="*/ 7870831 w 13768337"/>
              <a:gd name="connsiteY9909" fmla="*/ 173235 h 5071335"/>
              <a:gd name="connsiteX9910" fmla="*/ 7934316 w 13768337"/>
              <a:gd name="connsiteY9910" fmla="*/ 171702 h 5071335"/>
              <a:gd name="connsiteX9911" fmla="*/ 7937560 w 13768337"/>
              <a:gd name="connsiteY9911" fmla="*/ 160134 h 5071335"/>
              <a:gd name="connsiteX9912" fmla="*/ 8023751 w 13768337"/>
              <a:gd name="connsiteY9912" fmla="*/ 145084 h 5071335"/>
              <a:gd name="connsiteX9913" fmla="*/ 8044141 w 13768337"/>
              <a:gd name="connsiteY9913" fmla="*/ 163758 h 5071335"/>
              <a:gd name="connsiteX9914" fmla="*/ 8073335 w 13768337"/>
              <a:gd name="connsiteY9914" fmla="*/ 149265 h 5071335"/>
              <a:gd name="connsiteX9915" fmla="*/ 8098357 w 13768337"/>
              <a:gd name="connsiteY9915" fmla="*/ 162504 h 5071335"/>
              <a:gd name="connsiteX9916" fmla="*/ 8143307 w 13768337"/>
              <a:gd name="connsiteY9916" fmla="*/ 155814 h 5071335"/>
              <a:gd name="connsiteX9917" fmla="*/ 8167403 w 13768337"/>
              <a:gd name="connsiteY9917" fmla="*/ 165291 h 5071335"/>
              <a:gd name="connsiteX9918" fmla="*/ 8192890 w 13768337"/>
              <a:gd name="connsiteY9918" fmla="*/ 155814 h 5071335"/>
              <a:gd name="connsiteX9919" fmla="*/ 8226254 w 13768337"/>
              <a:gd name="connsiteY9919" fmla="*/ 169472 h 5071335"/>
              <a:gd name="connsiteX9920" fmla="*/ 8299934 w 13768337"/>
              <a:gd name="connsiteY9920" fmla="*/ 166684 h 5071335"/>
              <a:gd name="connsiteX9921" fmla="*/ 8304569 w 13768337"/>
              <a:gd name="connsiteY9921" fmla="*/ 186892 h 5071335"/>
              <a:gd name="connsiteX9922" fmla="*/ 8368516 w 13768337"/>
              <a:gd name="connsiteY9922" fmla="*/ 181597 h 5071335"/>
              <a:gd name="connsiteX9923" fmla="*/ 8354150 w 13768337"/>
              <a:gd name="connsiteY9923" fmla="*/ 158741 h 5071335"/>
              <a:gd name="connsiteX9924" fmla="*/ 8438951 w 13768337"/>
              <a:gd name="connsiteY9924" fmla="*/ 167939 h 5071335"/>
              <a:gd name="connsiteX9925" fmla="*/ 8411612 w 13768337"/>
              <a:gd name="connsiteY9925" fmla="*/ 141322 h 5071335"/>
              <a:gd name="connsiteX9926" fmla="*/ 8360174 w 13768337"/>
              <a:gd name="connsiteY9926" fmla="*/ 153028 h 5071335"/>
              <a:gd name="connsiteX9927" fmla="*/ 8520046 w 13768337"/>
              <a:gd name="connsiteY9927" fmla="*/ 112752 h 5071335"/>
              <a:gd name="connsiteX9928" fmla="*/ 8425513 w 13768337"/>
              <a:gd name="connsiteY9928" fmla="*/ 87527 h 5071335"/>
              <a:gd name="connsiteX9929" fmla="*/ 8387053 w 13768337"/>
              <a:gd name="connsiteY9929" fmla="*/ 107736 h 5071335"/>
              <a:gd name="connsiteX9930" fmla="*/ 8379637 w 13768337"/>
              <a:gd name="connsiteY9930" fmla="*/ 83347 h 5071335"/>
              <a:gd name="connsiteX9931" fmla="*/ 8307811 w 13768337"/>
              <a:gd name="connsiteY9931" fmla="*/ 114286 h 5071335"/>
              <a:gd name="connsiteX9932" fmla="*/ 8273985 w 13768337"/>
              <a:gd name="connsiteY9932" fmla="*/ 109129 h 5071335"/>
              <a:gd name="connsiteX9933" fmla="*/ 8283716 w 13768337"/>
              <a:gd name="connsiteY9933" fmla="*/ 99792 h 5071335"/>
              <a:gd name="connsiteX9934" fmla="*/ 8242009 w 13768337"/>
              <a:gd name="connsiteY9934" fmla="*/ 107736 h 5071335"/>
              <a:gd name="connsiteX9935" fmla="*/ 8181769 w 13768337"/>
              <a:gd name="connsiteY9935" fmla="*/ 115679 h 5071335"/>
              <a:gd name="connsiteX9936" fmla="*/ 8094187 w 13768337"/>
              <a:gd name="connsiteY9936" fmla="*/ 119860 h 5071335"/>
              <a:gd name="connsiteX9937" fmla="*/ 8085846 w 13768337"/>
              <a:gd name="connsiteY9937" fmla="*/ 103554 h 5071335"/>
              <a:gd name="connsiteX9938" fmla="*/ 7996410 w 13768337"/>
              <a:gd name="connsiteY9938" fmla="*/ 103554 h 5071335"/>
              <a:gd name="connsiteX9939" fmla="*/ 8070091 w 13768337"/>
              <a:gd name="connsiteY9939" fmla="*/ 80978 h 5071335"/>
              <a:gd name="connsiteX9940" fmla="*/ 8062214 w 13768337"/>
              <a:gd name="connsiteY9940" fmla="*/ 70386 h 5071335"/>
              <a:gd name="connsiteX9941" fmla="*/ 8039507 w 13768337"/>
              <a:gd name="connsiteY9941" fmla="*/ 67460 h 5071335"/>
              <a:gd name="connsiteX9942" fmla="*/ 7997802 w 13768337"/>
              <a:gd name="connsiteY9942" fmla="*/ 75404 h 5071335"/>
              <a:gd name="connsiteX9943" fmla="*/ 7957022 w 13768337"/>
              <a:gd name="connsiteY9943" fmla="*/ 106202 h 5071335"/>
              <a:gd name="connsiteX9944" fmla="*/ 7940804 w 13768337"/>
              <a:gd name="connsiteY9944" fmla="*/ 91430 h 5071335"/>
              <a:gd name="connsiteX9945" fmla="*/ 8090943 w 13768337"/>
              <a:gd name="connsiteY9945" fmla="*/ 51433 h 5071335"/>
              <a:gd name="connsiteX9946" fmla="*/ 8116430 w 13768337"/>
              <a:gd name="connsiteY9946" fmla="*/ 52548 h 5071335"/>
              <a:gd name="connsiteX9947" fmla="*/ 8136820 w 13768337"/>
              <a:gd name="connsiteY9947" fmla="*/ 71641 h 5071335"/>
              <a:gd name="connsiteX9948" fmla="*/ 8149331 w 13768337"/>
              <a:gd name="connsiteY9948" fmla="*/ 53802 h 5071335"/>
              <a:gd name="connsiteX9949" fmla="*/ 8159527 w 13768337"/>
              <a:gd name="connsiteY9949" fmla="*/ 65926 h 5071335"/>
              <a:gd name="connsiteX9950" fmla="*/ 8178525 w 13768337"/>
              <a:gd name="connsiteY9950" fmla="*/ 47252 h 5071335"/>
              <a:gd name="connsiteX9951" fmla="*/ 8184549 w 13768337"/>
              <a:gd name="connsiteY9951" fmla="*/ 55336 h 5071335"/>
              <a:gd name="connsiteX9952" fmla="*/ 8293447 w 13768337"/>
              <a:gd name="connsiteY9952" fmla="*/ 38055 h 5071335"/>
              <a:gd name="connsiteX9953" fmla="*/ 8387053 w 13768337"/>
              <a:gd name="connsiteY9953" fmla="*/ 39308 h 5071335"/>
              <a:gd name="connsiteX9954" fmla="*/ 8432000 w 13768337"/>
              <a:gd name="connsiteY9954" fmla="*/ 35128 h 5071335"/>
              <a:gd name="connsiteX9955" fmla="*/ 8448220 w 13768337"/>
              <a:gd name="connsiteY9955" fmla="*/ 21470 h 5071335"/>
              <a:gd name="connsiteX9956" fmla="*/ 8441268 w 13768337"/>
              <a:gd name="connsiteY9956" fmla="*/ 9903 h 5071335"/>
              <a:gd name="connsiteX9957" fmla="*/ 8463975 w 13768337"/>
              <a:gd name="connsiteY9957" fmla="*/ 12273 h 5071335"/>
              <a:gd name="connsiteX9958" fmla="*/ 8599749 w 13768337"/>
              <a:gd name="connsiteY9958" fmla="*/ 13667 h 5071335"/>
              <a:gd name="connsiteX9959" fmla="*/ 8587238 w 13768337"/>
              <a:gd name="connsiteY9959" fmla="*/ 21470 h 5071335"/>
              <a:gd name="connsiteX9960" fmla="*/ 8583531 w 13768337"/>
              <a:gd name="connsiteY9960" fmla="*/ 31505 h 5071335"/>
              <a:gd name="connsiteX9961" fmla="*/ 8591872 w 13768337"/>
              <a:gd name="connsiteY9961" fmla="*/ 30112 h 5071335"/>
              <a:gd name="connsiteX9962" fmla="*/ 8595117 w 13768337"/>
              <a:gd name="connsiteY9962" fmla="*/ 45858 h 5071335"/>
              <a:gd name="connsiteX9963" fmla="*/ 8679916 w 13768337"/>
              <a:gd name="connsiteY9963" fmla="*/ 39308 h 5071335"/>
              <a:gd name="connsiteX9964" fmla="*/ 8671112 w 13768337"/>
              <a:gd name="connsiteY9964" fmla="*/ 35128 h 5071335"/>
              <a:gd name="connsiteX9965" fmla="*/ 8673892 w 13768337"/>
              <a:gd name="connsiteY9965" fmla="*/ 34292 h 5071335"/>
              <a:gd name="connsiteX9966" fmla="*/ 8692892 w 13768337"/>
              <a:gd name="connsiteY9966" fmla="*/ 17011 h 5071335"/>
              <a:gd name="connsiteX9967" fmla="*/ 8694745 w 13768337"/>
              <a:gd name="connsiteY9967" fmla="*/ 26208 h 5071335"/>
              <a:gd name="connsiteX9968" fmla="*/ 8768888 w 13768337"/>
              <a:gd name="connsiteY9968" fmla="*/ 23004 h 5071335"/>
              <a:gd name="connsiteX9969" fmla="*/ 8780009 w 13768337"/>
              <a:gd name="connsiteY9969" fmla="*/ 6976 h 5071335"/>
              <a:gd name="connsiteX9970" fmla="*/ 8826813 w 13768337"/>
              <a:gd name="connsiteY9970" fmla="*/ 6837 h 5071335"/>
              <a:gd name="connsiteX9971" fmla="*/ 8841641 w 13768337"/>
              <a:gd name="connsiteY9971" fmla="*/ 9345 h 5071335"/>
              <a:gd name="connsiteX9972" fmla="*/ 8834691 w 13768337"/>
              <a:gd name="connsiteY9972" fmla="*/ 14920 h 5071335"/>
              <a:gd name="connsiteX9973" fmla="*/ 8838398 w 13768337"/>
              <a:gd name="connsiteY9973" fmla="*/ 17289 h 5071335"/>
              <a:gd name="connsiteX9974" fmla="*/ 8834691 w 13768337"/>
              <a:gd name="connsiteY9974" fmla="*/ 18823 h 5071335"/>
              <a:gd name="connsiteX9975" fmla="*/ 8816619 w 13768337"/>
              <a:gd name="connsiteY9975" fmla="*/ 26766 h 5071335"/>
              <a:gd name="connsiteX9976" fmla="*/ 8820326 w 13768337"/>
              <a:gd name="connsiteY9976" fmla="*/ 6976 h 5071335"/>
              <a:gd name="connsiteX9977" fmla="*/ 8826813 w 13768337"/>
              <a:gd name="connsiteY9977" fmla="*/ 6837 h 5071335"/>
              <a:gd name="connsiteX9978" fmla="*/ 5769342 w 13768337"/>
              <a:gd name="connsiteY9978" fmla="*/ 148 h 5071335"/>
              <a:gd name="connsiteX9979" fmla="*/ 5782779 w 13768337"/>
              <a:gd name="connsiteY9979" fmla="*/ 6698 h 5071335"/>
              <a:gd name="connsiteX9980" fmla="*/ 5778609 w 13768337"/>
              <a:gd name="connsiteY9980" fmla="*/ 26766 h 5071335"/>
              <a:gd name="connsiteX9981" fmla="*/ 5778609 w 13768337"/>
              <a:gd name="connsiteY9981" fmla="*/ 14642 h 5071335"/>
              <a:gd name="connsiteX9982" fmla="*/ 5768414 w 13768337"/>
              <a:gd name="connsiteY9982" fmla="*/ 8092 h 5071335"/>
              <a:gd name="connsiteX9983" fmla="*/ 5769342 w 13768337"/>
              <a:gd name="connsiteY9983" fmla="*/ 148 h 5071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</a:cxnLst>
            <a:rect l="l" t="t" r="r" b="b"/>
            <a:pathLst>
              <a:path w="13768337" h="5071335">
                <a:moveTo>
                  <a:pt x="7822922" y="5025764"/>
                </a:moveTo>
                <a:cubicBezTo>
                  <a:pt x="7819679" y="5031060"/>
                  <a:pt x="7817825" y="5037749"/>
                  <a:pt x="7819679" y="5045554"/>
                </a:cubicBezTo>
                <a:cubicBezTo>
                  <a:pt x="7809020" y="5049456"/>
                  <a:pt x="7809020" y="5040677"/>
                  <a:pt x="7798362" y="5044718"/>
                </a:cubicBezTo>
                <a:cubicBezTo>
                  <a:pt x="7798362" y="5040677"/>
                  <a:pt x="7801607" y="5040398"/>
                  <a:pt x="7805313" y="5039004"/>
                </a:cubicBezTo>
                <a:cubicBezTo>
                  <a:pt x="7805313" y="5036356"/>
                  <a:pt x="7803924" y="5036495"/>
                  <a:pt x="7802070" y="5035241"/>
                </a:cubicBezTo>
                <a:cubicBezTo>
                  <a:pt x="7802070" y="5031339"/>
                  <a:pt x="7805313" y="5033848"/>
                  <a:pt x="7805313" y="5035241"/>
                </a:cubicBezTo>
                <a:cubicBezTo>
                  <a:pt x="7815971" y="5037888"/>
                  <a:pt x="7810873" y="5024511"/>
                  <a:pt x="7822922" y="5025764"/>
                </a:cubicBezTo>
                <a:close/>
                <a:moveTo>
                  <a:pt x="7825703" y="5018100"/>
                </a:moveTo>
                <a:cubicBezTo>
                  <a:pt x="7826165" y="5018657"/>
                  <a:pt x="7826629" y="5019633"/>
                  <a:pt x="7827093" y="5020330"/>
                </a:cubicBezTo>
                <a:cubicBezTo>
                  <a:pt x="7826629" y="5020747"/>
                  <a:pt x="7826629" y="5020886"/>
                  <a:pt x="7826629" y="5021305"/>
                </a:cubicBezTo>
                <a:cubicBezTo>
                  <a:pt x="7825703" y="5020469"/>
                  <a:pt x="7825703" y="5019214"/>
                  <a:pt x="7825703" y="5018100"/>
                </a:cubicBezTo>
                <a:close/>
                <a:moveTo>
                  <a:pt x="9492066" y="5013222"/>
                </a:moveTo>
                <a:cubicBezTo>
                  <a:pt x="9487433" y="5013780"/>
                  <a:pt x="9483262" y="5019076"/>
                  <a:pt x="9485579" y="5027855"/>
                </a:cubicBezTo>
                <a:lnTo>
                  <a:pt x="9500871" y="5026879"/>
                </a:lnTo>
                <a:cubicBezTo>
                  <a:pt x="9502261" y="5017124"/>
                  <a:pt x="9497164" y="5012664"/>
                  <a:pt x="9492066" y="5013222"/>
                </a:cubicBezTo>
                <a:close/>
                <a:moveTo>
                  <a:pt x="9631547" y="5005836"/>
                </a:moveTo>
                <a:cubicBezTo>
                  <a:pt x="9632010" y="5005836"/>
                  <a:pt x="9632475" y="5005697"/>
                  <a:pt x="9632475" y="5005836"/>
                </a:cubicBezTo>
                <a:cubicBezTo>
                  <a:pt x="9632010" y="5005836"/>
                  <a:pt x="9632010" y="5006114"/>
                  <a:pt x="9631547" y="5006254"/>
                </a:cubicBezTo>
                <a:cubicBezTo>
                  <a:pt x="9631547" y="5006114"/>
                  <a:pt x="9631547" y="5005975"/>
                  <a:pt x="9631547" y="5005836"/>
                </a:cubicBezTo>
                <a:close/>
                <a:moveTo>
                  <a:pt x="9469823" y="4993990"/>
                </a:moveTo>
                <a:cubicBezTo>
                  <a:pt x="9469360" y="4994408"/>
                  <a:pt x="9468896" y="4994547"/>
                  <a:pt x="9468896" y="4994966"/>
                </a:cubicBezTo>
                <a:cubicBezTo>
                  <a:pt x="9469360" y="4994966"/>
                  <a:pt x="9469360" y="4994966"/>
                  <a:pt x="9469823" y="4994966"/>
                </a:cubicBezTo>
                <a:cubicBezTo>
                  <a:pt x="9469823" y="4994686"/>
                  <a:pt x="9469823" y="4994269"/>
                  <a:pt x="9469823" y="4993990"/>
                </a:cubicBezTo>
                <a:close/>
                <a:moveTo>
                  <a:pt x="10393367" y="4992178"/>
                </a:moveTo>
                <a:cubicBezTo>
                  <a:pt x="10390587" y="4992876"/>
                  <a:pt x="10388733" y="4995245"/>
                  <a:pt x="10386880" y="5000261"/>
                </a:cubicBezTo>
                <a:cubicBezTo>
                  <a:pt x="10398929" y="4994827"/>
                  <a:pt x="10393367" y="5016010"/>
                  <a:pt x="10403564" y="5013640"/>
                </a:cubicBezTo>
                <a:cubicBezTo>
                  <a:pt x="10400782" y="5000401"/>
                  <a:pt x="10427196" y="5016148"/>
                  <a:pt x="10423951" y="5001516"/>
                </a:cubicBezTo>
                <a:cubicBezTo>
                  <a:pt x="10412368" y="5002351"/>
                  <a:pt x="10401246" y="4990088"/>
                  <a:pt x="10393367" y="4992178"/>
                </a:cubicBezTo>
                <a:close/>
                <a:moveTo>
                  <a:pt x="8399848" y="4991620"/>
                </a:moveTo>
                <a:cubicBezTo>
                  <a:pt x="8398456" y="4991343"/>
                  <a:pt x="8396603" y="4991481"/>
                  <a:pt x="8394749" y="4992178"/>
                </a:cubicBezTo>
                <a:cubicBezTo>
                  <a:pt x="8391506" y="4993572"/>
                  <a:pt x="8389189" y="4996917"/>
                  <a:pt x="8388262" y="5000261"/>
                </a:cubicBezTo>
                <a:cubicBezTo>
                  <a:pt x="8393359" y="5005557"/>
                  <a:pt x="8404480" y="5005278"/>
                  <a:pt x="8404480" y="4994547"/>
                </a:cubicBezTo>
                <a:cubicBezTo>
                  <a:pt x="8403090" y="4992876"/>
                  <a:pt x="8401701" y="4992039"/>
                  <a:pt x="8399848" y="4991620"/>
                </a:cubicBezTo>
                <a:close/>
                <a:moveTo>
                  <a:pt x="7866481" y="4990367"/>
                </a:moveTo>
                <a:cubicBezTo>
                  <a:pt x="7857213" y="4989112"/>
                  <a:pt x="7831726" y="4998450"/>
                  <a:pt x="7833117" y="5021305"/>
                </a:cubicBezTo>
                <a:cubicBezTo>
                  <a:pt x="7836361" y="5014477"/>
                  <a:pt x="7856750" y="5001377"/>
                  <a:pt x="7861383" y="5006672"/>
                </a:cubicBezTo>
                <a:cubicBezTo>
                  <a:pt x="7852116" y="4997335"/>
                  <a:pt x="7866481" y="4999843"/>
                  <a:pt x="7866481" y="4990367"/>
                </a:cubicBezTo>
                <a:close/>
                <a:moveTo>
                  <a:pt x="7727464" y="4987440"/>
                </a:moveTo>
                <a:cubicBezTo>
                  <a:pt x="7726073" y="5002770"/>
                  <a:pt x="7736268" y="5009598"/>
                  <a:pt x="7749243" y="5015034"/>
                </a:cubicBezTo>
                <a:cubicBezTo>
                  <a:pt x="7747853" y="5024789"/>
                  <a:pt x="7726073" y="5001377"/>
                  <a:pt x="7726073" y="5020747"/>
                </a:cubicBezTo>
                <a:cubicBezTo>
                  <a:pt x="7714488" y="5016567"/>
                  <a:pt x="7726073" y="5003745"/>
                  <a:pt x="7717732" y="4999704"/>
                </a:cubicBezTo>
                <a:cubicBezTo>
                  <a:pt x="7716341" y="4991343"/>
                  <a:pt x="7727464" y="4995801"/>
                  <a:pt x="7727464" y="4987440"/>
                </a:cubicBezTo>
                <a:close/>
                <a:moveTo>
                  <a:pt x="9490675" y="4984235"/>
                </a:moveTo>
                <a:cubicBezTo>
                  <a:pt x="9487433" y="4986604"/>
                  <a:pt x="9483726" y="4989948"/>
                  <a:pt x="9480017" y="4993154"/>
                </a:cubicBezTo>
                <a:cubicBezTo>
                  <a:pt x="9486041" y="4991481"/>
                  <a:pt x="9490675" y="4989112"/>
                  <a:pt x="9492530" y="4984235"/>
                </a:cubicBezTo>
                <a:cubicBezTo>
                  <a:pt x="9492530" y="4983677"/>
                  <a:pt x="9491140" y="4984653"/>
                  <a:pt x="9490675" y="4984235"/>
                </a:cubicBezTo>
                <a:close/>
                <a:moveTo>
                  <a:pt x="7826629" y="4981030"/>
                </a:moveTo>
                <a:cubicBezTo>
                  <a:pt x="7818288" y="4983677"/>
                  <a:pt x="7814118" y="4990506"/>
                  <a:pt x="7809020" y="4994547"/>
                </a:cubicBezTo>
                <a:cubicBezTo>
                  <a:pt x="7817362" y="4990506"/>
                  <a:pt x="7815508" y="5002491"/>
                  <a:pt x="7821995" y="5001098"/>
                </a:cubicBezTo>
                <a:cubicBezTo>
                  <a:pt x="7816898" y="4986325"/>
                  <a:pt x="7829410" y="4993014"/>
                  <a:pt x="7826629" y="4981030"/>
                </a:cubicBezTo>
                <a:close/>
                <a:moveTo>
                  <a:pt x="7983718" y="4977406"/>
                </a:moveTo>
                <a:cubicBezTo>
                  <a:pt x="7982793" y="4977267"/>
                  <a:pt x="7981403" y="4978243"/>
                  <a:pt x="7980011" y="4981030"/>
                </a:cubicBezTo>
                <a:cubicBezTo>
                  <a:pt x="7976769" y="4995801"/>
                  <a:pt x="7995767" y="4995801"/>
                  <a:pt x="7995767" y="4983677"/>
                </a:cubicBezTo>
                <a:cubicBezTo>
                  <a:pt x="7991135" y="4985071"/>
                  <a:pt x="7988352" y="4981866"/>
                  <a:pt x="7986500" y="4979497"/>
                </a:cubicBezTo>
                <a:cubicBezTo>
                  <a:pt x="7985573" y="4978382"/>
                  <a:pt x="7984646" y="4977406"/>
                  <a:pt x="7983718" y="4977406"/>
                </a:cubicBezTo>
                <a:close/>
                <a:moveTo>
                  <a:pt x="7939697" y="4975874"/>
                </a:moveTo>
                <a:cubicBezTo>
                  <a:pt x="7936917" y="4975316"/>
                  <a:pt x="7935527" y="4976431"/>
                  <a:pt x="7936917" y="4980054"/>
                </a:cubicBezTo>
                <a:lnTo>
                  <a:pt x="7942941" y="4980054"/>
                </a:lnTo>
                <a:cubicBezTo>
                  <a:pt x="7938306" y="4988137"/>
                  <a:pt x="7944793" y="4985071"/>
                  <a:pt x="7944793" y="4995801"/>
                </a:cubicBezTo>
                <a:cubicBezTo>
                  <a:pt x="7964256" y="4993851"/>
                  <a:pt x="7947110" y="4977685"/>
                  <a:pt x="7939697" y="4975874"/>
                </a:cubicBezTo>
                <a:close/>
                <a:moveTo>
                  <a:pt x="9391046" y="4973504"/>
                </a:moveTo>
                <a:cubicBezTo>
                  <a:pt x="9399387" y="4974898"/>
                  <a:pt x="9407728" y="4977546"/>
                  <a:pt x="9409582" y="4988415"/>
                </a:cubicBezTo>
                <a:cubicBezTo>
                  <a:pt x="9401241" y="4981587"/>
                  <a:pt x="9399387" y="4980193"/>
                  <a:pt x="9389193" y="4985629"/>
                </a:cubicBezTo>
                <a:cubicBezTo>
                  <a:pt x="9391046" y="4982980"/>
                  <a:pt x="9391046" y="4978940"/>
                  <a:pt x="9391046" y="4973504"/>
                </a:cubicBezTo>
                <a:close/>
                <a:moveTo>
                  <a:pt x="9578257" y="4969742"/>
                </a:moveTo>
                <a:cubicBezTo>
                  <a:pt x="9557867" y="4980333"/>
                  <a:pt x="9518942" y="4958314"/>
                  <a:pt x="9497627" y="4982424"/>
                </a:cubicBezTo>
                <a:cubicBezTo>
                  <a:pt x="9509675" y="4976988"/>
                  <a:pt x="9510603" y="4988695"/>
                  <a:pt x="9514772" y="4995801"/>
                </a:cubicBezTo>
                <a:cubicBezTo>
                  <a:pt x="9531455" y="4985490"/>
                  <a:pt x="9549063" y="5001933"/>
                  <a:pt x="9570380" y="5000261"/>
                </a:cubicBezTo>
                <a:cubicBezTo>
                  <a:pt x="9569453" y="4986883"/>
                  <a:pt x="9571770" y="4977685"/>
                  <a:pt x="9578257" y="4969742"/>
                </a:cubicBezTo>
                <a:close/>
                <a:moveTo>
                  <a:pt x="6806236" y="4963749"/>
                </a:moveTo>
                <a:cubicBezTo>
                  <a:pt x="6821991" y="4967651"/>
                  <a:pt x="6830332" y="4984653"/>
                  <a:pt x="6842845" y="4992596"/>
                </a:cubicBezTo>
                <a:cubicBezTo>
                  <a:pt x="6849331" y="4991203"/>
                  <a:pt x="6847478" y="4982144"/>
                  <a:pt x="6855819" y="4979497"/>
                </a:cubicBezTo>
                <a:cubicBezTo>
                  <a:pt x="6866940" y="4987440"/>
                  <a:pt x="6868331" y="4998171"/>
                  <a:pt x="6887330" y="4988973"/>
                </a:cubicBezTo>
                <a:cubicBezTo>
                  <a:pt x="6890574" y="4992876"/>
                  <a:pt x="6889183" y="5003188"/>
                  <a:pt x="6897526" y="5000540"/>
                </a:cubicBezTo>
                <a:cubicBezTo>
                  <a:pt x="6900306" y="5010992"/>
                  <a:pt x="6891964" y="5008065"/>
                  <a:pt x="6891964" y="5016010"/>
                </a:cubicBezTo>
                <a:cubicBezTo>
                  <a:pt x="6893818" y="5023813"/>
                  <a:pt x="6906330" y="5016010"/>
                  <a:pt x="6908184" y="5022559"/>
                </a:cubicBezTo>
                <a:cubicBezTo>
                  <a:pt x="6890574" y="5033011"/>
                  <a:pt x="6876208" y="5038446"/>
                  <a:pt x="6850722" y="5038446"/>
                </a:cubicBezTo>
                <a:cubicBezTo>
                  <a:pt x="6849331" y="5026740"/>
                  <a:pt x="6839601" y="5026601"/>
                  <a:pt x="6828479" y="5029248"/>
                </a:cubicBezTo>
                <a:cubicBezTo>
                  <a:pt x="6830332" y="5021305"/>
                  <a:pt x="6831723" y="5013361"/>
                  <a:pt x="6842845" y="5016010"/>
                </a:cubicBezTo>
                <a:cubicBezTo>
                  <a:pt x="6839601" y="5005557"/>
                  <a:pt x="6827090" y="5008345"/>
                  <a:pt x="6817358" y="5007090"/>
                </a:cubicBezTo>
                <a:cubicBezTo>
                  <a:pt x="6814115" y="4982144"/>
                  <a:pt x="6804383" y="4987301"/>
                  <a:pt x="6806236" y="4963749"/>
                </a:cubicBezTo>
                <a:close/>
                <a:moveTo>
                  <a:pt x="8465650" y="4962495"/>
                </a:moveTo>
                <a:cubicBezTo>
                  <a:pt x="8452211" y="4964446"/>
                  <a:pt x="8438308" y="4972389"/>
                  <a:pt x="8432749" y="4983677"/>
                </a:cubicBezTo>
                <a:cubicBezTo>
                  <a:pt x="8450357" y="4990367"/>
                  <a:pt x="8474454" y="4974340"/>
                  <a:pt x="8493452" y="4970299"/>
                </a:cubicBezTo>
                <a:cubicBezTo>
                  <a:pt x="8490209" y="4966257"/>
                  <a:pt x="8485112" y="4963749"/>
                  <a:pt x="8479088" y="4962634"/>
                </a:cubicBezTo>
                <a:cubicBezTo>
                  <a:pt x="8474916" y="4961798"/>
                  <a:pt x="8470282" y="4961798"/>
                  <a:pt x="8465650" y="4962495"/>
                </a:cubicBezTo>
                <a:close/>
                <a:moveTo>
                  <a:pt x="8790488" y="4962215"/>
                </a:moveTo>
                <a:lnTo>
                  <a:pt x="8792341" y="4977685"/>
                </a:lnTo>
                <a:lnTo>
                  <a:pt x="8777975" y="4979217"/>
                </a:lnTo>
                <a:cubicBezTo>
                  <a:pt x="8776123" y="4968904"/>
                  <a:pt x="8781220" y="4963609"/>
                  <a:pt x="8790488" y="4962215"/>
                </a:cubicBezTo>
                <a:close/>
                <a:moveTo>
                  <a:pt x="8736271" y="4961798"/>
                </a:moveTo>
                <a:cubicBezTo>
                  <a:pt x="8741832" y="4962354"/>
                  <a:pt x="8751564" y="4969045"/>
                  <a:pt x="8750636" y="4979217"/>
                </a:cubicBezTo>
                <a:cubicBezTo>
                  <a:pt x="8742757" y="4976709"/>
                  <a:pt x="8739978" y="4965561"/>
                  <a:pt x="8732101" y="4963191"/>
                </a:cubicBezTo>
                <a:cubicBezTo>
                  <a:pt x="8732563" y="4961937"/>
                  <a:pt x="8733954" y="4961519"/>
                  <a:pt x="8736271" y="4961798"/>
                </a:cubicBezTo>
                <a:close/>
                <a:moveTo>
                  <a:pt x="7791411" y="4959986"/>
                </a:moveTo>
                <a:cubicBezTo>
                  <a:pt x="7786777" y="4961240"/>
                  <a:pt x="7778900" y="4959568"/>
                  <a:pt x="7778900" y="4965003"/>
                </a:cubicBezTo>
                <a:cubicBezTo>
                  <a:pt x="7791411" y="4962354"/>
                  <a:pt x="7780753" y="4972946"/>
                  <a:pt x="7782144" y="4981030"/>
                </a:cubicBezTo>
                <a:lnTo>
                  <a:pt x="7791411" y="4980054"/>
                </a:lnTo>
                <a:cubicBezTo>
                  <a:pt x="7791411" y="4970717"/>
                  <a:pt x="7784924" y="4967930"/>
                  <a:pt x="7791411" y="4959986"/>
                </a:cubicBezTo>
                <a:close/>
                <a:moveTo>
                  <a:pt x="8560645" y="4957059"/>
                </a:moveTo>
                <a:cubicBezTo>
                  <a:pt x="8554156" y="4975874"/>
                  <a:pt x="8543035" y="4963749"/>
                  <a:pt x="8528670" y="4963749"/>
                </a:cubicBezTo>
                <a:cubicBezTo>
                  <a:pt x="8533768" y="4973086"/>
                  <a:pt x="8527279" y="4977406"/>
                  <a:pt x="8531914" y="4980054"/>
                </a:cubicBezTo>
                <a:cubicBezTo>
                  <a:pt x="8538401" y="4966676"/>
                  <a:pt x="8539792" y="4985071"/>
                  <a:pt x="8537011" y="4983677"/>
                </a:cubicBezTo>
                <a:cubicBezTo>
                  <a:pt x="8546279" y="4986325"/>
                  <a:pt x="8581497" y="4977127"/>
                  <a:pt x="8560645" y="4957059"/>
                </a:cubicBezTo>
                <a:close/>
                <a:moveTo>
                  <a:pt x="8126445" y="4956641"/>
                </a:moveTo>
                <a:cubicBezTo>
                  <a:pt x="8121811" y="4956502"/>
                  <a:pt x="8118104" y="4958314"/>
                  <a:pt x="8117177" y="4965003"/>
                </a:cubicBezTo>
                <a:cubicBezTo>
                  <a:pt x="8125055" y="4967651"/>
                  <a:pt x="8142663" y="4978660"/>
                  <a:pt x="8139419" y="4959986"/>
                </a:cubicBezTo>
                <a:cubicBezTo>
                  <a:pt x="8136639" y="4959290"/>
                  <a:pt x="8131079" y="4956780"/>
                  <a:pt x="8126445" y="4956641"/>
                </a:cubicBezTo>
                <a:close/>
                <a:moveTo>
                  <a:pt x="7423014" y="4951624"/>
                </a:moveTo>
                <a:cubicBezTo>
                  <a:pt x="7423014" y="4960404"/>
                  <a:pt x="7403550" y="4972667"/>
                  <a:pt x="7398454" y="4963749"/>
                </a:cubicBezTo>
                <a:cubicBezTo>
                  <a:pt x="7398454" y="4948977"/>
                  <a:pt x="7412818" y="4960404"/>
                  <a:pt x="7423014" y="4951624"/>
                </a:cubicBezTo>
                <a:close/>
                <a:moveTo>
                  <a:pt x="8103275" y="4951067"/>
                </a:moveTo>
                <a:cubicBezTo>
                  <a:pt x="8099568" y="4951346"/>
                  <a:pt x="8096324" y="4955666"/>
                  <a:pt x="8097714" y="4963749"/>
                </a:cubicBezTo>
                <a:lnTo>
                  <a:pt x="8110690" y="4962215"/>
                </a:lnTo>
                <a:cubicBezTo>
                  <a:pt x="8111153" y="4954272"/>
                  <a:pt x="8107445" y="4950649"/>
                  <a:pt x="8103275" y="4951067"/>
                </a:cubicBezTo>
                <a:close/>
                <a:moveTo>
                  <a:pt x="7938306" y="4947722"/>
                </a:moveTo>
                <a:cubicBezTo>
                  <a:pt x="7930430" y="4949116"/>
                  <a:pt x="7918844" y="4947583"/>
                  <a:pt x="7920699" y="4957059"/>
                </a:cubicBezTo>
                <a:cubicBezTo>
                  <a:pt x="7928575" y="4961101"/>
                  <a:pt x="7935062" y="4958453"/>
                  <a:pt x="7938306" y="4947722"/>
                </a:cubicBezTo>
                <a:close/>
                <a:moveTo>
                  <a:pt x="8883629" y="4944796"/>
                </a:moveTo>
                <a:cubicBezTo>
                  <a:pt x="8883629" y="4944796"/>
                  <a:pt x="8884095" y="4944935"/>
                  <a:pt x="8884095" y="4944796"/>
                </a:cubicBezTo>
                <a:cubicBezTo>
                  <a:pt x="8884557" y="4945074"/>
                  <a:pt x="8884095" y="4945632"/>
                  <a:pt x="8884095" y="4945911"/>
                </a:cubicBezTo>
                <a:cubicBezTo>
                  <a:pt x="8884095" y="4945493"/>
                  <a:pt x="8883629" y="4945493"/>
                  <a:pt x="8883629" y="4944796"/>
                </a:cubicBezTo>
                <a:close/>
                <a:moveTo>
                  <a:pt x="7889650" y="4943262"/>
                </a:moveTo>
                <a:cubicBezTo>
                  <a:pt x="7879456" y="4945353"/>
                  <a:pt x="7870188" y="4953714"/>
                  <a:pt x="7877603" y="4960822"/>
                </a:cubicBezTo>
                <a:cubicBezTo>
                  <a:pt x="7880846" y="4948698"/>
                  <a:pt x="7901699" y="4958314"/>
                  <a:pt x="7899844" y="4943542"/>
                </a:cubicBezTo>
                <a:cubicBezTo>
                  <a:pt x="7896601" y="4942566"/>
                  <a:pt x="7893357" y="4942566"/>
                  <a:pt x="7889650" y="4943262"/>
                </a:cubicBezTo>
                <a:close/>
                <a:moveTo>
                  <a:pt x="8880850" y="4936573"/>
                </a:moveTo>
                <a:cubicBezTo>
                  <a:pt x="8888727" y="4935040"/>
                  <a:pt x="8888264" y="4943542"/>
                  <a:pt x="8896140" y="4939220"/>
                </a:cubicBezTo>
                <a:cubicBezTo>
                  <a:pt x="8896140" y="4944656"/>
                  <a:pt x="8889191" y="4943820"/>
                  <a:pt x="8884095" y="4944796"/>
                </a:cubicBezTo>
                <a:cubicBezTo>
                  <a:pt x="8883167" y="4942008"/>
                  <a:pt x="8882703" y="4940893"/>
                  <a:pt x="8880850" y="4936573"/>
                </a:cubicBezTo>
                <a:close/>
                <a:moveTo>
                  <a:pt x="8991138" y="4930302"/>
                </a:moveTo>
                <a:cubicBezTo>
                  <a:pt x="8987894" y="4945632"/>
                  <a:pt x="8999477" y="4940754"/>
                  <a:pt x="9007356" y="4940754"/>
                </a:cubicBezTo>
                <a:cubicBezTo>
                  <a:pt x="9009209" y="4962354"/>
                  <a:pt x="8987431" y="4943123"/>
                  <a:pt x="8980942" y="4937967"/>
                </a:cubicBezTo>
                <a:cubicBezTo>
                  <a:pt x="8972601" y="4940475"/>
                  <a:pt x="8975845" y="4950788"/>
                  <a:pt x="8982796" y="4953436"/>
                </a:cubicBezTo>
                <a:cubicBezTo>
                  <a:pt x="8980942" y="4958453"/>
                  <a:pt x="8964259" y="4953297"/>
                  <a:pt x="8964259" y="4942984"/>
                </a:cubicBezTo>
                <a:cubicBezTo>
                  <a:pt x="8973991" y="4939220"/>
                  <a:pt x="8976308" y="4929048"/>
                  <a:pt x="8991138" y="4930302"/>
                </a:cubicBezTo>
                <a:close/>
                <a:moveTo>
                  <a:pt x="7812264" y="4926121"/>
                </a:moveTo>
                <a:cubicBezTo>
                  <a:pt x="7809020" y="4939639"/>
                  <a:pt x="7796509" y="4942147"/>
                  <a:pt x="7790021" y="4951624"/>
                </a:cubicBezTo>
                <a:cubicBezTo>
                  <a:pt x="7797899" y="4951624"/>
                  <a:pt x="7799289" y="4958314"/>
                  <a:pt x="7810410" y="4954272"/>
                </a:cubicBezTo>
                <a:cubicBezTo>
                  <a:pt x="7810410" y="4947583"/>
                  <a:pt x="7818752" y="4928909"/>
                  <a:pt x="7812264" y="4926121"/>
                </a:cubicBezTo>
                <a:close/>
                <a:moveTo>
                  <a:pt x="9522186" y="4925843"/>
                </a:moveTo>
                <a:cubicBezTo>
                  <a:pt x="9520334" y="4925702"/>
                  <a:pt x="9518480" y="4925285"/>
                  <a:pt x="9517089" y="4926121"/>
                </a:cubicBezTo>
                <a:cubicBezTo>
                  <a:pt x="9517552" y="4927654"/>
                  <a:pt x="9518017" y="4928212"/>
                  <a:pt x="9518017" y="4930302"/>
                </a:cubicBezTo>
                <a:cubicBezTo>
                  <a:pt x="9517089" y="4931138"/>
                  <a:pt x="9516627" y="4929326"/>
                  <a:pt x="9516162" y="4928212"/>
                </a:cubicBezTo>
                <a:cubicBezTo>
                  <a:pt x="9514310" y="4929883"/>
                  <a:pt x="9512455" y="4932114"/>
                  <a:pt x="9512455" y="4937409"/>
                </a:cubicBezTo>
                <a:cubicBezTo>
                  <a:pt x="9517089" y="4942705"/>
                  <a:pt x="9526821" y="4943959"/>
                  <a:pt x="9537942" y="4942705"/>
                </a:cubicBezTo>
                <a:cubicBezTo>
                  <a:pt x="9534235" y="4945770"/>
                  <a:pt x="9532845" y="4948419"/>
                  <a:pt x="9530065" y="4951624"/>
                </a:cubicBezTo>
                <a:cubicBezTo>
                  <a:pt x="9546746" y="4950788"/>
                  <a:pt x="9561576" y="4948698"/>
                  <a:pt x="9572697" y="4941590"/>
                </a:cubicBezTo>
                <a:cubicBezTo>
                  <a:pt x="9554160" y="4937967"/>
                  <a:pt x="9537942" y="4932671"/>
                  <a:pt x="9522186" y="4925843"/>
                </a:cubicBezTo>
                <a:close/>
                <a:moveTo>
                  <a:pt x="8959627" y="4916923"/>
                </a:moveTo>
                <a:cubicBezTo>
                  <a:pt x="8958237" y="4932532"/>
                  <a:pt x="8940627" y="4943403"/>
                  <a:pt x="8957773" y="4951902"/>
                </a:cubicBezTo>
                <a:cubicBezTo>
                  <a:pt x="8943407" y="4946328"/>
                  <a:pt x="8896140" y="4939500"/>
                  <a:pt x="8891508" y="4979217"/>
                </a:cubicBezTo>
                <a:cubicBezTo>
                  <a:pt x="8892433" y="4962354"/>
                  <a:pt x="8889654" y="4957477"/>
                  <a:pt x="8884095" y="4945911"/>
                </a:cubicBezTo>
                <a:cubicBezTo>
                  <a:pt x="8886874" y="4952182"/>
                  <a:pt x="8896605" y="4948140"/>
                  <a:pt x="8897995" y="4956083"/>
                </a:cubicBezTo>
                <a:cubicBezTo>
                  <a:pt x="8910506" y="4926400"/>
                  <a:pt x="8937848" y="4928212"/>
                  <a:pt x="8959627" y="4916923"/>
                </a:cubicBezTo>
                <a:close/>
                <a:moveTo>
                  <a:pt x="10582433" y="4914554"/>
                </a:moveTo>
                <a:cubicBezTo>
                  <a:pt x="10561117" y="4937130"/>
                  <a:pt x="10537020" y="4920965"/>
                  <a:pt x="10512923" y="4930302"/>
                </a:cubicBezTo>
                <a:cubicBezTo>
                  <a:pt x="10522192" y="4940057"/>
                  <a:pt x="10538410" y="4941869"/>
                  <a:pt x="10550923" y="4946886"/>
                </a:cubicBezTo>
                <a:cubicBezTo>
                  <a:pt x="10546288" y="4953157"/>
                  <a:pt x="10547215" y="4965143"/>
                  <a:pt x="10552775" y="4970577"/>
                </a:cubicBezTo>
                <a:cubicBezTo>
                  <a:pt x="10575482" y="4965839"/>
                  <a:pt x="10589848" y="4966118"/>
                  <a:pt x="10609773" y="4951067"/>
                </a:cubicBezTo>
                <a:cubicBezTo>
                  <a:pt x="10597262" y="4948977"/>
                  <a:pt x="10612552" y="4940475"/>
                  <a:pt x="10608383" y="4931834"/>
                </a:cubicBezTo>
                <a:cubicBezTo>
                  <a:pt x="10602822" y="4933368"/>
                  <a:pt x="10599579" y="4930441"/>
                  <a:pt x="10597262" y="4927097"/>
                </a:cubicBezTo>
                <a:cubicBezTo>
                  <a:pt x="10593090" y="4926817"/>
                  <a:pt x="10589383" y="4923333"/>
                  <a:pt x="10588920" y="4916923"/>
                </a:cubicBezTo>
                <a:cubicBezTo>
                  <a:pt x="10587066" y="4915530"/>
                  <a:pt x="10585676" y="4913996"/>
                  <a:pt x="10582433" y="4914554"/>
                </a:cubicBezTo>
                <a:close/>
                <a:moveTo>
                  <a:pt x="9349803" y="4911349"/>
                </a:moveTo>
                <a:cubicBezTo>
                  <a:pt x="9349341" y="4913022"/>
                  <a:pt x="9348414" y="4914693"/>
                  <a:pt x="9347488" y="4916366"/>
                </a:cubicBezTo>
                <a:cubicBezTo>
                  <a:pt x="9349341" y="4916366"/>
                  <a:pt x="9351658" y="4916087"/>
                  <a:pt x="9353048" y="4915947"/>
                </a:cubicBezTo>
                <a:cubicBezTo>
                  <a:pt x="9351195" y="4914415"/>
                  <a:pt x="9349803" y="4912881"/>
                  <a:pt x="9349803" y="4911349"/>
                </a:cubicBezTo>
                <a:close/>
                <a:moveTo>
                  <a:pt x="9497164" y="4903824"/>
                </a:moveTo>
                <a:cubicBezTo>
                  <a:pt x="9498554" y="4904659"/>
                  <a:pt x="9500407" y="4904520"/>
                  <a:pt x="9501797" y="4904799"/>
                </a:cubicBezTo>
                <a:cubicBezTo>
                  <a:pt x="9502261" y="4904659"/>
                  <a:pt x="9502724" y="4904380"/>
                  <a:pt x="9502724" y="4904241"/>
                </a:cubicBezTo>
                <a:cubicBezTo>
                  <a:pt x="9500871" y="4904380"/>
                  <a:pt x="9499017" y="4904102"/>
                  <a:pt x="9497164" y="4903824"/>
                </a:cubicBezTo>
                <a:close/>
                <a:moveTo>
                  <a:pt x="8206148" y="4901175"/>
                </a:moveTo>
                <a:cubicBezTo>
                  <a:pt x="8200124" y="4900478"/>
                  <a:pt x="8193637" y="4900478"/>
                  <a:pt x="8187613" y="4901454"/>
                </a:cubicBezTo>
                <a:cubicBezTo>
                  <a:pt x="8175564" y="4903544"/>
                  <a:pt x="8164906" y="4909259"/>
                  <a:pt x="8161663" y="4921940"/>
                </a:cubicBezTo>
                <a:cubicBezTo>
                  <a:pt x="8182515" y="4909956"/>
                  <a:pt x="8212637" y="4926260"/>
                  <a:pt x="8222368" y="4904799"/>
                </a:cubicBezTo>
                <a:cubicBezTo>
                  <a:pt x="8217733" y="4903126"/>
                  <a:pt x="8212637" y="4901733"/>
                  <a:pt x="8206148" y="4901175"/>
                </a:cubicBezTo>
                <a:close/>
                <a:moveTo>
                  <a:pt x="9485579" y="4894904"/>
                </a:moveTo>
                <a:cubicBezTo>
                  <a:pt x="9474920" y="4899921"/>
                  <a:pt x="9491140" y="4902290"/>
                  <a:pt x="9491140" y="4911627"/>
                </a:cubicBezTo>
                <a:cubicBezTo>
                  <a:pt x="9490213" y="4907586"/>
                  <a:pt x="9488823" y="4902987"/>
                  <a:pt x="9490213" y="4900060"/>
                </a:cubicBezTo>
                <a:cubicBezTo>
                  <a:pt x="9488823" y="4898667"/>
                  <a:pt x="9486505" y="4897831"/>
                  <a:pt x="9485579" y="4894904"/>
                </a:cubicBezTo>
                <a:close/>
                <a:moveTo>
                  <a:pt x="7858140" y="4889747"/>
                </a:moveTo>
                <a:cubicBezTo>
                  <a:pt x="7842385" y="4889747"/>
                  <a:pt x="7842385" y="4906053"/>
                  <a:pt x="7844238" y="4923474"/>
                </a:cubicBezTo>
                <a:cubicBezTo>
                  <a:pt x="7868335" y="4924727"/>
                  <a:pt x="7845628" y="4899085"/>
                  <a:pt x="7858140" y="4889747"/>
                </a:cubicBezTo>
                <a:close/>
                <a:moveTo>
                  <a:pt x="8856753" y="4881665"/>
                </a:moveTo>
                <a:cubicBezTo>
                  <a:pt x="8857215" y="4882362"/>
                  <a:pt x="8858143" y="4882222"/>
                  <a:pt x="8858143" y="4883198"/>
                </a:cubicBezTo>
                <a:cubicBezTo>
                  <a:pt x="8858143" y="4882919"/>
                  <a:pt x="8858607" y="4882780"/>
                  <a:pt x="8858607" y="4882640"/>
                </a:cubicBezTo>
                <a:cubicBezTo>
                  <a:pt x="8858143" y="4882222"/>
                  <a:pt x="8857215" y="4882222"/>
                  <a:pt x="8856753" y="4881665"/>
                </a:cubicBezTo>
                <a:close/>
                <a:moveTo>
                  <a:pt x="7912820" y="4872467"/>
                </a:moveTo>
                <a:lnTo>
                  <a:pt x="7909245" y="4876673"/>
                </a:lnTo>
                <a:lnTo>
                  <a:pt x="7909113" y="4876648"/>
                </a:lnTo>
                <a:cubicBezTo>
                  <a:pt x="7910967" y="4876648"/>
                  <a:pt x="7914210" y="4875254"/>
                  <a:pt x="7912820" y="4872467"/>
                </a:cubicBezTo>
                <a:close/>
                <a:moveTo>
                  <a:pt x="7926258" y="4871073"/>
                </a:moveTo>
                <a:cubicBezTo>
                  <a:pt x="7941551" y="4884871"/>
                  <a:pt x="7910967" y="4896019"/>
                  <a:pt x="7902162" y="4885009"/>
                </a:cubicBezTo>
                <a:lnTo>
                  <a:pt x="7909245" y="4876673"/>
                </a:lnTo>
                <a:lnTo>
                  <a:pt x="7918902" y="4878511"/>
                </a:lnTo>
                <a:cubicBezTo>
                  <a:pt x="7923594" y="4878669"/>
                  <a:pt x="7927880" y="4877275"/>
                  <a:pt x="7926258" y="4871073"/>
                </a:cubicBezTo>
                <a:close/>
                <a:moveTo>
                  <a:pt x="7802532" y="4855046"/>
                </a:moveTo>
                <a:cubicBezTo>
                  <a:pt x="7793264" y="4871212"/>
                  <a:pt x="7792801" y="4883337"/>
                  <a:pt x="7788168" y="4907446"/>
                </a:cubicBezTo>
                <a:cubicBezTo>
                  <a:pt x="7791411" y="4910233"/>
                  <a:pt x="7809020" y="4919293"/>
                  <a:pt x="7801143" y="4911349"/>
                </a:cubicBezTo>
                <a:cubicBezTo>
                  <a:pt x="7796509" y="4909956"/>
                  <a:pt x="7801143" y="4904520"/>
                  <a:pt x="7804386" y="4901872"/>
                </a:cubicBezTo>
                <a:cubicBezTo>
                  <a:pt x="7817362" y="4911209"/>
                  <a:pt x="7820141" y="4904799"/>
                  <a:pt x="7833117" y="4896716"/>
                </a:cubicBezTo>
                <a:cubicBezTo>
                  <a:pt x="7820141" y="4885985"/>
                  <a:pt x="7815508" y="4864384"/>
                  <a:pt x="7802532" y="4855046"/>
                </a:cubicBezTo>
                <a:close/>
                <a:moveTo>
                  <a:pt x="7929038" y="4852259"/>
                </a:moveTo>
                <a:cubicBezTo>
                  <a:pt x="7916064" y="4856301"/>
                  <a:pt x="7899844" y="4881665"/>
                  <a:pt x="7884090" y="4868286"/>
                </a:cubicBezTo>
                <a:cubicBezTo>
                  <a:pt x="7877603" y="4888354"/>
                  <a:pt x="7874359" y="4896716"/>
                  <a:pt x="7869725" y="4916923"/>
                </a:cubicBezTo>
                <a:cubicBezTo>
                  <a:pt x="7878992" y="4911488"/>
                  <a:pt x="7872968" y="4930302"/>
                  <a:pt x="7882700" y="4924867"/>
                </a:cubicBezTo>
                <a:cubicBezTo>
                  <a:pt x="7901699" y="4890027"/>
                  <a:pt x="7941551" y="4914137"/>
                  <a:pt x="7968890" y="4884591"/>
                </a:cubicBezTo>
                <a:cubicBezTo>
                  <a:pt x="7957306" y="4876509"/>
                  <a:pt x="7939697" y="4899225"/>
                  <a:pt x="7935062" y="4871073"/>
                </a:cubicBezTo>
                <a:cubicBezTo>
                  <a:pt x="7944793" y="4862990"/>
                  <a:pt x="7954062" y="4877485"/>
                  <a:pt x="7954062" y="4857415"/>
                </a:cubicBezTo>
                <a:cubicBezTo>
                  <a:pt x="7939697" y="4862712"/>
                  <a:pt x="7938306" y="4852259"/>
                  <a:pt x="7929038" y="4852259"/>
                </a:cubicBezTo>
                <a:close/>
                <a:moveTo>
                  <a:pt x="7675099" y="4850448"/>
                </a:moveTo>
                <a:cubicBezTo>
                  <a:pt x="7685758" y="4846406"/>
                  <a:pt x="7679270" y="4863965"/>
                  <a:pt x="7691781" y="4856998"/>
                </a:cubicBezTo>
                <a:cubicBezTo>
                  <a:pt x="7693635" y="4863548"/>
                  <a:pt x="7691319" y="4866196"/>
                  <a:pt x="7689002" y="4868704"/>
                </a:cubicBezTo>
                <a:cubicBezTo>
                  <a:pt x="7690392" y="4867728"/>
                  <a:pt x="7691781" y="4866614"/>
                  <a:pt x="7693173" y="4866335"/>
                </a:cubicBezTo>
                <a:cubicBezTo>
                  <a:pt x="7697806" y="4865359"/>
                  <a:pt x="7702904" y="4866753"/>
                  <a:pt x="7704757" y="4869540"/>
                </a:cubicBezTo>
                <a:cubicBezTo>
                  <a:pt x="7702904" y="4888215"/>
                  <a:pt x="7694562" y="4879017"/>
                  <a:pt x="7684831" y="4877205"/>
                </a:cubicBezTo>
                <a:cubicBezTo>
                  <a:pt x="7684831" y="4876230"/>
                  <a:pt x="7685295" y="4875812"/>
                  <a:pt x="7685295" y="4874975"/>
                </a:cubicBezTo>
                <a:cubicBezTo>
                  <a:pt x="7680661" y="4869401"/>
                  <a:pt x="7670466" y="4858670"/>
                  <a:pt x="7675099" y="4850448"/>
                </a:cubicBezTo>
                <a:close/>
                <a:moveTo>
                  <a:pt x="9409582" y="4841947"/>
                </a:moveTo>
                <a:cubicBezTo>
                  <a:pt x="9403558" y="4841250"/>
                  <a:pt x="9401241" y="4845849"/>
                  <a:pt x="9400777" y="4851702"/>
                </a:cubicBezTo>
                <a:cubicBezTo>
                  <a:pt x="9403558" y="4850030"/>
                  <a:pt x="9406801" y="4848218"/>
                  <a:pt x="9409582" y="4846685"/>
                </a:cubicBezTo>
                <a:cubicBezTo>
                  <a:pt x="9409582" y="4845152"/>
                  <a:pt x="9410508" y="4843341"/>
                  <a:pt x="9409582" y="4841947"/>
                </a:cubicBezTo>
                <a:close/>
                <a:moveTo>
                  <a:pt x="9487433" y="4837765"/>
                </a:moveTo>
                <a:cubicBezTo>
                  <a:pt x="9481409" y="4844873"/>
                  <a:pt x="9478164" y="4854768"/>
                  <a:pt x="9465653" y="4853793"/>
                </a:cubicBezTo>
                <a:cubicBezTo>
                  <a:pt x="9470751" y="4840135"/>
                  <a:pt x="9459629" y="4841250"/>
                  <a:pt x="9448970" y="4841111"/>
                </a:cubicBezTo>
                <a:cubicBezTo>
                  <a:pt x="9447116" y="4843480"/>
                  <a:pt x="9444800" y="4845988"/>
                  <a:pt x="9442019" y="4848078"/>
                </a:cubicBezTo>
                <a:cubicBezTo>
                  <a:pt x="9457312" y="4856441"/>
                  <a:pt x="9474457" y="4858252"/>
                  <a:pt x="9497627" y="4844873"/>
                </a:cubicBezTo>
                <a:cubicBezTo>
                  <a:pt x="9495773" y="4840693"/>
                  <a:pt x="9491140" y="4839578"/>
                  <a:pt x="9487433" y="4837765"/>
                </a:cubicBezTo>
                <a:close/>
                <a:moveTo>
                  <a:pt x="7193634" y="4833585"/>
                </a:moveTo>
                <a:cubicBezTo>
                  <a:pt x="7198731" y="4843341"/>
                  <a:pt x="7201048" y="4840553"/>
                  <a:pt x="7210779" y="4836372"/>
                </a:cubicBezTo>
                <a:cubicBezTo>
                  <a:pt x="7215876" y="4847382"/>
                  <a:pt x="7200584" y="4856022"/>
                  <a:pt x="7215414" y="4853235"/>
                </a:cubicBezTo>
                <a:cubicBezTo>
                  <a:pt x="7215414" y="4868425"/>
                  <a:pt x="7199195" y="4865499"/>
                  <a:pt x="7195950" y="4875115"/>
                </a:cubicBezTo>
                <a:cubicBezTo>
                  <a:pt x="7190853" y="4871073"/>
                  <a:pt x="7190853" y="4858391"/>
                  <a:pt x="7182512" y="4859785"/>
                </a:cubicBezTo>
                <a:lnTo>
                  <a:pt x="7180658" y="4834839"/>
                </a:lnTo>
                <a:cubicBezTo>
                  <a:pt x="7183901" y="4840414"/>
                  <a:pt x="7197340" y="4857137"/>
                  <a:pt x="7193634" y="4833585"/>
                </a:cubicBezTo>
                <a:close/>
                <a:moveTo>
                  <a:pt x="7834971" y="4831634"/>
                </a:moveTo>
                <a:cubicBezTo>
                  <a:pt x="7834044" y="4830798"/>
                  <a:pt x="7832653" y="4830798"/>
                  <a:pt x="7829873" y="4832191"/>
                </a:cubicBezTo>
                <a:lnTo>
                  <a:pt x="7831726" y="4848078"/>
                </a:lnTo>
                <a:cubicBezTo>
                  <a:pt x="7836361" y="4846825"/>
                  <a:pt x="7840995" y="4844038"/>
                  <a:pt x="7842385" y="4838741"/>
                </a:cubicBezTo>
                <a:cubicBezTo>
                  <a:pt x="7834971" y="4842783"/>
                  <a:pt x="7838214" y="4834003"/>
                  <a:pt x="7834971" y="4831634"/>
                </a:cubicBezTo>
                <a:close/>
                <a:moveTo>
                  <a:pt x="11482343" y="4793588"/>
                </a:moveTo>
                <a:cubicBezTo>
                  <a:pt x="11485125" y="4793170"/>
                  <a:pt x="11487442" y="4793449"/>
                  <a:pt x="11490222" y="4793867"/>
                </a:cubicBezTo>
                <a:cubicBezTo>
                  <a:pt x="11505512" y="4796654"/>
                  <a:pt x="11520806" y="4811008"/>
                  <a:pt x="11543513" y="4801671"/>
                </a:cubicBezTo>
                <a:cubicBezTo>
                  <a:pt x="11526367" y="4816862"/>
                  <a:pt x="11493001" y="4811288"/>
                  <a:pt x="11474466" y="4796097"/>
                </a:cubicBezTo>
                <a:cubicBezTo>
                  <a:pt x="11476784" y="4794563"/>
                  <a:pt x="11479563" y="4793867"/>
                  <a:pt x="11482343" y="4793588"/>
                </a:cubicBezTo>
                <a:close/>
                <a:moveTo>
                  <a:pt x="6780750" y="4786202"/>
                </a:moveTo>
                <a:cubicBezTo>
                  <a:pt x="6773334" y="4785366"/>
                  <a:pt x="6765921" y="4786341"/>
                  <a:pt x="6761750" y="4793310"/>
                </a:cubicBezTo>
                <a:cubicBezTo>
                  <a:pt x="6771018" y="4795678"/>
                  <a:pt x="6796042" y="4801114"/>
                  <a:pt x="6802066" y="4788572"/>
                </a:cubicBezTo>
                <a:cubicBezTo>
                  <a:pt x="6796042" y="4789826"/>
                  <a:pt x="6788627" y="4787178"/>
                  <a:pt x="6780750" y="4786202"/>
                </a:cubicBezTo>
                <a:close/>
                <a:moveTo>
                  <a:pt x="12069927" y="4774635"/>
                </a:moveTo>
                <a:cubicBezTo>
                  <a:pt x="12081975" y="4775054"/>
                  <a:pt x="12093560" y="4778956"/>
                  <a:pt x="12097268" y="4789547"/>
                </a:cubicBezTo>
                <a:cubicBezTo>
                  <a:pt x="12085219" y="4786064"/>
                  <a:pt x="12062977" y="4782440"/>
                  <a:pt x="12037490" y="4780628"/>
                </a:cubicBezTo>
                <a:cubicBezTo>
                  <a:pt x="12044439" y="4777144"/>
                  <a:pt x="12057416" y="4774217"/>
                  <a:pt x="12069927" y="4774635"/>
                </a:cubicBezTo>
                <a:close/>
                <a:moveTo>
                  <a:pt x="6974911" y="4767528"/>
                </a:moveTo>
                <a:cubicBezTo>
                  <a:pt x="6970740" y="4782857"/>
                  <a:pt x="6937377" y="4766134"/>
                  <a:pt x="6938767" y="4785366"/>
                </a:cubicBezTo>
                <a:cubicBezTo>
                  <a:pt x="6953132" y="4787178"/>
                  <a:pt x="6971205" y="4791359"/>
                  <a:pt x="6979546" y="4786202"/>
                </a:cubicBezTo>
                <a:cubicBezTo>
                  <a:pt x="6969351" y="4790104"/>
                  <a:pt x="6989276" y="4767946"/>
                  <a:pt x="6974911" y="4767528"/>
                </a:cubicBezTo>
                <a:close/>
                <a:moveTo>
                  <a:pt x="6947572" y="4741467"/>
                </a:moveTo>
                <a:cubicBezTo>
                  <a:pt x="6941547" y="4750944"/>
                  <a:pt x="6928572" y="4744115"/>
                  <a:pt x="6919767" y="4743279"/>
                </a:cubicBezTo>
                <a:cubicBezTo>
                  <a:pt x="6918377" y="4773241"/>
                  <a:pt x="6958692" y="4745091"/>
                  <a:pt x="6947572" y="4741467"/>
                </a:cubicBezTo>
                <a:close/>
                <a:moveTo>
                  <a:pt x="11624143" y="4719448"/>
                </a:moveTo>
                <a:cubicBezTo>
                  <a:pt x="11632484" y="4716661"/>
                  <a:pt x="11630630" y="4731991"/>
                  <a:pt x="11642215" y="4726417"/>
                </a:cubicBezTo>
                <a:cubicBezTo>
                  <a:pt x="11639435" y="4736172"/>
                  <a:pt x="11622752" y="4739097"/>
                  <a:pt x="11624143" y="4719448"/>
                </a:cubicBezTo>
                <a:close/>
                <a:moveTo>
                  <a:pt x="11551854" y="4711923"/>
                </a:moveTo>
                <a:cubicBezTo>
                  <a:pt x="11560194" y="4711923"/>
                  <a:pt x="11564828" y="4718473"/>
                  <a:pt x="11575023" y="4713316"/>
                </a:cubicBezTo>
                <a:cubicBezTo>
                  <a:pt x="11578266" y="4732130"/>
                  <a:pt x="11548609" y="4730597"/>
                  <a:pt x="11551854" y="4711923"/>
                </a:cubicBezTo>
                <a:close/>
                <a:moveTo>
                  <a:pt x="7714488" y="4710947"/>
                </a:moveTo>
                <a:cubicBezTo>
                  <a:pt x="7718196" y="4708020"/>
                  <a:pt x="7719123" y="4713734"/>
                  <a:pt x="7719123" y="4718054"/>
                </a:cubicBezTo>
                <a:cubicBezTo>
                  <a:pt x="7723293" y="4713734"/>
                  <a:pt x="7726073" y="4712201"/>
                  <a:pt x="7729780" y="4718054"/>
                </a:cubicBezTo>
                <a:cubicBezTo>
                  <a:pt x="7726999" y="4720981"/>
                  <a:pt x="7715879" y="4735754"/>
                  <a:pt x="7714488" y="4710947"/>
                </a:cubicBezTo>
                <a:close/>
                <a:moveTo>
                  <a:pt x="7162122" y="4705930"/>
                </a:moveTo>
                <a:cubicBezTo>
                  <a:pt x="7151465" y="4707045"/>
                  <a:pt x="7141733" y="4709554"/>
                  <a:pt x="7132002" y="4713316"/>
                </a:cubicBezTo>
                <a:cubicBezTo>
                  <a:pt x="7153781" y="4719030"/>
                  <a:pt x="7176952" y="4720285"/>
                  <a:pt x="7196878" y="4706767"/>
                </a:cubicBezTo>
                <a:cubicBezTo>
                  <a:pt x="7184365" y="4704815"/>
                  <a:pt x="7172782" y="4704676"/>
                  <a:pt x="7162122" y="4705930"/>
                </a:cubicBezTo>
                <a:close/>
                <a:moveTo>
                  <a:pt x="4777498" y="4695478"/>
                </a:moveTo>
                <a:cubicBezTo>
                  <a:pt x="4775645" y="4697429"/>
                  <a:pt x="4773328" y="4697010"/>
                  <a:pt x="4771010" y="4697847"/>
                </a:cubicBezTo>
                <a:cubicBezTo>
                  <a:pt x="4771474" y="4698823"/>
                  <a:pt x="4770083" y="4699937"/>
                  <a:pt x="4771937" y="4700634"/>
                </a:cubicBezTo>
                <a:cubicBezTo>
                  <a:pt x="4773328" y="4698823"/>
                  <a:pt x="4777035" y="4699380"/>
                  <a:pt x="4779352" y="4698823"/>
                </a:cubicBezTo>
                <a:cubicBezTo>
                  <a:pt x="4778888" y="4697568"/>
                  <a:pt x="4778424" y="4696871"/>
                  <a:pt x="4777498" y="4695478"/>
                </a:cubicBezTo>
                <a:close/>
                <a:moveTo>
                  <a:pt x="4798814" y="4694642"/>
                </a:moveTo>
                <a:cubicBezTo>
                  <a:pt x="4798814" y="4695339"/>
                  <a:pt x="4799278" y="4696314"/>
                  <a:pt x="4799278" y="4697010"/>
                </a:cubicBezTo>
                <a:cubicBezTo>
                  <a:pt x="4799741" y="4697010"/>
                  <a:pt x="4800205" y="4697010"/>
                  <a:pt x="4800205" y="4697010"/>
                </a:cubicBezTo>
                <a:cubicBezTo>
                  <a:pt x="4800668" y="4695617"/>
                  <a:pt x="4798814" y="4695756"/>
                  <a:pt x="4798814" y="4694642"/>
                </a:cubicBezTo>
                <a:close/>
                <a:moveTo>
                  <a:pt x="7797899" y="4693666"/>
                </a:moveTo>
                <a:cubicBezTo>
                  <a:pt x="7796509" y="4703142"/>
                  <a:pt x="7780753" y="4693946"/>
                  <a:pt x="7782144" y="4707323"/>
                </a:cubicBezTo>
                <a:cubicBezTo>
                  <a:pt x="7788632" y="4709972"/>
                  <a:pt x="7790021" y="4722236"/>
                  <a:pt x="7799289" y="4722236"/>
                </a:cubicBezTo>
                <a:cubicBezTo>
                  <a:pt x="7794656" y="4710111"/>
                  <a:pt x="7802532" y="4693666"/>
                  <a:pt x="7797899" y="4693666"/>
                </a:cubicBezTo>
                <a:close/>
                <a:moveTo>
                  <a:pt x="7465646" y="4691297"/>
                </a:moveTo>
                <a:cubicBezTo>
                  <a:pt x="7458694" y="4693388"/>
                  <a:pt x="7440159" y="4687534"/>
                  <a:pt x="7445256" y="4703560"/>
                </a:cubicBezTo>
                <a:cubicBezTo>
                  <a:pt x="7452671" y="4710389"/>
                  <a:pt x="7470279" y="4707463"/>
                  <a:pt x="7465646" y="4691297"/>
                </a:cubicBezTo>
                <a:close/>
                <a:moveTo>
                  <a:pt x="6800213" y="4690461"/>
                </a:moveTo>
                <a:cubicBezTo>
                  <a:pt x="6794651" y="4690880"/>
                  <a:pt x="6788163" y="4695617"/>
                  <a:pt x="6786773" y="4701749"/>
                </a:cubicBezTo>
                <a:cubicBezTo>
                  <a:pt x="6795579" y="4701052"/>
                  <a:pt x="6799749" y="4707881"/>
                  <a:pt x="6811798" y="4703840"/>
                </a:cubicBezTo>
                <a:cubicBezTo>
                  <a:pt x="6811798" y="4693388"/>
                  <a:pt x="6806236" y="4690043"/>
                  <a:pt x="6800213" y="4690461"/>
                </a:cubicBezTo>
                <a:close/>
                <a:moveTo>
                  <a:pt x="4908175" y="4690461"/>
                </a:moveTo>
                <a:cubicBezTo>
                  <a:pt x="4898907" y="4691436"/>
                  <a:pt x="4889177" y="4695478"/>
                  <a:pt x="4887785" y="4699380"/>
                </a:cubicBezTo>
                <a:cubicBezTo>
                  <a:pt x="4900298" y="4702864"/>
                  <a:pt x="4877128" y="4704676"/>
                  <a:pt x="4881298" y="4714710"/>
                </a:cubicBezTo>
                <a:cubicBezTo>
                  <a:pt x="4895200" y="4709275"/>
                  <a:pt x="4903542" y="4697847"/>
                  <a:pt x="4924858" y="4700634"/>
                </a:cubicBezTo>
                <a:cubicBezTo>
                  <a:pt x="4926248" y="4691576"/>
                  <a:pt x="4917443" y="4689486"/>
                  <a:pt x="4908175" y="4690461"/>
                </a:cubicBezTo>
                <a:close/>
                <a:moveTo>
                  <a:pt x="6321526" y="4657572"/>
                </a:moveTo>
                <a:cubicBezTo>
                  <a:pt x="6299284" y="4665376"/>
                  <a:pt x="6280747" y="4655063"/>
                  <a:pt x="6270090" y="4676803"/>
                </a:cubicBezTo>
                <a:cubicBezTo>
                  <a:pt x="6288627" y="4687395"/>
                  <a:pt x="6312259" y="4670254"/>
                  <a:pt x="6321526" y="4657572"/>
                </a:cubicBezTo>
                <a:close/>
                <a:moveTo>
                  <a:pt x="11142213" y="4651021"/>
                </a:moveTo>
                <a:cubicBezTo>
                  <a:pt x="11132482" y="4649907"/>
                  <a:pt x="11114872" y="4665515"/>
                  <a:pt x="11100044" y="4659941"/>
                </a:cubicBezTo>
                <a:cubicBezTo>
                  <a:pt x="11105605" y="4684887"/>
                  <a:pt x="11139431" y="4668860"/>
                  <a:pt x="11149628" y="4659105"/>
                </a:cubicBezTo>
                <a:cubicBezTo>
                  <a:pt x="11148237" y="4653530"/>
                  <a:pt x="11145920" y="4651440"/>
                  <a:pt x="11142213" y="4651021"/>
                </a:cubicBezTo>
                <a:close/>
                <a:moveTo>
                  <a:pt x="10915149" y="4620779"/>
                </a:moveTo>
                <a:cubicBezTo>
                  <a:pt x="10904491" y="4622174"/>
                  <a:pt x="10893834" y="4623010"/>
                  <a:pt x="10883176" y="4622592"/>
                </a:cubicBezTo>
                <a:cubicBezTo>
                  <a:pt x="10878079" y="4625379"/>
                  <a:pt x="10870664" y="4627191"/>
                  <a:pt x="10865103" y="4630953"/>
                </a:cubicBezTo>
                <a:cubicBezTo>
                  <a:pt x="10867420" y="4663564"/>
                  <a:pt x="10892907" y="4664400"/>
                  <a:pt x="10911443" y="4676246"/>
                </a:cubicBezTo>
                <a:cubicBezTo>
                  <a:pt x="10914686" y="4673180"/>
                  <a:pt x="10915612" y="4668302"/>
                  <a:pt x="10917467" y="4663843"/>
                </a:cubicBezTo>
                <a:cubicBezTo>
                  <a:pt x="10917467" y="4663704"/>
                  <a:pt x="10917467" y="4663286"/>
                  <a:pt x="10917467" y="4663286"/>
                </a:cubicBezTo>
                <a:cubicBezTo>
                  <a:pt x="10923028" y="4649489"/>
                  <a:pt x="10921636" y="4633880"/>
                  <a:pt x="10915149" y="4620779"/>
                </a:cubicBezTo>
                <a:close/>
                <a:moveTo>
                  <a:pt x="11950834" y="4594162"/>
                </a:moveTo>
                <a:cubicBezTo>
                  <a:pt x="11949444" y="4606565"/>
                  <a:pt x="11949909" y="4607680"/>
                  <a:pt x="11952688" y="4618829"/>
                </a:cubicBezTo>
                <a:cubicBezTo>
                  <a:pt x="11932764" y="4631233"/>
                  <a:pt x="11921640" y="4614649"/>
                  <a:pt x="11903105" y="4620223"/>
                </a:cubicBezTo>
                <a:cubicBezTo>
                  <a:pt x="11904959" y="4606426"/>
                  <a:pt x="11918861" y="4606565"/>
                  <a:pt x="11926739" y="4600991"/>
                </a:cubicBezTo>
                <a:cubicBezTo>
                  <a:pt x="11926739" y="4610746"/>
                  <a:pt x="11929519" y="4615902"/>
                  <a:pt x="11934153" y="4617296"/>
                </a:cubicBezTo>
                <a:cubicBezTo>
                  <a:pt x="11940177" y="4610468"/>
                  <a:pt x="11930909" y="4607958"/>
                  <a:pt x="11935543" y="4596810"/>
                </a:cubicBezTo>
                <a:close/>
                <a:moveTo>
                  <a:pt x="3912341" y="4590957"/>
                </a:moveTo>
                <a:cubicBezTo>
                  <a:pt x="3910024" y="4590539"/>
                  <a:pt x="3907707" y="4590817"/>
                  <a:pt x="3904463" y="4591793"/>
                </a:cubicBezTo>
                <a:cubicBezTo>
                  <a:pt x="3907243" y="4604892"/>
                  <a:pt x="3897049" y="4602802"/>
                  <a:pt x="3897512" y="4613115"/>
                </a:cubicBezTo>
                <a:cubicBezTo>
                  <a:pt x="3901683" y="4617296"/>
                  <a:pt x="3924852" y="4620083"/>
                  <a:pt x="3925780" y="4609492"/>
                </a:cubicBezTo>
                <a:cubicBezTo>
                  <a:pt x="3923926" y="4608238"/>
                  <a:pt x="3921609" y="4605172"/>
                  <a:pt x="3921145" y="4599179"/>
                </a:cubicBezTo>
                <a:cubicBezTo>
                  <a:pt x="3926242" y="4598761"/>
                  <a:pt x="3933657" y="4599458"/>
                  <a:pt x="3933193" y="4593605"/>
                </a:cubicBezTo>
                <a:cubicBezTo>
                  <a:pt x="3922999" y="4597786"/>
                  <a:pt x="3918828" y="4592350"/>
                  <a:pt x="3912341" y="4590957"/>
                </a:cubicBezTo>
                <a:close/>
                <a:moveTo>
                  <a:pt x="3617159" y="4462047"/>
                </a:moveTo>
                <a:cubicBezTo>
                  <a:pt x="3622257" y="4462326"/>
                  <a:pt x="3627817" y="4463302"/>
                  <a:pt x="3631061" y="4462047"/>
                </a:cubicBezTo>
                <a:cubicBezTo>
                  <a:pt x="3632451" y="4471106"/>
                  <a:pt x="3625964" y="4471524"/>
                  <a:pt x="3625964" y="4477934"/>
                </a:cubicBezTo>
                <a:cubicBezTo>
                  <a:pt x="3619940" y="4475426"/>
                  <a:pt x="3615768" y="4469852"/>
                  <a:pt x="3607891" y="4467204"/>
                </a:cubicBezTo>
                <a:cubicBezTo>
                  <a:pt x="3607891" y="4462047"/>
                  <a:pt x="3612061" y="4461630"/>
                  <a:pt x="3617159" y="4462047"/>
                </a:cubicBezTo>
                <a:close/>
                <a:moveTo>
                  <a:pt x="3522163" y="4454522"/>
                </a:moveTo>
                <a:cubicBezTo>
                  <a:pt x="3536065" y="4453546"/>
                  <a:pt x="3551821" y="4469155"/>
                  <a:pt x="3573600" y="4457866"/>
                </a:cubicBezTo>
                <a:lnTo>
                  <a:pt x="3573600" y="4477934"/>
                </a:lnTo>
                <a:cubicBezTo>
                  <a:pt x="3547649" y="4461630"/>
                  <a:pt x="3538382" y="4481976"/>
                  <a:pt x="3509188" y="4463023"/>
                </a:cubicBezTo>
                <a:cubicBezTo>
                  <a:pt x="3513822" y="4457449"/>
                  <a:pt x="3517992" y="4454941"/>
                  <a:pt x="3522163" y="4454522"/>
                </a:cubicBezTo>
                <a:close/>
                <a:moveTo>
                  <a:pt x="3644036" y="4436405"/>
                </a:moveTo>
                <a:lnTo>
                  <a:pt x="3663963" y="4436405"/>
                </a:lnTo>
                <a:cubicBezTo>
                  <a:pt x="3667206" y="4452989"/>
                  <a:pt x="3647743" y="4443094"/>
                  <a:pt x="3649133" y="4456891"/>
                </a:cubicBezTo>
                <a:cubicBezTo>
                  <a:pt x="3642645" y="4455497"/>
                  <a:pt x="3645426" y="4444767"/>
                  <a:pt x="3644036" y="4436405"/>
                </a:cubicBezTo>
                <a:close/>
                <a:moveTo>
                  <a:pt x="3538382" y="4428740"/>
                </a:moveTo>
                <a:cubicBezTo>
                  <a:pt x="3544406" y="4428322"/>
                  <a:pt x="3550894" y="4430134"/>
                  <a:pt x="3558308" y="4432085"/>
                </a:cubicBezTo>
                <a:cubicBezTo>
                  <a:pt x="3546260" y="4447833"/>
                  <a:pt x="3534212" y="4443931"/>
                  <a:pt x="3518920" y="4440029"/>
                </a:cubicBezTo>
                <a:cubicBezTo>
                  <a:pt x="3525870" y="4432085"/>
                  <a:pt x="3531895" y="4429297"/>
                  <a:pt x="3538382" y="4428740"/>
                </a:cubicBezTo>
                <a:close/>
                <a:moveTo>
                  <a:pt x="3080549" y="4426929"/>
                </a:moveTo>
                <a:cubicBezTo>
                  <a:pt x="3088426" y="4428183"/>
                  <a:pt x="3097694" y="4431807"/>
                  <a:pt x="3104182" y="4431110"/>
                </a:cubicBezTo>
                <a:cubicBezTo>
                  <a:pt x="3093060" y="4452710"/>
                  <a:pt x="3081476" y="4447275"/>
                  <a:pt x="3064330" y="4438635"/>
                </a:cubicBezTo>
                <a:cubicBezTo>
                  <a:pt x="3065719" y="4427068"/>
                  <a:pt x="3072671" y="4425674"/>
                  <a:pt x="3080549" y="4426929"/>
                </a:cubicBezTo>
                <a:close/>
                <a:moveTo>
                  <a:pt x="4084261" y="4414804"/>
                </a:moveTo>
                <a:cubicBezTo>
                  <a:pt x="4072211" y="4415779"/>
                  <a:pt x="4059237" y="4416337"/>
                  <a:pt x="4056457" y="4426929"/>
                </a:cubicBezTo>
                <a:cubicBezTo>
                  <a:pt x="4060163" y="4428183"/>
                  <a:pt x="4062481" y="4431388"/>
                  <a:pt x="4062944" y="4437381"/>
                </a:cubicBezTo>
                <a:cubicBezTo>
                  <a:pt x="4071285" y="4430691"/>
                  <a:pt x="4083798" y="4428322"/>
                  <a:pt x="4084261" y="4414804"/>
                </a:cubicBezTo>
                <a:close/>
                <a:moveTo>
                  <a:pt x="3534675" y="4352092"/>
                </a:moveTo>
                <a:cubicBezTo>
                  <a:pt x="3539309" y="4352092"/>
                  <a:pt x="3543943" y="4352788"/>
                  <a:pt x="3549967" y="4354042"/>
                </a:cubicBezTo>
                <a:cubicBezTo>
                  <a:pt x="3542089" y="4363101"/>
                  <a:pt x="3545332" y="4377316"/>
                  <a:pt x="3542089" y="4386374"/>
                </a:cubicBezTo>
                <a:cubicBezTo>
                  <a:pt x="3618549" y="4388882"/>
                  <a:pt x="3695472" y="4411877"/>
                  <a:pt x="3756177" y="4411877"/>
                </a:cubicBezTo>
                <a:cubicBezTo>
                  <a:pt x="3717716" y="4423584"/>
                  <a:pt x="3676474" y="4423723"/>
                  <a:pt x="3634768" y="4418566"/>
                </a:cubicBezTo>
                <a:cubicBezTo>
                  <a:pt x="3631524" y="4421214"/>
                  <a:pt x="3626890" y="4419821"/>
                  <a:pt x="3621793" y="4417173"/>
                </a:cubicBezTo>
                <a:cubicBezTo>
                  <a:pt x="3578697" y="4410763"/>
                  <a:pt x="3532358" y="4399336"/>
                  <a:pt x="3489262" y="4389023"/>
                </a:cubicBezTo>
                <a:cubicBezTo>
                  <a:pt x="3500383" y="4387767"/>
                  <a:pt x="3511968" y="4386374"/>
                  <a:pt x="3524944" y="4386374"/>
                </a:cubicBezTo>
                <a:cubicBezTo>
                  <a:pt x="3526334" y="4379824"/>
                  <a:pt x="3530968" y="4375922"/>
                  <a:pt x="3532358" y="4369511"/>
                </a:cubicBezTo>
                <a:cubicBezTo>
                  <a:pt x="3511968" y="4374668"/>
                  <a:pt x="3516603" y="4369372"/>
                  <a:pt x="3498994" y="4364216"/>
                </a:cubicBezTo>
                <a:cubicBezTo>
                  <a:pt x="3508725" y="4359059"/>
                  <a:pt x="3515212" y="4355435"/>
                  <a:pt x="3522627" y="4353485"/>
                </a:cubicBezTo>
                <a:cubicBezTo>
                  <a:pt x="3526334" y="4352510"/>
                  <a:pt x="3530504" y="4351952"/>
                  <a:pt x="3534675" y="4352092"/>
                </a:cubicBezTo>
                <a:close/>
                <a:moveTo>
                  <a:pt x="4139868" y="4329654"/>
                </a:moveTo>
                <a:cubicBezTo>
                  <a:pt x="4138478" y="4331048"/>
                  <a:pt x="4137086" y="4331048"/>
                  <a:pt x="4135233" y="4331048"/>
                </a:cubicBezTo>
                <a:cubicBezTo>
                  <a:pt x="4136160" y="4331605"/>
                  <a:pt x="4135233" y="4331884"/>
                  <a:pt x="4135697" y="4332442"/>
                </a:cubicBezTo>
                <a:cubicBezTo>
                  <a:pt x="4137550" y="4332162"/>
                  <a:pt x="4139404" y="4331884"/>
                  <a:pt x="4141258" y="4331466"/>
                </a:cubicBezTo>
                <a:cubicBezTo>
                  <a:pt x="4140795" y="4330908"/>
                  <a:pt x="4140331" y="4330211"/>
                  <a:pt x="4139868" y="4329654"/>
                </a:cubicBezTo>
                <a:close/>
                <a:moveTo>
                  <a:pt x="4167209" y="4324079"/>
                </a:moveTo>
                <a:cubicBezTo>
                  <a:pt x="4163963" y="4325473"/>
                  <a:pt x="4157939" y="4326868"/>
                  <a:pt x="4153306" y="4326868"/>
                </a:cubicBezTo>
                <a:cubicBezTo>
                  <a:pt x="4152380" y="4327703"/>
                  <a:pt x="4152380" y="4328261"/>
                  <a:pt x="4151916" y="4329235"/>
                </a:cubicBezTo>
                <a:cubicBezTo>
                  <a:pt x="4157013" y="4328261"/>
                  <a:pt x="4162110" y="4326310"/>
                  <a:pt x="4166744" y="4325055"/>
                </a:cubicBezTo>
                <a:cubicBezTo>
                  <a:pt x="4166744" y="4324916"/>
                  <a:pt x="4166744" y="4324219"/>
                  <a:pt x="4167209" y="4324079"/>
                </a:cubicBezTo>
                <a:close/>
                <a:moveTo>
                  <a:pt x="4090748" y="4324079"/>
                </a:moveTo>
                <a:cubicBezTo>
                  <a:pt x="4079627" y="4324079"/>
                  <a:pt x="4083798" y="4343172"/>
                  <a:pt x="4077773" y="4349861"/>
                </a:cubicBezTo>
                <a:cubicBezTo>
                  <a:pt x="4080089" y="4352092"/>
                  <a:pt x="4088894" y="4357108"/>
                  <a:pt x="4095845" y="4358781"/>
                </a:cubicBezTo>
                <a:cubicBezTo>
                  <a:pt x="4099089" y="4357945"/>
                  <a:pt x="4101406" y="4356411"/>
                  <a:pt x="4104186" y="4354879"/>
                </a:cubicBezTo>
                <a:cubicBezTo>
                  <a:pt x="4104649" y="4353345"/>
                  <a:pt x="4105113" y="4352788"/>
                  <a:pt x="4104649" y="4349861"/>
                </a:cubicBezTo>
                <a:cubicBezTo>
                  <a:pt x="4106040" y="4350698"/>
                  <a:pt x="4107429" y="4350419"/>
                  <a:pt x="4108820" y="4351116"/>
                </a:cubicBezTo>
                <a:cubicBezTo>
                  <a:pt x="4110674" y="4348329"/>
                  <a:pt x="4111137" y="4344566"/>
                  <a:pt x="4109747" y="4339828"/>
                </a:cubicBezTo>
                <a:cubicBezTo>
                  <a:pt x="4108357" y="4339270"/>
                  <a:pt x="4106040" y="4339828"/>
                  <a:pt x="4104649" y="4338992"/>
                </a:cubicBezTo>
                <a:cubicBezTo>
                  <a:pt x="4125502" y="4313487"/>
                  <a:pt x="4093991" y="4342894"/>
                  <a:pt x="4090748" y="4324079"/>
                </a:cubicBezTo>
                <a:close/>
                <a:moveTo>
                  <a:pt x="4178329" y="4317529"/>
                </a:moveTo>
                <a:cubicBezTo>
                  <a:pt x="4176939" y="4318922"/>
                  <a:pt x="4176476" y="4320317"/>
                  <a:pt x="4175085" y="4320317"/>
                </a:cubicBezTo>
                <a:cubicBezTo>
                  <a:pt x="4176476" y="4320317"/>
                  <a:pt x="4176939" y="4318784"/>
                  <a:pt x="4178329" y="4318784"/>
                </a:cubicBezTo>
                <a:cubicBezTo>
                  <a:pt x="4178329" y="4318784"/>
                  <a:pt x="4178329" y="4318922"/>
                  <a:pt x="4178329" y="4317529"/>
                </a:cubicBezTo>
                <a:close/>
                <a:moveTo>
                  <a:pt x="4169524" y="4315021"/>
                </a:moveTo>
                <a:cubicBezTo>
                  <a:pt x="4167209" y="4315578"/>
                  <a:pt x="4164891" y="4316832"/>
                  <a:pt x="4162574" y="4318784"/>
                </a:cubicBezTo>
                <a:cubicBezTo>
                  <a:pt x="4167209" y="4318784"/>
                  <a:pt x="4172304" y="4317390"/>
                  <a:pt x="4176939" y="4316136"/>
                </a:cubicBezTo>
                <a:cubicBezTo>
                  <a:pt x="4174622" y="4314742"/>
                  <a:pt x="4172304" y="4314463"/>
                  <a:pt x="4169524" y="4315021"/>
                </a:cubicBezTo>
                <a:close/>
                <a:moveTo>
                  <a:pt x="4098625" y="4290354"/>
                </a:moveTo>
                <a:cubicBezTo>
                  <a:pt x="4095383" y="4291747"/>
                  <a:pt x="4090748" y="4291747"/>
                  <a:pt x="4087504" y="4291747"/>
                </a:cubicBezTo>
                <a:cubicBezTo>
                  <a:pt x="4087504" y="4291747"/>
                  <a:pt x="4087040" y="4291747"/>
                  <a:pt x="4085651" y="4291747"/>
                </a:cubicBezTo>
                <a:cubicBezTo>
                  <a:pt x="4085651" y="4291747"/>
                  <a:pt x="4084723" y="4291747"/>
                  <a:pt x="4082870" y="4291747"/>
                </a:cubicBezTo>
                <a:cubicBezTo>
                  <a:pt x="4073140" y="4291747"/>
                  <a:pt x="4062018" y="4291747"/>
                  <a:pt x="4052287" y="4291747"/>
                </a:cubicBezTo>
                <a:cubicBezTo>
                  <a:pt x="4043017" y="4294534"/>
                  <a:pt x="4035141" y="4301084"/>
                  <a:pt x="4031896" y="4313209"/>
                </a:cubicBezTo>
                <a:cubicBezTo>
                  <a:pt x="4055993" y="4294395"/>
                  <a:pt x="4087504" y="4305405"/>
                  <a:pt x="4114845" y="4297461"/>
                </a:cubicBezTo>
                <a:cubicBezTo>
                  <a:pt x="4106502" y="4298715"/>
                  <a:pt x="4100479" y="4295650"/>
                  <a:pt x="4098625" y="4290354"/>
                </a:cubicBezTo>
                <a:close/>
                <a:moveTo>
                  <a:pt x="3187593" y="4273491"/>
                </a:moveTo>
                <a:cubicBezTo>
                  <a:pt x="3196860" y="4273073"/>
                  <a:pt x="3206129" y="4287706"/>
                  <a:pt x="3212616" y="4290912"/>
                </a:cubicBezTo>
                <a:cubicBezTo>
                  <a:pt x="3202421" y="4307495"/>
                  <a:pt x="3189910" y="4279623"/>
                  <a:pt x="3177861" y="4279623"/>
                </a:cubicBezTo>
                <a:cubicBezTo>
                  <a:pt x="3181105" y="4275163"/>
                  <a:pt x="3184349" y="4273630"/>
                  <a:pt x="3187593" y="4273491"/>
                </a:cubicBezTo>
                <a:close/>
                <a:moveTo>
                  <a:pt x="3232542" y="4270147"/>
                </a:moveTo>
                <a:lnTo>
                  <a:pt x="3254785" y="4270147"/>
                </a:lnTo>
                <a:cubicBezTo>
                  <a:pt x="3254785" y="4275303"/>
                  <a:pt x="3250151" y="4273630"/>
                  <a:pt x="3245517" y="4274884"/>
                </a:cubicBezTo>
                <a:cubicBezTo>
                  <a:pt x="3246907" y="4278647"/>
                  <a:pt x="3250151" y="4280041"/>
                  <a:pt x="3250151" y="4283804"/>
                </a:cubicBezTo>
                <a:cubicBezTo>
                  <a:pt x="3254785" y="4285058"/>
                  <a:pt x="3254785" y="4282550"/>
                  <a:pt x="3254785" y="4280041"/>
                </a:cubicBezTo>
                <a:cubicBezTo>
                  <a:pt x="3267296" y="4282550"/>
                  <a:pt x="3248297" y="4287846"/>
                  <a:pt x="3250151" y="4294117"/>
                </a:cubicBezTo>
                <a:cubicBezTo>
                  <a:pt x="3239030" y="4282828"/>
                  <a:pt x="3232542" y="4284082"/>
                  <a:pt x="3227908" y="4299273"/>
                </a:cubicBezTo>
                <a:lnTo>
                  <a:pt x="3218640" y="4299273"/>
                </a:lnTo>
                <a:cubicBezTo>
                  <a:pt x="3212616" y="4277672"/>
                  <a:pt x="3234396" y="4286590"/>
                  <a:pt x="3232542" y="4270147"/>
                </a:cubicBezTo>
                <a:close/>
                <a:moveTo>
                  <a:pt x="3802053" y="4269310"/>
                </a:moveTo>
                <a:cubicBezTo>
                  <a:pt x="3803906" y="4271958"/>
                  <a:pt x="3807152" y="4274467"/>
                  <a:pt x="3810394" y="4275860"/>
                </a:cubicBezTo>
                <a:cubicBezTo>
                  <a:pt x="3816418" y="4270425"/>
                  <a:pt x="3830784" y="4274467"/>
                  <a:pt x="3841905" y="4273073"/>
                </a:cubicBezTo>
                <a:cubicBezTo>
                  <a:pt x="3827540" y="4271819"/>
                  <a:pt x="3815028" y="4270564"/>
                  <a:pt x="3802053" y="4269310"/>
                </a:cubicBezTo>
                <a:close/>
                <a:moveTo>
                  <a:pt x="4073140" y="4264154"/>
                </a:moveTo>
                <a:cubicBezTo>
                  <a:pt x="4065261" y="4263039"/>
                  <a:pt x="4056920" y="4263039"/>
                  <a:pt x="4050433" y="4265129"/>
                </a:cubicBezTo>
                <a:cubicBezTo>
                  <a:pt x="4064797" y="4266523"/>
                  <a:pt x="4079163" y="4268892"/>
                  <a:pt x="4093528" y="4270147"/>
                </a:cubicBezTo>
                <a:cubicBezTo>
                  <a:pt x="4087968" y="4267498"/>
                  <a:pt x="4081016" y="4265408"/>
                  <a:pt x="4073140" y="4264154"/>
                </a:cubicBezTo>
                <a:close/>
                <a:moveTo>
                  <a:pt x="3644036" y="4263597"/>
                </a:moveTo>
                <a:cubicBezTo>
                  <a:pt x="3642182" y="4263597"/>
                  <a:pt x="3638938" y="4265269"/>
                  <a:pt x="3637549" y="4266523"/>
                </a:cubicBezTo>
                <a:cubicBezTo>
                  <a:pt x="3640793" y="4266523"/>
                  <a:pt x="3642182" y="4266523"/>
                  <a:pt x="3645426" y="4266523"/>
                </a:cubicBezTo>
                <a:cubicBezTo>
                  <a:pt x="3645426" y="4265269"/>
                  <a:pt x="3645426" y="4264990"/>
                  <a:pt x="3644036" y="4263597"/>
                </a:cubicBezTo>
                <a:close/>
                <a:moveTo>
                  <a:pt x="4104649" y="4260948"/>
                </a:moveTo>
                <a:cubicBezTo>
                  <a:pt x="4104649" y="4264990"/>
                  <a:pt x="4103260" y="4267637"/>
                  <a:pt x="4103260" y="4271679"/>
                </a:cubicBezTo>
                <a:cubicBezTo>
                  <a:pt x="4111600" y="4271679"/>
                  <a:pt x="4119014" y="4273073"/>
                  <a:pt x="4128745" y="4274327"/>
                </a:cubicBezTo>
                <a:cubicBezTo>
                  <a:pt x="4130136" y="4273073"/>
                  <a:pt x="4130599" y="4271679"/>
                  <a:pt x="4131990" y="4271679"/>
                </a:cubicBezTo>
                <a:cubicBezTo>
                  <a:pt x="4127356" y="4262203"/>
                  <a:pt x="4119014" y="4258300"/>
                  <a:pt x="4104649" y="4260948"/>
                </a:cubicBezTo>
                <a:close/>
                <a:moveTo>
                  <a:pt x="3706131" y="4259834"/>
                </a:moveTo>
                <a:cubicBezTo>
                  <a:pt x="3707985" y="4261227"/>
                  <a:pt x="3707985" y="4262342"/>
                  <a:pt x="3709374" y="4263597"/>
                </a:cubicBezTo>
                <a:cubicBezTo>
                  <a:pt x="3709374" y="4262342"/>
                  <a:pt x="3710764" y="4261227"/>
                  <a:pt x="3710764" y="4259834"/>
                </a:cubicBezTo>
                <a:cubicBezTo>
                  <a:pt x="3709374" y="4259834"/>
                  <a:pt x="3707985" y="4259834"/>
                  <a:pt x="3706131" y="4259834"/>
                </a:cubicBezTo>
                <a:close/>
                <a:moveTo>
                  <a:pt x="4173232" y="4259555"/>
                </a:moveTo>
                <a:cubicBezTo>
                  <a:pt x="4163038" y="4258997"/>
                  <a:pt x="4154232" y="4261646"/>
                  <a:pt x="4156086" y="4271679"/>
                </a:cubicBezTo>
                <a:cubicBezTo>
                  <a:pt x="4168598" y="4258161"/>
                  <a:pt x="4188060" y="4278647"/>
                  <a:pt x="4197792" y="4266523"/>
                </a:cubicBezTo>
                <a:cubicBezTo>
                  <a:pt x="4194549" y="4263875"/>
                  <a:pt x="4182964" y="4259973"/>
                  <a:pt x="4173232" y="4259555"/>
                </a:cubicBezTo>
                <a:close/>
                <a:moveTo>
                  <a:pt x="12267796" y="4254816"/>
                </a:moveTo>
                <a:cubicBezTo>
                  <a:pt x="12271966" y="4255374"/>
                  <a:pt x="12275675" y="4256628"/>
                  <a:pt x="12280307" y="4258997"/>
                </a:cubicBezTo>
                <a:cubicBezTo>
                  <a:pt x="12283552" y="4275581"/>
                  <a:pt x="12267796" y="4268613"/>
                  <a:pt x="12271041" y="4285197"/>
                </a:cubicBezTo>
                <a:cubicBezTo>
                  <a:pt x="12242310" y="4277115"/>
                  <a:pt x="12248797" y="4293978"/>
                  <a:pt x="12243700" y="4304291"/>
                </a:cubicBezTo>
                <a:cubicBezTo>
                  <a:pt x="12246944" y="4304150"/>
                  <a:pt x="12248797" y="4305405"/>
                  <a:pt x="12255285" y="4305405"/>
                </a:cubicBezTo>
                <a:cubicBezTo>
                  <a:pt x="12265017" y="4310282"/>
                  <a:pt x="12220067" y="4332442"/>
                  <a:pt x="12221920" y="4303035"/>
                </a:cubicBezTo>
                <a:cubicBezTo>
                  <a:pt x="12225627" y="4304291"/>
                  <a:pt x="12228408" y="4302896"/>
                  <a:pt x="12230726" y="4303453"/>
                </a:cubicBezTo>
                <a:cubicBezTo>
                  <a:pt x="12229798" y="4282410"/>
                  <a:pt x="12238602" y="4259834"/>
                  <a:pt x="12256675" y="4255374"/>
                </a:cubicBezTo>
                <a:cubicBezTo>
                  <a:pt x="12260383" y="4254399"/>
                  <a:pt x="12264089" y="4254119"/>
                  <a:pt x="12267796" y="4254816"/>
                </a:cubicBezTo>
                <a:close/>
                <a:moveTo>
                  <a:pt x="3969803" y="4254399"/>
                </a:moveTo>
                <a:cubicBezTo>
                  <a:pt x="3971192" y="4257047"/>
                  <a:pt x="3972583" y="4258161"/>
                  <a:pt x="3974436" y="4262203"/>
                </a:cubicBezTo>
                <a:cubicBezTo>
                  <a:pt x="3975826" y="4260809"/>
                  <a:pt x="3977216" y="4258300"/>
                  <a:pt x="3979069" y="4255653"/>
                </a:cubicBezTo>
                <a:cubicBezTo>
                  <a:pt x="3975826" y="4257047"/>
                  <a:pt x="3973045" y="4255792"/>
                  <a:pt x="3969803" y="4254399"/>
                </a:cubicBezTo>
                <a:close/>
                <a:moveTo>
                  <a:pt x="4218644" y="4242134"/>
                </a:moveTo>
                <a:cubicBezTo>
                  <a:pt x="4214011" y="4244086"/>
                  <a:pt x="4208914" y="4245340"/>
                  <a:pt x="4204279" y="4246455"/>
                </a:cubicBezTo>
                <a:cubicBezTo>
                  <a:pt x="4220499" y="4253005"/>
                  <a:pt x="4237180" y="4262342"/>
                  <a:pt x="4242278" y="4255653"/>
                </a:cubicBezTo>
                <a:cubicBezTo>
                  <a:pt x="4236716" y="4253144"/>
                  <a:pt x="4227450" y="4247152"/>
                  <a:pt x="4218644" y="4242134"/>
                </a:cubicBezTo>
                <a:close/>
                <a:moveTo>
                  <a:pt x="3843296" y="4234331"/>
                </a:moveTo>
                <a:cubicBezTo>
                  <a:pt x="3843759" y="4234470"/>
                  <a:pt x="3843759" y="4234470"/>
                  <a:pt x="3844222" y="4234609"/>
                </a:cubicBezTo>
                <a:cubicBezTo>
                  <a:pt x="3843759" y="4234748"/>
                  <a:pt x="3843296" y="4235166"/>
                  <a:pt x="3842831" y="4235166"/>
                </a:cubicBezTo>
                <a:cubicBezTo>
                  <a:pt x="3843296" y="4235027"/>
                  <a:pt x="3842831" y="4234331"/>
                  <a:pt x="3843296" y="4234331"/>
                </a:cubicBezTo>
                <a:close/>
                <a:moveTo>
                  <a:pt x="12141290" y="4233773"/>
                </a:moveTo>
                <a:cubicBezTo>
                  <a:pt x="12155191" y="4233773"/>
                  <a:pt x="12165387" y="4240741"/>
                  <a:pt x="12179288" y="4240741"/>
                </a:cubicBezTo>
                <a:cubicBezTo>
                  <a:pt x="12181142" y="4255095"/>
                  <a:pt x="12143144" y="4247987"/>
                  <a:pt x="12141290" y="4233773"/>
                </a:cubicBezTo>
                <a:close/>
                <a:moveTo>
                  <a:pt x="4210303" y="4203253"/>
                </a:moveTo>
                <a:cubicBezTo>
                  <a:pt x="4210303" y="4207294"/>
                  <a:pt x="4211694" y="4211615"/>
                  <a:pt x="4213547" y="4215516"/>
                </a:cubicBezTo>
                <a:cubicBezTo>
                  <a:pt x="4218644" y="4216632"/>
                  <a:pt x="4223742" y="4218582"/>
                  <a:pt x="4228375" y="4220673"/>
                </a:cubicBezTo>
                <a:cubicBezTo>
                  <a:pt x="4230229" y="4219976"/>
                  <a:pt x="4232083" y="4219837"/>
                  <a:pt x="4233473" y="4219140"/>
                </a:cubicBezTo>
                <a:cubicBezTo>
                  <a:pt x="4226986" y="4212173"/>
                  <a:pt x="4221425" y="4204089"/>
                  <a:pt x="4210303" y="4203253"/>
                </a:cubicBezTo>
                <a:close/>
                <a:moveTo>
                  <a:pt x="4173696" y="4198096"/>
                </a:moveTo>
                <a:cubicBezTo>
                  <a:pt x="4171842" y="4215656"/>
                  <a:pt x="4168598" y="4214263"/>
                  <a:pt x="4146355" y="4208827"/>
                </a:cubicBezTo>
                <a:cubicBezTo>
                  <a:pt x="4143112" y="4212869"/>
                  <a:pt x="4136624" y="4217886"/>
                  <a:pt x="4143112" y="4219140"/>
                </a:cubicBezTo>
                <a:cubicBezTo>
                  <a:pt x="4157476" y="4217886"/>
                  <a:pt x="4175085" y="4223460"/>
                  <a:pt x="4190841" y="4222067"/>
                </a:cubicBezTo>
                <a:cubicBezTo>
                  <a:pt x="4189450" y="4218025"/>
                  <a:pt x="4188060" y="4215516"/>
                  <a:pt x="4184817" y="4214123"/>
                </a:cubicBezTo>
                <a:cubicBezTo>
                  <a:pt x="4188060" y="4214123"/>
                  <a:pt x="4194549" y="4212729"/>
                  <a:pt x="4201035" y="4212729"/>
                </a:cubicBezTo>
                <a:cubicBezTo>
                  <a:pt x="4195938" y="4208688"/>
                  <a:pt x="4191304" y="4203532"/>
                  <a:pt x="4188060" y="4198096"/>
                </a:cubicBezTo>
                <a:cubicBezTo>
                  <a:pt x="4178794" y="4208827"/>
                  <a:pt x="4183427" y="4208827"/>
                  <a:pt x="4173696" y="4198096"/>
                </a:cubicBezTo>
                <a:close/>
                <a:moveTo>
                  <a:pt x="4371565" y="4171060"/>
                </a:moveTo>
                <a:cubicBezTo>
                  <a:pt x="4371565" y="4180258"/>
                  <a:pt x="4375271" y="4185554"/>
                  <a:pt x="4380369" y="4188898"/>
                </a:cubicBezTo>
                <a:cubicBezTo>
                  <a:pt x="4383149" y="4185135"/>
                  <a:pt x="4385003" y="4180676"/>
                  <a:pt x="4384077" y="4171479"/>
                </a:cubicBezTo>
                <a:cubicBezTo>
                  <a:pt x="4385003" y="4171338"/>
                  <a:pt x="4385930" y="4171199"/>
                  <a:pt x="4386393" y="4171060"/>
                </a:cubicBezTo>
                <a:close/>
                <a:moveTo>
                  <a:pt x="4246912" y="4171060"/>
                </a:moveTo>
                <a:cubicBezTo>
                  <a:pt x="4244131" y="4181792"/>
                  <a:pt x="4239034" y="4191129"/>
                  <a:pt x="4237180" y="4203253"/>
                </a:cubicBezTo>
                <a:cubicBezTo>
                  <a:pt x="4246912" y="4205761"/>
                  <a:pt x="4256179" y="4208270"/>
                  <a:pt x="4265911" y="4210360"/>
                </a:cubicBezTo>
                <a:cubicBezTo>
                  <a:pt x="4270545" y="4209385"/>
                  <a:pt x="4274252" y="4207155"/>
                  <a:pt x="4278885" y="4206737"/>
                </a:cubicBezTo>
                <a:cubicBezTo>
                  <a:pt x="4294642" y="4203950"/>
                  <a:pt x="4348859" y="4217468"/>
                  <a:pt x="4327542" y="4196703"/>
                </a:cubicBezTo>
                <a:cubicBezTo>
                  <a:pt x="4329860" y="4194195"/>
                  <a:pt x="4334956" y="4194334"/>
                  <a:pt x="4339127" y="4194334"/>
                </a:cubicBezTo>
                <a:cubicBezTo>
                  <a:pt x="4338201" y="4185415"/>
                  <a:pt x="4343298" y="4171060"/>
                  <a:pt x="4334493" y="4171060"/>
                </a:cubicBezTo>
                <a:cubicBezTo>
                  <a:pt x="4331249" y="4192661"/>
                  <a:pt x="4291861" y="4172594"/>
                  <a:pt x="4293251" y="4198096"/>
                </a:cubicBezTo>
                <a:cubicBezTo>
                  <a:pt x="4291861" y="4191406"/>
                  <a:pt x="4288617" y="4195448"/>
                  <a:pt x="4283520" y="4198096"/>
                </a:cubicBezTo>
                <a:cubicBezTo>
                  <a:pt x="4291397" y="4187366"/>
                  <a:pt x="4280277" y="4187366"/>
                  <a:pt x="4288154" y="4176635"/>
                </a:cubicBezTo>
                <a:cubicBezTo>
                  <a:pt x="4269155" y="4172594"/>
                  <a:pt x="4266375" y="4179143"/>
                  <a:pt x="4246912" y="4171060"/>
                </a:cubicBezTo>
                <a:close/>
                <a:moveTo>
                  <a:pt x="12296990" y="4166461"/>
                </a:moveTo>
                <a:lnTo>
                  <a:pt x="12316916" y="4166461"/>
                </a:lnTo>
                <a:cubicBezTo>
                  <a:pt x="12318307" y="4196424"/>
                  <a:pt x="12306721" y="4202835"/>
                  <a:pt x="12302087" y="4232797"/>
                </a:cubicBezTo>
                <a:cubicBezTo>
                  <a:pt x="12296990" y="4238093"/>
                  <a:pt x="12265479" y="4240463"/>
                  <a:pt x="12277065" y="4248267"/>
                </a:cubicBezTo>
                <a:cubicBezTo>
                  <a:pt x="12288649" y="4257326"/>
                  <a:pt x="12268724" y="4248267"/>
                  <a:pt x="12264089" y="4248267"/>
                </a:cubicBezTo>
                <a:cubicBezTo>
                  <a:pt x="12270576" y="4220813"/>
                  <a:pt x="12293746" y="4193776"/>
                  <a:pt x="12296990" y="4166461"/>
                </a:cubicBezTo>
                <a:close/>
                <a:moveTo>
                  <a:pt x="4435049" y="4150992"/>
                </a:moveTo>
                <a:cubicBezTo>
                  <a:pt x="4420685" y="4169806"/>
                  <a:pt x="4406319" y="4156566"/>
                  <a:pt x="4385466" y="4167298"/>
                </a:cubicBezTo>
                <a:cubicBezTo>
                  <a:pt x="4388710" y="4167158"/>
                  <a:pt x="4390101" y="4169248"/>
                  <a:pt x="4392882" y="4169666"/>
                </a:cubicBezTo>
                <a:cubicBezTo>
                  <a:pt x="4405856" y="4167576"/>
                  <a:pt x="4418830" y="4163535"/>
                  <a:pt x="4430878" y="4161166"/>
                </a:cubicBezTo>
                <a:cubicBezTo>
                  <a:pt x="4430415" y="4158517"/>
                  <a:pt x="4431343" y="4155312"/>
                  <a:pt x="4435049" y="4150992"/>
                </a:cubicBezTo>
                <a:close/>
                <a:moveTo>
                  <a:pt x="4065261" y="4141237"/>
                </a:moveTo>
                <a:cubicBezTo>
                  <a:pt x="4059237" y="4143188"/>
                  <a:pt x="4052287" y="4150574"/>
                  <a:pt x="4050433" y="4156566"/>
                </a:cubicBezTo>
                <a:cubicBezTo>
                  <a:pt x="4066650" y="4156566"/>
                  <a:pt x="4063407" y="4162001"/>
                  <a:pt x="4077773" y="4156566"/>
                </a:cubicBezTo>
                <a:cubicBezTo>
                  <a:pt x="4077773" y="4142491"/>
                  <a:pt x="4071748" y="4139147"/>
                  <a:pt x="4065261" y="4141237"/>
                </a:cubicBezTo>
                <a:close/>
                <a:moveTo>
                  <a:pt x="4334493" y="4140122"/>
                </a:moveTo>
                <a:cubicBezTo>
                  <a:pt x="4339590" y="4156149"/>
                  <a:pt x="4348859" y="4169806"/>
                  <a:pt x="4361834" y="4176635"/>
                </a:cubicBezTo>
                <a:cubicBezTo>
                  <a:pt x="4361834" y="4160469"/>
                  <a:pt x="4371565" y="4167158"/>
                  <a:pt x="4376198" y="4145696"/>
                </a:cubicBezTo>
                <a:cubicBezTo>
                  <a:pt x="4365077" y="4130924"/>
                  <a:pt x="4345615" y="4156149"/>
                  <a:pt x="4334493" y="4140122"/>
                </a:cubicBezTo>
                <a:close/>
                <a:moveTo>
                  <a:pt x="4252936" y="4129392"/>
                </a:moveTo>
                <a:cubicBezTo>
                  <a:pt x="4246912" y="4132039"/>
                  <a:pt x="4237644" y="4133572"/>
                  <a:pt x="4239034" y="4145696"/>
                </a:cubicBezTo>
                <a:cubicBezTo>
                  <a:pt x="4272863" y="4133572"/>
                  <a:pt x="4296495" y="4153919"/>
                  <a:pt x="4320591" y="4167298"/>
                </a:cubicBezTo>
                <a:cubicBezTo>
                  <a:pt x="4327079" y="4164650"/>
                  <a:pt x="4331249" y="4160608"/>
                  <a:pt x="4334493" y="4156566"/>
                </a:cubicBezTo>
                <a:cubicBezTo>
                  <a:pt x="4321981" y="4151271"/>
                  <a:pt x="4307153" y="4158935"/>
                  <a:pt x="4315495" y="4140122"/>
                </a:cubicBezTo>
                <a:cubicBezTo>
                  <a:pt x="4296032" y="4149460"/>
                  <a:pt x="4286763" y="4140401"/>
                  <a:pt x="4274252" y="4132317"/>
                </a:cubicBezTo>
                <a:cubicBezTo>
                  <a:pt x="4267764" y="4133572"/>
                  <a:pt x="4259424" y="4135105"/>
                  <a:pt x="4252936" y="4136498"/>
                </a:cubicBezTo>
                <a:cubicBezTo>
                  <a:pt x="4252936" y="4132458"/>
                  <a:pt x="4252936" y="4130785"/>
                  <a:pt x="4252936" y="4129392"/>
                </a:cubicBezTo>
                <a:close/>
                <a:moveTo>
                  <a:pt x="4474439" y="4123817"/>
                </a:moveTo>
                <a:cubicBezTo>
                  <a:pt x="4472585" y="4123260"/>
                  <a:pt x="4470268" y="4123260"/>
                  <a:pt x="4467025" y="4124374"/>
                </a:cubicBezTo>
                <a:lnTo>
                  <a:pt x="4467025" y="4134966"/>
                </a:lnTo>
                <a:cubicBezTo>
                  <a:pt x="4470268" y="4148484"/>
                  <a:pt x="4489267" y="4136081"/>
                  <a:pt x="4490657" y="4129392"/>
                </a:cubicBezTo>
                <a:cubicBezTo>
                  <a:pt x="4482316" y="4131342"/>
                  <a:pt x="4480464" y="4125211"/>
                  <a:pt x="4474439" y="4123817"/>
                </a:cubicBezTo>
                <a:close/>
                <a:moveTo>
                  <a:pt x="4451269" y="4121726"/>
                </a:moveTo>
                <a:cubicBezTo>
                  <a:pt x="4448487" y="4121726"/>
                  <a:pt x="4445244" y="4122563"/>
                  <a:pt x="4442000" y="4123817"/>
                </a:cubicBezTo>
                <a:cubicBezTo>
                  <a:pt x="4435976" y="4126326"/>
                  <a:pt x="4429952" y="4130924"/>
                  <a:pt x="4425782" y="4134966"/>
                </a:cubicBezTo>
                <a:cubicBezTo>
                  <a:pt x="4440147" y="4134966"/>
                  <a:pt x="4457293" y="4140401"/>
                  <a:pt x="4459147" y="4124374"/>
                </a:cubicBezTo>
                <a:cubicBezTo>
                  <a:pt x="4457293" y="4122563"/>
                  <a:pt x="4454511" y="4121726"/>
                  <a:pt x="4451269" y="4121726"/>
                </a:cubicBezTo>
                <a:close/>
                <a:moveTo>
                  <a:pt x="4679259" y="4104167"/>
                </a:moveTo>
                <a:cubicBezTo>
                  <a:pt x="4678795" y="4106535"/>
                  <a:pt x="4680649" y="4106258"/>
                  <a:pt x="4680649" y="4107790"/>
                </a:cubicBezTo>
                <a:cubicBezTo>
                  <a:pt x="4682502" y="4107790"/>
                  <a:pt x="4683892" y="4107511"/>
                  <a:pt x="4685746" y="4107372"/>
                </a:cubicBezTo>
                <a:cubicBezTo>
                  <a:pt x="4683429" y="4105978"/>
                  <a:pt x="4682039" y="4106396"/>
                  <a:pt x="4679259" y="4104167"/>
                </a:cubicBezTo>
                <a:close/>
                <a:moveTo>
                  <a:pt x="4312771" y="4103644"/>
                </a:moveTo>
                <a:cubicBezTo>
                  <a:pt x="4308543" y="4103470"/>
                  <a:pt x="4304372" y="4103470"/>
                  <a:pt x="4300665" y="4104167"/>
                </a:cubicBezTo>
                <a:cubicBezTo>
                  <a:pt x="4293714" y="4105561"/>
                  <a:pt x="4288154" y="4109324"/>
                  <a:pt x="4288154" y="4118661"/>
                </a:cubicBezTo>
                <a:cubicBezTo>
                  <a:pt x="4304372" y="4118661"/>
                  <a:pt x="4312250" y="4108208"/>
                  <a:pt x="4325225" y="4104167"/>
                </a:cubicBezTo>
                <a:cubicBezTo>
                  <a:pt x="4321286" y="4104167"/>
                  <a:pt x="4317000" y="4103818"/>
                  <a:pt x="4312771" y="4103644"/>
                </a:cubicBezTo>
                <a:close/>
                <a:moveTo>
                  <a:pt x="4182964" y="4093436"/>
                </a:moveTo>
                <a:cubicBezTo>
                  <a:pt x="4154232" y="4092182"/>
                  <a:pt x="4175550" y="4122563"/>
                  <a:pt x="4137086" y="4107790"/>
                </a:cubicBezTo>
                <a:cubicBezTo>
                  <a:pt x="4138941" y="4125211"/>
                  <a:pt x="4119480" y="4120194"/>
                  <a:pt x="4119480" y="4134966"/>
                </a:cubicBezTo>
                <a:cubicBezTo>
                  <a:pt x="4140331" y="4125629"/>
                  <a:pt x="4181572" y="4136220"/>
                  <a:pt x="4192694" y="4113364"/>
                </a:cubicBezTo>
                <a:lnTo>
                  <a:pt x="4182964" y="4113364"/>
                </a:lnTo>
                <a:cubicBezTo>
                  <a:pt x="4171842" y="4113364"/>
                  <a:pt x="4181572" y="4096084"/>
                  <a:pt x="4182964" y="4093436"/>
                </a:cubicBezTo>
                <a:close/>
                <a:moveTo>
                  <a:pt x="4353029" y="4086886"/>
                </a:moveTo>
                <a:cubicBezTo>
                  <a:pt x="4350712" y="4086608"/>
                  <a:pt x="4347931" y="4086886"/>
                  <a:pt x="4344224" y="4087861"/>
                </a:cubicBezTo>
                <a:cubicBezTo>
                  <a:pt x="4338201" y="4103888"/>
                  <a:pt x="4371565" y="4101519"/>
                  <a:pt x="4371565" y="4093436"/>
                </a:cubicBezTo>
                <a:cubicBezTo>
                  <a:pt x="4363224" y="4093436"/>
                  <a:pt x="4359980" y="4088001"/>
                  <a:pt x="4353029" y="4086886"/>
                </a:cubicBezTo>
                <a:close/>
                <a:moveTo>
                  <a:pt x="4245521" y="4084377"/>
                </a:moveTo>
                <a:cubicBezTo>
                  <a:pt x="4243205" y="4083820"/>
                  <a:pt x="4240423" y="4083959"/>
                  <a:pt x="4238570" y="4084935"/>
                </a:cubicBezTo>
                <a:cubicBezTo>
                  <a:pt x="4235791" y="4086189"/>
                  <a:pt x="4233937" y="4089116"/>
                  <a:pt x="4233937" y="4093436"/>
                </a:cubicBezTo>
                <a:cubicBezTo>
                  <a:pt x="4237180" y="4094830"/>
                  <a:pt x="4239034" y="4097477"/>
                  <a:pt x="4239034" y="4104167"/>
                </a:cubicBezTo>
                <a:lnTo>
                  <a:pt x="4261278" y="4104167"/>
                </a:lnTo>
                <a:cubicBezTo>
                  <a:pt x="4262204" y="4093575"/>
                  <a:pt x="4253399" y="4085911"/>
                  <a:pt x="4245521" y="4084377"/>
                </a:cubicBezTo>
                <a:close/>
                <a:moveTo>
                  <a:pt x="4454511" y="4082566"/>
                </a:moveTo>
                <a:cubicBezTo>
                  <a:pt x="4449415" y="4089255"/>
                  <a:pt x="4449415" y="4102773"/>
                  <a:pt x="4439684" y="4104167"/>
                </a:cubicBezTo>
                <a:cubicBezTo>
                  <a:pt x="4433659" y="4102773"/>
                  <a:pt x="4422537" y="4105282"/>
                  <a:pt x="4430415" y="4109184"/>
                </a:cubicBezTo>
                <a:cubicBezTo>
                  <a:pt x="4444782" y="4113225"/>
                  <a:pt x="4444782" y="4100126"/>
                  <a:pt x="4459147" y="4104167"/>
                </a:cubicBezTo>
                <a:cubicBezTo>
                  <a:pt x="4452658" y="4090788"/>
                  <a:pt x="4460537" y="4088001"/>
                  <a:pt x="4454511" y="4082566"/>
                </a:cubicBezTo>
                <a:close/>
                <a:moveTo>
                  <a:pt x="4530973" y="4073368"/>
                </a:moveTo>
                <a:cubicBezTo>
                  <a:pt x="4523095" y="4073090"/>
                  <a:pt x="4515680" y="4073646"/>
                  <a:pt x="4508730" y="4076992"/>
                </a:cubicBezTo>
                <a:cubicBezTo>
                  <a:pt x="4538851" y="4084935"/>
                  <a:pt x="4602799" y="4088001"/>
                  <a:pt x="4574068" y="4114898"/>
                </a:cubicBezTo>
                <a:cubicBezTo>
                  <a:pt x="4575922" y="4119218"/>
                  <a:pt x="4582873" y="4123398"/>
                  <a:pt x="4590287" y="4126604"/>
                </a:cubicBezTo>
                <a:cubicBezTo>
                  <a:pt x="4597700" y="4124931"/>
                  <a:pt x="4603262" y="4123677"/>
                  <a:pt x="4611140" y="4122005"/>
                </a:cubicBezTo>
                <a:cubicBezTo>
                  <a:pt x="4610213" y="4111553"/>
                  <a:pt x="4595385" y="4121865"/>
                  <a:pt x="4586115" y="4119636"/>
                </a:cubicBezTo>
                <a:cubicBezTo>
                  <a:pt x="4595848" y="4105421"/>
                  <a:pt x="4580555" y="4116848"/>
                  <a:pt x="4581020" y="4100404"/>
                </a:cubicBezTo>
                <a:cubicBezTo>
                  <a:pt x="4586115" y="4102077"/>
                  <a:pt x="4590750" y="4104027"/>
                  <a:pt x="4595848" y="4105978"/>
                </a:cubicBezTo>
                <a:cubicBezTo>
                  <a:pt x="4591214" y="4098592"/>
                  <a:pt x="4590287" y="4089395"/>
                  <a:pt x="4601408" y="4076992"/>
                </a:cubicBezTo>
                <a:cubicBezTo>
                  <a:pt x="4581020" y="4084935"/>
                  <a:pt x="4554606" y="4073926"/>
                  <a:pt x="4530973" y="4073368"/>
                </a:cubicBezTo>
                <a:close/>
                <a:moveTo>
                  <a:pt x="4242278" y="4071835"/>
                </a:moveTo>
                <a:cubicBezTo>
                  <a:pt x="4216790" y="4069187"/>
                  <a:pt x="4227450" y="4102634"/>
                  <a:pt x="4201962" y="4087861"/>
                </a:cubicBezTo>
                <a:cubicBezTo>
                  <a:pt x="4198720" y="4103888"/>
                  <a:pt x="4216790" y="4098731"/>
                  <a:pt x="4224669" y="4104167"/>
                </a:cubicBezTo>
                <a:cubicBezTo>
                  <a:pt x="4224669" y="4086747"/>
                  <a:pt x="4233010" y="4086608"/>
                  <a:pt x="4242278" y="4071835"/>
                </a:cubicBezTo>
                <a:close/>
                <a:moveTo>
                  <a:pt x="4725135" y="4056784"/>
                </a:moveTo>
                <a:cubicBezTo>
                  <a:pt x="4726989" y="4064867"/>
                  <a:pt x="4719110" y="4083959"/>
                  <a:pt x="4728378" y="4083959"/>
                </a:cubicBezTo>
                <a:cubicBezTo>
                  <a:pt x="4733013" y="4078245"/>
                  <a:pt x="4738573" y="4081730"/>
                  <a:pt x="4744597" y="4086747"/>
                </a:cubicBezTo>
                <a:cubicBezTo>
                  <a:pt x="4753403" y="4087164"/>
                  <a:pt x="4758962" y="4084656"/>
                  <a:pt x="4756645" y="4073368"/>
                </a:cubicBezTo>
                <a:cubicBezTo>
                  <a:pt x="4775182" y="4082148"/>
                  <a:pt x="4788621" y="4071556"/>
                  <a:pt x="4802985" y="4064727"/>
                </a:cubicBezTo>
                <a:cubicBezTo>
                  <a:pt x="4795106" y="4065145"/>
                  <a:pt x="4785839" y="4069327"/>
                  <a:pt x="4779352" y="4073368"/>
                </a:cubicBezTo>
                <a:cubicBezTo>
                  <a:pt x="4779352" y="4066540"/>
                  <a:pt x="4773328" y="4064867"/>
                  <a:pt x="4774718" y="4056784"/>
                </a:cubicBezTo>
                <a:cubicBezTo>
                  <a:pt x="4758962" y="4055530"/>
                  <a:pt x="4749695" y="4088977"/>
                  <a:pt x="4757571" y="4056784"/>
                </a:cubicBezTo>
                <a:close/>
                <a:moveTo>
                  <a:pt x="4519850" y="4041036"/>
                </a:moveTo>
                <a:cubicBezTo>
                  <a:pt x="4521242" y="4043684"/>
                  <a:pt x="4523095" y="4044799"/>
                  <a:pt x="4527729" y="4046053"/>
                </a:cubicBezTo>
                <a:cubicBezTo>
                  <a:pt x="4526339" y="4043405"/>
                  <a:pt x="4525876" y="4042290"/>
                  <a:pt x="4525876" y="4041036"/>
                </a:cubicBezTo>
                <a:cubicBezTo>
                  <a:pt x="4524484" y="4039643"/>
                  <a:pt x="4523095" y="4039643"/>
                  <a:pt x="4519850" y="4041036"/>
                </a:cubicBezTo>
                <a:close/>
                <a:moveTo>
                  <a:pt x="4794644" y="4036855"/>
                </a:moveTo>
                <a:cubicBezTo>
                  <a:pt x="4786767" y="4037831"/>
                  <a:pt x="4778424" y="4039782"/>
                  <a:pt x="4770547" y="4041036"/>
                </a:cubicBezTo>
                <a:cubicBezTo>
                  <a:pt x="4793717" y="4034904"/>
                  <a:pt x="4786302" y="4059711"/>
                  <a:pt x="4806691" y="4051767"/>
                </a:cubicBezTo>
                <a:cubicBezTo>
                  <a:pt x="4804374" y="4051767"/>
                  <a:pt x="4803449" y="4044380"/>
                  <a:pt x="4802985" y="4037691"/>
                </a:cubicBezTo>
                <a:cubicBezTo>
                  <a:pt x="4800205" y="4037691"/>
                  <a:pt x="4797888" y="4036437"/>
                  <a:pt x="4794644" y="4036855"/>
                </a:cubicBezTo>
                <a:close/>
                <a:moveTo>
                  <a:pt x="4771010" y="4015255"/>
                </a:moveTo>
                <a:cubicBezTo>
                  <a:pt x="4769620" y="4015255"/>
                  <a:pt x="4768230" y="4016787"/>
                  <a:pt x="4766841" y="4020829"/>
                </a:cubicBezTo>
                <a:cubicBezTo>
                  <a:pt x="4773791" y="4023756"/>
                  <a:pt x="4771010" y="4027378"/>
                  <a:pt x="4768694" y="4031281"/>
                </a:cubicBezTo>
                <a:cubicBezTo>
                  <a:pt x="4773328" y="4030166"/>
                  <a:pt x="4777498" y="4028772"/>
                  <a:pt x="4782595" y="4027936"/>
                </a:cubicBezTo>
                <a:cubicBezTo>
                  <a:pt x="4778888" y="4023337"/>
                  <a:pt x="4774718" y="4015393"/>
                  <a:pt x="4771010" y="4015255"/>
                </a:cubicBezTo>
                <a:close/>
                <a:moveTo>
                  <a:pt x="4462390" y="4007311"/>
                </a:moveTo>
                <a:cubicBezTo>
                  <a:pt x="4459147" y="4009959"/>
                  <a:pt x="4455902" y="4012746"/>
                  <a:pt x="4454511" y="4019435"/>
                </a:cubicBezTo>
                <a:cubicBezTo>
                  <a:pt x="4462390" y="4028772"/>
                  <a:pt x="4473513" y="4047726"/>
                  <a:pt x="4463779" y="4062498"/>
                </a:cubicBezTo>
                <a:cubicBezTo>
                  <a:pt x="4476755" y="4063752"/>
                  <a:pt x="4470268" y="4042290"/>
                  <a:pt x="4481389" y="4041036"/>
                </a:cubicBezTo>
                <a:cubicBezTo>
                  <a:pt x="4475366" y="4035601"/>
                  <a:pt x="4463779" y="4035740"/>
                  <a:pt x="4463779" y="4025010"/>
                </a:cubicBezTo>
                <a:cubicBezTo>
                  <a:pt x="4489267" y="3999506"/>
                  <a:pt x="4489267" y="4070302"/>
                  <a:pt x="4513364" y="4046053"/>
                </a:cubicBezTo>
                <a:cubicBezTo>
                  <a:pt x="4510119" y="4044799"/>
                  <a:pt x="4510119" y="4043684"/>
                  <a:pt x="4510119" y="4042290"/>
                </a:cubicBezTo>
                <a:cubicBezTo>
                  <a:pt x="4508266" y="4039643"/>
                  <a:pt x="4506876" y="4036716"/>
                  <a:pt x="4504095" y="4035322"/>
                </a:cubicBezTo>
                <a:cubicBezTo>
                  <a:pt x="4500851" y="4035322"/>
                  <a:pt x="4498998" y="4034486"/>
                  <a:pt x="4497145" y="4034486"/>
                </a:cubicBezTo>
                <a:cubicBezTo>
                  <a:pt x="4494365" y="4033093"/>
                  <a:pt x="4491121" y="4030166"/>
                  <a:pt x="4487877" y="4030166"/>
                </a:cubicBezTo>
                <a:cubicBezTo>
                  <a:pt x="4489730" y="4015393"/>
                  <a:pt x="4508730" y="4023616"/>
                  <a:pt x="4504095" y="4010237"/>
                </a:cubicBezTo>
                <a:cubicBezTo>
                  <a:pt x="4498998" y="4012885"/>
                  <a:pt x="4494365" y="4011491"/>
                  <a:pt x="4489730" y="4010237"/>
                </a:cubicBezTo>
                <a:cubicBezTo>
                  <a:pt x="4483243" y="4016926"/>
                  <a:pt x="4470268" y="4014279"/>
                  <a:pt x="4459147" y="4014279"/>
                </a:cubicBezTo>
                <a:cubicBezTo>
                  <a:pt x="4460537" y="4011631"/>
                  <a:pt x="4462390" y="4009959"/>
                  <a:pt x="4462390" y="4007311"/>
                </a:cubicBezTo>
                <a:close/>
                <a:moveTo>
                  <a:pt x="4747841" y="4004942"/>
                </a:moveTo>
                <a:cubicBezTo>
                  <a:pt x="4715867" y="4015672"/>
                  <a:pt x="4704745" y="4010237"/>
                  <a:pt x="4679259" y="4010237"/>
                </a:cubicBezTo>
                <a:cubicBezTo>
                  <a:pt x="4677868" y="4030305"/>
                  <a:pt x="4744597" y="4027658"/>
                  <a:pt x="4747841" y="4004942"/>
                </a:cubicBezTo>
                <a:close/>
                <a:moveTo>
                  <a:pt x="4568971" y="4004942"/>
                </a:moveTo>
                <a:cubicBezTo>
                  <a:pt x="4570824" y="4018321"/>
                  <a:pt x="4551824" y="4008983"/>
                  <a:pt x="4555068" y="4025010"/>
                </a:cubicBezTo>
                <a:cubicBezTo>
                  <a:pt x="4559703" y="4023756"/>
                  <a:pt x="4564336" y="4023616"/>
                  <a:pt x="4567580" y="4023616"/>
                </a:cubicBezTo>
                <a:cubicBezTo>
                  <a:pt x="4566191" y="4020968"/>
                  <a:pt x="4565727" y="4018321"/>
                  <a:pt x="4568971" y="4014279"/>
                </a:cubicBezTo>
                <a:cubicBezTo>
                  <a:pt x="4570824" y="4014279"/>
                  <a:pt x="4572679" y="4014279"/>
                  <a:pt x="4574068" y="4014279"/>
                </a:cubicBezTo>
                <a:cubicBezTo>
                  <a:pt x="4572679" y="4011631"/>
                  <a:pt x="4568971" y="4008983"/>
                  <a:pt x="4568971" y="4004942"/>
                </a:cubicBezTo>
                <a:close/>
                <a:moveTo>
                  <a:pt x="4508730" y="4004942"/>
                </a:moveTo>
                <a:cubicBezTo>
                  <a:pt x="4508730" y="4006196"/>
                  <a:pt x="4506876" y="4005917"/>
                  <a:pt x="4506876" y="4007311"/>
                </a:cubicBezTo>
                <a:cubicBezTo>
                  <a:pt x="4508266" y="4008564"/>
                  <a:pt x="4510119" y="4008704"/>
                  <a:pt x="4511973" y="4008704"/>
                </a:cubicBezTo>
                <a:cubicBezTo>
                  <a:pt x="4511973" y="4007311"/>
                  <a:pt x="4511973" y="4004942"/>
                  <a:pt x="4508730" y="4004942"/>
                </a:cubicBezTo>
                <a:close/>
                <a:moveTo>
                  <a:pt x="4774254" y="3998391"/>
                </a:moveTo>
                <a:cubicBezTo>
                  <a:pt x="4763133" y="3997556"/>
                  <a:pt x="4753403" y="3998810"/>
                  <a:pt x="4752474" y="4010237"/>
                </a:cubicBezTo>
                <a:cubicBezTo>
                  <a:pt x="4765450" y="4014140"/>
                  <a:pt x="4763596" y="4002154"/>
                  <a:pt x="4774718" y="4004942"/>
                </a:cubicBezTo>
                <a:cubicBezTo>
                  <a:pt x="4768230" y="4025010"/>
                  <a:pt x="4795570" y="4006056"/>
                  <a:pt x="4794181" y="4020829"/>
                </a:cubicBezTo>
                <a:cubicBezTo>
                  <a:pt x="4793254" y="4023895"/>
                  <a:pt x="4790935" y="4025010"/>
                  <a:pt x="4789083" y="4026820"/>
                </a:cubicBezTo>
                <a:cubicBezTo>
                  <a:pt x="4794181" y="4026124"/>
                  <a:pt x="4799278" y="4025149"/>
                  <a:pt x="4804374" y="4024453"/>
                </a:cubicBezTo>
                <a:cubicBezTo>
                  <a:pt x="4805302" y="4020968"/>
                  <a:pt x="4805302" y="4015255"/>
                  <a:pt x="4806691" y="4015255"/>
                </a:cubicBezTo>
                <a:cubicBezTo>
                  <a:pt x="4809936" y="4016926"/>
                  <a:pt x="4810862" y="4020550"/>
                  <a:pt x="4812715" y="4023616"/>
                </a:cubicBezTo>
                <a:cubicBezTo>
                  <a:pt x="4814570" y="4023337"/>
                  <a:pt x="4816887" y="4022919"/>
                  <a:pt x="4818741" y="4022640"/>
                </a:cubicBezTo>
                <a:cubicBezTo>
                  <a:pt x="4813644" y="4016509"/>
                  <a:pt x="4807620" y="4010933"/>
                  <a:pt x="4806691" y="3999227"/>
                </a:cubicBezTo>
                <a:cubicBezTo>
                  <a:pt x="4798814" y="4002015"/>
                  <a:pt x="4785839" y="3999227"/>
                  <a:pt x="4774254" y="3998391"/>
                </a:cubicBezTo>
                <a:close/>
                <a:moveTo>
                  <a:pt x="4600018" y="3997277"/>
                </a:moveTo>
                <a:cubicBezTo>
                  <a:pt x="4598629" y="3997556"/>
                  <a:pt x="4597238" y="3998112"/>
                  <a:pt x="4595848" y="3999227"/>
                </a:cubicBezTo>
                <a:cubicBezTo>
                  <a:pt x="4602335" y="4004662"/>
                  <a:pt x="4605579" y="4012746"/>
                  <a:pt x="4610676" y="4019435"/>
                </a:cubicBezTo>
                <a:cubicBezTo>
                  <a:pt x="4589823" y="4024730"/>
                  <a:pt x="4601408" y="4034067"/>
                  <a:pt x="4606042" y="4046053"/>
                </a:cubicBezTo>
                <a:cubicBezTo>
                  <a:pt x="4604653" y="4039364"/>
                  <a:pt x="4577312" y="4039364"/>
                  <a:pt x="4591677" y="4046053"/>
                </a:cubicBezTo>
                <a:cubicBezTo>
                  <a:pt x="4600945" y="4068908"/>
                  <a:pt x="4637552" y="4059571"/>
                  <a:pt x="4650529" y="4078385"/>
                </a:cubicBezTo>
                <a:cubicBezTo>
                  <a:pt x="4642650" y="4082427"/>
                  <a:pt x="4636163" y="4062358"/>
                  <a:pt x="4632918" y="4078385"/>
                </a:cubicBezTo>
                <a:cubicBezTo>
                  <a:pt x="4644040" y="4079778"/>
                  <a:pt x="4651919" y="4093436"/>
                  <a:pt x="4642650" y="4104167"/>
                </a:cubicBezTo>
                <a:cubicBezTo>
                  <a:pt x="4657015" y="4105561"/>
                  <a:pt x="4663040" y="4092042"/>
                  <a:pt x="4674161" y="4104167"/>
                </a:cubicBezTo>
                <a:cubicBezTo>
                  <a:pt x="4679259" y="4085353"/>
                  <a:pt x="4653308" y="4100126"/>
                  <a:pt x="4655161" y="4083959"/>
                </a:cubicBezTo>
                <a:cubicBezTo>
                  <a:pt x="4669528" y="4062498"/>
                  <a:pt x="4714477" y="4097060"/>
                  <a:pt x="4715867" y="4056784"/>
                </a:cubicBezTo>
                <a:cubicBezTo>
                  <a:pt x="4687136" y="4060825"/>
                  <a:pt x="4653772" y="4066540"/>
                  <a:pt x="4652383" y="4051767"/>
                </a:cubicBezTo>
                <a:cubicBezTo>
                  <a:pt x="4642650" y="4063752"/>
                  <a:pt x="4618554" y="4063752"/>
                  <a:pt x="4610676" y="4051767"/>
                </a:cubicBezTo>
                <a:cubicBezTo>
                  <a:pt x="4613920" y="4036994"/>
                  <a:pt x="4604653" y="4038527"/>
                  <a:pt x="4606042" y="4025010"/>
                </a:cubicBezTo>
                <a:cubicBezTo>
                  <a:pt x="4619017" y="4020968"/>
                  <a:pt x="4617164" y="4032814"/>
                  <a:pt x="4628284" y="4030166"/>
                </a:cubicBezTo>
                <a:cubicBezTo>
                  <a:pt x="4627358" y="4018041"/>
                  <a:pt x="4614847" y="4001596"/>
                  <a:pt x="4605116" y="3997973"/>
                </a:cubicBezTo>
                <a:cubicBezTo>
                  <a:pt x="4603262" y="3997416"/>
                  <a:pt x="4601872" y="3997137"/>
                  <a:pt x="4600018" y="3997277"/>
                </a:cubicBezTo>
                <a:close/>
                <a:moveTo>
                  <a:pt x="4664893" y="3994211"/>
                </a:moveTo>
                <a:cubicBezTo>
                  <a:pt x="4653772" y="3998253"/>
                  <a:pt x="4639406" y="3999367"/>
                  <a:pt x="4632918" y="4010237"/>
                </a:cubicBezTo>
                <a:cubicBezTo>
                  <a:pt x="4645895" y="4024870"/>
                  <a:pt x="4652383" y="4004662"/>
                  <a:pt x="4660260" y="3999227"/>
                </a:cubicBezTo>
                <a:cubicBezTo>
                  <a:pt x="4662113" y="4004662"/>
                  <a:pt x="4666283" y="4003548"/>
                  <a:pt x="4664893" y="3994211"/>
                </a:cubicBezTo>
                <a:close/>
                <a:moveTo>
                  <a:pt x="4454048" y="3994211"/>
                </a:moveTo>
                <a:cubicBezTo>
                  <a:pt x="4446635" y="3994629"/>
                  <a:pt x="4438756" y="3995187"/>
                  <a:pt x="4431343" y="3995604"/>
                </a:cubicBezTo>
                <a:cubicBezTo>
                  <a:pt x="4432733" y="3996719"/>
                  <a:pt x="4435049" y="3996859"/>
                  <a:pt x="4435049" y="3999227"/>
                </a:cubicBezTo>
                <a:cubicBezTo>
                  <a:pt x="4427172" y="4003269"/>
                  <a:pt x="4423929" y="4012746"/>
                  <a:pt x="4408172" y="4008704"/>
                </a:cubicBezTo>
                <a:cubicBezTo>
                  <a:pt x="4431343" y="4027378"/>
                  <a:pt x="4441538" y="4010794"/>
                  <a:pt x="4454048" y="3994211"/>
                </a:cubicBezTo>
                <a:close/>
                <a:moveTo>
                  <a:pt x="4574068" y="3986824"/>
                </a:moveTo>
                <a:cubicBezTo>
                  <a:pt x="4565264" y="3987521"/>
                  <a:pt x="4556459" y="3987940"/>
                  <a:pt x="4547656" y="3988636"/>
                </a:cubicBezTo>
                <a:cubicBezTo>
                  <a:pt x="4555068" y="3986267"/>
                  <a:pt x="4558313" y="3990169"/>
                  <a:pt x="4562947" y="3992817"/>
                </a:cubicBezTo>
                <a:cubicBezTo>
                  <a:pt x="4567580" y="3992817"/>
                  <a:pt x="4574068" y="3992538"/>
                  <a:pt x="4578702" y="3988636"/>
                </a:cubicBezTo>
                <a:cubicBezTo>
                  <a:pt x="4577312" y="3988079"/>
                  <a:pt x="4575922" y="3987243"/>
                  <a:pt x="4574068" y="3986824"/>
                </a:cubicBezTo>
                <a:close/>
                <a:moveTo>
                  <a:pt x="4935979" y="3984456"/>
                </a:moveTo>
                <a:cubicBezTo>
                  <a:pt x="4930419" y="3993235"/>
                  <a:pt x="4926248" y="4001178"/>
                  <a:pt x="4921613" y="4009680"/>
                </a:cubicBezTo>
                <a:cubicBezTo>
                  <a:pt x="4931808" y="4009680"/>
                  <a:pt x="4938295" y="4009540"/>
                  <a:pt x="4947563" y="4009123"/>
                </a:cubicBezTo>
                <a:cubicBezTo>
                  <a:pt x="4943393" y="4002293"/>
                  <a:pt x="4948490" y="3983480"/>
                  <a:pt x="4935979" y="3984456"/>
                </a:cubicBezTo>
                <a:close/>
                <a:moveTo>
                  <a:pt x="4853031" y="3979161"/>
                </a:moveTo>
                <a:cubicBezTo>
                  <a:pt x="4840984" y="3993653"/>
                  <a:pt x="4813179" y="4006474"/>
                  <a:pt x="4824764" y="4021804"/>
                </a:cubicBezTo>
                <a:cubicBezTo>
                  <a:pt x="4830324" y="4020968"/>
                  <a:pt x="4835885" y="4020411"/>
                  <a:pt x="4840984" y="4019435"/>
                </a:cubicBezTo>
                <a:cubicBezTo>
                  <a:pt x="4844691" y="4017484"/>
                  <a:pt x="4848860" y="4016648"/>
                  <a:pt x="4853031" y="4015255"/>
                </a:cubicBezTo>
                <a:cubicBezTo>
                  <a:pt x="4860908" y="4013024"/>
                  <a:pt x="4868787" y="4011213"/>
                  <a:pt x="4875738" y="4007311"/>
                </a:cubicBezTo>
                <a:cubicBezTo>
                  <a:pt x="4885006" y="4008983"/>
                  <a:pt x="4899370" y="4008704"/>
                  <a:pt x="4912809" y="4009123"/>
                </a:cubicBezTo>
                <a:cubicBezTo>
                  <a:pt x="4914199" y="4005638"/>
                  <a:pt x="4914663" y="4001596"/>
                  <a:pt x="4913736" y="3994211"/>
                </a:cubicBezTo>
                <a:cubicBezTo>
                  <a:pt x="4885006" y="3999506"/>
                  <a:pt x="4877128" y="3980414"/>
                  <a:pt x="4853031" y="3979161"/>
                </a:cubicBezTo>
                <a:close/>
                <a:moveTo>
                  <a:pt x="3183885" y="3977905"/>
                </a:moveTo>
                <a:cubicBezTo>
                  <a:pt x="3195471" y="3984037"/>
                  <a:pt x="3204276" y="3995046"/>
                  <a:pt x="3208908" y="4011074"/>
                </a:cubicBezTo>
                <a:cubicBezTo>
                  <a:pt x="3191299" y="4009819"/>
                  <a:pt x="3191299" y="3990169"/>
                  <a:pt x="3183885" y="3977905"/>
                </a:cubicBezTo>
                <a:close/>
                <a:moveTo>
                  <a:pt x="4457755" y="3976930"/>
                </a:moveTo>
                <a:cubicBezTo>
                  <a:pt x="4450341" y="3977766"/>
                  <a:pt x="4452195" y="3983062"/>
                  <a:pt x="4450341" y="3987103"/>
                </a:cubicBezTo>
                <a:cubicBezTo>
                  <a:pt x="4454048" y="3986546"/>
                  <a:pt x="4457755" y="3986267"/>
                  <a:pt x="4461927" y="3985709"/>
                </a:cubicBezTo>
                <a:cubicBezTo>
                  <a:pt x="4464244" y="3983062"/>
                  <a:pt x="4465633" y="3979996"/>
                  <a:pt x="4468877" y="3977905"/>
                </a:cubicBezTo>
                <a:cubicBezTo>
                  <a:pt x="4463779" y="3976930"/>
                  <a:pt x="4460074" y="3976651"/>
                  <a:pt x="4457755" y="3976930"/>
                </a:cubicBezTo>
                <a:close/>
                <a:moveTo>
                  <a:pt x="5371106" y="3976791"/>
                </a:moveTo>
                <a:cubicBezTo>
                  <a:pt x="5370180" y="3977627"/>
                  <a:pt x="5369715" y="3978463"/>
                  <a:pt x="5369715" y="3979717"/>
                </a:cubicBezTo>
                <a:cubicBezTo>
                  <a:pt x="5373886" y="3979439"/>
                  <a:pt x="5378519" y="3979857"/>
                  <a:pt x="5383154" y="3979717"/>
                </a:cubicBezTo>
                <a:cubicBezTo>
                  <a:pt x="5381300" y="3979161"/>
                  <a:pt x="5380837" y="3977488"/>
                  <a:pt x="5378983" y="3976791"/>
                </a:cubicBezTo>
                <a:cubicBezTo>
                  <a:pt x="5374813" y="3977348"/>
                  <a:pt x="5373886" y="3976651"/>
                  <a:pt x="5371106" y="3976791"/>
                </a:cubicBezTo>
                <a:close/>
                <a:moveTo>
                  <a:pt x="5012901" y="3974561"/>
                </a:moveTo>
                <a:cubicBezTo>
                  <a:pt x="5006877" y="3975119"/>
                  <a:pt x="4999928" y="3979717"/>
                  <a:pt x="4996682" y="3984456"/>
                </a:cubicBezTo>
                <a:cubicBezTo>
                  <a:pt x="5009659" y="3980414"/>
                  <a:pt x="5009194" y="3994071"/>
                  <a:pt x="5023561" y="3990030"/>
                </a:cubicBezTo>
                <a:cubicBezTo>
                  <a:pt x="5024486" y="3977905"/>
                  <a:pt x="5019391" y="3974143"/>
                  <a:pt x="5012901" y="3974561"/>
                </a:cubicBezTo>
                <a:close/>
                <a:moveTo>
                  <a:pt x="5407713" y="3973446"/>
                </a:moveTo>
                <a:cubicBezTo>
                  <a:pt x="5406787" y="3975537"/>
                  <a:pt x="5405398" y="3976233"/>
                  <a:pt x="5404470" y="3978742"/>
                </a:cubicBezTo>
                <a:cubicBezTo>
                  <a:pt x="5405398" y="3978881"/>
                  <a:pt x="5405398" y="3978603"/>
                  <a:pt x="5406324" y="3978742"/>
                </a:cubicBezTo>
                <a:cubicBezTo>
                  <a:pt x="5410030" y="3978463"/>
                  <a:pt x="5415592" y="3977766"/>
                  <a:pt x="5420226" y="3977348"/>
                </a:cubicBezTo>
                <a:cubicBezTo>
                  <a:pt x="5416518" y="3975815"/>
                  <a:pt x="5411884" y="3973725"/>
                  <a:pt x="5407713" y="3973446"/>
                </a:cubicBezTo>
                <a:close/>
                <a:moveTo>
                  <a:pt x="3445703" y="3973167"/>
                </a:moveTo>
                <a:cubicBezTo>
                  <a:pt x="3453580" y="3974004"/>
                  <a:pt x="3461922" y="3978323"/>
                  <a:pt x="3470263" y="3983480"/>
                </a:cubicBezTo>
                <a:cubicBezTo>
                  <a:pt x="3454972" y="3993792"/>
                  <a:pt x="3444313" y="3983480"/>
                  <a:pt x="3421143" y="3983480"/>
                </a:cubicBezTo>
                <a:cubicBezTo>
                  <a:pt x="3429947" y="3974980"/>
                  <a:pt x="3437363" y="3972331"/>
                  <a:pt x="3445703" y="3973167"/>
                </a:cubicBezTo>
                <a:close/>
                <a:moveTo>
                  <a:pt x="4701501" y="3972610"/>
                </a:moveTo>
                <a:cubicBezTo>
                  <a:pt x="4698258" y="3983340"/>
                  <a:pt x="4682039" y="3987243"/>
                  <a:pt x="4674161" y="3977905"/>
                </a:cubicBezTo>
                <a:cubicBezTo>
                  <a:pt x="4670917" y="4002015"/>
                  <a:pt x="4720501" y="3983340"/>
                  <a:pt x="4701501" y="3972610"/>
                </a:cubicBezTo>
                <a:close/>
                <a:moveTo>
                  <a:pt x="3728837" y="3966060"/>
                </a:moveTo>
                <a:cubicBezTo>
                  <a:pt x="3735788" y="3964806"/>
                  <a:pt x="3742739" y="3965921"/>
                  <a:pt x="3746910" y="3970798"/>
                </a:cubicBezTo>
                <a:cubicBezTo>
                  <a:pt x="3743203" y="3980553"/>
                  <a:pt x="3738568" y="3972191"/>
                  <a:pt x="3733471" y="3970798"/>
                </a:cubicBezTo>
                <a:cubicBezTo>
                  <a:pt x="3728374" y="3970798"/>
                  <a:pt x="3729763" y="3977905"/>
                  <a:pt x="3728374" y="3982086"/>
                </a:cubicBezTo>
                <a:cubicBezTo>
                  <a:pt x="3724666" y="3979299"/>
                  <a:pt x="3719570" y="3976373"/>
                  <a:pt x="3712618" y="3976373"/>
                </a:cubicBezTo>
                <a:cubicBezTo>
                  <a:pt x="3715398" y="3970938"/>
                  <a:pt x="3721886" y="3967314"/>
                  <a:pt x="3728837" y="3966060"/>
                </a:cubicBezTo>
                <a:close/>
                <a:moveTo>
                  <a:pt x="5068046" y="3964248"/>
                </a:moveTo>
                <a:cubicBezTo>
                  <a:pt x="5069899" y="3969683"/>
                  <a:pt x="5068510" y="3975119"/>
                  <a:pt x="5065729" y="3979161"/>
                </a:cubicBezTo>
                <a:cubicBezTo>
                  <a:pt x="5074532" y="3973864"/>
                  <a:pt x="5081020" y="3977209"/>
                  <a:pt x="5088436" y="3982365"/>
                </a:cubicBezTo>
                <a:cubicBezTo>
                  <a:pt x="5090752" y="3981808"/>
                  <a:pt x="5093070" y="3980553"/>
                  <a:pt x="5095386" y="3979717"/>
                </a:cubicBezTo>
                <a:cubicBezTo>
                  <a:pt x="5091680" y="3975537"/>
                  <a:pt x="5086582" y="3972749"/>
                  <a:pt x="5078240" y="3974004"/>
                </a:cubicBezTo>
                <a:cubicBezTo>
                  <a:pt x="5078240" y="3971356"/>
                  <a:pt x="5078240" y="3966896"/>
                  <a:pt x="5078240" y="3964248"/>
                </a:cubicBezTo>
                <a:cubicBezTo>
                  <a:pt x="5074997" y="3965642"/>
                  <a:pt x="5073143" y="3965642"/>
                  <a:pt x="5068046" y="3964248"/>
                </a:cubicBezTo>
                <a:close/>
                <a:moveTo>
                  <a:pt x="4941539" y="3963691"/>
                </a:moveTo>
                <a:cubicBezTo>
                  <a:pt x="4936442" y="3964248"/>
                  <a:pt x="4931808" y="3967314"/>
                  <a:pt x="4931345" y="3974004"/>
                </a:cubicBezTo>
                <a:cubicBezTo>
                  <a:pt x="4943857" y="3970101"/>
                  <a:pt x="4940612" y="3984456"/>
                  <a:pt x="4950345" y="3984456"/>
                </a:cubicBezTo>
                <a:cubicBezTo>
                  <a:pt x="4950345" y="3976373"/>
                  <a:pt x="4951734" y="3972470"/>
                  <a:pt x="4954977" y="3968429"/>
                </a:cubicBezTo>
                <a:cubicBezTo>
                  <a:pt x="4951734" y="3965084"/>
                  <a:pt x="4946174" y="3963273"/>
                  <a:pt x="4941539" y="3963691"/>
                </a:cubicBezTo>
                <a:close/>
                <a:moveTo>
                  <a:pt x="3555991" y="3962854"/>
                </a:moveTo>
                <a:cubicBezTo>
                  <a:pt x="3562015" y="3963273"/>
                  <a:pt x="3569430" y="3965084"/>
                  <a:pt x="3573600" y="3963691"/>
                </a:cubicBezTo>
                <a:cubicBezTo>
                  <a:pt x="3573600" y="3970380"/>
                  <a:pt x="3575454" y="3973307"/>
                  <a:pt x="3579161" y="3974561"/>
                </a:cubicBezTo>
                <a:cubicBezTo>
                  <a:pt x="3567113" y="4002851"/>
                  <a:pt x="3563869" y="3963970"/>
                  <a:pt x="3544869" y="3969404"/>
                </a:cubicBezTo>
                <a:cubicBezTo>
                  <a:pt x="3544869" y="3963273"/>
                  <a:pt x="3549503" y="3962297"/>
                  <a:pt x="3555991" y="3962854"/>
                </a:cubicBezTo>
                <a:close/>
                <a:moveTo>
                  <a:pt x="4408172" y="3961879"/>
                </a:moveTo>
                <a:cubicBezTo>
                  <a:pt x="4393807" y="3964526"/>
                  <a:pt x="4381297" y="3968707"/>
                  <a:pt x="4376198" y="3983480"/>
                </a:cubicBezTo>
                <a:cubicBezTo>
                  <a:pt x="4390564" y="3980832"/>
                  <a:pt x="4406319" y="3978045"/>
                  <a:pt x="4408172" y="3961879"/>
                </a:cubicBezTo>
                <a:close/>
                <a:moveTo>
                  <a:pt x="5634777" y="3961321"/>
                </a:moveTo>
                <a:cubicBezTo>
                  <a:pt x="5632924" y="3962716"/>
                  <a:pt x="5631070" y="3963830"/>
                  <a:pt x="5627362" y="3965782"/>
                </a:cubicBezTo>
                <a:cubicBezTo>
                  <a:pt x="5629216" y="3965224"/>
                  <a:pt x="5631533" y="3964806"/>
                  <a:pt x="5633386" y="3963691"/>
                </a:cubicBezTo>
                <a:cubicBezTo>
                  <a:pt x="5633850" y="3962854"/>
                  <a:pt x="5634777" y="3962158"/>
                  <a:pt x="5634777" y="3961321"/>
                </a:cubicBezTo>
                <a:close/>
                <a:moveTo>
                  <a:pt x="5483248" y="3961043"/>
                </a:moveTo>
                <a:cubicBezTo>
                  <a:pt x="5480467" y="3962018"/>
                  <a:pt x="5480467" y="3966199"/>
                  <a:pt x="5480003" y="3969823"/>
                </a:cubicBezTo>
                <a:cubicBezTo>
                  <a:pt x="5484173" y="3969265"/>
                  <a:pt x="5488344" y="3968429"/>
                  <a:pt x="5492516" y="3967872"/>
                </a:cubicBezTo>
                <a:cubicBezTo>
                  <a:pt x="5489271" y="3965782"/>
                  <a:pt x="5486026" y="3964945"/>
                  <a:pt x="5483248" y="3961043"/>
                </a:cubicBezTo>
                <a:close/>
                <a:moveTo>
                  <a:pt x="4924858" y="3958117"/>
                </a:moveTo>
                <a:cubicBezTo>
                  <a:pt x="4884079" y="3957698"/>
                  <a:pt x="4842837" y="3957977"/>
                  <a:pt x="4808544" y="3969404"/>
                </a:cubicBezTo>
                <a:cubicBezTo>
                  <a:pt x="4811789" y="3957141"/>
                  <a:pt x="4804374" y="3959093"/>
                  <a:pt x="4797888" y="3960486"/>
                </a:cubicBezTo>
                <a:cubicBezTo>
                  <a:pt x="4796961" y="3966617"/>
                  <a:pt x="4791400" y="3967314"/>
                  <a:pt x="4784913" y="3968429"/>
                </a:cubicBezTo>
                <a:cubicBezTo>
                  <a:pt x="4819666" y="3997973"/>
                  <a:pt x="4860908" y="3948639"/>
                  <a:pt x="4926712" y="3963412"/>
                </a:cubicBezTo>
                <a:cubicBezTo>
                  <a:pt x="4926712" y="3961043"/>
                  <a:pt x="4925320" y="3959928"/>
                  <a:pt x="4924858" y="3958117"/>
                </a:cubicBezTo>
                <a:close/>
                <a:moveTo>
                  <a:pt x="4780278" y="3957141"/>
                </a:moveTo>
                <a:cubicBezTo>
                  <a:pt x="4774254" y="3958396"/>
                  <a:pt x="4768694" y="3959370"/>
                  <a:pt x="4763133" y="3960486"/>
                </a:cubicBezTo>
                <a:cubicBezTo>
                  <a:pt x="4760353" y="3962018"/>
                  <a:pt x="4757571" y="3963273"/>
                  <a:pt x="4757571" y="3968429"/>
                </a:cubicBezTo>
                <a:cubicBezTo>
                  <a:pt x="4763133" y="3980553"/>
                  <a:pt x="4782132" y="3972610"/>
                  <a:pt x="4780278" y="3957141"/>
                </a:cubicBezTo>
                <a:close/>
                <a:moveTo>
                  <a:pt x="4683892" y="3956862"/>
                </a:moveTo>
                <a:cubicBezTo>
                  <a:pt x="4683892" y="3956862"/>
                  <a:pt x="4683429" y="3957141"/>
                  <a:pt x="4682966" y="3957141"/>
                </a:cubicBezTo>
                <a:cubicBezTo>
                  <a:pt x="4683892" y="3957141"/>
                  <a:pt x="4684819" y="3957280"/>
                  <a:pt x="4685746" y="3957141"/>
                </a:cubicBezTo>
                <a:cubicBezTo>
                  <a:pt x="4685283" y="3957141"/>
                  <a:pt x="4684819" y="3956862"/>
                  <a:pt x="4683892" y="3956862"/>
                </a:cubicBezTo>
                <a:close/>
                <a:moveTo>
                  <a:pt x="4508730" y="3952403"/>
                </a:moveTo>
                <a:cubicBezTo>
                  <a:pt x="4508730" y="3963273"/>
                  <a:pt x="4492511" y="3956304"/>
                  <a:pt x="4490657" y="3967036"/>
                </a:cubicBezTo>
                <a:cubicBezTo>
                  <a:pt x="4506876" y="3967036"/>
                  <a:pt x="4515217" y="3956444"/>
                  <a:pt x="4523095" y="3972610"/>
                </a:cubicBezTo>
                <a:cubicBezTo>
                  <a:pt x="4523095" y="3975537"/>
                  <a:pt x="4520778" y="3976233"/>
                  <a:pt x="4518925" y="3977348"/>
                </a:cubicBezTo>
                <a:cubicBezTo>
                  <a:pt x="4525876" y="3976373"/>
                  <a:pt x="4532826" y="3975537"/>
                  <a:pt x="4539778" y="3974561"/>
                </a:cubicBezTo>
                <a:cubicBezTo>
                  <a:pt x="4528193" y="3968848"/>
                  <a:pt x="4517535" y="3961879"/>
                  <a:pt x="4508730" y="3952403"/>
                </a:cubicBezTo>
                <a:close/>
                <a:moveTo>
                  <a:pt x="4225132" y="3950173"/>
                </a:moveTo>
                <a:cubicBezTo>
                  <a:pt x="4223742" y="3949754"/>
                  <a:pt x="4221888" y="3951566"/>
                  <a:pt x="4220035" y="3956304"/>
                </a:cubicBezTo>
                <a:cubicBezTo>
                  <a:pt x="4231156" y="3968290"/>
                  <a:pt x="4181572" y="3955189"/>
                  <a:pt x="4182964" y="3972610"/>
                </a:cubicBezTo>
                <a:cubicBezTo>
                  <a:pt x="4194085" y="3979299"/>
                  <a:pt x="4203816" y="3960486"/>
                  <a:pt x="4224669" y="3972610"/>
                </a:cubicBezTo>
                <a:cubicBezTo>
                  <a:pt x="4231620" y="3969544"/>
                  <a:pt x="4229765" y="3951009"/>
                  <a:pt x="4225132" y="3950173"/>
                </a:cubicBezTo>
                <a:close/>
                <a:moveTo>
                  <a:pt x="5399835" y="3948361"/>
                </a:moveTo>
                <a:cubicBezTo>
                  <a:pt x="5392886" y="3952263"/>
                  <a:pt x="5388715" y="3959231"/>
                  <a:pt x="5385007" y="3967036"/>
                </a:cubicBezTo>
                <a:cubicBezTo>
                  <a:pt x="5389642" y="3967314"/>
                  <a:pt x="5394739" y="3967872"/>
                  <a:pt x="5399373" y="3967036"/>
                </a:cubicBezTo>
                <a:cubicBezTo>
                  <a:pt x="5399835" y="3960764"/>
                  <a:pt x="5399373" y="3955608"/>
                  <a:pt x="5399835" y="3948361"/>
                </a:cubicBezTo>
                <a:close/>
                <a:moveTo>
                  <a:pt x="5454053" y="3945573"/>
                </a:moveTo>
                <a:cubicBezTo>
                  <a:pt x="5442932" y="3956723"/>
                  <a:pt x="5425323" y="3952123"/>
                  <a:pt x="5413738" y="3963691"/>
                </a:cubicBezTo>
                <a:cubicBezTo>
                  <a:pt x="5416518" y="3962854"/>
                  <a:pt x="5419298" y="3962854"/>
                  <a:pt x="5422542" y="3961879"/>
                </a:cubicBezTo>
                <a:cubicBezTo>
                  <a:pt x="5422542" y="3968568"/>
                  <a:pt x="5424396" y="3971217"/>
                  <a:pt x="5427639" y="3972610"/>
                </a:cubicBezTo>
                <a:cubicBezTo>
                  <a:pt x="5427177" y="3974980"/>
                  <a:pt x="5426250" y="3975537"/>
                  <a:pt x="5425323" y="3976373"/>
                </a:cubicBezTo>
                <a:cubicBezTo>
                  <a:pt x="5431347" y="3975815"/>
                  <a:pt x="5438297" y="3974839"/>
                  <a:pt x="5444322" y="3974004"/>
                </a:cubicBezTo>
                <a:cubicBezTo>
                  <a:pt x="5448956" y="3968151"/>
                  <a:pt x="5452200" y="3959789"/>
                  <a:pt x="5454053" y="3945573"/>
                </a:cubicBezTo>
                <a:close/>
                <a:moveTo>
                  <a:pt x="5383618" y="3945017"/>
                </a:moveTo>
                <a:cubicBezTo>
                  <a:pt x="5377594" y="3951288"/>
                  <a:pt x="5341450" y="3935679"/>
                  <a:pt x="5341450" y="3972191"/>
                </a:cubicBezTo>
                <a:cubicBezTo>
                  <a:pt x="5329401" y="3969404"/>
                  <a:pt x="5329401" y="3972331"/>
                  <a:pt x="5321523" y="3974561"/>
                </a:cubicBezTo>
                <a:cubicBezTo>
                  <a:pt x="5323375" y="3975815"/>
                  <a:pt x="5325693" y="3975954"/>
                  <a:pt x="5327084" y="3977905"/>
                </a:cubicBezTo>
                <a:cubicBezTo>
                  <a:pt x="5327084" y="3979020"/>
                  <a:pt x="5327084" y="3979578"/>
                  <a:pt x="5327084" y="3980553"/>
                </a:cubicBezTo>
                <a:cubicBezTo>
                  <a:pt x="5334960" y="3980414"/>
                  <a:pt x="5343765" y="3980553"/>
                  <a:pt x="5351643" y="3980275"/>
                </a:cubicBezTo>
                <a:cubicBezTo>
                  <a:pt x="5353497" y="3979439"/>
                  <a:pt x="5353960" y="3977488"/>
                  <a:pt x="5354887" y="3976373"/>
                </a:cubicBezTo>
                <a:cubicBezTo>
                  <a:pt x="5353497" y="3976095"/>
                  <a:pt x="5350717" y="3976930"/>
                  <a:pt x="5348863" y="3976373"/>
                </a:cubicBezTo>
                <a:cubicBezTo>
                  <a:pt x="5351643" y="3970101"/>
                  <a:pt x="5355350" y="3969823"/>
                  <a:pt x="5358595" y="3970241"/>
                </a:cubicBezTo>
                <a:cubicBezTo>
                  <a:pt x="5360448" y="3967454"/>
                  <a:pt x="5363691" y="3966478"/>
                  <a:pt x="5363691" y="3961879"/>
                </a:cubicBezTo>
                <a:cubicBezTo>
                  <a:pt x="5367399" y="3964526"/>
                  <a:pt x="5371569" y="3963412"/>
                  <a:pt x="5375739" y="3964667"/>
                </a:cubicBezTo>
                <a:cubicBezTo>
                  <a:pt x="5378519" y="3958952"/>
                  <a:pt x="5378056" y="3948361"/>
                  <a:pt x="5383618" y="3945017"/>
                </a:cubicBezTo>
                <a:close/>
                <a:moveTo>
                  <a:pt x="5068973" y="3942646"/>
                </a:moveTo>
                <a:cubicBezTo>
                  <a:pt x="5065729" y="3944180"/>
                  <a:pt x="5061094" y="3944320"/>
                  <a:pt x="5057388" y="3945573"/>
                </a:cubicBezTo>
                <a:cubicBezTo>
                  <a:pt x="5060631" y="3947525"/>
                  <a:pt x="5064339" y="3949615"/>
                  <a:pt x="5065729" y="3953936"/>
                </a:cubicBezTo>
                <a:cubicBezTo>
                  <a:pt x="5067120" y="3953099"/>
                  <a:pt x="5068973" y="3953936"/>
                  <a:pt x="5070364" y="3953517"/>
                </a:cubicBezTo>
                <a:cubicBezTo>
                  <a:pt x="5069899" y="3950451"/>
                  <a:pt x="5069437" y="3946270"/>
                  <a:pt x="5068973" y="3942646"/>
                </a:cubicBezTo>
                <a:close/>
                <a:moveTo>
                  <a:pt x="4566191" y="3941811"/>
                </a:moveTo>
                <a:cubicBezTo>
                  <a:pt x="4559241" y="3945156"/>
                  <a:pt x="4566654" y="3956862"/>
                  <a:pt x="4559703" y="3961879"/>
                </a:cubicBezTo>
                <a:cubicBezTo>
                  <a:pt x="4559703" y="3953796"/>
                  <a:pt x="4555995" y="3948222"/>
                  <a:pt x="4549971" y="3946828"/>
                </a:cubicBezTo>
                <a:cubicBezTo>
                  <a:pt x="4549971" y="3956304"/>
                  <a:pt x="4556459" y="3957559"/>
                  <a:pt x="4555068" y="3967036"/>
                </a:cubicBezTo>
                <a:cubicBezTo>
                  <a:pt x="4562020" y="3962994"/>
                  <a:pt x="4568044" y="3967733"/>
                  <a:pt x="4572679" y="3969823"/>
                </a:cubicBezTo>
                <a:cubicBezTo>
                  <a:pt x="4574068" y="3969683"/>
                  <a:pt x="4575922" y="3969544"/>
                  <a:pt x="4577312" y="3969404"/>
                </a:cubicBezTo>
                <a:cubicBezTo>
                  <a:pt x="4577776" y="3968707"/>
                  <a:pt x="4578702" y="3968568"/>
                  <a:pt x="4578702" y="3967036"/>
                </a:cubicBezTo>
                <a:cubicBezTo>
                  <a:pt x="4575459" y="3967036"/>
                  <a:pt x="4572679" y="3967314"/>
                  <a:pt x="4574068" y="3961879"/>
                </a:cubicBezTo>
                <a:cubicBezTo>
                  <a:pt x="4581947" y="3951149"/>
                  <a:pt x="4570824" y="3952542"/>
                  <a:pt x="4578702" y="3941811"/>
                </a:cubicBezTo>
                <a:cubicBezTo>
                  <a:pt x="4572679" y="3940417"/>
                  <a:pt x="4568507" y="3940696"/>
                  <a:pt x="4566191" y="3941811"/>
                </a:cubicBezTo>
                <a:close/>
                <a:moveTo>
                  <a:pt x="5308085" y="3940278"/>
                </a:moveTo>
                <a:cubicBezTo>
                  <a:pt x="5298352" y="3944599"/>
                  <a:pt x="5314110" y="3950730"/>
                  <a:pt x="5311792" y="3961879"/>
                </a:cubicBezTo>
                <a:cubicBezTo>
                  <a:pt x="5303914" y="3964388"/>
                  <a:pt x="5296962" y="3962436"/>
                  <a:pt x="5292329" y="3958952"/>
                </a:cubicBezTo>
                <a:cubicBezTo>
                  <a:pt x="5293255" y="3964248"/>
                  <a:pt x="5295109" y="3968290"/>
                  <a:pt x="5297425" y="3967872"/>
                </a:cubicBezTo>
                <a:cubicBezTo>
                  <a:pt x="5297425" y="3968707"/>
                  <a:pt x="5296962" y="3968429"/>
                  <a:pt x="5296499" y="3968987"/>
                </a:cubicBezTo>
                <a:cubicBezTo>
                  <a:pt x="5303914" y="3968987"/>
                  <a:pt x="5311329" y="3969823"/>
                  <a:pt x="5317351" y="3972191"/>
                </a:cubicBezTo>
                <a:cubicBezTo>
                  <a:pt x="5315034" y="3955608"/>
                  <a:pt x="5320596" y="3947246"/>
                  <a:pt x="5308085" y="3940278"/>
                </a:cubicBezTo>
                <a:close/>
                <a:moveTo>
                  <a:pt x="4448487" y="3940278"/>
                </a:moveTo>
                <a:cubicBezTo>
                  <a:pt x="4435513" y="3938326"/>
                  <a:pt x="4417441" y="3958952"/>
                  <a:pt x="4412807" y="3967036"/>
                </a:cubicBezTo>
                <a:cubicBezTo>
                  <a:pt x="4420685" y="3969683"/>
                  <a:pt x="4423929" y="3958952"/>
                  <a:pt x="4427172" y="3967036"/>
                </a:cubicBezTo>
                <a:cubicBezTo>
                  <a:pt x="4422537" y="3983062"/>
                  <a:pt x="4412807" y="3990169"/>
                  <a:pt x="4398441" y="3983480"/>
                </a:cubicBezTo>
                <a:cubicBezTo>
                  <a:pt x="4397053" y="3990866"/>
                  <a:pt x="4400295" y="3992956"/>
                  <a:pt x="4404929" y="3993653"/>
                </a:cubicBezTo>
                <a:cubicBezTo>
                  <a:pt x="4419294" y="3991283"/>
                  <a:pt x="4434587" y="3989890"/>
                  <a:pt x="4449415" y="3987660"/>
                </a:cubicBezTo>
                <a:cubicBezTo>
                  <a:pt x="4440611" y="3981669"/>
                  <a:pt x="4442927" y="3964109"/>
                  <a:pt x="4435049" y="3956304"/>
                </a:cubicBezTo>
                <a:cubicBezTo>
                  <a:pt x="4435049" y="3958952"/>
                  <a:pt x="4431806" y="3962994"/>
                  <a:pt x="4431806" y="3956304"/>
                </a:cubicBezTo>
                <a:cubicBezTo>
                  <a:pt x="4442927" y="3949615"/>
                  <a:pt x="4444782" y="3945853"/>
                  <a:pt x="4459147" y="3951149"/>
                </a:cubicBezTo>
                <a:cubicBezTo>
                  <a:pt x="4456365" y="3944180"/>
                  <a:pt x="4452658" y="3940975"/>
                  <a:pt x="4448487" y="3940278"/>
                </a:cubicBezTo>
                <a:close/>
                <a:moveTo>
                  <a:pt x="3663963" y="3940278"/>
                </a:moveTo>
                <a:cubicBezTo>
                  <a:pt x="3664889" y="3939720"/>
                  <a:pt x="3665816" y="3939859"/>
                  <a:pt x="3666742" y="3940278"/>
                </a:cubicBezTo>
                <a:cubicBezTo>
                  <a:pt x="3672767" y="3943204"/>
                  <a:pt x="3678327" y="3962018"/>
                  <a:pt x="3688059" y="3960067"/>
                </a:cubicBezTo>
                <a:cubicBezTo>
                  <a:pt x="3684815" y="3964109"/>
                  <a:pt x="3682961" y="3969265"/>
                  <a:pt x="3682961" y="3975815"/>
                </a:cubicBezTo>
                <a:cubicBezTo>
                  <a:pt x="3660254" y="3951846"/>
                  <a:pt x="3647743" y="3998670"/>
                  <a:pt x="3623647" y="3960067"/>
                </a:cubicBezTo>
                <a:cubicBezTo>
                  <a:pt x="3638475" y="3960067"/>
                  <a:pt x="3647743" y="3949197"/>
                  <a:pt x="3655621" y="3965224"/>
                </a:cubicBezTo>
                <a:cubicBezTo>
                  <a:pt x="3667206" y="3961183"/>
                  <a:pt x="3663499" y="3948083"/>
                  <a:pt x="3660254" y="3944180"/>
                </a:cubicBezTo>
                <a:cubicBezTo>
                  <a:pt x="3661645" y="3942090"/>
                  <a:pt x="3662571" y="3940835"/>
                  <a:pt x="3663963" y="3940278"/>
                </a:cubicBezTo>
                <a:close/>
                <a:moveTo>
                  <a:pt x="5508734" y="3937909"/>
                </a:moveTo>
                <a:cubicBezTo>
                  <a:pt x="5502246" y="3940417"/>
                  <a:pt x="5496686" y="3957141"/>
                  <a:pt x="5491126" y="3960067"/>
                </a:cubicBezTo>
                <a:cubicBezTo>
                  <a:pt x="5492979" y="3972053"/>
                  <a:pt x="5507808" y="3960207"/>
                  <a:pt x="5514757" y="3961879"/>
                </a:cubicBezTo>
                <a:cubicBezTo>
                  <a:pt x="5512904" y="3965084"/>
                  <a:pt x="5511050" y="3964248"/>
                  <a:pt x="5509197" y="3966060"/>
                </a:cubicBezTo>
                <a:cubicBezTo>
                  <a:pt x="5512440" y="3965642"/>
                  <a:pt x="5515221" y="3964945"/>
                  <a:pt x="5518466" y="3964667"/>
                </a:cubicBezTo>
                <a:cubicBezTo>
                  <a:pt x="5525417" y="3957001"/>
                  <a:pt x="5530977" y="3946549"/>
                  <a:pt x="5515221" y="3945573"/>
                </a:cubicBezTo>
                <a:cubicBezTo>
                  <a:pt x="5516149" y="3945295"/>
                  <a:pt x="5517538" y="3945295"/>
                  <a:pt x="5518928" y="3945017"/>
                </a:cubicBezTo>
                <a:cubicBezTo>
                  <a:pt x="5517538" y="3944180"/>
                  <a:pt x="5515221" y="3945156"/>
                  <a:pt x="5515684" y="3941393"/>
                </a:cubicBezTo>
                <a:cubicBezTo>
                  <a:pt x="5512904" y="3938048"/>
                  <a:pt x="5510587" y="3937072"/>
                  <a:pt x="5508734" y="3937909"/>
                </a:cubicBezTo>
                <a:close/>
                <a:moveTo>
                  <a:pt x="5079631" y="3937630"/>
                </a:moveTo>
                <a:cubicBezTo>
                  <a:pt x="5075461" y="3940696"/>
                  <a:pt x="5073607" y="3945853"/>
                  <a:pt x="5074532" y="3952960"/>
                </a:cubicBezTo>
                <a:cubicBezTo>
                  <a:pt x="5076852" y="3952960"/>
                  <a:pt x="5079167" y="3951846"/>
                  <a:pt x="5081484" y="3952403"/>
                </a:cubicBezTo>
                <a:cubicBezTo>
                  <a:pt x="5086118" y="3951985"/>
                  <a:pt x="5093533" y="3954632"/>
                  <a:pt x="5100484" y="3957141"/>
                </a:cubicBezTo>
                <a:cubicBezTo>
                  <a:pt x="5099557" y="3951288"/>
                  <a:pt x="5098167" y="3945853"/>
                  <a:pt x="5094459" y="3942646"/>
                </a:cubicBezTo>
                <a:cubicBezTo>
                  <a:pt x="5094459" y="3946131"/>
                  <a:pt x="5092143" y="3948780"/>
                  <a:pt x="5082875" y="3948361"/>
                </a:cubicBezTo>
                <a:cubicBezTo>
                  <a:pt x="5081948" y="3945853"/>
                  <a:pt x="5080095" y="3941253"/>
                  <a:pt x="5079631" y="3937630"/>
                </a:cubicBezTo>
                <a:close/>
                <a:moveTo>
                  <a:pt x="5686677" y="3936097"/>
                </a:moveTo>
                <a:cubicBezTo>
                  <a:pt x="5685288" y="3946410"/>
                  <a:pt x="5674629" y="3932474"/>
                  <a:pt x="5670921" y="3943204"/>
                </a:cubicBezTo>
                <a:cubicBezTo>
                  <a:pt x="5672774" y="3950730"/>
                  <a:pt x="5681117" y="3947943"/>
                  <a:pt x="5688067" y="3946410"/>
                </a:cubicBezTo>
                <a:cubicBezTo>
                  <a:pt x="5691310" y="3945017"/>
                  <a:pt x="5694091" y="3943483"/>
                  <a:pt x="5697335" y="3941811"/>
                </a:cubicBezTo>
                <a:cubicBezTo>
                  <a:pt x="5696873" y="3940556"/>
                  <a:pt x="5697335" y="3938466"/>
                  <a:pt x="5696408" y="3936654"/>
                </a:cubicBezTo>
                <a:cubicBezTo>
                  <a:pt x="5693164" y="3936516"/>
                  <a:pt x="5690847" y="3935400"/>
                  <a:pt x="5686677" y="3936097"/>
                </a:cubicBezTo>
                <a:close/>
                <a:moveTo>
                  <a:pt x="5482320" y="3933450"/>
                </a:moveTo>
                <a:cubicBezTo>
                  <a:pt x="5481394" y="3934146"/>
                  <a:pt x="5479541" y="3933867"/>
                  <a:pt x="5478614" y="3934703"/>
                </a:cubicBezTo>
                <a:cubicBezTo>
                  <a:pt x="5478614" y="3939999"/>
                  <a:pt x="5483248" y="3940278"/>
                  <a:pt x="5487882" y="3940278"/>
                </a:cubicBezTo>
                <a:cubicBezTo>
                  <a:pt x="5485564" y="3944459"/>
                  <a:pt x="5483709" y="3946967"/>
                  <a:pt x="5480931" y="3948780"/>
                </a:cubicBezTo>
                <a:cubicBezTo>
                  <a:pt x="5480931" y="3950173"/>
                  <a:pt x="5481856" y="3950591"/>
                  <a:pt x="5481856" y="3952123"/>
                </a:cubicBezTo>
                <a:cubicBezTo>
                  <a:pt x="5473052" y="3954911"/>
                  <a:pt x="5466565" y="3959649"/>
                  <a:pt x="5465638" y="3969404"/>
                </a:cubicBezTo>
                <a:cubicBezTo>
                  <a:pt x="5480003" y="3965782"/>
                  <a:pt x="5482784" y="3950312"/>
                  <a:pt x="5492052" y="3939441"/>
                </a:cubicBezTo>
                <a:cubicBezTo>
                  <a:pt x="5489271" y="3935818"/>
                  <a:pt x="5486026" y="3934564"/>
                  <a:pt x="5482320" y="3933450"/>
                </a:cubicBezTo>
                <a:close/>
                <a:moveTo>
                  <a:pt x="5347473" y="3931359"/>
                </a:moveTo>
                <a:cubicBezTo>
                  <a:pt x="5343302" y="3932613"/>
                  <a:pt x="5339132" y="3933309"/>
                  <a:pt x="5334960" y="3934285"/>
                </a:cubicBezTo>
                <a:cubicBezTo>
                  <a:pt x="5331254" y="3939999"/>
                  <a:pt x="5327546" y="3947107"/>
                  <a:pt x="5321986" y="3949197"/>
                </a:cubicBezTo>
                <a:cubicBezTo>
                  <a:pt x="5328937" y="3954354"/>
                  <a:pt x="5340522" y="3940835"/>
                  <a:pt x="5347473" y="3931359"/>
                </a:cubicBezTo>
                <a:close/>
                <a:moveTo>
                  <a:pt x="4532363" y="3931080"/>
                </a:moveTo>
                <a:cubicBezTo>
                  <a:pt x="4519850" y="3929686"/>
                  <a:pt x="4516607" y="3937769"/>
                  <a:pt x="4517996" y="3952403"/>
                </a:cubicBezTo>
                <a:cubicBezTo>
                  <a:pt x="4521242" y="3961879"/>
                  <a:pt x="4554606" y="3957559"/>
                  <a:pt x="4537461" y="3946828"/>
                </a:cubicBezTo>
                <a:cubicBezTo>
                  <a:pt x="4535607" y="3954911"/>
                  <a:pt x="4530973" y="3947107"/>
                  <a:pt x="4537461" y="3941811"/>
                </a:cubicBezTo>
                <a:cubicBezTo>
                  <a:pt x="4527729" y="3941811"/>
                  <a:pt x="4527729" y="3937769"/>
                  <a:pt x="4532363" y="3931080"/>
                </a:cubicBezTo>
                <a:close/>
                <a:moveTo>
                  <a:pt x="5629680" y="3928153"/>
                </a:moveTo>
                <a:cubicBezTo>
                  <a:pt x="5629216" y="3928432"/>
                  <a:pt x="5628289" y="3928432"/>
                  <a:pt x="5627826" y="3928711"/>
                </a:cubicBezTo>
                <a:cubicBezTo>
                  <a:pt x="5629216" y="3928850"/>
                  <a:pt x="5630143" y="3928850"/>
                  <a:pt x="5631070" y="3928989"/>
                </a:cubicBezTo>
                <a:cubicBezTo>
                  <a:pt x="5630606" y="3929128"/>
                  <a:pt x="5630143" y="3927875"/>
                  <a:pt x="5629680" y="3928153"/>
                </a:cubicBezTo>
                <a:close/>
                <a:moveTo>
                  <a:pt x="4270081" y="3928153"/>
                </a:moveTo>
                <a:cubicBezTo>
                  <a:pt x="4267764" y="3933170"/>
                  <a:pt x="4264521" y="3934982"/>
                  <a:pt x="4262204" y="3937630"/>
                </a:cubicBezTo>
                <a:cubicBezTo>
                  <a:pt x="4263593" y="3938326"/>
                  <a:pt x="4266375" y="3937909"/>
                  <a:pt x="4266375" y="3940278"/>
                </a:cubicBezTo>
                <a:cubicBezTo>
                  <a:pt x="4247374" y="3957698"/>
                  <a:pt x="4256179" y="3956304"/>
                  <a:pt x="4233937" y="3967036"/>
                </a:cubicBezTo>
                <a:cubicBezTo>
                  <a:pt x="4240423" y="3967036"/>
                  <a:pt x="4250155" y="3965782"/>
                  <a:pt x="4246912" y="3977905"/>
                </a:cubicBezTo>
                <a:cubicBezTo>
                  <a:pt x="4255252" y="3972470"/>
                  <a:pt x="4271009" y="3974980"/>
                  <a:pt x="4275642" y="3967036"/>
                </a:cubicBezTo>
                <a:cubicBezTo>
                  <a:pt x="4267764" y="3967036"/>
                  <a:pt x="4262668" y="3962994"/>
                  <a:pt x="4261278" y="3956304"/>
                </a:cubicBezTo>
                <a:cubicBezTo>
                  <a:pt x="4270545" y="3952263"/>
                  <a:pt x="4297884" y="3944459"/>
                  <a:pt x="4302982" y="3951149"/>
                </a:cubicBezTo>
                <a:cubicBezTo>
                  <a:pt x="4294642" y="3956583"/>
                  <a:pt x="4278885" y="3950870"/>
                  <a:pt x="4280277" y="3967036"/>
                </a:cubicBezTo>
                <a:cubicBezTo>
                  <a:pt x="4310860" y="3961601"/>
                  <a:pt x="4337736" y="3945573"/>
                  <a:pt x="4361834" y="3967036"/>
                </a:cubicBezTo>
                <a:cubicBezTo>
                  <a:pt x="4363224" y="3955747"/>
                  <a:pt x="4356736" y="3953239"/>
                  <a:pt x="4357664" y="3946828"/>
                </a:cubicBezTo>
                <a:cubicBezTo>
                  <a:pt x="4356736" y="3946270"/>
                  <a:pt x="4355346" y="3947246"/>
                  <a:pt x="4354883" y="3946410"/>
                </a:cubicBezTo>
                <a:cubicBezTo>
                  <a:pt x="4354883" y="3943901"/>
                  <a:pt x="4357200" y="3942787"/>
                  <a:pt x="4358589" y="3941393"/>
                </a:cubicBezTo>
                <a:cubicBezTo>
                  <a:pt x="4359053" y="3940975"/>
                  <a:pt x="4358127" y="3940835"/>
                  <a:pt x="4358589" y="3940278"/>
                </a:cubicBezTo>
                <a:cubicBezTo>
                  <a:pt x="4342372" y="3946967"/>
                  <a:pt x="4347468" y="3932333"/>
                  <a:pt x="4339127" y="3931080"/>
                </a:cubicBezTo>
                <a:cubicBezTo>
                  <a:pt x="4332176" y="3946828"/>
                  <a:pt x="4317811" y="3934564"/>
                  <a:pt x="4298812" y="3936654"/>
                </a:cubicBezTo>
                <a:cubicBezTo>
                  <a:pt x="4299739" y="3937351"/>
                  <a:pt x="4299739" y="3939024"/>
                  <a:pt x="4301592" y="3939024"/>
                </a:cubicBezTo>
                <a:cubicBezTo>
                  <a:pt x="4315495" y="3948083"/>
                  <a:pt x="4277960" y="3939024"/>
                  <a:pt x="4291861" y="3928711"/>
                </a:cubicBezTo>
                <a:cubicBezTo>
                  <a:pt x="4291861" y="3928572"/>
                  <a:pt x="4291861" y="3928293"/>
                  <a:pt x="4291397" y="3928153"/>
                </a:cubicBezTo>
                <a:close/>
                <a:moveTo>
                  <a:pt x="5419235" y="3921485"/>
                </a:moveTo>
                <a:lnTo>
                  <a:pt x="5419298" y="3923554"/>
                </a:lnTo>
                <a:lnTo>
                  <a:pt x="5423209" y="3921532"/>
                </a:lnTo>
                <a:close/>
                <a:moveTo>
                  <a:pt x="5293720" y="3921185"/>
                </a:moveTo>
                <a:cubicBezTo>
                  <a:pt x="5278427" y="3922857"/>
                  <a:pt x="5263600" y="3922022"/>
                  <a:pt x="5255721" y="3939999"/>
                </a:cubicBezTo>
                <a:cubicBezTo>
                  <a:pt x="5245062" y="3922857"/>
                  <a:pt x="5229306" y="3944877"/>
                  <a:pt x="5226064" y="3927178"/>
                </a:cubicBezTo>
                <a:cubicBezTo>
                  <a:pt x="5217260" y="3929408"/>
                  <a:pt x="5218186" y="3941114"/>
                  <a:pt x="5215405" y="3947386"/>
                </a:cubicBezTo>
                <a:cubicBezTo>
                  <a:pt x="5204284" y="3945295"/>
                  <a:pt x="5151457" y="3927038"/>
                  <a:pt x="5147750" y="3949754"/>
                </a:cubicBezTo>
                <a:cubicBezTo>
                  <a:pt x="5132458" y="3934006"/>
                  <a:pt x="5114384" y="3941811"/>
                  <a:pt x="5100946" y="3939999"/>
                </a:cubicBezTo>
                <a:cubicBezTo>
                  <a:pt x="5102801" y="3944738"/>
                  <a:pt x="5107436" y="3950312"/>
                  <a:pt x="5103263" y="3958117"/>
                </a:cubicBezTo>
                <a:cubicBezTo>
                  <a:pt x="5113458" y="3962018"/>
                  <a:pt x="5122728" y="3966199"/>
                  <a:pt x="5129215" y="3968429"/>
                </a:cubicBezTo>
                <a:cubicBezTo>
                  <a:pt x="5125969" y="3977766"/>
                  <a:pt x="5120872" y="3969823"/>
                  <a:pt x="5114384" y="3968429"/>
                </a:cubicBezTo>
                <a:cubicBezTo>
                  <a:pt x="5116239" y="3975954"/>
                  <a:pt x="5119945" y="3980693"/>
                  <a:pt x="5123190" y="3983898"/>
                </a:cubicBezTo>
                <a:cubicBezTo>
                  <a:pt x="5146359" y="3983480"/>
                  <a:pt x="5166286" y="3983062"/>
                  <a:pt x="5188992" y="3982922"/>
                </a:cubicBezTo>
                <a:cubicBezTo>
                  <a:pt x="5188529" y="3981669"/>
                  <a:pt x="5188529" y="3980275"/>
                  <a:pt x="5188066" y="3979161"/>
                </a:cubicBezTo>
                <a:cubicBezTo>
                  <a:pt x="5193162" y="3971356"/>
                  <a:pt x="5209844" y="3979161"/>
                  <a:pt x="5221893" y="3982365"/>
                </a:cubicBezTo>
                <a:cubicBezTo>
                  <a:pt x="5230697" y="3982365"/>
                  <a:pt x="5239502" y="3982086"/>
                  <a:pt x="5247843" y="3982086"/>
                </a:cubicBezTo>
                <a:cubicBezTo>
                  <a:pt x="5246917" y="3973586"/>
                  <a:pt x="5247843" y="3963133"/>
                  <a:pt x="5239038" y="3972610"/>
                </a:cubicBezTo>
                <a:cubicBezTo>
                  <a:pt x="5224673" y="3948500"/>
                  <a:pt x="5265915" y="3965642"/>
                  <a:pt x="5271013" y="3956304"/>
                </a:cubicBezTo>
                <a:cubicBezTo>
                  <a:pt x="5273794" y="3965224"/>
                  <a:pt x="5281206" y="3967036"/>
                  <a:pt x="5288620" y="3967872"/>
                </a:cubicBezTo>
                <a:cubicBezTo>
                  <a:pt x="5285379" y="3960067"/>
                  <a:pt x="5286305" y="3945017"/>
                  <a:pt x="5298352" y="3947386"/>
                </a:cubicBezTo>
                <a:cubicBezTo>
                  <a:pt x="5295109" y="3934564"/>
                  <a:pt x="5280281" y="3929965"/>
                  <a:pt x="5293720" y="3921185"/>
                </a:cubicBezTo>
                <a:close/>
                <a:moveTo>
                  <a:pt x="4490657" y="3920210"/>
                </a:moveTo>
                <a:cubicBezTo>
                  <a:pt x="4481389" y="3929546"/>
                  <a:pt x="4462390" y="3929686"/>
                  <a:pt x="4463779" y="3951149"/>
                </a:cubicBezTo>
                <a:cubicBezTo>
                  <a:pt x="4497145" y="3949894"/>
                  <a:pt x="4486024" y="3948222"/>
                  <a:pt x="4505486" y="3936097"/>
                </a:cubicBezTo>
                <a:cubicBezTo>
                  <a:pt x="4491121" y="3938883"/>
                  <a:pt x="4482778" y="3929546"/>
                  <a:pt x="4490657" y="3920210"/>
                </a:cubicBezTo>
                <a:close/>
                <a:moveTo>
                  <a:pt x="3200567" y="3919791"/>
                </a:moveTo>
                <a:lnTo>
                  <a:pt x="3218640" y="3919791"/>
                </a:lnTo>
                <a:cubicBezTo>
                  <a:pt x="3215397" y="3932613"/>
                  <a:pt x="3184813" y="3939024"/>
                  <a:pt x="3214006" y="3935260"/>
                </a:cubicBezTo>
                <a:cubicBezTo>
                  <a:pt x="3209372" y="3945434"/>
                  <a:pt x="3191299" y="3953099"/>
                  <a:pt x="3183422" y="3944180"/>
                </a:cubicBezTo>
                <a:cubicBezTo>
                  <a:pt x="3179251" y="3924947"/>
                  <a:pt x="3205202" y="3939024"/>
                  <a:pt x="3200567" y="3919791"/>
                </a:cubicBezTo>
                <a:close/>
                <a:moveTo>
                  <a:pt x="5457297" y="3917422"/>
                </a:moveTo>
                <a:cubicBezTo>
                  <a:pt x="5450810" y="3936097"/>
                  <a:pt x="5433201" y="3917004"/>
                  <a:pt x="5429493" y="3937909"/>
                </a:cubicBezTo>
                <a:cubicBezTo>
                  <a:pt x="5443859" y="3915472"/>
                  <a:pt x="5480931" y="3980553"/>
                  <a:pt x="5461930" y="3944180"/>
                </a:cubicBezTo>
                <a:cubicBezTo>
                  <a:pt x="5465638" y="3943483"/>
                  <a:pt x="5465175" y="3939302"/>
                  <a:pt x="5467492" y="3937630"/>
                </a:cubicBezTo>
                <a:cubicBezTo>
                  <a:pt x="5468417" y="3937351"/>
                  <a:pt x="5468417" y="3938048"/>
                  <a:pt x="5469346" y="3937909"/>
                </a:cubicBezTo>
                <a:cubicBezTo>
                  <a:pt x="5468882" y="3934703"/>
                  <a:pt x="5465638" y="3932613"/>
                  <a:pt x="5462858" y="3930104"/>
                </a:cubicBezTo>
                <a:cubicBezTo>
                  <a:pt x="5458687" y="3929128"/>
                  <a:pt x="5455443" y="3926481"/>
                  <a:pt x="5457297" y="3917422"/>
                </a:cubicBezTo>
                <a:close/>
                <a:moveTo>
                  <a:pt x="5464229" y="3916272"/>
                </a:moveTo>
                <a:lnTo>
                  <a:pt x="5461698" y="3916471"/>
                </a:lnTo>
                <a:lnTo>
                  <a:pt x="5461930" y="3916865"/>
                </a:lnTo>
                <a:lnTo>
                  <a:pt x="5464326" y="3916426"/>
                </a:lnTo>
                <a:close/>
                <a:moveTo>
                  <a:pt x="3747836" y="3913102"/>
                </a:moveTo>
                <a:cubicBezTo>
                  <a:pt x="3750616" y="3913659"/>
                  <a:pt x="3753397" y="3915332"/>
                  <a:pt x="3755250" y="3917980"/>
                </a:cubicBezTo>
                <a:cubicBezTo>
                  <a:pt x="3757103" y="3931777"/>
                  <a:pt x="3741812" y="3923833"/>
                  <a:pt x="3740422" y="3936097"/>
                </a:cubicBezTo>
                <a:cubicBezTo>
                  <a:pt x="3733934" y="3933031"/>
                  <a:pt x="3737178" y="3916307"/>
                  <a:pt x="3722349" y="3923972"/>
                </a:cubicBezTo>
                <a:cubicBezTo>
                  <a:pt x="3726056" y="3919373"/>
                  <a:pt x="3732080" y="3915332"/>
                  <a:pt x="3738568" y="3913659"/>
                </a:cubicBezTo>
                <a:cubicBezTo>
                  <a:pt x="3741812" y="3912824"/>
                  <a:pt x="3745056" y="3912545"/>
                  <a:pt x="3747836" y="3913102"/>
                </a:cubicBezTo>
                <a:close/>
                <a:moveTo>
                  <a:pt x="3684815" y="3910036"/>
                </a:moveTo>
                <a:cubicBezTo>
                  <a:pt x="3688059" y="3910036"/>
                  <a:pt x="3691302" y="3911569"/>
                  <a:pt x="3692230" y="3914217"/>
                </a:cubicBezTo>
                <a:cubicBezTo>
                  <a:pt x="3705668" y="3926203"/>
                  <a:pt x="3683424" y="3907250"/>
                  <a:pt x="3687131" y="3919234"/>
                </a:cubicBezTo>
                <a:cubicBezTo>
                  <a:pt x="3688522" y="3925923"/>
                  <a:pt x="3699180" y="3923137"/>
                  <a:pt x="3707521" y="3924530"/>
                </a:cubicBezTo>
                <a:cubicBezTo>
                  <a:pt x="3706131" y="3933867"/>
                  <a:pt x="3712618" y="3935260"/>
                  <a:pt x="3710764" y="3944599"/>
                </a:cubicBezTo>
                <a:cubicBezTo>
                  <a:pt x="3699180" y="3938048"/>
                  <a:pt x="3692230" y="3932892"/>
                  <a:pt x="3676937" y="3940835"/>
                </a:cubicBezTo>
                <a:cubicBezTo>
                  <a:pt x="3678327" y="3926203"/>
                  <a:pt x="3657937" y="3935260"/>
                  <a:pt x="3663035" y="3919234"/>
                </a:cubicBezTo>
                <a:cubicBezTo>
                  <a:pt x="3668133" y="3920628"/>
                  <a:pt x="3692230" y="3918119"/>
                  <a:pt x="3676937" y="3914217"/>
                </a:cubicBezTo>
                <a:cubicBezTo>
                  <a:pt x="3677863" y="3911569"/>
                  <a:pt x="3681107" y="3910036"/>
                  <a:pt x="3684815" y="3910036"/>
                </a:cubicBezTo>
                <a:close/>
                <a:moveTo>
                  <a:pt x="4608345" y="3909335"/>
                </a:moveTo>
                <a:cubicBezTo>
                  <a:pt x="4591966" y="3909426"/>
                  <a:pt x="4577544" y="3911361"/>
                  <a:pt x="4574068" y="3925366"/>
                </a:cubicBezTo>
                <a:cubicBezTo>
                  <a:pt x="4588433" y="3917422"/>
                  <a:pt x="4618554" y="3928293"/>
                  <a:pt x="4625042" y="3909478"/>
                </a:cubicBezTo>
                <a:cubicBezTo>
                  <a:pt x="4619480" y="3909478"/>
                  <a:pt x="4613804" y="3909305"/>
                  <a:pt x="4608345" y="3909335"/>
                </a:cubicBezTo>
                <a:close/>
                <a:moveTo>
                  <a:pt x="4284447" y="3907667"/>
                </a:moveTo>
                <a:cubicBezTo>
                  <a:pt x="4287226" y="3911012"/>
                  <a:pt x="4288617" y="3915749"/>
                  <a:pt x="4290470" y="3919791"/>
                </a:cubicBezTo>
                <a:cubicBezTo>
                  <a:pt x="4290007" y="3916446"/>
                  <a:pt x="4290007" y="3913520"/>
                  <a:pt x="4293251" y="3909478"/>
                </a:cubicBezTo>
                <a:cubicBezTo>
                  <a:pt x="4288617" y="3910872"/>
                  <a:pt x="4286763" y="3908921"/>
                  <a:pt x="4284447" y="3907667"/>
                </a:cubicBezTo>
                <a:close/>
                <a:moveTo>
                  <a:pt x="5486026" y="3907109"/>
                </a:moveTo>
                <a:lnTo>
                  <a:pt x="5465794" y="3908483"/>
                </a:lnTo>
                <a:lnTo>
                  <a:pt x="5461803" y="3911904"/>
                </a:lnTo>
                <a:cubicBezTo>
                  <a:pt x="5462730" y="3913925"/>
                  <a:pt x="5464815" y="3914587"/>
                  <a:pt x="5466436" y="3915754"/>
                </a:cubicBezTo>
                <a:lnTo>
                  <a:pt x="5466510" y="3916025"/>
                </a:lnTo>
                <a:lnTo>
                  <a:pt x="5477976" y="3913921"/>
                </a:lnTo>
                <a:cubicBezTo>
                  <a:pt x="5481625" y="3912092"/>
                  <a:pt x="5483943" y="3909618"/>
                  <a:pt x="5486026" y="3907109"/>
                </a:cubicBezTo>
                <a:close/>
                <a:moveTo>
                  <a:pt x="5215741" y="3906887"/>
                </a:moveTo>
                <a:lnTo>
                  <a:pt x="5214839" y="3907133"/>
                </a:lnTo>
                <a:lnTo>
                  <a:pt x="5215764" y="3907015"/>
                </a:lnTo>
                <a:close/>
                <a:moveTo>
                  <a:pt x="5114433" y="3905663"/>
                </a:moveTo>
                <a:lnTo>
                  <a:pt x="5113002" y="3906208"/>
                </a:lnTo>
                <a:lnTo>
                  <a:pt x="5114384" y="3907109"/>
                </a:lnTo>
                <a:cubicBezTo>
                  <a:pt x="5115777" y="3906970"/>
                  <a:pt x="5117166" y="3906274"/>
                  <a:pt x="5118093" y="3906135"/>
                </a:cubicBezTo>
                <a:close/>
                <a:moveTo>
                  <a:pt x="5669996" y="3905298"/>
                </a:moveTo>
                <a:cubicBezTo>
                  <a:pt x="5666750" y="3907946"/>
                  <a:pt x="5665361" y="3911012"/>
                  <a:pt x="5662116" y="3912406"/>
                </a:cubicBezTo>
                <a:cubicBezTo>
                  <a:pt x="5660264" y="3913659"/>
                  <a:pt x="5660264" y="3913241"/>
                  <a:pt x="5658874" y="3913241"/>
                </a:cubicBezTo>
                <a:cubicBezTo>
                  <a:pt x="5653776" y="3914635"/>
                  <a:pt x="5649142" y="3914775"/>
                  <a:pt x="5643118" y="3914775"/>
                </a:cubicBezTo>
                <a:cubicBezTo>
                  <a:pt x="5641265" y="3918815"/>
                  <a:pt x="5642655" y="3922996"/>
                  <a:pt x="5639874" y="3931080"/>
                </a:cubicBezTo>
                <a:cubicBezTo>
                  <a:pt x="5639874" y="3931080"/>
                  <a:pt x="5640338" y="3931359"/>
                  <a:pt x="5640338" y="3931359"/>
                </a:cubicBezTo>
                <a:cubicBezTo>
                  <a:pt x="5647289" y="3933170"/>
                  <a:pt x="5653312" y="3934425"/>
                  <a:pt x="5658874" y="3936097"/>
                </a:cubicBezTo>
                <a:cubicBezTo>
                  <a:pt x="5664433" y="3935260"/>
                  <a:pt x="5667678" y="3934006"/>
                  <a:pt x="5673238" y="3933450"/>
                </a:cubicBezTo>
                <a:cubicBezTo>
                  <a:pt x="5670458" y="3932613"/>
                  <a:pt x="5668142" y="3931777"/>
                  <a:pt x="5665825" y="3933450"/>
                </a:cubicBezTo>
                <a:cubicBezTo>
                  <a:pt x="5665825" y="3928432"/>
                  <a:pt x="5669067" y="3926759"/>
                  <a:pt x="5673238" y="3925784"/>
                </a:cubicBezTo>
                <a:cubicBezTo>
                  <a:pt x="5675556" y="3919513"/>
                  <a:pt x="5678335" y="3914356"/>
                  <a:pt x="5683896" y="3910872"/>
                </a:cubicBezTo>
                <a:cubicBezTo>
                  <a:pt x="5683896" y="3910872"/>
                  <a:pt x="5684359" y="3909478"/>
                  <a:pt x="5685750" y="3909478"/>
                </a:cubicBezTo>
                <a:cubicBezTo>
                  <a:pt x="5676483" y="3912127"/>
                  <a:pt x="5673238" y="3907946"/>
                  <a:pt x="5669996" y="3905298"/>
                </a:cubicBezTo>
                <a:close/>
                <a:moveTo>
                  <a:pt x="5662116" y="3903765"/>
                </a:moveTo>
                <a:cubicBezTo>
                  <a:pt x="5662116" y="3903765"/>
                  <a:pt x="5662116" y="3903904"/>
                  <a:pt x="5662116" y="3905298"/>
                </a:cubicBezTo>
                <a:cubicBezTo>
                  <a:pt x="5663508" y="3905298"/>
                  <a:pt x="5663044" y="3903765"/>
                  <a:pt x="5664898" y="3903765"/>
                </a:cubicBezTo>
                <a:cubicBezTo>
                  <a:pt x="5663044" y="3903765"/>
                  <a:pt x="5663508" y="3903765"/>
                  <a:pt x="5662116" y="3903765"/>
                </a:cubicBezTo>
                <a:close/>
                <a:moveTo>
                  <a:pt x="5647289" y="3903765"/>
                </a:moveTo>
                <a:cubicBezTo>
                  <a:pt x="5647289" y="3905159"/>
                  <a:pt x="5647289" y="3905298"/>
                  <a:pt x="5647289" y="3905298"/>
                </a:cubicBezTo>
                <a:cubicBezTo>
                  <a:pt x="5649142" y="3905298"/>
                  <a:pt x="5650531" y="3905298"/>
                  <a:pt x="5652386" y="3905298"/>
                </a:cubicBezTo>
                <a:cubicBezTo>
                  <a:pt x="5650531" y="3905298"/>
                  <a:pt x="5649142" y="3903765"/>
                  <a:pt x="5647289" y="3903765"/>
                </a:cubicBezTo>
                <a:close/>
                <a:moveTo>
                  <a:pt x="4256179" y="3903765"/>
                </a:moveTo>
                <a:cubicBezTo>
                  <a:pt x="4251545" y="3910036"/>
                  <a:pt x="4252008" y="3914356"/>
                  <a:pt x="4252008" y="3917980"/>
                </a:cubicBezTo>
                <a:cubicBezTo>
                  <a:pt x="4264057" y="3918956"/>
                  <a:pt x="4275642" y="3918677"/>
                  <a:pt x="4283520" y="3907667"/>
                </a:cubicBezTo>
                <a:cubicBezTo>
                  <a:pt x="4280277" y="3905298"/>
                  <a:pt x="4277495" y="3902232"/>
                  <a:pt x="4271009" y="3903765"/>
                </a:cubicBezTo>
                <a:cubicBezTo>
                  <a:pt x="4271009" y="3926620"/>
                  <a:pt x="4262668" y="3903765"/>
                  <a:pt x="4256179" y="3903765"/>
                </a:cubicBezTo>
                <a:close/>
                <a:moveTo>
                  <a:pt x="5617168" y="3900559"/>
                </a:moveTo>
                <a:cubicBezTo>
                  <a:pt x="5615779" y="3904183"/>
                  <a:pt x="5614850" y="3907946"/>
                  <a:pt x="5612534" y="3910872"/>
                </a:cubicBezTo>
                <a:cubicBezTo>
                  <a:pt x="5603730" y="3919791"/>
                  <a:pt x="5590290" y="3922439"/>
                  <a:pt x="5574999" y="3923554"/>
                </a:cubicBezTo>
                <a:cubicBezTo>
                  <a:pt x="5575463" y="3924809"/>
                  <a:pt x="5574999" y="3925366"/>
                  <a:pt x="5575463" y="3926899"/>
                </a:cubicBezTo>
                <a:cubicBezTo>
                  <a:pt x="5564805" y="3915749"/>
                  <a:pt x="5541171" y="3936793"/>
                  <a:pt x="5526806" y="3944599"/>
                </a:cubicBezTo>
                <a:cubicBezTo>
                  <a:pt x="5549049" y="3940835"/>
                  <a:pt x="5574999" y="3938883"/>
                  <a:pt x="5600485" y="3936097"/>
                </a:cubicBezTo>
                <a:cubicBezTo>
                  <a:pt x="5606509" y="3931498"/>
                  <a:pt x="5613461" y="3929128"/>
                  <a:pt x="5621338" y="3928989"/>
                </a:cubicBezTo>
                <a:cubicBezTo>
                  <a:pt x="5623656" y="3920628"/>
                  <a:pt x="5630143" y="3918119"/>
                  <a:pt x="5636167" y="3913241"/>
                </a:cubicBezTo>
                <a:cubicBezTo>
                  <a:pt x="5626435" y="3913241"/>
                  <a:pt x="5619021" y="3912127"/>
                  <a:pt x="5611145" y="3917422"/>
                </a:cubicBezTo>
                <a:cubicBezTo>
                  <a:pt x="5609290" y="3914775"/>
                  <a:pt x="5610680" y="3913659"/>
                  <a:pt x="5612534" y="3910872"/>
                </a:cubicBezTo>
                <a:cubicBezTo>
                  <a:pt x="5617168" y="3906831"/>
                  <a:pt x="5628289" y="3906692"/>
                  <a:pt x="5640801" y="3906692"/>
                </a:cubicBezTo>
                <a:cubicBezTo>
                  <a:pt x="5640801" y="3905298"/>
                  <a:pt x="5640338" y="3903069"/>
                  <a:pt x="5639874" y="3901117"/>
                </a:cubicBezTo>
                <a:cubicBezTo>
                  <a:pt x="5632459" y="3901117"/>
                  <a:pt x="5624583" y="3900420"/>
                  <a:pt x="5617168" y="3900559"/>
                </a:cubicBezTo>
                <a:close/>
                <a:moveTo>
                  <a:pt x="4918370" y="3900142"/>
                </a:moveTo>
                <a:cubicBezTo>
                  <a:pt x="4921613" y="3920349"/>
                  <a:pt x="4945710" y="3922719"/>
                  <a:pt x="4960075" y="3916029"/>
                </a:cubicBezTo>
                <a:cubicBezTo>
                  <a:pt x="4960075" y="3922719"/>
                  <a:pt x="4940612" y="3932194"/>
                  <a:pt x="4954977" y="3937630"/>
                </a:cubicBezTo>
                <a:cubicBezTo>
                  <a:pt x="4966099" y="3922857"/>
                  <a:pt x="4963319" y="3923137"/>
                  <a:pt x="4977683" y="3932474"/>
                </a:cubicBezTo>
                <a:cubicBezTo>
                  <a:pt x="4977683" y="3928572"/>
                  <a:pt x="4979074" y="3927038"/>
                  <a:pt x="4980001" y="3924530"/>
                </a:cubicBezTo>
                <a:cubicBezTo>
                  <a:pt x="4979538" y="3924390"/>
                  <a:pt x="4979538" y="3922996"/>
                  <a:pt x="4979074" y="3923137"/>
                </a:cubicBezTo>
                <a:cubicBezTo>
                  <a:pt x="4979538" y="3923276"/>
                  <a:pt x="4980001" y="3923415"/>
                  <a:pt x="4980001" y="3923554"/>
                </a:cubicBezTo>
                <a:cubicBezTo>
                  <a:pt x="4980928" y="3921464"/>
                  <a:pt x="4980928" y="3917840"/>
                  <a:pt x="4982319" y="3916029"/>
                </a:cubicBezTo>
                <a:cubicBezTo>
                  <a:pt x="4961465" y="3905298"/>
                  <a:pt x="4937833" y="3906970"/>
                  <a:pt x="4918370" y="3900142"/>
                </a:cubicBezTo>
                <a:close/>
                <a:moveTo>
                  <a:pt x="12593098" y="3897912"/>
                </a:moveTo>
                <a:cubicBezTo>
                  <a:pt x="12595880" y="3908921"/>
                  <a:pt x="12586612" y="3907388"/>
                  <a:pt x="12588467" y="3915611"/>
                </a:cubicBezTo>
                <a:cubicBezTo>
                  <a:pt x="12577345" y="3904601"/>
                  <a:pt x="12571783" y="3912824"/>
                  <a:pt x="12553247" y="3910036"/>
                </a:cubicBezTo>
                <a:cubicBezTo>
                  <a:pt x="12551857" y="3886485"/>
                  <a:pt x="12585221" y="3910316"/>
                  <a:pt x="12593098" y="3897912"/>
                </a:cubicBezTo>
                <a:close/>
                <a:moveTo>
                  <a:pt x="12604161" y="3897455"/>
                </a:moveTo>
                <a:cubicBezTo>
                  <a:pt x="12611287" y="3898278"/>
                  <a:pt x="12615802" y="3901883"/>
                  <a:pt x="12625535" y="3898748"/>
                </a:cubicBezTo>
                <a:cubicBezTo>
                  <a:pt x="12625535" y="3908503"/>
                  <a:pt x="12597732" y="3907250"/>
                  <a:pt x="12607464" y="3912685"/>
                </a:cubicBezTo>
                <a:cubicBezTo>
                  <a:pt x="12597732" y="3923833"/>
                  <a:pt x="12599123" y="3907528"/>
                  <a:pt x="12595880" y="3897912"/>
                </a:cubicBezTo>
                <a:cubicBezTo>
                  <a:pt x="12599123" y="3897215"/>
                  <a:pt x="12601786" y="3897181"/>
                  <a:pt x="12604161" y="3897455"/>
                </a:cubicBezTo>
                <a:close/>
                <a:moveTo>
                  <a:pt x="5695945" y="3896379"/>
                </a:moveTo>
                <a:cubicBezTo>
                  <a:pt x="5693629" y="3895822"/>
                  <a:pt x="5694091" y="3897633"/>
                  <a:pt x="5692700" y="3897912"/>
                </a:cubicBezTo>
                <a:cubicBezTo>
                  <a:pt x="5694556" y="3901117"/>
                  <a:pt x="5695482" y="3905159"/>
                  <a:pt x="5698262" y="3906692"/>
                </a:cubicBezTo>
                <a:cubicBezTo>
                  <a:pt x="5698726" y="3906692"/>
                  <a:pt x="5699188" y="3906831"/>
                  <a:pt x="5699652" y="3906692"/>
                </a:cubicBezTo>
                <a:cubicBezTo>
                  <a:pt x="5698262" y="3905019"/>
                  <a:pt x="5696408" y="3903069"/>
                  <a:pt x="5695945" y="3896379"/>
                </a:cubicBezTo>
                <a:close/>
                <a:moveTo>
                  <a:pt x="5231961" y="3894762"/>
                </a:moveTo>
                <a:cubicBezTo>
                  <a:pt x="5230569" y="3897411"/>
                  <a:pt x="5237057" y="3898804"/>
                  <a:pt x="5238909" y="3897411"/>
                </a:cubicBezTo>
                <a:cubicBezTo>
                  <a:pt x="5237983" y="3897968"/>
                  <a:pt x="5237057" y="3897828"/>
                  <a:pt x="5236130" y="3898386"/>
                </a:cubicBezTo>
                <a:lnTo>
                  <a:pt x="5234182" y="3904648"/>
                </a:lnTo>
                <a:lnTo>
                  <a:pt x="5263589" y="3900869"/>
                </a:lnTo>
                <a:lnTo>
                  <a:pt x="5254370" y="3898031"/>
                </a:lnTo>
                <a:cubicBezTo>
                  <a:pt x="5246730" y="3895738"/>
                  <a:pt x="5239143" y="3894065"/>
                  <a:pt x="5231961" y="3894762"/>
                </a:cubicBezTo>
                <a:close/>
                <a:moveTo>
                  <a:pt x="5082875" y="3894567"/>
                </a:moveTo>
                <a:cubicBezTo>
                  <a:pt x="5079631" y="3897215"/>
                  <a:pt x="5076386" y="3898748"/>
                  <a:pt x="5069899" y="3898748"/>
                </a:cubicBezTo>
                <a:cubicBezTo>
                  <a:pt x="5069899" y="3901396"/>
                  <a:pt x="5069899" y="3901117"/>
                  <a:pt x="5069899" y="3903765"/>
                </a:cubicBezTo>
                <a:cubicBezTo>
                  <a:pt x="5065266" y="3903765"/>
                  <a:pt x="5063875" y="3902928"/>
                  <a:pt x="5062022" y="3900142"/>
                </a:cubicBezTo>
                <a:cubicBezTo>
                  <a:pt x="5054607" y="3901256"/>
                  <a:pt x="5049973" y="3904322"/>
                  <a:pt x="5048120" y="3911290"/>
                </a:cubicBezTo>
                <a:cubicBezTo>
                  <a:pt x="5052290" y="3908503"/>
                  <a:pt x="5057388" y="3907667"/>
                  <a:pt x="5060631" y="3904322"/>
                </a:cubicBezTo>
                <a:lnTo>
                  <a:pt x="5061558" y="3914217"/>
                </a:lnTo>
                <a:cubicBezTo>
                  <a:pt x="5063412" y="3914217"/>
                  <a:pt x="5066655" y="3913382"/>
                  <a:pt x="5068046" y="3913659"/>
                </a:cubicBezTo>
                <a:cubicBezTo>
                  <a:pt x="5068973" y="3911081"/>
                  <a:pt x="5072216" y="3909792"/>
                  <a:pt x="5075403" y="3909792"/>
                </a:cubicBezTo>
                <a:lnTo>
                  <a:pt x="5081883" y="3913368"/>
                </a:lnTo>
                <a:lnTo>
                  <a:pt x="5083616" y="3911033"/>
                </a:lnTo>
                <a:lnTo>
                  <a:pt x="5086122" y="3909620"/>
                </a:lnTo>
                <a:lnTo>
                  <a:pt x="5084960" y="3904531"/>
                </a:lnTo>
                <a:cubicBezTo>
                  <a:pt x="5083917" y="3901709"/>
                  <a:pt x="5082875" y="3898748"/>
                  <a:pt x="5082875" y="3894567"/>
                </a:cubicBezTo>
                <a:close/>
                <a:moveTo>
                  <a:pt x="4991585" y="3891907"/>
                </a:moveTo>
                <a:lnTo>
                  <a:pt x="4991412" y="3894961"/>
                </a:lnTo>
                <a:lnTo>
                  <a:pt x="4995712" y="3900011"/>
                </a:lnTo>
                <a:close/>
                <a:moveTo>
                  <a:pt x="5762674" y="3891641"/>
                </a:moveTo>
                <a:cubicBezTo>
                  <a:pt x="5760821" y="3893731"/>
                  <a:pt x="5758967" y="3895543"/>
                  <a:pt x="5754333" y="3894567"/>
                </a:cubicBezTo>
                <a:cubicBezTo>
                  <a:pt x="5755722" y="3899027"/>
                  <a:pt x="5759430" y="3900838"/>
                  <a:pt x="5762211" y="3903765"/>
                </a:cubicBezTo>
                <a:cubicBezTo>
                  <a:pt x="5764527" y="3903765"/>
                  <a:pt x="5766381" y="3904183"/>
                  <a:pt x="5768698" y="3903765"/>
                </a:cubicBezTo>
                <a:cubicBezTo>
                  <a:pt x="5768698" y="3902232"/>
                  <a:pt x="5768233" y="3900142"/>
                  <a:pt x="5769160" y="3899166"/>
                </a:cubicBezTo>
                <a:cubicBezTo>
                  <a:pt x="5768698" y="3898609"/>
                  <a:pt x="5768233" y="3897633"/>
                  <a:pt x="5767307" y="3897354"/>
                </a:cubicBezTo>
                <a:cubicBezTo>
                  <a:pt x="5768233" y="3896518"/>
                  <a:pt x="5769625" y="3895681"/>
                  <a:pt x="5771015" y="3894985"/>
                </a:cubicBezTo>
                <a:cubicBezTo>
                  <a:pt x="5771479" y="3894428"/>
                  <a:pt x="5771479" y="3893591"/>
                  <a:pt x="5771941" y="3893173"/>
                </a:cubicBezTo>
                <a:cubicBezTo>
                  <a:pt x="5768698" y="3892756"/>
                  <a:pt x="5765454" y="3892338"/>
                  <a:pt x="5762674" y="3891641"/>
                </a:cubicBezTo>
                <a:close/>
                <a:moveTo>
                  <a:pt x="3581477" y="3886624"/>
                </a:moveTo>
                <a:cubicBezTo>
                  <a:pt x="3578233" y="3902650"/>
                  <a:pt x="3593526" y="3897215"/>
                  <a:pt x="3590746" y="3913241"/>
                </a:cubicBezTo>
                <a:cubicBezTo>
                  <a:pt x="3581014" y="3911987"/>
                  <a:pt x="3576843" y="3914635"/>
                  <a:pt x="3576843" y="3923972"/>
                </a:cubicBezTo>
                <a:cubicBezTo>
                  <a:pt x="3570356" y="3917283"/>
                  <a:pt x="3570356" y="3902372"/>
                  <a:pt x="3559235" y="3902372"/>
                </a:cubicBezTo>
                <a:cubicBezTo>
                  <a:pt x="3562479" y="3891641"/>
                  <a:pt x="3570356" y="3889272"/>
                  <a:pt x="3581477" y="3886624"/>
                </a:cubicBezTo>
                <a:close/>
                <a:moveTo>
                  <a:pt x="5872499" y="3885091"/>
                </a:moveTo>
                <a:cubicBezTo>
                  <a:pt x="5870646" y="3886485"/>
                  <a:pt x="5866937" y="3888156"/>
                  <a:pt x="5865548" y="3888993"/>
                </a:cubicBezTo>
                <a:lnTo>
                  <a:pt x="5865083" y="3885648"/>
                </a:lnTo>
                <a:cubicBezTo>
                  <a:pt x="5863229" y="3887738"/>
                  <a:pt x="5861839" y="3889829"/>
                  <a:pt x="5859522" y="3890804"/>
                </a:cubicBezTo>
                <a:cubicBezTo>
                  <a:pt x="5864620" y="3893313"/>
                  <a:pt x="5871107" y="3893731"/>
                  <a:pt x="5876668" y="3894985"/>
                </a:cubicBezTo>
                <a:cubicBezTo>
                  <a:pt x="5882692" y="3893591"/>
                  <a:pt x="5887790" y="3893173"/>
                  <a:pt x="5893350" y="3890804"/>
                </a:cubicBezTo>
                <a:cubicBezTo>
                  <a:pt x="5885938" y="3890246"/>
                  <a:pt x="5878985" y="3888017"/>
                  <a:pt x="5872499" y="3885091"/>
                </a:cubicBezTo>
                <a:close/>
                <a:moveTo>
                  <a:pt x="5817354" y="3883697"/>
                </a:moveTo>
                <a:cubicBezTo>
                  <a:pt x="5812256" y="3882860"/>
                  <a:pt x="5809013" y="3885230"/>
                  <a:pt x="5809476" y="3893173"/>
                </a:cubicBezTo>
                <a:cubicBezTo>
                  <a:pt x="5816891" y="3894846"/>
                  <a:pt x="5823841" y="3894706"/>
                  <a:pt x="5829865" y="3890804"/>
                </a:cubicBezTo>
                <a:cubicBezTo>
                  <a:pt x="5830330" y="3890107"/>
                  <a:pt x="5831256" y="3890107"/>
                  <a:pt x="5831256" y="3889272"/>
                </a:cubicBezTo>
                <a:cubicBezTo>
                  <a:pt x="5827085" y="3888156"/>
                  <a:pt x="5821989" y="3886902"/>
                  <a:pt x="5813647" y="3888017"/>
                </a:cubicBezTo>
                <a:cubicBezTo>
                  <a:pt x="5814574" y="3885091"/>
                  <a:pt x="5817354" y="3884672"/>
                  <a:pt x="5820135" y="3884254"/>
                </a:cubicBezTo>
                <a:cubicBezTo>
                  <a:pt x="5819208" y="3883975"/>
                  <a:pt x="5818281" y="3883836"/>
                  <a:pt x="5817354" y="3883697"/>
                </a:cubicBezTo>
                <a:close/>
                <a:moveTo>
                  <a:pt x="4086035" y="3881522"/>
                </a:moveTo>
                <a:lnTo>
                  <a:pt x="4073140" y="3888017"/>
                </a:lnTo>
                <a:lnTo>
                  <a:pt x="4106283" y="3890969"/>
                </a:lnTo>
                <a:lnTo>
                  <a:pt x="4102553" y="3888108"/>
                </a:lnTo>
                <a:cubicBezTo>
                  <a:pt x="4097804" y="3887342"/>
                  <a:pt x="4092243" y="3887725"/>
                  <a:pt x="4087378" y="3887098"/>
                </a:cubicBezTo>
                <a:close/>
                <a:moveTo>
                  <a:pt x="6368792" y="3880074"/>
                </a:moveTo>
                <a:cubicBezTo>
                  <a:pt x="6366476" y="3880074"/>
                  <a:pt x="6365085" y="3880352"/>
                  <a:pt x="6362770" y="3880492"/>
                </a:cubicBezTo>
                <a:cubicBezTo>
                  <a:pt x="6365085" y="3880909"/>
                  <a:pt x="6366939" y="3880770"/>
                  <a:pt x="6368792" y="3881328"/>
                </a:cubicBezTo>
                <a:cubicBezTo>
                  <a:pt x="6368792" y="3880631"/>
                  <a:pt x="6368792" y="3880770"/>
                  <a:pt x="6368792" y="3880074"/>
                </a:cubicBezTo>
                <a:close/>
                <a:moveTo>
                  <a:pt x="4977683" y="3880074"/>
                </a:moveTo>
                <a:cubicBezTo>
                  <a:pt x="4964709" y="3880074"/>
                  <a:pt x="4950345" y="3878541"/>
                  <a:pt x="4950345" y="3894567"/>
                </a:cubicBezTo>
                <a:cubicBezTo>
                  <a:pt x="4966099" y="3887878"/>
                  <a:pt x="4974441" y="3897354"/>
                  <a:pt x="4982319" y="3889272"/>
                </a:cubicBezTo>
                <a:cubicBezTo>
                  <a:pt x="4979074" y="3889272"/>
                  <a:pt x="4977683" y="3885369"/>
                  <a:pt x="4977683" y="3880074"/>
                </a:cubicBezTo>
                <a:close/>
                <a:moveTo>
                  <a:pt x="5020315" y="3877147"/>
                </a:moveTo>
                <a:cubicBezTo>
                  <a:pt x="5018926" y="3878541"/>
                  <a:pt x="5017535" y="3880074"/>
                  <a:pt x="5014293" y="3880074"/>
                </a:cubicBezTo>
                <a:cubicBezTo>
                  <a:pt x="5013597" y="3884115"/>
                  <a:pt x="5015218" y="3887390"/>
                  <a:pt x="5016203" y="3889829"/>
                </a:cubicBezTo>
                <a:lnTo>
                  <a:pt x="5015134" y="3892482"/>
                </a:lnTo>
                <a:lnTo>
                  <a:pt x="5019262" y="3895041"/>
                </a:lnTo>
                <a:cubicBezTo>
                  <a:pt x="5018568" y="3899919"/>
                  <a:pt x="5012775" y="3896505"/>
                  <a:pt x="5007157" y="3894292"/>
                </a:cubicBezTo>
                <a:lnTo>
                  <a:pt x="5001646" y="3893405"/>
                </a:lnTo>
                <a:lnTo>
                  <a:pt x="4999099" y="3894001"/>
                </a:lnTo>
                <a:lnTo>
                  <a:pt x="4996187" y="3900541"/>
                </a:lnTo>
                <a:lnTo>
                  <a:pt x="5000911" y="3905470"/>
                </a:lnTo>
                <a:cubicBezTo>
                  <a:pt x="5002070" y="3907771"/>
                  <a:pt x="5002476" y="3910977"/>
                  <a:pt x="5001317" y="3916029"/>
                </a:cubicBezTo>
                <a:cubicBezTo>
                  <a:pt x="4994830" y="3914635"/>
                  <a:pt x="4990660" y="3906552"/>
                  <a:pt x="4987416" y="3916029"/>
                </a:cubicBezTo>
                <a:cubicBezTo>
                  <a:pt x="4992050" y="3921325"/>
                  <a:pt x="5003171" y="3921603"/>
                  <a:pt x="5014293" y="3921603"/>
                </a:cubicBezTo>
                <a:cubicBezTo>
                  <a:pt x="5008267" y="3904183"/>
                  <a:pt x="5012439" y="3898888"/>
                  <a:pt x="5033291" y="3900142"/>
                </a:cubicBezTo>
                <a:cubicBezTo>
                  <a:pt x="5031437" y="3898888"/>
                  <a:pt x="5031900" y="3895961"/>
                  <a:pt x="5031900" y="3894567"/>
                </a:cubicBezTo>
                <a:cubicBezTo>
                  <a:pt x="5030048" y="3894567"/>
                  <a:pt x="5026803" y="3894428"/>
                  <a:pt x="5023561" y="3893173"/>
                </a:cubicBezTo>
                <a:cubicBezTo>
                  <a:pt x="5012439" y="3889132"/>
                  <a:pt x="5025414" y="3888017"/>
                  <a:pt x="5033291" y="3888017"/>
                </a:cubicBezTo>
                <a:cubicBezTo>
                  <a:pt x="5033291" y="3885369"/>
                  <a:pt x="5033291" y="3883697"/>
                  <a:pt x="5035145" y="3882443"/>
                </a:cubicBezTo>
                <a:cubicBezTo>
                  <a:pt x="5031900" y="3878401"/>
                  <a:pt x="5026803" y="3877147"/>
                  <a:pt x="5020315" y="3877147"/>
                </a:cubicBezTo>
                <a:close/>
                <a:moveTo>
                  <a:pt x="5861839" y="3876728"/>
                </a:moveTo>
                <a:cubicBezTo>
                  <a:pt x="5860912" y="3878122"/>
                  <a:pt x="5859985" y="3878680"/>
                  <a:pt x="5859522" y="3879516"/>
                </a:cubicBezTo>
                <a:cubicBezTo>
                  <a:pt x="5860912" y="3880352"/>
                  <a:pt x="5863229" y="3880352"/>
                  <a:pt x="5864620" y="3881328"/>
                </a:cubicBezTo>
                <a:cubicBezTo>
                  <a:pt x="5863694" y="3879794"/>
                  <a:pt x="5862766" y="3878262"/>
                  <a:pt x="5861839" y="3876728"/>
                </a:cubicBezTo>
                <a:close/>
                <a:moveTo>
                  <a:pt x="4425318" y="3874778"/>
                </a:moveTo>
                <a:cubicBezTo>
                  <a:pt x="4414197" y="3877426"/>
                  <a:pt x="4404929" y="3895681"/>
                  <a:pt x="4395197" y="3898748"/>
                </a:cubicBezTo>
                <a:cubicBezTo>
                  <a:pt x="4435049" y="3913520"/>
                  <a:pt x="4475366" y="3897354"/>
                  <a:pt x="4523095" y="3898748"/>
                </a:cubicBezTo>
                <a:cubicBezTo>
                  <a:pt x="4513364" y="3885369"/>
                  <a:pt x="4491121" y="3894428"/>
                  <a:pt x="4476755" y="3883697"/>
                </a:cubicBezTo>
                <a:cubicBezTo>
                  <a:pt x="4475366" y="3891780"/>
                  <a:pt x="4462390" y="3888017"/>
                  <a:pt x="4463779" y="3898748"/>
                </a:cubicBezTo>
                <a:cubicBezTo>
                  <a:pt x="4449415" y="3896100"/>
                  <a:pt x="4443390" y="3883975"/>
                  <a:pt x="4422537" y="3888017"/>
                </a:cubicBezTo>
                <a:cubicBezTo>
                  <a:pt x="4424391" y="3881328"/>
                  <a:pt x="4435049" y="3886624"/>
                  <a:pt x="4436441" y="3878680"/>
                </a:cubicBezTo>
                <a:cubicBezTo>
                  <a:pt x="4432733" y="3874917"/>
                  <a:pt x="4429026" y="3873942"/>
                  <a:pt x="4425318" y="3874778"/>
                </a:cubicBezTo>
                <a:close/>
                <a:moveTo>
                  <a:pt x="5213981" y="3873041"/>
                </a:moveTo>
                <a:lnTo>
                  <a:pt x="5214814" y="3875809"/>
                </a:lnTo>
                <a:lnTo>
                  <a:pt x="5216872" y="3873071"/>
                </a:lnTo>
                <a:close/>
                <a:moveTo>
                  <a:pt x="6423474" y="3871154"/>
                </a:moveTo>
                <a:cubicBezTo>
                  <a:pt x="6421156" y="3871294"/>
                  <a:pt x="6417912" y="3872409"/>
                  <a:pt x="6415596" y="3872409"/>
                </a:cubicBezTo>
                <a:cubicBezTo>
                  <a:pt x="6413278" y="3875753"/>
                  <a:pt x="6410961" y="3879238"/>
                  <a:pt x="6405864" y="3879516"/>
                </a:cubicBezTo>
                <a:cubicBezTo>
                  <a:pt x="6407254" y="3880492"/>
                  <a:pt x="6408180" y="3881328"/>
                  <a:pt x="6409108" y="3882443"/>
                </a:cubicBezTo>
                <a:cubicBezTo>
                  <a:pt x="6411425" y="3883000"/>
                  <a:pt x="6412815" y="3884254"/>
                  <a:pt x="6417912" y="3880074"/>
                </a:cubicBezTo>
                <a:cubicBezTo>
                  <a:pt x="6416986" y="3881885"/>
                  <a:pt x="6416521" y="3883278"/>
                  <a:pt x="6415596" y="3884812"/>
                </a:cubicBezTo>
                <a:cubicBezTo>
                  <a:pt x="6418375" y="3881746"/>
                  <a:pt x="6422084" y="3879655"/>
                  <a:pt x="6426254" y="3878680"/>
                </a:cubicBezTo>
                <a:cubicBezTo>
                  <a:pt x="6427179" y="3875335"/>
                  <a:pt x="6426254" y="3872966"/>
                  <a:pt x="6423474" y="3871154"/>
                </a:cubicBezTo>
                <a:close/>
                <a:moveTo>
                  <a:pt x="5136502" y="3870375"/>
                </a:moveTo>
                <a:cubicBezTo>
                  <a:pt x="5131867" y="3869747"/>
                  <a:pt x="5123178" y="3871768"/>
                  <a:pt x="5115822" y="3876803"/>
                </a:cubicBezTo>
                <a:lnTo>
                  <a:pt x="5114745" y="3878883"/>
                </a:lnTo>
                <a:lnTo>
                  <a:pt x="5117628" y="3883906"/>
                </a:lnTo>
                <a:lnTo>
                  <a:pt x="5118326" y="3888787"/>
                </a:lnTo>
                <a:lnTo>
                  <a:pt x="5125488" y="3885772"/>
                </a:lnTo>
                <a:cubicBezTo>
                  <a:pt x="5128103" y="3885182"/>
                  <a:pt x="5130246" y="3885356"/>
                  <a:pt x="5131403" y="3886680"/>
                </a:cubicBezTo>
                <a:cubicBezTo>
                  <a:pt x="5122137" y="3877343"/>
                  <a:pt x="5136502" y="3879851"/>
                  <a:pt x="5136502" y="3870375"/>
                </a:cubicBezTo>
                <a:close/>
                <a:moveTo>
                  <a:pt x="4116070" y="3869239"/>
                </a:moveTo>
                <a:lnTo>
                  <a:pt x="4110808" y="3870686"/>
                </a:lnTo>
                <a:lnTo>
                  <a:pt x="4112864" y="3872604"/>
                </a:lnTo>
                <a:close/>
                <a:moveTo>
                  <a:pt x="5028657" y="3869203"/>
                </a:moveTo>
                <a:cubicBezTo>
                  <a:pt x="5028657" y="3870457"/>
                  <a:pt x="5026803" y="3871712"/>
                  <a:pt x="5025414" y="3872966"/>
                </a:cubicBezTo>
                <a:cubicBezTo>
                  <a:pt x="5028195" y="3872966"/>
                  <a:pt x="5031900" y="3872966"/>
                  <a:pt x="5035145" y="3872966"/>
                </a:cubicBezTo>
                <a:cubicBezTo>
                  <a:pt x="5033291" y="3870318"/>
                  <a:pt x="5031900" y="3870457"/>
                  <a:pt x="5028657" y="3869203"/>
                </a:cubicBezTo>
                <a:close/>
                <a:moveTo>
                  <a:pt x="6096317" y="3865859"/>
                </a:moveTo>
                <a:cubicBezTo>
                  <a:pt x="6084732" y="3870179"/>
                  <a:pt x="6071757" y="3871154"/>
                  <a:pt x="6058783" y="3871154"/>
                </a:cubicBezTo>
                <a:cubicBezTo>
                  <a:pt x="6059708" y="3877147"/>
                  <a:pt x="6061562" y="3881606"/>
                  <a:pt x="6065269" y="3883697"/>
                </a:cubicBezTo>
                <a:cubicBezTo>
                  <a:pt x="6065732" y="3885230"/>
                  <a:pt x="6063416" y="3884812"/>
                  <a:pt x="6062954" y="3885648"/>
                </a:cubicBezTo>
                <a:cubicBezTo>
                  <a:pt x="6076391" y="3882164"/>
                  <a:pt x="6088439" y="3876311"/>
                  <a:pt x="6096317" y="3865859"/>
                </a:cubicBezTo>
                <a:close/>
                <a:moveTo>
                  <a:pt x="6299747" y="3863490"/>
                </a:moveTo>
                <a:cubicBezTo>
                  <a:pt x="6292795" y="3867113"/>
                  <a:pt x="6284918" y="3869761"/>
                  <a:pt x="6275650" y="3871572"/>
                </a:cubicBezTo>
                <a:cubicBezTo>
                  <a:pt x="6284918" y="3871294"/>
                  <a:pt x="6293722" y="3870876"/>
                  <a:pt x="6302527" y="3871154"/>
                </a:cubicBezTo>
                <a:cubicBezTo>
                  <a:pt x="6300673" y="3869481"/>
                  <a:pt x="6299284" y="3867531"/>
                  <a:pt x="6299747" y="3863490"/>
                </a:cubicBezTo>
                <a:close/>
                <a:moveTo>
                  <a:pt x="6669998" y="3862653"/>
                </a:moveTo>
                <a:lnTo>
                  <a:pt x="6668664" y="3862855"/>
                </a:lnTo>
                <a:lnTo>
                  <a:pt x="6660730" y="3865190"/>
                </a:lnTo>
                <a:lnTo>
                  <a:pt x="6660730" y="3865859"/>
                </a:lnTo>
                <a:cubicBezTo>
                  <a:pt x="6664438" y="3866695"/>
                  <a:pt x="6667217" y="3864605"/>
                  <a:pt x="6670462" y="3863210"/>
                </a:cubicBezTo>
                <a:cubicBezTo>
                  <a:pt x="6669998" y="3863072"/>
                  <a:pt x="6669998" y="3862653"/>
                  <a:pt x="6669998" y="3862653"/>
                </a:cubicBezTo>
                <a:close/>
                <a:moveTo>
                  <a:pt x="6269626" y="3862235"/>
                </a:moveTo>
                <a:cubicBezTo>
                  <a:pt x="6265455" y="3863907"/>
                  <a:pt x="6261285" y="3867252"/>
                  <a:pt x="6257115" y="3872409"/>
                </a:cubicBezTo>
                <a:cubicBezTo>
                  <a:pt x="6262211" y="3872130"/>
                  <a:pt x="6267310" y="3872269"/>
                  <a:pt x="6272407" y="3872130"/>
                </a:cubicBezTo>
                <a:cubicBezTo>
                  <a:pt x="6272871" y="3867671"/>
                  <a:pt x="6271481" y="3864883"/>
                  <a:pt x="6269626" y="3862235"/>
                </a:cubicBezTo>
                <a:close/>
                <a:moveTo>
                  <a:pt x="6451277" y="3857078"/>
                </a:moveTo>
                <a:lnTo>
                  <a:pt x="6451277" y="3860285"/>
                </a:lnTo>
                <a:cubicBezTo>
                  <a:pt x="6452204" y="3860982"/>
                  <a:pt x="6452666" y="3861678"/>
                  <a:pt x="6453593" y="3862235"/>
                </a:cubicBezTo>
                <a:cubicBezTo>
                  <a:pt x="6456374" y="3862096"/>
                  <a:pt x="6457764" y="3860563"/>
                  <a:pt x="6459154" y="3859309"/>
                </a:cubicBezTo>
                <a:cubicBezTo>
                  <a:pt x="6458228" y="3858612"/>
                  <a:pt x="6457301" y="3858054"/>
                  <a:pt x="6456374" y="3857078"/>
                </a:cubicBezTo>
                <a:cubicBezTo>
                  <a:pt x="6456374" y="3856940"/>
                  <a:pt x="6455910" y="3857078"/>
                  <a:pt x="6455910" y="3857078"/>
                </a:cubicBezTo>
                <a:cubicBezTo>
                  <a:pt x="6454520" y="3857078"/>
                  <a:pt x="6453130" y="3857078"/>
                  <a:pt x="6451277" y="3857078"/>
                </a:cubicBezTo>
                <a:close/>
                <a:moveTo>
                  <a:pt x="4076743" y="3856615"/>
                </a:moveTo>
                <a:lnTo>
                  <a:pt x="4068505" y="3857078"/>
                </a:lnTo>
                <a:cubicBezTo>
                  <a:pt x="4071285" y="3863768"/>
                  <a:pt x="4074848" y="3866433"/>
                  <a:pt x="4078648" y="3866919"/>
                </a:cubicBezTo>
                <a:lnTo>
                  <a:pt x="4080635" y="3866364"/>
                </a:lnTo>
                <a:lnTo>
                  <a:pt x="4079905" y="3864904"/>
                </a:lnTo>
                <a:cubicBezTo>
                  <a:pt x="4078602" y="3862518"/>
                  <a:pt x="4077458" y="3860175"/>
                  <a:pt x="4076756" y="3856956"/>
                </a:cubicBezTo>
                <a:close/>
                <a:moveTo>
                  <a:pt x="5209716" y="3855881"/>
                </a:moveTo>
                <a:cubicBezTo>
                  <a:pt x="5206936" y="3855323"/>
                  <a:pt x="5205547" y="3856438"/>
                  <a:pt x="5206936" y="3860062"/>
                </a:cubicBezTo>
                <a:lnTo>
                  <a:pt x="5209131" y="3860062"/>
                </a:lnTo>
                <a:lnTo>
                  <a:pt x="5213401" y="3858774"/>
                </a:lnTo>
                <a:close/>
                <a:moveTo>
                  <a:pt x="6188068" y="3855685"/>
                </a:moveTo>
                <a:cubicBezTo>
                  <a:pt x="6182045" y="3855685"/>
                  <a:pt x="6176021" y="3856243"/>
                  <a:pt x="6170460" y="3856104"/>
                </a:cubicBezTo>
                <a:cubicBezTo>
                  <a:pt x="6166753" y="3862375"/>
                  <a:pt x="6163045" y="3867949"/>
                  <a:pt x="6153314" y="3867949"/>
                </a:cubicBezTo>
                <a:cubicBezTo>
                  <a:pt x="6152852" y="3862653"/>
                  <a:pt x="6154242" y="3860563"/>
                  <a:pt x="6155167" y="3856661"/>
                </a:cubicBezTo>
                <a:cubicBezTo>
                  <a:pt x="6131999" y="3856801"/>
                  <a:pt x="6111146" y="3860424"/>
                  <a:pt x="6097244" y="3880909"/>
                </a:cubicBezTo>
                <a:cubicBezTo>
                  <a:pt x="6129217" y="3876032"/>
                  <a:pt x="6158412" y="3879238"/>
                  <a:pt x="6188996" y="3869761"/>
                </a:cubicBezTo>
                <a:cubicBezTo>
                  <a:pt x="6184825" y="3867809"/>
                  <a:pt x="6181118" y="3865859"/>
                  <a:pt x="6176948" y="3863490"/>
                </a:cubicBezTo>
                <a:cubicBezTo>
                  <a:pt x="6179728" y="3860563"/>
                  <a:pt x="6184362" y="3858472"/>
                  <a:pt x="6188068" y="3855685"/>
                </a:cubicBezTo>
                <a:close/>
                <a:moveTo>
                  <a:pt x="5060169" y="3854582"/>
                </a:moveTo>
                <a:lnTo>
                  <a:pt x="5060169" y="3860195"/>
                </a:lnTo>
                <a:lnTo>
                  <a:pt x="5061431" y="3860062"/>
                </a:lnTo>
                <a:close/>
                <a:moveTo>
                  <a:pt x="12518336" y="3850928"/>
                </a:moveTo>
                <a:cubicBezTo>
                  <a:pt x="12521117" y="3850510"/>
                  <a:pt x="12523434" y="3850789"/>
                  <a:pt x="12526215" y="3851207"/>
                </a:cubicBezTo>
                <a:cubicBezTo>
                  <a:pt x="12541505" y="3853994"/>
                  <a:pt x="12556798" y="3868348"/>
                  <a:pt x="12579505" y="3859011"/>
                </a:cubicBezTo>
                <a:cubicBezTo>
                  <a:pt x="12562360" y="3874202"/>
                  <a:pt x="12528994" y="3868627"/>
                  <a:pt x="12510458" y="3853437"/>
                </a:cubicBezTo>
                <a:cubicBezTo>
                  <a:pt x="12512776" y="3851903"/>
                  <a:pt x="12515556" y="3851207"/>
                  <a:pt x="12518336" y="3850928"/>
                </a:cubicBezTo>
                <a:close/>
                <a:moveTo>
                  <a:pt x="4706136" y="3850528"/>
                </a:moveTo>
                <a:lnTo>
                  <a:pt x="4724207" y="3850528"/>
                </a:lnTo>
                <a:lnTo>
                  <a:pt x="4724207" y="3866973"/>
                </a:lnTo>
                <a:cubicBezTo>
                  <a:pt x="4715404" y="3864186"/>
                  <a:pt x="4704745" y="3864325"/>
                  <a:pt x="4706136" y="3850528"/>
                </a:cubicBezTo>
                <a:close/>
                <a:moveTo>
                  <a:pt x="6412352" y="3847184"/>
                </a:moveTo>
                <a:cubicBezTo>
                  <a:pt x="6412815" y="3848578"/>
                  <a:pt x="6411425" y="3848857"/>
                  <a:pt x="6411425" y="3850111"/>
                </a:cubicBezTo>
                <a:cubicBezTo>
                  <a:pt x="6414205" y="3849693"/>
                  <a:pt x="6414668" y="3849693"/>
                  <a:pt x="6415596" y="3848159"/>
                </a:cubicBezTo>
                <a:cubicBezTo>
                  <a:pt x="6415596" y="3848159"/>
                  <a:pt x="6413741" y="3847045"/>
                  <a:pt x="6412352" y="3847184"/>
                </a:cubicBezTo>
                <a:close/>
                <a:moveTo>
                  <a:pt x="5408757" y="3846159"/>
                </a:moveTo>
                <a:lnTo>
                  <a:pt x="5408229" y="3849080"/>
                </a:lnTo>
                <a:lnTo>
                  <a:pt x="5408440" y="3849028"/>
                </a:lnTo>
                <a:close/>
                <a:moveTo>
                  <a:pt x="6247847" y="3843004"/>
                </a:moveTo>
                <a:cubicBezTo>
                  <a:pt x="6239043" y="3847741"/>
                  <a:pt x="6230238" y="3852759"/>
                  <a:pt x="6221433" y="3854709"/>
                </a:cubicBezTo>
                <a:cubicBezTo>
                  <a:pt x="6218653" y="3855267"/>
                  <a:pt x="6215872" y="3854292"/>
                  <a:pt x="6213092" y="3854709"/>
                </a:cubicBezTo>
                <a:cubicBezTo>
                  <a:pt x="6213092" y="3859169"/>
                  <a:pt x="6213092" y="3863907"/>
                  <a:pt x="6213556" y="3869203"/>
                </a:cubicBezTo>
                <a:lnTo>
                  <a:pt x="6214019" y="3874778"/>
                </a:lnTo>
                <a:cubicBezTo>
                  <a:pt x="6224214" y="3873942"/>
                  <a:pt x="6234872" y="3874220"/>
                  <a:pt x="6245066" y="3873523"/>
                </a:cubicBezTo>
                <a:cubicBezTo>
                  <a:pt x="6243213" y="3872130"/>
                  <a:pt x="6241359" y="3870598"/>
                  <a:pt x="6237189" y="3872409"/>
                </a:cubicBezTo>
                <a:cubicBezTo>
                  <a:pt x="6247847" y="3867809"/>
                  <a:pt x="6256651" y="3861817"/>
                  <a:pt x="6269163" y="3859309"/>
                </a:cubicBezTo>
                <a:cubicBezTo>
                  <a:pt x="6262675" y="3852341"/>
                  <a:pt x="6250627" y="3850669"/>
                  <a:pt x="6247847" y="3843004"/>
                </a:cubicBezTo>
                <a:close/>
                <a:moveTo>
                  <a:pt x="5735670" y="3842502"/>
                </a:moveTo>
                <a:cubicBezTo>
                  <a:pt x="5728951" y="3843478"/>
                  <a:pt x="5722116" y="3845952"/>
                  <a:pt x="5716264" y="3849593"/>
                </a:cubicBezTo>
                <a:lnTo>
                  <a:pt x="5714344" y="3851598"/>
                </a:lnTo>
                <a:lnTo>
                  <a:pt x="5753030" y="3844734"/>
                </a:lnTo>
                <a:lnTo>
                  <a:pt x="5749108" y="3842641"/>
                </a:lnTo>
                <a:cubicBezTo>
                  <a:pt x="5744936" y="3841806"/>
                  <a:pt x="5740302" y="3841806"/>
                  <a:pt x="5735670" y="3842502"/>
                </a:cubicBezTo>
                <a:close/>
                <a:moveTo>
                  <a:pt x="5061431" y="3839994"/>
                </a:moveTo>
                <a:cubicBezTo>
                  <a:pt x="5056797" y="3841248"/>
                  <a:pt x="5048920" y="3839575"/>
                  <a:pt x="5048920" y="3845011"/>
                </a:cubicBezTo>
                <a:lnTo>
                  <a:pt x="5049879" y="3845671"/>
                </a:lnTo>
                <a:lnTo>
                  <a:pt x="5060169" y="3842167"/>
                </a:lnTo>
                <a:lnTo>
                  <a:pt x="5060169" y="3844931"/>
                </a:lnTo>
                <a:close/>
                <a:moveTo>
                  <a:pt x="5407632" y="3839528"/>
                </a:moveTo>
                <a:lnTo>
                  <a:pt x="5405398" y="3841191"/>
                </a:lnTo>
                <a:lnTo>
                  <a:pt x="5408908" y="3844802"/>
                </a:lnTo>
                <a:lnTo>
                  <a:pt x="5409439" y="3839994"/>
                </a:lnTo>
                <a:close/>
                <a:moveTo>
                  <a:pt x="6400767" y="3837429"/>
                </a:moveTo>
                <a:cubicBezTo>
                  <a:pt x="6399840" y="3838544"/>
                  <a:pt x="6398449" y="3840215"/>
                  <a:pt x="6397060" y="3841191"/>
                </a:cubicBezTo>
                <a:cubicBezTo>
                  <a:pt x="6395669" y="3845233"/>
                  <a:pt x="6393814" y="3850111"/>
                  <a:pt x="6392425" y="3852898"/>
                </a:cubicBezTo>
                <a:cubicBezTo>
                  <a:pt x="6392888" y="3852898"/>
                  <a:pt x="6393353" y="3852759"/>
                  <a:pt x="6393814" y="3852898"/>
                </a:cubicBezTo>
                <a:cubicBezTo>
                  <a:pt x="6394742" y="3851922"/>
                  <a:pt x="6395669" y="3850250"/>
                  <a:pt x="6397060" y="3849554"/>
                </a:cubicBezTo>
                <a:cubicBezTo>
                  <a:pt x="6396596" y="3843142"/>
                  <a:pt x="6399377" y="3839798"/>
                  <a:pt x="6400767" y="3837429"/>
                </a:cubicBezTo>
                <a:close/>
                <a:moveTo>
                  <a:pt x="6277967" y="3836872"/>
                </a:moveTo>
                <a:cubicBezTo>
                  <a:pt x="6276577" y="3841749"/>
                  <a:pt x="6274723" y="3845233"/>
                  <a:pt x="6273334" y="3846906"/>
                </a:cubicBezTo>
                <a:cubicBezTo>
                  <a:pt x="6274260" y="3846627"/>
                  <a:pt x="6274723" y="3845791"/>
                  <a:pt x="6275650" y="3845791"/>
                </a:cubicBezTo>
                <a:cubicBezTo>
                  <a:pt x="6277967" y="3845094"/>
                  <a:pt x="6280284" y="3844815"/>
                  <a:pt x="6282601" y="3842167"/>
                </a:cubicBezTo>
                <a:cubicBezTo>
                  <a:pt x="6280747" y="3839519"/>
                  <a:pt x="6279358" y="3838265"/>
                  <a:pt x="6277967" y="3836872"/>
                </a:cubicBezTo>
                <a:close/>
                <a:moveTo>
                  <a:pt x="3527261" y="3836035"/>
                </a:moveTo>
                <a:cubicBezTo>
                  <a:pt x="3536529" y="3834502"/>
                  <a:pt x="3549040" y="3845651"/>
                  <a:pt x="3560162" y="3842446"/>
                </a:cubicBezTo>
                <a:cubicBezTo>
                  <a:pt x="3563405" y="3871015"/>
                  <a:pt x="3526334" y="3851086"/>
                  <a:pt x="3518920" y="3842446"/>
                </a:cubicBezTo>
                <a:cubicBezTo>
                  <a:pt x="3521236" y="3838265"/>
                  <a:pt x="3524016" y="3836454"/>
                  <a:pt x="3527261" y="3836035"/>
                </a:cubicBezTo>
                <a:close/>
                <a:moveTo>
                  <a:pt x="6452666" y="3835617"/>
                </a:moveTo>
                <a:cubicBezTo>
                  <a:pt x="6451277" y="3835757"/>
                  <a:pt x="6449887" y="3835617"/>
                  <a:pt x="6450351" y="3838265"/>
                </a:cubicBezTo>
                <a:cubicBezTo>
                  <a:pt x="6448959" y="3838544"/>
                  <a:pt x="6449423" y="3838544"/>
                  <a:pt x="6447569" y="3837429"/>
                </a:cubicBezTo>
                <a:cubicBezTo>
                  <a:pt x="6447569" y="3839380"/>
                  <a:pt x="6448033" y="3841749"/>
                  <a:pt x="6447569" y="3843561"/>
                </a:cubicBezTo>
                <a:cubicBezTo>
                  <a:pt x="6448959" y="3843004"/>
                  <a:pt x="6449423" y="3842864"/>
                  <a:pt x="6451277" y="3842167"/>
                </a:cubicBezTo>
                <a:lnTo>
                  <a:pt x="6451277" y="3848717"/>
                </a:lnTo>
                <a:cubicBezTo>
                  <a:pt x="6454520" y="3846766"/>
                  <a:pt x="6454520" y="3842167"/>
                  <a:pt x="6452666" y="3835617"/>
                </a:cubicBezTo>
                <a:close/>
                <a:moveTo>
                  <a:pt x="4023092" y="3834641"/>
                </a:moveTo>
                <a:cubicBezTo>
                  <a:pt x="4018458" y="3833666"/>
                  <a:pt x="4013361" y="3835896"/>
                  <a:pt x="4014288" y="3841191"/>
                </a:cubicBezTo>
                <a:cubicBezTo>
                  <a:pt x="4023555" y="3842585"/>
                  <a:pt x="4007802" y="3855546"/>
                  <a:pt x="4018921" y="3862235"/>
                </a:cubicBezTo>
                <a:cubicBezTo>
                  <a:pt x="4030043" y="3866276"/>
                  <a:pt x="4039774" y="3842585"/>
                  <a:pt x="4031896" y="3841191"/>
                </a:cubicBezTo>
                <a:cubicBezTo>
                  <a:pt x="4031896" y="3843979"/>
                  <a:pt x="4031432" y="3847603"/>
                  <a:pt x="4026800" y="3846348"/>
                </a:cubicBezTo>
                <a:cubicBezTo>
                  <a:pt x="4030506" y="3839659"/>
                  <a:pt x="4027263" y="3835757"/>
                  <a:pt x="4023092" y="3834641"/>
                </a:cubicBezTo>
                <a:close/>
                <a:moveTo>
                  <a:pt x="13105919" y="3831975"/>
                </a:moveTo>
                <a:cubicBezTo>
                  <a:pt x="13117967" y="3832394"/>
                  <a:pt x="13129552" y="3836295"/>
                  <a:pt x="13133261" y="3846887"/>
                </a:cubicBezTo>
                <a:cubicBezTo>
                  <a:pt x="13121213" y="3843403"/>
                  <a:pt x="13098969" y="3839780"/>
                  <a:pt x="13073482" y="3837968"/>
                </a:cubicBezTo>
                <a:cubicBezTo>
                  <a:pt x="13080431" y="3834484"/>
                  <a:pt x="13093408" y="3831557"/>
                  <a:pt x="13105919" y="3831975"/>
                </a:cubicBezTo>
                <a:close/>
                <a:moveTo>
                  <a:pt x="5373296" y="3831075"/>
                </a:moveTo>
                <a:cubicBezTo>
                  <a:pt x="5371442" y="3831214"/>
                  <a:pt x="5369704" y="3832364"/>
                  <a:pt x="5368604" y="3834489"/>
                </a:cubicBezTo>
                <a:lnTo>
                  <a:pt x="5367969" y="3841241"/>
                </a:lnTo>
                <a:lnTo>
                  <a:pt x="5368731" y="3841052"/>
                </a:lnTo>
                <a:lnTo>
                  <a:pt x="5376873" y="3842677"/>
                </a:lnTo>
                <a:lnTo>
                  <a:pt x="5380052" y="3842301"/>
                </a:lnTo>
                <a:lnTo>
                  <a:pt x="5373423" y="3835617"/>
                </a:lnTo>
                <a:lnTo>
                  <a:pt x="5377985" y="3833176"/>
                </a:lnTo>
                <a:close/>
                <a:moveTo>
                  <a:pt x="6426075" y="3828780"/>
                </a:moveTo>
                <a:lnTo>
                  <a:pt x="6430887" y="3840356"/>
                </a:lnTo>
                <a:cubicBezTo>
                  <a:pt x="6434595" y="3838405"/>
                  <a:pt x="6438301" y="3837568"/>
                  <a:pt x="6446179" y="3835060"/>
                </a:cubicBezTo>
                <a:lnTo>
                  <a:pt x="6445064" y="3830440"/>
                </a:lnTo>
                <a:lnTo>
                  <a:pt x="6431571" y="3829628"/>
                </a:lnTo>
                <a:close/>
                <a:moveTo>
                  <a:pt x="5207064" y="3827896"/>
                </a:moveTo>
                <a:lnTo>
                  <a:pt x="5195873" y="3829367"/>
                </a:lnTo>
                <a:cubicBezTo>
                  <a:pt x="5192225" y="3830343"/>
                  <a:pt x="5189791" y="3832329"/>
                  <a:pt x="5190718" y="3837067"/>
                </a:cubicBezTo>
                <a:cubicBezTo>
                  <a:pt x="5194657" y="3839088"/>
                  <a:pt x="5198247" y="3839436"/>
                  <a:pt x="5201260" y="3837938"/>
                </a:cubicBezTo>
                <a:lnTo>
                  <a:pt x="5207064" y="3829554"/>
                </a:lnTo>
                <a:close/>
                <a:moveTo>
                  <a:pt x="6406079" y="3825693"/>
                </a:moveTo>
                <a:lnTo>
                  <a:pt x="6405401" y="3830043"/>
                </a:lnTo>
                <a:lnTo>
                  <a:pt x="6408033" y="3825994"/>
                </a:lnTo>
                <a:close/>
                <a:moveTo>
                  <a:pt x="5159670" y="3823270"/>
                </a:moveTo>
                <a:cubicBezTo>
                  <a:pt x="5149476" y="3825361"/>
                  <a:pt x="5140208" y="3833722"/>
                  <a:pt x="5147622" y="3840830"/>
                </a:cubicBezTo>
                <a:cubicBezTo>
                  <a:pt x="5150866" y="3828705"/>
                  <a:pt x="5171719" y="3838322"/>
                  <a:pt x="5169864" y="3823549"/>
                </a:cubicBezTo>
                <a:cubicBezTo>
                  <a:pt x="5166622" y="3822573"/>
                  <a:pt x="5163378" y="3822573"/>
                  <a:pt x="5159670" y="3823270"/>
                </a:cubicBezTo>
                <a:close/>
                <a:moveTo>
                  <a:pt x="3421143" y="3820149"/>
                </a:moveTo>
                <a:lnTo>
                  <a:pt x="3441069" y="3820149"/>
                </a:lnTo>
                <a:cubicBezTo>
                  <a:pt x="3439216" y="3827952"/>
                  <a:pt x="3444313" y="3829067"/>
                  <a:pt x="3450801" y="3829067"/>
                </a:cubicBezTo>
                <a:cubicBezTo>
                  <a:pt x="3450801" y="3840773"/>
                  <a:pt x="3422997" y="3838405"/>
                  <a:pt x="3421143" y="3820149"/>
                </a:cubicBezTo>
                <a:close/>
                <a:moveTo>
                  <a:pt x="5442505" y="3819253"/>
                </a:moveTo>
                <a:cubicBezTo>
                  <a:pt x="5440629" y="3818550"/>
                  <a:pt x="5438327" y="3818902"/>
                  <a:pt x="5436270" y="3820096"/>
                </a:cubicBezTo>
                <a:lnTo>
                  <a:pt x="5433278" y="3831720"/>
                </a:lnTo>
                <a:lnTo>
                  <a:pt x="5437302" y="3831371"/>
                </a:lnTo>
                <a:lnTo>
                  <a:pt x="5437900" y="3831335"/>
                </a:lnTo>
                <a:lnTo>
                  <a:pt x="5438761" y="3827621"/>
                </a:lnTo>
                <a:cubicBezTo>
                  <a:pt x="5440498" y="3826071"/>
                  <a:pt x="5443164" y="3825374"/>
                  <a:pt x="5446176" y="3824747"/>
                </a:cubicBezTo>
                <a:cubicBezTo>
                  <a:pt x="5445828" y="3821716"/>
                  <a:pt x="5444381" y="3819956"/>
                  <a:pt x="5442505" y="3819253"/>
                </a:cubicBezTo>
                <a:close/>
                <a:moveTo>
                  <a:pt x="5948494" y="3817780"/>
                </a:moveTo>
                <a:cubicBezTo>
                  <a:pt x="5946178" y="3818337"/>
                  <a:pt x="5944323" y="3819173"/>
                  <a:pt x="5942470" y="3819591"/>
                </a:cubicBezTo>
                <a:cubicBezTo>
                  <a:pt x="5942008" y="3820846"/>
                  <a:pt x="5942008" y="3821403"/>
                  <a:pt x="5941543" y="3821960"/>
                </a:cubicBezTo>
                <a:cubicBezTo>
                  <a:pt x="5944787" y="3821124"/>
                  <a:pt x="5947105" y="3820149"/>
                  <a:pt x="5948494" y="3817780"/>
                </a:cubicBezTo>
                <a:close/>
                <a:moveTo>
                  <a:pt x="3834955" y="3817780"/>
                </a:moveTo>
                <a:cubicBezTo>
                  <a:pt x="3832637" y="3818198"/>
                  <a:pt x="3830784" y="3817500"/>
                  <a:pt x="3828003" y="3818198"/>
                </a:cubicBezTo>
                <a:cubicBezTo>
                  <a:pt x="3833100" y="3825026"/>
                  <a:pt x="3831711" y="3826698"/>
                  <a:pt x="3826613" y="3827116"/>
                </a:cubicBezTo>
                <a:cubicBezTo>
                  <a:pt x="3830784" y="3829625"/>
                  <a:pt x="3834955" y="3833248"/>
                  <a:pt x="3834027" y="3841191"/>
                </a:cubicBezTo>
                <a:cubicBezTo>
                  <a:pt x="3844222" y="3836872"/>
                  <a:pt x="3835881" y="3828370"/>
                  <a:pt x="3834955" y="3817780"/>
                </a:cubicBezTo>
                <a:close/>
                <a:moveTo>
                  <a:pt x="3852100" y="3816386"/>
                </a:moveTo>
                <a:cubicBezTo>
                  <a:pt x="3851172" y="3816246"/>
                  <a:pt x="3849783" y="3816944"/>
                  <a:pt x="3848392" y="3816944"/>
                </a:cubicBezTo>
                <a:cubicBezTo>
                  <a:pt x="3847929" y="3823493"/>
                  <a:pt x="3849783" y="3831436"/>
                  <a:pt x="3853027" y="3841191"/>
                </a:cubicBezTo>
                <a:cubicBezTo>
                  <a:pt x="3870636" y="3843979"/>
                  <a:pt x="3866001" y="3819312"/>
                  <a:pt x="3885001" y="3824747"/>
                </a:cubicBezTo>
                <a:cubicBezTo>
                  <a:pt x="3885001" y="3820846"/>
                  <a:pt x="3880366" y="3820846"/>
                  <a:pt x="3875732" y="3819591"/>
                </a:cubicBezTo>
                <a:cubicBezTo>
                  <a:pt x="3875732" y="3819731"/>
                  <a:pt x="3875270" y="3819591"/>
                  <a:pt x="3875270" y="3819591"/>
                </a:cubicBezTo>
                <a:cubicBezTo>
                  <a:pt x="3868318" y="3818476"/>
                  <a:pt x="3860904" y="3817083"/>
                  <a:pt x="3852100" y="3816386"/>
                </a:cubicBezTo>
                <a:close/>
                <a:moveTo>
                  <a:pt x="6825610" y="3816264"/>
                </a:moveTo>
                <a:lnTo>
                  <a:pt x="6818285" y="3817780"/>
                </a:lnTo>
                <a:cubicBezTo>
                  <a:pt x="6818747" y="3817918"/>
                  <a:pt x="6819211" y="3818476"/>
                  <a:pt x="6819675" y="3818755"/>
                </a:cubicBezTo>
                <a:lnTo>
                  <a:pt x="6825635" y="3816272"/>
                </a:lnTo>
                <a:close/>
                <a:moveTo>
                  <a:pt x="5420763" y="3815230"/>
                </a:moveTo>
                <a:lnTo>
                  <a:pt x="5390441" y="3820762"/>
                </a:lnTo>
                <a:lnTo>
                  <a:pt x="5396100" y="3827530"/>
                </a:lnTo>
                <a:lnTo>
                  <a:pt x="5398735" y="3827151"/>
                </a:lnTo>
                <a:cubicBezTo>
                  <a:pt x="5407483" y="3826768"/>
                  <a:pt x="5416287" y="3827395"/>
                  <a:pt x="5424396" y="3824747"/>
                </a:cubicBezTo>
                <a:close/>
                <a:moveTo>
                  <a:pt x="5921618" y="3810394"/>
                </a:moveTo>
                <a:cubicBezTo>
                  <a:pt x="5921618" y="3811787"/>
                  <a:pt x="5920228" y="3814017"/>
                  <a:pt x="5915593" y="3814017"/>
                </a:cubicBezTo>
                <a:cubicBezTo>
                  <a:pt x="5918837" y="3830182"/>
                  <a:pt x="5924861" y="3822378"/>
                  <a:pt x="5935984" y="3819591"/>
                </a:cubicBezTo>
                <a:cubicBezTo>
                  <a:pt x="5937837" y="3818337"/>
                  <a:pt x="5939690" y="3815410"/>
                  <a:pt x="5942470" y="3815410"/>
                </a:cubicBezTo>
                <a:cubicBezTo>
                  <a:pt x="5937837" y="3815410"/>
                  <a:pt x="5929495" y="3811787"/>
                  <a:pt x="5921618" y="3810394"/>
                </a:cubicBezTo>
                <a:close/>
                <a:moveTo>
                  <a:pt x="5538855" y="3810394"/>
                </a:moveTo>
                <a:cubicBezTo>
                  <a:pt x="5507923" y="3809348"/>
                  <a:pt x="5484811" y="3809714"/>
                  <a:pt x="5461112" y="3820721"/>
                </a:cubicBezTo>
                <a:lnTo>
                  <a:pt x="5444501" y="3830944"/>
                </a:lnTo>
                <a:lnTo>
                  <a:pt x="5465185" y="3829718"/>
                </a:lnTo>
                <a:cubicBezTo>
                  <a:pt x="5473532" y="3831092"/>
                  <a:pt x="5480455" y="3835290"/>
                  <a:pt x="5484509" y="3845011"/>
                </a:cubicBezTo>
                <a:lnTo>
                  <a:pt x="5496724" y="3839703"/>
                </a:lnTo>
                <a:lnTo>
                  <a:pt x="5497612" y="3830321"/>
                </a:lnTo>
                <a:cubicBezTo>
                  <a:pt x="5488344" y="3829067"/>
                  <a:pt x="5485100" y="3834224"/>
                  <a:pt x="5478614" y="3835617"/>
                </a:cubicBezTo>
                <a:cubicBezTo>
                  <a:pt x="5473979" y="3830461"/>
                  <a:pt x="5488808" y="3824607"/>
                  <a:pt x="5500856" y="3819591"/>
                </a:cubicBezTo>
                <a:cubicBezTo>
                  <a:pt x="5507111" y="3823632"/>
                  <a:pt x="5508617" y="3826942"/>
                  <a:pt x="5507807" y="3830931"/>
                </a:cubicBezTo>
                <a:lnTo>
                  <a:pt x="5505588" y="3835852"/>
                </a:lnTo>
                <a:lnTo>
                  <a:pt x="5506000" y="3835674"/>
                </a:lnTo>
                <a:cubicBezTo>
                  <a:pt x="5511271" y="3833687"/>
                  <a:pt x="5515789" y="3831702"/>
                  <a:pt x="5522971" y="3826336"/>
                </a:cubicBezTo>
                <a:lnTo>
                  <a:pt x="5527198" y="3839195"/>
                </a:lnTo>
                <a:lnTo>
                  <a:pt x="5528515" y="3838837"/>
                </a:lnTo>
                <a:lnTo>
                  <a:pt x="5545306" y="3837797"/>
                </a:lnTo>
                <a:lnTo>
                  <a:pt x="5548219" y="3836396"/>
                </a:lnTo>
                <a:cubicBezTo>
                  <a:pt x="5555162" y="3834489"/>
                  <a:pt x="5562909" y="3834628"/>
                  <a:pt x="5570411" y="3834768"/>
                </a:cubicBezTo>
                <a:lnTo>
                  <a:pt x="5572671" y="3834590"/>
                </a:lnTo>
                <a:lnTo>
                  <a:pt x="5600630" y="3825457"/>
                </a:lnTo>
                <a:lnTo>
                  <a:pt x="5603345" y="3820533"/>
                </a:lnTo>
                <a:lnTo>
                  <a:pt x="5583398" y="3827552"/>
                </a:lnTo>
                <a:cubicBezTo>
                  <a:pt x="5565499" y="3832238"/>
                  <a:pt x="5547196" y="3832900"/>
                  <a:pt x="5529587" y="3823493"/>
                </a:cubicBezTo>
                <a:cubicBezTo>
                  <a:pt x="5524952" y="3809975"/>
                  <a:pt x="5535611" y="3815689"/>
                  <a:pt x="5538855" y="3810394"/>
                </a:cubicBezTo>
                <a:close/>
                <a:moveTo>
                  <a:pt x="5870646" y="3808999"/>
                </a:moveTo>
                <a:cubicBezTo>
                  <a:pt x="5866011" y="3809278"/>
                  <a:pt x="5860450" y="3811368"/>
                  <a:pt x="5856742" y="3814017"/>
                </a:cubicBezTo>
                <a:cubicBezTo>
                  <a:pt x="5863229" y="3814017"/>
                  <a:pt x="5870646" y="3814017"/>
                  <a:pt x="5878521" y="3814017"/>
                </a:cubicBezTo>
                <a:cubicBezTo>
                  <a:pt x="5878521" y="3809975"/>
                  <a:pt x="5875278" y="3808581"/>
                  <a:pt x="5870646" y="3808999"/>
                </a:cubicBezTo>
                <a:close/>
                <a:moveTo>
                  <a:pt x="5960732" y="3808215"/>
                </a:moveTo>
                <a:lnTo>
                  <a:pt x="5960543" y="3808443"/>
                </a:lnTo>
                <a:lnTo>
                  <a:pt x="5961675" y="3808475"/>
                </a:lnTo>
                <a:close/>
                <a:moveTo>
                  <a:pt x="3771933" y="3808024"/>
                </a:moveTo>
                <a:cubicBezTo>
                  <a:pt x="3778419" y="3808860"/>
                  <a:pt x="3783982" y="3814017"/>
                  <a:pt x="3781200" y="3828510"/>
                </a:cubicBezTo>
                <a:cubicBezTo>
                  <a:pt x="3770079" y="3828510"/>
                  <a:pt x="3765445" y="3816525"/>
                  <a:pt x="3757103" y="3812622"/>
                </a:cubicBezTo>
                <a:cubicBezTo>
                  <a:pt x="3758031" y="3810533"/>
                  <a:pt x="3764982" y="3807187"/>
                  <a:pt x="3771933" y="3808024"/>
                </a:cubicBezTo>
                <a:close/>
                <a:moveTo>
                  <a:pt x="5082284" y="3806128"/>
                </a:moveTo>
                <a:cubicBezTo>
                  <a:pt x="5079040" y="3819647"/>
                  <a:pt x="5066529" y="3822155"/>
                  <a:pt x="5060041" y="3831632"/>
                </a:cubicBezTo>
                <a:cubicBezTo>
                  <a:pt x="5067919" y="3831632"/>
                  <a:pt x="5069308" y="3838322"/>
                  <a:pt x="5080429" y="3834280"/>
                </a:cubicBezTo>
                <a:cubicBezTo>
                  <a:pt x="5080429" y="3827590"/>
                  <a:pt x="5088772" y="3808917"/>
                  <a:pt x="5082284" y="3806128"/>
                </a:cubicBezTo>
                <a:close/>
                <a:moveTo>
                  <a:pt x="4854884" y="3800916"/>
                </a:moveTo>
                <a:cubicBezTo>
                  <a:pt x="4862763" y="3813041"/>
                  <a:pt x="4878982" y="3816944"/>
                  <a:pt x="4897981" y="3816944"/>
                </a:cubicBezTo>
                <a:cubicBezTo>
                  <a:pt x="4897054" y="3812901"/>
                  <a:pt x="4896127" y="3808443"/>
                  <a:pt x="4895664" y="3803982"/>
                </a:cubicBezTo>
                <a:cubicBezTo>
                  <a:pt x="4896127" y="3805934"/>
                  <a:pt x="4896591" y="3807885"/>
                  <a:pt x="4896127" y="3811229"/>
                </a:cubicBezTo>
                <a:cubicBezTo>
                  <a:pt x="4876664" y="3812622"/>
                  <a:pt x="4866007" y="3806352"/>
                  <a:pt x="4854884" y="3800916"/>
                </a:cubicBezTo>
                <a:close/>
                <a:moveTo>
                  <a:pt x="4614847" y="3799523"/>
                </a:moveTo>
                <a:cubicBezTo>
                  <a:pt x="4621797" y="3799941"/>
                  <a:pt x="4630139" y="3803007"/>
                  <a:pt x="4635237" y="3800359"/>
                </a:cubicBezTo>
                <a:cubicBezTo>
                  <a:pt x="4629211" y="3810951"/>
                  <a:pt x="4616238" y="3811090"/>
                  <a:pt x="4605579" y="3814573"/>
                </a:cubicBezTo>
                <a:cubicBezTo>
                  <a:pt x="4603262" y="3801335"/>
                  <a:pt x="4608360" y="3799105"/>
                  <a:pt x="4614847" y="3799523"/>
                </a:cubicBezTo>
                <a:close/>
                <a:moveTo>
                  <a:pt x="5924421" y="3798199"/>
                </a:moveTo>
                <a:lnTo>
                  <a:pt x="5921618" y="3799523"/>
                </a:lnTo>
                <a:lnTo>
                  <a:pt x="5929222" y="3799523"/>
                </a:lnTo>
                <a:close/>
                <a:moveTo>
                  <a:pt x="5527734" y="3797991"/>
                </a:moveTo>
                <a:cubicBezTo>
                  <a:pt x="5527734" y="3799384"/>
                  <a:pt x="5529587" y="3799523"/>
                  <a:pt x="5529587" y="3799523"/>
                </a:cubicBezTo>
                <a:cubicBezTo>
                  <a:pt x="5529587" y="3799523"/>
                  <a:pt x="5529587" y="3797991"/>
                  <a:pt x="5529587" y="3797991"/>
                </a:cubicBezTo>
                <a:cubicBezTo>
                  <a:pt x="5529587" y="3797991"/>
                  <a:pt x="5529123" y="3797991"/>
                  <a:pt x="5527734" y="3797991"/>
                </a:cubicBezTo>
                <a:close/>
                <a:moveTo>
                  <a:pt x="5793721" y="3795342"/>
                </a:moveTo>
                <a:cubicBezTo>
                  <a:pt x="5793721" y="3795342"/>
                  <a:pt x="5793721" y="3795760"/>
                  <a:pt x="5793721" y="3795900"/>
                </a:cubicBezTo>
                <a:cubicBezTo>
                  <a:pt x="5794648" y="3795621"/>
                  <a:pt x="5795574" y="3795621"/>
                  <a:pt x="5796965" y="3795342"/>
                </a:cubicBezTo>
                <a:cubicBezTo>
                  <a:pt x="5796039" y="3795342"/>
                  <a:pt x="5794648" y="3795203"/>
                  <a:pt x="5793721" y="3795342"/>
                </a:cubicBezTo>
                <a:close/>
                <a:moveTo>
                  <a:pt x="5901050" y="3794881"/>
                </a:moveTo>
                <a:lnTo>
                  <a:pt x="5896234" y="3796028"/>
                </a:lnTo>
                <a:lnTo>
                  <a:pt x="5895495" y="3799123"/>
                </a:lnTo>
                <a:cubicBezTo>
                  <a:pt x="5891497" y="3806665"/>
                  <a:pt x="5885938" y="3812693"/>
                  <a:pt x="5880376" y="3814017"/>
                </a:cubicBezTo>
                <a:cubicBezTo>
                  <a:pt x="5886862" y="3814017"/>
                  <a:pt x="5893350" y="3814017"/>
                  <a:pt x="5901229" y="3814017"/>
                </a:cubicBezTo>
                <a:cubicBezTo>
                  <a:pt x="5902618" y="3812622"/>
                  <a:pt x="5905862" y="3811647"/>
                  <a:pt x="5905862" y="3808999"/>
                </a:cubicBezTo>
                <a:cubicBezTo>
                  <a:pt x="5902618" y="3808999"/>
                  <a:pt x="5899375" y="3808999"/>
                  <a:pt x="5896594" y="3810394"/>
                </a:cubicBezTo>
                <a:cubicBezTo>
                  <a:pt x="5899375" y="3806352"/>
                  <a:pt x="5904472" y="3803146"/>
                  <a:pt x="5909106" y="3801892"/>
                </a:cubicBezTo>
                <a:lnTo>
                  <a:pt x="5909544" y="3796015"/>
                </a:lnTo>
                <a:close/>
                <a:moveTo>
                  <a:pt x="6761029" y="3790008"/>
                </a:moveTo>
                <a:lnTo>
                  <a:pt x="6760487" y="3790645"/>
                </a:lnTo>
                <a:lnTo>
                  <a:pt x="6761159" y="3791635"/>
                </a:lnTo>
                <a:close/>
                <a:moveTo>
                  <a:pt x="5993288" y="3788494"/>
                </a:moveTo>
                <a:lnTo>
                  <a:pt x="5989272" y="3789028"/>
                </a:lnTo>
                <a:lnTo>
                  <a:pt x="5989272" y="3793808"/>
                </a:lnTo>
                <a:lnTo>
                  <a:pt x="5967464" y="3797651"/>
                </a:lnTo>
                <a:lnTo>
                  <a:pt x="5970059" y="3808711"/>
                </a:lnTo>
                <a:lnTo>
                  <a:pt x="6025533" y="3810272"/>
                </a:lnTo>
                <a:cubicBezTo>
                  <a:pt x="6047429" y="3808164"/>
                  <a:pt x="6069441" y="3803705"/>
                  <a:pt x="6091220" y="3797991"/>
                </a:cubicBezTo>
                <a:lnTo>
                  <a:pt x="6084441" y="3794214"/>
                </a:lnTo>
                <a:lnTo>
                  <a:pt x="6083229" y="3794812"/>
                </a:lnTo>
                <a:cubicBezTo>
                  <a:pt x="6056251" y="3802787"/>
                  <a:pt x="6024450" y="3800201"/>
                  <a:pt x="5998384" y="3808981"/>
                </a:cubicBezTo>
                <a:cubicBezTo>
                  <a:pt x="5989582" y="3808144"/>
                  <a:pt x="5988654" y="3796298"/>
                  <a:pt x="5993288" y="3788494"/>
                </a:cubicBezTo>
                <a:close/>
                <a:moveTo>
                  <a:pt x="3563405" y="3786980"/>
                </a:moveTo>
                <a:cubicBezTo>
                  <a:pt x="3579161" y="3792276"/>
                  <a:pt x="3570356" y="3794925"/>
                  <a:pt x="3568502" y="3808024"/>
                </a:cubicBezTo>
                <a:cubicBezTo>
                  <a:pt x="3553210" y="3811926"/>
                  <a:pt x="3551821" y="3802449"/>
                  <a:pt x="3539772" y="3802449"/>
                </a:cubicBezTo>
                <a:cubicBezTo>
                  <a:pt x="3541162" y="3795900"/>
                  <a:pt x="3551821" y="3798408"/>
                  <a:pt x="3560162" y="3797154"/>
                </a:cubicBezTo>
                <a:cubicBezTo>
                  <a:pt x="3563869" y="3797154"/>
                  <a:pt x="3563405" y="3790882"/>
                  <a:pt x="3563405" y="3786980"/>
                </a:cubicBezTo>
                <a:close/>
                <a:moveTo>
                  <a:pt x="5806696" y="3786423"/>
                </a:moveTo>
                <a:cubicBezTo>
                  <a:pt x="5806232" y="3787259"/>
                  <a:pt x="5805306" y="3788095"/>
                  <a:pt x="5805306" y="3788792"/>
                </a:cubicBezTo>
                <a:cubicBezTo>
                  <a:pt x="5804842" y="3788375"/>
                  <a:pt x="5804379" y="3787399"/>
                  <a:pt x="5804379" y="3786980"/>
                </a:cubicBezTo>
                <a:cubicBezTo>
                  <a:pt x="5804379" y="3788932"/>
                  <a:pt x="5803452" y="3791161"/>
                  <a:pt x="5802989" y="3793808"/>
                </a:cubicBezTo>
                <a:cubicBezTo>
                  <a:pt x="5807623" y="3792415"/>
                  <a:pt x="5811330" y="3790742"/>
                  <a:pt x="5814574" y="3787817"/>
                </a:cubicBezTo>
                <a:cubicBezTo>
                  <a:pt x="5811793" y="3787538"/>
                  <a:pt x="5809013" y="3786841"/>
                  <a:pt x="5806696" y="3786423"/>
                </a:cubicBezTo>
                <a:close/>
                <a:moveTo>
                  <a:pt x="5446176" y="3785876"/>
                </a:moveTo>
                <a:lnTo>
                  <a:pt x="5441356" y="3787733"/>
                </a:lnTo>
                <a:lnTo>
                  <a:pt x="5439920" y="3789842"/>
                </a:lnTo>
                <a:lnTo>
                  <a:pt x="5446176" y="3788792"/>
                </a:lnTo>
                <a:close/>
                <a:moveTo>
                  <a:pt x="5031232" y="3784977"/>
                </a:moveTo>
                <a:lnTo>
                  <a:pt x="5024241" y="3790508"/>
                </a:lnTo>
                <a:cubicBezTo>
                  <a:pt x="4990341" y="3809274"/>
                  <a:pt x="4950807" y="3781319"/>
                  <a:pt x="4918370" y="3806073"/>
                </a:cubicBezTo>
                <a:cubicBezTo>
                  <a:pt x="4912346" y="3803285"/>
                  <a:pt x="4909102" y="3799662"/>
                  <a:pt x="4909102" y="3790185"/>
                </a:cubicBezTo>
                <a:cubicBezTo>
                  <a:pt x="4896127" y="3794227"/>
                  <a:pt x="4894737" y="3794227"/>
                  <a:pt x="4882225" y="3790185"/>
                </a:cubicBezTo>
                <a:cubicBezTo>
                  <a:pt x="4883152" y="3797154"/>
                  <a:pt x="4891955" y="3795900"/>
                  <a:pt x="4895200" y="3801473"/>
                </a:cubicBezTo>
                <a:cubicBezTo>
                  <a:pt x="4895200" y="3800778"/>
                  <a:pt x="4894737" y="3800220"/>
                  <a:pt x="4894737" y="3799523"/>
                </a:cubicBezTo>
                <a:cubicBezTo>
                  <a:pt x="4909102" y="3794088"/>
                  <a:pt x="4907248" y="3808721"/>
                  <a:pt x="4910492" y="3815410"/>
                </a:cubicBezTo>
                <a:cubicBezTo>
                  <a:pt x="4935979" y="3814156"/>
                  <a:pt x="4964709" y="3807328"/>
                  <a:pt x="4982319" y="3806073"/>
                </a:cubicBezTo>
                <a:cubicBezTo>
                  <a:pt x="5007805" y="3804679"/>
                  <a:pt x="4980465" y="3828928"/>
                  <a:pt x="5005952" y="3827674"/>
                </a:cubicBezTo>
                <a:cubicBezTo>
                  <a:pt x="5005952" y="3838405"/>
                  <a:pt x="5004561" y="3845094"/>
                  <a:pt x="5001317" y="3850528"/>
                </a:cubicBezTo>
                <a:cubicBezTo>
                  <a:pt x="5004561" y="3849135"/>
                  <a:pt x="5007805" y="3847603"/>
                  <a:pt x="5009194" y="3846348"/>
                </a:cubicBezTo>
                <a:cubicBezTo>
                  <a:pt x="5009194" y="3848996"/>
                  <a:pt x="5011048" y="3851504"/>
                  <a:pt x="5011048" y="3852898"/>
                </a:cubicBezTo>
                <a:cubicBezTo>
                  <a:pt x="5019391" y="3851504"/>
                  <a:pt x="5028657" y="3850389"/>
                  <a:pt x="5028657" y="3858472"/>
                </a:cubicBezTo>
                <a:cubicBezTo>
                  <a:pt x="5030048" y="3858472"/>
                  <a:pt x="5031900" y="3855685"/>
                  <a:pt x="5031900" y="3854292"/>
                </a:cubicBezTo>
                <a:cubicBezTo>
                  <a:pt x="5030048" y="3848996"/>
                  <a:pt x="5026803" y="3845233"/>
                  <a:pt x="5033291" y="3841191"/>
                </a:cubicBezTo>
                <a:cubicBezTo>
                  <a:pt x="5036535" y="3842585"/>
                  <a:pt x="5037926" y="3843561"/>
                  <a:pt x="5039779" y="3844815"/>
                </a:cubicBezTo>
                <a:lnTo>
                  <a:pt x="5044187" y="3845422"/>
                </a:lnTo>
                <a:lnTo>
                  <a:pt x="5046313" y="3837451"/>
                </a:lnTo>
                <a:cubicBezTo>
                  <a:pt x="5048456" y="3830587"/>
                  <a:pt x="5051236" y="3825569"/>
                  <a:pt x="5056797" y="3823549"/>
                </a:cubicBezTo>
                <a:cubicBezTo>
                  <a:pt x="5053553" y="3820901"/>
                  <a:pt x="5053553" y="3815745"/>
                  <a:pt x="5053553" y="3809055"/>
                </a:cubicBezTo>
                <a:cubicBezTo>
                  <a:pt x="5047067" y="3809055"/>
                  <a:pt x="5045676" y="3814212"/>
                  <a:pt x="5041043" y="3814212"/>
                </a:cubicBezTo>
                <a:cubicBezTo>
                  <a:pt x="5041043" y="3803481"/>
                  <a:pt x="5034554" y="3800694"/>
                  <a:pt x="5026213" y="3801947"/>
                </a:cubicBezTo>
                <a:cubicBezTo>
                  <a:pt x="5031079" y="3797279"/>
                  <a:pt x="5032354" y="3791566"/>
                  <a:pt x="5031601" y="3785852"/>
                </a:cubicBezTo>
                <a:close/>
                <a:moveTo>
                  <a:pt x="6767185" y="3783831"/>
                </a:moveTo>
                <a:cubicBezTo>
                  <a:pt x="6768574" y="3784667"/>
                  <a:pt x="6770427" y="3784528"/>
                  <a:pt x="6771816" y="3784807"/>
                </a:cubicBezTo>
                <a:cubicBezTo>
                  <a:pt x="6772281" y="3784667"/>
                  <a:pt x="6772744" y="3784388"/>
                  <a:pt x="6772744" y="3784249"/>
                </a:cubicBezTo>
                <a:cubicBezTo>
                  <a:pt x="6770891" y="3784388"/>
                  <a:pt x="6769037" y="3784110"/>
                  <a:pt x="6767185" y="3783831"/>
                </a:cubicBezTo>
                <a:close/>
                <a:moveTo>
                  <a:pt x="5455769" y="3782180"/>
                </a:moveTo>
                <a:lnTo>
                  <a:pt x="5446262" y="3785843"/>
                </a:lnTo>
                <a:lnTo>
                  <a:pt x="5456370" y="3783218"/>
                </a:lnTo>
                <a:close/>
                <a:moveTo>
                  <a:pt x="3411412" y="3781406"/>
                </a:moveTo>
                <a:cubicBezTo>
                  <a:pt x="3439216" y="3779873"/>
                  <a:pt x="3473043" y="3802728"/>
                  <a:pt x="3505018" y="3802728"/>
                </a:cubicBezTo>
                <a:cubicBezTo>
                  <a:pt x="3461922" y="3828370"/>
                  <a:pt x="3427631" y="3786144"/>
                  <a:pt x="3386853" y="3792555"/>
                </a:cubicBezTo>
                <a:cubicBezTo>
                  <a:pt x="3394266" y="3784890"/>
                  <a:pt x="3402145" y="3781824"/>
                  <a:pt x="3411412" y="3781406"/>
                </a:cubicBezTo>
                <a:close/>
                <a:moveTo>
                  <a:pt x="5872342" y="3781387"/>
                </a:moveTo>
                <a:cubicBezTo>
                  <a:pt x="5864696" y="3785708"/>
                  <a:pt x="5853574" y="3786578"/>
                  <a:pt x="5842626" y="3786700"/>
                </a:cubicBezTo>
                <a:lnTo>
                  <a:pt x="5823602" y="3787244"/>
                </a:lnTo>
                <a:lnTo>
                  <a:pt x="5818281" y="3793808"/>
                </a:lnTo>
                <a:cubicBezTo>
                  <a:pt x="5831835" y="3795377"/>
                  <a:pt x="5850814" y="3801178"/>
                  <a:pt x="5865981" y="3798785"/>
                </a:cubicBezTo>
                <a:lnTo>
                  <a:pt x="5877941" y="3793858"/>
                </a:lnTo>
                <a:lnTo>
                  <a:pt x="5876859" y="3788895"/>
                </a:lnTo>
                <a:cubicBezTo>
                  <a:pt x="5875238" y="3786265"/>
                  <a:pt x="5873269" y="3784244"/>
                  <a:pt x="5872342" y="3781387"/>
                </a:cubicBezTo>
                <a:close/>
                <a:moveTo>
                  <a:pt x="12660135" y="3776787"/>
                </a:moveTo>
                <a:cubicBezTo>
                  <a:pt x="12668477" y="3774001"/>
                  <a:pt x="12666622" y="3789331"/>
                  <a:pt x="12678207" y="3783756"/>
                </a:cubicBezTo>
                <a:cubicBezTo>
                  <a:pt x="12675428" y="3793512"/>
                  <a:pt x="12658744" y="3796437"/>
                  <a:pt x="12660135" y="3776787"/>
                </a:cubicBezTo>
                <a:close/>
                <a:moveTo>
                  <a:pt x="4780278" y="3776668"/>
                </a:moveTo>
                <a:cubicBezTo>
                  <a:pt x="4780278" y="3777365"/>
                  <a:pt x="4782132" y="3779177"/>
                  <a:pt x="4784449" y="3782243"/>
                </a:cubicBezTo>
                <a:cubicBezTo>
                  <a:pt x="4783986" y="3780291"/>
                  <a:pt x="4785839" y="3778201"/>
                  <a:pt x="4784913" y="3776668"/>
                </a:cubicBezTo>
                <a:cubicBezTo>
                  <a:pt x="4782595" y="3775971"/>
                  <a:pt x="4780742" y="3775831"/>
                  <a:pt x="4780278" y="3776668"/>
                </a:cubicBezTo>
                <a:close/>
                <a:moveTo>
                  <a:pt x="6755585" y="3774989"/>
                </a:moveTo>
                <a:lnTo>
                  <a:pt x="6754383" y="3781653"/>
                </a:lnTo>
                <a:lnTo>
                  <a:pt x="6754930" y="3782459"/>
                </a:lnTo>
                <a:lnTo>
                  <a:pt x="6755090" y="3782329"/>
                </a:lnTo>
                <a:cubicBezTo>
                  <a:pt x="6756421" y="3781475"/>
                  <a:pt x="6757811" y="3781057"/>
                  <a:pt x="6759433" y="3781685"/>
                </a:cubicBezTo>
                <a:close/>
                <a:moveTo>
                  <a:pt x="3486481" y="3772487"/>
                </a:moveTo>
                <a:cubicBezTo>
                  <a:pt x="3502237" y="3774438"/>
                  <a:pt x="3517992" y="3791718"/>
                  <a:pt x="3530041" y="3797712"/>
                </a:cubicBezTo>
                <a:cubicBezTo>
                  <a:pt x="3505944" y="3816107"/>
                  <a:pt x="3496213" y="3773462"/>
                  <a:pt x="3470263" y="3776111"/>
                </a:cubicBezTo>
                <a:cubicBezTo>
                  <a:pt x="3475824" y="3772487"/>
                  <a:pt x="3480921" y="3771791"/>
                  <a:pt x="3486481" y="3772487"/>
                </a:cubicBezTo>
                <a:close/>
                <a:moveTo>
                  <a:pt x="5128161" y="3769755"/>
                </a:moveTo>
                <a:cubicBezTo>
                  <a:pt x="5112405" y="3769755"/>
                  <a:pt x="5112405" y="3786060"/>
                  <a:pt x="5114258" y="3803481"/>
                </a:cubicBezTo>
                <a:cubicBezTo>
                  <a:pt x="5138354" y="3804735"/>
                  <a:pt x="5115649" y="3779093"/>
                  <a:pt x="5128161" y="3769755"/>
                </a:cubicBezTo>
                <a:close/>
                <a:moveTo>
                  <a:pt x="12587847" y="3769263"/>
                </a:moveTo>
                <a:cubicBezTo>
                  <a:pt x="12596186" y="3769263"/>
                  <a:pt x="12600821" y="3775813"/>
                  <a:pt x="12611017" y="3770656"/>
                </a:cubicBezTo>
                <a:cubicBezTo>
                  <a:pt x="12614259" y="3789470"/>
                  <a:pt x="12584601" y="3787937"/>
                  <a:pt x="12587847" y="3769263"/>
                </a:cubicBezTo>
                <a:close/>
                <a:moveTo>
                  <a:pt x="4913736" y="3767191"/>
                </a:moveTo>
                <a:cubicBezTo>
                  <a:pt x="4913736" y="3767191"/>
                  <a:pt x="4913736" y="3767331"/>
                  <a:pt x="4913736" y="3768584"/>
                </a:cubicBezTo>
                <a:cubicBezTo>
                  <a:pt x="4913736" y="3767331"/>
                  <a:pt x="4915127" y="3767191"/>
                  <a:pt x="4915127" y="3767191"/>
                </a:cubicBezTo>
                <a:cubicBezTo>
                  <a:pt x="4915127" y="3767191"/>
                  <a:pt x="4913736" y="3767191"/>
                  <a:pt x="4913736" y="3767191"/>
                </a:cubicBezTo>
                <a:close/>
                <a:moveTo>
                  <a:pt x="5492379" y="3765499"/>
                </a:moveTo>
                <a:lnTo>
                  <a:pt x="5476243" y="3765989"/>
                </a:lnTo>
                <a:lnTo>
                  <a:pt x="5474480" y="3766650"/>
                </a:lnTo>
                <a:lnTo>
                  <a:pt x="5478614" y="3772487"/>
                </a:lnTo>
                <a:cubicBezTo>
                  <a:pt x="5483015" y="3773149"/>
                  <a:pt x="5485999" y="3772147"/>
                  <a:pt x="5488301" y="3770379"/>
                </a:cubicBezTo>
                <a:close/>
                <a:moveTo>
                  <a:pt x="4744133" y="3762592"/>
                </a:moveTo>
                <a:cubicBezTo>
                  <a:pt x="4745060" y="3764544"/>
                  <a:pt x="4746450" y="3766076"/>
                  <a:pt x="4747841" y="3767191"/>
                </a:cubicBezTo>
                <a:cubicBezTo>
                  <a:pt x="4747841" y="3765798"/>
                  <a:pt x="4747841" y="3764404"/>
                  <a:pt x="4747841" y="3763010"/>
                </a:cubicBezTo>
                <a:cubicBezTo>
                  <a:pt x="4746450" y="3762175"/>
                  <a:pt x="4745060" y="3762871"/>
                  <a:pt x="4744133" y="3762592"/>
                </a:cubicBezTo>
                <a:close/>
                <a:moveTo>
                  <a:pt x="4739036" y="3762175"/>
                </a:moveTo>
                <a:cubicBezTo>
                  <a:pt x="4736257" y="3763010"/>
                  <a:pt x="4733476" y="3764544"/>
                  <a:pt x="4731621" y="3765937"/>
                </a:cubicBezTo>
                <a:cubicBezTo>
                  <a:pt x="4731621" y="3767331"/>
                  <a:pt x="4733938" y="3768306"/>
                  <a:pt x="4733938" y="3770954"/>
                </a:cubicBezTo>
                <a:cubicBezTo>
                  <a:pt x="4737184" y="3770954"/>
                  <a:pt x="4738111" y="3773602"/>
                  <a:pt x="4739964" y="3781685"/>
                </a:cubicBezTo>
                <a:cubicBezTo>
                  <a:pt x="4739964" y="3781685"/>
                  <a:pt x="4741354" y="3783218"/>
                  <a:pt x="4743206" y="3783218"/>
                </a:cubicBezTo>
                <a:cubicBezTo>
                  <a:pt x="4743206" y="3787259"/>
                  <a:pt x="4739964" y="3788513"/>
                  <a:pt x="4739964" y="3793808"/>
                </a:cubicBezTo>
                <a:lnTo>
                  <a:pt x="4730231" y="3793808"/>
                </a:lnTo>
                <a:cubicBezTo>
                  <a:pt x="4728842" y="3791161"/>
                  <a:pt x="4728842" y="3790046"/>
                  <a:pt x="4726989" y="3787399"/>
                </a:cubicBezTo>
                <a:cubicBezTo>
                  <a:pt x="4725599" y="3790046"/>
                  <a:pt x="4722353" y="3791300"/>
                  <a:pt x="4720501" y="3795342"/>
                </a:cubicBezTo>
                <a:cubicBezTo>
                  <a:pt x="4741354" y="3792694"/>
                  <a:pt x="4734865" y="3819452"/>
                  <a:pt x="4747841" y="3826141"/>
                </a:cubicBezTo>
                <a:cubicBezTo>
                  <a:pt x="4747841" y="3803285"/>
                  <a:pt x="4758962" y="3827813"/>
                  <a:pt x="4771474" y="3821124"/>
                </a:cubicBezTo>
                <a:cubicBezTo>
                  <a:pt x="4781205" y="3810394"/>
                  <a:pt x="4770083" y="3811647"/>
                  <a:pt x="4766841" y="3800916"/>
                </a:cubicBezTo>
                <a:cubicBezTo>
                  <a:pt x="4777961" y="3803007"/>
                  <a:pt x="4783059" y="3792973"/>
                  <a:pt x="4783522" y="3784054"/>
                </a:cubicBezTo>
                <a:cubicBezTo>
                  <a:pt x="4779352" y="3793949"/>
                  <a:pt x="4758498" y="3786284"/>
                  <a:pt x="4747841" y="3788792"/>
                </a:cubicBezTo>
                <a:cubicBezTo>
                  <a:pt x="4749230" y="3784751"/>
                  <a:pt x="4749695" y="3781546"/>
                  <a:pt x="4749695" y="3780291"/>
                </a:cubicBezTo>
                <a:cubicBezTo>
                  <a:pt x="4746450" y="3778897"/>
                  <a:pt x="4744597" y="3776528"/>
                  <a:pt x="4746450" y="3772487"/>
                </a:cubicBezTo>
                <a:cubicBezTo>
                  <a:pt x="4745060" y="3769978"/>
                  <a:pt x="4743671" y="3767052"/>
                  <a:pt x="4743671" y="3762592"/>
                </a:cubicBezTo>
                <a:cubicBezTo>
                  <a:pt x="4741817" y="3762453"/>
                  <a:pt x="4740427" y="3761617"/>
                  <a:pt x="4739036" y="3762175"/>
                </a:cubicBezTo>
                <a:close/>
                <a:moveTo>
                  <a:pt x="5593547" y="3758450"/>
                </a:moveTo>
                <a:lnTo>
                  <a:pt x="5589540" y="3760647"/>
                </a:lnTo>
                <a:cubicBezTo>
                  <a:pt x="5584428" y="3762130"/>
                  <a:pt x="5579448" y="3761159"/>
                  <a:pt x="5574408" y="3759391"/>
                </a:cubicBezTo>
                <a:lnTo>
                  <a:pt x="5573256" y="3758941"/>
                </a:lnTo>
                <a:lnTo>
                  <a:pt x="5573221" y="3759089"/>
                </a:lnTo>
                <a:cubicBezTo>
                  <a:pt x="5572874" y="3762817"/>
                  <a:pt x="5572757" y="3766893"/>
                  <a:pt x="5569282" y="3767869"/>
                </a:cubicBezTo>
                <a:lnTo>
                  <a:pt x="5547265" y="3759241"/>
                </a:lnTo>
                <a:lnTo>
                  <a:pt x="5550137" y="3762909"/>
                </a:lnTo>
                <a:cubicBezTo>
                  <a:pt x="5553208" y="3765609"/>
                  <a:pt x="5555872" y="3768641"/>
                  <a:pt x="5555872" y="3775330"/>
                </a:cubicBezTo>
                <a:cubicBezTo>
                  <a:pt x="5550312" y="3759861"/>
                  <a:pt x="5535600" y="3758886"/>
                  <a:pt x="5519090" y="3761116"/>
                </a:cubicBezTo>
                <a:lnTo>
                  <a:pt x="5505141" y="3763517"/>
                </a:lnTo>
                <a:lnTo>
                  <a:pt x="5502188" y="3766512"/>
                </a:lnTo>
                <a:cubicBezTo>
                  <a:pt x="5499582" y="3769352"/>
                  <a:pt x="5497612" y="3772696"/>
                  <a:pt x="5497612" y="3778062"/>
                </a:cubicBezTo>
                <a:lnTo>
                  <a:pt x="5507678" y="3782904"/>
                </a:lnTo>
                <a:lnTo>
                  <a:pt x="5508859" y="3781601"/>
                </a:lnTo>
                <a:cubicBezTo>
                  <a:pt x="5512675" y="3779937"/>
                  <a:pt x="5516918" y="3779894"/>
                  <a:pt x="5521408" y="3780312"/>
                </a:cubicBezTo>
                <a:lnTo>
                  <a:pt x="5533733" y="3781613"/>
                </a:lnTo>
                <a:lnTo>
                  <a:pt x="5534220" y="3779315"/>
                </a:lnTo>
                <a:cubicBezTo>
                  <a:pt x="5529587" y="3776668"/>
                  <a:pt x="5525879" y="3772347"/>
                  <a:pt x="5519855" y="3770954"/>
                </a:cubicBezTo>
                <a:cubicBezTo>
                  <a:pt x="5519855" y="3758968"/>
                  <a:pt x="5535611" y="3768584"/>
                  <a:pt x="5543488" y="3765937"/>
                </a:cubicBezTo>
                <a:lnTo>
                  <a:pt x="5543488" y="3772487"/>
                </a:lnTo>
                <a:cubicBezTo>
                  <a:pt x="5554610" y="3767052"/>
                  <a:pt x="5553683" y="3796875"/>
                  <a:pt x="5561561" y="3778062"/>
                </a:cubicBezTo>
                <a:cubicBezTo>
                  <a:pt x="5561561" y="3780709"/>
                  <a:pt x="5561561" y="3783218"/>
                  <a:pt x="5561561" y="3785865"/>
                </a:cubicBezTo>
                <a:cubicBezTo>
                  <a:pt x="5570830" y="3787259"/>
                  <a:pt x="5578706" y="3787399"/>
                  <a:pt x="5588437" y="3788792"/>
                </a:cubicBezTo>
                <a:cubicBezTo>
                  <a:pt x="5606047" y="3792834"/>
                  <a:pt x="5622265" y="3798130"/>
                  <a:pt x="5634777" y="3807467"/>
                </a:cubicBezTo>
                <a:cubicBezTo>
                  <a:pt x="5626784" y="3810811"/>
                  <a:pt x="5618412" y="3814661"/>
                  <a:pt x="5609805" y="3818261"/>
                </a:cubicBezTo>
                <a:lnTo>
                  <a:pt x="5604683" y="3820063"/>
                </a:lnTo>
                <a:lnTo>
                  <a:pt x="5611016" y="3828605"/>
                </a:lnTo>
                <a:cubicBezTo>
                  <a:pt x="5613622" y="3829829"/>
                  <a:pt x="5616462" y="3829489"/>
                  <a:pt x="5619357" y="3828601"/>
                </a:cubicBezTo>
                <a:lnTo>
                  <a:pt x="5619593" y="3828512"/>
                </a:lnTo>
                <a:lnTo>
                  <a:pt x="5620072" y="3827617"/>
                </a:lnTo>
                <a:lnTo>
                  <a:pt x="5626730" y="3825804"/>
                </a:lnTo>
                <a:lnTo>
                  <a:pt x="5628047" y="3825304"/>
                </a:lnTo>
                <a:lnTo>
                  <a:pt x="5628718" y="3825262"/>
                </a:lnTo>
                <a:lnTo>
                  <a:pt x="5629970" y="3824921"/>
                </a:lnTo>
                <a:lnTo>
                  <a:pt x="5630717" y="3825137"/>
                </a:lnTo>
                <a:lnTo>
                  <a:pt x="5636039" y="3824804"/>
                </a:lnTo>
                <a:lnTo>
                  <a:pt x="5634571" y="3826249"/>
                </a:lnTo>
                <a:lnTo>
                  <a:pt x="5648678" y="3830321"/>
                </a:lnTo>
                <a:lnTo>
                  <a:pt x="5648678" y="3841985"/>
                </a:lnTo>
                <a:lnTo>
                  <a:pt x="5649941" y="3841857"/>
                </a:lnTo>
                <a:cubicBezTo>
                  <a:pt x="5660600" y="3838356"/>
                  <a:pt x="5670330" y="3831005"/>
                  <a:pt x="5668013" y="3826336"/>
                </a:cubicBezTo>
                <a:cubicBezTo>
                  <a:pt x="5683770" y="3847797"/>
                  <a:pt x="5706011" y="3827730"/>
                  <a:pt x="5730108" y="3818392"/>
                </a:cubicBezTo>
                <a:cubicBezTo>
                  <a:pt x="5733700" y="3821737"/>
                  <a:pt x="5740071" y="3824821"/>
                  <a:pt x="5747813" y="3827146"/>
                </a:cubicBezTo>
                <a:lnTo>
                  <a:pt x="5764828" y="3829909"/>
                </a:lnTo>
                <a:lnTo>
                  <a:pt x="5782078" y="3820602"/>
                </a:lnTo>
                <a:cubicBezTo>
                  <a:pt x="5789203" y="3819695"/>
                  <a:pt x="5797195" y="3820636"/>
                  <a:pt x="5805306" y="3821960"/>
                </a:cubicBezTo>
                <a:lnTo>
                  <a:pt x="5808076" y="3820930"/>
                </a:lnTo>
                <a:lnTo>
                  <a:pt x="5816300" y="3814212"/>
                </a:lnTo>
                <a:lnTo>
                  <a:pt x="5819441" y="3816702"/>
                </a:lnTo>
                <a:lnTo>
                  <a:pt x="5822915" y="3815410"/>
                </a:lnTo>
                <a:cubicBezTo>
                  <a:pt x="5808550" y="3810114"/>
                  <a:pt x="5794184" y="3803564"/>
                  <a:pt x="5776575" y="3799523"/>
                </a:cubicBezTo>
                <a:cubicBezTo>
                  <a:pt x="5779819" y="3798965"/>
                  <a:pt x="5783990" y="3797712"/>
                  <a:pt x="5788160" y="3797154"/>
                </a:cubicBezTo>
                <a:cubicBezTo>
                  <a:pt x="5786307" y="3793531"/>
                  <a:pt x="5792331" y="3791022"/>
                  <a:pt x="5795110" y="3785865"/>
                </a:cubicBezTo>
                <a:cubicBezTo>
                  <a:pt x="5784454" y="3785168"/>
                  <a:pt x="5773795" y="3783218"/>
                  <a:pt x="5764527" y="3782243"/>
                </a:cubicBezTo>
                <a:cubicBezTo>
                  <a:pt x="5761284" y="3784333"/>
                  <a:pt x="5758503" y="3786702"/>
                  <a:pt x="5759430" y="3792555"/>
                </a:cubicBezTo>
                <a:cubicBezTo>
                  <a:pt x="5751552" y="3797991"/>
                  <a:pt x="5743211" y="3776528"/>
                  <a:pt x="5739967" y="3792555"/>
                </a:cubicBezTo>
                <a:cubicBezTo>
                  <a:pt x="5739040" y="3791579"/>
                  <a:pt x="5739504" y="3788653"/>
                  <a:pt x="5738577" y="3787399"/>
                </a:cubicBezTo>
                <a:cubicBezTo>
                  <a:pt x="5732553" y="3794088"/>
                  <a:pt x="5706139" y="3794227"/>
                  <a:pt x="5685750" y="3790185"/>
                </a:cubicBezTo>
                <a:cubicBezTo>
                  <a:pt x="5681117" y="3792834"/>
                  <a:pt x="5677872" y="3796457"/>
                  <a:pt x="5676483" y="3800359"/>
                </a:cubicBezTo>
                <a:cubicBezTo>
                  <a:pt x="5669300" y="3788513"/>
                  <a:pt x="5653776" y="3788619"/>
                  <a:pt x="5638078" y="3790360"/>
                </a:cubicBezTo>
                <a:lnTo>
                  <a:pt x="5634942" y="3790713"/>
                </a:lnTo>
                <a:lnTo>
                  <a:pt x="5633693" y="3796437"/>
                </a:lnTo>
                <a:cubicBezTo>
                  <a:pt x="5631145" y="3795810"/>
                  <a:pt x="5628654" y="3794173"/>
                  <a:pt x="5626410" y="3791932"/>
                </a:cubicBezTo>
                <a:lnTo>
                  <a:pt x="5626239" y="3791693"/>
                </a:lnTo>
                <a:lnTo>
                  <a:pt x="5615423" y="3792912"/>
                </a:lnTo>
                <a:cubicBezTo>
                  <a:pt x="5608508" y="3793312"/>
                  <a:pt x="5602570" y="3792833"/>
                  <a:pt x="5598631" y="3790185"/>
                </a:cubicBezTo>
                <a:lnTo>
                  <a:pt x="5620294" y="3781798"/>
                </a:lnTo>
                <a:lnTo>
                  <a:pt x="5617939" y="3766475"/>
                </a:lnTo>
                <a:cubicBezTo>
                  <a:pt x="5632883" y="3765012"/>
                  <a:pt x="5654604" y="3769898"/>
                  <a:pt x="5667855" y="3766965"/>
                </a:cubicBezTo>
                <a:lnTo>
                  <a:pt x="5672997" y="3763802"/>
                </a:lnTo>
                <a:lnTo>
                  <a:pt x="5652200" y="3762491"/>
                </a:lnTo>
                <a:cubicBezTo>
                  <a:pt x="5638704" y="3762335"/>
                  <a:pt x="5623760" y="3763345"/>
                  <a:pt x="5610089" y="3767386"/>
                </a:cubicBezTo>
                <a:lnTo>
                  <a:pt x="5605674" y="3759100"/>
                </a:lnTo>
                <a:lnTo>
                  <a:pt x="5595949" y="3759420"/>
                </a:lnTo>
                <a:close/>
                <a:moveTo>
                  <a:pt x="4725135" y="3757993"/>
                </a:moveTo>
                <a:cubicBezTo>
                  <a:pt x="4714013" y="3757993"/>
                  <a:pt x="4711233" y="3765658"/>
                  <a:pt x="4707989" y="3773741"/>
                </a:cubicBezTo>
                <a:cubicBezTo>
                  <a:pt x="4711233" y="3775135"/>
                  <a:pt x="4712623" y="3775135"/>
                  <a:pt x="4715867" y="3773741"/>
                </a:cubicBezTo>
                <a:cubicBezTo>
                  <a:pt x="4717721" y="3769699"/>
                  <a:pt x="4719110" y="3766913"/>
                  <a:pt x="4720501" y="3761617"/>
                </a:cubicBezTo>
                <a:cubicBezTo>
                  <a:pt x="4722353" y="3761617"/>
                  <a:pt x="4723745" y="3761617"/>
                  <a:pt x="4725135" y="3761617"/>
                </a:cubicBezTo>
                <a:cubicBezTo>
                  <a:pt x="4725135" y="3760223"/>
                  <a:pt x="4725135" y="3760641"/>
                  <a:pt x="4725135" y="3757993"/>
                </a:cubicBezTo>
                <a:close/>
                <a:moveTo>
                  <a:pt x="5196223" y="3751337"/>
                </a:moveTo>
                <a:lnTo>
                  <a:pt x="5192991" y="3752392"/>
                </a:lnTo>
                <a:lnTo>
                  <a:pt x="5182194" y="3753234"/>
                </a:lnTo>
                <a:lnTo>
                  <a:pt x="5179265" y="3756681"/>
                </a:lnTo>
                <a:lnTo>
                  <a:pt x="5179134" y="3756655"/>
                </a:lnTo>
                <a:lnTo>
                  <a:pt x="5182164" y="3753237"/>
                </a:lnTo>
                <a:lnTo>
                  <a:pt x="5168794" y="3754281"/>
                </a:lnTo>
                <a:lnTo>
                  <a:pt x="5152159" y="3754305"/>
                </a:lnTo>
                <a:lnTo>
                  <a:pt x="5146232" y="3772560"/>
                </a:lnTo>
                <a:cubicBezTo>
                  <a:pt x="5144032" y="3779685"/>
                  <a:pt x="5142062" y="3786828"/>
                  <a:pt x="5139746" y="3796931"/>
                </a:cubicBezTo>
                <a:cubicBezTo>
                  <a:pt x="5149013" y="3791496"/>
                  <a:pt x="5142988" y="3810310"/>
                  <a:pt x="5152719" y="3804875"/>
                </a:cubicBezTo>
                <a:cubicBezTo>
                  <a:pt x="5155094" y="3800520"/>
                  <a:pt x="5157795" y="3797085"/>
                  <a:pt x="5160757" y="3794353"/>
                </a:cubicBezTo>
                <a:lnTo>
                  <a:pt x="5164433" y="3791936"/>
                </a:lnTo>
                <a:lnTo>
                  <a:pt x="5164433" y="3781406"/>
                </a:lnTo>
                <a:cubicBezTo>
                  <a:pt x="5169297" y="3779943"/>
                  <a:pt x="5173931" y="3780256"/>
                  <a:pt x="5178218" y="3781180"/>
                </a:cubicBezTo>
                <a:lnTo>
                  <a:pt x="5187645" y="3783945"/>
                </a:lnTo>
                <a:lnTo>
                  <a:pt x="5188701" y="3783695"/>
                </a:lnTo>
                <a:lnTo>
                  <a:pt x="5180767" y="3777730"/>
                </a:lnTo>
                <a:cubicBezTo>
                  <a:pt x="5176133" y="3777295"/>
                  <a:pt x="5170457" y="3778062"/>
                  <a:pt x="5165359" y="3778062"/>
                </a:cubicBezTo>
                <a:cubicBezTo>
                  <a:pt x="5166402" y="3773184"/>
                  <a:pt x="5168430" y="3770039"/>
                  <a:pt x="5171079" y="3768234"/>
                </a:cubicBezTo>
                <a:lnTo>
                  <a:pt x="5176830" y="3767144"/>
                </a:lnTo>
                <a:lnTo>
                  <a:pt x="5172181" y="3765017"/>
                </a:lnTo>
                <a:lnTo>
                  <a:pt x="5179265" y="3756681"/>
                </a:lnTo>
                <a:lnTo>
                  <a:pt x="5188922" y="3758519"/>
                </a:lnTo>
                <a:cubicBezTo>
                  <a:pt x="5191268" y="3758598"/>
                  <a:pt x="5193512" y="3758289"/>
                  <a:pt x="5194968" y="3757185"/>
                </a:cubicBezTo>
                <a:close/>
                <a:moveTo>
                  <a:pt x="3430411" y="3749353"/>
                </a:moveTo>
                <a:cubicBezTo>
                  <a:pt x="3434118" y="3753534"/>
                  <a:pt x="3435972" y="3761756"/>
                  <a:pt x="3435972" y="3770117"/>
                </a:cubicBezTo>
                <a:cubicBezTo>
                  <a:pt x="3418826" y="3758968"/>
                  <a:pt x="3410022" y="3761756"/>
                  <a:pt x="3391486" y="3765937"/>
                </a:cubicBezTo>
                <a:cubicBezTo>
                  <a:pt x="3394731" y="3736810"/>
                  <a:pt x="3413266" y="3760502"/>
                  <a:pt x="3430411" y="3749353"/>
                </a:cubicBezTo>
                <a:close/>
                <a:moveTo>
                  <a:pt x="3470263" y="3749074"/>
                </a:moveTo>
                <a:cubicBezTo>
                  <a:pt x="3476750" y="3748099"/>
                  <a:pt x="3483239" y="3750050"/>
                  <a:pt x="3487409" y="3754648"/>
                </a:cubicBezTo>
                <a:cubicBezTo>
                  <a:pt x="3490188" y="3756043"/>
                  <a:pt x="3466557" y="3763707"/>
                  <a:pt x="3455434" y="3774299"/>
                </a:cubicBezTo>
                <a:cubicBezTo>
                  <a:pt x="3455434" y="3766355"/>
                  <a:pt x="3463313" y="3761060"/>
                  <a:pt x="3455434" y="3759805"/>
                </a:cubicBezTo>
                <a:cubicBezTo>
                  <a:pt x="3457751" y="3753813"/>
                  <a:pt x="3464238" y="3750050"/>
                  <a:pt x="3470263" y="3749074"/>
                </a:cubicBezTo>
                <a:close/>
                <a:moveTo>
                  <a:pt x="3555528" y="3740573"/>
                </a:moveTo>
                <a:cubicBezTo>
                  <a:pt x="3564795" y="3741827"/>
                  <a:pt x="3574063" y="3745450"/>
                  <a:pt x="3576843" y="3755904"/>
                </a:cubicBezTo>
                <a:cubicBezTo>
                  <a:pt x="3590746" y="3728448"/>
                  <a:pt x="3607427" y="3748238"/>
                  <a:pt x="3633841" y="3750886"/>
                </a:cubicBezTo>
                <a:cubicBezTo>
                  <a:pt x="3638012" y="3778479"/>
                  <a:pt x="3595380" y="3761478"/>
                  <a:pt x="3612061" y="3745730"/>
                </a:cubicBezTo>
                <a:cubicBezTo>
                  <a:pt x="3604649" y="3743221"/>
                  <a:pt x="3597234" y="3764265"/>
                  <a:pt x="3607891" y="3766773"/>
                </a:cubicBezTo>
                <a:cubicBezTo>
                  <a:pt x="3593989" y="3774716"/>
                  <a:pt x="3530968" y="3770536"/>
                  <a:pt x="3524944" y="3750886"/>
                </a:cubicBezTo>
                <a:cubicBezTo>
                  <a:pt x="3541626" y="3748238"/>
                  <a:pt x="3552747" y="3764125"/>
                  <a:pt x="3555528" y="3740573"/>
                </a:cubicBezTo>
                <a:close/>
                <a:moveTo>
                  <a:pt x="3712618" y="3738203"/>
                </a:moveTo>
                <a:lnTo>
                  <a:pt x="3712618" y="3755904"/>
                </a:lnTo>
                <a:cubicBezTo>
                  <a:pt x="3702887" y="3757436"/>
                  <a:pt x="3703815" y="3745869"/>
                  <a:pt x="3692691" y="3750328"/>
                </a:cubicBezTo>
                <a:cubicBezTo>
                  <a:pt x="3695472" y="3741410"/>
                  <a:pt x="3702887" y="3736670"/>
                  <a:pt x="3712618" y="3738203"/>
                </a:cubicBezTo>
                <a:close/>
                <a:moveTo>
                  <a:pt x="4808544" y="3737786"/>
                </a:moveTo>
                <a:cubicBezTo>
                  <a:pt x="4809936" y="3763289"/>
                  <a:pt x="4782595" y="3753673"/>
                  <a:pt x="4771474" y="3763010"/>
                </a:cubicBezTo>
                <a:cubicBezTo>
                  <a:pt x="4770083" y="3767052"/>
                  <a:pt x="4770083" y="3769838"/>
                  <a:pt x="4771474" y="3772487"/>
                </a:cubicBezTo>
                <a:cubicBezTo>
                  <a:pt x="4773328" y="3772487"/>
                  <a:pt x="4776571" y="3771511"/>
                  <a:pt x="4777961" y="3770117"/>
                </a:cubicBezTo>
                <a:cubicBezTo>
                  <a:pt x="4777961" y="3770117"/>
                  <a:pt x="4777035" y="3768584"/>
                  <a:pt x="4777035" y="3768584"/>
                </a:cubicBezTo>
                <a:cubicBezTo>
                  <a:pt x="4777035" y="3768584"/>
                  <a:pt x="4777961" y="3768584"/>
                  <a:pt x="4779352" y="3768584"/>
                </a:cubicBezTo>
                <a:cubicBezTo>
                  <a:pt x="4785839" y="3765937"/>
                  <a:pt x="4792327" y="3764544"/>
                  <a:pt x="4798814" y="3767191"/>
                </a:cubicBezTo>
                <a:cubicBezTo>
                  <a:pt x="4798814" y="3768584"/>
                  <a:pt x="4798814" y="3768584"/>
                  <a:pt x="4798814" y="3768584"/>
                </a:cubicBezTo>
                <a:cubicBezTo>
                  <a:pt x="4802058" y="3769978"/>
                  <a:pt x="4803912" y="3769699"/>
                  <a:pt x="4803912" y="3773741"/>
                </a:cubicBezTo>
                <a:cubicBezTo>
                  <a:pt x="4805302" y="3783078"/>
                  <a:pt x="4781205" y="3789907"/>
                  <a:pt x="4794181" y="3795342"/>
                </a:cubicBezTo>
                <a:cubicBezTo>
                  <a:pt x="4803449" y="3791300"/>
                  <a:pt x="4817812" y="3790046"/>
                  <a:pt x="4840520" y="3779315"/>
                </a:cubicBezTo>
                <a:cubicBezTo>
                  <a:pt x="4819666" y="3784751"/>
                  <a:pt x="4822911" y="3751165"/>
                  <a:pt x="4808544" y="3737786"/>
                </a:cubicBezTo>
                <a:close/>
                <a:moveTo>
                  <a:pt x="5209335" y="3736692"/>
                </a:moveTo>
                <a:lnTo>
                  <a:pt x="5201809" y="3740136"/>
                </a:lnTo>
                <a:cubicBezTo>
                  <a:pt x="5203665" y="3745989"/>
                  <a:pt x="5208761" y="3744316"/>
                  <a:pt x="5214323" y="3745432"/>
                </a:cubicBezTo>
                <a:lnTo>
                  <a:pt x="5196364" y="3751291"/>
                </a:lnTo>
                <a:lnTo>
                  <a:pt x="5200203" y="3760628"/>
                </a:lnTo>
                <a:cubicBezTo>
                  <a:pt x="5199349" y="3763441"/>
                  <a:pt x="5196685" y="3765784"/>
                  <a:pt x="5193266" y="3767351"/>
                </a:cubicBezTo>
                <a:lnTo>
                  <a:pt x="5186566" y="3768564"/>
                </a:lnTo>
                <a:lnTo>
                  <a:pt x="5191555" y="3770320"/>
                </a:lnTo>
                <a:cubicBezTo>
                  <a:pt x="5195247" y="3772295"/>
                  <a:pt x="5198839" y="3774821"/>
                  <a:pt x="5201967" y="3777504"/>
                </a:cubicBezTo>
                <a:cubicBezTo>
                  <a:pt x="5202430" y="3776668"/>
                  <a:pt x="5202893" y="3776807"/>
                  <a:pt x="5202893" y="3775692"/>
                </a:cubicBezTo>
                <a:cubicBezTo>
                  <a:pt x="5205442" y="3774647"/>
                  <a:pt x="5207383" y="3775867"/>
                  <a:pt x="5208939" y="3778024"/>
                </a:cubicBezTo>
                <a:lnTo>
                  <a:pt x="5209721" y="3779689"/>
                </a:lnTo>
                <a:lnTo>
                  <a:pt x="5216581" y="3778457"/>
                </a:lnTo>
                <a:cubicBezTo>
                  <a:pt x="5224458" y="3776018"/>
                  <a:pt x="5232076" y="3771985"/>
                  <a:pt x="5238909" y="3764599"/>
                </a:cubicBezTo>
                <a:cubicBezTo>
                  <a:pt x="5227327" y="3756517"/>
                  <a:pt x="5209716" y="3779232"/>
                  <a:pt x="5205083" y="3751081"/>
                </a:cubicBezTo>
                <a:cubicBezTo>
                  <a:pt x="5214814" y="3742997"/>
                  <a:pt x="5224082" y="3757492"/>
                  <a:pt x="5224082" y="3737423"/>
                </a:cubicBezTo>
                <a:cubicBezTo>
                  <a:pt x="5216899" y="3740072"/>
                  <a:pt x="5212960" y="3738783"/>
                  <a:pt x="5209658" y="3736831"/>
                </a:cubicBezTo>
                <a:close/>
                <a:moveTo>
                  <a:pt x="3733471" y="3736392"/>
                </a:moveTo>
                <a:cubicBezTo>
                  <a:pt x="3741348" y="3736950"/>
                  <a:pt x="3751544" y="3740294"/>
                  <a:pt x="3757103" y="3737786"/>
                </a:cubicBezTo>
                <a:cubicBezTo>
                  <a:pt x="3751079" y="3756181"/>
                  <a:pt x="3741348" y="3743081"/>
                  <a:pt x="3720496" y="3751443"/>
                </a:cubicBezTo>
                <a:cubicBezTo>
                  <a:pt x="3719106" y="3738065"/>
                  <a:pt x="3725130" y="3735695"/>
                  <a:pt x="3733471" y="3736392"/>
                </a:cubicBezTo>
                <a:close/>
                <a:moveTo>
                  <a:pt x="5072553" y="3735054"/>
                </a:moveTo>
                <a:cubicBezTo>
                  <a:pt x="5063285" y="3751220"/>
                  <a:pt x="5062821" y="3763345"/>
                  <a:pt x="5058188" y="3787454"/>
                </a:cubicBezTo>
                <a:cubicBezTo>
                  <a:pt x="5061431" y="3790241"/>
                  <a:pt x="5079040" y="3799300"/>
                  <a:pt x="5071162" y="3791357"/>
                </a:cubicBezTo>
                <a:cubicBezTo>
                  <a:pt x="5066529" y="3789963"/>
                  <a:pt x="5071162" y="3784528"/>
                  <a:pt x="5074406" y="3781879"/>
                </a:cubicBezTo>
                <a:cubicBezTo>
                  <a:pt x="5087381" y="3791217"/>
                  <a:pt x="5090162" y="3784807"/>
                  <a:pt x="5103137" y="3776723"/>
                </a:cubicBezTo>
                <a:cubicBezTo>
                  <a:pt x="5090162" y="3765992"/>
                  <a:pt x="5085528" y="3744392"/>
                  <a:pt x="5072553" y="3735054"/>
                </a:cubicBezTo>
                <a:close/>
                <a:moveTo>
                  <a:pt x="3648543" y="3735054"/>
                </a:moveTo>
                <a:cubicBezTo>
                  <a:pt x="3647848" y="3739584"/>
                  <a:pt x="3648775" y="3742023"/>
                  <a:pt x="3649991" y="3744444"/>
                </a:cubicBezTo>
                <a:lnTo>
                  <a:pt x="3652253" y="3751036"/>
                </a:lnTo>
                <a:lnTo>
                  <a:pt x="3661568" y="3745969"/>
                </a:lnTo>
                <a:lnTo>
                  <a:pt x="3656189" y="3741935"/>
                </a:lnTo>
                <a:cubicBezTo>
                  <a:pt x="3653988" y="3738747"/>
                  <a:pt x="3652019" y="3735542"/>
                  <a:pt x="3648543" y="3735054"/>
                </a:cubicBezTo>
                <a:close/>
                <a:moveTo>
                  <a:pt x="5198706" y="3732475"/>
                </a:moveTo>
                <a:lnTo>
                  <a:pt x="5188777" y="3738358"/>
                </a:lnTo>
                <a:lnTo>
                  <a:pt x="5183321" y="3742495"/>
                </a:lnTo>
                <a:lnTo>
                  <a:pt x="5193470" y="3746825"/>
                </a:lnTo>
                <a:cubicBezTo>
                  <a:pt x="5198567" y="3745013"/>
                  <a:pt x="5195786" y="3736373"/>
                  <a:pt x="5201347" y="3735955"/>
                </a:cubicBezTo>
                <a:close/>
                <a:moveTo>
                  <a:pt x="2764051" y="3727473"/>
                </a:moveTo>
                <a:cubicBezTo>
                  <a:pt x="2771929" y="3726219"/>
                  <a:pt x="2785831" y="3741269"/>
                  <a:pt x="2784440" y="3729285"/>
                </a:cubicBezTo>
                <a:cubicBezTo>
                  <a:pt x="2802977" y="3743639"/>
                  <a:pt x="2762661" y="3746565"/>
                  <a:pt x="2758953" y="3735417"/>
                </a:cubicBezTo>
                <a:cubicBezTo>
                  <a:pt x="2759417" y="3729842"/>
                  <a:pt x="2761270" y="3727891"/>
                  <a:pt x="2764051" y="3727473"/>
                </a:cubicBezTo>
                <a:close/>
                <a:moveTo>
                  <a:pt x="3463775" y="3723710"/>
                </a:moveTo>
                <a:cubicBezTo>
                  <a:pt x="3470263" y="3726219"/>
                  <a:pt x="3461922" y="3730260"/>
                  <a:pt x="3463775" y="3739319"/>
                </a:cubicBezTo>
                <a:cubicBezTo>
                  <a:pt x="3442459" y="3743081"/>
                  <a:pt x="3444313" y="3737925"/>
                  <a:pt x="3431338" y="3749353"/>
                </a:cubicBezTo>
                <a:cubicBezTo>
                  <a:pt x="3432728" y="3737925"/>
                  <a:pt x="3429484" y="3730121"/>
                  <a:pt x="3421143" y="3728867"/>
                </a:cubicBezTo>
                <a:cubicBezTo>
                  <a:pt x="3434582" y="3716184"/>
                  <a:pt x="3452191" y="3747959"/>
                  <a:pt x="3463775" y="3723710"/>
                </a:cubicBezTo>
                <a:close/>
                <a:moveTo>
                  <a:pt x="3744592" y="3720087"/>
                </a:moveTo>
                <a:cubicBezTo>
                  <a:pt x="3749227" y="3720366"/>
                  <a:pt x="3753397" y="3721481"/>
                  <a:pt x="3757103" y="3723292"/>
                </a:cubicBezTo>
                <a:cubicBezTo>
                  <a:pt x="3746910" y="3745033"/>
                  <a:pt x="3727909" y="3729285"/>
                  <a:pt x="3707521" y="3729285"/>
                </a:cubicBezTo>
                <a:cubicBezTo>
                  <a:pt x="3714472" y="3724964"/>
                  <a:pt x="3722813" y="3721620"/>
                  <a:pt x="3731617" y="3720366"/>
                </a:cubicBezTo>
                <a:cubicBezTo>
                  <a:pt x="3735788" y="3719808"/>
                  <a:pt x="3740422" y="3719669"/>
                  <a:pt x="3744592" y="3720087"/>
                </a:cubicBezTo>
                <a:close/>
                <a:moveTo>
                  <a:pt x="5109217" y="3718054"/>
                </a:moveTo>
                <a:lnTo>
                  <a:pt x="5107973" y="3722455"/>
                </a:lnTo>
                <a:lnTo>
                  <a:pt x="5107919" y="3722679"/>
                </a:lnTo>
                <a:lnTo>
                  <a:pt x="5112405" y="3718749"/>
                </a:lnTo>
                <a:close/>
                <a:moveTo>
                  <a:pt x="3544869" y="3715907"/>
                </a:moveTo>
                <a:cubicBezTo>
                  <a:pt x="3543480" y="3742384"/>
                  <a:pt x="3523553" y="3725661"/>
                  <a:pt x="3514749" y="3723710"/>
                </a:cubicBezTo>
                <a:cubicBezTo>
                  <a:pt x="3516139" y="3707405"/>
                  <a:pt x="3536065" y="3721899"/>
                  <a:pt x="3544869" y="3715907"/>
                </a:cubicBezTo>
                <a:close/>
                <a:moveTo>
                  <a:pt x="5003478" y="3702369"/>
                </a:moveTo>
                <a:lnTo>
                  <a:pt x="4976049" y="3705743"/>
                </a:lnTo>
                <a:lnTo>
                  <a:pt x="4979118" y="3708914"/>
                </a:lnTo>
                <a:cubicBezTo>
                  <a:pt x="4979944" y="3710584"/>
                  <a:pt x="4980234" y="3712840"/>
                  <a:pt x="4979538" y="3716184"/>
                </a:cubicBezTo>
                <a:cubicBezTo>
                  <a:pt x="4960075" y="3712143"/>
                  <a:pt x="4960075" y="3737507"/>
                  <a:pt x="4945710" y="3721481"/>
                </a:cubicBezTo>
                <a:lnTo>
                  <a:pt x="4948047" y="3730619"/>
                </a:lnTo>
                <a:lnTo>
                  <a:pt x="4950464" y="3730754"/>
                </a:lnTo>
                <a:cubicBezTo>
                  <a:pt x="4951550" y="3731722"/>
                  <a:pt x="4952129" y="3733321"/>
                  <a:pt x="4952766" y="3734828"/>
                </a:cubicBezTo>
                <a:lnTo>
                  <a:pt x="4953513" y="3735822"/>
                </a:lnTo>
                <a:lnTo>
                  <a:pt x="4954977" y="3732212"/>
                </a:lnTo>
                <a:cubicBezTo>
                  <a:pt x="4957295" y="3732839"/>
                  <a:pt x="4958105" y="3734233"/>
                  <a:pt x="4957932" y="3735469"/>
                </a:cubicBezTo>
                <a:lnTo>
                  <a:pt x="4954984" y="3737780"/>
                </a:lnTo>
                <a:lnTo>
                  <a:pt x="4955415" y="3738353"/>
                </a:lnTo>
                <a:cubicBezTo>
                  <a:pt x="4956733" y="3738957"/>
                  <a:pt x="4958674" y="3738747"/>
                  <a:pt x="4961801" y="3737006"/>
                </a:cubicBezTo>
                <a:cubicBezTo>
                  <a:pt x="4963654" y="3743556"/>
                  <a:pt x="4961339" y="3746204"/>
                  <a:pt x="4959022" y="3748712"/>
                </a:cubicBezTo>
                <a:cubicBezTo>
                  <a:pt x="4960413" y="3747736"/>
                  <a:pt x="4961801" y="3746622"/>
                  <a:pt x="4963192" y="3746343"/>
                </a:cubicBezTo>
                <a:cubicBezTo>
                  <a:pt x="4967825" y="3745367"/>
                  <a:pt x="4972924" y="3746761"/>
                  <a:pt x="4974777" y="3749547"/>
                </a:cubicBezTo>
                <a:cubicBezTo>
                  <a:pt x="4974313" y="3754216"/>
                  <a:pt x="4973445" y="3757143"/>
                  <a:pt x="4972250" y="3758878"/>
                </a:cubicBezTo>
                <a:lnTo>
                  <a:pt x="4969138" y="3760395"/>
                </a:lnTo>
                <a:lnTo>
                  <a:pt x="4969119" y="3761020"/>
                </a:lnTo>
                <a:cubicBezTo>
                  <a:pt x="4966620" y="3765815"/>
                  <a:pt x="4958454" y="3764613"/>
                  <a:pt x="4954977" y="3768584"/>
                </a:cubicBezTo>
                <a:cubicBezTo>
                  <a:pt x="4959612" y="3783357"/>
                  <a:pt x="4979074" y="3780570"/>
                  <a:pt x="4992050" y="3784612"/>
                </a:cubicBezTo>
                <a:cubicBezTo>
                  <a:pt x="4999928" y="3784612"/>
                  <a:pt x="4985562" y="3760502"/>
                  <a:pt x="4996682" y="3753813"/>
                </a:cubicBezTo>
                <a:cubicBezTo>
                  <a:pt x="5006415" y="3751025"/>
                  <a:pt x="5009194" y="3756460"/>
                  <a:pt x="5015682" y="3759247"/>
                </a:cubicBezTo>
                <a:cubicBezTo>
                  <a:pt x="5011048" y="3763289"/>
                  <a:pt x="5005952" y="3767470"/>
                  <a:pt x="5001317" y="3770117"/>
                </a:cubicBezTo>
                <a:cubicBezTo>
                  <a:pt x="5003635" y="3776180"/>
                  <a:pt x="5008847" y="3778827"/>
                  <a:pt x="5015509" y="3779786"/>
                </a:cubicBezTo>
                <a:lnTo>
                  <a:pt x="5028930" y="3779509"/>
                </a:lnTo>
                <a:lnTo>
                  <a:pt x="5024824" y="3769755"/>
                </a:lnTo>
                <a:cubicBezTo>
                  <a:pt x="5029920" y="3775051"/>
                  <a:pt x="5032700" y="3773797"/>
                  <a:pt x="5037798" y="3769755"/>
                </a:cubicBezTo>
                <a:cubicBezTo>
                  <a:pt x="5029458" y="3759025"/>
                  <a:pt x="5035944" y="3741883"/>
                  <a:pt x="5045214" y="3736449"/>
                </a:cubicBezTo>
                <a:cubicBezTo>
                  <a:pt x="5042433" y="3725717"/>
                  <a:pt x="5039188" y="3741465"/>
                  <a:pt x="5029458" y="3737423"/>
                </a:cubicBezTo>
                <a:lnTo>
                  <a:pt x="5029458" y="3714410"/>
                </a:lnTo>
                <a:lnTo>
                  <a:pt x="5023462" y="3714877"/>
                </a:lnTo>
                <a:cubicBezTo>
                  <a:pt x="5014831" y="3714171"/>
                  <a:pt x="5007649" y="3711009"/>
                  <a:pt x="5003478" y="3702369"/>
                </a:cubicBezTo>
                <a:close/>
                <a:moveTo>
                  <a:pt x="3876069" y="3697705"/>
                </a:moveTo>
                <a:cubicBezTo>
                  <a:pt x="3811194" y="3729620"/>
                  <a:pt x="3717588" y="3692270"/>
                  <a:pt x="3665225" y="3748712"/>
                </a:cubicBezTo>
                <a:lnTo>
                  <a:pt x="3662396" y="3746590"/>
                </a:lnTo>
                <a:lnTo>
                  <a:pt x="3658865" y="3754440"/>
                </a:lnTo>
                <a:cubicBezTo>
                  <a:pt x="3657822" y="3757854"/>
                  <a:pt x="3656548" y="3760920"/>
                  <a:pt x="3653304" y="3761617"/>
                </a:cubicBezTo>
                <a:cubicBezTo>
                  <a:pt x="3667669" y="3781963"/>
                  <a:pt x="3711228" y="3765658"/>
                  <a:pt x="3732080" y="3761617"/>
                </a:cubicBezTo>
                <a:cubicBezTo>
                  <a:pt x="3747836" y="3777921"/>
                  <a:pt x="3706131" y="3770954"/>
                  <a:pt x="3695009" y="3770954"/>
                </a:cubicBezTo>
                <a:cubicBezTo>
                  <a:pt x="3695009" y="3790046"/>
                  <a:pt x="3751544" y="3789907"/>
                  <a:pt x="3745056" y="3766773"/>
                </a:cubicBezTo>
                <a:cubicBezTo>
                  <a:pt x="3759421" y="3765241"/>
                  <a:pt x="3769616" y="3769003"/>
                  <a:pt x="3777957" y="3774857"/>
                </a:cubicBezTo>
                <a:cubicBezTo>
                  <a:pt x="3788615" y="3754091"/>
                  <a:pt x="3828467" y="3785168"/>
                  <a:pt x="3821052" y="3793808"/>
                </a:cubicBezTo>
                <a:cubicBezTo>
                  <a:pt x="3889634" y="3781824"/>
                  <a:pt x="3934121" y="3761617"/>
                  <a:pt x="3967485" y="3730678"/>
                </a:cubicBezTo>
                <a:cubicBezTo>
                  <a:pt x="3973973" y="3733466"/>
                  <a:pt x="3966094" y="3737647"/>
                  <a:pt x="3967485" y="3747123"/>
                </a:cubicBezTo>
                <a:cubicBezTo>
                  <a:pt x="3999459" y="3736252"/>
                  <a:pt x="4014288" y="3749771"/>
                  <a:pt x="4055530" y="3747123"/>
                </a:cubicBezTo>
                <a:cubicBezTo>
                  <a:pt x="4035141" y="3773881"/>
                  <a:pt x="3970728" y="3752279"/>
                  <a:pt x="3945242" y="3772487"/>
                </a:cubicBezTo>
                <a:cubicBezTo>
                  <a:pt x="3950339" y="3792555"/>
                  <a:pt x="3966094" y="3801055"/>
                  <a:pt x="3982314" y="3810394"/>
                </a:cubicBezTo>
                <a:cubicBezTo>
                  <a:pt x="3975826" y="3818476"/>
                  <a:pt x="3983703" y="3842585"/>
                  <a:pt x="3967485" y="3841191"/>
                </a:cubicBezTo>
                <a:cubicBezTo>
                  <a:pt x="3966094" y="3849275"/>
                  <a:pt x="3972583" y="3850250"/>
                  <a:pt x="3972583" y="3857078"/>
                </a:cubicBezTo>
                <a:cubicBezTo>
                  <a:pt x="3985094" y="3860982"/>
                  <a:pt x="3982314" y="3846348"/>
                  <a:pt x="3990191" y="3846348"/>
                </a:cubicBezTo>
                <a:cubicBezTo>
                  <a:pt x="3988801" y="3840913"/>
                  <a:pt x="3986947" y="3837010"/>
                  <a:pt x="3982314" y="3835617"/>
                </a:cubicBezTo>
                <a:cubicBezTo>
                  <a:pt x="3998069" y="3822238"/>
                  <a:pt x="4017532" y="3830043"/>
                  <a:pt x="4031896" y="3824747"/>
                </a:cubicBezTo>
                <a:cubicBezTo>
                  <a:pt x="4033287" y="3812622"/>
                  <a:pt x="4025409" y="3808721"/>
                  <a:pt x="4018921" y="3804819"/>
                </a:cubicBezTo>
                <a:cubicBezTo>
                  <a:pt x="4007802" y="3803425"/>
                  <a:pt x="4003166" y="3808860"/>
                  <a:pt x="4004556" y="3819591"/>
                </a:cubicBezTo>
                <a:cubicBezTo>
                  <a:pt x="3980923" y="3807606"/>
                  <a:pt x="3990191" y="3791161"/>
                  <a:pt x="3963313" y="3783218"/>
                </a:cubicBezTo>
                <a:cubicBezTo>
                  <a:pt x="3998069" y="3745589"/>
                  <a:pt x="4033287" y="3812622"/>
                  <a:pt x="4063872" y="3783218"/>
                </a:cubicBezTo>
                <a:cubicBezTo>
                  <a:pt x="4062018" y="3779177"/>
                  <a:pt x="4058774" y="3775274"/>
                  <a:pt x="4060628" y="3767191"/>
                </a:cubicBezTo>
                <a:cubicBezTo>
                  <a:pt x="4052287" y="3773881"/>
                  <a:pt x="4041628" y="3784471"/>
                  <a:pt x="4031896" y="3772487"/>
                </a:cubicBezTo>
                <a:cubicBezTo>
                  <a:pt x="4039774" y="3763010"/>
                  <a:pt x="4055530" y="3761617"/>
                  <a:pt x="4073140" y="3761617"/>
                </a:cubicBezTo>
                <a:cubicBezTo>
                  <a:pt x="4063407" y="3749492"/>
                  <a:pt x="4057384" y="3748238"/>
                  <a:pt x="4068505" y="3730678"/>
                </a:cubicBezTo>
                <a:cubicBezTo>
                  <a:pt x="4037921" y="3736113"/>
                  <a:pt x="3979069" y="3744475"/>
                  <a:pt x="3986947" y="3714931"/>
                </a:cubicBezTo>
                <a:cubicBezTo>
                  <a:pt x="3980460" y="3721620"/>
                  <a:pt x="3969803" y="3721341"/>
                  <a:pt x="3958218" y="3720087"/>
                </a:cubicBezTo>
                <a:cubicBezTo>
                  <a:pt x="3956827" y="3744197"/>
                  <a:pt x="3922999" y="3743081"/>
                  <a:pt x="3894269" y="3736392"/>
                </a:cubicBezTo>
                <a:cubicBezTo>
                  <a:pt x="3902146" y="3732351"/>
                  <a:pt x="3913267" y="3723013"/>
                  <a:pt x="3902146" y="3717718"/>
                </a:cubicBezTo>
                <a:cubicBezTo>
                  <a:pt x="3894269" y="3717718"/>
                  <a:pt x="3883148" y="3716325"/>
                  <a:pt x="3875270" y="3717718"/>
                </a:cubicBezTo>
                <a:cubicBezTo>
                  <a:pt x="3874807" y="3712317"/>
                  <a:pt x="3876370" y="3709199"/>
                  <a:pt x="3879172" y="3707496"/>
                </a:cubicBezTo>
                <a:lnTo>
                  <a:pt x="3880263" y="3707330"/>
                </a:lnTo>
                <a:close/>
                <a:moveTo>
                  <a:pt x="3891824" y="3696173"/>
                </a:moveTo>
                <a:cubicBezTo>
                  <a:pt x="3892520" y="3699099"/>
                  <a:pt x="3892230" y="3702217"/>
                  <a:pt x="3891317" y="3704859"/>
                </a:cubicBezTo>
                <a:lnTo>
                  <a:pt x="3890644" y="3705783"/>
                </a:lnTo>
                <a:lnTo>
                  <a:pt x="3904529" y="3707332"/>
                </a:lnTo>
                <a:lnTo>
                  <a:pt x="3911388" y="3707135"/>
                </a:lnTo>
                <a:close/>
                <a:moveTo>
                  <a:pt x="4877128" y="3690402"/>
                </a:moveTo>
                <a:cubicBezTo>
                  <a:pt x="4853031" y="3694444"/>
                  <a:pt x="4846543" y="3721481"/>
                  <a:pt x="4817812" y="3721481"/>
                </a:cubicBezTo>
                <a:cubicBezTo>
                  <a:pt x="4822911" y="3728170"/>
                  <a:pt x="4830324" y="3732212"/>
                  <a:pt x="4830324" y="3742942"/>
                </a:cubicBezTo>
                <a:cubicBezTo>
                  <a:pt x="4836813" y="3730818"/>
                  <a:pt x="4853031" y="3732073"/>
                  <a:pt x="4849787" y="3710610"/>
                </a:cubicBezTo>
                <a:cubicBezTo>
                  <a:pt x="4862299" y="3723989"/>
                  <a:pt x="4873884" y="3707963"/>
                  <a:pt x="4891493" y="3710610"/>
                </a:cubicBezTo>
                <a:cubicBezTo>
                  <a:pt x="4889639" y="3729424"/>
                  <a:pt x="4875274" y="3732212"/>
                  <a:pt x="4859519" y="3732212"/>
                </a:cubicBezTo>
                <a:cubicBezTo>
                  <a:pt x="4866007" y="3736252"/>
                  <a:pt x="4873884" y="3738901"/>
                  <a:pt x="4882225" y="3742942"/>
                </a:cubicBezTo>
                <a:cubicBezTo>
                  <a:pt x="4896591" y="3737507"/>
                  <a:pt x="4923467" y="3740434"/>
                  <a:pt x="4909102" y="3756460"/>
                </a:cubicBezTo>
                <a:cubicBezTo>
                  <a:pt x="4904468" y="3741688"/>
                  <a:pt x="4886396" y="3748377"/>
                  <a:pt x="4904005" y="3756460"/>
                </a:cubicBezTo>
                <a:cubicBezTo>
                  <a:pt x="4900761" y="3763150"/>
                  <a:pt x="4897981" y="3761895"/>
                  <a:pt x="4894737" y="3759247"/>
                </a:cubicBezTo>
                <a:cubicBezTo>
                  <a:pt x="4894737" y="3761895"/>
                  <a:pt x="4896127" y="3764683"/>
                  <a:pt x="4896127" y="3768584"/>
                </a:cubicBezTo>
                <a:cubicBezTo>
                  <a:pt x="4899370" y="3769978"/>
                  <a:pt x="4902615" y="3770117"/>
                  <a:pt x="4905857" y="3770117"/>
                </a:cubicBezTo>
                <a:cubicBezTo>
                  <a:pt x="4907248" y="3766076"/>
                  <a:pt x="4909102" y="3763150"/>
                  <a:pt x="4909102" y="3756460"/>
                </a:cubicBezTo>
                <a:cubicBezTo>
                  <a:pt x="4918833" y="3755206"/>
                  <a:pt x="4919760" y="3763010"/>
                  <a:pt x="4928101" y="3763010"/>
                </a:cubicBezTo>
                <a:cubicBezTo>
                  <a:pt x="4931345" y="3750886"/>
                  <a:pt x="4910492" y="3746844"/>
                  <a:pt x="4923467" y="3742942"/>
                </a:cubicBezTo>
                <a:cubicBezTo>
                  <a:pt x="4931345" y="3750259"/>
                  <a:pt x="4936095" y="3753986"/>
                  <a:pt x="4942234" y="3755380"/>
                </a:cubicBezTo>
                <a:lnTo>
                  <a:pt x="4955053" y="3754639"/>
                </a:lnTo>
                <a:lnTo>
                  <a:pt x="4946742" y="3743712"/>
                </a:lnTo>
                <a:lnTo>
                  <a:pt x="4946274" y="3739889"/>
                </a:lnTo>
                <a:lnTo>
                  <a:pt x="4942177" y="3733344"/>
                </a:lnTo>
                <a:cubicBezTo>
                  <a:pt x="4938063" y="3726602"/>
                  <a:pt x="4932967" y="3719530"/>
                  <a:pt x="4923467" y="3716184"/>
                </a:cubicBezTo>
                <a:cubicBezTo>
                  <a:pt x="4924626" y="3711829"/>
                  <a:pt x="4927405" y="3709303"/>
                  <a:pt x="4930947" y="3707649"/>
                </a:cubicBezTo>
                <a:lnTo>
                  <a:pt x="4933138" y="3707047"/>
                </a:lnTo>
                <a:lnTo>
                  <a:pt x="4891336" y="3703345"/>
                </a:lnTo>
                <a:lnTo>
                  <a:pt x="4891458" y="3702937"/>
                </a:lnTo>
                <a:lnTo>
                  <a:pt x="4889509" y="3702715"/>
                </a:lnTo>
                <a:cubicBezTo>
                  <a:pt x="4885208" y="3700646"/>
                  <a:pt x="4881067" y="3696778"/>
                  <a:pt x="4877128" y="3690402"/>
                </a:cubicBezTo>
                <a:close/>
                <a:moveTo>
                  <a:pt x="4276569" y="3674655"/>
                </a:moveTo>
                <a:lnTo>
                  <a:pt x="4300665" y="3674655"/>
                </a:lnTo>
                <a:cubicBezTo>
                  <a:pt x="4309470" y="3694584"/>
                  <a:pt x="4269617" y="3694584"/>
                  <a:pt x="4276569" y="3674655"/>
                </a:cubicBezTo>
                <a:close/>
                <a:moveTo>
                  <a:pt x="4389638" y="3670474"/>
                </a:moveTo>
                <a:lnTo>
                  <a:pt x="4412343" y="3670474"/>
                </a:lnTo>
                <a:cubicBezTo>
                  <a:pt x="4418367" y="3690402"/>
                  <a:pt x="4383612" y="3690402"/>
                  <a:pt x="4389638" y="3670474"/>
                </a:cubicBezTo>
                <a:close/>
                <a:moveTo>
                  <a:pt x="4661649" y="3669080"/>
                </a:moveTo>
                <a:cubicBezTo>
                  <a:pt x="4642650" y="3681066"/>
                  <a:pt x="4615773" y="3665318"/>
                  <a:pt x="4598164" y="3694863"/>
                </a:cubicBezTo>
                <a:cubicBezTo>
                  <a:pt x="4638017" y="3709495"/>
                  <a:pt x="4650529" y="3703921"/>
                  <a:pt x="4661649" y="3669080"/>
                </a:cubicBezTo>
                <a:close/>
                <a:moveTo>
                  <a:pt x="4050769" y="3666210"/>
                </a:moveTo>
                <a:cubicBezTo>
                  <a:pt x="4043354" y="3665374"/>
                  <a:pt x="4035940" y="3666349"/>
                  <a:pt x="4031769" y="3673317"/>
                </a:cubicBezTo>
                <a:cubicBezTo>
                  <a:pt x="4041038" y="3675686"/>
                  <a:pt x="4066061" y="3681121"/>
                  <a:pt x="4072085" y="3668580"/>
                </a:cubicBezTo>
                <a:cubicBezTo>
                  <a:pt x="4066061" y="3669833"/>
                  <a:pt x="4058646" y="3667185"/>
                  <a:pt x="4050769" y="3666210"/>
                </a:cubicBezTo>
                <a:close/>
                <a:moveTo>
                  <a:pt x="12986827" y="3651502"/>
                </a:moveTo>
                <a:cubicBezTo>
                  <a:pt x="12985438" y="3663905"/>
                  <a:pt x="12985902" y="3665020"/>
                  <a:pt x="12988680" y="3676169"/>
                </a:cubicBezTo>
                <a:cubicBezTo>
                  <a:pt x="12968756" y="3688573"/>
                  <a:pt x="12957632" y="3671989"/>
                  <a:pt x="12939098" y="3677563"/>
                </a:cubicBezTo>
                <a:cubicBezTo>
                  <a:pt x="12940953" y="3663766"/>
                  <a:pt x="12954854" y="3663905"/>
                  <a:pt x="12962732" y="3658331"/>
                </a:cubicBezTo>
                <a:cubicBezTo>
                  <a:pt x="12962732" y="3668086"/>
                  <a:pt x="12965512" y="3673242"/>
                  <a:pt x="12970146" y="3674636"/>
                </a:cubicBezTo>
                <a:cubicBezTo>
                  <a:pt x="12976169" y="3667808"/>
                  <a:pt x="12966901" y="3665298"/>
                  <a:pt x="12971536" y="3654150"/>
                </a:cubicBezTo>
                <a:close/>
                <a:moveTo>
                  <a:pt x="3083328" y="3651242"/>
                </a:moveTo>
                <a:cubicBezTo>
                  <a:pt x="3093060" y="3649570"/>
                  <a:pt x="3105572" y="3660440"/>
                  <a:pt x="3114839" y="3658349"/>
                </a:cubicBezTo>
                <a:cubicBezTo>
                  <a:pt x="3112986" y="3683295"/>
                  <a:pt x="3088890" y="3654168"/>
                  <a:pt x="3074989" y="3658349"/>
                </a:cubicBezTo>
                <a:cubicBezTo>
                  <a:pt x="3077305" y="3654168"/>
                  <a:pt x="3080086" y="3651800"/>
                  <a:pt x="3083328" y="3651242"/>
                </a:cubicBezTo>
                <a:close/>
                <a:moveTo>
                  <a:pt x="4948333" y="3648297"/>
                </a:moveTo>
                <a:cubicBezTo>
                  <a:pt x="4946017" y="3647879"/>
                  <a:pt x="4943700" y="3648157"/>
                  <a:pt x="4940456" y="3649132"/>
                </a:cubicBezTo>
                <a:cubicBezTo>
                  <a:pt x="4943236" y="3662232"/>
                  <a:pt x="4933042" y="3660142"/>
                  <a:pt x="4933504" y="3670455"/>
                </a:cubicBezTo>
                <a:cubicBezTo>
                  <a:pt x="4937676" y="3674636"/>
                  <a:pt x="4960845" y="3677423"/>
                  <a:pt x="4961774" y="3666832"/>
                </a:cubicBezTo>
                <a:cubicBezTo>
                  <a:pt x="4959920" y="3665577"/>
                  <a:pt x="4957603" y="3662511"/>
                  <a:pt x="4957138" y="3656519"/>
                </a:cubicBezTo>
                <a:cubicBezTo>
                  <a:pt x="4962236" y="3656101"/>
                  <a:pt x="4969650" y="3656798"/>
                  <a:pt x="4969187" y="3650945"/>
                </a:cubicBezTo>
                <a:cubicBezTo>
                  <a:pt x="4958992" y="3655126"/>
                  <a:pt x="4954821" y="3649690"/>
                  <a:pt x="4948333" y="3648297"/>
                </a:cubicBezTo>
                <a:close/>
                <a:moveTo>
                  <a:pt x="4244930" y="3647536"/>
                </a:moveTo>
                <a:cubicBezTo>
                  <a:pt x="4240760" y="3662865"/>
                  <a:pt x="4207397" y="3646142"/>
                  <a:pt x="4208787" y="3665374"/>
                </a:cubicBezTo>
                <a:cubicBezTo>
                  <a:pt x="4223151" y="3667185"/>
                  <a:pt x="4241224" y="3671366"/>
                  <a:pt x="4249565" y="3666210"/>
                </a:cubicBezTo>
                <a:cubicBezTo>
                  <a:pt x="4239370" y="3670112"/>
                  <a:pt x="4259296" y="3647954"/>
                  <a:pt x="4244930" y="3647536"/>
                </a:cubicBezTo>
                <a:close/>
                <a:moveTo>
                  <a:pt x="4671381" y="3642323"/>
                </a:moveTo>
                <a:cubicBezTo>
                  <a:pt x="4660260" y="3659744"/>
                  <a:pt x="4642650" y="3638142"/>
                  <a:pt x="4634772" y="3658349"/>
                </a:cubicBezTo>
                <a:cubicBezTo>
                  <a:pt x="4655161" y="3638142"/>
                  <a:pt x="4687601" y="3707963"/>
                  <a:pt x="4671381" y="3669080"/>
                </a:cubicBezTo>
                <a:cubicBezTo>
                  <a:pt x="4676478" y="3669080"/>
                  <a:pt x="4676015" y="3665039"/>
                  <a:pt x="4679259" y="3663784"/>
                </a:cubicBezTo>
                <a:cubicBezTo>
                  <a:pt x="4690380" y="3662392"/>
                  <a:pt x="4695014" y="3667687"/>
                  <a:pt x="4693624" y="3679671"/>
                </a:cubicBezTo>
                <a:cubicBezTo>
                  <a:pt x="4682502" y="3681066"/>
                  <a:pt x="4674624" y="3685386"/>
                  <a:pt x="4671381" y="3694863"/>
                </a:cubicBezTo>
                <a:cubicBezTo>
                  <a:pt x="4688990" y="3693469"/>
                  <a:pt x="4695477" y="3678418"/>
                  <a:pt x="4707989" y="3669080"/>
                </a:cubicBezTo>
                <a:cubicBezTo>
                  <a:pt x="4695477" y="3650266"/>
                  <a:pt x="4660260" y="3665178"/>
                  <a:pt x="4671381" y="3642323"/>
                </a:cubicBezTo>
                <a:close/>
                <a:moveTo>
                  <a:pt x="4103196" y="3640564"/>
                </a:moveTo>
                <a:lnTo>
                  <a:pt x="4105319" y="3641173"/>
                </a:lnTo>
                <a:lnTo>
                  <a:pt x="4106887" y="3641087"/>
                </a:lnTo>
                <a:close/>
                <a:moveTo>
                  <a:pt x="4532826" y="3633822"/>
                </a:moveTo>
                <a:cubicBezTo>
                  <a:pt x="4524022" y="3636052"/>
                  <a:pt x="4516143" y="3651104"/>
                  <a:pt x="4505486" y="3653054"/>
                </a:cubicBezTo>
                <a:cubicBezTo>
                  <a:pt x="4513364" y="3659744"/>
                  <a:pt x="4532363" y="3645110"/>
                  <a:pt x="4541630" y="3637028"/>
                </a:cubicBezTo>
                <a:cubicBezTo>
                  <a:pt x="4538851" y="3634101"/>
                  <a:pt x="4536069" y="3633125"/>
                  <a:pt x="4532826" y="3633822"/>
                </a:cubicBezTo>
                <a:close/>
                <a:moveTo>
                  <a:pt x="2979065" y="3624624"/>
                </a:moveTo>
                <a:cubicBezTo>
                  <a:pt x="2996211" y="3620722"/>
                  <a:pt x="2988796" y="3643856"/>
                  <a:pt x="3000845" y="3645110"/>
                </a:cubicBezTo>
                <a:cubicBezTo>
                  <a:pt x="2999455" y="3654029"/>
                  <a:pt x="2991578" y="3647619"/>
                  <a:pt x="2992968" y="3639954"/>
                </a:cubicBezTo>
                <a:cubicBezTo>
                  <a:pt x="2988332" y="3643856"/>
                  <a:pt x="2982308" y="3645110"/>
                  <a:pt x="2974431" y="3645110"/>
                </a:cubicBezTo>
                <a:cubicBezTo>
                  <a:pt x="2982308" y="3634797"/>
                  <a:pt x="2971187" y="3634797"/>
                  <a:pt x="2979065" y="3624624"/>
                </a:cubicBezTo>
                <a:close/>
                <a:moveTo>
                  <a:pt x="3868782" y="3622534"/>
                </a:moveTo>
                <a:cubicBezTo>
                  <a:pt x="3870636" y="3622952"/>
                  <a:pt x="3873416" y="3623788"/>
                  <a:pt x="3875732" y="3625460"/>
                </a:cubicBezTo>
                <a:lnTo>
                  <a:pt x="3875732" y="3641487"/>
                </a:lnTo>
                <a:cubicBezTo>
                  <a:pt x="3860904" y="3641487"/>
                  <a:pt x="3856733" y="3625321"/>
                  <a:pt x="3864611" y="3622812"/>
                </a:cubicBezTo>
                <a:cubicBezTo>
                  <a:pt x="3865539" y="3622255"/>
                  <a:pt x="3866928" y="3622115"/>
                  <a:pt x="3868782" y="3622534"/>
                </a:cubicBezTo>
                <a:close/>
                <a:moveTo>
                  <a:pt x="4217591" y="3621474"/>
                </a:moveTo>
                <a:cubicBezTo>
                  <a:pt x="4211567" y="3630952"/>
                  <a:pt x="4198592" y="3624123"/>
                  <a:pt x="4189786" y="3623287"/>
                </a:cubicBezTo>
                <a:cubicBezTo>
                  <a:pt x="4188397" y="3653249"/>
                  <a:pt x="4228712" y="3625098"/>
                  <a:pt x="4217591" y="3621474"/>
                </a:cubicBezTo>
                <a:close/>
                <a:moveTo>
                  <a:pt x="4615311" y="3620722"/>
                </a:moveTo>
                <a:cubicBezTo>
                  <a:pt x="4610676" y="3638142"/>
                  <a:pt x="4631529" y="3624902"/>
                  <a:pt x="4625042" y="3642323"/>
                </a:cubicBezTo>
                <a:cubicBezTo>
                  <a:pt x="4634772" y="3643716"/>
                  <a:pt x="4639406" y="3638421"/>
                  <a:pt x="4639406" y="3626436"/>
                </a:cubicBezTo>
                <a:cubicBezTo>
                  <a:pt x="4625042" y="3631731"/>
                  <a:pt x="4626432" y="3619468"/>
                  <a:pt x="4615311" y="3620722"/>
                </a:cubicBezTo>
                <a:close/>
                <a:moveTo>
                  <a:pt x="3720033" y="3620722"/>
                </a:moveTo>
                <a:cubicBezTo>
                  <a:pt x="3718179" y="3643577"/>
                  <a:pt x="3755714" y="3621837"/>
                  <a:pt x="3760348" y="3635773"/>
                </a:cubicBezTo>
                <a:cubicBezTo>
                  <a:pt x="3762201" y="3644692"/>
                  <a:pt x="3733934" y="3644831"/>
                  <a:pt x="3746446" y="3651242"/>
                </a:cubicBezTo>
                <a:cubicBezTo>
                  <a:pt x="3732544" y="3666433"/>
                  <a:pt x="3722813" y="3630756"/>
                  <a:pt x="3697789" y="3640930"/>
                </a:cubicBezTo>
                <a:cubicBezTo>
                  <a:pt x="3699643" y="3628248"/>
                  <a:pt x="3712155" y="3625879"/>
                  <a:pt x="3720033" y="3620722"/>
                </a:cubicBezTo>
                <a:close/>
                <a:moveTo>
                  <a:pt x="4032361" y="3618910"/>
                </a:moveTo>
                <a:cubicBezTo>
                  <a:pt x="4035604" y="3618771"/>
                  <a:pt x="4039311" y="3620024"/>
                  <a:pt x="4043481" y="3624066"/>
                </a:cubicBezTo>
                <a:cubicBezTo>
                  <a:pt x="4043481" y="3634659"/>
                  <a:pt x="4031896" y="3634936"/>
                  <a:pt x="4030506" y="3645668"/>
                </a:cubicBezTo>
                <a:cubicBezTo>
                  <a:pt x="4017995" y="3635633"/>
                  <a:pt x="4022629" y="3619607"/>
                  <a:pt x="4032361" y="3618910"/>
                </a:cubicBezTo>
                <a:close/>
                <a:moveTo>
                  <a:pt x="2882217" y="3611525"/>
                </a:moveTo>
                <a:cubicBezTo>
                  <a:pt x="2889168" y="3610967"/>
                  <a:pt x="2897044" y="3613196"/>
                  <a:pt x="2902143" y="3614729"/>
                </a:cubicBezTo>
                <a:cubicBezTo>
                  <a:pt x="2902143" y="3631452"/>
                  <a:pt x="2881289" y="3625460"/>
                  <a:pt x="2867850" y="3625460"/>
                </a:cubicBezTo>
                <a:cubicBezTo>
                  <a:pt x="2869241" y="3615705"/>
                  <a:pt x="2875265" y="3612081"/>
                  <a:pt x="2882217" y="3611525"/>
                </a:cubicBezTo>
                <a:close/>
                <a:moveTo>
                  <a:pt x="2958676" y="3598285"/>
                </a:moveTo>
                <a:cubicBezTo>
                  <a:pt x="2968408" y="3595499"/>
                  <a:pt x="2969797" y="3601212"/>
                  <a:pt x="2976285" y="3603860"/>
                </a:cubicBezTo>
                <a:cubicBezTo>
                  <a:pt x="2966554" y="3609294"/>
                  <a:pt x="2963773" y="3624205"/>
                  <a:pt x="2954042" y="3629642"/>
                </a:cubicBezTo>
                <a:cubicBezTo>
                  <a:pt x="2954042" y="3640511"/>
                  <a:pt x="2967017" y="3636609"/>
                  <a:pt x="2963773" y="3651660"/>
                </a:cubicBezTo>
                <a:lnTo>
                  <a:pt x="2948945" y="3651660"/>
                </a:lnTo>
                <a:cubicBezTo>
                  <a:pt x="2950799" y="3661137"/>
                  <a:pt x="2957286" y="3663923"/>
                  <a:pt x="2967017" y="3662531"/>
                </a:cubicBezTo>
                <a:cubicBezTo>
                  <a:pt x="2954042" y="3682878"/>
                  <a:pt x="2940603" y="3632289"/>
                  <a:pt x="2926238" y="3656817"/>
                </a:cubicBezTo>
                <a:cubicBezTo>
                  <a:pt x="2919752" y="3647339"/>
                  <a:pt x="2910020" y="3642323"/>
                  <a:pt x="2897044" y="3640930"/>
                </a:cubicBezTo>
                <a:cubicBezTo>
                  <a:pt x="2900289" y="3623231"/>
                  <a:pt x="2924849" y="3636609"/>
                  <a:pt x="2911873" y="3614729"/>
                </a:cubicBezTo>
                <a:cubicBezTo>
                  <a:pt x="2924849" y="3626994"/>
                  <a:pt x="2947554" y="3610828"/>
                  <a:pt x="2954042" y="3618910"/>
                </a:cubicBezTo>
                <a:cubicBezTo>
                  <a:pt x="2966554" y="3614869"/>
                  <a:pt x="2947091" y="3605114"/>
                  <a:pt x="2958676" y="3598285"/>
                </a:cubicBezTo>
                <a:close/>
                <a:moveTo>
                  <a:pt x="3833120" y="3587240"/>
                </a:moveTo>
                <a:lnTo>
                  <a:pt x="3833031" y="3587385"/>
                </a:lnTo>
                <a:lnTo>
                  <a:pt x="3833438" y="3587331"/>
                </a:lnTo>
                <a:close/>
                <a:moveTo>
                  <a:pt x="4432144" y="3585937"/>
                </a:moveTo>
                <a:cubicBezTo>
                  <a:pt x="4421483" y="3587052"/>
                  <a:pt x="4411753" y="3589561"/>
                  <a:pt x="4402021" y="3593324"/>
                </a:cubicBezTo>
                <a:cubicBezTo>
                  <a:pt x="4423803" y="3599038"/>
                  <a:pt x="4446971" y="3600292"/>
                  <a:pt x="4466897" y="3586775"/>
                </a:cubicBezTo>
                <a:lnTo>
                  <a:pt x="4463181" y="3586685"/>
                </a:lnTo>
                <a:lnTo>
                  <a:pt x="4454432" y="3588736"/>
                </a:lnTo>
                <a:cubicBezTo>
                  <a:pt x="4450544" y="3589618"/>
                  <a:pt x="4446402" y="3590271"/>
                  <a:pt x="4442000" y="3589923"/>
                </a:cubicBezTo>
                <a:lnTo>
                  <a:pt x="4446378" y="3586280"/>
                </a:lnTo>
                <a:close/>
                <a:moveTo>
                  <a:pt x="4382719" y="3584701"/>
                </a:moveTo>
                <a:cubicBezTo>
                  <a:pt x="4371554" y="3583733"/>
                  <a:pt x="4357652" y="3592488"/>
                  <a:pt x="4346877" y="3593324"/>
                </a:cubicBezTo>
                <a:cubicBezTo>
                  <a:pt x="4348268" y="3606702"/>
                  <a:pt x="4356610" y="3605587"/>
                  <a:pt x="4365878" y="3606424"/>
                </a:cubicBezTo>
                <a:cubicBezTo>
                  <a:pt x="4347805" y="3601825"/>
                  <a:pt x="4283856" y="3626492"/>
                  <a:pt x="4269491" y="3600710"/>
                </a:cubicBezTo>
                <a:cubicBezTo>
                  <a:pt x="4254662" y="3615342"/>
                  <a:pt x="4277831" y="3616458"/>
                  <a:pt x="4264857" y="3635411"/>
                </a:cubicBezTo>
                <a:cubicBezTo>
                  <a:pt x="4290807" y="3627468"/>
                  <a:pt x="4329269" y="3615622"/>
                  <a:pt x="4352901" y="3648093"/>
                </a:cubicBezTo>
                <a:cubicBezTo>
                  <a:pt x="4333439" y="3645166"/>
                  <a:pt x="4326952" y="3656036"/>
                  <a:pt x="4326488" y="3669555"/>
                </a:cubicBezTo>
                <a:cubicBezTo>
                  <a:pt x="4307025" y="3671088"/>
                  <a:pt x="4284320" y="3677079"/>
                  <a:pt x="4274589" y="3664399"/>
                </a:cubicBezTo>
                <a:cubicBezTo>
                  <a:pt x="4267637" y="3669415"/>
                  <a:pt x="4257443" y="3673457"/>
                  <a:pt x="4252809" y="3681401"/>
                </a:cubicBezTo>
                <a:cubicBezTo>
                  <a:pt x="4207859" y="3674432"/>
                  <a:pt x="4163837" y="3706067"/>
                  <a:pt x="4131400" y="3672760"/>
                </a:cubicBezTo>
                <a:cubicBezTo>
                  <a:pt x="4143448" y="3670391"/>
                  <a:pt x="4143448" y="3689762"/>
                  <a:pt x="4151325" y="3675686"/>
                </a:cubicBezTo>
                <a:cubicBezTo>
                  <a:pt x="4141594" y="3664538"/>
                  <a:pt x="4133253" y="3671366"/>
                  <a:pt x="4118889" y="3673874"/>
                </a:cubicBezTo>
                <a:cubicBezTo>
                  <a:pt x="4117962" y="3680007"/>
                  <a:pt x="4119815" y="3682794"/>
                  <a:pt x="4123059" y="3684048"/>
                </a:cubicBezTo>
                <a:cubicBezTo>
                  <a:pt x="4094792" y="3683352"/>
                  <a:pt x="4041038" y="3721955"/>
                  <a:pt x="4012307" y="3694361"/>
                </a:cubicBezTo>
                <a:cubicBezTo>
                  <a:pt x="4007094" y="3700772"/>
                  <a:pt x="3999824" y="3703585"/>
                  <a:pt x="3991642" y="3704752"/>
                </a:cubicBezTo>
                <a:lnTo>
                  <a:pt x="3973076" y="3705117"/>
                </a:lnTo>
                <a:lnTo>
                  <a:pt x="3989671" y="3708380"/>
                </a:lnTo>
                <a:cubicBezTo>
                  <a:pt x="4011275" y="3715244"/>
                  <a:pt x="4031666" y="3724964"/>
                  <a:pt x="4055530" y="3725661"/>
                </a:cubicBezTo>
                <a:cubicBezTo>
                  <a:pt x="4074992" y="3718973"/>
                  <a:pt x="4116234" y="3697232"/>
                  <a:pt x="4133843" y="3730678"/>
                </a:cubicBezTo>
                <a:cubicBezTo>
                  <a:pt x="4118088" y="3740155"/>
                  <a:pt x="4109747" y="3726638"/>
                  <a:pt x="4087504" y="3730678"/>
                </a:cubicBezTo>
                <a:cubicBezTo>
                  <a:pt x="4101869" y="3742803"/>
                  <a:pt x="4109747" y="3734720"/>
                  <a:pt x="4124112" y="3741410"/>
                </a:cubicBezTo>
                <a:cubicBezTo>
                  <a:pt x="4119480" y="3765518"/>
                  <a:pt x="4090284" y="3733466"/>
                  <a:pt x="4077773" y="3752279"/>
                </a:cubicBezTo>
                <a:cubicBezTo>
                  <a:pt x="4074529" y="3765798"/>
                  <a:pt x="4087504" y="3763010"/>
                  <a:pt x="4087504" y="3772487"/>
                </a:cubicBezTo>
                <a:cubicBezTo>
                  <a:pt x="4105113" y="3775135"/>
                  <a:pt x="4098625" y="3751165"/>
                  <a:pt x="4119480" y="3757993"/>
                </a:cubicBezTo>
                <a:cubicBezTo>
                  <a:pt x="4114381" y="3764683"/>
                  <a:pt x="4106502" y="3767331"/>
                  <a:pt x="4104649" y="3778062"/>
                </a:cubicBezTo>
                <a:cubicBezTo>
                  <a:pt x="4116234" y="3782104"/>
                  <a:pt x="4125966" y="3786144"/>
                  <a:pt x="4137086" y="3799523"/>
                </a:cubicBezTo>
                <a:cubicBezTo>
                  <a:pt x="4143575" y="3796875"/>
                  <a:pt x="4136624" y="3776528"/>
                  <a:pt x="4150989" y="3772487"/>
                </a:cubicBezTo>
                <a:cubicBezTo>
                  <a:pt x="4162110" y="3765798"/>
                  <a:pt x="4162574" y="3798269"/>
                  <a:pt x="4170451" y="3778062"/>
                </a:cubicBezTo>
                <a:cubicBezTo>
                  <a:pt x="4167209" y="3790185"/>
                  <a:pt x="4180183" y="3799523"/>
                  <a:pt x="4197792" y="3788792"/>
                </a:cubicBezTo>
                <a:cubicBezTo>
                  <a:pt x="4189450" y="3799523"/>
                  <a:pt x="4197792" y="3795621"/>
                  <a:pt x="4197792" y="3810394"/>
                </a:cubicBezTo>
                <a:cubicBezTo>
                  <a:pt x="4180183" y="3811787"/>
                  <a:pt x="4175085" y="3799244"/>
                  <a:pt x="4165817" y="3793808"/>
                </a:cubicBezTo>
                <a:cubicBezTo>
                  <a:pt x="4156086" y="3793808"/>
                  <a:pt x="4170451" y="3811229"/>
                  <a:pt x="4165817" y="3824747"/>
                </a:cubicBezTo>
                <a:lnTo>
                  <a:pt x="4146355" y="3824747"/>
                </a:lnTo>
                <a:cubicBezTo>
                  <a:pt x="4148209" y="3818058"/>
                  <a:pt x="4154232" y="3817083"/>
                  <a:pt x="4156086" y="3810394"/>
                </a:cubicBezTo>
                <a:cubicBezTo>
                  <a:pt x="4109747" y="3808999"/>
                  <a:pt x="4081016" y="3807467"/>
                  <a:pt x="4045799" y="3835617"/>
                </a:cubicBezTo>
                <a:cubicBezTo>
                  <a:pt x="4044409" y="3827535"/>
                  <a:pt x="4049505" y="3826001"/>
                  <a:pt x="4055530" y="3824747"/>
                </a:cubicBezTo>
                <a:cubicBezTo>
                  <a:pt x="4054139" y="3812622"/>
                  <a:pt x="4033287" y="3820846"/>
                  <a:pt x="4041164" y="3835617"/>
                </a:cubicBezTo>
                <a:cubicBezTo>
                  <a:pt x="4039774" y="3848996"/>
                  <a:pt x="4062018" y="3833109"/>
                  <a:pt x="4055530" y="3851922"/>
                </a:cubicBezTo>
                <a:cubicBezTo>
                  <a:pt x="4046262" y="3839798"/>
                  <a:pt x="4039774" y="3851644"/>
                  <a:pt x="4031896" y="3857078"/>
                </a:cubicBezTo>
                <a:cubicBezTo>
                  <a:pt x="4038384" y="3873106"/>
                  <a:pt x="4047652" y="3851644"/>
                  <a:pt x="4060628" y="3857078"/>
                </a:cubicBezTo>
                <a:cubicBezTo>
                  <a:pt x="4057384" y="3848996"/>
                  <a:pt x="4077773" y="3832830"/>
                  <a:pt x="4092138" y="3846348"/>
                </a:cubicBezTo>
                <a:lnTo>
                  <a:pt x="4087904" y="3851459"/>
                </a:lnTo>
                <a:lnTo>
                  <a:pt x="4095777" y="3856665"/>
                </a:lnTo>
                <a:lnTo>
                  <a:pt x="4098515" y="3859219"/>
                </a:lnTo>
                <a:lnTo>
                  <a:pt x="4099980" y="3858431"/>
                </a:lnTo>
                <a:cubicBezTo>
                  <a:pt x="4102564" y="3857575"/>
                  <a:pt x="4104302" y="3858229"/>
                  <a:pt x="4104649" y="3862235"/>
                </a:cubicBezTo>
                <a:cubicBezTo>
                  <a:pt x="4119014" y="3854292"/>
                  <a:pt x="4092138" y="3839798"/>
                  <a:pt x="4104649" y="3830321"/>
                </a:cubicBezTo>
                <a:cubicBezTo>
                  <a:pt x="4095383" y="3829067"/>
                  <a:pt x="4093991" y="3834224"/>
                  <a:pt x="4087504" y="3835617"/>
                </a:cubicBezTo>
                <a:cubicBezTo>
                  <a:pt x="4081480" y="3830321"/>
                  <a:pt x="4097699" y="3824607"/>
                  <a:pt x="4109747" y="3819591"/>
                </a:cubicBezTo>
                <a:cubicBezTo>
                  <a:pt x="4122721" y="3827674"/>
                  <a:pt x="4116234" y="3832830"/>
                  <a:pt x="4109747" y="3846348"/>
                </a:cubicBezTo>
                <a:cubicBezTo>
                  <a:pt x="4156086" y="3828928"/>
                  <a:pt x="4157476" y="3847603"/>
                  <a:pt x="4212158" y="3824747"/>
                </a:cubicBezTo>
                <a:cubicBezTo>
                  <a:pt x="4199182" y="3877008"/>
                  <a:pt x="4234399" y="3877286"/>
                  <a:pt x="4285373" y="3867949"/>
                </a:cubicBezTo>
                <a:cubicBezTo>
                  <a:pt x="4296495" y="3866556"/>
                  <a:pt x="4278885" y="3858333"/>
                  <a:pt x="4285373" y="3846348"/>
                </a:cubicBezTo>
                <a:cubicBezTo>
                  <a:pt x="4298348" y="3854431"/>
                  <a:pt x="4312713" y="3859866"/>
                  <a:pt x="4317348" y="3878680"/>
                </a:cubicBezTo>
                <a:cubicBezTo>
                  <a:pt x="4307616" y="3888017"/>
                  <a:pt x="4304372" y="3878680"/>
                  <a:pt x="4293251" y="3878680"/>
                </a:cubicBezTo>
                <a:cubicBezTo>
                  <a:pt x="4299739" y="3902789"/>
                  <a:pt x="4299275" y="3912127"/>
                  <a:pt x="4334493" y="3909478"/>
                </a:cubicBezTo>
                <a:cubicBezTo>
                  <a:pt x="4339590" y="3905438"/>
                  <a:pt x="4331712" y="3885369"/>
                  <a:pt x="4344224" y="3878680"/>
                </a:cubicBezTo>
                <a:cubicBezTo>
                  <a:pt x="4346078" y="3863907"/>
                  <a:pt x="4318738" y="3882443"/>
                  <a:pt x="4325225" y="3862235"/>
                </a:cubicBezTo>
                <a:cubicBezTo>
                  <a:pt x="4342833" y="3858194"/>
                  <a:pt x="4347468" y="3869203"/>
                  <a:pt x="4361834" y="3867949"/>
                </a:cubicBezTo>
                <a:cubicBezTo>
                  <a:pt x="4359980" y="3877147"/>
                  <a:pt x="4361371" y="3879516"/>
                  <a:pt x="4361834" y="3882443"/>
                </a:cubicBezTo>
                <a:cubicBezTo>
                  <a:pt x="4361834" y="3884533"/>
                  <a:pt x="4360444" y="3886206"/>
                  <a:pt x="4361834" y="3893173"/>
                </a:cubicBezTo>
                <a:cubicBezTo>
                  <a:pt x="4353956" y="3882443"/>
                  <a:pt x="4350712" y="3892059"/>
                  <a:pt x="4344224" y="3898748"/>
                </a:cubicBezTo>
                <a:cubicBezTo>
                  <a:pt x="4358589" y="3908085"/>
                  <a:pt x="4379443" y="3910872"/>
                  <a:pt x="4390564" y="3898748"/>
                </a:cubicBezTo>
                <a:cubicBezTo>
                  <a:pt x="4385930" y="3889410"/>
                  <a:pt x="4363224" y="3897215"/>
                  <a:pt x="4361834" y="3882443"/>
                </a:cubicBezTo>
                <a:cubicBezTo>
                  <a:pt x="4385930" y="3866276"/>
                  <a:pt x="4435049" y="3858472"/>
                  <a:pt x="4471659" y="3881328"/>
                </a:cubicBezTo>
                <a:cubicBezTo>
                  <a:pt x="4470268" y="3878680"/>
                  <a:pt x="4468877" y="3875614"/>
                  <a:pt x="4468877" y="3872966"/>
                </a:cubicBezTo>
                <a:cubicBezTo>
                  <a:pt x="4494365" y="3859587"/>
                  <a:pt x="4524484" y="3867671"/>
                  <a:pt x="4564336" y="3872966"/>
                </a:cubicBezTo>
                <a:cubicBezTo>
                  <a:pt x="4562947" y="3858194"/>
                  <a:pt x="4546729" y="3858612"/>
                  <a:pt x="4537461" y="3851922"/>
                </a:cubicBezTo>
                <a:cubicBezTo>
                  <a:pt x="4538851" y="3847881"/>
                  <a:pt x="4540241" y="3844954"/>
                  <a:pt x="4541630" y="3843561"/>
                </a:cubicBezTo>
                <a:cubicBezTo>
                  <a:pt x="4544874" y="3824747"/>
                  <a:pt x="4564336" y="3853038"/>
                  <a:pt x="4578702" y="3846348"/>
                </a:cubicBezTo>
                <a:cubicBezTo>
                  <a:pt x="4575459" y="3850389"/>
                  <a:pt x="4570824" y="3851922"/>
                  <a:pt x="4564336" y="3851922"/>
                </a:cubicBezTo>
                <a:cubicBezTo>
                  <a:pt x="4562947" y="3853316"/>
                  <a:pt x="4559703" y="3853038"/>
                  <a:pt x="4559703" y="3857078"/>
                </a:cubicBezTo>
                <a:cubicBezTo>
                  <a:pt x="4562947" y="3871851"/>
                  <a:pt x="4583799" y="3842167"/>
                  <a:pt x="4578702" y="3872966"/>
                </a:cubicBezTo>
                <a:cubicBezTo>
                  <a:pt x="4591677" y="3872966"/>
                  <a:pt x="4606042" y="3873106"/>
                  <a:pt x="4606042" y="3857078"/>
                </a:cubicBezTo>
                <a:cubicBezTo>
                  <a:pt x="4626895" y="3863768"/>
                  <a:pt x="4642650" y="3877286"/>
                  <a:pt x="4664893" y="3867949"/>
                </a:cubicBezTo>
                <a:cubicBezTo>
                  <a:pt x="4664893" y="3877286"/>
                  <a:pt x="4669528" y="3881050"/>
                  <a:pt x="4674161" y="3883697"/>
                </a:cubicBezTo>
                <a:cubicBezTo>
                  <a:pt x="4676015" y="3894428"/>
                  <a:pt x="4658869" y="3886624"/>
                  <a:pt x="4652383" y="3889272"/>
                </a:cubicBezTo>
                <a:cubicBezTo>
                  <a:pt x="4653772" y="3916168"/>
                  <a:pt x="4679259" y="3893173"/>
                  <a:pt x="4693624" y="3894567"/>
                </a:cubicBezTo>
                <a:cubicBezTo>
                  <a:pt x="4736719" y="3895961"/>
                  <a:pt x="4800668" y="3898609"/>
                  <a:pt x="4835885" y="3916029"/>
                </a:cubicBezTo>
                <a:cubicBezTo>
                  <a:pt x="4839130" y="3895822"/>
                  <a:pt x="4813179" y="3909478"/>
                  <a:pt x="4816423" y="3889272"/>
                </a:cubicBezTo>
                <a:cubicBezTo>
                  <a:pt x="4834031" y="3905438"/>
                  <a:pt x="4848397" y="3892059"/>
                  <a:pt x="4862763" y="3910872"/>
                </a:cubicBezTo>
                <a:cubicBezTo>
                  <a:pt x="4860908" y="3921881"/>
                  <a:pt x="4852105" y="3921185"/>
                  <a:pt x="4847934" y="3923972"/>
                </a:cubicBezTo>
                <a:lnTo>
                  <a:pt x="4848860" y="3923972"/>
                </a:lnTo>
                <a:cubicBezTo>
                  <a:pt x="4849324" y="3927317"/>
                  <a:pt x="4847934" y="3929128"/>
                  <a:pt x="4847007" y="3931359"/>
                </a:cubicBezTo>
                <a:cubicBezTo>
                  <a:pt x="4847470" y="3933031"/>
                  <a:pt x="4847007" y="3933728"/>
                  <a:pt x="4848397" y="3936097"/>
                </a:cubicBezTo>
                <a:cubicBezTo>
                  <a:pt x="4847934" y="3935260"/>
                  <a:pt x="4847007" y="3935260"/>
                  <a:pt x="4846543" y="3934703"/>
                </a:cubicBezTo>
                <a:cubicBezTo>
                  <a:pt x="4844691" y="3938187"/>
                  <a:pt x="4843764" y="3940975"/>
                  <a:pt x="4848860" y="3942646"/>
                </a:cubicBezTo>
                <a:cubicBezTo>
                  <a:pt x="4850714" y="3947386"/>
                  <a:pt x="4847007" y="3948780"/>
                  <a:pt x="4843299" y="3948780"/>
                </a:cubicBezTo>
                <a:lnTo>
                  <a:pt x="4834496" y="3948780"/>
                </a:lnTo>
                <a:cubicBezTo>
                  <a:pt x="4840984" y="3939302"/>
                  <a:pt x="4837739" y="3937490"/>
                  <a:pt x="4835885" y="3930522"/>
                </a:cubicBezTo>
                <a:cubicBezTo>
                  <a:pt x="4828935" y="3931498"/>
                  <a:pt x="4822911" y="3936933"/>
                  <a:pt x="4825692" y="3941811"/>
                </a:cubicBezTo>
                <a:cubicBezTo>
                  <a:pt x="4821058" y="3947107"/>
                  <a:pt x="4813179" y="3942787"/>
                  <a:pt x="4798814" y="3946828"/>
                </a:cubicBezTo>
                <a:cubicBezTo>
                  <a:pt x="4795570" y="3932055"/>
                  <a:pt x="4808544" y="3936097"/>
                  <a:pt x="4808544" y="3925366"/>
                </a:cubicBezTo>
                <a:cubicBezTo>
                  <a:pt x="4807155" y="3914635"/>
                  <a:pt x="4788156" y="3924112"/>
                  <a:pt x="4784913" y="3916029"/>
                </a:cubicBezTo>
                <a:cubicBezTo>
                  <a:pt x="4775182" y="3917283"/>
                  <a:pt x="4789083" y="3933728"/>
                  <a:pt x="4798814" y="3931080"/>
                </a:cubicBezTo>
                <a:cubicBezTo>
                  <a:pt x="4790935" y="3948500"/>
                  <a:pt x="4778424" y="3944459"/>
                  <a:pt x="4762206" y="3941811"/>
                </a:cubicBezTo>
                <a:cubicBezTo>
                  <a:pt x="4749695" y="3896100"/>
                  <a:pt x="4664893" y="3932333"/>
                  <a:pt x="4632918" y="3909478"/>
                </a:cubicBezTo>
                <a:cubicBezTo>
                  <a:pt x="4632918" y="3924251"/>
                  <a:pt x="4644503" y="3925366"/>
                  <a:pt x="4657015" y="3925366"/>
                </a:cubicBezTo>
                <a:cubicBezTo>
                  <a:pt x="4650529" y="3956304"/>
                  <a:pt x="4623651" y="3944459"/>
                  <a:pt x="4606042" y="3952403"/>
                </a:cubicBezTo>
                <a:cubicBezTo>
                  <a:pt x="4606042" y="3957280"/>
                  <a:pt x="4628284" y="3949197"/>
                  <a:pt x="4621797" y="3962854"/>
                </a:cubicBezTo>
                <a:cubicBezTo>
                  <a:pt x="4624114" y="3962576"/>
                  <a:pt x="4625968" y="3962158"/>
                  <a:pt x="4628284" y="3961879"/>
                </a:cubicBezTo>
                <a:cubicBezTo>
                  <a:pt x="4650066" y="3948780"/>
                  <a:pt x="4669064" y="3932194"/>
                  <a:pt x="4701501" y="3931080"/>
                </a:cubicBezTo>
                <a:cubicBezTo>
                  <a:pt x="4702892" y="3940417"/>
                  <a:pt x="4696868" y="3957838"/>
                  <a:pt x="4711233" y="3952403"/>
                </a:cubicBezTo>
                <a:cubicBezTo>
                  <a:pt x="4711233" y="3954493"/>
                  <a:pt x="4709842" y="3954075"/>
                  <a:pt x="4709378" y="3955330"/>
                </a:cubicBezTo>
                <a:cubicBezTo>
                  <a:pt x="4777961" y="3950173"/>
                  <a:pt x="4844691" y="3947246"/>
                  <a:pt x="4903078" y="3949754"/>
                </a:cubicBezTo>
                <a:cubicBezTo>
                  <a:pt x="4906786" y="3946689"/>
                  <a:pt x="4904468" y="3941253"/>
                  <a:pt x="4903078" y="3935818"/>
                </a:cubicBezTo>
                <a:cubicBezTo>
                  <a:pt x="4896591" y="3931777"/>
                  <a:pt x="4890566" y="3926899"/>
                  <a:pt x="4890102" y="3916029"/>
                </a:cubicBezTo>
                <a:cubicBezTo>
                  <a:pt x="4909102" y="3913799"/>
                  <a:pt x="4898445" y="3926899"/>
                  <a:pt x="4902615" y="3931080"/>
                </a:cubicBezTo>
                <a:cubicBezTo>
                  <a:pt x="4901689" y="3926481"/>
                  <a:pt x="4902615" y="3922439"/>
                  <a:pt x="4907711" y="3920210"/>
                </a:cubicBezTo>
                <a:cubicBezTo>
                  <a:pt x="4906322" y="3915611"/>
                  <a:pt x="4905857" y="3910593"/>
                  <a:pt x="4913736" y="3905298"/>
                </a:cubicBezTo>
                <a:cubicBezTo>
                  <a:pt x="4910492" y="3906692"/>
                  <a:pt x="4872031" y="3913382"/>
                  <a:pt x="4872031" y="3894567"/>
                </a:cubicBezTo>
                <a:cubicBezTo>
                  <a:pt x="4904005" y="3909340"/>
                  <a:pt x="4891493" y="3881328"/>
                  <a:pt x="4918370" y="3878680"/>
                </a:cubicBezTo>
                <a:cubicBezTo>
                  <a:pt x="4915127" y="3873245"/>
                  <a:pt x="4907711" y="3872966"/>
                  <a:pt x="4909102" y="3863490"/>
                </a:cubicBezTo>
                <a:cubicBezTo>
                  <a:pt x="4901224" y="3867531"/>
                  <a:pt x="4893347" y="3871712"/>
                  <a:pt x="4882225" y="3872966"/>
                </a:cubicBezTo>
                <a:cubicBezTo>
                  <a:pt x="4886859" y="3846208"/>
                  <a:pt x="4838667" y="3858333"/>
                  <a:pt x="4857665" y="3831436"/>
                </a:cubicBezTo>
                <a:cubicBezTo>
                  <a:pt x="4865543" y="3839519"/>
                  <a:pt x="4877128" y="3856940"/>
                  <a:pt x="4891493" y="3842167"/>
                </a:cubicBezTo>
                <a:cubicBezTo>
                  <a:pt x="4883152" y="3823354"/>
                  <a:pt x="4854422" y="3826141"/>
                  <a:pt x="4830324" y="3826141"/>
                </a:cubicBezTo>
                <a:cubicBezTo>
                  <a:pt x="4833568" y="3822099"/>
                  <a:pt x="4835885" y="3814017"/>
                  <a:pt x="4835885" y="3806073"/>
                </a:cubicBezTo>
                <a:cubicBezTo>
                  <a:pt x="4819666" y="3800638"/>
                  <a:pt x="4830789" y="3827394"/>
                  <a:pt x="4821058" y="3831436"/>
                </a:cubicBezTo>
                <a:cubicBezTo>
                  <a:pt x="4813179" y="3824747"/>
                  <a:pt x="4803912" y="3818198"/>
                  <a:pt x="4789546" y="3815410"/>
                </a:cubicBezTo>
                <a:cubicBezTo>
                  <a:pt x="4806691" y="3826141"/>
                  <a:pt x="4789546" y="3827394"/>
                  <a:pt x="4777035" y="3831436"/>
                </a:cubicBezTo>
                <a:cubicBezTo>
                  <a:pt x="4777035" y="3838125"/>
                  <a:pt x="4784449" y="3835478"/>
                  <a:pt x="4789546" y="3836872"/>
                </a:cubicBezTo>
                <a:cubicBezTo>
                  <a:pt x="4779815" y="3847603"/>
                  <a:pt x="4779815" y="3867949"/>
                  <a:pt x="4762206" y="3867949"/>
                </a:cubicBezTo>
                <a:cubicBezTo>
                  <a:pt x="4760815" y="3855825"/>
                  <a:pt x="4762206" y="3847462"/>
                  <a:pt x="4766841" y="3842167"/>
                </a:cubicBezTo>
                <a:cubicBezTo>
                  <a:pt x="4746450" y="3834085"/>
                  <a:pt x="4754328" y="3859866"/>
                  <a:pt x="4739964" y="3858472"/>
                </a:cubicBezTo>
                <a:cubicBezTo>
                  <a:pt x="4744597" y="3843700"/>
                  <a:pt x="4741354" y="3844954"/>
                  <a:pt x="4739964" y="3826141"/>
                </a:cubicBezTo>
                <a:cubicBezTo>
                  <a:pt x="4722353" y="3827535"/>
                  <a:pt x="4711233" y="3836732"/>
                  <a:pt x="4698721" y="3842167"/>
                </a:cubicBezTo>
                <a:cubicBezTo>
                  <a:pt x="4699532" y="3836802"/>
                  <a:pt x="4697998" y="3834041"/>
                  <a:pt x="4695340" y="3832519"/>
                </a:cubicBezTo>
                <a:lnTo>
                  <a:pt x="4692770" y="3831956"/>
                </a:lnTo>
                <a:lnTo>
                  <a:pt x="4682666" y="3844332"/>
                </a:lnTo>
                <a:cubicBezTo>
                  <a:pt x="4677163" y="3847380"/>
                  <a:pt x="4671022" y="3848216"/>
                  <a:pt x="4668473" y="3843757"/>
                </a:cubicBezTo>
                <a:cubicBezTo>
                  <a:pt x="4668473" y="3832677"/>
                  <a:pt x="4676554" y="3836336"/>
                  <a:pt x="4684895" y="3835153"/>
                </a:cubicBezTo>
                <a:lnTo>
                  <a:pt x="4692447" y="3831885"/>
                </a:lnTo>
                <a:lnTo>
                  <a:pt x="4685226" y="3830304"/>
                </a:lnTo>
                <a:cubicBezTo>
                  <a:pt x="4677868" y="3829485"/>
                  <a:pt x="4670917" y="3828161"/>
                  <a:pt x="4674161" y="3815410"/>
                </a:cubicBezTo>
                <a:cubicBezTo>
                  <a:pt x="4685283" y="3819452"/>
                  <a:pt x="4695477" y="3823772"/>
                  <a:pt x="4711233" y="3821124"/>
                </a:cubicBezTo>
                <a:cubicBezTo>
                  <a:pt x="4713086" y="3811647"/>
                  <a:pt x="4707989" y="3811787"/>
                  <a:pt x="4703354" y="3810394"/>
                </a:cubicBezTo>
                <a:cubicBezTo>
                  <a:pt x="4703354" y="3806352"/>
                  <a:pt x="4707989" y="3806073"/>
                  <a:pt x="4711233" y="3804819"/>
                </a:cubicBezTo>
                <a:cubicBezTo>
                  <a:pt x="4700112" y="3796736"/>
                  <a:pt x="4682502" y="3795481"/>
                  <a:pt x="4679259" y="3779315"/>
                </a:cubicBezTo>
                <a:cubicBezTo>
                  <a:pt x="4669991" y="3780709"/>
                  <a:pt x="4661649" y="3787259"/>
                  <a:pt x="4647284" y="3784612"/>
                </a:cubicBezTo>
                <a:cubicBezTo>
                  <a:pt x="4653308" y="3771233"/>
                  <a:pt x="4657015" y="3774020"/>
                  <a:pt x="4652383" y="3757993"/>
                </a:cubicBezTo>
                <a:cubicBezTo>
                  <a:pt x="4641260" y="3756599"/>
                  <a:pt x="4642650" y="3767052"/>
                  <a:pt x="4629676" y="3763010"/>
                </a:cubicBezTo>
                <a:cubicBezTo>
                  <a:pt x="4631529" y="3738901"/>
                  <a:pt x="4658405" y="3744057"/>
                  <a:pt x="4679259" y="3741410"/>
                </a:cubicBezTo>
                <a:cubicBezTo>
                  <a:pt x="4687136" y="3752140"/>
                  <a:pt x="4676015" y="3752279"/>
                  <a:pt x="4683892" y="3763010"/>
                </a:cubicBezTo>
                <a:cubicBezTo>
                  <a:pt x="4692233" y="3764404"/>
                  <a:pt x="4693624" y="3756599"/>
                  <a:pt x="4703354" y="3757993"/>
                </a:cubicBezTo>
                <a:cubicBezTo>
                  <a:pt x="4701501" y="3744475"/>
                  <a:pt x="4688990" y="3741827"/>
                  <a:pt x="4688990" y="3727055"/>
                </a:cubicBezTo>
                <a:cubicBezTo>
                  <a:pt x="4657015" y="3740573"/>
                  <a:pt x="4657015" y="3709495"/>
                  <a:pt x="4638017" y="3716184"/>
                </a:cubicBezTo>
                <a:cubicBezTo>
                  <a:pt x="4625042" y="3720226"/>
                  <a:pt x="4649137" y="3724407"/>
                  <a:pt x="4642650" y="3737786"/>
                </a:cubicBezTo>
                <a:cubicBezTo>
                  <a:pt x="4620408" y="3740434"/>
                  <a:pt x="4608823" y="3723989"/>
                  <a:pt x="4595848" y="3741410"/>
                </a:cubicBezTo>
                <a:cubicBezTo>
                  <a:pt x="4597700" y="3746844"/>
                  <a:pt x="4613920" y="3759108"/>
                  <a:pt x="4615311" y="3747123"/>
                </a:cubicBezTo>
                <a:cubicBezTo>
                  <a:pt x="4626432" y="3748377"/>
                  <a:pt x="4613920" y="3761895"/>
                  <a:pt x="4613920" y="3768584"/>
                </a:cubicBezTo>
                <a:cubicBezTo>
                  <a:pt x="4621797" y="3769978"/>
                  <a:pt x="4628284" y="3771093"/>
                  <a:pt x="4632918" y="3772487"/>
                </a:cubicBezTo>
                <a:cubicBezTo>
                  <a:pt x="4632918" y="3793949"/>
                  <a:pt x="4596775" y="3772626"/>
                  <a:pt x="4601408" y="3799523"/>
                </a:cubicBezTo>
                <a:cubicBezTo>
                  <a:pt x="4577312" y="3798130"/>
                  <a:pt x="4593067" y="3783497"/>
                  <a:pt x="4574068" y="3778062"/>
                </a:cubicBezTo>
                <a:cubicBezTo>
                  <a:pt x="4575922" y="3774020"/>
                  <a:pt x="4580555" y="3772765"/>
                  <a:pt x="4587043" y="3770117"/>
                </a:cubicBezTo>
                <a:cubicBezTo>
                  <a:pt x="4606042" y="3724407"/>
                  <a:pt x="4545337" y="3729563"/>
                  <a:pt x="4523095" y="3747123"/>
                </a:cubicBezTo>
                <a:cubicBezTo>
                  <a:pt x="4515913" y="3739040"/>
                  <a:pt x="4503401" y="3737960"/>
                  <a:pt x="4489151" y="3737386"/>
                </a:cubicBezTo>
                <a:lnTo>
                  <a:pt x="4484257" y="3737100"/>
                </a:lnTo>
                <a:lnTo>
                  <a:pt x="4482849" y="3741718"/>
                </a:lnTo>
                <a:cubicBezTo>
                  <a:pt x="4478135" y="3747754"/>
                  <a:pt x="4468404" y="3747911"/>
                  <a:pt x="4465969" y="3755123"/>
                </a:cubicBezTo>
                <a:cubicBezTo>
                  <a:pt x="4460873" y="3751081"/>
                  <a:pt x="4460873" y="3738399"/>
                  <a:pt x="4452532" y="3739792"/>
                </a:cubicBezTo>
                <a:lnTo>
                  <a:pt x="4451985" y="3732439"/>
                </a:lnTo>
                <a:lnTo>
                  <a:pt x="4444782" y="3730678"/>
                </a:lnTo>
                <a:cubicBezTo>
                  <a:pt x="4441538" y="3754928"/>
                  <a:pt x="4416050" y="3736113"/>
                  <a:pt x="4380833" y="3741410"/>
                </a:cubicBezTo>
                <a:cubicBezTo>
                  <a:pt x="4387320" y="3710610"/>
                  <a:pt x="4404929" y="3721341"/>
                  <a:pt x="4422537" y="3710610"/>
                </a:cubicBezTo>
                <a:cubicBezTo>
                  <a:pt x="4422537" y="3714652"/>
                  <a:pt x="4417904" y="3714652"/>
                  <a:pt x="4417904" y="3720087"/>
                </a:cubicBezTo>
                <a:cubicBezTo>
                  <a:pt x="4442000" y="3714652"/>
                  <a:pt x="4438294" y="3711865"/>
                  <a:pt x="4463779" y="3710610"/>
                </a:cubicBezTo>
                <a:lnTo>
                  <a:pt x="4459426" y="3724751"/>
                </a:lnTo>
                <a:lnTo>
                  <a:pt x="4459772" y="3725143"/>
                </a:lnTo>
                <a:cubicBezTo>
                  <a:pt x="4463074" y="3727076"/>
                  <a:pt x="4465507" y="3725369"/>
                  <a:pt x="4463654" y="3713592"/>
                </a:cubicBezTo>
                <a:lnTo>
                  <a:pt x="4468877" y="3718652"/>
                </a:lnTo>
                <a:lnTo>
                  <a:pt x="4468877" y="3705454"/>
                </a:lnTo>
                <a:cubicBezTo>
                  <a:pt x="4479999" y="3702805"/>
                  <a:pt x="4478145" y="3714652"/>
                  <a:pt x="4490657" y="3710610"/>
                </a:cubicBezTo>
                <a:cubicBezTo>
                  <a:pt x="4503633" y="3705175"/>
                  <a:pt x="4478145" y="3698626"/>
                  <a:pt x="4490657" y="3689149"/>
                </a:cubicBezTo>
                <a:cubicBezTo>
                  <a:pt x="4501779" y="3687894"/>
                  <a:pt x="4505486" y="3693469"/>
                  <a:pt x="4505486" y="3705454"/>
                </a:cubicBezTo>
                <a:cubicBezTo>
                  <a:pt x="4517996" y="3706847"/>
                  <a:pt x="4508730" y="3685107"/>
                  <a:pt x="4523095" y="3689149"/>
                </a:cubicBezTo>
                <a:cubicBezTo>
                  <a:pt x="4519850" y="3694584"/>
                  <a:pt x="4518460" y="3701133"/>
                  <a:pt x="4519850" y="3710610"/>
                </a:cubicBezTo>
                <a:cubicBezTo>
                  <a:pt x="4529583" y="3711865"/>
                  <a:pt x="4530973" y="3706847"/>
                  <a:pt x="4537461" y="3705454"/>
                </a:cubicBezTo>
                <a:cubicBezTo>
                  <a:pt x="4548582" y="3710889"/>
                  <a:pt x="4522631" y="3718833"/>
                  <a:pt x="4510119" y="3716184"/>
                </a:cubicBezTo>
                <a:cubicBezTo>
                  <a:pt x="4524484" y="3726916"/>
                  <a:pt x="4561094" y="3718973"/>
                  <a:pt x="4561094" y="3694863"/>
                </a:cubicBezTo>
                <a:cubicBezTo>
                  <a:pt x="4565727" y="3696116"/>
                  <a:pt x="4564336" y="3708102"/>
                  <a:pt x="4564336" y="3716184"/>
                </a:cubicBezTo>
                <a:cubicBezTo>
                  <a:pt x="4596311" y="3706847"/>
                  <a:pt x="4591677" y="3687894"/>
                  <a:pt x="4598164" y="3663784"/>
                </a:cubicBezTo>
                <a:cubicBezTo>
                  <a:pt x="4585190" y="3667826"/>
                  <a:pt x="4576848" y="3678418"/>
                  <a:pt x="4568971" y="3689149"/>
                </a:cubicBezTo>
                <a:cubicBezTo>
                  <a:pt x="4548119" y="3689149"/>
                  <a:pt x="4543948" y="3687894"/>
                  <a:pt x="4532363" y="3683853"/>
                </a:cubicBezTo>
                <a:cubicBezTo>
                  <a:pt x="4543948" y="3669080"/>
                  <a:pt x="4553215" y="3689010"/>
                  <a:pt x="4564336" y="3678278"/>
                </a:cubicBezTo>
                <a:cubicBezTo>
                  <a:pt x="4570824" y="3674238"/>
                  <a:pt x="4570824" y="3660998"/>
                  <a:pt x="4578702" y="3658349"/>
                </a:cubicBezTo>
                <a:cubicBezTo>
                  <a:pt x="4570824" y="3663645"/>
                  <a:pt x="4530973" y="3642044"/>
                  <a:pt x="4524484" y="3678278"/>
                </a:cubicBezTo>
                <a:cubicBezTo>
                  <a:pt x="4508730" y="3672982"/>
                  <a:pt x="4513827" y="3678278"/>
                  <a:pt x="4496218" y="3678278"/>
                </a:cubicBezTo>
                <a:cubicBezTo>
                  <a:pt x="4494365" y="3658210"/>
                  <a:pt x="4505022" y="3651800"/>
                  <a:pt x="4490657" y="3642323"/>
                </a:cubicBezTo>
                <a:cubicBezTo>
                  <a:pt x="4478145" y="3644971"/>
                  <a:pt x="4495754" y="3653054"/>
                  <a:pt x="4490657" y="3663784"/>
                </a:cubicBezTo>
                <a:cubicBezTo>
                  <a:pt x="4481389" y="3665039"/>
                  <a:pt x="4473513" y="3662392"/>
                  <a:pt x="4468877" y="3658349"/>
                </a:cubicBezTo>
                <a:cubicBezTo>
                  <a:pt x="4468877" y="3663645"/>
                  <a:pt x="4470268" y="3668105"/>
                  <a:pt x="4473513" y="3668105"/>
                </a:cubicBezTo>
                <a:cubicBezTo>
                  <a:pt x="4457755" y="3686919"/>
                  <a:pt x="4455902" y="3640791"/>
                  <a:pt x="4478145" y="3647480"/>
                </a:cubicBezTo>
                <a:cubicBezTo>
                  <a:pt x="4476755" y="3633961"/>
                  <a:pt x="4459147" y="3627412"/>
                  <a:pt x="4478145" y="3620722"/>
                </a:cubicBezTo>
                <a:cubicBezTo>
                  <a:pt x="4476755" y="3615426"/>
                  <a:pt x="4470268" y="3616960"/>
                  <a:pt x="4463779" y="3615705"/>
                </a:cubicBezTo>
                <a:lnTo>
                  <a:pt x="4466193" y="3608856"/>
                </a:lnTo>
                <a:lnTo>
                  <a:pt x="4456463" y="3608915"/>
                </a:lnTo>
                <a:cubicBezTo>
                  <a:pt x="4447811" y="3610021"/>
                  <a:pt x="4439442" y="3612103"/>
                  <a:pt x="4432144" y="3614925"/>
                </a:cubicBezTo>
                <a:cubicBezTo>
                  <a:pt x="4442802" y="3594718"/>
                  <a:pt x="4404803" y="3606284"/>
                  <a:pt x="4398315" y="3593324"/>
                </a:cubicBezTo>
                <a:cubicBezTo>
                  <a:pt x="4395072" y="3595136"/>
                  <a:pt x="4393680" y="3598620"/>
                  <a:pt x="4389972" y="3598898"/>
                </a:cubicBezTo>
                <a:cubicBezTo>
                  <a:pt x="4386266" y="3618688"/>
                  <a:pt x="4401096" y="3608236"/>
                  <a:pt x="4400632" y="3623287"/>
                </a:cubicBezTo>
                <a:cubicBezTo>
                  <a:pt x="4384413" y="3618549"/>
                  <a:pt x="4372827" y="3606145"/>
                  <a:pt x="4364951" y="3591931"/>
                </a:cubicBezTo>
                <a:cubicBezTo>
                  <a:pt x="4378388" y="3608653"/>
                  <a:pt x="4371438" y="3588168"/>
                  <a:pt x="4392754" y="3589561"/>
                </a:cubicBezTo>
                <a:cubicBezTo>
                  <a:pt x="4389858" y="3586425"/>
                  <a:pt x="4386440" y="3585023"/>
                  <a:pt x="4382719" y="3584701"/>
                </a:cubicBezTo>
                <a:close/>
                <a:moveTo>
                  <a:pt x="3769334" y="3584137"/>
                </a:moveTo>
                <a:lnTo>
                  <a:pt x="3762538" y="3585380"/>
                </a:lnTo>
                <a:lnTo>
                  <a:pt x="3765359" y="3588186"/>
                </a:lnTo>
                <a:close/>
                <a:moveTo>
                  <a:pt x="4845096" y="3582120"/>
                </a:moveTo>
                <a:cubicBezTo>
                  <a:pt x="4838758" y="3581081"/>
                  <a:pt x="4832542" y="3580933"/>
                  <a:pt x="4826932" y="3582380"/>
                </a:cubicBezTo>
                <a:cubicBezTo>
                  <a:pt x="4819453" y="3584309"/>
                  <a:pt x="4813052" y="3589073"/>
                  <a:pt x="4808882" y="3598340"/>
                </a:cubicBezTo>
                <a:cubicBezTo>
                  <a:pt x="4810272" y="3592349"/>
                  <a:pt x="4815369" y="3590397"/>
                  <a:pt x="4814906" y="3583011"/>
                </a:cubicBezTo>
                <a:cubicBezTo>
                  <a:pt x="4801003" y="3587052"/>
                  <a:pt x="4804249" y="3607818"/>
                  <a:pt x="4788492" y="3610605"/>
                </a:cubicBezTo>
                <a:cubicBezTo>
                  <a:pt x="4786175" y="3600292"/>
                  <a:pt x="4790809" y="3596947"/>
                  <a:pt x="4790347" y="3590955"/>
                </a:cubicBezTo>
                <a:cubicBezTo>
                  <a:pt x="4760689" y="3575347"/>
                  <a:pt x="4738445" y="3608375"/>
                  <a:pt x="4721300" y="3591931"/>
                </a:cubicBezTo>
                <a:cubicBezTo>
                  <a:pt x="4712960" y="3595554"/>
                  <a:pt x="4712032" y="3604752"/>
                  <a:pt x="4701375" y="3604055"/>
                </a:cubicBezTo>
                <a:cubicBezTo>
                  <a:pt x="4697669" y="3623705"/>
                  <a:pt x="4714349" y="3611719"/>
                  <a:pt x="4712032" y="3628304"/>
                </a:cubicBezTo>
                <a:cubicBezTo>
                  <a:pt x="4706472" y="3624262"/>
                  <a:pt x="4700448" y="3621893"/>
                  <a:pt x="4690252" y="3625655"/>
                </a:cubicBezTo>
                <a:cubicBezTo>
                  <a:pt x="4693496" y="3620918"/>
                  <a:pt x="4692569" y="3610605"/>
                  <a:pt x="4698131" y="3610187"/>
                </a:cubicBezTo>
                <a:cubicBezTo>
                  <a:pt x="4695350" y="3600013"/>
                  <a:pt x="4687936" y="3618408"/>
                  <a:pt x="4684693" y="3600710"/>
                </a:cubicBezTo>
                <a:cubicBezTo>
                  <a:pt x="4678204" y="3608794"/>
                  <a:pt x="4668009" y="3611162"/>
                  <a:pt x="4665229" y="3621754"/>
                </a:cubicBezTo>
                <a:cubicBezTo>
                  <a:pt x="4659670" y="3620778"/>
                  <a:pt x="4660596" y="3610187"/>
                  <a:pt x="4660132" y="3602801"/>
                </a:cubicBezTo>
                <a:cubicBezTo>
                  <a:pt x="4647157" y="3601581"/>
                  <a:pt x="4635081" y="3601781"/>
                  <a:pt x="4623482" y="3603016"/>
                </a:cubicBezTo>
                <a:lnTo>
                  <a:pt x="4621428" y="3603406"/>
                </a:lnTo>
                <a:lnTo>
                  <a:pt x="4622152" y="3607272"/>
                </a:lnTo>
                <a:cubicBezTo>
                  <a:pt x="4628429" y="3614372"/>
                  <a:pt x="4645199" y="3609538"/>
                  <a:pt x="4657015" y="3611525"/>
                </a:cubicBezTo>
                <a:cubicBezTo>
                  <a:pt x="4655625" y="3618214"/>
                  <a:pt x="4648675" y="3619607"/>
                  <a:pt x="4647284" y="3626436"/>
                </a:cubicBezTo>
                <a:cubicBezTo>
                  <a:pt x="4670917" y="3623649"/>
                  <a:pt x="4669528" y="3620862"/>
                  <a:pt x="4676015" y="3642323"/>
                </a:cubicBezTo>
                <a:cubicBezTo>
                  <a:pt x="4715867" y="3647758"/>
                  <a:pt x="4704745" y="3621976"/>
                  <a:pt x="4739964" y="3627273"/>
                </a:cubicBezTo>
                <a:cubicBezTo>
                  <a:pt x="4745987" y="3640652"/>
                  <a:pt x="4749230" y="3657095"/>
                  <a:pt x="4771474" y="3653054"/>
                </a:cubicBezTo>
                <a:cubicBezTo>
                  <a:pt x="4776108" y="3651660"/>
                  <a:pt x="4775182" y="3642323"/>
                  <a:pt x="4781669" y="3642323"/>
                </a:cubicBezTo>
                <a:cubicBezTo>
                  <a:pt x="4781669" y="3628945"/>
                  <a:pt x="4764060" y="3633961"/>
                  <a:pt x="4757571" y="3627273"/>
                </a:cubicBezTo>
                <a:cubicBezTo>
                  <a:pt x="4773328" y="3616542"/>
                  <a:pt x="4790935" y="3612778"/>
                  <a:pt x="4808544" y="3622255"/>
                </a:cubicBezTo>
                <a:cubicBezTo>
                  <a:pt x="4808544" y="3637028"/>
                  <a:pt x="4795570" y="3629920"/>
                  <a:pt x="4785839" y="3627273"/>
                </a:cubicBezTo>
                <a:cubicBezTo>
                  <a:pt x="4787693" y="3631313"/>
                  <a:pt x="4790935" y="3635633"/>
                  <a:pt x="4790935" y="3642323"/>
                </a:cubicBezTo>
                <a:cubicBezTo>
                  <a:pt x="4806691" y="3641068"/>
                  <a:pt x="4817812" y="3641068"/>
                  <a:pt x="4822447" y="3637028"/>
                </a:cubicBezTo>
                <a:cubicBezTo>
                  <a:pt x="4830324" y="3655841"/>
                  <a:pt x="4802058" y="3644831"/>
                  <a:pt x="4808544" y="3669080"/>
                </a:cubicBezTo>
                <a:cubicBezTo>
                  <a:pt x="4792789" y="3650266"/>
                  <a:pt x="4726989" y="3700158"/>
                  <a:pt x="4734865" y="3674655"/>
                </a:cubicBezTo>
                <a:cubicBezTo>
                  <a:pt x="4725599" y="3659883"/>
                  <a:pt x="4713086" y="3686501"/>
                  <a:pt x="4703354" y="3689149"/>
                </a:cubicBezTo>
                <a:cubicBezTo>
                  <a:pt x="4703354" y="3701273"/>
                  <a:pt x="4722353" y="3692075"/>
                  <a:pt x="4730231" y="3694863"/>
                </a:cubicBezTo>
                <a:cubicBezTo>
                  <a:pt x="4717721" y="3710889"/>
                  <a:pt x="4701501" y="3703921"/>
                  <a:pt x="4693624" y="3689149"/>
                </a:cubicBezTo>
                <a:cubicBezTo>
                  <a:pt x="4685746" y="3690542"/>
                  <a:pt x="4690380" y="3706847"/>
                  <a:pt x="4679259" y="3705454"/>
                </a:cubicBezTo>
                <a:cubicBezTo>
                  <a:pt x="4692233" y="3710889"/>
                  <a:pt x="4701501" y="3719111"/>
                  <a:pt x="4712623" y="3727055"/>
                </a:cubicBezTo>
                <a:cubicBezTo>
                  <a:pt x="4707989" y="3731097"/>
                  <a:pt x="4703354" y="3735137"/>
                  <a:pt x="4698721" y="3737786"/>
                </a:cubicBezTo>
                <a:cubicBezTo>
                  <a:pt x="4701966" y="3743221"/>
                  <a:pt x="4707989" y="3742942"/>
                  <a:pt x="4707989" y="3752279"/>
                </a:cubicBezTo>
                <a:cubicBezTo>
                  <a:pt x="4720964" y="3753673"/>
                  <a:pt x="4722353" y="3733605"/>
                  <a:pt x="4734865" y="3747123"/>
                </a:cubicBezTo>
                <a:cubicBezTo>
                  <a:pt x="4732086" y="3734999"/>
                  <a:pt x="4738111" y="3717300"/>
                  <a:pt x="4734865" y="3710610"/>
                </a:cubicBezTo>
                <a:cubicBezTo>
                  <a:pt x="4752474" y="3702527"/>
                  <a:pt x="4734865" y="3735137"/>
                  <a:pt x="4752474" y="3727055"/>
                </a:cubicBezTo>
                <a:cubicBezTo>
                  <a:pt x="4751085" y="3735137"/>
                  <a:pt x="4745987" y="3740294"/>
                  <a:pt x="4744597" y="3747123"/>
                </a:cubicBezTo>
                <a:cubicBezTo>
                  <a:pt x="4758962" y="3761756"/>
                  <a:pt x="4768694" y="3753813"/>
                  <a:pt x="4785839" y="3748516"/>
                </a:cubicBezTo>
                <a:cubicBezTo>
                  <a:pt x="4784449" y="3724407"/>
                  <a:pt x="4770547" y="3716184"/>
                  <a:pt x="4757571" y="3705454"/>
                </a:cubicBezTo>
                <a:cubicBezTo>
                  <a:pt x="4764524" y="3701273"/>
                  <a:pt x="4768230" y="3696953"/>
                  <a:pt x="4768694" y="3692773"/>
                </a:cubicBezTo>
                <a:cubicBezTo>
                  <a:pt x="4765450" y="3691657"/>
                  <a:pt x="4760815" y="3690821"/>
                  <a:pt x="4759889" y="3688313"/>
                </a:cubicBezTo>
                <a:cubicBezTo>
                  <a:pt x="4763133" y="3672704"/>
                  <a:pt x="4769156" y="3683156"/>
                  <a:pt x="4776108" y="3685944"/>
                </a:cubicBezTo>
                <a:cubicBezTo>
                  <a:pt x="4777035" y="3685944"/>
                  <a:pt x="4777498" y="3685526"/>
                  <a:pt x="4778424" y="3685944"/>
                </a:cubicBezTo>
                <a:cubicBezTo>
                  <a:pt x="4780742" y="3685944"/>
                  <a:pt x="4782595" y="3685803"/>
                  <a:pt x="4784913" y="3683574"/>
                </a:cubicBezTo>
                <a:cubicBezTo>
                  <a:pt x="4784449" y="3684689"/>
                  <a:pt x="4783522" y="3684968"/>
                  <a:pt x="4783522" y="3685944"/>
                </a:cubicBezTo>
                <a:cubicBezTo>
                  <a:pt x="4790010" y="3689706"/>
                  <a:pt x="4795570" y="3696814"/>
                  <a:pt x="4794181" y="3705454"/>
                </a:cubicBezTo>
                <a:cubicBezTo>
                  <a:pt x="4805302" y="3705454"/>
                  <a:pt x="4808082" y="3697232"/>
                  <a:pt x="4822447" y="3699880"/>
                </a:cubicBezTo>
                <a:cubicBezTo>
                  <a:pt x="4822447" y="3705175"/>
                  <a:pt x="4816423" y="3704200"/>
                  <a:pt x="4813179" y="3705454"/>
                </a:cubicBezTo>
                <a:cubicBezTo>
                  <a:pt x="4818276" y="3721620"/>
                  <a:pt x="4828935" y="3700158"/>
                  <a:pt x="4840520" y="3705454"/>
                </a:cubicBezTo>
                <a:cubicBezTo>
                  <a:pt x="4837277" y="3698765"/>
                  <a:pt x="4836813" y="3685107"/>
                  <a:pt x="4822447" y="3690402"/>
                </a:cubicBezTo>
                <a:cubicBezTo>
                  <a:pt x="4835190" y="3675003"/>
                  <a:pt x="4854074" y="3674725"/>
                  <a:pt x="4872320" y="3679150"/>
                </a:cubicBezTo>
                <a:lnTo>
                  <a:pt x="4892643" y="3686065"/>
                </a:lnTo>
                <a:lnTo>
                  <a:pt x="4881142" y="3680350"/>
                </a:lnTo>
                <a:cubicBezTo>
                  <a:pt x="4907092" y="3670734"/>
                  <a:pt x="4902458" y="3701255"/>
                  <a:pt x="4930262" y="3675194"/>
                </a:cubicBezTo>
                <a:cubicBezTo>
                  <a:pt x="4922383" y="3666832"/>
                  <a:pt x="4917750" y="3653871"/>
                  <a:pt x="4903849" y="3657912"/>
                </a:cubicBezTo>
                <a:cubicBezTo>
                  <a:pt x="4926091" y="3666692"/>
                  <a:pt x="4906629" y="3667808"/>
                  <a:pt x="4889019" y="3669201"/>
                </a:cubicBezTo>
                <a:cubicBezTo>
                  <a:pt x="4894116" y="3664323"/>
                  <a:pt x="4895044" y="3654150"/>
                  <a:pt x="4897361" y="3643419"/>
                </a:cubicBezTo>
                <a:cubicBezTo>
                  <a:pt x="4914275" y="3643628"/>
                  <a:pt x="4939993" y="3642374"/>
                  <a:pt x="4964669" y="3636886"/>
                </a:cubicBezTo>
                <a:lnTo>
                  <a:pt x="4990248" y="3628297"/>
                </a:lnTo>
                <a:lnTo>
                  <a:pt x="4991806" y="3623374"/>
                </a:lnTo>
                <a:cubicBezTo>
                  <a:pt x="4992038" y="3621893"/>
                  <a:pt x="4991691" y="3620918"/>
                  <a:pt x="4990069" y="3620918"/>
                </a:cubicBezTo>
                <a:cubicBezTo>
                  <a:pt x="4991691" y="3617573"/>
                  <a:pt x="4996788" y="3613566"/>
                  <a:pt x="5000669" y="3609716"/>
                </a:cubicBezTo>
                <a:lnTo>
                  <a:pt x="5002385" y="3604381"/>
                </a:lnTo>
                <a:lnTo>
                  <a:pt x="4998844" y="3604293"/>
                </a:lnTo>
                <a:lnTo>
                  <a:pt x="4991923" y="3604665"/>
                </a:lnTo>
                <a:lnTo>
                  <a:pt x="4991632" y="3604908"/>
                </a:lnTo>
                <a:lnTo>
                  <a:pt x="4991165" y="3604705"/>
                </a:lnTo>
                <a:lnTo>
                  <a:pt x="4976137" y="3605512"/>
                </a:lnTo>
                <a:cubicBezTo>
                  <a:pt x="4977064" y="3615965"/>
                  <a:pt x="4980772" y="3620145"/>
                  <a:pt x="4989576" y="3619448"/>
                </a:cubicBezTo>
                <a:cubicBezTo>
                  <a:pt x="4992357" y="3629761"/>
                  <a:pt x="4975674" y="3622236"/>
                  <a:pt x="4970577" y="3625721"/>
                </a:cubicBezTo>
                <a:cubicBezTo>
                  <a:pt x="4981699" y="3609834"/>
                  <a:pt x="4960845" y="3612898"/>
                  <a:pt x="4959920" y="3598127"/>
                </a:cubicBezTo>
                <a:lnTo>
                  <a:pt x="4984015" y="3594782"/>
                </a:lnTo>
                <a:lnTo>
                  <a:pt x="4976445" y="3584426"/>
                </a:lnTo>
                <a:lnTo>
                  <a:pt x="4964709" y="3585186"/>
                </a:lnTo>
                <a:cubicBezTo>
                  <a:pt x="4958685" y="3596612"/>
                  <a:pt x="4945246" y="3587833"/>
                  <a:pt x="4937833" y="3584767"/>
                </a:cubicBezTo>
                <a:lnTo>
                  <a:pt x="4938126" y="3584290"/>
                </a:lnTo>
                <a:lnTo>
                  <a:pt x="4925078" y="3585659"/>
                </a:lnTo>
                <a:cubicBezTo>
                  <a:pt x="4912450" y="3586600"/>
                  <a:pt x="4899475" y="3586983"/>
                  <a:pt x="4885805" y="3586217"/>
                </a:cubicBezTo>
                <a:cubicBezTo>
                  <a:pt x="4880707" y="3589700"/>
                  <a:pt x="4886731" y="3595554"/>
                  <a:pt x="4892292" y="3596529"/>
                </a:cubicBezTo>
                <a:cubicBezTo>
                  <a:pt x="4884212" y="3596372"/>
                  <a:pt x="4864109" y="3585236"/>
                  <a:pt x="4845096" y="3582120"/>
                </a:cubicBezTo>
                <a:close/>
                <a:moveTo>
                  <a:pt x="3783982" y="3581979"/>
                </a:moveTo>
                <a:cubicBezTo>
                  <a:pt x="3781316" y="3582328"/>
                  <a:pt x="3779782" y="3584192"/>
                  <a:pt x="3778956" y="3586971"/>
                </a:cubicBezTo>
                <a:lnTo>
                  <a:pt x="3778805" y="3589025"/>
                </a:lnTo>
                <a:lnTo>
                  <a:pt x="3789552" y="3587883"/>
                </a:lnTo>
                <a:lnTo>
                  <a:pt x="3787826" y="3587315"/>
                </a:lnTo>
                <a:cubicBezTo>
                  <a:pt x="3785834" y="3586317"/>
                  <a:pt x="3784329" y="3584801"/>
                  <a:pt x="3783982" y="3581979"/>
                </a:cubicBezTo>
                <a:close/>
                <a:moveTo>
                  <a:pt x="3653049" y="3579825"/>
                </a:moveTo>
                <a:lnTo>
                  <a:pt x="3649959" y="3582089"/>
                </a:lnTo>
                <a:lnTo>
                  <a:pt x="3653608" y="3580815"/>
                </a:lnTo>
                <a:lnTo>
                  <a:pt x="3653292" y="3580015"/>
                </a:lnTo>
                <a:close/>
                <a:moveTo>
                  <a:pt x="3709711" y="3578308"/>
                </a:moveTo>
                <a:lnTo>
                  <a:pt x="3695327" y="3578408"/>
                </a:lnTo>
                <a:lnTo>
                  <a:pt x="3706305" y="3579819"/>
                </a:lnTo>
                <a:lnTo>
                  <a:pt x="3717523" y="3580456"/>
                </a:lnTo>
                <a:close/>
                <a:moveTo>
                  <a:pt x="2047517" y="3575486"/>
                </a:moveTo>
                <a:cubicBezTo>
                  <a:pt x="2045663" y="3577437"/>
                  <a:pt x="2043346" y="3577018"/>
                  <a:pt x="2041029" y="3577855"/>
                </a:cubicBezTo>
                <a:cubicBezTo>
                  <a:pt x="2041492" y="3578831"/>
                  <a:pt x="2040103" y="3579945"/>
                  <a:pt x="2041956" y="3580642"/>
                </a:cubicBezTo>
                <a:cubicBezTo>
                  <a:pt x="2043346" y="3578831"/>
                  <a:pt x="2047055" y="3579387"/>
                  <a:pt x="2049370" y="3578831"/>
                </a:cubicBezTo>
                <a:cubicBezTo>
                  <a:pt x="2048908" y="3577576"/>
                  <a:pt x="2048444" y="3576879"/>
                  <a:pt x="2047517" y="3575486"/>
                </a:cubicBezTo>
                <a:close/>
                <a:moveTo>
                  <a:pt x="2068833" y="3574650"/>
                </a:moveTo>
                <a:cubicBezTo>
                  <a:pt x="2068833" y="3575347"/>
                  <a:pt x="2069297" y="3576321"/>
                  <a:pt x="2069297" y="3577018"/>
                </a:cubicBezTo>
                <a:cubicBezTo>
                  <a:pt x="2069760" y="3577018"/>
                  <a:pt x="2070223" y="3577018"/>
                  <a:pt x="2070223" y="3577018"/>
                </a:cubicBezTo>
                <a:cubicBezTo>
                  <a:pt x="2070687" y="3575625"/>
                  <a:pt x="2068833" y="3575764"/>
                  <a:pt x="2068833" y="3574650"/>
                </a:cubicBezTo>
                <a:close/>
                <a:moveTo>
                  <a:pt x="4725461" y="3571933"/>
                </a:moveTo>
                <a:lnTo>
                  <a:pt x="4720953" y="3572211"/>
                </a:lnTo>
                <a:cubicBezTo>
                  <a:pt x="4716087" y="3573012"/>
                  <a:pt x="4712728" y="3575555"/>
                  <a:pt x="4715276" y="3583568"/>
                </a:cubicBezTo>
                <a:cubicBezTo>
                  <a:pt x="4718984" y="3586982"/>
                  <a:pt x="4725239" y="3587958"/>
                  <a:pt x="4729988" y="3586059"/>
                </a:cubicBezTo>
                <a:lnTo>
                  <a:pt x="4734752" y="3573679"/>
                </a:lnTo>
                <a:lnTo>
                  <a:pt x="4734179" y="3573592"/>
                </a:lnTo>
                <a:cubicBezTo>
                  <a:pt x="4729334" y="3573139"/>
                  <a:pt x="4724555" y="3573444"/>
                  <a:pt x="4720501" y="3575988"/>
                </a:cubicBezTo>
                <a:close/>
                <a:moveTo>
                  <a:pt x="4070232" y="3570468"/>
                </a:moveTo>
                <a:cubicBezTo>
                  <a:pt x="4064670" y="3570887"/>
                  <a:pt x="4058183" y="3575625"/>
                  <a:pt x="4056793" y="3581757"/>
                </a:cubicBezTo>
                <a:cubicBezTo>
                  <a:pt x="4065597" y="3581060"/>
                  <a:pt x="4069768" y="3587889"/>
                  <a:pt x="4081817" y="3583847"/>
                </a:cubicBezTo>
                <a:cubicBezTo>
                  <a:pt x="4081817" y="3573396"/>
                  <a:pt x="4076256" y="3570050"/>
                  <a:pt x="4070232" y="3570468"/>
                </a:cubicBezTo>
                <a:close/>
                <a:moveTo>
                  <a:pt x="2178195" y="3570468"/>
                </a:moveTo>
                <a:cubicBezTo>
                  <a:pt x="2168927" y="3571444"/>
                  <a:pt x="2159195" y="3575486"/>
                  <a:pt x="2157804" y="3579387"/>
                </a:cubicBezTo>
                <a:cubicBezTo>
                  <a:pt x="2170316" y="3582871"/>
                  <a:pt x="2147146" y="3584684"/>
                  <a:pt x="2151317" y="3594718"/>
                </a:cubicBezTo>
                <a:cubicBezTo>
                  <a:pt x="2165219" y="3589283"/>
                  <a:pt x="2173560" y="3577855"/>
                  <a:pt x="2194877" y="3580642"/>
                </a:cubicBezTo>
                <a:cubicBezTo>
                  <a:pt x="2196267" y="3571584"/>
                  <a:pt x="2187462" y="3569493"/>
                  <a:pt x="2178195" y="3570468"/>
                </a:cubicBezTo>
                <a:close/>
                <a:moveTo>
                  <a:pt x="3591546" y="3537579"/>
                </a:moveTo>
                <a:cubicBezTo>
                  <a:pt x="3569303" y="3545384"/>
                  <a:pt x="3550767" y="3535071"/>
                  <a:pt x="3540109" y="3556811"/>
                </a:cubicBezTo>
                <a:cubicBezTo>
                  <a:pt x="3544744" y="3559459"/>
                  <a:pt x="3549695" y="3560374"/>
                  <a:pt x="3554663" y="3560058"/>
                </a:cubicBezTo>
                <a:lnTo>
                  <a:pt x="3568460" y="3556161"/>
                </a:lnTo>
                <a:lnTo>
                  <a:pt x="3573600" y="3544491"/>
                </a:lnTo>
                <a:lnTo>
                  <a:pt x="3578204" y="3548582"/>
                </a:lnTo>
                <a:close/>
                <a:moveTo>
                  <a:pt x="1182359" y="3470965"/>
                </a:moveTo>
                <a:cubicBezTo>
                  <a:pt x="1180043" y="3470547"/>
                  <a:pt x="1177726" y="3470825"/>
                  <a:pt x="1174482" y="3471800"/>
                </a:cubicBezTo>
                <a:cubicBezTo>
                  <a:pt x="1177263" y="3484900"/>
                  <a:pt x="1167067" y="3482810"/>
                  <a:pt x="1167531" y="3493123"/>
                </a:cubicBezTo>
                <a:cubicBezTo>
                  <a:pt x="1171702" y="3497304"/>
                  <a:pt x="1194872" y="3500090"/>
                  <a:pt x="1195799" y="3489500"/>
                </a:cubicBezTo>
                <a:cubicBezTo>
                  <a:pt x="1193945" y="3488245"/>
                  <a:pt x="1191628" y="3485179"/>
                  <a:pt x="1191165" y="3479187"/>
                </a:cubicBezTo>
                <a:cubicBezTo>
                  <a:pt x="1196261" y="3478769"/>
                  <a:pt x="1203677" y="3479466"/>
                  <a:pt x="1203213" y="3473613"/>
                </a:cubicBezTo>
                <a:cubicBezTo>
                  <a:pt x="1193018" y="3477794"/>
                  <a:pt x="1188848" y="3472358"/>
                  <a:pt x="1182359" y="3470965"/>
                </a:cubicBezTo>
                <a:close/>
                <a:moveTo>
                  <a:pt x="887178" y="3342055"/>
                </a:moveTo>
                <a:cubicBezTo>
                  <a:pt x="892276" y="3342334"/>
                  <a:pt x="897836" y="3343309"/>
                  <a:pt x="901080" y="3342055"/>
                </a:cubicBezTo>
                <a:cubicBezTo>
                  <a:pt x="902470" y="3351114"/>
                  <a:pt x="895983" y="3351532"/>
                  <a:pt x="895983" y="3357942"/>
                </a:cubicBezTo>
                <a:cubicBezTo>
                  <a:pt x="889959" y="3355434"/>
                  <a:pt x="885787" y="3349859"/>
                  <a:pt x="877910" y="3347212"/>
                </a:cubicBezTo>
                <a:cubicBezTo>
                  <a:pt x="877910" y="3342055"/>
                  <a:pt x="882081" y="3341637"/>
                  <a:pt x="887178" y="3342055"/>
                </a:cubicBezTo>
                <a:close/>
                <a:moveTo>
                  <a:pt x="792182" y="3334530"/>
                </a:moveTo>
                <a:cubicBezTo>
                  <a:pt x="806084" y="3333554"/>
                  <a:pt x="821839" y="3349163"/>
                  <a:pt x="843620" y="3337874"/>
                </a:cubicBezTo>
                <a:lnTo>
                  <a:pt x="843620" y="3357942"/>
                </a:lnTo>
                <a:cubicBezTo>
                  <a:pt x="817669" y="3341637"/>
                  <a:pt x="808402" y="3361984"/>
                  <a:pt x="779208" y="3343031"/>
                </a:cubicBezTo>
                <a:cubicBezTo>
                  <a:pt x="783841" y="3337456"/>
                  <a:pt x="788012" y="3334948"/>
                  <a:pt x="792182" y="3334530"/>
                </a:cubicBezTo>
                <a:close/>
                <a:moveTo>
                  <a:pt x="914056" y="3316413"/>
                </a:moveTo>
                <a:lnTo>
                  <a:pt x="933980" y="3316413"/>
                </a:lnTo>
                <a:cubicBezTo>
                  <a:pt x="937225" y="3332996"/>
                  <a:pt x="917762" y="3323102"/>
                  <a:pt x="919152" y="3336899"/>
                </a:cubicBezTo>
                <a:cubicBezTo>
                  <a:pt x="912664" y="3335505"/>
                  <a:pt x="915445" y="3324774"/>
                  <a:pt x="914056" y="3316413"/>
                </a:cubicBezTo>
                <a:close/>
                <a:moveTo>
                  <a:pt x="13303789" y="3312156"/>
                </a:moveTo>
                <a:cubicBezTo>
                  <a:pt x="13307959" y="3312714"/>
                  <a:pt x="13311667" y="3313967"/>
                  <a:pt x="13316300" y="3316337"/>
                </a:cubicBezTo>
                <a:cubicBezTo>
                  <a:pt x="13319545" y="3332921"/>
                  <a:pt x="13303789" y="3325953"/>
                  <a:pt x="13307034" y="3342537"/>
                </a:cubicBezTo>
                <a:cubicBezTo>
                  <a:pt x="13278303" y="3334454"/>
                  <a:pt x="13284790" y="3351317"/>
                  <a:pt x="13279693" y="3361630"/>
                </a:cubicBezTo>
                <a:cubicBezTo>
                  <a:pt x="13282937" y="3361490"/>
                  <a:pt x="13284790" y="3362744"/>
                  <a:pt x="13291278" y="3362744"/>
                </a:cubicBezTo>
                <a:cubicBezTo>
                  <a:pt x="13301010" y="3367622"/>
                  <a:pt x="13256060" y="3389782"/>
                  <a:pt x="13257913" y="3360375"/>
                </a:cubicBezTo>
                <a:cubicBezTo>
                  <a:pt x="13261620" y="3361630"/>
                  <a:pt x="13264401" y="3360236"/>
                  <a:pt x="13266718" y="3360793"/>
                </a:cubicBezTo>
                <a:cubicBezTo>
                  <a:pt x="13265792" y="3339750"/>
                  <a:pt x="13274596" y="3317174"/>
                  <a:pt x="13292668" y="3312714"/>
                </a:cubicBezTo>
                <a:cubicBezTo>
                  <a:pt x="13296375" y="3311739"/>
                  <a:pt x="13300082" y="3311459"/>
                  <a:pt x="13303789" y="3312156"/>
                </a:cubicBezTo>
                <a:close/>
                <a:moveTo>
                  <a:pt x="808402" y="3308748"/>
                </a:moveTo>
                <a:cubicBezTo>
                  <a:pt x="814426" y="3308330"/>
                  <a:pt x="820913" y="3310142"/>
                  <a:pt x="828328" y="3312093"/>
                </a:cubicBezTo>
                <a:cubicBezTo>
                  <a:pt x="816279" y="3327840"/>
                  <a:pt x="804230" y="3323939"/>
                  <a:pt x="788938" y="3320036"/>
                </a:cubicBezTo>
                <a:cubicBezTo>
                  <a:pt x="795889" y="3312093"/>
                  <a:pt x="801913" y="3309305"/>
                  <a:pt x="808402" y="3308748"/>
                </a:cubicBezTo>
                <a:close/>
                <a:moveTo>
                  <a:pt x="350568" y="3306937"/>
                </a:moveTo>
                <a:cubicBezTo>
                  <a:pt x="358445" y="3308190"/>
                  <a:pt x="367713" y="3311814"/>
                  <a:pt x="374201" y="3311118"/>
                </a:cubicBezTo>
                <a:cubicBezTo>
                  <a:pt x="363079" y="3332718"/>
                  <a:pt x="351495" y="3327283"/>
                  <a:pt x="334349" y="3318643"/>
                </a:cubicBezTo>
                <a:cubicBezTo>
                  <a:pt x="335738" y="3307076"/>
                  <a:pt x="342690" y="3305682"/>
                  <a:pt x="350568" y="3306937"/>
                </a:cubicBezTo>
                <a:close/>
                <a:moveTo>
                  <a:pt x="1354280" y="3294812"/>
                </a:moveTo>
                <a:cubicBezTo>
                  <a:pt x="1342231" y="3295787"/>
                  <a:pt x="1329256" y="3296345"/>
                  <a:pt x="1326476" y="3306937"/>
                </a:cubicBezTo>
                <a:cubicBezTo>
                  <a:pt x="1330183" y="3308190"/>
                  <a:pt x="1332500" y="3311396"/>
                  <a:pt x="1332963" y="3317388"/>
                </a:cubicBezTo>
                <a:cubicBezTo>
                  <a:pt x="1341304" y="3310699"/>
                  <a:pt x="1353817" y="3308330"/>
                  <a:pt x="1354280" y="3294812"/>
                </a:cubicBezTo>
                <a:close/>
                <a:moveTo>
                  <a:pt x="13177283" y="3291113"/>
                </a:moveTo>
                <a:cubicBezTo>
                  <a:pt x="13191184" y="3291113"/>
                  <a:pt x="13201379" y="3298080"/>
                  <a:pt x="13215280" y="3298080"/>
                </a:cubicBezTo>
                <a:cubicBezTo>
                  <a:pt x="13217135" y="3312435"/>
                  <a:pt x="13179138" y="3305327"/>
                  <a:pt x="13177283" y="3291113"/>
                </a:cubicBezTo>
                <a:close/>
                <a:moveTo>
                  <a:pt x="804694" y="3232099"/>
                </a:moveTo>
                <a:cubicBezTo>
                  <a:pt x="809328" y="3232099"/>
                  <a:pt x="813962" y="3232796"/>
                  <a:pt x="819986" y="3234050"/>
                </a:cubicBezTo>
                <a:cubicBezTo>
                  <a:pt x="812108" y="3243109"/>
                  <a:pt x="815352" y="3257323"/>
                  <a:pt x="812108" y="3266382"/>
                </a:cubicBezTo>
                <a:cubicBezTo>
                  <a:pt x="888569" y="3268890"/>
                  <a:pt x="965491" y="3291885"/>
                  <a:pt x="1026197" y="3291885"/>
                </a:cubicBezTo>
                <a:cubicBezTo>
                  <a:pt x="987735" y="3303591"/>
                  <a:pt x="946493" y="3303730"/>
                  <a:pt x="904787" y="3298574"/>
                </a:cubicBezTo>
                <a:cubicBezTo>
                  <a:pt x="901543" y="3301222"/>
                  <a:pt x="896909" y="3299829"/>
                  <a:pt x="891812" y="3297181"/>
                </a:cubicBezTo>
                <a:cubicBezTo>
                  <a:pt x="848716" y="3290770"/>
                  <a:pt x="802377" y="3279343"/>
                  <a:pt x="759281" y="3269030"/>
                </a:cubicBezTo>
                <a:cubicBezTo>
                  <a:pt x="770403" y="3267775"/>
                  <a:pt x="781987" y="3266382"/>
                  <a:pt x="794963" y="3266382"/>
                </a:cubicBezTo>
                <a:cubicBezTo>
                  <a:pt x="796353" y="3259832"/>
                  <a:pt x="800986" y="3255930"/>
                  <a:pt x="802377" y="3249519"/>
                </a:cubicBezTo>
                <a:cubicBezTo>
                  <a:pt x="781987" y="3254676"/>
                  <a:pt x="786623" y="3249380"/>
                  <a:pt x="769012" y="3244224"/>
                </a:cubicBezTo>
                <a:cubicBezTo>
                  <a:pt x="778744" y="3239067"/>
                  <a:pt x="785231" y="3235443"/>
                  <a:pt x="792646" y="3233493"/>
                </a:cubicBezTo>
                <a:cubicBezTo>
                  <a:pt x="796353" y="3232517"/>
                  <a:pt x="800523" y="3231960"/>
                  <a:pt x="804694" y="3232099"/>
                </a:cubicBezTo>
                <a:close/>
                <a:moveTo>
                  <a:pt x="13332982" y="3223801"/>
                </a:moveTo>
                <a:lnTo>
                  <a:pt x="13352908" y="3223801"/>
                </a:lnTo>
                <a:cubicBezTo>
                  <a:pt x="13354300" y="3253764"/>
                  <a:pt x="13342714" y="3260175"/>
                  <a:pt x="13338080" y="3290137"/>
                </a:cubicBezTo>
                <a:cubicBezTo>
                  <a:pt x="13332982" y="3295433"/>
                  <a:pt x="13301473" y="3297803"/>
                  <a:pt x="13313058" y="3305607"/>
                </a:cubicBezTo>
                <a:cubicBezTo>
                  <a:pt x="13324643" y="3314666"/>
                  <a:pt x="13304716" y="3305607"/>
                  <a:pt x="13300082" y="3305607"/>
                </a:cubicBezTo>
                <a:cubicBezTo>
                  <a:pt x="13306570" y="3278153"/>
                  <a:pt x="13329738" y="3251116"/>
                  <a:pt x="13332982" y="3223801"/>
                </a:cubicBezTo>
                <a:close/>
                <a:moveTo>
                  <a:pt x="1409887" y="3209662"/>
                </a:moveTo>
                <a:cubicBezTo>
                  <a:pt x="1408497" y="3211056"/>
                  <a:pt x="1407106" y="3211056"/>
                  <a:pt x="1405252" y="3211056"/>
                </a:cubicBezTo>
                <a:cubicBezTo>
                  <a:pt x="1406180" y="3211612"/>
                  <a:pt x="1405252" y="3211892"/>
                  <a:pt x="1405716" y="3212449"/>
                </a:cubicBezTo>
                <a:cubicBezTo>
                  <a:pt x="1407569" y="3212170"/>
                  <a:pt x="1409423" y="3211892"/>
                  <a:pt x="1411277" y="3211474"/>
                </a:cubicBezTo>
                <a:cubicBezTo>
                  <a:pt x="1410813" y="3210916"/>
                  <a:pt x="1410350" y="3210219"/>
                  <a:pt x="1409887" y="3209662"/>
                </a:cubicBezTo>
                <a:close/>
                <a:moveTo>
                  <a:pt x="1437227" y="3204087"/>
                </a:moveTo>
                <a:cubicBezTo>
                  <a:pt x="1433982" y="3205481"/>
                  <a:pt x="1427958" y="3206875"/>
                  <a:pt x="1423325" y="3206875"/>
                </a:cubicBezTo>
                <a:cubicBezTo>
                  <a:pt x="1422398" y="3207711"/>
                  <a:pt x="1422398" y="3208269"/>
                  <a:pt x="1421935" y="3209243"/>
                </a:cubicBezTo>
                <a:cubicBezTo>
                  <a:pt x="1427032" y="3208269"/>
                  <a:pt x="1432129" y="3206317"/>
                  <a:pt x="1436764" y="3205063"/>
                </a:cubicBezTo>
                <a:cubicBezTo>
                  <a:pt x="1436764" y="3204923"/>
                  <a:pt x="1436764" y="3204227"/>
                  <a:pt x="1437227" y="3204087"/>
                </a:cubicBezTo>
                <a:close/>
                <a:moveTo>
                  <a:pt x="1360766" y="3204087"/>
                </a:moveTo>
                <a:cubicBezTo>
                  <a:pt x="1349646" y="3204087"/>
                  <a:pt x="1353817" y="3223180"/>
                  <a:pt x="1347792" y="3229869"/>
                </a:cubicBezTo>
                <a:cubicBezTo>
                  <a:pt x="1350108" y="3232099"/>
                  <a:pt x="1358913" y="3237116"/>
                  <a:pt x="1365864" y="3238788"/>
                </a:cubicBezTo>
                <a:cubicBezTo>
                  <a:pt x="1369108" y="3237953"/>
                  <a:pt x="1371426" y="3236419"/>
                  <a:pt x="1374205" y="3234887"/>
                </a:cubicBezTo>
                <a:cubicBezTo>
                  <a:pt x="1374669" y="3233353"/>
                  <a:pt x="1375132" y="3232796"/>
                  <a:pt x="1374669" y="3229869"/>
                </a:cubicBezTo>
                <a:cubicBezTo>
                  <a:pt x="1376058" y="3230706"/>
                  <a:pt x="1377449" y="3230427"/>
                  <a:pt x="1378839" y="3231123"/>
                </a:cubicBezTo>
                <a:cubicBezTo>
                  <a:pt x="1380693" y="3228337"/>
                  <a:pt x="1381156" y="3224574"/>
                  <a:pt x="1379766" y="3219835"/>
                </a:cubicBezTo>
                <a:cubicBezTo>
                  <a:pt x="1378375" y="3219278"/>
                  <a:pt x="1376058" y="3219835"/>
                  <a:pt x="1374669" y="3219000"/>
                </a:cubicBezTo>
                <a:cubicBezTo>
                  <a:pt x="1395521" y="3193495"/>
                  <a:pt x="1364010" y="3222901"/>
                  <a:pt x="1360766" y="3204087"/>
                </a:cubicBezTo>
                <a:close/>
                <a:moveTo>
                  <a:pt x="1448348" y="3197537"/>
                </a:moveTo>
                <a:cubicBezTo>
                  <a:pt x="1446958" y="3198930"/>
                  <a:pt x="1446495" y="3200325"/>
                  <a:pt x="1445105" y="3200325"/>
                </a:cubicBezTo>
                <a:cubicBezTo>
                  <a:pt x="1446495" y="3200325"/>
                  <a:pt x="1446958" y="3198791"/>
                  <a:pt x="1448348" y="3198791"/>
                </a:cubicBezTo>
                <a:cubicBezTo>
                  <a:pt x="1448348" y="3198791"/>
                  <a:pt x="1448348" y="3198930"/>
                  <a:pt x="1448348" y="3197537"/>
                </a:cubicBezTo>
                <a:close/>
                <a:moveTo>
                  <a:pt x="1439544" y="3195029"/>
                </a:moveTo>
                <a:cubicBezTo>
                  <a:pt x="1437227" y="3195586"/>
                  <a:pt x="1434910" y="3196840"/>
                  <a:pt x="1432593" y="3198791"/>
                </a:cubicBezTo>
                <a:cubicBezTo>
                  <a:pt x="1437227" y="3198791"/>
                  <a:pt x="1442324" y="3197398"/>
                  <a:pt x="1446958" y="3196143"/>
                </a:cubicBezTo>
                <a:cubicBezTo>
                  <a:pt x="1444641" y="3194750"/>
                  <a:pt x="1442324" y="3194471"/>
                  <a:pt x="1439544" y="3195029"/>
                </a:cubicBezTo>
                <a:close/>
                <a:moveTo>
                  <a:pt x="1368644" y="3170362"/>
                </a:moveTo>
                <a:cubicBezTo>
                  <a:pt x="1365401" y="3171755"/>
                  <a:pt x="1360766" y="3171755"/>
                  <a:pt x="1357523" y="3171755"/>
                </a:cubicBezTo>
                <a:cubicBezTo>
                  <a:pt x="1357523" y="3171755"/>
                  <a:pt x="1357060" y="3171755"/>
                  <a:pt x="1355670" y="3171755"/>
                </a:cubicBezTo>
                <a:cubicBezTo>
                  <a:pt x="1355670" y="3171755"/>
                  <a:pt x="1354742" y="3171755"/>
                  <a:pt x="1352889" y="3171755"/>
                </a:cubicBezTo>
                <a:cubicBezTo>
                  <a:pt x="1343157" y="3171755"/>
                  <a:pt x="1332037" y="3171755"/>
                  <a:pt x="1322305" y="3171755"/>
                </a:cubicBezTo>
                <a:cubicBezTo>
                  <a:pt x="1313037" y="3174542"/>
                  <a:pt x="1305160" y="3181092"/>
                  <a:pt x="1301915" y="3193216"/>
                </a:cubicBezTo>
                <a:cubicBezTo>
                  <a:pt x="1326012" y="3174403"/>
                  <a:pt x="1357523" y="3185412"/>
                  <a:pt x="1384864" y="3177469"/>
                </a:cubicBezTo>
                <a:cubicBezTo>
                  <a:pt x="1376522" y="3178723"/>
                  <a:pt x="1370498" y="3175657"/>
                  <a:pt x="1368644" y="3170362"/>
                </a:cubicBezTo>
                <a:close/>
                <a:moveTo>
                  <a:pt x="457612" y="3153498"/>
                </a:moveTo>
                <a:cubicBezTo>
                  <a:pt x="466880" y="3153080"/>
                  <a:pt x="476148" y="3167714"/>
                  <a:pt x="482635" y="3170919"/>
                </a:cubicBezTo>
                <a:cubicBezTo>
                  <a:pt x="472440" y="3187503"/>
                  <a:pt x="459929" y="3159631"/>
                  <a:pt x="447880" y="3159631"/>
                </a:cubicBezTo>
                <a:cubicBezTo>
                  <a:pt x="451124" y="3155171"/>
                  <a:pt x="454369" y="3153638"/>
                  <a:pt x="457612" y="3153498"/>
                </a:cubicBezTo>
                <a:close/>
                <a:moveTo>
                  <a:pt x="502561" y="3150155"/>
                </a:moveTo>
                <a:lnTo>
                  <a:pt x="524805" y="3150155"/>
                </a:lnTo>
                <a:cubicBezTo>
                  <a:pt x="524805" y="3155311"/>
                  <a:pt x="520170" y="3153638"/>
                  <a:pt x="515536" y="3154892"/>
                </a:cubicBezTo>
                <a:cubicBezTo>
                  <a:pt x="516927" y="3158655"/>
                  <a:pt x="520170" y="3160049"/>
                  <a:pt x="520170" y="3163811"/>
                </a:cubicBezTo>
                <a:cubicBezTo>
                  <a:pt x="524805" y="3165066"/>
                  <a:pt x="524805" y="3162558"/>
                  <a:pt x="524805" y="3160049"/>
                </a:cubicBezTo>
                <a:cubicBezTo>
                  <a:pt x="537316" y="3162558"/>
                  <a:pt x="518316" y="3167853"/>
                  <a:pt x="520170" y="3174124"/>
                </a:cubicBezTo>
                <a:cubicBezTo>
                  <a:pt x="509049" y="3162835"/>
                  <a:pt x="502561" y="3164090"/>
                  <a:pt x="497927" y="3179280"/>
                </a:cubicBezTo>
                <a:lnTo>
                  <a:pt x="488659" y="3179280"/>
                </a:lnTo>
                <a:cubicBezTo>
                  <a:pt x="482635" y="3157679"/>
                  <a:pt x="504415" y="3166598"/>
                  <a:pt x="502561" y="3150155"/>
                </a:cubicBezTo>
                <a:close/>
                <a:moveTo>
                  <a:pt x="1072072" y="3149318"/>
                </a:moveTo>
                <a:cubicBezTo>
                  <a:pt x="1073926" y="3151965"/>
                  <a:pt x="1077169" y="3154474"/>
                  <a:pt x="1080413" y="3155868"/>
                </a:cubicBezTo>
                <a:cubicBezTo>
                  <a:pt x="1086437" y="3150432"/>
                  <a:pt x="1100803" y="3154474"/>
                  <a:pt x="1111925" y="3153080"/>
                </a:cubicBezTo>
                <a:cubicBezTo>
                  <a:pt x="1097559" y="3151827"/>
                  <a:pt x="1085048" y="3150572"/>
                  <a:pt x="1072072" y="3149318"/>
                </a:cubicBezTo>
                <a:close/>
                <a:moveTo>
                  <a:pt x="1343157" y="3144162"/>
                </a:moveTo>
                <a:cubicBezTo>
                  <a:pt x="1335280" y="3143047"/>
                  <a:pt x="1326939" y="3143047"/>
                  <a:pt x="1320452" y="3145137"/>
                </a:cubicBezTo>
                <a:cubicBezTo>
                  <a:pt x="1334816" y="3146531"/>
                  <a:pt x="1349182" y="3148899"/>
                  <a:pt x="1363547" y="3150155"/>
                </a:cubicBezTo>
                <a:cubicBezTo>
                  <a:pt x="1357987" y="3147506"/>
                  <a:pt x="1351036" y="3145416"/>
                  <a:pt x="1343157" y="3144162"/>
                </a:cubicBezTo>
                <a:close/>
                <a:moveTo>
                  <a:pt x="914056" y="3143604"/>
                </a:moveTo>
                <a:cubicBezTo>
                  <a:pt x="912201" y="3143604"/>
                  <a:pt x="908958" y="3145277"/>
                  <a:pt x="907568" y="3146531"/>
                </a:cubicBezTo>
                <a:cubicBezTo>
                  <a:pt x="910811" y="3146531"/>
                  <a:pt x="912201" y="3146531"/>
                  <a:pt x="915445" y="3146531"/>
                </a:cubicBezTo>
                <a:cubicBezTo>
                  <a:pt x="915445" y="3145277"/>
                  <a:pt x="915445" y="3144998"/>
                  <a:pt x="914056" y="3143604"/>
                </a:cubicBezTo>
                <a:close/>
                <a:moveTo>
                  <a:pt x="1374669" y="3140956"/>
                </a:moveTo>
                <a:cubicBezTo>
                  <a:pt x="1374669" y="3144998"/>
                  <a:pt x="1373279" y="3147645"/>
                  <a:pt x="1373279" y="3151687"/>
                </a:cubicBezTo>
                <a:cubicBezTo>
                  <a:pt x="1381619" y="3151687"/>
                  <a:pt x="1389034" y="3153080"/>
                  <a:pt x="1398765" y="3154335"/>
                </a:cubicBezTo>
                <a:cubicBezTo>
                  <a:pt x="1400156" y="3153080"/>
                  <a:pt x="1400618" y="3151687"/>
                  <a:pt x="1402009" y="3151687"/>
                </a:cubicBezTo>
                <a:cubicBezTo>
                  <a:pt x="1397375" y="3142211"/>
                  <a:pt x="1389034" y="3138308"/>
                  <a:pt x="1374669" y="3140956"/>
                </a:cubicBezTo>
                <a:close/>
                <a:moveTo>
                  <a:pt x="976150" y="3139842"/>
                </a:moveTo>
                <a:cubicBezTo>
                  <a:pt x="978004" y="3141235"/>
                  <a:pt x="978004" y="3142350"/>
                  <a:pt x="979394" y="3143604"/>
                </a:cubicBezTo>
                <a:cubicBezTo>
                  <a:pt x="979394" y="3142350"/>
                  <a:pt x="980783" y="3141235"/>
                  <a:pt x="980783" y="3139842"/>
                </a:cubicBezTo>
                <a:cubicBezTo>
                  <a:pt x="979394" y="3139842"/>
                  <a:pt x="978004" y="3139842"/>
                  <a:pt x="976150" y="3139842"/>
                </a:cubicBezTo>
                <a:close/>
                <a:moveTo>
                  <a:pt x="1443251" y="3139563"/>
                </a:moveTo>
                <a:cubicBezTo>
                  <a:pt x="1433057" y="3139005"/>
                  <a:pt x="1424252" y="3141653"/>
                  <a:pt x="1426105" y="3151687"/>
                </a:cubicBezTo>
                <a:cubicBezTo>
                  <a:pt x="1438617" y="3138169"/>
                  <a:pt x="1458079" y="3158655"/>
                  <a:pt x="1467811" y="3146531"/>
                </a:cubicBezTo>
                <a:cubicBezTo>
                  <a:pt x="1464567" y="3143882"/>
                  <a:pt x="1452983" y="3139981"/>
                  <a:pt x="1443251" y="3139563"/>
                </a:cubicBezTo>
                <a:close/>
                <a:moveTo>
                  <a:pt x="1239821" y="3134406"/>
                </a:moveTo>
                <a:cubicBezTo>
                  <a:pt x="1241211" y="3137054"/>
                  <a:pt x="1242601" y="3138169"/>
                  <a:pt x="1244455" y="3142211"/>
                </a:cubicBezTo>
                <a:cubicBezTo>
                  <a:pt x="1245845" y="3140817"/>
                  <a:pt x="1247235" y="3138308"/>
                  <a:pt x="1249088" y="3135661"/>
                </a:cubicBezTo>
                <a:cubicBezTo>
                  <a:pt x="1245845" y="3137054"/>
                  <a:pt x="1243064" y="3135800"/>
                  <a:pt x="1239821" y="3134406"/>
                </a:cubicBezTo>
                <a:close/>
                <a:moveTo>
                  <a:pt x="1488663" y="3122142"/>
                </a:moveTo>
                <a:cubicBezTo>
                  <a:pt x="1484030" y="3124094"/>
                  <a:pt x="1478933" y="3125348"/>
                  <a:pt x="1474299" y="3126463"/>
                </a:cubicBezTo>
                <a:cubicBezTo>
                  <a:pt x="1490518" y="3133012"/>
                  <a:pt x="1507199" y="3142350"/>
                  <a:pt x="1512297" y="3135661"/>
                </a:cubicBezTo>
                <a:cubicBezTo>
                  <a:pt x="1506736" y="3133152"/>
                  <a:pt x="1497468" y="3127160"/>
                  <a:pt x="1488663" y="3122142"/>
                </a:cubicBezTo>
                <a:close/>
                <a:moveTo>
                  <a:pt x="1113314" y="3114338"/>
                </a:moveTo>
                <a:cubicBezTo>
                  <a:pt x="1113778" y="3114477"/>
                  <a:pt x="1113778" y="3114477"/>
                  <a:pt x="1114242" y="3114617"/>
                </a:cubicBezTo>
                <a:cubicBezTo>
                  <a:pt x="1113778" y="3114756"/>
                  <a:pt x="1113314" y="3115174"/>
                  <a:pt x="1112851" y="3115174"/>
                </a:cubicBezTo>
                <a:cubicBezTo>
                  <a:pt x="1113314" y="3115035"/>
                  <a:pt x="1112851" y="3114338"/>
                  <a:pt x="1113314" y="3114338"/>
                </a:cubicBezTo>
                <a:close/>
                <a:moveTo>
                  <a:pt x="1480322" y="3083261"/>
                </a:moveTo>
                <a:cubicBezTo>
                  <a:pt x="1480322" y="3087301"/>
                  <a:pt x="1481713" y="3091623"/>
                  <a:pt x="1483566" y="3095524"/>
                </a:cubicBezTo>
                <a:cubicBezTo>
                  <a:pt x="1488663" y="3096640"/>
                  <a:pt x="1493761" y="3098590"/>
                  <a:pt x="1498395" y="3100680"/>
                </a:cubicBezTo>
                <a:cubicBezTo>
                  <a:pt x="1500248" y="3099984"/>
                  <a:pt x="1502102" y="3099845"/>
                  <a:pt x="1503493" y="3099148"/>
                </a:cubicBezTo>
                <a:cubicBezTo>
                  <a:pt x="1497005" y="3092180"/>
                  <a:pt x="1491444" y="3084096"/>
                  <a:pt x="1480322" y="3083261"/>
                </a:cubicBezTo>
                <a:close/>
                <a:moveTo>
                  <a:pt x="1443715" y="3078104"/>
                </a:moveTo>
                <a:cubicBezTo>
                  <a:pt x="1441861" y="3095664"/>
                  <a:pt x="1438617" y="3094270"/>
                  <a:pt x="1416374" y="3088835"/>
                </a:cubicBezTo>
                <a:cubicBezTo>
                  <a:pt x="1413130" y="3092877"/>
                  <a:pt x="1406644" y="3097894"/>
                  <a:pt x="1413130" y="3099148"/>
                </a:cubicBezTo>
                <a:cubicBezTo>
                  <a:pt x="1427496" y="3097894"/>
                  <a:pt x="1445105" y="3103468"/>
                  <a:pt x="1460860" y="3102074"/>
                </a:cubicBezTo>
                <a:cubicBezTo>
                  <a:pt x="1459470" y="3098033"/>
                  <a:pt x="1458079" y="3095524"/>
                  <a:pt x="1454836" y="3094131"/>
                </a:cubicBezTo>
                <a:cubicBezTo>
                  <a:pt x="1458079" y="3094131"/>
                  <a:pt x="1464567" y="3092737"/>
                  <a:pt x="1471054" y="3092737"/>
                </a:cubicBezTo>
                <a:cubicBezTo>
                  <a:pt x="1465957" y="3088696"/>
                  <a:pt x="1461323" y="3083539"/>
                  <a:pt x="1458079" y="3078104"/>
                </a:cubicBezTo>
                <a:cubicBezTo>
                  <a:pt x="1448812" y="3088835"/>
                  <a:pt x="1453446" y="3088835"/>
                  <a:pt x="1443715" y="3078104"/>
                </a:cubicBezTo>
                <a:close/>
                <a:moveTo>
                  <a:pt x="1641584" y="3051068"/>
                </a:moveTo>
                <a:cubicBezTo>
                  <a:pt x="1641584" y="3060266"/>
                  <a:pt x="1645291" y="3065561"/>
                  <a:pt x="1650388" y="3068906"/>
                </a:cubicBezTo>
                <a:cubicBezTo>
                  <a:pt x="1653170" y="3065143"/>
                  <a:pt x="1655022" y="3060684"/>
                  <a:pt x="1654095" y="3051487"/>
                </a:cubicBezTo>
                <a:cubicBezTo>
                  <a:pt x="1655022" y="3051346"/>
                  <a:pt x="1655949" y="3051207"/>
                  <a:pt x="1656412" y="3051068"/>
                </a:cubicBezTo>
                <a:close/>
                <a:moveTo>
                  <a:pt x="1516931" y="3051068"/>
                </a:moveTo>
                <a:cubicBezTo>
                  <a:pt x="1514150" y="3061800"/>
                  <a:pt x="1509053" y="3071136"/>
                  <a:pt x="1507199" y="3083261"/>
                </a:cubicBezTo>
                <a:cubicBezTo>
                  <a:pt x="1516931" y="3085769"/>
                  <a:pt x="1526198" y="3088277"/>
                  <a:pt x="1535930" y="3090367"/>
                </a:cubicBezTo>
                <a:cubicBezTo>
                  <a:pt x="1540564" y="3089393"/>
                  <a:pt x="1544271" y="3087162"/>
                  <a:pt x="1548904" y="3086745"/>
                </a:cubicBezTo>
                <a:cubicBezTo>
                  <a:pt x="1564662" y="3083958"/>
                  <a:pt x="1618877" y="3097475"/>
                  <a:pt x="1597562" y="3076711"/>
                </a:cubicBezTo>
                <a:cubicBezTo>
                  <a:pt x="1599878" y="3074202"/>
                  <a:pt x="1604975" y="3074341"/>
                  <a:pt x="1609145" y="3074341"/>
                </a:cubicBezTo>
                <a:cubicBezTo>
                  <a:pt x="1608220" y="3065423"/>
                  <a:pt x="1613317" y="3051068"/>
                  <a:pt x="1604512" y="3051068"/>
                </a:cubicBezTo>
                <a:cubicBezTo>
                  <a:pt x="1601268" y="3072669"/>
                  <a:pt x="1561880" y="3052601"/>
                  <a:pt x="1563270" y="3078104"/>
                </a:cubicBezTo>
                <a:cubicBezTo>
                  <a:pt x="1561880" y="3071414"/>
                  <a:pt x="1558636" y="3075456"/>
                  <a:pt x="1553539" y="3078104"/>
                </a:cubicBezTo>
                <a:cubicBezTo>
                  <a:pt x="1561416" y="3067374"/>
                  <a:pt x="1550295" y="3067374"/>
                  <a:pt x="1558174" y="3056643"/>
                </a:cubicBezTo>
                <a:cubicBezTo>
                  <a:pt x="1539173" y="3052601"/>
                  <a:pt x="1536394" y="3059151"/>
                  <a:pt x="1516931" y="3051068"/>
                </a:cubicBezTo>
                <a:close/>
                <a:moveTo>
                  <a:pt x="1705069" y="3031000"/>
                </a:moveTo>
                <a:cubicBezTo>
                  <a:pt x="1690702" y="3049814"/>
                  <a:pt x="1676338" y="3036574"/>
                  <a:pt x="1655484" y="3047306"/>
                </a:cubicBezTo>
                <a:cubicBezTo>
                  <a:pt x="1658729" y="3047166"/>
                  <a:pt x="1660119" y="3049256"/>
                  <a:pt x="1662900" y="3049674"/>
                </a:cubicBezTo>
                <a:cubicBezTo>
                  <a:pt x="1675875" y="3047584"/>
                  <a:pt x="1688849" y="3043543"/>
                  <a:pt x="1700899" y="3041174"/>
                </a:cubicBezTo>
                <a:cubicBezTo>
                  <a:pt x="1700434" y="3038525"/>
                  <a:pt x="1701362" y="3035320"/>
                  <a:pt x="1705069" y="3031000"/>
                </a:cubicBezTo>
                <a:close/>
                <a:moveTo>
                  <a:pt x="1335280" y="3021245"/>
                </a:moveTo>
                <a:cubicBezTo>
                  <a:pt x="1329256" y="3023196"/>
                  <a:pt x="1322305" y="3030582"/>
                  <a:pt x="1320452" y="3036574"/>
                </a:cubicBezTo>
                <a:cubicBezTo>
                  <a:pt x="1336670" y="3036574"/>
                  <a:pt x="1333427" y="3042009"/>
                  <a:pt x="1347792" y="3036574"/>
                </a:cubicBezTo>
                <a:cubicBezTo>
                  <a:pt x="1347792" y="3022499"/>
                  <a:pt x="1341768" y="3019155"/>
                  <a:pt x="1335280" y="3021245"/>
                </a:cubicBezTo>
                <a:close/>
                <a:moveTo>
                  <a:pt x="1604512" y="3020130"/>
                </a:moveTo>
                <a:cubicBezTo>
                  <a:pt x="1609609" y="3036157"/>
                  <a:pt x="1618877" y="3049814"/>
                  <a:pt x="1631852" y="3056643"/>
                </a:cubicBezTo>
                <a:cubicBezTo>
                  <a:pt x="1631852" y="3040477"/>
                  <a:pt x="1641584" y="3047166"/>
                  <a:pt x="1646217" y="3025704"/>
                </a:cubicBezTo>
                <a:cubicBezTo>
                  <a:pt x="1635096" y="3010932"/>
                  <a:pt x="1615634" y="3036157"/>
                  <a:pt x="1604512" y="3020130"/>
                </a:cubicBezTo>
                <a:close/>
                <a:moveTo>
                  <a:pt x="1522955" y="3009399"/>
                </a:moveTo>
                <a:cubicBezTo>
                  <a:pt x="1516931" y="3012047"/>
                  <a:pt x="1507663" y="3013580"/>
                  <a:pt x="1509053" y="3025704"/>
                </a:cubicBezTo>
                <a:cubicBezTo>
                  <a:pt x="1542881" y="3013580"/>
                  <a:pt x="1566514" y="3033927"/>
                  <a:pt x="1590610" y="3047306"/>
                </a:cubicBezTo>
                <a:cubicBezTo>
                  <a:pt x="1597098" y="3044658"/>
                  <a:pt x="1601268" y="3040616"/>
                  <a:pt x="1604512" y="3036574"/>
                </a:cubicBezTo>
                <a:cubicBezTo>
                  <a:pt x="1592000" y="3031279"/>
                  <a:pt x="1577172" y="3038943"/>
                  <a:pt x="1585513" y="3020130"/>
                </a:cubicBezTo>
                <a:cubicBezTo>
                  <a:pt x="1566051" y="3029467"/>
                  <a:pt x="1556782" y="3020409"/>
                  <a:pt x="1544271" y="3012325"/>
                </a:cubicBezTo>
                <a:cubicBezTo>
                  <a:pt x="1537783" y="3013580"/>
                  <a:pt x="1529443" y="3015113"/>
                  <a:pt x="1522955" y="3016506"/>
                </a:cubicBezTo>
                <a:cubicBezTo>
                  <a:pt x="1522955" y="3012465"/>
                  <a:pt x="1522955" y="3010793"/>
                  <a:pt x="1522955" y="3009399"/>
                </a:cubicBezTo>
                <a:close/>
                <a:moveTo>
                  <a:pt x="1744457" y="3003825"/>
                </a:moveTo>
                <a:cubicBezTo>
                  <a:pt x="1742604" y="3003267"/>
                  <a:pt x="1740286" y="3003267"/>
                  <a:pt x="1737042" y="3004382"/>
                </a:cubicBezTo>
                <a:lnTo>
                  <a:pt x="1737042" y="3014974"/>
                </a:lnTo>
                <a:cubicBezTo>
                  <a:pt x="1740286" y="3028491"/>
                  <a:pt x="1759286" y="3016089"/>
                  <a:pt x="1760676" y="3009399"/>
                </a:cubicBezTo>
                <a:cubicBezTo>
                  <a:pt x="1752335" y="3011350"/>
                  <a:pt x="1750481" y="3005219"/>
                  <a:pt x="1744457" y="3003825"/>
                </a:cubicBezTo>
                <a:close/>
                <a:moveTo>
                  <a:pt x="1721288" y="3001734"/>
                </a:moveTo>
                <a:cubicBezTo>
                  <a:pt x="1718507" y="3001734"/>
                  <a:pt x="1715263" y="3002571"/>
                  <a:pt x="1712019" y="3003825"/>
                </a:cubicBezTo>
                <a:cubicBezTo>
                  <a:pt x="1705996" y="3006333"/>
                  <a:pt x="1699972" y="3010932"/>
                  <a:pt x="1695801" y="3014974"/>
                </a:cubicBezTo>
                <a:cubicBezTo>
                  <a:pt x="1710166" y="3014974"/>
                  <a:pt x="1727312" y="3020409"/>
                  <a:pt x="1729165" y="3004382"/>
                </a:cubicBezTo>
                <a:cubicBezTo>
                  <a:pt x="1727312" y="3002571"/>
                  <a:pt x="1724531" y="3001734"/>
                  <a:pt x="1721288" y="3001734"/>
                </a:cubicBezTo>
                <a:close/>
                <a:moveTo>
                  <a:pt x="1949277" y="2984175"/>
                </a:moveTo>
                <a:cubicBezTo>
                  <a:pt x="1948814" y="2986543"/>
                  <a:pt x="1950667" y="2986265"/>
                  <a:pt x="1950667" y="2987798"/>
                </a:cubicBezTo>
                <a:cubicBezTo>
                  <a:pt x="1952521" y="2987798"/>
                  <a:pt x="1953911" y="2987519"/>
                  <a:pt x="1955764" y="2987380"/>
                </a:cubicBezTo>
                <a:cubicBezTo>
                  <a:pt x="1953448" y="2985986"/>
                  <a:pt x="1952057" y="2986404"/>
                  <a:pt x="1949277" y="2984175"/>
                </a:cubicBezTo>
                <a:close/>
                <a:moveTo>
                  <a:pt x="1582791" y="2983652"/>
                </a:moveTo>
                <a:cubicBezTo>
                  <a:pt x="1578562" y="2983478"/>
                  <a:pt x="1574392" y="2983478"/>
                  <a:pt x="1570684" y="2984175"/>
                </a:cubicBezTo>
                <a:cubicBezTo>
                  <a:pt x="1563733" y="2985569"/>
                  <a:pt x="1558174" y="2989331"/>
                  <a:pt x="1558174" y="2998668"/>
                </a:cubicBezTo>
                <a:cubicBezTo>
                  <a:pt x="1574392" y="2998668"/>
                  <a:pt x="1582269" y="2988216"/>
                  <a:pt x="1595244" y="2984175"/>
                </a:cubicBezTo>
                <a:cubicBezTo>
                  <a:pt x="1591305" y="2984175"/>
                  <a:pt x="1587020" y="2983826"/>
                  <a:pt x="1582791" y="2983652"/>
                </a:cubicBezTo>
                <a:close/>
                <a:moveTo>
                  <a:pt x="1452983" y="2973444"/>
                </a:moveTo>
                <a:cubicBezTo>
                  <a:pt x="1424252" y="2972190"/>
                  <a:pt x="1445568" y="3002571"/>
                  <a:pt x="1407106" y="2987798"/>
                </a:cubicBezTo>
                <a:cubicBezTo>
                  <a:pt x="1408960" y="3005219"/>
                  <a:pt x="1389498" y="3000201"/>
                  <a:pt x="1389498" y="3014974"/>
                </a:cubicBezTo>
                <a:cubicBezTo>
                  <a:pt x="1410350" y="3005637"/>
                  <a:pt x="1451591" y="3016227"/>
                  <a:pt x="1462714" y="2993372"/>
                </a:cubicBezTo>
                <a:lnTo>
                  <a:pt x="1452983" y="2993372"/>
                </a:lnTo>
                <a:cubicBezTo>
                  <a:pt x="1441861" y="2993372"/>
                  <a:pt x="1451591" y="2976091"/>
                  <a:pt x="1452983" y="2973444"/>
                </a:cubicBezTo>
                <a:close/>
                <a:moveTo>
                  <a:pt x="1623048" y="2966893"/>
                </a:moveTo>
                <a:cubicBezTo>
                  <a:pt x="1620732" y="2966616"/>
                  <a:pt x="1617951" y="2966893"/>
                  <a:pt x="1614244" y="2967869"/>
                </a:cubicBezTo>
                <a:cubicBezTo>
                  <a:pt x="1608220" y="2983896"/>
                  <a:pt x="1641584" y="2981527"/>
                  <a:pt x="1641584" y="2973444"/>
                </a:cubicBezTo>
                <a:cubicBezTo>
                  <a:pt x="1633243" y="2973444"/>
                  <a:pt x="1630000" y="2968009"/>
                  <a:pt x="1623048" y="2966893"/>
                </a:cubicBezTo>
                <a:close/>
                <a:moveTo>
                  <a:pt x="1515540" y="2964385"/>
                </a:moveTo>
                <a:cubicBezTo>
                  <a:pt x="1513223" y="2963828"/>
                  <a:pt x="1510443" y="2963967"/>
                  <a:pt x="1508589" y="2964943"/>
                </a:cubicBezTo>
                <a:cubicBezTo>
                  <a:pt x="1505810" y="2966197"/>
                  <a:pt x="1503955" y="2969124"/>
                  <a:pt x="1503955" y="2973444"/>
                </a:cubicBezTo>
                <a:cubicBezTo>
                  <a:pt x="1507199" y="2974838"/>
                  <a:pt x="1509053" y="2977485"/>
                  <a:pt x="1509053" y="2984175"/>
                </a:cubicBezTo>
                <a:lnTo>
                  <a:pt x="1531296" y="2984175"/>
                </a:lnTo>
                <a:cubicBezTo>
                  <a:pt x="1532223" y="2973583"/>
                  <a:pt x="1523418" y="2965919"/>
                  <a:pt x="1515540" y="2964385"/>
                </a:cubicBezTo>
                <a:close/>
                <a:moveTo>
                  <a:pt x="1724531" y="2962574"/>
                </a:moveTo>
                <a:cubicBezTo>
                  <a:pt x="1719433" y="2969263"/>
                  <a:pt x="1719433" y="2982781"/>
                  <a:pt x="1709703" y="2984175"/>
                </a:cubicBezTo>
                <a:cubicBezTo>
                  <a:pt x="1703679" y="2982781"/>
                  <a:pt x="1692556" y="2985289"/>
                  <a:pt x="1700434" y="2989192"/>
                </a:cubicBezTo>
                <a:cubicBezTo>
                  <a:pt x="1714799" y="2993233"/>
                  <a:pt x="1714799" y="2980133"/>
                  <a:pt x="1729165" y="2984175"/>
                </a:cubicBezTo>
                <a:cubicBezTo>
                  <a:pt x="1722677" y="2970796"/>
                  <a:pt x="1730555" y="2968009"/>
                  <a:pt x="1724531" y="2962574"/>
                </a:cubicBezTo>
                <a:close/>
                <a:moveTo>
                  <a:pt x="13629091" y="2955252"/>
                </a:moveTo>
                <a:cubicBezTo>
                  <a:pt x="13631873" y="2966261"/>
                  <a:pt x="13622605" y="2964728"/>
                  <a:pt x="13624459" y="2972950"/>
                </a:cubicBezTo>
                <a:cubicBezTo>
                  <a:pt x="13613337" y="2961941"/>
                  <a:pt x="13607776" y="2970164"/>
                  <a:pt x="13589240" y="2967376"/>
                </a:cubicBezTo>
                <a:cubicBezTo>
                  <a:pt x="13587850" y="2943825"/>
                  <a:pt x="13621214" y="2967655"/>
                  <a:pt x="13629091" y="2955252"/>
                </a:cubicBezTo>
                <a:close/>
                <a:moveTo>
                  <a:pt x="13640154" y="2954795"/>
                </a:moveTo>
                <a:cubicBezTo>
                  <a:pt x="13647280" y="2955618"/>
                  <a:pt x="13651795" y="2959223"/>
                  <a:pt x="13661528" y="2956088"/>
                </a:cubicBezTo>
                <a:cubicBezTo>
                  <a:pt x="13661528" y="2965842"/>
                  <a:pt x="13633725" y="2964589"/>
                  <a:pt x="13643457" y="2970025"/>
                </a:cubicBezTo>
                <a:cubicBezTo>
                  <a:pt x="13633725" y="2981173"/>
                  <a:pt x="13635116" y="2964868"/>
                  <a:pt x="13631873" y="2955252"/>
                </a:cubicBezTo>
                <a:cubicBezTo>
                  <a:pt x="13635116" y="2954555"/>
                  <a:pt x="13637779" y="2954521"/>
                  <a:pt x="13640154" y="2954795"/>
                </a:cubicBezTo>
                <a:close/>
                <a:moveTo>
                  <a:pt x="1800991" y="2953376"/>
                </a:moveTo>
                <a:cubicBezTo>
                  <a:pt x="1793113" y="2953098"/>
                  <a:pt x="1785700" y="2953654"/>
                  <a:pt x="1778750" y="2956999"/>
                </a:cubicBezTo>
                <a:cubicBezTo>
                  <a:pt x="1808870" y="2964943"/>
                  <a:pt x="1872817" y="2968009"/>
                  <a:pt x="1844087" y="2994906"/>
                </a:cubicBezTo>
                <a:cubicBezTo>
                  <a:pt x="1845941" y="2999225"/>
                  <a:pt x="1852891" y="3003406"/>
                  <a:pt x="1860306" y="3006612"/>
                </a:cubicBezTo>
                <a:cubicBezTo>
                  <a:pt x="1867720" y="3004939"/>
                  <a:pt x="1873281" y="3003685"/>
                  <a:pt x="1881159" y="3002013"/>
                </a:cubicBezTo>
                <a:cubicBezTo>
                  <a:pt x="1880231" y="2991560"/>
                  <a:pt x="1865403" y="3001873"/>
                  <a:pt x="1856135" y="2999644"/>
                </a:cubicBezTo>
                <a:cubicBezTo>
                  <a:pt x="1865867" y="2985428"/>
                  <a:pt x="1850574" y="2996856"/>
                  <a:pt x="1851038" y="2980412"/>
                </a:cubicBezTo>
                <a:cubicBezTo>
                  <a:pt x="1856135" y="2982085"/>
                  <a:pt x="1860769" y="2984035"/>
                  <a:pt x="1865867" y="2985986"/>
                </a:cubicBezTo>
                <a:cubicBezTo>
                  <a:pt x="1861232" y="2978600"/>
                  <a:pt x="1860306" y="2969402"/>
                  <a:pt x="1871427" y="2956999"/>
                </a:cubicBezTo>
                <a:cubicBezTo>
                  <a:pt x="1851038" y="2964943"/>
                  <a:pt x="1824625" y="2953933"/>
                  <a:pt x="1800991" y="2953376"/>
                </a:cubicBezTo>
                <a:close/>
                <a:moveTo>
                  <a:pt x="1512297" y="2951843"/>
                </a:moveTo>
                <a:cubicBezTo>
                  <a:pt x="1486809" y="2949195"/>
                  <a:pt x="1497468" y="2982642"/>
                  <a:pt x="1471982" y="2967869"/>
                </a:cubicBezTo>
                <a:cubicBezTo>
                  <a:pt x="1468738" y="2983896"/>
                  <a:pt x="1486809" y="2978739"/>
                  <a:pt x="1494688" y="2984175"/>
                </a:cubicBezTo>
                <a:cubicBezTo>
                  <a:pt x="1494688" y="2966754"/>
                  <a:pt x="1503029" y="2966616"/>
                  <a:pt x="1512297" y="2951843"/>
                </a:cubicBezTo>
                <a:close/>
                <a:moveTo>
                  <a:pt x="1995153" y="2936792"/>
                </a:moveTo>
                <a:cubicBezTo>
                  <a:pt x="1997006" y="2944875"/>
                  <a:pt x="1989130" y="2963967"/>
                  <a:pt x="1998396" y="2963967"/>
                </a:cubicBezTo>
                <a:cubicBezTo>
                  <a:pt x="2003030" y="2958253"/>
                  <a:pt x="2008591" y="2961738"/>
                  <a:pt x="2014615" y="2966754"/>
                </a:cubicBezTo>
                <a:cubicBezTo>
                  <a:pt x="2023420" y="2967172"/>
                  <a:pt x="2028982" y="2964664"/>
                  <a:pt x="2026664" y="2953376"/>
                </a:cubicBezTo>
                <a:cubicBezTo>
                  <a:pt x="2045201" y="2962155"/>
                  <a:pt x="2058638" y="2951564"/>
                  <a:pt x="2073003" y="2944735"/>
                </a:cubicBezTo>
                <a:cubicBezTo>
                  <a:pt x="2065126" y="2945153"/>
                  <a:pt x="2055858" y="2949334"/>
                  <a:pt x="2049370" y="2953376"/>
                </a:cubicBezTo>
                <a:cubicBezTo>
                  <a:pt x="2049370" y="2946548"/>
                  <a:pt x="2043346" y="2944875"/>
                  <a:pt x="2044738" y="2936792"/>
                </a:cubicBezTo>
                <a:cubicBezTo>
                  <a:pt x="2028982" y="2935538"/>
                  <a:pt x="2019714" y="2968985"/>
                  <a:pt x="2027590" y="2936792"/>
                </a:cubicBezTo>
                <a:close/>
                <a:moveTo>
                  <a:pt x="1789869" y="2921044"/>
                </a:moveTo>
                <a:cubicBezTo>
                  <a:pt x="1791260" y="2923691"/>
                  <a:pt x="1793113" y="2924807"/>
                  <a:pt x="1797748" y="2926061"/>
                </a:cubicBezTo>
                <a:cubicBezTo>
                  <a:pt x="1796357" y="2923413"/>
                  <a:pt x="1795894" y="2922298"/>
                  <a:pt x="1795894" y="2921044"/>
                </a:cubicBezTo>
                <a:cubicBezTo>
                  <a:pt x="1794503" y="2919651"/>
                  <a:pt x="1793113" y="2919651"/>
                  <a:pt x="1789869" y="2921044"/>
                </a:cubicBezTo>
                <a:close/>
                <a:moveTo>
                  <a:pt x="2064662" y="2916863"/>
                </a:moveTo>
                <a:cubicBezTo>
                  <a:pt x="2056785" y="2917839"/>
                  <a:pt x="2048444" y="2919790"/>
                  <a:pt x="2040567" y="2921044"/>
                </a:cubicBezTo>
                <a:cubicBezTo>
                  <a:pt x="2063735" y="2914912"/>
                  <a:pt x="2056321" y="2939719"/>
                  <a:pt x="2076711" y="2931775"/>
                </a:cubicBezTo>
                <a:cubicBezTo>
                  <a:pt x="2074393" y="2931775"/>
                  <a:pt x="2073467" y="2924388"/>
                  <a:pt x="2073003" y="2917699"/>
                </a:cubicBezTo>
                <a:cubicBezTo>
                  <a:pt x="2070223" y="2917699"/>
                  <a:pt x="2067906" y="2916445"/>
                  <a:pt x="2064662" y="2916863"/>
                </a:cubicBezTo>
                <a:close/>
                <a:moveTo>
                  <a:pt x="2041029" y="2895262"/>
                </a:moveTo>
                <a:cubicBezTo>
                  <a:pt x="2039639" y="2895262"/>
                  <a:pt x="2038248" y="2896795"/>
                  <a:pt x="2036859" y="2900837"/>
                </a:cubicBezTo>
                <a:cubicBezTo>
                  <a:pt x="2043810" y="2903764"/>
                  <a:pt x="2041029" y="2907386"/>
                  <a:pt x="2038714" y="2911288"/>
                </a:cubicBezTo>
                <a:cubicBezTo>
                  <a:pt x="2043346" y="2910174"/>
                  <a:pt x="2047517" y="2908780"/>
                  <a:pt x="2052614" y="2907944"/>
                </a:cubicBezTo>
                <a:cubicBezTo>
                  <a:pt x="2048908" y="2903345"/>
                  <a:pt x="2044738" y="2895401"/>
                  <a:pt x="2041029" y="2895262"/>
                </a:cubicBezTo>
                <a:close/>
                <a:moveTo>
                  <a:pt x="1732408" y="2887319"/>
                </a:moveTo>
                <a:cubicBezTo>
                  <a:pt x="1729165" y="2889967"/>
                  <a:pt x="1725920" y="2892754"/>
                  <a:pt x="1724531" y="2899443"/>
                </a:cubicBezTo>
                <a:cubicBezTo>
                  <a:pt x="1732408" y="2908780"/>
                  <a:pt x="1743531" y="2927733"/>
                  <a:pt x="1733799" y="2942506"/>
                </a:cubicBezTo>
                <a:cubicBezTo>
                  <a:pt x="1746774" y="2943759"/>
                  <a:pt x="1740286" y="2922298"/>
                  <a:pt x="1751408" y="2921044"/>
                </a:cubicBezTo>
                <a:cubicBezTo>
                  <a:pt x="1745384" y="2915609"/>
                  <a:pt x="1733799" y="2915748"/>
                  <a:pt x="1733799" y="2905018"/>
                </a:cubicBezTo>
                <a:cubicBezTo>
                  <a:pt x="1759286" y="2879514"/>
                  <a:pt x="1759286" y="2950310"/>
                  <a:pt x="1783383" y="2926061"/>
                </a:cubicBezTo>
                <a:cubicBezTo>
                  <a:pt x="1780139" y="2924807"/>
                  <a:pt x="1780139" y="2923691"/>
                  <a:pt x="1780139" y="2922298"/>
                </a:cubicBezTo>
                <a:cubicBezTo>
                  <a:pt x="1778285" y="2919651"/>
                  <a:pt x="1776895" y="2916724"/>
                  <a:pt x="1774115" y="2915330"/>
                </a:cubicBezTo>
                <a:cubicBezTo>
                  <a:pt x="1770871" y="2915330"/>
                  <a:pt x="1769017" y="2914494"/>
                  <a:pt x="1767163" y="2914494"/>
                </a:cubicBezTo>
                <a:cubicBezTo>
                  <a:pt x="1764383" y="2913101"/>
                  <a:pt x="1761139" y="2910174"/>
                  <a:pt x="1757895" y="2910174"/>
                </a:cubicBezTo>
                <a:cubicBezTo>
                  <a:pt x="1759749" y="2895401"/>
                  <a:pt x="1778750" y="2903623"/>
                  <a:pt x="1774115" y="2890244"/>
                </a:cubicBezTo>
                <a:cubicBezTo>
                  <a:pt x="1769017" y="2892893"/>
                  <a:pt x="1764383" y="2891499"/>
                  <a:pt x="1759749" y="2890244"/>
                </a:cubicBezTo>
                <a:cubicBezTo>
                  <a:pt x="1753261" y="2896934"/>
                  <a:pt x="1740286" y="2894286"/>
                  <a:pt x="1729165" y="2894286"/>
                </a:cubicBezTo>
                <a:cubicBezTo>
                  <a:pt x="1730555" y="2891639"/>
                  <a:pt x="1732408" y="2889967"/>
                  <a:pt x="1732408" y="2887319"/>
                </a:cubicBezTo>
                <a:close/>
                <a:moveTo>
                  <a:pt x="2017859" y="2884950"/>
                </a:moveTo>
                <a:cubicBezTo>
                  <a:pt x="1985886" y="2895680"/>
                  <a:pt x="1974764" y="2890244"/>
                  <a:pt x="1949277" y="2890244"/>
                </a:cubicBezTo>
                <a:cubicBezTo>
                  <a:pt x="1947887" y="2910312"/>
                  <a:pt x="2014615" y="2907665"/>
                  <a:pt x="2017859" y="2884950"/>
                </a:cubicBezTo>
                <a:close/>
                <a:moveTo>
                  <a:pt x="1838989" y="2884950"/>
                </a:moveTo>
                <a:cubicBezTo>
                  <a:pt x="1840842" y="2898328"/>
                  <a:pt x="1821844" y="2888991"/>
                  <a:pt x="1825087" y="2905018"/>
                </a:cubicBezTo>
                <a:cubicBezTo>
                  <a:pt x="1829721" y="2903764"/>
                  <a:pt x="1834355" y="2903623"/>
                  <a:pt x="1837599" y="2903623"/>
                </a:cubicBezTo>
                <a:cubicBezTo>
                  <a:pt x="1836209" y="2900976"/>
                  <a:pt x="1835747" y="2898328"/>
                  <a:pt x="1838989" y="2894286"/>
                </a:cubicBezTo>
                <a:cubicBezTo>
                  <a:pt x="1840842" y="2894286"/>
                  <a:pt x="1842697" y="2894286"/>
                  <a:pt x="1844087" y="2894286"/>
                </a:cubicBezTo>
                <a:cubicBezTo>
                  <a:pt x="1842697" y="2891639"/>
                  <a:pt x="1838989" y="2888991"/>
                  <a:pt x="1838989" y="2884950"/>
                </a:cubicBezTo>
                <a:close/>
                <a:moveTo>
                  <a:pt x="1778750" y="2884950"/>
                </a:moveTo>
                <a:cubicBezTo>
                  <a:pt x="1778750" y="2886204"/>
                  <a:pt x="1776895" y="2885925"/>
                  <a:pt x="1776895" y="2887319"/>
                </a:cubicBezTo>
                <a:cubicBezTo>
                  <a:pt x="1778285" y="2888572"/>
                  <a:pt x="1780139" y="2888712"/>
                  <a:pt x="1781991" y="2888712"/>
                </a:cubicBezTo>
                <a:cubicBezTo>
                  <a:pt x="1781991" y="2887319"/>
                  <a:pt x="1781991" y="2884950"/>
                  <a:pt x="1778750" y="2884950"/>
                </a:cubicBezTo>
                <a:close/>
                <a:moveTo>
                  <a:pt x="2044273" y="2878399"/>
                </a:moveTo>
                <a:cubicBezTo>
                  <a:pt x="2033151" y="2877564"/>
                  <a:pt x="2023420" y="2878817"/>
                  <a:pt x="2022493" y="2890244"/>
                </a:cubicBezTo>
                <a:cubicBezTo>
                  <a:pt x="2035468" y="2894148"/>
                  <a:pt x="2033615" y="2882162"/>
                  <a:pt x="2044738" y="2884950"/>
                </a:cubicBezTo>
                <a:cubicBezTo>
                  <a:pt x="2038248" y="2905018"/>
                  <a:pt x="2065589" y="2886064"/>
                  <a:pt x="2064199" y="2900837"/>
                </a:cubicBezTo>
                <a:cubicBezTo>
                  <a:pt x="2063273" y="2903903"/>
                  <a:pt x="2060955" y="2905018"/>
                  <a:pt x="2059102" y="2906828"/>
                </a:cubicBezTo>
                <a:cubicBezTo>
                  <a:pt x="2064199" y="2906132"/>
                  <a:pt x="2069297" y="2905157"/>
                  <a:pt x="2074393" y="2904460"/>
                </a:cubicBezTo>
                <a:cubicBezTo>
                  <a:pt x="2075321" y="2900976"/>
                  <a:pt x="2075321" y="2895262"/>
                  <a:pt x="2076711" y="2895262"/>
                </a:cubicBezTo>
                <a:cubicBezTo>
                  <a:pt x="2079955" y="2896934"/>
                  <a:pt x="2080882" y="2900557"/>
                  <a:pt x="2082734" y="2903623"/>
                </a:cubicBezTo>
                <a:cubicBezTo>
                  <a:pt x="2084588" y="2903345"/>
                  <a:pt x="2086905" y="2902927"/>
                  <a:pt x="2088759" y="2902648"/>
                </a:cubicBezTo>
                <a:cubicBezTo>
                  <a:pt x="2083662" y="2896517"/>
                  <a:pt x="2077638" y="2890941"/>
                  <a:pt x="2076711" y="2879235"/>
                </a:cubicBezTo>
                <a:cubicBezTo>
                  <a:pt x="2068833" y="2882023"/>
                  <a:pt x="2055858" y="2879235"/>
                  <a:pt x="2044273" y="2878399"/>
                </a:cubicBezTo>
                <a:close/>
                <a:moveTo>
                  <a:pt x="1870037" y="2877284"/>
                </a:moveTo>
                <a:cubicBezTo>
                  <a:pt x="1868647" y="2877564"/>
                  <a:pt x="1867256" y="2878120"/>
                  <a:pt x="1865867" y="2879235"/>
                </a:cubicBezTo>
                <a:cubicBezTo>
                  <a:pt x="1872354" y="2884670"/>
                  <a:pt x="1875597" y="2892754"/>
                  <a:pt x="1880696" y="2899443"/>
                </a:cubicBezTo>
                <a:cubicBezTo>
                  <a:pt x="1859843" y="2904738"/>
                  <a:pt x="1871427" y="2914075"/>
                  <a:pt x="1876061" y="2926061"/>
                </a:cubicBezTo>
                <a:cubicBezTo>
                  <a:pt x="1874671" y="2919372"/>
                  <a:pt x="1847330" y="2919372"/>
                  <a:pt x="1861696" y="2926061"/>
                </a:cubicBezTo>
                <a:cubicBezTo>
                  <a:pt x="1870964" y="2948915"/>
                  <a:pt x="1907572" y="2939579"/>
                  <a:pt x="1920548" y="2958393"/>
                </a:cubicBezTo>
                <a:cubicBezTo>
                  <a:pt x="1912668" y="2962435"/>
                  <a:pt x="1906182" y="2942366"/>
                  <a:pt x="1902937" y="2958393"/>
                </a:cubicBezTo>
                <a:cubicBezTo>
                  <a:pt x="1914060" y="2959786"/>
                  <a:pt x="1921937" y="2973444"/>
                  <a:pt x="1912668" y="2984175"/>
                </a:cubicBezTo>
                <a:cubicBezTo>
                  <a:pt x="1927034" y="2985569"/>
                  <a:pt x="1933059" y="2972049"/>
                  <a:pt x="1944179" y="2984175"/>
                </a:cubicBezTo>
                <a:cubicBezTo>
                  <a:pt x="1949277" y="2965360"/>
                  <a:pt x="1923327" y="2980133"/>
                  <a:pt x="1925181" y="2963967"/>
                </a:cubicBezTo>
                <a:cubicBezTo>
                  <a:pt x="1939546" y="2942506"/>
                  <a:pt x="1984495" y="2977067"/>
                  <a:pt x="1985886" y="2936792"/>
                </a:cubicBezTo>
                <a:cubicBezTo>
                  <a:pt x="1957155" y="2940833"/>
                  <a:pt x="1923792" y="2946548"/>
                  <a:pt x="1922401" y="2931775"/>
                </a:cubicBezTo>
                <a:cubicBezTo>
                  <a:pt x="1912668" y="2943759"/>
                  <a:pt x="1888573" y="2943759"/>
                  <a:pt x="1880696" y="2931775"/>
                </a:cubicBezTo>
                <a:cubicBezTo>
                  <a:pt x="1883939" y="2917002"/>
                  <a:pt x="1874671" y="2918535"/>
                  <a:pt x="1876061" y="2905018"/>
                </a:cubicBezTo>
                <a:cubicBezTo>
                  <a:pt x="1889035" y="2900976"/>
                  <a:pt x="1887183" y="2912821"/>
                  <a:pt x="1898305" y="2910174"/>
                </a:cubicBezTo>
                <a:cubicBezTo>
                  <a:pt x="1897376" y="2898049"/>
                  <a:pt x="1884866" y="2881604"/>
                  <a:pt x="1875135" y="2877981"/>
                </a:cubicBezTo>
                <a:cubicBezTo>
                  <a:pt x="1873281" y="2877423"/>
                  <a:pt x="1871891" y="2877145"/>
                  <a:pt x="1870037" y="2877284"/>
                </a:cubicBezTo>
                <a:close/>
                <a:moveTo>
                  <a:pt x="1934912" y="2874218"/>
                </a:moveTo>
                <a:cubicBezTo>
                  <a:pt x="1923792" y="2878260"/>
                  <a:pt x="1909425" y="2879375"/>
                  <a:pt x="1902937" y="2890244"/>
                </a:cubicBezTo>
                <a:cubicBezTo>
                  <a:pt x="1915913" y="2904878"/>
                  <a:pt x="1922401" y="2884670"/>
                  <a:pt x="1930279" y="2879235"/>
                </a:cubicBezTo>
                <a:cubicBezTo>
                  <a:pt x="1932133" y="2884670"/>
                  <a:pt x="1936302" y="2883555"/>
                  <a:pt x="1934912" y="2874218"/>
                </a:cubicBezTo>
                <a:close/>
                <a:moveTo>
                  <a:pt x="1724067" y="2874218"/>
                </a:moveTo>
                <a:cubicBezTo>
                  <a:pt x="1716654" y="2874637"/>
                  <a:pt x="1708775" y="2875194"/>
                  <a:pt x="1701362" y="2875612"/>
                </a:cubicBezTo>
                <a:cubicBezTo>
                  <a:pt x="1702752" y="2876727"/>
                  <a:pt x="1705069" y="2876867"/>
                  <a:pt x="1705069" y="2879235"/>
                </a:cubicBezTo>
                <a:cubicBezTo>
                  <a:pt x="1697190" y="2883277"/>
                  <a:pt x="1693947" y="2892754"/>
                  <a:pt x="1678191" y="2888712"/>
                </a:cubicBezTo>
                <a:cubicBezTo>
                  <a:pt x="1701362" y="2907386"/>
                  <a:pt x="1711557" y="2890802"/>
                  <a:pt x="1724067" y="2874218"/>
                </a:cubicBezTo>
                <a:close/>
                <a:moveTo>
                  <a:pt x="1844087" y="2866832"/>
                </a:moveTo>
                <a:cubicBezTo>
                  <a:pt x="1835282" y="2867529"/>
                  <a:pt x="1826479" y="2867948"/>
                  <a:pt x="1817674" y="2868644"/>
                </a:cubicBezTo>
                <a:cubicBezTo>
                  <a:pt x="1825087" y="2866275"/>
                  <a:pt x="1828332" y="2870176"/>
                  <a:pt x="1832967" y="2872825"/>
                </a:cubicBezTo>
                <a:cubicBezTo>
                  <a:pt x="1837599" y="2872825"/>
                  <a:pt x="1844087" y="2872546"/>
                  <a:pt x="1848721" y="2868644"/>
                </a:cubicBezTo>
                <a:cubicBezTo>
                  <a:pt x="1847330" y="2868086"/>
                  <a:pt x="1845941" y="2867251"/>
                  <a:pt x="1844087" y="2866832"/>
                </a:cubicBezTo>
                <a:close/>
                <a:moveTo>
                  <a:pt x="2205997" y="2864463"/>
                </a:moveTo>
                <a:cubicBezTo>
                  <a:pt x="2200438" y="2873243"/>
                  <a:pt x="2196267" y="2881186"/>
                  <a:pt x="2191633" y="2889688"/>
                </a:cubicBezTo>
                <a:cubicBezTo>
                  <a:pt x="2201827" y="2889688"/>
                  <a:pt x="2208314" y="2889548"/>
                  <a:pt x="2217582" y="2889130"/>
                </a:cubicBezTo>
                <a:cubicBezTo>
                  <a:pt x="2213412" y="2882301"/>
                  <a:pt x="2218509" y="2863488"/>
                  <a:pt x="2205997" y="2864463"/>
                </a:cubicBezTo>
                <a:close/>
                <a:moveTo>
                  <a:pt x="2123050" y="2859168"/>
                </a:moveTo>
                <a:cubicBezTo>
                  <a:pt x="2111002" y="2873661"/>
                  <a:pt x="2083199" y="2886482"/>
                  <a:pt x="2094784" y="2901812"/>
                </a:cubicBezTo>
                <a:cubicBezTo>
                  <a:pt x="2100343" y="2900976"/>
                  <a:pt x="2105904" y="2900418"/>
                  <a:pt x="2111002" y="2899443"/>
                </a:cubicBezTo>
                <a:cubicBezTo>
                  <a:pt x="2114710" y="2897491"/>
                  <a:pt x="2118879" y="2896656"/>
                  <a:pt x="2123050" y="2895262"/>
                </a:cubicBezTo>
                <a:cubicBezTo>
                  <a:pt x="2130928" y="2893032"/>
                  <a:pt x="2138805" y="2891220"/>
                  <a:pt x="2145757" y="2887319"/>
                </a:cubicBezTo>
                <a:cubicBezTo>
                  <a:pt x="2155025" y="2888991"/>
                  <a:pt x="2169389" y="2888712"/>
                  <a:pt x="2182828" y="2889130"/>
                </a:cubicBezTo>
                <a:cubicBezTo>
                  <a:pt x="2184219" y="2885646"/>
                  <a:pt x="2184682" y="2881604"/>
                  <a:pt x="2183756" y="2874218"/>
                </a:cubicBezTo>
                <a:cubicBezTo>
                  <a:pt x="2155025" y="2879514"/>
                  <a:pt x="2147146" y="2860421"/>
                  <a:pt x="2123050" y="2859168"/>
                </a:cubicBezTo>
                <a:close/>
                <a:moveTo>
                  <a:pt x="453905" y="2857913"/>
                </a:moveTo>
                <a:cubicBezTo>
                  <a:pt x="465489" y="2864044"/>
                  <a:pt x="474295" y="2875054"/>
                  <a:pt x="478928" y="2891082"/>
                </a:cubicBezTo>
                <a:cubicBezTo>
                  <a:pt x="461319" y="2889827"/>
                  <a:pt x="461319" y="2870176"/>
                  <a:pt x="453905" y="2857913"/>
                </a:cubicBezTo>
                <a:close/>
                <a:moveTo>
                  <a:pt x="1727774" y="2856938"/>
                </a:moveTo>
                <a:cubicBezTo>
                  <a:pt x="1720360" y="2857774"/>
                  <a:pt x="1722214" y="2863070"/>
                  <a:pt x="1720360" y="2867110"/>
                </a:cubicBezTo>
                <a:cubicBezTo>
                  <a:pt x="1724067" y="2866554"/>
                  <a:pt x="1727774" y="2866275"/>
                  <a:pt x="1731946" y="2865717"/>
                </a:cubicBezTo>
                <a:cubicBezTo>
                  <a:pt x="1734262" y="2863070"/>
                  <a:pt x="1735652" y="2860004"/>
                  <a:pt x="1738897" y="2857913"/>
                </a:cubicBezTo>
                <a:cubicBezTo>
                  <a:pt x="1733799" y="2856938"/>
                  <a:pt x="1730093" y="2856659"/>
                  <a:pt x="1727774" y="2856938"/>
                </a:cubicBezTo>
                <a:close/>
                <a:moveTo>
                  <a:pt x="2641124" y="2856799"/>
                </a:moveTo>
                <a:cubicBezTo>
                  <a:pt x="2640198" y="2857635"/>
                  <a:pt x="2639735" y="2858471"/>
                  <a:pt x="2639735" y="2859725"/>
                </a:cubicBezTo>
                <a:cubicBezTo>
                  <a:pt x="2643906" y="2859447"/>
                  <a:pt x="2648538" y="2859865"/>
                  <a:pt x="2653173" y="2859725"/>
                </a:cubicBezTo>
                <a:cubicBezTo>
                  <a:pt x="2651320" y="2859168"/>
                  <a:pt x="2650856" y="2857496"/>
                  <a:pt x="2649003" y="2856799"/>
                </a:cubicBezTo>
                <a:cubicBezTo>
                  <a:pt x="2644832" y="2857355"/>
                  <a:pt x="2643906" y="2856659"/>
                  <a:pt x="2641124" y="2856799"/>
                </a:cubicBezTo>
                <a:close/>
                <a:moveTo>
                  <a:pt x="2282920" y="2854569"/>
                </a:moveTo>
                <a:cubicBezTo>
                  <a:pt x="2276896" y="2855126"/>
                  <a:pt x="2269946" y="2859725"/>
                  <a:pt x="2266703" y="2864463"/>
                </a:cubicBezTo>
                <a:cubicBezTo>
                  <a:pt x="2279678" y="2860421"/>
                  <a:pt x="2279214" y="2874079"/>
                  <a:pt x="2293579" y="2870038"/>
                </a:cubicBezTo>
                <a:cubicBezTo>
                  <a:pt x="2294505" y="2857913"/>
                  <a:pt x="2289408" y="2854150"/>
                  <a:pt x="2282920" y="2854569"/>
                </a:cubicBezTo>
                <a:close/>
                <a:moveTo>
                  <a:pt x="2677732" y="2853454"/>
                </a:moveTo>
                <a:cubicBezTo>
                  <a:pt x="2676806" y="2855545"/>
                  <a:pt x="2675417" y="2856241"/>
                  <a:pt x="2674489" y="2858749"/>
                </a:cubicBezTo>
                <a:cubicBezTo>
                  <a:pt x="2675417" y="2858889"/>
                  <a:pt x="2675417" y="2858611"/>
                  <a:pt x="2676343" y="2858749"/>
                </a:cubicBezTo>
                <a:cubicBezTo>
                  <a:pt x="2680050" y="2858471"/>
                  <a:pt x="2685610" y="2857774"/>
                  <a:pt x="2690244" y="2857355"/>
                </a:cubicBezTo>
                <a:cubicBezTo>
                  <a:pt x="2686538" y="2855823"/>
                  <a:pt x="2681903" y="2853733"/>
                  <a:pt x="2677732" y="2853454"/>
                </a:cubicBezTo>
                <a:close/>
                <a:moveTo>
                  <a:pt x="715722" y="2853175"/>
                </a:moveTo>
                <a:cubicBezTo>
                  <a:pt x="723600" y="2854012"/>
                  <a:pt x="731941" y="2858331"/>
                  <a:pt x="740283" y="2863488"/>
                </a:cubicBezTo>
                <a:cubicBezTo>
                  <a:pt x="724991" y="2873800"/>
                  <a:pt x="714332" y="2863488"/>
                  <a:pt x="691162" y="2863488"/>
                </a:cubicBezTo>
                <a:cubicBezTo>
                  <a:pt x="699967" y="2854988"/>
                  <a:pt x="707382" y="2852339"/>
                  <a:pt x="715722" y="2853175"/>
                </a:cubicBezTo>
                <a:close/>
                <a:moveTo>
                  <a:pt x="1971520" y="2852618"/>
                </a:moveTo>
                <a:cubicBezTo>
                  <a:pt x="1968277" y="2863348"/>
                  <a:pt x="1952057" y="2867251"/>
                  <a:pt x="1944179" y="2857913"/>
                </a:cubicBezTo>
                <a:cubicBezTo>
                  <a:pt x="1940936" y="2882023"/>
                  <a:pt x="1990519" y="2863348"/>
                  <a:pt x="1971520" y="2852618"/>
                </a:cubicBezTo>
                <a:close/>
                <a:moveTo>
                  <a:pt x="998856" y="2846068"/>
                </a:moveTo>
                <a:cubicBezTo>
                  <a:pt x="1005807" y="2844814"/>
                  <a:pt x="1012758" y="2845928"/>
                  <a:pt x="1016929" y="2850806"/>
                </a:cubicBezTo>
                <a:cubicBezTo>
                  <a:pt x="1013222" y="2860561"/>
                  <a:pt x="1008588" y="2852199"/>
                  <a:pt x="1003490" y="2850806"/>
                </a:cubicBezTo>
                <a:cubicBezTo>
                  <a:pt x="998392" y="2850806"/>
                  <a:pt x="999782" y="2857913"/>
                  <a:pt x="998392" y="2862094"/>
                </a:cubicBezTo>
                <a:cubicBezTo>
                  <a:pt x="994686" y="2859307"/>
                  <a:pt x="989588" y="2856381"/>
                  <a:pt x="982637" y="2856381"/>
                </a:cubicBezTo>
                <a:cubicBezTo>
                  <a:pt x="985418" y="2850946"/>
                  <a:pt x="991905" y="2847322"/>
                  <a:pt x="998856" y="2846068"/>
                </a:cubicBezTo>
                <a:close/>
                <a:moveTo>
                  <a:pt x="2338065" y="2844256"/>
                </a:moveTo>
                <a:cubicBezTo>
                  <a:pt x="2339919" y="2849691"/>
                  <a:pt x="2338528" y="2855126"/>
                  <a:pt x="2335748" y="2859168"/>
                </a:cubicBezTo>
                <a:cubicBezTo>
                  <a:pt x="2344552" y="2853872"/>
                  <a:pt x="2351040" y="2857216"/>
                  <a:pt x="2358455" y="2862373"/>
                </a:cubicBezTo>
                <a:cubicBezTo>
                  <a:pt x="2360772" y="2861815"/>
                  <a:pt x="2363089" y="2860561"/>
                  <a:pt x="2365405" y="2859725"/>
                </a:cubicBezTo>
                <a:cubicBezTo>
                  <a:pt x="2361698" y="2855545"/>
                  <a:pt x="2356601" y="2852757"/>
                  <a:pt x="2348260" y="2854012"/>
                </a:cubicBezTo>
                <a:cubicBezTo>
                  <a:pt x="2348260" y="2851364"/>
                  <a:pt x="2348260" y="2846904"/>
                  <a:pt x="2348260" y="2844256"/>
                </a:cubicBezTo>
                <a:cubicBezTo>
                  <a:pt x="2345016" y="2845650"/>
                  <a:pt x="2343163" y="2845650"/>
                  <a:pt x="2338065" y="2844256"/>
                </a:cubicBezTo>
                <a:close/>
                <a:moveTo>
                  <a:pt x="2211559" y="2843699"/>
                </a:moveTo>
                <a:cubicBezTo>
                  <a:pt x="2206460" y="2844256"/>
                  <a:pt x="2201827" y="2847322"/>
                  <a:pt x="2201363" y="2854012"/>
                </a:cubicBezTo>
                <a:cubicBezTo>
                  <a:pt x="2213876" y="2850109"/>
                  <a:pt x="2210631" y="2864463"/>
                  <a:pt x="2220364" y="2864463"/>
                </a:cubicBezTo>
                <a:cubicBezTo>
                  <a:pt x="2220364" y="2856381"/>
                  <a:pt x="2221753" y="2852478"/>
                  <a:pt x="2224997" y="2848437"/>
                </a:cubicBezTo>
                <a:cubicBezTo>
                  <a:pt x="2221753" y="2845092"/>
                  <a:pt x="2216192" y="2843281"/>
                  <a:pt x="2211559" y="2843699"/>
                </a:cubicBezTo>
                <a:close/>
                <a:moveTo>
                  <a:pt x="826011" y="2842862"/>
                </a:moveTo>
                <a:cubicBezTo>
                  <a:pt x="832034" y="2843281"/>
                  <a:pt x="839448" y="2845092"/>
                  <a:pt x="843620" y="2843699"/>
                </a:cubicBezTo>
                <a:cubicBezTo>
                  <a:pt x="843620" y="2850388"/>
                  <a:pt x="845473" y="2853315"/>
                  <a:pt x="849180" y="2854569"/>
                </a:cubicBezTo>
                <a:cubicBezTo>
                  <a:pt x="837131" y="2882859"/>
                  <a:pt x="833888" y="2843978"/>
                  <a:pt x="814889" y="2849412"/>
                </a:cubicBezTo>
                <a:cubicBezTo>
                  <a:pt x="814889" y="2843281"/>
                  <a:pt x="819522" y="2842305"/>
                  <a:pt x="826011" y="2842862"/>
                </a:cubicBezTo>
                <a:close/>
                <a:moveTo>
                  <a:pt x="1678191" y="2841887"/>
                </a:moveTo>
                <a:cubicBezTo>
                  <a:pt x="1663826" y="2844534"/>
                  <a:pt x="1651315" y="2848715"/>
                  <a:pt x="1646217" y="2863488"/>
                </a:cubicBezTo>
                <a:cubicBezTo>
                  <a:pt x="1660582" y="2860840"/>
                  <a:pt x="1676338" y="2858053"/>
                  <a:pt x="1678191" y="2841887"/>
                </a:cubicBezTo>
                <a:close/>
                <a:moveTo>
                  <a:pt x="2904796" y="2841329"/>
                </a:moveTo>
                <a:cubicBezTo>
                  <a:pt x="2902943" y="2842723"/>
                  <a:pt x="2901090" y="2843838"/>
                  <a:pt x="2897381" y="2845789"/>
                </a:cubicBezTo>
                <a:cubicBezTo>
                  <a:pt x="2899235" y="2845232"/>
                  <a:pt x="2901552" y="2844814"/>
                  <a:pt x="2903406" y="2843699"/>
                </a:cubicBezTo>
                <a:cubicBezTo>
                  <a:pt x="2903869" y="2842862"/>
                  <a:pt x="2904796" y="2842166"/>
                  <a:pt x="2904796" y="2841329"/>
                </a:cubicBezTo>
                <a:close/>
                <a:moveTo>
                  <a:pt x="2753266" y="2841051"/>
                </a:moveTo>
                <a:cubicBezTo>
                  <a:pt x="2750486" y="2842026"/>
                  <a:pt x="2750486" y="2846207"/>
                  <a:pt x="2750023" y="2849831"/>
                </a:cubicBezTo>
                <a:cubicBezTo>
                  <a:pt x="2754193" y="2849273"/>
                  <a:pt x="2758364" y="2848437"/>
                  <a:pt x="2762534" y="2847880"/>
                </a:cubicBezTo>
                <a:cubicBezTo>
                  <a:pt x="2759290" y="2845789"/>
                  <a:pt x="2756046" y="2844952"/>
                  <a:pt x="2753266" y="2841051"/>
                </a:cubicBezTo>
                <a:close/>
                <a:moveTo>
                  <a:pt x="2194877" y="2838124"/>
                </a:moveTo>
                <a:cubicBezTo>
                  <a:pt x="2154098" y="2837706"/>
                  <a:pt x="2112856" y="2837985"/>
                  <a:pt x="2078564" y="2849412"/>
                </a:cubicBezTo>
                <a:cubicBezTo>
                  <a:pt x="2081808" y="2837148"/>
                  <a:pt x="2074393" y="2839100"/>
                  <a:pt x="2067906" y="2840494"/>
                </a:cubicBezTo>
                <a:cubicBezTo>
                  <a:pt x="2066979" y="2846625"/>
                  <a:pt x="2061419" y="2847322"/>
                  <a:pt x="2054931" y="2848437"/>
                </a:cubicBezTo>
                <a:cubicBezTo>
                  <a:pt x="2089685" y="2877981"/>
                  <a:pt x="2130928" y="2828647"/>
                  <a:pt x="2196730" y="2843420"/>
                </a:cubicBezTo>
                <a:cubicBezTo>
                  <a:pt x="2196730" y="2841051"/>
                  <a:pt x="2195339" y="2839936"/>
                  <a:pt x="2194877" y="2838124"/>
                </a:cubicBezTo>
                <a:close/>
                <a:moveTo>
                  <a:pt x="2050297" y="2837148"/>
                </a:moveTo>
                <a:cubicBezTo>
                  <a:pt x="2044273" y="2838404"/>
                  <a:pt x="2038714" y="2839378"/>
                  <a:pt x="2033151" y="2840494"/>
                </a:cubicBezTo>
                <a:cubicBezTo>
                  <a:pt x="2030371" y="2842026"/>
                  <a:pt x="2027590" y="2843281"/>
                  <a:pt x="2027590" y="2848437"/>
                </a:cubicBezTo>
                <a:cubicBezTo>
                  <a:pt x="2033151" y="2860561"/>
                  <a:pt x="2052151" y="2852618"/>
                  <a:pt x="2050297" y="2837148"/>
                </a:cubicBezTo>
                <a:close/>
                <a:moveTo>
                  <a:pt x="1953911" y="2836870"/>
                </a:moveTo>
                <a:cubicBezTo>
                  <a:pt x="1953911" y="2836870"/>
                  <a:pt x="1953448" y="2837148"/>
                  <a:pt x="1952984" y="2837148"/>
                </a:cubicBezTo>
                <a:cubicBezTo>
                  <a:pt x="1953911" y="2837148"/>
                  <a:pt x="1954838" y="2837288"/>
                  <a:pt x="1955764" y="2837148"/>
                </a:cubicBezTo>
                <a:cubicBezTo>
                  <a:pt x="1955301" y="2837148"/>
                  <a:pt x="1954838" y="2836870"/>
                  <a:pt x="1953911" y="2836870"/>
                </a:cubicBezTo>
                <a:close/>
                <a:moveTo>
                  <a:pt x="1778750" y="2832411"/>
                </a:moveTo>
                <a:cubicBezTo>
                  <a:pt x="1778750" y="2843281"/>
                  <a:pt x="1762530" y="2836312"/>
                  <a:pt x="1760676" y="2847044"/>
                </a:cubicBezTo>
                <a:cubicBezTo>
                  <a:pt x="1776895" y="2847044"/>
                  <a:pt x="1785235" y="2836452"/>
                  <a:pt x="1793113" y="2852618"/>
                </a:cubicBezTo>
                <a:cubicBezTo>
                  <a:pt x="1793113" y="2855545"/>
                  <a:pt x="1790797" y="2856241"/>
                  <a:pt x="1788943" y="2857355"/>
                </a:cubicBezTo>
                <a:cubicBezTo>
                  <a:pt x="1795894" y="2856381"/>
                  <a:pt x="1802844" y="2855545"/>
                  <a:pt x="1809795" y="2854569"/>
                </a:cubicBezTo>
                <a:cubicBezTo>
                  <a:pt x="1798212" y="2848855"/>
                  <a:pt x="1787553" y="2841887"/>
                  <a:pt x="1778750" y="2832411"/>
                </a:cubicBezTo>
                <a:close/>
                <a:moveTo>
                  <a:pt x="1495151" y="2830181"/>
                </a:moveTo>
                <a:cubicBezTo>
                  <a:pt x="1493761" y="2829762"/>
                  <a:pt x="1491908" y="2831574"/>
                  <a:pt x="1490053" y="2836312"/>
                </a:cubicBezTo>
                <a:cubicBezTo>
                  <a:pt x="1501175" y="2848298"/>
                  <a:pt x="1451591" y="2835197"/>
                  <a:pt x="1452983" y="2852618"/>
                </a:cubicBezTo>
                <a:cubicBezTo>
                  <a:pt x="1464104" y="2859307"/>
                  <a:pt x="1473835" y="2840494"/>
                  <a:pt x="1494688" y="2852618"/>
                </a:cubicBezTo>
                <a:cubicBezTo>
                  <a:pt x="1501639" y="2849552"/>
                  <a:pt x="1499784" y="2831016"/>
                  <a:pt x="1495151" y="2830181"/>
                </a:cubicBezTo>
                <a:close/>
                <a:moveTo>
                  <a:pt x="2669854" y="2828369"/>
                </a:moveTo>
                <a:cubicBezTo>
                  <a:pt x="2662905" y="2832271"/>
                  <a:pt x="2658733" y="2839239"/>
                  <a:pt x="2655027" y="2847044"/>
                </a:cubicBezTo>
                <a:cubicBezTo>
                  <a:pt x="2659661" y="2847322"/>
                  <a:pt x="2664758" y="2847880"/>
                  <a:pt x="2669392" y="2847044"/>
                </a:cubicBezTo>
                <a:cubicBezTo>
                  <a:pt x="2669854" y="2840772"/>
                  <a:pt x="2669392" y="2835615"/>
                  <a:pt x="2669854" y="2828369"/>
                </a:cubicBezTo>
                <a:close/>
                <a:moveTo>
                  <a:pt x="2724072" y="2825581"/>
                </a:moveTo>
                <a:cubicBezTo>
                  <a:pt x="2712950" y="2836731"/>
                  <a:pt x="2695341" y="2832131"/>
                  <a:pt x="2683756" y="2843699"/>
                </a:cubicBezTo>
                <a:cubicBezTo>
                  <a:pt x="2686538" y="2842862"/>
                  <a:pt x="2689317" y="2842862"/>
                  <a:pt x="2692561" y="2841887"/>
                </a:cubicBezTo>
                <a:cubicBezTo>
                  <a:pt x="2692561" y="2848576"/>
                  <a:pt x="2694415" y="2851225"/>
                  <a:pt x="2697659" y="2852618"/>
                </a:cubicBezTo>
                <a:cubicBezTo>
                  <a:pt x="2697195" y="2854988"/>
                  <a:pt x="2696268" y="2855545"/>
                  <a:pt x="2695341" y="2856381"/>
                </a:cubicBezTo>
                <a:cubicBezTo>
                  <a:pt x="2701365" y="2855823"/>
                  <a:pt x="2708317" y="2854847"/>
                  <a:pt x="2714341" y="2854012"/>
                </a:cubicBezTo>
                <a:cubicBezTo>
                  <a:pt x="2718975" y="2848159"/>
                  <a:pt x="2722218" y="2839797"/>
                  <a:pt x="2724072" y="2825581"/>
                </a:cubicBezTo>
                <a:close/>
                <a:moveTo>
                  <a:pt x="2653636" y="2825025"/>
                </a:moveTo>
                <a:cubicBezTo>
                  <a:pt x="2647612" y="2831296"/>
                  <a:pt x="2611468" y="2815686"/>
                  <a:pt x="2611468" y="2852199"/>
                </a:cubicBezTo>
                <a:cubicBezTo>
                  <a:pt x="2599420" y="2849412"/>
                  <a:pt x="2599420" y="2852339"/>
                  <a:pt x="2591542" y="2854569"/>
                </a:cubicBezTo>
                <a:cubicBezTo>
                  <a:pt x="2593395" y="2855823"/>
                  <a:pt x="2595711" y="2855962"/>
                  <a:pt x="2597103" y="2857913"/>
                </a:cubicBezTo>
                <a:cubicBezTo>
                  <a:pt x="2597103" y="2859028"/>
                  <a:pt x="2597103" y="2859586"/>
                  <a:pt x="2597103" y="2860561"/>
                </a:cubicBezTo>
                <a:cubicBezTo>
                  <a:pt x="2604980" y="2860421"/>
                  <a:pt x="2613784" y="2860561"/>
                  <a:pt x="2621662" y="2860282"/>
                </a:cubicBezTo>
                <a:cubicBezTo>
                  <a:pt x="2623516" y="2859447"/>
                  <a:pt x="2623979" y="2857496"/>
                  <a:pt x="2624906" y="2856381"/>
                </a:cubicBezTo>
                <a:cubicBezTo>
                  <a:pt x="2623516" y="2856102"/>
                  <a:pt x="2620735" y="2856938"/>
                  <a:pt x="2618881" y="2856381"/>
                </a:cubicBezTo>
                <a:cubicBezTo>
                  <a:pt x="2621662" y="2850109"/>
                  <a:pt x="2625369" y="2849831"/>
                  <a:pt x="2628613" y="2850249"/>
                </a:cubicBezTo>
                <a:cubicBezTo>
                  <a:pt x="2630468" y="2847461"/>
                  <a:pt x="2633710" y="2846486"/>
                  <a:pt x="2633710" y="2841887"/>
                </a:cubicBezTo>
                <a:cubicBezTo>
                  <a:pt x="2637418" y="2844534"/>
                  <a:pt x="2641588" y="2843420"/>
                  <a:pt x="2645759" y="2844675"/>
                </a:cubicBezTo>
                <a:cubicBezTo>
                  <a:pt x="2648538" y="2838960"/>
                  <a:pt x="2648075" y="2828369"/>
                  <a:pt x="2653636" y="2825025"/>
                </a:cubicBezTo>
                <a:close/>
                <a:moveTo>
                  <a:pt x="2338992" y="2822654"/>
                </a:moveTo>
                <a:cubicBezTo>
                  <a:pt x="2335748" y="2824188"/>
                  <a:pt x="2331114" y="2824327"/>
                  <a:pt x="2327407" y="2825581"/>
                </a:cubicBezTo>
                <a:cubicBezTo>
                  <a:pt x="2330651" y="2827533"/>
                  <a:pt x="2334358" y="2829623"/>
                  <a:pt x="2335748" y="2833944"/>
                </a:cubicBezTo>
                <a:cubicBezTo>
                  <a:pt x="2337138" y="2833107"/>
                  <a:pt x="2338992" y="2833944"/>
                  <a:pt x="2340382" y="2833525"/>
                </a:cubicBezTo>
                <a:cubicBezTo>
                  <a:pt x="2339919" y="2830459"/>
                  <a:pt x="2339455" y="2826278"/>
                  <a:pt x="2338992" y="2822654"/>
                </a:cubicBezTo>
                <a:close/>
                <a:moveTo>
                  <a:pt x="1836209" y="2821818"/>
                </a:moveTo>
                <a:cubicBezTo>
                  <a:pt x="1829259" y="2825164"/>
                  <a:pt x="1836672" y="2836870"/>
                  <a:pt x="1829721" y="2841887"/>
                </a:cubicBezTo>
                <a:cubicBezTo>
                  <a:pt x="1829721" y="2833804"/>
                  <a:pt x="1826014" y="2828230"/>
                  <a:pt x="1819991" y="2826836"/>
                </a:cubicBezTo>
                <a:cubicBezTo>
                  <a:pt x="1819991" y="2836312"/>
                  <a:pt x="1826479" y="2837567"/>
                  <a:pt x="1825087" y="2847044"/>
                </a:cubicBezTo>
                <a:cubicBezTo>
                  <a:pt x="1832038" y="2843002"/>
                  <a:pt x="1838064" y="2847741"/>
                  <a:pt x="1842697" y="2849831"/>
                </a:cubicBezTo>
                <a:cubicBezTo>
                  <a:pt x="1844087" y="2849691"/>
                  <a:pt x="1845941" y="2849552"/>
                  <a:pt x="1847330" y="2849412"/>
                </a:cubicBezTo>
                <a:cubicBezTo>
                  <a:pt x="1847794" y="2848715"/>
                  <a:pt x="1848721" y="2848576"/>
                  <a:pt x="1848721" y="2847044"/>
                </a:cubicBezTo>
                <a:cubicBezTo>
                  <a:pt x="1845477" y="2847044"/>
                  <a:pt x="1842697" y="2847322"/>
                  <a:pt x="1844087" y="2841887"/>
                </a:cubicBezTo>
                <a:cubicBezTo>
                  <a:pt x="1851965" y="2831157"/>
                  <a:pt x="1840842" y="2832550"/>
                  <a:pt x="1848721" y="2821818"/>
                </a:cubicBezTo>
                <a:cubicBezTo>
                  <a:pt x="1842697" y="2820425"/>
                  <a:pt x="1838526" y="2820704"/>
                  <a:pt x="1836209" y="2821818"/>
                </a:cubicBezTo>
                <a:close/>
                <a:moveTo>
                  <a:pt x="2578104" y="2820285"/>
                </a:moveTo>
                <a:cubicBezTo>
                  <a:pt x="2568371" y="2824607"/>
                  <a:pt x="2584128" y="2830738"/>
                  <a:pt x="2581810" y="2841887"/>
                </a:cubicBezTo>
                <a:cubicBezTo>
                  <a:pt x="2573933" y="2844395"/>
                  <a:pt x="2566981" y="2842444"/>
                  <a:pt x="2562348" y="2838960"/>
                </a:cubicBezTo>
                <a:cubicBezTo>
                  <a:pt x="2563275" y="2844256"/>
                  <a:pt x="2565128" y="2848298"/>
                  <a:pt x="2567445" y="2847880"/>
                </a:cubicBezTo>
                <a:cubicBezTo>
                  <a:pt x="2567445" y="2848715"/>
                  <a:pt x="2566981" y="2848437"/>
                  <a:pt x="2566517" y="2848994"/>
                </a:cubicBezTo>
                <a:cubicBezTo>
                  <a:pt x="2573933" y="2848994"/>
                  <a:pt x="2581348" y="2849831"/>
                  <a:pt x="2587372" y="2852199"/>
                </a:cubicBezTo>
                <a:cubicBezTo>
                  <a:pt x="2585054" y="2835615"/>
                  <a:pt x="2590614" y="2827254"/>
                  <a:pt x="2578104" y="2820285"/>
                </a:cubicBezTo>
                <a:close/>
                <a:moveTo>
                  <a:pt x="1718507" y="2820285"/>
                </a:moveTo>
                <a:cubicBezTo>
                  <a:pt x="1705532" y="2818334"/>
                  <a:pt x="1687460" y="2838960"/>
                  <a:pt x="1682826" y="2847044"/>
                </a:cubicBezTo>
                <a:cubicBezTo>
                  <a:pt x="1690702" y="2849691"/>
                  <a:pt x="1693947" y="2838960"/>
                  <a:pt x="1697190" y="2847044"/>
                </a:cubicBezTo>
                <a:cubicBezTo>
                  <a:pt x="1692556" y="2863070"/>
                  <a:pt x="1682826" y="2870176"/>
                  <a:pt x="1668461" y="2863488"/>
                </a:cubicBezTo>
                <a:cubicBezTo>
                  <a:pt x="1667070" y="2870874"/>
                  <a:pt x="1670314" y="2872964"/>
                  <a:pt x="1674948" y="2873661"/>
                </a:cubicBezTo>
                <a:cubicBezTo>
                  <a:pt x="1689313" y="2871291"/>
                  <a:pt x="1704606" y="2869898"/>
                  <a:pt x="1719433" y="2867668"/>
                </a:cubicBezTo>
                <a:cubicBezTo>
                  <a:pt x="1710629" y="2861677"/>
                  <a:pt x="1712946" y="2844117"/>
                  <a:pt x="1705069" y="2836312"/>
                </a:cubicBezTo>
                <a:cubicBezTo>
                  <a:pt x="1705069" y="2838960"/>
                  <a:pt x="1701825" y="2843002"/>
                  <a:pt x="1701825" y="2836312"/>
                </a:cubicBezTo>
                <a:cubicBezTo>
                  <a:pt x="1712946" y="2829623"/>
                  <a:pt x="1714799" y="2825860"/>
                  <a:pt x="1729165" y="2831157"/>
                </a:cubicBezTo>
                <a:cubicBezTo>
                  <a:pt x="1726384" y="2824188"/>
                  <a:pt x="1722677" y="2820983"/>
                  <a:pt x="1718507" y="2820285"/>
                </a:cubicBezTo>
                <a:close/>
                <a:moveTo>
                  <a:pt x="933980" y="2820285"/>
                </a:moveTo>
                <a:cubicBezTo>
                  <a:pt x="934908" y="2819728"/>
                  <a:pt x="935834" y="2819867"/>
                  <a:pt x="936761" y="2820285"/>
                </a:cubicBezTo>
                <a:cubicBezTo>
                  <a:pt x="942786" y="2823212"/>
                  <a:pt x="948346" y="2842026"/>
                  <a:pt x="958078" y="2840075"/>
                </a:cubicBezTo>
                <a:cubicBezTo>
                  <a:pt x="954834" y="2844117"/>
                  <a:pt x="952980" y="2849273"/>
                  <a:pt x="952980" y="2855823"/>
                </a:cubicBezTo>
                <a:cubicBezTo>
                  <a:pt x="930273" y="2831854"/>
                  <a:pt x="917762" y="2878678"/>
                  <a:pt x="893666" y="2840075"/>
                </a:cubicBezTo>
                <a:cubicBezTo>
                  <a:pt x="908494" y="2840075"/>
                  <a:pt x="917762" y="2829205"/>
                  <a:pt x="925640" y="2845232"/>
                </a:cubicBezTo>
                <a:cubicBezTo>
                  <a:pt x="937225" y="2841190"/>
                  <a:pt x="933518" y="2828091"/>
                  <a:pt x="930273" y="2824188"/>
                </a:cubicBezTo>
                <a:cubicBezTo>
                  <a:pt x="931663" y="2822098"/>
                  <a:pt x="932591" y="2820843"/>
                  <a:pt x="933980" y="2820285"/>
                </a:cubicBezTo>
                <a:close/>
                <a:moveTo>
                  <a:pt x="2778752" y="2817917"/>
                </a:moveTo>
                <a:cubicBezTo>
                  <a:pt x="2772266" y="2820425"/>
                  <a:pt x="2766704" y="2837148"/>
                  <a:pt x="2761144" y="2840075"/>
                </a:cubicBezTo>
                <a:cubicBezTo>
                  <a:pt x="2762998" y="2852060"/>
                  <a:pt x="2777827" y="2840214"/>
                  <a:pt x="2784776" y="2841887"/>
                </a:cubicBezTo>
                <a:cubicBezTo>
                  <a:pt x="2782923" y="2845092"/>
                  <a:pt x="2781069" y="2844256"/>
                  <a:pt x="2779216" y="2846068"/>
                </a:cubicBezTo>
                <a:cubicBezTo>
                  <a:pt x="2782459" y="2845650"/>
                  <a:pt x="2785240" y="2844952"/>
                  <a:pt x="2788484" y="2844675"/>
                </a:cubicBezTo>
                <a:cubicBezTo>
                  <a:pt x="2795436" y="2837009"/>
                  <a:pt x="2800995" y="2826557"/>
                  <a:pt x="2785240" y="2825581"/>
                </a:cubicBezTo>
                <a:cubicBezTo>
                  <a:pt x="2786168" y="2825303"/>
                  <a:pt x="2787557" y="2825303"/>
                  <a:pt x="2788947" y="2825025"/>
                </a:cubicBezTo>
                <a:cubicBezTo>
                  <a:pt x="2787557" y="2824188"/>
                  <a:pt x="2785240" y="2825164"/>
                  <a:pt x="2785704" y="2821401"/>
                </a:cubicBezTo>
                <a:cubicBezTo>
                  <a:pt x="2782923" y="2818056"/>
                  <a:pt x="2780606" y="2817080"/>
                  <a:pt x="2778752" y="2817917"/>
                </a:cubicBezTo>
                <a:close/>
                <a:moveTo>
                  <a:pt x="2349650" y="2817638"/>
                </a:moveTo>
                <a:cubicBezTo>
                  <a:pt x="2345479" y="2820704"/>
                  <a:pt x="2343626" y="2825860"/>
                  <a:pt x="2344552" y="2832968"/>
                </a:cubicBezTo>
                <a:cubicBezTo>
                  <a:pt x="2346870" y="2832968"/>
                  <a:pt x="2349187" y="2831854"/>
                  <a:pt x="2351504" y="2832411"/>
                </a:cubicBezTo>
                <a:cubicBezTo>
                  <a:pt x="2356137" y="2831992"/>
                  <a:pt x="2363552" y="2834640"/>
                  <a:pt x="2370502" y="2837148"/>
                </a:cubicBezTo>
                <a:cubicBezTo>
                  <a:pt x="2369576" y="2831296"/>
                  <a:pt x="2368184" y="2825860"/>
                  <a:pt x="2364478" y="2822654"/>
                </a:cubicBezTo>
                <a:cubicBezTo>
                  <a:pt x="2364478" y="2826139"/>
                  <a:pt x="2362162" y="2828787"/>
                  <a:pt x="2352893" y="2828369"/>
                </a:cubicBezTo>
                <a:cubicBezTo>
                  <a:pt x="2351967" y="2825860"/>
                  <a:pt x="2350113" y="2821261"/>
                  <a:pt x="2349650" y="2817638"/>
                </a:cubicBezTo>
                <a:close/>
                <a:moveTo>
                  <a:pt x="2956696" y="2816105"/>
                </a:moveTo>
                <a:cubicBezTo>
                  <a:pt x="2955306" y="2826418"/>
                  <a:pt x="2944648" y="2812481"/>
                  <a:pt x="2940940" y="2823212"/>
                </a:cubicBezTo>
                <a:cubicBezTo>
                  <a:pt x="2942793" y="2830738"/>
                  <a:pt x="2951135" y="2827950"/>
                  <a:pt x="2958086" y="2826418"/>
                </a:cubicBezTo>
                <a:cubicBezTo>
                  <a:pt x="2961329" y="2825025"/>
                  <a:pt x="2964111" y="2823491"/>
                  <a:pt x="2967355" y="2821818"/>
                </a:cubicBezTo>
                <a:cubicBezTo>
                  <a:pt x="2966891" y="2820564"/>
                  <a:pt x="2967355" y="2818474"/>
                  <a:pt x="2966428" y="2816662"/>
                </a:cubicBezTo>
                <a:cubicBezTo>
                  <a:pt x="2963184" y="2816523"/>
                  <a:pt x="2960866" y="2815408"/>
                  <a:pt x="2956696" y="2816105"/>
                </a:cubicBezTo>
                <a:close/>
                <a:moveTo>
                  <a:pt x="2752340" y="2813457"/>
                </a:moveTo>
                <a:cubicBezTo>
                  <a:pt x="2751413" y="2814154"/>
                  <a:pt x="2749560" y="2813875"/>
                  <a:pt x="2748632" y="2814710"/>
                </a:cubicBezTo>
                <a:cubicBezTo>
                  <a:pt x="2748632" y="2820007"/>
                  <a:pt x="2753266" y="2820285"/>
                  <a:pt x="2757901" y="2820285"/>
                </a:cubicBezTo>
                <a:cubicBezTo>
                  <a:pt x="2755584" y="2824467"/>
                  <a:pt x="2753729" y="2826975"/>
                  <a:pt x="2750949" y="2828787"/>
                </a:cubicBezTo>
                <a:cubicBezTo>
                  <a:pt x="2750949" y="2830181"/>
                  <a:pt x="2751875" y="2830599"/>
                  <a:pt x="2751875" y="2832131"/>
                </a:cubicBezTo>
                <a:cubicBezTo>
                  <a:pt x="2743072" y="2834919"/>
                  <a:pt x="2736584" y="2839657"/>
                  <a:pt x="2735656" y="2849412"/>
                </a:cubicBezTo>
                <a:cubicBezTo>
                  <a:pt x="2750023" y="2845789"/>
                  <a:pt x="2752803" y="2830320"/>
                  <a:pt x="2762071" y="2819449"/>
                </a:cubicBezTo>
                <a:cubicBezTo>
                  <a:pt x="2759290" y="2815826"/>
                  <a:pt x="2756046" y="2814572"/>
                  <a:pt x="2752340" y="2813457"/>
                </a:cubicBezTo>
                <a:close/>
                <a:moveTo>
                  <a:pt x="2617492" y="2811367"/>
                </a:moveTo>
                <a:cubicBezTo>
                  <a:pt x="2613321" y="2812620"/>
                  <a:pt x="2609150" y="2813317"/>
                  <a:pt x="2604980" y="2814293"/>
                </a:cubicBezTo>
                <a:cubicBezTo>
                  <a:pt x="2601274" y="2820007"/>
                  <a:pt x="2597565" y="2827115"/>
                  <a:pt x="2592004" y="2829205"/>
                </a:cubicBezTo>
                <a:cubicBezTo>
                  <a:pt x="2598957" y="2834362"/>
                  <a:pt x="2610540" y="2820843"/>
                  <a:pt x="2617492" y="2811367"/>
                </a:cubicBezTo>
                <a:close/>
                <a:moveTo>
                  <a:pt x="1802382" y="2811088"/>
                </a:moveTo>
                <a:cubicBezTo>
                  <a:pt x="1789869" y="2809694"/>
                  <a:pt x="1786626" y="2817776"/>
                  <a:pt x="1788015" y="2832411"/>
                </a:cubicBezTo>
                <a:cubicBezTo>
                  <a:pt x="1791260" y="2841887"/>
                  <a:pt x="1824625" y="2837567"/>
                  <a:pt x="1807479" y="2826836"/>
                </a:cubicBezTo>
                <a:cubicBezTo>
                  <a:pt x="1805626" y="2834919"/>
                  <a:pt x="1800991" y="2827115"/>
                  <a:pt x="1807479" y="2821818"/>
                </a:cubicBezTo>
                <a:cubicBezTo>
                  <a:pt x="1797748" y="2821818"/>
                  <a:pt x="1797748" y="2817776"/>
                  <a:pt x="1802382" y="2811088"/>
                </a:cubicBezTo>
                <a:close/>
                <a:moveTo>
                  <a:pt x="2899698" y="2808161"/>
                </a:moveTo>
                <a:cubicBezTo>
                  <a:pt x="2899235" y="2808439"/>
                  <a:pt x="2898308" y="2808439"/>
                  <a:pt x="2897845" y="2808719"/>
                </a:cubicBezTo>
                <a:cubicBezTo>
                  <a:pt x="2899235" y="2808858"/>
                  <a:pt x="2900162" y="2808858"/>
                  <a:pt x="2901090" y="2808997"/>
                </a:cubicBezTo>
                <a:cubicBezTo>
                  <a:pt x="2900625" y="2809136"/>
                  <a:pt x="2900162" y="2807882"/>
                  <a:pt x="2899698" y="2808161"/>
                </a:cubicBezTo>
                <a:close/>
                <a:moveTo>
                  <a:pt x="1540100" y="2808161"/>
                </a:moveTo>
                <a:cubicBezTo>
                  <a:pt x="1537783" y="2813178"/>
                  <a:pt x="1534540" y="2814990"/>
                  <a:pt x="1532223" y="2817638"/>
                </a:cubicBezTo>
                <a:cubicBezTo>
                  <a:pt x="1533613" y="2818334"/>
                  <a:pt x="1536394" y="2817917"/>
                  <a:pt x="1536394" y="2820285"/>
                </a:cubicBezTo>
                <a:cubicBezTo>
                  <a:pt x="1517393" y="2837706"/>
                  <a:pt x="1526198" y="2836312"/>
                  <a:pt x="1503955" y="2847044"/>
                </a:cubicBezTo>
                <a:cubicBezTo>
                  <a:pt x="1510443" y="2847044"/>
                  <a:pt x="1520174" y="2845789"/>
                  <a:pt x="1516931" y="2857913"/>
                </a:cubicBezTo>
                <a:cubicBezTo>
                  <a:pt x="1525271" y="2852478"/>
                  <a:pt x="1541028" y="2854988"/>
                  <a:pt x="1545661" y="2847044"/>
                </a:cubicBezTo>
                <a:cubicBezTo>
                  <a:pt x="1537783" y="2847044"/>
                  <a:pt x="1532686" y="2843002"/>
                  <a:pt x="1531296" y="2836312"/>
                </a:cubicBezTo>
                <a:cubicBezTo>
                  <a:pt x="1540564" y="2832271"/>
                  <a:pt x="1567904" y="2824467"/>
                  <a:pt x="1573001" y="2831157"/>
                </a:cubicBezTo>
                <a:cubicBezTo>
                  <a:pt x="1564662" y="2836591"/>
                  <a:pt x="1548904" y="2830878"/>
                  <a:pt x="1550295" y="2847044"/>
                </a:cubicBezTo>
                <a:cubicBezTo>
                  <a:pt x="1580879" y="2841609"/>
                  <a:pt x="1607755" y="2825581"/>
                  <a:pt x="1631852" y="2847044"/>
                </a:cubicBezTo>
                <a:cubicBezTo>
                  <a:pt x="1633243" y="2835755"/>
                  <a:pt x="1626754" y="2833247"/>
                  <a:pt x="1627682" y="2826836"/>
                </a:cubicBezTo>
                <a:cubicBezTo>
                  <a:pt x="1626754" y="2826278"/>
                  <a:pt x="1625364" y="2827254"/>
                  <a:pt x="1624901" y="2826418"/>
                </a:cubicBezTo>
                <a:cubicBezTo>
                  <a:pt x="1624901" y="2823909"/>
                  <a:pt x="1627218" y="2822794"/>
                  <a:pt x="1628608" y="2821401"/>
                </a:cubicBezTo>
                <a:cubicBezTo>
                  <a:pt x="1629071" y="2820983"/>
                  <a:pt x="1628146" y="2820843"/>
                  <a:pt x="1628608" y="2820285"/>
                </a:cubicBezTo>
                <a:cubicBezTo>
                  <a:pt x="1612391" y="2826975"/>
                  <a:pt x="1617488" y="2812341"/>
                  <a:pt x="1609145" y="2811088"/>
                </a:cubicBezTo>
                <a:cubicBezTo>
                  <a:pt x="1602195" y="2826836"/>
                  <a:pt x="1587829" y="2814572"/>
                  <a:pt x="1568831" y="2816662"/>
                </a:cubicBezTo>
                <a:cubicBezTo>
                  <a:pt x="1569759" y="2817359"/>
                  <a:pt x="1569759" y="2819032"/>
                  <a:pt x="1571612" y="2819032"/>
                </a:cubicBezTo>
                <a:cubicBezTo>
                  <a:pt x="1585513" y="2828091"/>
                  <a:pt x="1547978" y="2819032"/>
                  <a:pt x="1561880" y="2808719"/>
                </a:cubicBezTo>
                <a:cubicBezTo>
                  <a:pt x="1561880" y="2808580"/>
                  <a:pt x="1561880" y="2808301"/>
                  <a:pt x="1561416" y="2808161"/>
                </a:cubicBezTo>
                <a:close/>
                <a:moveTo>
                  <a:pt x="2563739" y="2801193"/>
                </a:moveTo>
                <a:cubicBezTo>
                  <a:pt x="2548446" y="2802865"/>
                  <a:pt x="2533617" y="2802030"/>
                  <a:pt x="2525740" y="2820007"/>
                </a:cubicBezTo>
                <a:cubicBezTo>
                  <a:pt x="2515081" y="2802865"/>
                  <a:pt x="2499326" y="2824884"/>
                  <a:pt x="2496082" y="2807186"/>
                </a:cubicBezTo>
                <a:cubicBezTo>
                  <a:pt x="2487279" y="2809415"/>
                  <a:pt x="2488205" y="2821122"/>
                  <a:pt x="2485424" y="2827394"/>
                </a:cubicBezTo>
                <a:cubicBezTo>
                  <a:pt x="2474302" y="2825303"/>
                  <a:pt x="2421475" y="2807046"/>
                  <a:pt x="2417769" y="2829762"/>
                </a:cubicBezTo>
                <a:cubicBezTo>
                  <a:pt x="2402477" y="2814014"/>
                  <a:pt x="2384404" y="2821818"/>
                  <a:pt x="2370966" y="2820007"/>
                </a:cubicBezTo>
                <a:cubicBezTo>
                  <a:pt x="2372820" y="2824746"/>
                  <a:pt x="2377454" y="2830320"/>
                  <a:pt x="2373283" y="2838124"/>
                </a:cubicBezTo>
                <a:cubicBezTo>
                  <a:pt x="2383477" y="2842026"/>
                  <a:pt x="2392745" y="2846207"/>
                  <a:pt x="2399233" y="2848437"/>
                </a:cubicBezTo>
                <a:cubicBezTo>
                  <a:pt x="2395989" y="2857774"/>
                  <a:pt x="2390892" y="2849831"/>
                  <a:pt x="2384404" y="2848437"/>
                </a:cubicBezTo>
                <a:cubicBezTo>
                  <a:pt x="2386257" y="2855962"/>
                  <a:pt x="2389966" y="2860701"/>
                  <a:pt x="2393208" y="2863906"/>
                </a:cubicBezTo>
                <a:cubicBezTo>
                  <a:pt x="2416380" y="2863488"/>
                  <a:pt x="2436306" y="2863070"/>
                  <a:pt x="2459011" y="2862930"/>
                </a:cubicBezTo>
                <a:cubicBezTo>
                  <a:pt x="2458547" y="2861677"/>
                  <a:pt x="2458547" y="2860282"/>
                  <a:pt x="2458085" y="2859168"/>
                </a:cubicBezTo>
                <a:cubicBezTo>
                  <a:pt x="2463182" y="2851364"/>
                  <a:pt x="2479864" y="2859168"/>
                  <a:pt x="2491911" y="2862373"/>
                </a:cubicBezTo>
                <a:cubicBezTo>
                  <a:pt x="2500716" y="2862373"/>
                  <a:pt x="2509520" y="2862094"/>
                  <a:pt x="2517862" y="2862094"/>
                </a:cubicBezTo>
                <a:cubicBezTo>
                  <a:pt x="2516935" y="2853593"/>
                  <a:pt x="2517862" y="2843141"/>
                  <a:pt x="2509057" y="2852618"/>
                </a:cubicBezTo>
                <a:cubicBezTo>
                  <a:pt x="2494692" y="2828508"/>
                  <a:pt x="2535934" y="2845650"/>
                  <a:pt x="2541032" y="2836312"/>
                </a:cubicBezTo>
                <a:cubicBezTo>
                  <a:pt x="2543812" y="2845232"/>
                  <a:pt x="2551225" y="2847044"/>
                  <a:pt x="2558640" y="2847880"/>
                </a:cubicBezTo>
                <a:cubicBezTo>
                  <a:pt x="2555397" y="2840075"/>
                  <a:pt x="2556324" y="2825025"/>
                  <a:pt x="2568371" y="2827394"/>
                </a:cubicBezTo>
                <a:cubicBezTo>
                  <a:pt x="2565128" y="2814572"/>
                  <a:pt x="2550299" y="2809973"/>
                  <a:pt x="2563739" y="2801193"/>
                </a:cubicBezTo>
                <a:close/>
                <a:moveTo>
                  <a:pt x="1760676" y="2800217"/>
                </a:moveTo>
                <a:cubicBezTo>
                  <a:pt x="1751408" y="2809554"/>
                  <a:pt x="1732408" y="2809694"/>
                  <a:pt x="1733799" y="2831157"/>
                </a:cubicBezTo>
                <a:cubicBezTo>
                  <a:pt x="1767163" y="2829902"/>
                  <a:pt x="1756042" y="2828230"/>
                  <a:pt x="1775504" y="2816105"/>
                </a:cubicBezTo>
                <a:cubicBezTo>
                  <a:pt x="1761139" y="2818891"/>
                  <a:pt x="1752798" y="2809554"/>
                  <a:pt x="1760676" y="2800217"/>
                </a:cubicBezTo>
                <a:close/>
                <a:moveTo>
                  <a:pt x="470587" y="2799799"/>
                </a:moveTo>
                <a:lnTo>
                  <a:pt x="488659" y="2799799"/>
                </a:lnTo>
                <a:cubicBezTo>
                  <a:pt x="485415" y="2812620"/>
                  <a:pt x="454832" y="2819032"/>
                  <a:pt x="484025" y="2815268"/>
                </a:cubicBezTo>
                <a:cubicBezTo>
                  <a:pt x="479391" y="2825442"/>
                  <a:pt x="461319" y="2833107"/>
                  <a:pt x="453441" y="2824188"/>
                </a:cubicBezTo>
                <a:cubicBezTo>
                  <a:pt x="449271" y="2804955"/>
                  <a:pt x="475221" y="2819032"/>
                  <a:pt x="470587" y="2799799"/>
                </a:cubicBezTo>
                <a:close/>
                <a:moveTo>
                  <a:pt x="2727316" y="2797430"/>
                </a:moveTo>
                <a:cubicBezTo>
                  <a:pt x="2720829" y="2816105"/>
                  <a:pt x="2703220" y="2797012"/>
                  <a:pt x="2699512" y="2817917"/>
                </a:cubicBezTo>
                <a:cubicBezTo>
                  <a:pt x="2713879" y="2795479"/>
                  <a:pt x="2750949" y="2860561"/>
                  <a:pt x="2731949" y="2824188"/>
                </a:cubicBezTo>
                <a:cubicBezTo>
                  <a:pt x="2735656" y="2823491"/>
                  <a:pt x="2735194" y="2819310"/>
                  <a:pt x="2737511" y="2817638"/>
                </a:cubicBezTo>
                <a:cubicBezTo>
                  <a:pt x="2738438" y="2817359"/>
                  <a:pt x="2738438" y="2818056"/>
                  <a:pt x="2739364" y="2817917"/>
                </a:cubicBezTo>
                <a:cubicBezTo>
                  <a:pt x="2738901" y="2814710"/>
                  <a:pt x="2735656" y="2812620"/>
                  <a:pt x="2732877" y="2810112"/>
                </a:cubicBezTo>
                <a:cubicBezTo>
                  <a:pt x="2728706" y="2809136"/>
                  <a:pt x="2725462" y="2806489"/>
                  <a:pt x="2727316" y="2797430"/>
                </a:cubicBezTo>
                <a:close/>
                <a:moveTo>
                  <a:pt x="1017855" y="2793110"/>
                </a:moveTo>
                <a:cubicBezTo>
                  <a:pt x="1020636" y="2793667"/>
                  <a:pt x="1023416" y="2795340"/>
                  <a:pt x="1025269" y="2797988"/>
                </a:cubicBezTo>
                <a:cubicBezTo>
                  <a:pt x="1027123" y="2811785"/>
                  <a:pt x="1011831" y="2803841"/>
                  <a:pt x="1010441" y="2816105"/>
                </a:cubicBezTo>
                <a:cubicBezTo>
                  <a:pt x="1003953" y="2813039"/>
                  <a:pt x="1007197" y="2796315"/>
                  <a:pt x="992368" y="2803980"/>
                </a:cubicBezTo>
                <a:cubicBezTo>
                  <a:pt x="996075" y="2799381"/>
                  <a:pt x="1002099" y="2795340"/>
                  <a:pt x="1008588" y="2793667"/>
                </a:cubicBezTo>
                <a:cubicBezTo>
                  <a:pt x="1011831" y="2792832"/>
                  <a:pt x="1015075" y="2792552"/>
                  <a:pt x="1017855" y="2793110"/>
                </a:cubicBezTo>
                <a:close/>
                <a:moveTo>
                  <a:pt x="2698123" y="2790323"/>
                </a:moveTo>
                <a:cubicBezTo>
                  <a:pt x="2692098" y="2790741"/>
                  <a:pt x="2685610" y="2791020"/>
                  <a:pt x="2679586" y="2791298"/>
                </a:cubicBezTo>
                <a:cubicBezTo>
                  <a:pt x="2683293" y="2795201"/>
                  <a:pt x="2691171" y="2790044"/>
                  <a:pt x="2689317" y="2803562"/>
                </a:cubicBezTo>
                <a:cubicBezTo>
                  <a:pt x="2695805" y="2803701"/>
                  <a:pt x="2698123" y="2798406"/>
                  <a:pt x="2698123" y="2790323"/>
                </a:cubicBezTo>
                <a:close/>
                <a:moveTo>
                  <a:pt x="954834" y="2790044"/>
                </a:moveTo>
                <a:cubicBezTo>
                  <a:pt x="958078" y="2790044"/>
                  <a:pt x="961321" y="2791576"/>
                  <a:pt x="962248" y="2794225"/>
                </a:cubicBezTo>
                <a:cubicBezTo>
                  <a:pt x="975687" y="2806211"/>
                  <a:pt x="953443" y="2787257"/>
                  <a:pt x="957150" y="2799242"/>
                </a:cubicBezTo>
                <a:cubicBezTo>
                  <a:pt x="958541" y="2805931"/>
                  <a:pt x="969199" y="2803145"/>
                  <a:pt x="977540" y="2804538"/>
                </a:cubicBezTo>
                <a:cubicBezTo>
                  <a:pt x="976150" y="2813875"/>
                  <a:pt x="982637" y="2815268"/>
                  <a:pt x="980783" y="2824607"/>
                </a:cubicBezTo>
                <a:cubicBezTo>
                  <a:pt x="969199" y="2818056"/>
                  <a:pt x="962248" y="2812900"/>
                  <a:pt x="946957" y="2820843"/>
                </a:cubicBezTo>
                <a:cubicBezTo>
                  <a:pt x="948346" y="2806211"/>
                  <a:pt x="927956" y="2815268"/>
                  <a:pt x="933054" y="2799242"/>
                </a:cubicBezTo>
                <a:cubicBezTo>
                  <a:pt x="938152" y="2800636"/>
                  <a:pt x="962248" y="2798127"/>
                  <a:pt x="946957" y="2794225"/>
                </a:cubicBezTo>
                <a:cubicBezTo>
                  <a:pt x="947882" y="2791576"/>
                  <a:pt x="951126" y="2790044"/>
                  <a:pt x="954834" y="2790044"/>
                </a:cubicBezTo>
                <a:close/>
                <a:moveTo>
                  <a:pt x="1878363" y="2789343"/>
                </a:moveTo>
                <a:cubicBezTo>
                  <a:pt x="1861985" y="2789434"/>
                  <a:pt x="1847562" y="2791368"/>
                  <a:pt x="1844087" y="2805373"/>
                </a:cubicBezTo>
                <a:cubicBezTo>
                  <a:pt x="1858452" y="2797430"/>
                  <a:pt x="1888573" y="2808301"/>
                  <a:pt x="1895061" y="2789486"/>
                </a:cubicBezTo>
                <a:cubicBezTo>
                  <a:pt x="1889499" y="2789486"/>
                  <a:pt x="1883823" y="2789313"/>
                  <a:pt x="1878363" y="2789343"/>
                </a:cubicBezTo>
                <a:close/>
                <a:moveTo>
                  <a:pt x="1554466" y="2787675"/>
                </a:moveTo>
                <a:cubicBezTo>
                  <a:pt x="1557246" y="2791020"/>
                  <a:pt x="1558636" y="2795757"/>
                  <a:pt x="1560490" y="2799799"/>
                </a:cubicBezTo>
                <a:cubicBezTo>
                  <a:pt x="1560026" y="2796454"/>
                  <a:pt x="1560026" y="2793528"/>
                  <a:pt x="1563270" y="2789486"/>
                </a:cubicBezTo>
                <a:cubicBezTo>
                  <a:pt x="1558636" y="2790880"/>
                  <a:pt x="1556782" y="2788929"/>
                  <a:pt x="1554466" y="2787675"/>
                </a:cubicBezTo>
                <a:close/>
                <a:moveTo>
                  <a:pt x="2756046" y="2787117"/>
                </a:moveTo>
                <a:cubicBezTo>
                  <a:pt x="2746316" y="2787814"/>
                  <a:pt x="2736584" y="2788371"/>
                  <a:pt x="2727316" y="2789068"/>
                </a:cubicBezTo>
                <a:cubicBezTo>
                  <a:pt x="2728243" y="2791717"/>
                  <a:pt x="2729633" y="2791856"/>
                  <a:pt x="2731949" y="2796873"/>
                </a:cubicBezTo>
                <a:cubicBezTo>
                  <a:pt x="2746779" y="2797012"/>
                  <a:pt x="2751875" y="2792135"/>
                  <a:pt x="2756046" y="2787117"/>
                </a:cubicBezTo>
                <a:close/>
                <a:moveTo>
                  <a:pt x="2940014" y="2785305"/>
                </a:moveTo>
                <a:cubicBezTo>
                  <a:pt x="2936770" y="2787954"/>
                  <a:pt x="2935380" y="2791020"/>
                  <a:pt x="2932135" y="2792413"/>
                </a:cubicBezTo>
                <a:cubicBezTo>
                  <a:pt x="2930282" y="2793667"/>
                  <a:pt x="2930282" y="2793249"/>
                  <a:pt x="2928892" y="2793249"/>
                </a:cubicBezTo>
                <a:cubicBezTo>
                  <a:pt x="2923795" y="2794643"/>
                  <a:pt x="2919161" y="2794783"/>
                  <a:pt x="2913137" y="2794783"/>
                </a:cubicBezTo>
                <a:cubicBezTo>
                  <a:pt x="2911283" y="2798823"/>
                  <a:pt x="2912673" y="2803004"/>
                  <a:pt x="2909893" y="2811088"/>
                </a:cubicBezTo>
                <a:cubicBezTo>
                  <a:pt x="2909893" y="2811088"/>
                  <a:pt x="2910356" y="2811367"/>
                  <a:pt x="2910356" y="2811367"/>
                </a:cubicBezTo>
                <a:cubicBezTo>
                  <a:pt x="2917308" y="2813178"/>
                  <a:pt x="2923332" y="2814433"/>
                  <a:pt x="2928892" y="2816105"/>
                </a:cubicBezTo>
                <a:cubicBezTo>
                  <a:pt x="2934452" y="2815268"/>
                  <a:pt x="2937697" y="2814014"/>
                  <a:pt x="2943258" y="2813457"/>
                </a:cubicBezTo>
                <a:cubicBezTo>
                  <a:pt x="2940476" y="2812620"/>
                  <a:pt x="2938161" y="2811785"/>
                  <a:pt x="2935844" y="2813457"/>
                </a:cubicBezTo>
                <a:cubicBezTo>
                  <a:pt x="2935844" y="2808439"/>
                  <a:pt x="2939087" y="2806767"/>
                  <a:pt x="2943258" y="2805792"/>
                </a:cubicBezTo>
                <a:cubicBezTo>
                  <a:pt x="2945574" y="2799521"/>
                  <a:pt x="2948355" y="2794364"/>
                  <a:pt x="2953915" y="2790880"/>
                </a:cubicBezTo>
                <a:cubicBezTo>
                  <a:pt x="2953915" y="2790880"/>
                  <a:pt x="2954378" y="2789486"/>
                  <a:pt x="2955768" y="2789486"/>
                </a:cubicBezTo>
                <a:cubicBezTo>
                  <a:pt x="2946501" y="2792135"/>
                  <a:pt x="2943258" y="2787954"/>
                  <a:pt x="2940014" y="2785305"/>
                </a:cubicBezTo>
                <a:close/>
                <a:moveTo>
                  <a:pt x="2381623" y="2785305"/>
                </a:moveTo>
                <a:cubicBezTo>
                  <a:pt x="2382551" y="2786281"/>
                  <a:pt x="2383940" y="2786281"/>
                  <a:pt x="2384404" y="2787117"/>
                </a:cubicBezTo>
                <a:cubicBezTo>
                  <a:pt x="2385795" y="2786978"/>
                  <a:pt x="2387186" y="2786281"/>
                  <a:pt x="2388111" y="2786143"/>
                </a:cubicBezTo>
                <a:cubicBezTo>
                  <a:pt x="2385795" y="2785446"/>
                  <a:pt x="2384404" y="2786560"/>
                  <a:pt x="2381623" y="2785305"/>
                </a:cubicBezTo>
                <a:close/>
                <a:moveTo>
                  <a:pt x="2932135" y="2783773"/>
                </a:moveTo>
                <a:cubicBezTo>
                  <a:pt x="2932135" y="2783773"/>
                  <a:pt x="2932135" y="2783912"/>
                  <a:pt x="2932135" y="2785305"/>
                </a:cubicBezTo>
                <a:cubicBezTo>
                  <a:pt x="2933526" y="2785305"/>
                  <a:pt x="2933063" y="2783773"/>
                  <a:pt x="2934916" y="2783773"/>
                </a:cubicBezTo>
                <a:cubicBezTo>
                  <a:pt x="2933063" y="2783773"/>
                  <a:pt x="2933526" y="2783773"/>
                  <a:pt x="2932135" y="2783773"/>
                </a:cubicBezTo>
                <a:close/>
                <a:moveTo>
                  <a:pt x="2917308" y="2783773"/>
                </a:moveTo>
                <a:cubicBezTo>
                  <a:pt x="2917308" y="2785167"/>
                  <a:pt x="2917308" y="2785305"/>
                  <a:pt x="2917308" y="2785305"/>
                </a:cubicBezTo>
                <a:cubicBezTo>
                  <a:pt x="2919161" y="2785305"/>
                  <a:pt x="2920550" y="2785305"/>
                  <a:pt x="2922404" y="2785305"/>
                </a:cubicBezTo>
                <a:cubicBezTo>
                  <a:pt x="2920550" y="2785305"/>
                  <a:pt x="2919161" y="2783773"/>
                  <a:pt x="2917308" y="2783773"/>
                </a:cubicBezTo>
                <a:close/>
                <a:moveTo>
                  <a:pt x="1526198" y="2783773"/>
                </a:moveTo>
                <a:cubicBezTo>
                  <a:pt x="1521564" y="2790044"/>
                  <a:pt x="1522028" y="2794364"/>
                  <a:pt x="1522028" y="2797988"/>
                </a:cubicBezTo>
                <a:cubicBezTo>
                  <a:pt x="1534076" y="2798964"/>
                  <a:pt x="1545661" y="2798684"/>
                  <a:pt x="1553539" y="2787675"/>
                </a:cubicBezTo>
                <a:cubicBezTo>
                  <a:pt x="1550295" y="2785305"/>
                  <a:pt x="1547515" y="2782239"/>
                  <a:pt x="1541028" y="2783773"/>
                </a:cubicBezTo>
                <a:cubicBezTo>
                  <a:pt x="1541028" y="2806628"/>
                  <a:pt x="1532686" y="2783773"/>
                  <a:pt x="1526198" y="2783773"/>
                </a:cubicBezTo>
                <a:close/>
                <a:moveTo>
                  <a:pt x="2438621" y="2783494"/>
                </a:moveTo>
                <a:cubicBezTo>
                  <a:pt x="2431207" y="2785585"/>
                  <a:pt x="2424256" y="2787536"/>
                  <a:pt x="2417769" y="2789068"/>
                </a:cubicBezTo>
                <a:cubicBezTo>
                  <a:pt x="2426573" y="2791020"/>
                  <a:pt x="2435378" y="2793528"/>
                  <a:pt x="2443718" y="2797988"/>
                </a:cubicBezTo>
                <a:cubicBezTo>
                  <a:pt x="2441865" y="2787675"/>
                  <a:pt x="2440012" y="2786143"/>
                  <a:pt x="2438621" y="2783494"/>
                </a:cubicBezTo>
                <a:close/>
                <a:moveTo>
                  <a:pt x="2887188" y="2780567"/>
                </a:moveTo>
                <a:cubicBezTo>
                  <a:pt x="2885797" y="2784191"/>
                  <a:pt x="2884870" y="2787954"/>
                  <a:pt x="2882553" y="2790880"/>
                </a:cubicBezTo>
                <a:cubicBezTo>
                  <a:pt x="2873749" y="2799799"/>
                  <a:pt x="2860309" y="2802447"/>
                  <a:pt x="2845018" y="2803562"/>
                </a:cubicBezTo>
                <a:cubicBezTo>
                  <a:pt x="2845481" y="2804816"/>
                  <a:pt x="2845018" y="2805373"/>
                  <a:pt x="2845481" y="2806907"/>
                </a:cubicBezTo>
                <a:cubicBezTo>
                  <a:pt x="2834824" y="2795757"/>
                  <a:pt x="2811190" y="2816801"/>
                  <a:pt x="2796825" y="2824607"/>
                </a:cubicBezTo>
                <a:cubicBezTo>
                  <a:pt x="2819068" y="2820843"/>
                  <a:pt x="2845018" y="2818891"/>
                  <a:pt x="2870504" y="2816105"/>
                </a:cubicBezTo>
                <a:cubicBezTo>
                  <a:pt x="2876528" y="2811506"/>
                  <a:pt x="2883479" y="2809136"/>
                  <a:pt x="2891358" y="2808997"/>
                </a:cubicBezTo>
                <a:cubicBezTo>
                  <a:pt x="2893674" y="2800636"/>
                  <a:pt x="2900162" y="2798127"/>
                  <a:pt x="2906186" y="2793249"/>
                </a:cubicBezTo>
                <a:cubicBezTo>
                  <a:pt x="2896456" y="2793249"/>
                  <a:pt x="2889040" y="2792135"/>
                  <a:pt x="2881162" y="2797430"/>
                </a:cubicBezTo>
                <a:cubicBezTo>
                  <a:pt x="2879309" y="2794783"/>
                  <a:pt x="2880699" y="2793667"/>
                  <a:pt x="2882553" y="2790880"/>
                </a:cubicBezTo>
                <a:cubicBezTo>
                  <a:pt x="2887188" y="2786839"/>
                  <a:pt x="2898308" y="2786700"/>
                  <a:pt x="2910820" y="2786700"/>
                </a:cubicBezTo>
                <a:cubicBezTo>
                  <a:pt x="2910820" y="2785305"/>
                  <a:pt x="2910356" y="2783077"/>
                  <a:pt x="2909893" y="2781125"/>
                </a:cubicBezTo>
                <a:cubicBezTo>
                  <a:pt x="2902479" y="2781125"/>
                  <a:pt x="2894601" y="2780428"/>
                  <a:pt x="2887188" y="2780567"/>
                </a:cubicBezTo>
                <a:close/>
                <a:moveTo>
                  <a:pt x="2188389" y="2780149"/>
                </a:moveTo>
                <a:cubicBezTo>
                  <a:pt x="2191633" y="2800357"/>
                  <a:pt x="2215730" y="2802726"/>
                  <a:pt x="2230094" y="2796037"/>
                </a:cubicBezTo>
                <a:cubicBezTo>
                  <a:pt x="2230094" y="2802726"/>
                  <a:pt x="2210631" y="2812202"/>
                  <a:pt x="2224997" y="2817638"/>
                </a:cubicBezTo>
                <a:cubicBezTo>
                  <a:pt x="2236118" y="2802865"/>
                  <a:pt x="2233338" y="2803145"/>
                  <a:pt x="2247703" y="2812481"/>
                </a:cubicBezTo>
                <a:cubicBezTo>
                  <a:pt x="2247703" y="2808580"/>
                  <a:pt x="2249094" y="2807046"/>
                  <a:pt x="2250020" y="2804538"/>
                </a:cubicBezTo>
                <a:cubicBezTo>
                  <a:pt x="2249556" y="2804398"/>
                  <a:pt x="2249556" y="2803004"/>
                  <a:pt x="2249094" y="2803145"/>
                </a:cubicBezTo>
                <a:cubicBezTo>
                  <a:pt x="2249556" y="2803283"/>
                  <a:pt x="2250020" y="2803423"/>
                  <a:pt x="2250020" y="2803562"/>
                </a:cubicBezTo>
                <a:cubicBezTo>
                  <a:pt x="2250947" y="2801472"/>
                  <a:pt x="2250947" y="2797848"/>
                  <a:pt x="2252337" y="2796037"/>
                </a:cubicBezTo>
                <a:cubicBezTo>
                  <a:pt x="2231485" y="2785305"/>
                  <a:pt x="2207851" y="2786978"/>
                  <a:pt x="2188389" y="2780149"/>
                </a:cubicBezTo>
                <a:close/>
                <a:moveTo>
                  <a:pt x="2965963" y="2776387"/>
                </a:moveTo>
                <a:cubicBezTo>
                  <a:pt x="2963647" y="2775830"/>
                  <a:pt x="2964111" y="2777641"/>
                  <a:pt x="2962720" y="2777920"/>
                </a:cubicBezTo>
                <a:cubicBezTo>
                  <a:pt x="2964574" y="2781125"/>
                  <a:pt x="2965501" y="2785167"/>
                  <a:pt x="2968281" y="2786700"/>
                </a:cubicBezTo>
                <a:cubicBezTo>
                  <a:pt x="2968744" y="2786700"/>
                  <a:pt x="2969207" y="2786839"/>
                  <a:pt x="2969670" y="2786700"/>
                </a:cubicBezTo>
                <a:cubicBezTo>
                  <a:pt x="2968281" y="2785027"/>
                  <a:pt x="2966428" y="2783077"/>
                  <a:pt x="2965963" y="2776387"/>
                </a:cubicBezTo>
                <a:close/>
                <a:moveTo>
                  <a:pt x="2352893" y="2774575"/>
                </a:moveTo>
                <a:cubicBezTo>
                  <a:pt x="2349650" y="2777223"/>
                  <a:pt x="2346405" y="2778756"/>
                  <a:pt x="2339919" y="2778756"/>
                </a:cubicBezTo>
                <a:cubicBezTo>
                  <a:pt x="2339919" y="2781404"/>
                  <a:pt x="2339919" y="2781125"/>
                  <a:pt x="2339919" y="2783773"/>
                </a:cubicBezTo>
                <a:cubicBezTo>
                  <a:pt x="2335285" y="2783773"/>
                  <a:pt x="2333894" y="2782936"/>
                  <a:pt x="2332041" y="2780149"/>
                </a:cubicBezTo>
                <a:cubicBezTo>
                  <a:pt x="2324626" y="2781264"/>
                  <a:pt x="2319993" y="2784330"/>
                  <a:pt x="2318138" y="2791298"/>
                </a:cubicBezTo>
                <a:cubicBezTo>
                  <a:pt x="2322309" y="2788510"/>
                  <a:pt x="2327407" y="2787675"/>
                  <a:pt x="2330651" y="2784330"/>
                </a:cubicBezTo>
                <a:lnTo>
                  <a:pt x="2331578" y="2794225"/>
                </a:lnTo>
                <a:cubicBezTo>
                  <a:pt x="2333431" y="2794225"/>
                  <a:pt x="2336675" y="2793389"/>
                  <a:pt x="2338065" y="2793667"/>
                </a:cubicBezTo>
                <a:cubicBezTo>
                  <a:pt x="2339919" y="2788510"/>
                  <a:pt x="2351040" y="2788510"/>
                  <a:pt x="2352431" y="2793667"/>
                </a:cubicBezTo>
                <a:lnTo>
                  <a:pt x="2353232" y="2794692"/>
                </a:lnTo>
                <a:lnTo>
                  <a:pt x="2352893" y="2794783"/>
                </a:lnTo>
                <a:cubicBezTo>
                  <a:pt x="2352663" y="2794504"/>
                  <a:pt x="2353125" y="2794783"/>
                  <a:pt x="2353357" y="2794852"/>
                </a:cubicBezTo>
                <a:lnTo>
                  <a:pt x="2353232" y="2794692"/>
                </a:lnTo>
                <a:lnTo>
                  <a:pt x="2357064" y="2793667"/>
                </a:lnTo>
                <a:cubicBezTo>
                  <a:pt x="2357064" y="2786420"/>
                  <a:pt x="2352893" y="2782936"/>
                  <a:pt x="2352893" y="2774575"/>
                </a:cubicBezTo>
                <a:close/>
                <a:moveTo>
                  <a:pt x="3032692" y="2771649"/>
                </a:moveTo>
                <a:cubicBezTo>
                  <a:pt x="3030839" y="2773739"/>
                  <a:pt x="3028985" y="2775550"/>
                  <a:pt x="3024351" y="2774575"/>
                </a:cubicBezTo>
                <a:cubicBezTo>
                  <a:pt x="3025742" y="2779035"/>
                  <a:pt x="3029449" y="2780846"/>
                  <a:pt x="3032229" y="2783773"/>
                </a:cubicBezTo>
                <a:cubicBezTo>
                  <a:pt x="3034546" y="2783773"/>
                  <a:pt x="3036400" y="2784191"/>
                  <a:pt x="3038717" y="2783773"/>
                </a:cubicBezTo>
                <a:cubicBezTo>
                  <a:pt x="3038717" y="2782239"/>
                  <a:pt x="3038254" y="2780149"/>
                  <a:pt x="3039180" y="2779173"/>
                </a:cubicBezTo>
                <a:cubicBezTo>
                  <a:pt x="3038717" y="2778616"/>
                  <a:pt x="3038254" y="2777641"/>
                  <a:pt x="3037326" y="2777362"/>
                </a:cubicBezTo>
                <a:cubicBezTo>
                  <a:pt x="3038254" y="2776526"/>
                  <a:pt x="3039644" y="2775689"/>
                  <a:pt x="3041034" y="2774993"/>
                </a:cubicBezTo>
                <a:cubicBezTo>
                  <a:pt x="3041497" y="2774436"/>
                  <a:pt x="3041497" y="2773599"/>
                  <a:pt x="3041960" y="2773181"/>
                </a:cubicBezTo>
                <a:cubicBezTo>
                  <a:pt x="3038717" y="2772764"/>
                  <a:pt x="3035472" y="2772345"/>
                  <a:pt x="3032692" y="2771649"/>
                </a:cubicBezTo>
                <a:close/>
                <a:moveTo>
                  <a:pt x="851496" y="2766632"/>
                </a:moveTo>
                <a:cubicBezTo>
                  <a:pt x="848252" y="2782658"/>
                  <a:pt x="863544" y="2777223"/>
                  <a:pt x="860765" y="2793249"/>
                </a:cubicBezTo>
                <a:cubicBezTo>
                  <a:pt x="851033" y="2791995"/>
                  <a:pt x="846863" y="2794643"/>
                  <a:pt x="846863" y="2803980"/>
                </a:cubicBezTo>
                <a:cubicBezTo>
                  <a:pt x="840375" y="2797291"/>
                  <a:pt x="840375" y="2782380"/>
                  <a:pt x="829254" y="2782380"/>
                </a:cubicBezTo>
                <a:cubicBezTo>
                  <a:pt x="832498" y="2771649"/>
                  <a:pt x="840375" y="2769279"/>
                  <a:pt x="851496" y="2766632"/>
                </a:cubicBezTo>
                <a:close/>
                <a:moveTo>
                  <a:pt x="3142517" y="2765099"/>
                </a:moveTo>
                <a:cubicBezTo>
                  <a:pt x="3140664" y="2766493"/>
                  <a:pt x="3136956" y="2768164"/>
                  <a:pt x="3135566" y="2769001"/>
                </a:cubicBezTo>
                <a:lnTo>
                  <a:pt x="3135102" y="2765656"/>
                </a:lnTo>
                <a:cubicBezTo>
                  <a:pt x="3133249" y="2767746"/>
                  <a:pt x="3131858" y="2769837"/>
                  <a:pt x="3129541" y="2770812"/>
                </a:cubicBezTo>
                <a:cubicBezTo>
                  <a:pt x="3134638" y="2773321"/>
                  <a:pt x="3141126" y="2773739"/>
                  <a:pt x="3146687" y="2774993"/>
                </a:cubicBezTo>
                <a:cubicBezTo>
                  <a:pt x="3152711" y="2773599"/>
                  <a:pt x="3157809" y="2773181"/>
                  <a:pt x="3163369" y="2770812"/>
                </a:cubicBezTo>
                <a:cubicBezTo>
                  <a:pt x="3155956" y="2770254"/>
                  <a:pt x="3149005" y="2768025"/>
                  <a:pt x="3142517" y="2765099"/>
                </a:cubicBezTo>
                <a:close/>
                <a:moveTo>
                  <a:pt x="3087373" y="2763704"/>
                </a:moveTo>
                <a:cubicBezTo>
                  <a:pt x="3082275" y="2762868"/>
                  <a:pt x="3079032" y="2765237"/>
                  <a:pt x="3079495" y="2773181"/>
                </a:cubicBezTo>
                <a:cubicBezTo>
                  <a:pt x="3086909" y="2774854"/>
                  <a:pt x="3093860" y="2774714"/>
                  <a:pt x="3099885" y="2770812"/>
                </a:cubicBezTo>
                <a:cubicBezTo>
                  <a:pt x="3100348" y="2770115"/>
                  <a:pt x="3101275" y="2770115"/>
                  <a:pt x="3101275" y="2769279"/>
                </a:cubicBezTo>
                <a:cubicBezTo>
                  <a:pt x="3097104" y="2768164"/>
                  <a:pt x="3092007" y="2766910"/>
                  <a:pt x="3083666" y="2768025"/>
                </a:cubicBezTo>
                <a:cubicBezTo>
                  <a:pt x="3084592" y="2765099"/>
                  <a:pt x="3087373" y="2764680"/>
                  <a:pt x="3090154" y="2764262"/>
                </a:cubicBezTo>
                <a:cubicBezTo>
                  <a:pt x="3089227" y="2763983"/>
                  <a:pt x="3088299" y="2763844"/>
                  <a:pt x="3087373" y="2763704"/>
                </a:cubicBezTo>
                <a:close/>
                <a:moveTo>
                  <a:pt x="2746779" y="2762451"/>
                </a:moveTo>
                <a:cubicBezTo>
                  <a:pt x="2742145" y="2763704"/>
                  <a:pt x="2738901" y="2765377"/>
                  <a:pt x="2734267" y="2768025"/>
                </a:cubicBezTo>
                <a:cubicBezTo>
                  <a:pt x="2737975" y="2768722"/>
                  <a:pt x="2741681" y="2768861"/>
                  <a:pt x="2745388" y="2769279"/>
                </a:cubicBezTo>
                <a:cubicBezTo>
                  <a:pt x="2748632" y="2769001"/>
                  <a:pt x="2751875" y="2768861"/>
                  <a:pt x="2755119" y="2768443"/>
                </a:cubicBezTo>
                <a:cubicBezTo>
                  <a:pt x="2752340" y="2766632"/>
                  <a:pt x="2749096" y="2764402"/>
                  <a:pt x="2746779" y="2762451"/>
                </a:cubicBezTo>
                <a:close/>
                <a:moveTo>
                  <a:pt x="3638811" y="2760081"/>
                </a:moveTo>
                <a:cubicBezTo>
                  <a:pt x="3636496" y="2760081"/>
                  <a:pt x="3635104" y="2760360"/>
                  <a:pt x="3632788" y="2760500"/>
                </a:cubicBezTo>
                <a:cubicBezTo>
                  <a:pt x="3635104" y="2760917"/>
                  <a:pt x="3636958" y="2760778"/>
                  <a:pt x="3638811" y="2761336"/>
                </a:cubicBezTo>
                <a:cubicBezTo>
                  <a:pt x="3638811" y="2760639"/>
                  <a:pt x="3638811" y="2760778"/>
                  <a:pt x="3638811" y="2760081"/>
                </a:cubicBezTo>
                <a:close/>
                <a:moveTo>
                  <a:pt x="2247703" y="2760081"/>
                </a:moveTo>
                <a:cubicBezTo>
                  <a:pt x="2234728" y="2760081"/>
                  <a:pt x="2220364" y="2758549"/>
                  <a:pt x="2220364" y="2774575"/>
                </a:cubicBezTo>
                <a:cubicBezTo>
                  <a:pt x="2236118" y="2767886"/>
                  <a:pt x="2244459" y="2777362"/>
                  <a:pt x="2252337" y="2769279"/>
                </a:cubicBezTo>
                <a:cubicBezTo>
                  <a:pt x="2249094" y="2769279"/>
                  <a:pt x="2247703" y="2765377"/>
                  <a:pt x="2247703" y="2760081"/>
                </a:cubicBezTo>
                <a:close/>
                <a:moveTo>
                  <a:pt x="2418232" y="2757155"/>
                </a:moveTo>
                <a:cubicBezTo>
                  <a:pt x="2420086" y="2761196"/>
                  <a:pt x="2421475" y="2765517"/>
                  <a:pt x="2421475" y="2772206"/>
                </a:cubicBezTo>
                <a:cubicBezTo>
                  <a:pt x="2424719" y="2772206"/>
                  <a:pt x="2427963" y="2770812"/>
                  <a:pt x="2430744" y="2770812"/>
                </a:cubicBezTo>
                <a:cubicBezTo>
                  <a:pt x="2429354" y="2762729"/>
                  <a:pt x="2426110" y="2759943"/>
                  <a:pt x="2422866" y="2758688"/>
                </a:cubicBezTo>
                <a:cubicBezTo>
                  <a:pt x="2421475" y="2757294"/>
                  <a:pt x="2420086" y="2758549"/>
                  <a:pt x="2418232" y="2757155"/>
                </a:cubicBezTo>
                <a:close/>
                <a:moveTo>
                  <a:pt x="2290335" y="2757155"/>
                </a:moveTo>
                <a:cubicBezTo>
                  <a:pt x="2288944" y="2758549"/>
                  <a:pt x="2287555" y="2760081"/>
                  <a:pt x="2284312" y="2760081"/>
                </a:cubicBezTo>
                <a:cubicBezTo>
                  <a:pt x="2282920" y="2768164"/>
                  <a:pt x="2290799" y="2773181"/>
                  <a:pt x="2284312" y="2774575"/>
                </a:cubicBezTo>
                <a:cubicBezTo>
                  <a:pt x="2276434" y="2766493"/>
                  <a:pt x="2279678" y="2775969"/>
                  <a:pt x="2266703" y="2774575"/>
                </a:cubicBezTo>
                <a:cubicBezTo>
                  <a:pt x="2265311" y="2770533"/>
                  <a:pt x="2266703" y="2765099"/>
                  <a:pt x="2262068" y="2763704"/>
                </a:cubicBezTo>
                <a:cubicBezTo>
                  <a:pt x="2255581" y="2785167"/>
                  <a:pt x="2275970" y="2775830"/>
                  <a:pt x="2271337" y="2796037"/>
                </a:cubicBezTo>
                <a:cubicBezTo>
                  <a:pt x="2264849" y="2794643"/>
                  <a:pt x="2260679" y="2786560"/>
                  <a:pt x="2257435" y="2796037"/>
                </a:cubicBezTo>
                <a:cubicBezTo>
                  <a:pt x="2262068" y="2801333"/>
                  <a:pt x="2273190" y="2801611"/>
                  <a:pt x="2284312" y="2801611"/>
                </a:cubicBezTo>
                <a:cubicBezTo>
                  <a:pt x="2278286" y="2784191"/>
                  <a:pt x="2282457" y="2778896"/>
                  <a:pt x="2303310" y="2780149"/>
                </a:cubicBezTo>
                <a:cubicBezTo>
                  <a:pt x="2301458" y="2778896"/>
                  <a:pt x="2301920" y="2775969"/>
                  <a:pt x="2301920" y="2774575"/>
                </a:cubicBezTo>
                <a:cubicBezTo>
                  <a:pt x="2300066" y="2774575"/>
                  <a:pt x="2296823" y="2774436"/>
                  <a:pt x="2293579" y="2773181"/>
                </a:cubicBezTo>
                <a:cubicBezTo>
                  <a:pt x="2282457" y="2769140"/>
                  <a:pt x="2295434" y="2768025"/>
                  <a:pt x="2303310" y="2768025"/>
                </a:cubicBezTo>
                <a:cubicBezTo>
                  <a:pt x="2303310" y="2765377"/>
                  <a:pt x="2303310" y="2763704"/>
                  <a:pt x="2305164" y="2762451"/>
                </a:cubicBezTo>
                <a:cubicBezTo>
                  <a:pt x="2301920" y="2758409"/>
                  <a:pt x="2296823" y="2757155"/>
                  <a:pt x="2290335" y="2757155"/>
                </a:cubicBezTo>
                <a:close/>
                <a:moveTo>
                  <a:pt x="3131858" y="2756736"/>
                </a:moveTo>
                <a:cubicBezTo>
                  <a:pt x="3130932" y="2758130"/>
                  <a:pt x="3130005" y="2758688"/>
                  <a:pt x="3129541" y="2759524"/>
                </a:cubicBezTo>
                <a:cubicBezTo>
                  <a:pt x="3130932" y="2760360"/>
                  <a:pt x="3133249" y="2760360"/>
                  <a:pt x="3134638" y="2761336"/>
                </a:cubicBezTo>
                <a:cubicBezTo>
                  <a:pt x="3133712" y="2759802"/>
                  <a:pt x="3132785" y="2758270"/>
                  <a:pt x="3131858" y="2756736"/>
                </a:cubicBezTo>
                <a:close/>
                <a:moveTo>
                  <a:pt x="2680976" y="2755901"/>
                </a:moveTo>
                <a:cubicBezTo>
                  <a:pt x="2680050" y="2756319"/>
                  <a:pt x="2680050" y="2757712"/>
                  <a:pt x="2678659" y="2757712"/>
                </a:cubicBezTo>
                <a:cubicBezTo>
                  <a:pt x="2679124" y="2778616"/>
                  <a:pt x="2694415" y="2770533"/>
                  <a:pt x="2707390" y="2769279"/>
                </a:cubicBezTo>
                <a:cubicBezTo>
                  <a:pt x="2712024" y="2765237"/>
                  <a:pt x="2717585" y="2762310"/>
                  <a:pt x="2721292" y="2757155"/>
                </a:cubicBezTo>
                <a:cubicBezTo>
                  <a:pt x="2708317" y="2756458"/>
                  <a:pt x="2694415" y="2756180"/>
                  <a:pt x="2680976" y="2755901"/>
                </a:cubicBezTo>
                <a:close/>
                <a:moveTo>
                  <a:pt x="1695337" y="2754786"/>
                </a:moveTo>
                <a:cubicBezTo>
                  <a:pt x="1684216" y="2757434"/>
                  <a:pt x="1674948" y="2775689"/>
                  <a:pt x="1665217" y="2778756"/>
                </a:cubicBezTo>
                <a:cubicBezTo>
                  <a:pt x="1705069" y="2793528"/>
                  <a:pt x="1745384" y="2777362"/>
                  <a:pt x="1793113" y="2778756"/>
                </a:cubicBezTo>
                <a:cubicBezTo>
                  <a:pt x="1783383" y="2765377"/>
                  <a:pt x="1761139" y="2774436"/>
                  <a:pt x="1746774" y="2763704"/>
                </a:cubicBezTo>
                <a:cubicBezTo>
                  <a:pt x="1745384" y="2771788"/>
                  <a:pt x="1732408" y="2768025"/>
                  <a:pt x="1733799" y="2778756"/>
                </a:cubicBezTo>
                <a:cubicBezTo>
                  <a:pt x="1719433" y="2776107"/>
                  <a:pt x="1713410" y="2763983"/>
                  <a:pt x="1692556" y="2768025"/>
                </a:cubicBezTo>
                <a:cubicBezTo>
                  <a:pt x="1694410" y="2761336"/>
                  <a:pt x="1705069" y="2766632"/>
                  <a:pt x="1706460" y="2758688"/>
                </a:cubicBezTo>
                <a:cubicBezTo>
                  <a:pt x="1702752" y="2754925"/>
                  <a:pt x="1699045" y="2753949"/>
                  <a:pt x="1695337" y="2754786"/>
                </a:cubicBezTo>
                <a:close/>
                <a:moveTo>
                  <a:pt x="2477083" y="2752973"/>
                </a:moveTo>
                <a:cubicBezTo>
                  <a:pt x="2475694" y="2758409"/>
                  <a:pt x="2472450" y="2762729"/>
                  <a:pt x="2472450" y="2770812"/>
                </a:cubicBezTo>
                <a:cubicBezTo>
                  <a:pt x="2458085" y="2774854"/>
                  <a:pt x="2456694" y="2765099"/>
                  <a:pt x="2445573" y="2765099"/>
                </a:cubicBezTo>
                <a:cubicBezTo>
                  <a:pt x="2440012" y="2767467"/>
                  <a:pt x="2444645" y="2771788"/>
                  <a:pt x="2445109" y="2778756"/>
                </a:cubicBezTo>
                <a:cubicBezTo>
                  <a:pt x="2448353" y="2783354"/>
                  <a:pt x="2451133" y="2787814"/>
                  <a:pt x="2455767" y="2790880"/>
                </a:cubicBezTo>
                <a:cubicBezTo>
                  <a:pt x="2490985" y="2786560"/>
                  <a:pt x="2525276" y="2780289"/>
                  <a:pt x="2560957" y="2777362"/>
                </a:cubicBezTo>
                <a:cubicBezTo>
                  <a:pt x="2562348" y="2776665"/>
                  <a:pt x="2562811" y="2775272"/>
                  <a:pt x="2564664" y="2774993"/>
                </a:cubicBezTo>
                <a:cubicBezTo>
                  <a:pt x="2554007" y="2757573"/>
                  <a:pt x="2543812" y="2774017"/>
                  <a:pt x="2528984" y="2774993"/>
                </a:cubicBezTo>
                <a:cubicBezTo>
                  <a:pt x="2544275" y="2742661"/>
                  <a:pt x="2594322" y="2765237"/>
                  <a:pt x="2619809" y="2755901"/>
                </a:cubicBezTo>
                <a:cubicBezTo>
                  <a:pt x="2620735" y="2755343"/>
                  <a:pt x="2619345" y="2755064"/>
                  <a:pt x="2619345" y="2754507"/>
                </a:cubicBezTo>
                <a:cubicBezTo>
                  <a:pt x="2571616" y="2754507"/>
                  <a:pt x="2523423" y="2754228"/>
                  <a:pt x="2477083" y="2752973"/>
                </a:cubicBezTo>
                <a:close/>
                <a:moveTo>
                  <a:pt x="2765778" y="2752138"/>
                </a:moveTo>
                <a:cubicBezTo>
                  <a:pt x="2761144" y="2754786"/>
                  <a:pt x="2757901" y="2757294"/>
                  <a:pt x="2753266" y="2758688"/>
                </a:cubicBezTo>
                <a:cubicBezTo>
                  <a:pt x="2761144" y="2759943"/>
                  <a:pt x="2772266" y="2763983"/>
                  <a:pt x="2780606" y="2761336"/>
                </a:cubicBezTo>
                <a:cubicBezTo>
                  <a:pt x="2778752" y="2747957"/>
                  <a:pt x="2770875" y="2754786"/>
                  <a:pt x="2765778" y="2752138"/>
                </a:cubicBezTo>
                <a:close/>
                <a:moveTo>
                  <a:pt x="3693492" y="2751162"/>
                </a:moveTo>
                <a:cubicBezTo>
                  <a:pt x="3691175" y="2751302"/>
                  <a:pt x="3687931" y="2752416"/>
                  <a:pt x="3685614" y="2752416"/>
                </a:cubicBezTo>
                <a:cubicBezTo>
                  <a:pt x="3683298" y="2755761"/>
                  <a:pt x="3680981" y="2759246"/>
                  <a:pt x="3675883" y="2759524"/>
                </a:cubicBezTo>
                <a:cubicBezTo>
                  <a:pt x="3677274" y="2760500"/>
                  <a:pt x="3678200" y="2761336"/>
                  <a:pt x="3679127" y="2762451"/>
                </a:cubicBezTo>
                <a:cubicBezTo>
                  <a:pt x="3681444" y="2763008"/>
                  <a:pt x="3682834" y="2764262"/>
                  <a:pt x="3687931" y="2760081"/>
                </a:cubicBezTo>
                <a:cubicBezTo>
                  <a:pt x="3687005" y="2761893"/>
                  <a:pt x="3686541" y="2763286"/>
                  <a:pt x="3685614" y="2764820"/>
                </a:cubicBezTo>
                <a:cubicBezTo>
                  <a:pt x="3688395" y="2761754"/>
                  <a:pt x="3692102" y="2759663"/>
                  <a:pt x="3696273" y="2758688"/>
                </a:cubicBezTo>
                <a:cubicBezTo>
                  <a:pt x="3697199" y="2755343"/>
                  <a:pt x="3696273" y="2752973"/>
                  <a:pt x="3693492" y="2751162"/>
                </a:cubicBezTo>
                <a:close/>
                <a:moveTo>
                  <a:pt x="2298676" y="2749211"/>
                </a:moveTo>
                <a:cubicBezTo>
                  <a:pt x="2298676" y="2750465"/>
                  <a:pt x="2296823" y="2751720"/>
                  <a:pt x="2295434" y="2752973"/>
                </a:cubicBezTo>
                <a:cubicBezTo>
                  <a:pt x="2298214" y="2752973"/>
                  <a:pt x="2301920" y="2752973"/>
                  <a:pt x="2305164" y="2752973"/>
                </a:cubicBezTo>
                <a:cubicBezTo>
                  <a:pt x="2303310" y="2750326"/>
                  <a:pt x="2301920" y="2750465"/>
                  <a:pt x="2298676" y="2749211"/>
                </a:cubicBezTo>
                <a:close/>
                <a:moveTo>
                  <a:pt x="3366337" y="2745867"/>
                </a:moveTo>
                <a:cubicBezTo>
                  <a:pt x="3354752" y="2750187"/>
                  <a:pt x="3341776" y="2751162"/>
                  <a:pt x="3328801" y="2751162"/>
                </a:cubicBezTo>
                <a:cubicBezTo>
                  <a:pt x="3329727" y="2757155"/>
                  <a:pt x="3331582" y="2761614"/>
                  <a:pt x="3335288" y="2763704"/>
                </a:cubicBezTo>
                <a:cubicBezTo>
                  <a:pt x="3335753" y="2765237"/>
                  <a:pt x="3333435" y="2764820"/>
                  <a:pt x="3332972" y="2765656"/>
                </a:cubicBezTo>
                <a:cubicBezTo>
                  <a:pt x="3346411" y="2762171"/>
                  <a:pt x="3358458" y="2756319"/>
                  <a:pt x="3366337" y="2745867"/>
                </a:cubicBezTo>
                <a:close/>
                <a:moveTo>
                  <a:pt x="3569765" y="2743498"/>
                </a:moveTo>
                <a:cubicBezTo>
                  <a:pt x="3562815" y="2747121"/>
                  <a:pt x="3554937" y="2749769"/>
                  <a:pt x="3545669" y="2751580"/>
                </a:cubicBezTo>
                <a:cubicBezTo>
                  <a:pt x="3554937" y="2751302"/>
                  <a:pt x="3563742" y="2750883"/>
                  <a:pt x="3572546" y="2751162"/>
                </a:cubicBezTo>
                <a:cubicBezTo>
                  <a:pt x="3570692" y="2749489"/>
                  <a:pt x="3569303" y="2747539"/>
                  <a:pt x="3569765" y="2743498"/>
                </a:cubicBezTo>
                <a:close/>
                <a:moveTo>
                  <a:pt x="3940017" y="2742661"/>
                </a:moveTo>
                <a:cubicBezTo>
                  <a:pt x="3936773" y="2741964"/>
                  <a:pt x="3933994" y="2743079"/>
                  <a:pt x="3930750" y="2744055"/>
                </a:cubicBezTo>
                <a:cubicBezTo>
                  <a:pt x="3930750" y="2744752"/>
                  <a:pt x="3930750" y="2745309"/>
                  <a:pt x="3930750" y="2745867"/>
                </a:cubicBezTo>
                <a:cubicBezTo>
                  <a:pt x="3934458" y="2746702"/>
                  <a:pt x="3937237" y="2744612"/>
                  <a:pt x="3940481" y="2743218"/>
                </a:cubicBezTo>
                <a:cubicBezTo>
                  <a:pt x="3940017" y="2743079"/>
                  <a:pt x="3940017" y="2742661"/>
                  <a:pt x="3940017" y="2742661"/>
                </a:cubicBezTo>
                <a:close/>
                <a:moveTo>
                  <a:pt x="3539646" y="2742243"/>
                </a:moveTo>
                <a:cubicBezTo>
                  <a:pt x="3535474" y="2743915"/>
                  <a:pt x="3531304" y="2747260"/>
                  <a:pt x="3527134" y="2752416"/>
                </a:cubicBezTo>
                <a:cubicBezTo>
                  <a:pt x="3532230" y="2752138"/>
                  <a:pt x="3537329" y="2752277"/>
                  <a:pt x="3542426" y="2752138"/>
                </a:cubicBezTo>
                <a:cubicBezTo>
                  <a:pt x="3542889" y="2747678"/>
                  <a:pt x="3541500" y="2744891"/>
                  <a:pt x="3539646" y="2742243"/>
                </a:cubicBezTo>
                <a:close/>
                <a:moveTo>
                  <a:pt x="2832507" y="2741407"/>
                </a:moveTo>
                <a:cubicBezTo>
                  <a:pt x="2819995" y="2741546"/>
                  <a:pt x="2808873" y="2742243"/>
                  <a:pt x="2797752" y="2743498"/>
                </a:cubicBezTo>
                <a:cubicBezTo>
                  <a:pt x="2800995" y="2747539"/>
                  <a:pt x="2804239" y="2753253"/>
                  <a:pt x="2804239" y="2761336"/>
                </a:cubicBezTo>
                <a:cubicBezTo>
                  <a:pt x="2807483" y="2746564"/>
                  <a:pt x="2832507" y="2755761"/>
                  <a:pt x="2840848" y="2745030"/>
                </a:cubicBezTo>
                <a:cubicBezTo>
                  <a:pt x="2845018" y="2745727"/>
                  <a:pt x="2845944" y="2750606"/>
                  <a:pt x="2845481" y="2755901"/>
                </a:cubicBezTo>
                <a:cubicBezTo>
                  <a:pt x="2855677" y="2754089"/>
                  <a:pt x="2865871" y="2752556"/>
                  <a:pt x="2876066" y="2750606"/>
                </a:cubicBezTo>
                <a:cubicBezTo>
                  <a:pt x="2874675" y="2748514"/>
                  <a:pt x="2872821" y="2746981"/>
                  <a:pt x="2872821" y="2742243"/>
                </a:cubicBezTo>
                <a:cubicBezTo>
                  <a:pt x="2857994" y="2741686"/>
                  <a:pt x="2844555" y="2741128"/>
                  <a:pt x="2832507" y="2741407"/>
                </a:cubicBezTo>
                <a:close/>
                <a:moveTo>
                  <a:pt x="3721295" y="2737086"/>
                </a:moveTo>
                <a:lnTo>
                  <a:pt x="3721295" y="2740293"/>
                </a:lnTo>
                <a:cubicBezTo>
                  <a:pt x="3722223" y="2740989"/>
                  <a:pt x="3722686" y="2741686"/>
                  <a:pt x="3723612" y="2742243"/>
                </a:cubicBezTo>
                <a:cubicBezTo>
                  <a:pt x="3726393" y="2742103"/>
                  <a:pt x="3727784" y="2740570"/>
                  <a:pt x="3729173" y="2739317"/>
                </a:cubicBezTo>
                <a:cubicBezTo>
                  <a:pt x="3728246" y="2738620"/>
                  <a:pt x="3727321" y="2738062"/>
                  <a:pt x="3726393" y="2737086"/>
                </a:cubicBezTo>
                <a:cubicBezTo>
                  <a:pt x="3726393" y="2736947"/>
                  <a:pt x="3725930" y="2737086"/>
                  <a:pt x="3725930" y="2737086"/>
                </a:cubicBezTo>
                <a:cubicBezTo>
                  <a:pt x="3724539" y="2737086"/>
                  <a:pt x="3723150" y="2737086"/>
                  <a:pt x="3721295" y="2737086"/>
                </a:cubicBezTo>
                <a:close/>
                <a:moveTo>
                  <a:pt x="3458087" y="2735693"/>
                </a:moveTo>
                <a:cubicBezTo>
                  <a:pt x="3452064" y="2735693"/>
                  <a:pt x="3446039" y="2736251"/>
                  <a:pt x="3440479" y="2736112"/>
                </a:cubicBezTo>
                <a:cubicBezTo>
                  <a:pt x="3436772" y="2742383"/>
                  <a:pt x="3433064" y="2747957"/>
                  <a:pt x="3423334" y="2747957"/>
                </a:cubicBezTo>
                <a:cubicBezTo>
                  <a:pt x="3422870" y="2742661"/>
                  <a:pt x="3424261" y="2740570"/>
                  <a:pt x="3425187" y="2736669"/>
                </a:cubicBezTo>
                <a:cubicBezTo>
                  <a:pt x="3402017" y="2736808"/>
                  <a:pt x="3381165" y="2740432"/>
                  <a:pt x="3367262" y="2760917"/>
                </a:cubicBezTo>
                <a:cubicBezTo>
                  <a:pt x="3399237" y="2756039"/>
                  <a:pt x="3428430" y="2759246"/>
                  <a:pt x="3459015" y="2749769"/>
                </a:cubicBezTo>
                <a:cubicBezTo>
                  <a:pt x="3454845" y="2747817"/>
                  <a:pt x="3451137" y="2745867"/>
                  <a:pt x="3446966" y="2743498"/>
                </a:cubicBezTo>
                <a:cubicBezTo>
                  <a:pt x="3449748" y="2740570"/>
                  <a:pt x="3454381" y="2738480"/>
                  <a:pt x="3458087" y="2735693"/>
                </a:cubicBezTo>
                <a:close/>
                <a:moveTo>
                  <a:pt x="1976154" y="2730536"/>
                </a:moveTo>
                <a:lnTo>
                  <a:pt x="1994226" y="2730536"/>
                </a:lnTo>
                <a:lnTo>
                  <a:pt x="1994226" y="2746981"/>
                </a:lnTo>
                <a:cubicBezTo>
                  <a:pt x="1985421" y="2744194"/>
                  <a:pt x="1974764" y="2744333"/>
                  <a:pt x="1976154" y="2730536"/>
                </a:cubicBezTo>
                <a:close/>
                <a:moveTo>
                  <a:pt x="3682370" y="2727192"/>
                </a:moveTo>
                <a:cubicBezTo>
                  <a:pt x="3682834" y="2728586"/>
                  <a:pt x="3681444" y="2728865"/>
                  <a:pt x="3681444" y="2730119"/>
                </a:cubicBezTo>
                <a:cubicBezTo>
                  <a:pt x="3684225" y="2729701"/>
                  <a:pt x="3684688" y="2729701"/>
                  <a:pt x="3685614" y="2728167"/>
                </a:cubicBezTo>
                <a:cubicBezTo>
                  <a:pt x="3685614" y="2728167"/>
                  <a:pt x="3683760" y="2727053"/>
                  <a:pt x="3682370" y="2727192"/>
                </a:cubicBezTo>
                <a:close/>
                <a:moveTo>
                  <a:pt x="13555875" y="2723494"/>
                </a:moveTo>
                <a:cubicBezTo>
                  <a:pt x="13562826" y="2724887"/>
                  <a:pt x="13562826" y="2734642"/>
                  <a:pt x="13572558" y="2730602"/>
                </a:cubicBezTo>
                <a:cubicBezTo>
                  <a:pt x="13569312" y="2737429"/>
                  <a:pt x="13562363" y="2738963"/>
                  <a:pt x="13552633" y="2740357"/>
                </a:cubicBezTo>
                <a:cubicBezTo>
                  <a:pt x="13555875" y="2736176"/>
                  <a:pt x="13555875" y="2730322"/>
                  <a:pt x="13555875" y="2723494"/>
                </a:cubicBezTo>
                <a:close/>
                <a:moveTo>
                  <a:pt x="3517866" y="2723011"/>
                </a:moveTo>
                <a:cubicBezTo>
                  <a:pt x="3509062" y="2727749"/>
                  <a:pt x="3500257" y="2732767"/>
                  <a:pt x="3491452" y="2734717"/>
                </a:cubicBezTo>
                <a:cubicBezTo>
                  <a:pt x="3488672" y="2735275"/>
                  <a:pt x="3485892" y="2734300"/>
                  <a:pt x="3483111" y="2734717"/>
                </a:cubicBezTo>
                <a:cubicBezTo>
                  <a:pt x="3483111" y="2739177"/>
                  <a:pt x="3483111" y="2743915"/>
                  <a:pt x="3483575" y="2749211"/>
                </a:cubicBezTo>
                <a:lnTo>
                  <a:pt x="3484038" y="2754786"/>
                </a:lnTo>
                <a:cubicBezTo>
                  <a:pt x="3494233" y="2753949"/>
                  <a:pt x="3504891" y="2754228"/>
                  <a:pt x="3515085" y="2753531"/>
                </a:cubicBezTo>
                <a:cubicBezTo>
                  <a:pt x="3513232" y="2752138"/>
                  <a:pt x="3511378" y="2750606"/>
                  <a:pt x="3507208" y="2752416"/>
                </a:cubicBezTo>
                <a:cubicBezTo>
                  <a:pt x="3517866" y="2747817"/>
                  <a:pt x="3526670" y="2741825"/>
                  <a:pt x="3539182" y="2739317"/>
                </a:cubicBezTo>
                <a:cubicBezTo>
                  <a:pt x="3532694" y="2732349"/>
                  <a:pt x="3520647" y="2730676"/>
                  <a:pt x="3517866" y="2723011"/>
                </a:cubicBezTo>
                <a:close/>
                <a:moveTo>
                  <a:pt x="3670785" y="2717436"/>
                </a:moveTo>
                <a:cubicBezTo>
                  <a:pt x="3669859" y="2718552"/>
                  <a:pt x="3668469" y="2720223"/>
                  <a:pt x="3667079" y="2721199"/>
                </a:cubicBezTo>
                <a:cubicBezTo>
                  <a:pt x="3665689" y="2725241"/>
                  <a:pt x="3663834" y="2730119"/>
                  <a:pt x="3662444" y="2732905"/>
                </a:cubicBezTo>
                <a:cubicBezTo>
                  <a:pt x="3662908" y="2732905"/>
                  <a:pt x="3663372" y="2732767"/>
                  <a:pt x="3663834" y="2732905"/>
                </a:cubicBezTo>
                <a:cubicBezTo>
                  <a:pt x="3664761" y="2731930"/>
                  <a:pt x="3665689" y="2730258"/>
                  <a:pt x="3667079" y="2729562"/>
                </a:cubicBezTo>
                <a:cubicBezTo>
                  <a:pt x="3666615" y="2723150"/>
                  <a:pt x="3669396" y="2719806"/>
                  <a:pt x="3670785" y="2717436"/>
                </a:cubicBezTo>
                <a:close/>
                <a:moveTo>
                  <a:pt x="3547986" y="2716879"/>
                </a:moveTo>
                <a:cubicBezTo>
                  <a:pt x="3546596" y="2721757"/>
                  <a:pt x="3544744" y="2725241"/>
                  <a:pt x="3543353" y="2726914"/>
                </a:cubicBezTo>
                <a:cubicBezTo>
                  <a:pt x="3544279" y="2726635"/>
                  <a:pt x="3544744" y="2725799"/>
                  <a:pt x="3545669" y="2725799"/>
                </a:cubicBezTo>
                <a:cubicBezTo>
                  <a:pt x="3547986" y="2725102"/>
                  <a:pt x="3550303" y="2724823"/>
                  <a:pt x="3552620" y="2722175"/>
                </a:cubicBezTo>
                <a:cubicBezTo>
                  <a:pt x="3550767" y="2719527"/>
                  <a:pt x="3549376" y="2718273"/>
                  <a:pt x="3547986" y="2716879"/>
                </a:cubicBezTo>
                <a:close/>
                <a:moveTo>
                  <a:pt x="797280" y="2716043"/>
                </a:moveTo>
                <a:cubicBezTo>
                  <a:pt x="806547" y="2714510"/>
                  <a:pt x="819059" y="2725659"/>
                  <a:pt x="830181" y="2722454"/>
                </a:cubicBezTo>
                <a:cubicBezTo>
                  <a:pt x="833424" y="2751023"/>
                  <a:pt x="796353" y="2731094"/>
                  <a:pt x="788938" y="2722454"/>
                </a:cubicBezTo>
                <a:cubicBezTo>
                  <a:pt x="791255" y="2718273"/>
                  <a:pt x="794036" y="2716462"/>
                  <a:pt x="797280" y="2716043"/>
                </a:cubicBezTo>
                <a:close/>
                <a:moveTo>
                  <a:pt x="13494708" y="2715689"/>
                </a:moveTo>
                <a:cubicBezTo>
                  <a:pt x="13503512" y="2726142"/>
                  <a:pt x="13493317" y="2736176"/>
                  <a:pt x="13502122" y="2742726"/>
                </a:cubicBezTo>
                <a:cubicBezTo>
                  <a:pt x="13491927" y="2760982"/>
                  <a:pt x="13497487" y="2719035"/>
                  <a:pt x="13482658" y="2728232"/>
                </a:cubicBezTo>
                <a:cubicBezTo>
                  <a:pt x="13473854" y="2724329"/>
                  <a:pt x="13496098" y="2724748"/>
                  <a:pt x="13494708" y="2715689"/>
                </a:cubicBezTo>
                <a:close/>
                <a:moveTo>
                  <a:pt x="3722686" y="2715625"/>
                </a:moveTo>
                <a:cubicBezTo>
                  <a:pt x="3721295" y="2715765"/>
                  <a:pt x="3719906" y="2715625"/>
                  <a:pt x="3720369" y="2718273"/>
                </a:cubicBezTo>
                <a:cubicBezTo>
                  <a:pt x="3718978" y="2718552"/>
                  <a:pt x="3719442" y="2718552"/>
                  <a:pt x="3717588" y="2717436"/>
                </a:cubicBezTo>
                <a:cubicBezTo>
                  <a:pt x="3717588" y="2719388"/>
                  <a:pt x="3718052" y="2721757"/>
                  <a:pt x="3717588" y="2723568"/>
                </a:cubicBezTo>
                <a:cubicBezTo>
                  <a:pt x="3718978" y="2723011"/>
                  <a:pt x="3719442" y="2722872"/>
                  <a:pt x="3721295" y="2722175"/>
                </a:cubicBezTo>
                <a:lnTo>
                  <a:pt x="3721295" y="2728725"/>
                </a:lnTo>
                <a:cubicBezTo>
                  <a:pt x="3724539" y="2726773"/>
                  <a:pt x="3724539" y="2722175"/>
                  <a:pt x="3722686" y="2715625"/>
                </a:cubicBezTo>
                <a:close/>
                <a:moveTo>
                  <a:pt x="2684220" y="2714649"/>
                </a:moveTo>
                <a:cubicBezTo>
                  <a:pt x="2679586" y="2713674"/>
                  <a:pt x="2674489" y="2715904"/>
                  <a:pt x="2675417" y="2721199"/>
                </a:cubicBezTo>
                <a:cubicBezTo>
                  <a:pt x="2680976" y="2722036"/>
                  <a:pt x="2678659" y="2726635"/>
                  <a:pt x="2677732" y="2731930"/>
                </a:cubicBezTo>
                <a:cubicBezTo>
                  <a:pt x="2682367" y="2730536"/>
                  <a:pt x="2687927" y="2728865"/>
                  <a:pt x="2693024" y="2727192"/>
                </a:cubicBezTo>
                <a:cubicBezTo>
                  <a:pt x="2693024" y="2724962"/>
                  <a:pt x="2694415" y="2721618"/>
                  <a:pt x="2692561" y="2721199"/>
                </a:cubicBezTo>
                <a:cubicBezTo>
                  <a:pt x="2692561" y="2723987"/>
                  <a:pt x="2692561" y="2727610"/>
                  <a:pt x="2689317" y="2726356"/>
                </a:cubicBezTo>
                <a:cubicBezTo>
                  <a:pt x="2692561" y="2719667"/>
                  <a:pt x="2688855" y="2715765"/>
                  <a:pt x="2684220" y="2714649"/>
                </a:cubicBezTo>
                <a:close/>
                <a:moveTo>
                  <a:pt x="1293111" y="2714649"/>
                </a:moveTo>
                <a:cubicBezTo>
                  <a:pt x="1288477" y="2713674"/>
                  <a:pt x="1283380" y="2715904"/>
                  <a:pt x="1284306" y="2721199"/>
                </a:cubicBezTo>
                <a:cubicBezTo>
                  <a:pt x="1293574" y="2722593"/>
                  <a:pt x="1277819" y="2735554"/>
                  <a:pt x="1288941" y="2742243"/>
                </a:cubicBezTo>
                <a:cubicBezTo>
                  <a:pt x="1300062" y="2746284"/>
                  <a:pt x="1309793" y="2722593"/>
                  <a:pt x="1301915" y="2721199"/>
                </a:cubicBezTo>
                <a:cubicBezTo>
                  <a:pt x="1301915" y="2723987"/>
                  <a:pt x="1301452" y="2727610"/>
                  <a:pt x="1296819" y="2726356"/>
                </a:cubicBezTo>
                <a:cubicBezTo>
                  <a:pt x="1300526" y="2719667"/>
                  <a:pt x="1297282" y="2715765"/>
                  <a:pt x="1293111" y="2714649"/>
                </a:cubicBezTo>
                <a:close/>
                <a:moveTo>
                  <a:pt x="13453928" y="2706771"/>
                </a:moveTo>
                <a:cubicBezTo>
                  <a:pt x="13468757" y="2711229"/>
                  <a:pt x="13470610" y="2706492"/>
                  <a:pt x="13488683" y="2708025"/>
                </a:cubicBezTo>
                <a:cubicBezTo>
                  <a:pt x="13485439" y="2724469"/>
                  <a:pt x="13462269" y="2717223"/>
                  <a:pt x="13449295" y="2721682"/>
                </a:cubicBezTo>
                <a:cubicBezTo>
                  <a:pt x="13451149" y="2715689"/>
                  <a:pt x="13455320" y="2715689"/>
                  <a:pt x="13453928" y="2706771"/>
                </a:cubicBezTo>
                <a:close/>
                <a:moveTo>
                  <a:pt x="691162" y="2700157"/>
                </a:moveTo>
                <a:lnTo>
                  <a:pt x="711089" y="2700157"/>
                </a:lnTo>
                <a:cubicBezTo>
                  <a:pt x="709235" y="2707960"/>
                  <a:pt x="714332" y="2709075"/>
                  <a:pt x="720820" y="2709075"/>
                </a:cubicBezTo>
                <a:cubicBezTo>
                  <a:pt x="720820" y="2720781"/>
                  <a:pt x="693016" y="2718412"/>
                  <a:pt x="691162" y="2700157"/>
                </a:cubicBezTo>
                <a:close/>
                <a:moveTo>
                  <a:pt x="3764855" y="2699599"/>
                </a:moveTo>
                <a:cubicBezTo>
                  <a:pt x="3764391" y="2700016"/>
                  <a:pt x="3764391" y="2700435"/>
                  <a:pt x="3763928" y="2701132"/>
                </a:cubicBezTo>
                <a:cubicBezTo>
                  <a:pt x="3763928" y="2701689"/>
                  <a:pt x="3763928" y="2701968"/>
                  <a:pt x="3763928" y="2702525"/>
                </a:cubicBezTo>
                <a:cubicBezTo>
                  <a:pt x="3764855" y="2702107"/>
                  <a:pt x="3765781" y="2701828"/>
                  <a:pt x="3766709" y="2701410"/>
                </a:cubicBezTo>
                <a:cubicBezTo>
                  <a:pt x="3766709" y="2701132"/>
                  <a:pt x="3766709" y="2700435"/>
                  <a:pt x="3766709" y="2700157"/>
                </a:cubicBezTo>
                <a:cubicBezTo>
                  <a:pt x="3766245" y="2700157"/>
                  <a:pt x="3765317" y="2699599"/>
                  <a:pt x="3764855" y="2699599"/>
                </a:cubicBezTo>
                <a:close/>
                <a:moveTo>
                  <a:pt x="13652493" y="2698652"/>
                </a:moveTo>
                <a:cubicBezTo>
                  <a:pt x="13653303" y="2698304"/>
                  <a:pt x="13654114" y="2698408"/>
                  <a:pt x="13655043" y="2698827"/>
                </a:cubicBezTo>
                <a:cubicBezTo>
                  <a:pt x="13660602" y="2701335"/>
                  <a:pt x="13666625" y="2716804"/>
                  <a:pt x="13664773" y="2727814"/>
                </a:cubicBezTo>
                <a:cubicBezTo>
                  <a:pt x="13643921" y="2726420"/>
                  <a:pt x="13668943" y="2702450"/>
                  <a:pt x="13649946" y="2701196"/>
                </a:cubicBezTo>
                <a:cubicBezTo>
                  <a:pt x="13650870" y="2699802"/>
                  <a:pt x="13651683" y="2699001"/>
                  <a:pt x="13652493" y="2698652"/>
                </a:cubicBezTo>
                <a:close/>
                <a:moveTo>
                  <a:pt x="3752806" y="2698206"/>
                </a:moveTo>
                <a:cubicBezTo>
                  <a:pt x="3753270" y="2699739"/>
                  <a:pt x="3753735" y="2701272"/>
                  <a:pt x="3754196" y="2702525"/>
                </a:cubicBezTo>
                <a:cubicBezTo>
                  <a:pt x="3754660" y="2702386"/>
                  <a:pt x="3755124" y="2702107"/>
                  <a:pt x="3756050" y="2701968"/>
                </a:cubicBezTo>
                <a:cubicBezTo>
                  <a:pt x="3756513" y="2701272"/>
                  <a:pt x="3756513" y="2699877"/>
                  <a:pt x="3756977" y="2698763"/>
                </a:cubicBezTo>
                <a:cubicBezTo>
                  <a:pt x="3755587" y="2698623"/>
                  <a:pt x="3754196" y="2698484"/>
                  <a:pt x="3752806" y="2698206"/>
                </a:cubicBezTo>
                <a:close/>
                <a:moveTo>
                  <a:pt x="3218513" y="2697787"/>
                </a:moveTo>
                <a:cubicBezTo>
                  <a:pt x="3216196" y="2698345"/>
                  <a:pt x="3214342" y="2699181"/>
                  <a:pt x="3212490" y="2699599"/>
                </a:cubicBezTo>
                <a:cubicBezTo>
                  <a:pt x="3212026" y="2700853"/>
                  <a:pt x="3212026" y="2701410"/>
                  <a:pt x="3211562" y="2701968"/>
                </a:cubicBezTo>
                <a:cubicBezTo>
                  <a:pt x="3214806" y="2701132"/>
                  <a:pt x="3217123" y="2700157"/>
                  <a:pt x="3218513" y="2697787"/>
                </a:cubicBezTo>
                <a:close/>
                <a:moveTo>
                  <a:pt x="1104973" y="2697787"/>
                </a:moveTo>
                <a:cubicBezTo>
                  <a:pt x="1102657" y="2698206"/>
                  <a:pt x="1100803" y="2697508"/>
                  <a:pt x="1098022" y="2698206"/>
                </a:cubicBezTo>
                <a:cubicBezTo>
                  <a:pt x="1103120" y="2705033"/>
                  <a:pt x="1101729" y="2706705"/>
                  <a:pt x="1096633" y="2707124"/>
                </a:cubicBezTo>
                <a:cubicBezTo>
                  <a:pt x="1100803" y="2709633"/>
                  <a:pt x="1104973" y="2713256"/>
                  <a:pt x="1104046" y="2721199"/>
                </a:cubicBezTo>
                <a:cubicBezTo>
                  <a:pt x="1114242" y="2716879"/>
                  <a:pt x="1105900" y="2708378"/>
                  <a:pt x="1104973" y="2697787"/>
                </a:cubicBezTo>
                <a:close/>
                <a:moveTo>
                  <a:pt x="3683760" y="2697230"/>
                </a:moveTo>
                <a:cubicBezTo>
                  <a:pt x="3674493" y="2697091"/>
                  <a:pt x="3665225" y="2697926"/>
                  <a:pt x="3655957" y="2697787"/>
                </a:cubicBezTo>
                <a:cubicBezTo>
                  <a:pt x="3655957" y="2698484"/>
                  <a:pt x="3655957" y="2699042"/>
                  <a:pt x="3655957" y="2699599"/>
                </a:cubicBezTo>
                <a:cubicBezTo>
                  <a:pt x="3661981" y="2700992"/>
                  <a:pt x="3668932" y="2701132"/>
                  <a:pt x="3676810" y="2701132"/>
                </a:cubicBezTo>
                <a:cubicBezTo>
                  <a:pt x="3674493" y="2705452"/>
                  <a:pt x="3673103" y="2708100"/>
                  <a:pt x="3675420" y="2710051"/>
                </a:cubicBezTo>
                <a:cubicBezTo>
                  <a:pt x="3679127" y="2707681"/>
                  <a:pt x="3681444" y="2702804"/>
                  <a:pt x="3683760" y="2697230"/>
                </a:cubicBezTo>
                <a:close/>
                <a:moveTo>
                  <a:pt x="3712028" y="2696394"/>
                </a:moveTo>
                <a:cubicBezTo>
                  <a:pt x="3708321" y="2696533"/>
                  <a:pt x="3704151" y="2696952"/>
                  <a:pt x="3699980" y="2696952"/>
                </a:cubicBezTo>
                <a:cubicBezTo>
                  <a:pt x="3697662" y="2699460"/>
                  <a:pt x="3697199" y="2702804"/>
                  <a:pt x="3694419" y="2704755"/>
                </a:cubicBezTo>
                <a:cubicBezTo>
                  <a:pt x="3696273" y="2709771"/>
                  <a:pt x="3698590" y="2715207"/>
                  <a:pt x="3700907" y="2720364"/>
                </a:cubicBezTo>
                <a:cubicBezTo>
                  <a:pt x="3704614" y="2718412"/>
                  <a:pt x="3708321" y="2717576"/>
                  <a:pt x="3716199" y="2715068"/>
                </a:cubicBezTo>
                <a:cubicBezTo>
                  <a:pt x="3713882" y="2708657"/>
                  <a:pt x="3714808" y="2696254"/>
                  <a:pt x="3706467" y="2704336"/>
                </a:cubicBezTo>
                <a:cubicBezTo>
                  <a:pt x="3707395" y="2700714"/>
                  <a:pt x="3709711" y="2698484"/>
                  <a:pt x="3712028" y="2696394"/>
                </a:cubicBezTo>
                <a:close/>
                <a:moveTo>
                  <a:pt x="1122119" y="2696394"/>
                </a:moveTo>
                <a:cubicBezTo>
                  <a:pt x="1121192" y="2696254"/>
                  <a:pt x="1119802" y="2696952"/>
                  <a:pt x="1118412" y="2696952"/>
                </a:cubicBezTo>
                <a:cubicBezTo>
                  <a:pt x="1117949" y="2703500"/>
                  <a:pt x="1119802" y="2711444"/>
                  <a:pt x="1123046" y="2721199"/>
                </a:cubicBezTo>
                <a:cubicBezTo>
                  <a:pt x="1140655" y="2723987"/>
                  <a:pt x="1136020" y="2699320"/>
                  <a:pt x="1155020" y="2704755"/>
                </a:cubicBezTo>
                <a:cubicBezTo>
                  <a:pt x="1155020" y="2700853"/>
                  <a:pt x="1150386" y="2700853"/>
                  <a:pt x="1145751" y="2699599"/>
                </a:cubicBezTo>
                <a:cubicBezTo>
                  <a:pt x="1145751" y="2699739"/>
                  <a:pt x="1145288" y="2699599"/>
                  <a:pt x="1145288" y="2699599"/>
                </a:cubicBezTo>
                <a:cubicBezTo>
                  <a:pt x="1138338" y="2698484"/>
                  <a:pt x="1130923" y="2697091"/>
                  <a:pt x="1122119" y="2696394"/>
                </a:cubicBezTo>
                <a:close/>
                <a:moveTo>
                  <a:pt x="4095717" y="2696254"/>
                </a:moveTo>
                <a:cubicBezTo>
                  <a:pt x="4092938" y="2696811"/>
                  <a:pt x="4090621" y="2697230"/>
                  <a:pt x="4088304" y="2697787"/>
                </a:cubicBezTo>
                <a:cubicBezTo>
                  <a:pt x="4088767" y="2697926"/>
                  <a:pt x="4089230" y="2698484"/>
                  <a:pt x="4089694" y="2698763"/>
                </a:cubicBezTo>
                <a:cubicBezTo>
                  <a:pt x="4091548" y="2697508"/>
                  <a:pt x="4093401" y="2697091"/>
                  <a:pt x="4095717" y="2696254"/>
                </a:cubicBezTo>
                <a:close/>
                <a:moveTo>
                  <a:pt x="4102205" y="2692630"/>
                </a:moveTo>
                <a:cubicBezTo>
                  <a:pt x="4100352" y="2694442"/>
                  <a:pt x="4098498" y="2695418"/>
                  <a:pt x="4096182" y="2695976"/>
                </a:cubicBezTo>
                <a:cubicBezTo>
                  <a:pt x="4098498" y="2695000"/>
                  <a:pt x="4100815" y="2693606"/>
                  <a:pt x="4102669" y="2693049"/>
                </a:cubicBezTo>
                <a:cubicBezTo>
                  <a:pt x="4102669" y="2692909"/>
                  <a:pt x="4102205" y="2692770"/>
                  <a:pt x="4102205" y="2692630"/>
                </a:cubicBezTo>
                <a:close/>
                <a:moveTo>
                  <a:pt x="3191636" y="2690402"/>
                </a:moveTo>
                <a:cubicBezTo>
                  <a:pt x="3191636" y="2691795"/>
                  <a:pt x="3190246" y="2694025"/>
                  <a:pt x="3185612" y="2694025"/>
                </a:cubicBezTo>
                <a:cubicBezTo>
                  <a:pt x="3188857" y="2710190"/>
                  <a:pt x="3194881" y="2702386"/>
                  <a:pt x="3206002" y="2699599"/>
                </a:cubicBezTo>
                <a:cubicBezTo>
                  <a:pt x="3207855" y="2698345"/>
                  <a:pt x="3209709" y="2695418"/>
                  <a:pt x="3212490" y="2695418"/>
                </a:cubicBezTo>
                <a:cubicBezTo>
                  <a:pt x="3207855" y="2695418"/>
                  <a:pt x="3199514" y="2691795"/>
                  <a:pt x="3191636" y="2690402"/>
                </a:cubicBezTo>
                <a:close/>
                <a:moveTo>
                  <a:pt x="3140664" y="2689007"/>
                </a:moveTo>
                <a:cubicBezTo>
                  <a:pt x="3136030" y="2689286"/>
                  <a:pt x="3130469" y="2691376"/>
                  <a:pt x="3126762" y="2694025"/>
                </a:cubicBezTo>
                <a:cubicBezTo>
                  <a:pt x="3133249" y="2694025"/>
                  <a:pt x="3140664" y="2694025"/>
                  <a:pt x="3148541" y="2694025"/>
                </a:cubicBezTo>
                <a:cubicBezTo>
                  <a:pt x="3148541" y="2689983"/>
                  <a:pt x="3145297" y="2688589"/>
                  <a:pt x="3140664" y="2689007"/>
                </a:cubicBezTo>
                <a:close/>
                <a:moveTo>
                  <a:pt x="3230750" y="2688222"/>
                </a:moveTo>
                <a:lnTo>
                  <a:pt x="3230562" y="2688450"/>
                </a:lnTo>
                <a:lnTo>
                  <a:pt x="3231694" y="2688483"/>
                </a:lnTo>
                <a:close/>
                <a:moveTo>
                  <a:pt x="1041952" y="2688032"/>
                </a:moveTo>
                <a:cubicBezTo>
                  <a:pt x="1048438" y="2688868"/>
                  <a:pt x="1054000" y="2694025"/>
                  <a:pt x="1051219" y="2708518"/>
                </a:cubicBezTo>
                <a:cubicBezTo>
                  <a:pt x="1040098" y="2708518"/>
                  <a:pt x="1035464" y="2696533"/>
                  <a:pt x="1027123" y="2692630"/>
                </a:cubicBezTo>
                <a:cubicBezTo>
                  <a:pt x="1028050" y="2690540"/>
                  <a:pt x="1035000" y="2687195"/>
                  <a:pt x="1041952" y="2688032"/>
                </a:cubicBezTo>
                <a:close/>
                <a:moveTo>
                  <a:pt x="13483586" y="2686145"/>
                </a:moveTo>
                <a:cubicBezTo>
                  <a:pt x="13493317" y="2686145"/>
                  <a:pt x="13498415" y="2692276"/>
                  <a:pt x="13498415" y="2707189"/>
                </a:cubicBezTo>
                <a:cubicBezTo>
                  <a:pt x="13488220" y="2705656"/>
                  <a:pt x="13486830" y="2693531"/>
                  <a:pt x="13483586" y="2686145"/>
                </a:cubicBezTo>
                <a:close/>
                <a:moveTo>
                  <a:pt x="2124903" y="2680924"/>
                </a:moveTo>
                <a:cubicBezTo>
                  <a:pt x="2132783" y="2693049"/>
                  <a:pt x="2149000" y="2696952"/>
                  <a:pt x="2167999" y="2696952"/>
                </a:cubicBezTo>
                <a:cubicBezTo>
                  <a:pt x="2167073" y="2692909"/>
                  <a:pt x="2166145" y="2688450"/>
                  <a:pt x="2165681" y="2683990"/>
                </a:cubicBezTo>
                <a:cubicBezTo>
                  <a:pt x="2166145" y="2685942"/>
                  <a:pt x="2166610" y="2687893"/>
                  <a:pt x="2166145" y="2691237"/>
                </a:cubicBezTo>
                <a:cubicBezTo>
                  <a:pt x="2146683" y="2692630"/>
                  <a:pt x="2136025" y="2686360"/>
                  <a:pt x="2124903" y="2680924"/>
                </a:cubicBezTo>
                <a:close/>
                <a:moveTo>
                  <a:pt x="1884866" y="2679531"/>
                </a:moveTo>
                <a:cubicBezTo>
                  <a:pt x="1891817" y="2679949"/>
                  <a:pt x="1900157" y="2683015"/>
                  <a:pt x="1905255" y="2680366"/>
                </a:cubicBezTo>
                <a:cubicBezTo>
                  <a:pt x="1899231" y="2690959"/>
                  <a:pt x="1886256" y="2691098"/>
                  <a:pt x="1875597" y="2694581"/>
                </a:cubicBezTo>
                <a:cubicBezTo>
                  <a:pt x="1873281" y="2681342"/>
                  <a:pt x="1878378" y="2679113"/>
                  <a:pt x="1884866" y="2679531"/>
                </a:cubicBezTo>
                <a:close/>
                <a:moveTo>
                  <a:pt x="3194440" y="2678207"/>
                </a:moveTo>
                <a:lnTo>
                  <a:pt x="3191636" y="2679531"/>
                </a:lnTo>
                <a:lnTo>
                  <a:pt x="3199241" y="2679531"/>
                </a:lnTo>
                <a:close/>
                <a:moveTo>
                  <a:pt x="2797752" y="2677999"/>
                </a:moveTo>
                <a:cubicBezTo>
                  <a:pt x="2797752" y="2679392"/>
                  <a:pt x="2799606" y="2679531"/>
                  <a:pt x="2799606" y="2679531"/>
                </a:cubicBezTo>
                <a:cubicBezTo>
                  <a:pt x="2799606" y="2679531"/>
                  <a:pt x="2799606" y="2677999"/>
                  <a:pt x="2799606" y="2677999"/>
                </a:cubicBezTo>
                <a:cubicBezTo>
                  <a:pt x="2799606" y="2677999"/>
                  <a:pt x="2799142" y="2677999"/>
                  <a:pt x="2797752" y="2677999"/>
                </a:cubicBezTo>
                <a:close/>
                <a:moveTo>
                  <a:pt x="3063739" y="2675350"/>
                </a:moveTo>
                <a:cubicBezTo>
                  <a:pt x="3063739" y="2675350"/>
                  <a:pt x="3063739" y="2675768"/>
                  <a:pt x="3063739" y="2675908"/>
                </a:cubicBezTo>
                <a:cubicBezTo>
                  <a:pt x="3064667" y="2675629"/>
                  <a:pt x="3065593" y="2675629"/>
                  <a:pt x="3066983" y="2675350"/>
                </a:cubicBezTo>
                <a:cubicBezTo>
                  <a:pt x="3066056" y="2675350"/>
                  <a:pt x="3064667" y="2675211"/>
                  <a:pt x="3063739" y="2675350"/>
                </a:cubicBezTo>
                <a:close/>
                <a:moveTo>
                  <a:pt x="3171069" y="2674889"/>
                </a:moveTo>
                <a:lnTo>
                  <a:pt x="3166253" y="2676036"/>
                </a:lnTo>
                <a:lnTo>
                  <a:pt x="3165513" y="2679130"/>
                </a:lnTo>
                <a:cubicBezTo>
                  <a:pt x="3161516" y="2686673"/>
                  <a:pt x="3155956" y="2692700"/>
                  <a:pt x="3150395" y="2694025"/>
                </a:cubicBezTo>
                <a:cubicBezTo>
                  <a:pt x="3156882" y="2694025"/>
                  <a:pt x="3163369" y="2694025"/>
                  <a:pt x="3171248" y="2694025"/>
                </a:cubicBezTo>
                <a:cubicBezTo>
                  <a:pt x="3172637" y="2692630"/>
                  <a:pt x="3175880" y="2691655"/>
                  <a:pt x="3175880" y="2689007"/>
                </a:cubicBezTo>
                <a:cubicBezTo>
                  <a:pt x="3172637" y="2689007"/>
                  <a:pt x="3169393" y="2689007"/>
                  <a:pt x="3166613" y="2690402"/>
                </a:cubicBezTo>
                <a:cubicBezTo>
                  <a:pt x="3169393" y="2686360"/>
                  <a:pt x="3174491" y="2683154"/>
                  <a:pt x="3179125" y="2681899"/>
                </a:cubicBezTo>
                <a:lnTo>
                  <a:pt x="3179562" y="2676022"/>
                </a:lnTo>
                <a:close/>
                <a:moveTo>
                  <a:pt x="4231493" y="2674792"/>
                </a:moveTo>
                <a:cubicBezTo>
                  <a:pt x="4227786" y="2674933"/>
                  <a:pt x="4224542" y="2675629"/>
                  <a:pt x="4220835" y="2675908"/>
                </a:cubicBezTo>
                <a:cubicBezTo>
                  <a:pt x="4222224" y="2677162"/>
                  <a:pt x="4224542" y="2677441"/>
                  <a:pt x="4225004" y="2680366"/>
                </a:cubicBezTo>
                <a:cubicBezTo>
                  <a:pt x="4226395" y="2676605"/>
                  <a:pt x="4228712" y="2675768"/>
                  <a:pt x="4231493" y="2674792"/>
                </a:cubicBezTo>
                <a:close/>
                <a:moveTo>
                  <a:pt x="4252809" y="2672981"/>
                </a:moveTo>
                <a:cubicBezTo>
                  <a:pt x="4250492" y="2673399"/>
                  <a:pt x="4246321" y="2673538"/>
                  <a:pt x="4243541" y="2673816"/>
                </a:cubicBezTo>
                <a:cubicBezTo>
                  <a:pt x="4247248" y="2674653"/>
                  <a:pt x="4250955" y="2675211"/>
                  <a:pt x="4253273" y="2674375"/>
                </a:cubicBezTo>
                <a:cubicBezTo>
                  <a:pt x="4253273" y="2673957"/>
                  <a:pt x="4252809" y="2673538"/>
                  <a:pt x="4252809" y="2672981"/>
                </a:cubicBezTo>
                <a:close/>
                <a:moveTo>
                  <a:pt x="3263307" y="2668501"/>
                </a:moveTo>
                <a:lnTo>
                  <a:pt x="3259291" y="2669036"/>
                </a:lnTo>
                <a:lnTo>
                  <a:pt x="3259291" y="2673816"/>
                </a:lnTo>
                <a:lnTo>
                  <a:pt x="3237483" y="2677658"/>
                </a:lnTo>
                <a:lnTo>
                  <a:pt x="3240079" y="2688719"/>
                </a:lnTo>
                <a:lnTo>
                  <a:pt x="3295553" y="2690280"/>
                </a:lnTo>
                <a:cubicBezTo>
                  <a:pt x="3317448" y="2688172"/>
                  <a:pt x="3339460" y="2683712"/>
                  <a:pt x="3361238" y="2677999"/>
                </a:cubicBezTo>
                <a:lnTo>
                  <a:pt x="3354460" y="2674222"/>
                </a:lnTo>
                <a:lnTo>
                  <a:pt x="3353249" y="2674819"/>
                </a:lnTo>
                <a:cubicBezTo>
                  <a:pt x="3326270" y="2682795"/>
                  <a:pt x="3294470" y="2680208"/>
                  <a:pt x="3268403" y="2688988"/>
                </a:cubicBezTo>
                <a:cubicBezTo>
                  <a:pt x="3259600" y="2688152"/>
                  <a:pt x="3258672" y="2676306"/>
                  <a:pt x="3263307" y="2668501"/>
                </a:cubicBezTo>
                <a:close/>
                <a:moveTo>
                  <a:pt x="3391705" y="2667897"/>
                </a:moveTo>
                <a:lnTo>
                  <a:pt x="3386726" y="2669636"/>
                </a:lnTo>
                <a:lnTo>
                  <a:pt x="3391757" y="2668123"/>
                </a:lnTo>
                <a:close/>
                <a:moveTo>
                  <a:pt x="833424" y="2666988"/>
                </a:moveTo>
                <a:cubicBezTo>
                  <a:pt x="849180" y="2672284"/>
                  <a:pt x="840375" y="2674933"/>
                  <a:pt x="838522" y="2688032"/>
                </a:cubicBezTo>
                <a:cubicBezTo>
                  <a:pt x="823230" y="2691934"/>
                  <a:pt x="821839" y="2682457"/>
                  <a:pt x="809791" y="2682457"/>
                </a:cubicBezTo>
                <a:cubicBezTo>
                  <a:pt x="811182" y="2675908"/>
                  <a:pt x="821839" y="2678416"/>
                  <a:pt x="830181" y="2677162"/>
                </a:cubicBezTo>
                <a:cubicBezTo>
                  <a:pt x="833888" y="2677162"/>
                  <a:pt x="833424" y="2670890"/>
                  <a:pt x="833424" y="2666988"/>
                </a:cubicBezTo>
                <a:close/>
                <a:moveTo>
                  <a:pt x="3076715" y="2666431"/>
                </a:moveTo>
                <a:cubicBezTo>
                  <a:pt x="3076251" y="2667267"/>
                  <a:pt x="3075324" y="2668103"/>
                  <a:pt x="3075324" y="2668800"/>
                </a:cubicBezTo>
                <a:cubicBezTo>
                  <a:pt x="3074861" y="2668382"/>
                  <a:pt x="3074398" y="2667406"/>
                  <a:pt x="3074398" y="2666988"/>
                </a:cubicBezTo>
                <a:cubicBezTo>
                  <a:pt x="3074398" y="2668939"/>
                  <a:pt x="3073471" y="2671168"/>
                  <a:pt x="3073007" y="2673816"/>
                </a:cubicBezTo>
                <a:cubicBezTo>
                  <a:pt x="3077642" y="2672423"/>
                  <a:pt x="3081350" y="2670750"/>
                  <a:pt x="3084592" y="2667825"/>
                </a:cubicBezTo>
                <a:cubicBezTo>
                  <a:pt x="3081812" y="2667545"/>
                  <a:pt x="3079032" y="2666849"/>
                  <a:pt x="3076715" y="2666431"/>
                </a:cubicBezTo>
                <a:close/>
                <a:moveTo>
                  <a:pt x="3861704" y="2663783"/>
                </a:moveTo>
                <a:cubicBezTo>
                  <a:pt x="3859387" y="2663644"/>
                  <a:pt x="3856143" y="2665316"/>
                  <a:pt x="3853362" y="2665595"/>
                </a:cubicBezTo>
                <a:cubicBezTo>
                  <a:pt x="3852436" y="2667964"/>
                  <a:pt x="3852436" y="2670054"/>
                  <a:pt x="3853362" y="2672005"/>
                </a:cubicBezTo>
                <a:cubicBezTo>
                  <a:pt x="3858460" y="2672702"/>
                  <a:pt x="3863094" y="2673957"/>
                  <a:pt x="3866802" y="2675908"/>
                </a:cubicBezTo>
                <a:cubicBezTo>
                  <a:pt x="3867728" y="2674653"/>
                  <a:pt x="3867728" y="2671726"/>
                  <a:pt x="3868657" y="2670192"/>
                </a:cubicBezTo>
                <a:cubicBezTo>
                  <a:pt x="3866337" y="2668382"/>
                  <a:pt x="3864021" y="2666710"/>
                  <a:pt x="3861704" y="2663783"/>
                </a:cubicBezTo>
                <a:close/>
                <a:moveTo>
                  <a:pt x="4400632" y="2662250"/>
                </a:moveTo>
                <a:cubicBezTo>
                  <a:pt x="4406192" y="2673957"/>
                  <a:pt x="4382095" y="2673957"/>
                  <a:pt x="4358462" y="2670611"/>
                </a:cubicBezTo>
                <a:cubicBezTo>
                  <a:pt x="4347805" y="2671308"/>
                  <a:pt x="4338073" y="2672702"/>
                  <a:pt x="4331122" y="2678555"/>
                </a:cubicBezTo>
                <a:cubicBezTo>
                  <a:pt x="4331585" y="2682178"/>
                  <a:pt x="4330659" y="2683293"/>
                  <a:pt x="4330196" y="2685663"/>
                </a:cubicBezTo>
                <a:cubicBezTo>
                  <a:pt x="4332049" y="2685523"/>
                  <a:pt x="4332977" y="2684687"/>
                  <a:pt x="4335293" y="2685105"/>
                </a:cubicBezTo>
                <a:cubicBezTo>
                  <a:pt x="4335293" y="2682736"/>
                  <a:pt x="4336220" y="2681342"/>
                  <a:pt x="4335756" y="2678555"/>
                </a:cubicBezTo>
                <a:cubicBezTo>
                  <a:pt x="4347805" y="2674514"/>
                  <a:pt x="4354754" y="2678276"/>
                  <a:pt x="4360780" y="2683293"/>
                </a:cubicBezTo>
                <a:cubicBezTo>
                  <a:pt x="4363097" y="2682457"/>
                  <a:pt x="4367730" y="2682318"/>
                  <a:pt x="4369121" y="2681481"/>
                </a:cubicBezTo>
                <a:cubicBezTo>
                  <a:pt x="4369584" y="2679252"/>
                  <a:pt x="4370974" y="2677719"/>
                  <a:pt x="4370974" y="2675908"/>
                </a:cubicBezTo>
                <a:cubicBezTo>
                  <a:pt x="4377925" y="2676465"/>
                  <a:pt x="4384877" y="2677999"/>
                  <a:pt x="4391364" y="2680366"/>
                </a:cubicBezTo>
                <a:cubicBezTo>
                  <a:pt x="4393218" y="2677023"/>
                  <a:pt x="4395998" y="2674235"/>
                  <a:pt x="4397851" y="2671587"/>
                </a:cubicBezTo>
                <a:cubicBezTo>
                  <a:pt x="4406192" y="2670750"/>
                  <a:pt x="4410362" y="2673538"/>
                  <a:pt x="4413607" y="2676743"/>
                </a:cubicBezTo>
                <a:cubicBezTo>
                  <a:pt x="4415459" y="2675489"/>
                  <a:pt x="4416850" y="2673816"/>
                  <a:pt x="4418703" y="2672563"/>
                </a:cubicBezTo>
                <a:cubicBezTo>
                  <a:pt x="4412680" y="2668521"/>
                  <a:pt x="4406656" y="2664759"/>
                  <a:pt x="4400632" y="2662250"/>
                </a:cubicBezTo>
                <a:close/>
                <a:moveTo>
                  <a:pt x="681431" y="2661414"/>
                </a:moveTo>
                <a:cubicBezTo>
                  <a:pt x="709235" y="2659881"/>
                  <a:pt x="743062" y="2682736"/>
                  <a:pt x="775037" y="2682736"/>
                </a:cubicBezTo>
                <a:cubicBezTo>
                  <a:pt x="731941" y="2708378"/>
                  <a:pt x="697650" y="2666152"/>
                  <a:pt x="656871" y="2672563"/>
                </a:cubicBezTo>
                <a:cubicBezTo>
                  <a:pt x="664286" y="2664898"/>
                  <a:pt x="672164" y="2661832"/>
                  <a:pt x="681431" y="2661414"/>
                </a:cubicBezTo>
                <a:close/>
                <a:moveTo>
                  <a:pt x="3142361" y="2661395"/>
                </a:moveTo>
                <a:cubicBezTo>
                  <a:pt x="3134715" y="2665715"/>
                  <a:pt x="3123594" y="2666586"/>
                  <a:pt x="3112645" y="2666708"/>
                </a:cubicBezTo>
                <a:lnTo>
                  <a:pt x="3093621" y="2667251"/>
                </a:lnTo>
                <a:lnTo>
                  <a:pt x="3088299" y="2673816"/>
                </a:lnTo>
                <a:cubicBezTo>
                  <a:pt x="3100348" y="2675210"/>
                  <a:pt x="3116682" y="2679949"/>
                  <a:pt x="3130816" y="2679305"/>
                </a:cubicBezTo>
                <a:lnTo>
                  <a:pt x="3147932" y="2673738"/>
                </a:lnTo>
                <a:lnTo>
                  <a:pt x="3146879" y="2668903"/>
                </a:lnTo>
                <a:cubicBezTo>
                  <a:pt x="3145257" y="2666273"/>
                  <a:pt x="3143287" y="2664252"/>
                  <a:pt x="3142361" y="2661395"/>
                </a:cubicBezTo>
                <a:close/>
                <a:moveTo>
                  <a:pt x="2050297" y="2656676"/>
                </a:moveTo>
                <a:cubicBezTo>
                  <a:pt x="2050297" y="2657373"/>
                  <a:pt x="2052151" y="2659184"/>
                  <a:pt x="2054468" y="2662250"/>
                </a:cubicBezTo>
                <a:cubicBezTo>
                  <a:pt x="2054004" y="2660298"/>
                  <a:pt x="2055858" y="2658208"/>
                  <a:pt x="2054931" y="2656676"/>
                </a:cubicBezTo>
                <a:cubicBezTo>
                  <a:pt x="2052614" y="2655979"/>
                  <a:pt x="2050760" y="2655839"/>
                  <a:pt x="2050297" y="2656676"/>
                </a:cubicBezTo>
                <a:close/>
                <a:moveTo>
                  <a:pt x="756500" y="2652495"/>
                </a:moveTo>
                <a:cubicBezTo>
                  <a:pt x="772256" y="2654446"/>
                  <a:pt x="788012" y="2671726"/>
                  <a:pt x="800060" y="2677719"/>
                </a:cubicBezTo>
                <a:cubicBezTo>
                  <a:pt x="775963" y="2696115"/>
                  <a:pt x="766232" y="2653470"/>
                  <a:pt x="740283" y="2656118"/>
                </a:cubicBezTo>
                <a:cubicBezTo>
                  <a:pt x="745843" y="2652495"/>
                  <a:pt x="750940" y="2651799"/>
                  <a:pt x="756500" y="2652495"/>
                </a:cubicBezTo>
                <a:close/>
                <a:moveTo>
                  <a:pt x="4244468" y="2651519"/>
                </a:moveTo>
                <a:cubicBezTo>
                  <a:pt x="4236127" y="2656536"/>
                  <a:pt x="4225468" y="2658487"/>
                  <a:pt x="4213420" y="2660298"/>
                </a:cubicBezTo>
                <a:cubicBezTo>
                  <a:pt x="4213420" y="2664340"/>
                  <a:pt x="4214810" y="2665176"/>
                  <a:pt x="4216201" y="2666988"/>
                </a:cubicBezTo>
                <a:cubicBezTo>
                  <a:pt x="4225004" y="2666152"/>
                  <a:pt x="4234736" y="2663783"/>
                  <a:pt x="4243077" y="2665037"/>
                </a:cubicBezTo>
                <a:cubicBezTo>
                  <a:pt x="4245858" y="2663783"/>
                  <a:pt x="4244930" y="2657512"/>
                  <a:pt x="4244468" y="2651519"/>
                </a:cubicBezTo>
                <a:close/>
                <a:moveTo>
                  <a:pt x="3966431" y="2651519"/>
                </a:moveTo>
                <a:cubicBezTo>
                  <a:pt x="3964578" y="2652773"/>
                  <a:pt x="3962724" y="2652634"/>
                  <a:pt x="3960871" y="2654307"/>
                </a:cubicBezTo>
                <a:cubicBezTo>
                  <a:pt x="3963188" y="2654168"/>
                  <a:pt x="3965041" y="2654865"/>
                  <a:pt x="3967357" y="2654865"/>
                </a:cubicBezTo>
                <a:cubicBezTo>
                  <a:pt x="3966895" y="2653749"/>
                  <a:pt x="3967823" y="2652634"/>
                  <a:pt x="3966431" y="2651519"/>
                </a:cubicBezTo>
                <a:close/>
                <a:moveTo>
                  <a:pt x="4022965" y="2650404"/>
                </a:moveTo>
                <a:cubicBezTo>
                  <a:pt x="4024355" y="2655979"/>
                  <a:pt x="4023893" y="2660996"/>
                  <a:pt x="4021111" y="2665595"/>
                </a:cubicBezTo>
                <a:cubicBezTo>
                  <a:pt x="4023893" y="2663365"/>
                  <a:pt x="4026209" y="2660438"/>
                  <a:pt x="4029453" y="2661693"/>
                </a:cubicBezTo>
                <a:cubicBezTo>
                  <a:pt x="4027598" y="2658348"/>
                  <a:pt x="4025745" y="2653610"/>
                  <a:pt x="4022965" y="2650404"/>
                </a:cubicBezTo>
                <a:close/>
                <a:moveTo>
                  <a:pt x="13768109" y="2648657"/>
                </a:moveTo>
                <a:cubicBezTo>
                  <a:pt x="13769963" y="2660224"/>
                  <a:pt x="13760231" y="2664265"/>
                  <a:pt x="13750501" y="2665519"/>
                </a:cubicBezTo>
                <a:cubicBezTo>
                  <a:pt x="13752355" y="2648935"/>
                  <a:pt x="13758379" y="2657715"/>
                  <a:pt x="13768109" y="2648657"/>
                </a:cubicBezTo>
                <a:close/>
                <a:moveTo>
                  <a:pt x="3927971" y="2648175"/>
                </a:moveTo>
                <a:cubicBezTo>
                  <a:pt x="3927042" y="2648034"/>
                  <a:pt x="3926579" y="2648592"/>
                  <a:pt x="3925189" y="2648592"/>
                </a:cubicBezTo>
                <a:cubicBezTo>
                  <a:pt x="3926116" y="2649149"/>
                  <a:pt x="3927042" y="2649707"/>
                  <a:pt x="3927971" y="2650125"/>
                </a:cubicBezTo>
                <a:close/>
                <a:moveTo>
                  <a:pt x="2183756" y="2647199"/>
                </a:moveTo>
                <a:cubicBezTo>
                  <a:pt x="2183756" y="2647199"/>
                  <a:pt x="2183756" y="2647338"/>
                  <a:pt x="2183756" y="2648592"/>
                </a:cubicBezTo>
                <a:cubicBezTo>
                  <a:pt x="2183756" y="2647338"/>
                  <a:pt x="2185145" y="2647199"/>
                  <a:pt x="2185145" y="2647199"/>
                </a:cubicBezTo>
                <a:cubicBezTo>
                  <a:pt x="2185145" y="2647199"/>
                  <a:pt x="2183756" y="2647199"/>
                  <a:pt x="2183756" y="2647199"/>
                </a:cubicBezTo>
                <a:close/>
                <a:moveTo>
                  <a:pt x="4155496" y="2645945"/>
                </a:moveTo>
                <a:cubicBezTo>
                  <a:pt x="4164301" y="2651519"/>
                  <a:pt x="4154105" y="2666849"/>
                  <a:pt x="4143448" y="2664062"/>
                </a:cubicBezTo>
                <a:cubicBezTo>
                  <a:pt x="4143448" y="2659881"/>
                  <a:pt x="4147155" y="2659881"/>
                  <a:pt x="4150400" y="2659881"/>
                </a:cubicBezTo>
                <a:cubicBezTo>
                  <a:pt x="4139740" y="2648871"/>
                  <a:pt x="4153642" y="2654307"/>
                  <a:pt x="4155496" y="2645945"/>
                </a:cubicBezTo>
                <a:close/>
                <a:moveTo>
                  <a:pt x="3060959" y="2645945"/>
                </a:moveTo>
                <a:cubicBezTo>
                  <a:pt x="3061886" y="2646642"/>
                  <a:pt x="3062350" y="2646642"/>
                  <a:pt x="3062582" y="2646467"/>
                </a:cubicBezTo>
                <a:lnTo>
                  <a:pt x="3062644" y="2646324"/>
                </a:lnTo>
                <a:lnTo>
                  <a:pt x="3062813" y="2646363"/>
                </a:lnTo>
                <a:cubicBezTo>
                  <a:pt x="3062350" y="2646223"/>
                  <a:pt x="3062813" y="2646084"/>
                  <a:pt x="3062813" y="2645945"/>
                </a:cubicBezTo>
                <a:lnTo>
                  <a:pt x="3062644" y="2646324"/>
                </a:lnTo>
                <a:close/>
                <a:moveTo>
                  <a:pt x="4056793" y="2643994"/>
                </a:moveTo>
                <a:cubicBezTo>
                  <a:pt x="4044281" y="2650125"/>
                  <a:pt x="4038720" y="2663922"/>
                  <a:pt x="4028526" y="2672981"/>
                </a:cubicBezTo>
                <a:cubicBezTo>
                  <a:pt x="4031769" y="2673260"/>
                  <a:pt x="4035013" y="2673399"/>
                  <a:pt x="4038720" y="2672981"/>
                </a:cubicBezTo>
                <a:cubicBezTo>
                  <a:pt x="4038720" y="2670611"/>
                  <a:pt x="4039647" y="2669079"/>
                  <a:pt x="4038720" y="2665595"/>
                </a:cubicBezTo>
                <a:cubicBezTo>
                  <a:pt x="4049379" y="2675489"/>
                  <a:pt x="4056329" y="2665455"/>
                  <a:pt x="4067451" y="2662250"/>
                </a:cubicBezTo>
                <a:cubicBezTo>
                  <a:pt x="4066061" y="2654724"/>
                  <a:pt x="4061427" y="2649707"/>
                  <a:pt x="4056793" y="2643994"/>
                </a:cubicBezTo>
                <a:close/>
                <a:moveTo>
                  <a:pt x="4254199" y="2643576"/>
                </a:moveTo>
                <a:cubicBezTo>
                  <a:pt x="4252809" y="2647199"/>
                  <a:pt x="4249102" y="2648034"/>
                  <a:pt x="4246321" y="2650125"/>
                </a:cubicBezTo>
                <a:cubicBezTo>
                  <a:pt x="4250955" y="2656397"/>
                  <a:pt x="4256979" y="2655700"/>
                  <a:pt x="4263004" y="2653749"/>
                </a:cubicBezTo>
                <a:cubicBezTo>
                  <a:pt x="4260222" y="2652634"/>
                  <a:pt x="4257443" y="2650125"/>
                  <a:pt x="4254199" y="2643576"/>
                </a:cubicBezTo>
                <a:close/>
                <a:moveTo>
                  <a:pt x="13565144" y="2643222"/>
                </a:moveTo>
                <a:cubicBezTo>
                  <a:pt x="13566070" y="2642942"/>
                  <a:pt x="13567460" y="2643779"/>
                  <a:pt x="13568388" y="2644476"/>
                </a:cubicBezTo>
                <a:cubicBezTo>
                  <a:pt x="13571167" y="2646148"/>
                  <a:pt x="13573948" y="2648657"/>
                  <a:pt x="13577192" y="2646705"/>
                </a:cubicBezTo>
                <a:cubicBezTo>
                  <a:pt x="13573948" y="2651863"/>
                  <a:pt x="13573948" y="2660781"/>
                  <a:pt x="13575803" y="2669700"/>
                </a:cubicBezTo>
                <a:cubicBezTo>
                  <a:pt x="13570241" y="2665937"/>
                  <a:pt x="13566996" y="2659387"/>
                  <a:pt x="13559582" y="2659387"/>
                </a:cubicBezTo>
                <a:cubicBezTo>
                  <a:pt x="13557730" y="2654231"/>
                  <a:pt x="13573485" y="2649074"/>
                  <a:pt x="13562826" y="2647821"/>
                </a:cubicBezTo>
                <a:cubicBezTo>
                  <a:pt x="13563289" y="2644893"/>
                  <a:pt x="13564217" y="2643500"/>
                  <a:pt x="13565144" y="2643222"/>
                </a:cubicBezTo>
                <a:close/>
                <a:moveTo>
                  <a:pt x="2014152" y="2642600"/>
                </a:moveTo>
                <a:cubicBezTo>
                  <a:pt x="2015079" y="2644552"/>
                  <a:pt x="2016469" y="2646084"/>
                  <a:pt x="2017859" y="2647199"/>
                </a:cubicBezTo>
                <a:cubicBezTo>
                  <a:pt x="2017859" y="2645805"/>
                  <a:pt x="2017859" y="2644411"/>
                  <a:pt x="2017859" y="2643018"/>
                </a:cubicBezTo>
                <a:cubicBezTo>
                  <a:pt x="2016469" y="2642182"/>
                  <a:pt x="2015079" y="2642879"/>
                  <a:pt x="2014152" y="2642600"/>
                </a:cubicBezTo>
                <a:close/>
                <a:moveTo>
                  <a:pt x="3991917" y="2642182"/>
                </a:moveTo>
                <a:cubicBezTo>
                  <a:pt x="3984041" y="2642879"/>
                  <a:pt x="3976163" y="2646084"/>
                  <a:pt x="3967823" y="2650962"/>
                </a:cubicBezTo>
                <a:cubicBezTo>
                  <a:pt x="3971065" y="2647199"/>
                  <a:pt x="3977553" y="2649289"/>
                  <a:pt x="3984041" y="2655142"/>
                </a:cubicBezTo>
                <a:cubicBezTo>
                  <a:pt x="3987283" y="2655561"/>
                  <a:pt x="3991455" y="2654865"/>
                  <a:pt x="3994235" y="2655700"/>
                </a:cubicBezTo>
                <a:cubicBezTo>
                  <a:pt x="3999332" y="2653470"/>
                  <a:pt x="3996089" y="2644969"/>
                  <a:pt x="3991917" y="2642182"/>
                </a:cubicBezTo>
                <a:close/>
                <a:moveTo>
                  <a:pt x="2009056" y="2642182"/>
                </a:moveTo>
                <a:cubicBezTo>
                  <a:pt x="2006275" y="2643018"/>
                  <a:pt x="2003495" y="2644552"/>
                  <a:pt x="2001641" y="2645945"/>
                </a:cubicBezTo>
                <a:cubicBezTo>
                  <a:pt x="2001641" y="2647338"/>
                  <a:pt x="2003957" y="2648314"/>
                  <a:pt x="2003957" y="2650962"/>
                </a:cubicBezTo>
                <a:cubicBezTo>
                  <a:pt x="2007202" y="2650962"/>
                  <a:pt x="2008129" y="2653610"/>
                  <a:pt x="2009983" y="2661693"/>
                </a:cubicBezTo>
                <a:cubicBezTo>
                  <a:pt x="2009983" y="2661693"/>
                  <a:pt x="2011373" y="2663226"/>
                  <a:pt x="2013226" y="2663226"/>
                </a:cubicBezTo>
                <a:cubicBezTo>
                  <a:pt x="2013226" y="2667267"/>
                  <a:pt x="2009983" y="2668521"/>
                  <a:pt x="2009983" y="2673816"/>
                </a:cubicBezTo>
                <a:lnTo>
                  <a:pt x="2000250" y="2673816"/>
                </a:lnTo>
                <a:cubicBezTo>
                  <a:pt x="1998860" y="2671168"/>
                  <a:pt x="1998860" y="2670054"/>
                  <a:pt x="1997006" y="2667406"/>
                </a:cubicBezTo>
                <a:cubicBezTo>
                  <a:pt x="1995617" y="2670054"/>
                  <a:pt x="1992372" y="2671308"/>
                  <a:pt x="1990519" y="2675350"/>
                </a:cubicBezTo>
                <a:cubicBezTo>
                  <a:pt x="2011373" y="2672702"/>
                  <a:pt x="2004885" y="2699460"/>
                  <a:pt x="2017859" y="2706149"/>
                </a:cubicBezTo>
                <a:cubicBezTo>
                  <a:pt x="2017859" y="2683293"/>
                  <a:pt x="2028982" y="2707821"/>
                  <a:pt x="2041492" y="2701132"/>
                </a:cubicBezTo>
                <a:cubicBezTo>
                  <a:pt x="2051224" y="2690402"/>
                  <a:pt x="2040103" y="2691655"/>
                  <a:pt x="2036859" y="2680924"/>
                </a:cubicBezTo>
                <a:cubicBezTo>
                  <a:pt x="2047980" y="2683015"/>
                  <a:pt x="2053077" y="2672981"/>
                  <a:pt x="2053541" y="2664062"/>
                </a:cubicBezTo>
                <a:cubicBezTo>
                  <a:pt x="2049370" y="2673957"/>
                  <a:pt x="2028517" y="2666292"/>
                  <a:pt x="2017859" y="2668800"/>
                </a:cubicBezTo>
                <a:cubicBezTo>
                  <a:pt x="2019250" y="2664759"/>
                  <a:pt x="2019714" y="2661554"/>
                  <a:pt x="2019714" y="2660298"/>
                </a:cubicBezTo>
                <a:cubicBezTo>
                  <a:pt x="2016469" y="2658905"/>
                  <a:pt x="2014615" y="2656536"/>
                  <a:pt x="2016469" y="2652495"/>
                </a:cubicBezTo>
                <a:cubicBezTo>
                  <a:pt x="2015079" y="2649986"/>
                  <a:pt x="2013689" y="2647060"/>
                  <a:pt x="2013689" y="2642600"/>
                </a:cubicBezTo>
                <a:cubicBezTo>
                  <a:pt x="2011836" y="2642461"/>
                  <a:pt x="2010445" y="2641625"/>
                  <a:pt x="2009056" y="2642182"/>
                </a:cubicBezTo>
                <a:close/>
                <a:moveTo>
                  <a:pt x="13581362" y="2640714"/>
                </a:moveTo>
                <a:cubicBezTo>
                  <a:pt x="13585996" y="2642107"/>
                  <a:pt x="13584143" y="2654789"/>
                  <a:pt x="13594337" y="2647821"/>
                </a:cubicBezTo>
                <a:cubicBezTo>
                  <a:pt x="13592482" y="2653395"/>
                  <a:pt x="13590630" y="2660084"/>
                  <a:pt x="13592482" y="2669700"/>
                </a:cubicBezTo>
                <a:cubicBezTo>
                  <a:pt x="13589240" y="2657297"/>
                  <a:pt x="13574413" y="2651863"/>
                  <a:pt x="13581362" y="2640714"/>
                </a:cubicBezTo>
                <a:close/>
                <a:moveTo>
                  <a:pt x="2769079" y="2638551"/>
                </a:moveTo>
                <a:lnTo>
                  <a:pt x="2763775" y="2639430"/>
                </a:lnTo>
                <a:lnTo>
                  <a:pt x="2744498" y="2646658"/>
                </a:lnTo>
                <a:lnTo>
                  <a:pt x="2748632" y="2652495"/>
                </a:lnTo>
                <a:cubicBezTo>
                  <a:pt x="2757437" y="2653819"/>
                  <a:pt x="2760565" y="2648489"/>
                  <a:pt x="2763925" y="2643680"/>
                </a:cubicBezTo>
                <a:close/>
                <a:moveTo>
                  <a:pt x="4093401" y="2638279"/>
                </a:moveTo>
                <a:cubicBezTo>
                  <a:pt x="4092475" y="2639395"/>
                  <a:pt x="4092475" y="2641068"/>
                  <a:pt x="4091548" y="2642182"/>
                </a:cubicBezTo>
                <a:cubicBezTo>
                  <a:pt x="4092010" y="2642182"/>
                  <a:pt x="4092938" y="2642600"/>
                  <a:pt x="4093401" y="2642600"/>
                </a:cubicBezTo>
                <a:cubicBezTo>
                  <a:pt x="4093864" y="2640928"/>
                  <a:pt x="4094792" y="2640649"/>
                  <a:pt x="4095717" y="2639255"/>
                </a:cubicBezTo>
                <a:cubicBezTo>
                  <a:pt x="4094792" y="2638697"/>
                  <a:pt x="4094328" y="2639395"/>
                  <a:pt x="4093401" y="2638279"/>
                </a:cubicBezTo>
                <a:close/>
                <a:moveTo>
                  <a:pt x="1995153" y="2638001"/>
                </a:moveTo>
                <a:cubicBezTo>
                  <a:pt x="1984032" y="2638001"/>
                  <a:pt x="1981251" y="2645666"/>
                  <a:pt x="1978008" y="2653749"/>
                </a:cubicBezTo>
                <a:cubicBezTo>
                  <a:pt x="1981251" y="2655142"/>
                  <a:pt x="1982642" y="2655142"/>
                  <a:pt x="1985886" y="2653749"/>
                </a:cubicBezTo>
                <a:cubicBezTo>
                  <a:pt x="1987739" y="2649707"/>
                  <a:pt x="1989130" y="2646921"/>
                  <a:pt x="1990519" y="2641625"/>
                </a:cubicBezTo>
                <a:cubicBezTo>
                  <a:pt x="1992372" y="2641625"/>
                  <a:pt x="1993763" y="2641625"/>
                  <a:pt x="1995153" y="2641625"/>
                </a:cubicBezTo>
                <a:cubicBezTo>
                  <a:pt x="1995153" y="2640231"/>
                  <a:pt x="1995153" y="2640649"/>
                  <a:pt x="1995153" y="2638001"/>
                </a:cubicBezTo>
                <a:close/>
                <a:moveTo>
                  <a:pt x="3037633" y="2637982"/>
                </a:moveTo>
                <a:lnTo>
                  <a:pt x="3031119" y="2641732"/>
                </a:lnTo>
                <a:lnTo>
                  <a:pt x="3042424" y="2644552"/>
                </a:lnTo>
                <a:lnTo>
                  <a:pt x="3043944" y="2639144"/>
                </a:lnTo>
                <a:close/>
                <a:moveTo>
                  <a:pt x="4115180" y="2637444"/>
                </a:moveTo>
                <a:cubicBezTo>
                  <a:pt x="4116107" y="2638976"/>
                  <a:pt x="4116571" y="2643018"/>
                  <a:pt x="4117497" y="2646363"/>
                </a:cubicBezTo>
                <a:cubicBezTo>
                  <a:pt x="4119815" y="2645248"/>
                  <a:pt x="4122595" y="2644691"/>
                  <a:pt x="4123985" y="2643018"/>
                </a:cubicBezTo>
                <a:cubicBezTo>
                  <a:pt x="4120741" y="2641903"/>
                  <a:pt x="4117962" y="2639673"/>
                  <a:pt x="4115180" y="2637444"/>
                </a:cubicBezTo>
                <a:close/>
                <a:moveTo>
                  <a:pt x="3083509" y="2632826"/>
                </a:moveTo>
                <a:lnTo>
                  <a:pt x="3077449" y="2635039"/>
                </a:lnTo>
                <a:lnTo>
                  <a:pt x="3077121" y="2635496"/>
                </a:lnTo>
                <a:lnTo>
                  <a:pt x="3077949" y="2637982"/>
                </a:lnTo>
                <a:cubicBezTo>
                  <a:pt x="3079338" y="2636171"/>
                  <a:pt x="3083047" y="2636727"/>
                  <a:pt x="3085362" y="2636171"/>
                </a:cubicBezTo>
                <a:cubicBezTo>
                  <a:pt x="3084900" y="2634916"/>
                  <a:pt x="3084436" y="2634219"/>
                  <a:pt x="3083509" y="2632826"/>
                </a:cubicBezTo>
                <a:close/>
                <a:moveTo>
                  <a:pt x="2994074" y="2632407"/>
                </a:moveTo>
                <a:lnTo>
                  <a:pt x="2984859" y="2633054"/>
                </a:lnTo>
                <a:lnTo>
                  <a:pt x="2985600" y="2635179"/>
                </a:lnTo>
                <a:lnTo>
                  <a:pt x="2984739" y="2637344"/>
                </a:lnTo>
                <a:lnTo>
                  <a:pt x="2988166" y="2640316"/>
                </a:lnTo>
                <a:lnTo>
                  <a:pt x="2996540" y="2640341"/>
                </a:lnTo>
                <a:lnTo>
                  <a:pt x="2999792" y="2639813"/>
                </a:lnTo>
                <a:lnTo>
                  <a:pt x="3004609" y="2637494"/>
                </a:lnTo>
                <a:close/>
                <a:moveTo>
                  <a:pt x="3207896" y="2630561"/>
                </a:moveTo>
                <a:lnTo>
                  <a:pt x="3193797" y="2636727"/>
                </a:lnTo>
                <a:cubicBezTo>
                  <a:pt x="3200053" y="2638470"/>
                  <a:pt x="3197388" y="2639793"/>
                  <a:pt x="3193681" y="2641936"/>
                </a:cubicBezTo>
                <a:lnTo>
                  <a:pt x="3188362" y="2650388"/>
                </a:lnTo>
                <a:lnTo>
                  <a:pt x="3188857" y="2650962"/>
                </a:lnTo>
                <a:lnTo>
                  <a:pt x="3189824" y="2650718"/>
                </a:lnTo>
                <a:lnTo>
                  <a:pt x="3206310" y="2641937"/>
                </a:lnTo>
                <a:lnTo>
                  <a:pt x="3211647" y="2641077"/>
                </a:lnTo>
                <a:lnTo>
                  <a:pt x="3202758" y="2636468"/>
                </a:lnTo>
                <a:close/>
                <a:moveTo>
                  <a:pt x="700430" y="2629361"/>
                </a:moveTo>
                <a:cubicBezTo>
                  <a:pt x="704137" y="2633542"/>
                  <a:pt x="705991" y="2641764"/>
                  <a:pt x="705991" y="2650125"/>
                </a:cubicBezTo>
                <a:cubicBezTo>
                  <a:pt x="688845" y="2638976"/>
                  <a:pt x="680041" y="2641764"/>
                  <a:pt x="661505" y="2645945"/>
                </a:cubicBezTo>
                <a:cubicBezTo>
                  <a:pt x="664749" y="2616818"/>
                  <a:pt x="683284" y="2640510"/>
                  <a:pt x="700430" y="2629361"/>
                </a:cubicBezTo>
                <a:close/>
                <a:moveTo>
                  <a:pt x="740283" y="2629082"/>
                </a:moveTo>
                <a:cubicBezTo>
                  <a:pt x="746769" y="2628107"/>
                  <a:pt x="753257" y="2630058"/>
                  <a:pt x="757428" y="2634656"/>
                </a:cubicBezTo>
                <a:cubicBezTo>
                  <a:pt x="760207" y="2636050"/>
                  <a:pt x="736575" y="2643715"/>
                  <a:pt x="725453" y="2654307"/>
                </a:cubicBezTo>
                <a:cubicBezTo>
                  <a:pt x="725453" y="2646363"/>
                  <a:pt x="733331" y="2641068"/>
                  <a:pt x="725453" y="2639813"/>
                </a:cubicBezTo>
                <a:cubicBezTo>
                  <a:pt x="727770" y="2633821"/>
                  <a:pt x="734258" y="2630058"/>
                  <a:pt x="740283" y="2629082"/>
                </a:cubicBezTo>
                <a:close/>
                <a:moveTo>
                  <a:pt x="2923638" y="2626414"/>
                </a:moveTo>
                <a:cubicBezTo>
                  <a:pt x="2897225" y="2635752"/>
                  <a:pt x="2870812" y="2648155"/>
                  <a:pt x="2848569" y="2632407"/>
                </a:cubicBezTo>
                <a:cubicBezTo>
                  <a:pt x="2839764" y="2631571"/>
                  <a:pt x="2846252" y="2645925"/>
                  <a:pt x="2839301" y="2647877"/>
                </a:cubicBezTo>
                <a:cubicBezTo>
                  <a:pt x="2821692" y="2638122"/>
                  <a:pt x="2804663" y="2634638"/>
                  <a:pt x="2788154" y="2635387"/>
                </a:cubicBezTo>
                <a:lnTo>
                  <a:pt x="2773381" y="2637837"/>
                </a:lnTo>
                <a:lnTo>
                  <a:pt x="2780606" y="2638001"/>
                </a:lnTo>
                <a:cubicBezTo>
                  <a:pt x="2775510" y="2644691"/>
                  <a:pt x="2767631" y="2647338"/>
                  <a:pt x="2767631" y="2658070"/>
                </a:cubicBezTo>
                <a:cubicBezTo>
                  <a:pt x="2772728" y="2660717"/>
                  <a:pt x="2777362" y="2661832"/>
                  <a:pt x="2783851" y="2665873"/>
                </a:cubicBezTo>
                <a:cubicBezTo>
                  <a:pt x="2790339" y="2665873"/>
                  <a:pt x="2796361" y="2665873"/>
                  <a:pt x="2802849" y="2665873"/>
                </a:cubicBezTo>
                <a:cubicBezTo>
                  <a:pt x="2802849" y="2663226"/>
                  <a:pt x="2804239" y="2662111"/>
                  <a:pt x="2804239" y="2659323"/>
                </a:cubicBezTo>
                <a:cubicBezTo>
                  <a:pt x="2799606" y="2656676"/>
                  <a:pt x="2795898" y="2652355"/>
                  <a:pt x="2789874" y="2650962"/>
                </a:cubicBezTo>
                <a:cubicBezTo>
                  <a:pt x="2789874" y="2638976"/>
                  <a:pt x="2805630" y="2648592"/>
                  <a:pt x="2813507" y="2645945"/>
                </a:cubicBezTo>
                <a:lnTo>
                  <a:pt x="2813507" y="2652495"/>
                </a:lnTo>
                <a:cubicBezTo>
                  <a:pt x="2824628" y="2647060"/>
                  <a:pt x="2823702" y="2676883"/>
                  <a:pt x="2831580" y="2658070"/>
                </a:cubicBezTo>
                <a:cubicBezTo>
                  <a:pt x="2831580" y="2660717"/>
                  <a:pt x="2831580" y="2663226"/>
                  <a:pt x="2831580" y="2665873"/>
                </a:cubicBezTo>
                <a:cubicBezTo>
                  <a:pt x="2840848" y="2667267"/>
                  <a:pt x="2848726" y="2667406"/>
                  <a:pt x="2858456" y="2668800"/>
                </a:cubicBezTo>
                <a:cubicBezTo>
                  <a:pt x="2876066" y="2672842"/>
                  <a:pt x="2892284" y="2678138"/>
                  <a:pt x="2904796" y="2687474"/>
                </a:cubicBezTo>
                <a:cubicBezTo>
                  <a:pt x="2872821" y="2700853"/>
                  <a:pt x="2834824" y="2722315"/>
                  <a:pt x="2799606" y="2703500"/>
                </a:cubicBezTo>
                <a:cubicBezTo>
                  <a:pt x="2794971" y="2689983"/>
                  <a:pt x="2805630" y="2695697"/>
                  <a:pt x="2808873" y="2690402"/>
                </a:cubicBezTo>
                <a:cubicBezTo>
                  <a:pt x="2767631" y="2689007"/>
                  <a:pt x="2740291" y="2690122"/>
                  <a:pt x="2706926" y="2715625"/>
                </a:cubicBezTo>
                <a:cubicBezTo>
                  <a:pt x="2705536" y="2707542"/>
                  <a:pt x="2710170" y="2706009"/>
                  <a:pt x="2716196" y="2704755"/>
                </a:cubicBezTo>
                <a:cubicBezTo>
                  <a:pt x="2714805" y="2692630"/>
                  <a:pt x="2695805" y="2700853"/>
                  <a:pt x="2702294" y="2715625"/>
                </a:cubicBezTo>
                <a:cubicBezTo>
                  <a:pt x="2701365" y="2721896"/>
                  <a:pt x="2706000" y="2721618"/>
                  <a:pt x="2710170" y="2721618"/>
                </a:cubicBezTo>
                <a:cubicBezTo>
                  <a:pt x="2710634" y="2721478"/>
                  <a:pt x="2711097" y="2721478"/>
                  <a:pt x="2711561" y="2721199"/>
                </a:cubicBezTo>
                <a:cubicBezTo>
                  <a:pt x="2711561" y="2721339"/>
                  <a:pt x="2711561" y="2721478"/>
                  <a:pt x="2711561" y="2721618"/>
                </a:cubicBezTo>
                <a:cubicBezTo>
                  <a:pt x="2716196" y="2721618"/>
                  <a:pt x="2719438" y="2722872"/>
                  <a:pt x="2716196" y="2731930"/>
                </a:cubicBezTo>
                <a:cubicBezTo>
                  <a:pt x="2713414" y="2728307"/>
                  <a:pt x="2711561" y="2729701"/>
                  <a:pt x="2709244" y="2729562"/>
                </a:cubicBezTo>
                <a:cubicBezTo>
                  <a:pt x="2707853" y="2733046"/>
                  <a:pt x="2706926" y="2736947"/>
                  <a:pt x="2706000" y="2740849"/>
                </a:cubicBezTo>
                <a:cubicBezTo>
                  <a:pt x="2710634" y="2738202"/>
                  <a:pt x="2715731" y="2734578"/>
                  <a:pt x="2721292" y="2737086"/>
                </a:cubicBezTo>
                <a:cubicBezTo>
                  <a:pt x="2718511" y="2729004"/>
                  <a:pt x="2738901" y="2712837"/>
                  <a:pt x="2753266" y="2726356"/>
                </a:cubicBezTo>
                <a:cubicBezTo>
                  <a:pt x="2751875" y="2738341"/>
                  <a:pt x="2742145" y="2737086"/>
                  <a:pt x="2731023" y="2737086"/>
                </a:cubicBezTo>
                <a:cubicBezTo>
                  <a:pt x="2740291" y="2761196"/>
                  <a:pt x="2761144" y="2733185"/>
                  <a:pt x="2765778" y="2739874"/>
                </a:cubicBezTo>
                <a:cubicBezTo>
                  <a:pt x="2767631" y="2739874"/>
                  <a:pt x="2769021" y="2739874"/>
                  <a:pt x="2770875" y="2738480"/>
                </a:cubicBezTo>
                <a:cubicBezTo>
                  <a:pt x="2775510" y="2730397"/>
                  <a:pt x="2755119" y="2718412"/>
                  <a:pt x="2767631" y="2710329"/>
                </a:cubicBezTo>
                <a:cubicBezTo>
                  <a:pt x="2758364" y="2709075"/>
                  <a:pt x="2755119" y="2714232"/>
                  <a:pt x="2748632" y="2715625"/>
                </a:cubicBezTo>
                <a:cubicBezTo>
                  <a:pt x="2743999" y="2710469"/>
                  <a:pt x="2758827" y="2704615"/>
                  <a:pt x="2770875" y="2699599"/>
                </a:cubicBezTo>
                <a:cubicBezTo>
                  <a:pt x="2783386" y="2707681"/>
                  <a:pt x="2776899" y="2712837"/>
                  <a:pt x="2770875" y="2726356"/>
                </a:cubicBezTo>
                <a:cubicBezTo>
                  <a:pt x="2816751" y="2708936"/>
                  <a:pt x="2818604" y="2727610"/>
                  <a:pt x="2872821" y="2704755"/>
                </a:cubicBezTo>
                <a:cubicBezTo>
                  <a:pt x="2866797" y="2731094"/>
                  <a:pt x="2872821" y="2744612"/>
                  <a:pt x="2886723" y="2748793"/>
                </a:cubicBezTo>
                <a:cubicBezTo>
                  <a:pt x="2887650" y="2748654"/>
                  <a:pt x="2889040" y="2748514"/>
                  <a:pt x="2890430" y="2748236"/>
                </a:cubicBezTo>
                <a:cubicBezTo>
                  <a:pt x="2893211" y="2747260"/>
                  <a:pt x="2895991" y="2746006"/>
                  <a:pt x="2899698" y="2745030"/>
                </a:cubicBezTo>
                <a:cubicBezTo>
                  <a:pt x="2896456" y="2740989"/>
                  <a:pt x="2895064" y="2732905"/>
                  <a:pt x="2895064" y="2724823"/>
                </a:cubicBezTo>
                <a:lnTo>
                  <a:pt x="2902943" y="2724823"/>
                </a:lnTo>
                <a:cubicBezTo>
                  <a:pt x="2898308" y="2720781"/>
                  <a:pt x="2893674" y="2717018"/>
                  <a:pt x="2885797" y="2715625"/>
                </a:cubicBezTo>
                <a:cubicBezTo>
                  <a:pt x="2885797" y="2700853"/>
                  <a:pt x="2912673" y="2703639"/>
                  <a:pt x="2918697" y="2710329"/>
                </a:cubicBezTo>
                <a:lnTo>
                  <a:pt x="2918697" y="2731930"/>
                </a:lnTo>
                <a:cubicBezTo>
                  <a:pt x="2915917" y="2730536"/>
                  <a:pt x="2912673" y="2730536"/>
                  <a:pt x="2909893" y="2729282"/>
                </a:cubicBezTo>
                <a:cubicBezTo>
                  <a:pt x="2910820" y="2737923"/>
                  <a:pt x="2907576" y="2742103"/>
                  <a:pt x="2903869" y="2745867"/>
                </a:cubicBezTo>
                <a:cubicBezTo>
                  <a:pt x="2911747" y="2744473"/>
                  <a:pt x="2919161" y="2743218"/>
                  <a:pt x="2927039" y="2741686"/>
                </a:cubicBezTo>
                <a:cubicBezTo>
                  <a:pt x="2930745" y="2739037"/>
                  <a:pt x="2935844" y="2737923"/>
                  <a:pt x="2940476" y="2739317"/>
                </a:cubicBezTo>
                <a:cubicBezTo>
                  <a:pt x="2942793" y="2738899"/>
                  <a:pt x="2945110" y="2738620"/>
                  <a:pt x="2947429" y="2738062"/>
                </a:cubicBezTo>
                <a:cubicBezTo>
                  <a:pt x="2946037" y="2734578"/>
                  <a:pt x="2943721" y="2730536"/>
                  <a:pt x="2946037" y="2726356"/>
                </a:cubicBezTo>
                <a:cubicBezTo>
                  <a:pt x="2951135" y="2729562"/>
                  <a:pt x="2956696" y="2732488"/>
                  <a:pt x="2961329" y="2735693"/>
                </a:cubicBezTo>
                <a:cubicBezTo>
                  <a:pt x="2992377" y="2729980"/>
                  <a:pt x="3023425" y="2724126"/>
                  <a:pt x="3054009" y="2719249"/>
                </a:cubicBezTo>
                <a:cubicBezTo>
                  <a:pt x="3045668" y="2717298"/>
                  <a:pt x="3038717" y="2714789"/>
                  <a:pt x="3034083" y="2710329"/>
                </a:cubicBezTo>
                <a:cubicBezTo>
                  <a:pt x="3043351" y="2698206"/>
                  <a:pt x="3059105" y="2699320"/>
                  <a:pt x="3075324" y="2701968"/>
                </a:cubicBezTo>
                <a:cubicBezTo>
                  <a:pt x="3079959" y="2699320"/>
                  <a:pt x="3086446" y="2696811"/>
                  <a:pt x="3092933" y="2695418"/>
                </a:cubicBezTo>
                <a:cubicBezTo>
                  <a:pt x="3078568" y="2690122"/>
                  <a:pt x="3064203" y="2683571"/>
                  <a:pt x="3046595" y="2679531"/>
                </a:cubicBezTo>
                <a:cubicBezTo>
                  <a:pt x="3049839" y="2678973"/>
                  <a:pt x="3054009" y="2677719"/>
                  <a:pt x="3058180" y="2677162"/>
                </a:cubicBezTo>
                <a:cubicBezTo>
                  <a:pt x="3056326" y="2673538"/>
                  <a:pt x="3062350" y="2671030"/>
                  <a:pt x="3065130" y="2665873"/>
                </a:cubicBezTo>
                <a:cubicBezTo>
                  <a:pt x="3054472" y="2665176"/>
                  <a:pt x="3043814" y="2663226"/>
                  <a:pt x="3034546" y="2662250"/>
                </a:cubicBezTo>
                <a:cubicBezTo>
                  <a:pt x="3031302" y="2664340"/>
                  <a:pt x="3028521" y="2666710"/>
                  <a:pt x="3029449" y="2672563"/>
                </a:cubicBezTo>
                <a:cubicBezTo>
                  <a:pt x="3021571" y="2677999"/>
                  <a:pt x="3013230" y="2656536"/>
                  <a:pt x="3009986" y="2672563"/>
                </a:cubicBezTo>
                <a:cubicBezTo>
                  <a:pt x="3009059" y="2671587"/>
                  <a:pt x="3009523" y="2668661"/>
                  <a:pt x="3008596" y="2667406"/>
                </a:cubicBezTo>
                <a:cubicBezTo>
                  <a:pt x="3002572" y="2674096"/>
                  <a:pt x="2976158" y="2674235"/>
                  <a:pt x="2955768" y="2670192"/>
                </a:cubicBezTo>
                <a:cubicBezTo>
                  <a:pt x="2951135" y="2672842"/>
                  <a:pt x="2947891" y="2676465"/>
                  <a:pt x="2946501" y="2680366"/>
                </a:cubicBezTo>
                <a:cubicBezTo>
                  <a:pt x="2939318" y="2668521"/>
                  <a:pt x="2923795" y="2668626"/>
                  <a:pt x="2908097" y="2670368"/>
                </a:cubicBezTo>
                <a:lnTo>
                  <a:pt x="2904961" y="2670721"/>
                </a:lnTo>
                <a:lnTo>
                  <a:pt x="2903712" y="2676445"/>
                </a:lnTo>
                <a:cubicBezTo>
                  <a:pt x="2901164" y="2675818"/>
                  <a:pt x="2898674" y="2674181"/>
                  <a:pt x="2896429" y="2671940"/>
                </a:cubicBezTo>
                <a:lnTo>
                  <a:pt x="2896258" y="2671701"/>
                </a:lnTo>
                <a:lnTo>
                  <a:pt x="2885442" y="2672920"/>
                </a:lnTo>
                <a:cubicBezTo>
                  <a:pt x="2878527" y="2673320"/>
                  <a:pt x="2872590" y="2672841"/>
                  <a:pt x="2868651" y="2670192"/>
                </a:cubicBezTo>
                <a:lnTo>
                  <a:pt x="2890313" y="2661806"/>
                </a:lnTo>
                <a:lnTo>
                  <a:pt x="2887958" y="2646483"/>
                </a:lnTo>
                <a:cubicBezTo>
                  <a:pt x="2907884" y="2644532"/>
                  <a:pt x="2939858" y="2653869"/>
                  <a:pt x="2947735" y="2640908"/>
                </a:cubicBezTo>
                <a:cubicBezTo>
                  <a:pt x="2946808" y="2641187"/>
                  <a:pt x="2945882" y="2640908"/>
                  <a:pt x="2945418" y="2641187"/>
                </a:cubicBezTo>
                <a:cubicBezTo>
                  <a:pt x="2943564" y="2638400"/>
                  <a:pt x="2944490" y="2637843"/>
                  <a:pt x="2944028" y="2636171"/>
                </a:cubicBezTo>
                <a:cubicBezTo>
                  <a:pt x="2937077" y="2639654"/>
                  <a:pt x="2930126" y="2634080"/>
                  <a:pt x="2923638" y="2626414"/>
                </a:cubicBezTo>
                <a:close/>
                <a:moveTo>
                  <a:pt x="4350121" y="2624901"/>
                </a:moveTo>
                <a:cubicBezTo>
                  <a:pt x="4345951" y="2626295"/>
                  <a:pt x="4340390" y="2626434"/>
                  <a:pt x="4335293" y="2626712"/>
                </a:cubicBezTo>
                <a:cubicBezTo>
                  <a:pt x="4335293" y="2631312"/>
                  <a:pt x="4336683" y="2635493"/>
                  <a:pt x="4343635" y="2637025"/>
                </a:cubicBezTo>
                <a:cubicBezTo>
                  <a:pt x="4348732" y="2634378"/>
                  <a:pt x="4348268" y="2628942"/>
                  <a:pt x="4352901" y="2627549"/>
                </a:cubicBezTo>
                <a:cubicBezTo>
                  <a:pt x="4352439" y="2626155"/>
                  <a:pt x="4351048" y="2626015"/>
                  <a:pt x="4350121" y="2624901"/>
                </a:cubicBezTo>
                <a:close/>
                <a:moveTo>
                  <a:pt x="4093401" y="2624901"/>
                </a:moveTo>
                <a:cubicBezTo>
                  <a:pt x="4091548" y="2624762"/>
                  <a:pt x="4089230" y="2626015"/>
                  <a:pt x="4087378" y="2626712"/>
                </a:cubicBezTo>
                <a:cubicBezTo>
                  <a:pt x="4089230" y="2630058"/>
                  <a:pt x="4092475" y="2629500"/>
                  <a:pt x="4096645" y="2627549"/>
                </a:cubicBezTo>
                <a:cubicBezTo>
                  <a:pt x="4095255" y="2626852"/>
                  <a:pt x="4094792" y="2625041"/>
                  <a:pt x="4093401" y="2624901"/>
                </a:cubicBezTo>
                <a:close/>
                <a:moveTo>
                  <a:pt x="4105041" y="2623739"/>
                </a:moveTo>
                <a:lnTo>
                  <a:pt x="4103595" y="2625737"/>
                </a:lnTo>
                <a:cubicBezTo>
                  <a:pt x="4104058" y="2625737"/>
                  <a:pt x="4104058" y="2625876"/>
                  <a:pt x="4104522" y="2625737"/>
                </a:cubicBezTo>
                <a:lnTo>
                  <a:pt x="4105675" y="2623744"/>
                </a:lnTo>
                <a:close/>
                <a:moveTo>
                  <a:pt x="825547" y="2620581"/>
                </a:moveTo>
                <a:cubicBezTo>
                  <a:pt x="834815" y="2621835"/>
                  <a:pt x="844082" y="2625458"/>
                  <a:pt x="846863" y="2635911"/>
                </a:cubicBezTo>
                <a:cubicBezTo>
                  <a:pt x="860765" y="2608456"/>
                  <a:pt x="877446" y="2628246"/>
                  <a:pt x="903860" y="2630894"/>
                </a:cubicBezTo>
                <a:cubicBezTo>
                  <a:pt x="908031" y="2658487"/>
                  <a:pt x="865399" y="2641486"/>
                  <a:pt x="882081" y="2625737"/>
                </a:cubicBezTo>
                <a:cubicBezTo>
                  <a:pt x="874667" y="2623229"/>
                  <a:pt x="867253" y="2644272"/>
                  <a:pt x="877910" y="2646781"/>
                </a:cubicBezTo>
                <a:cubicBezTo>
                  <a:pt x="864008" y="2654724"/>
                  <a:pt x="800986" y="2650543"/>
                  <a:pt x="794963" y="2630894"/>
                </a:cubicBezTo>
                <a:cubicBezTo>
                  <a:pt x="811645" y="2628246"/>
                  <a:pt x="822766" y="2644133"/>
                  <a:pt x="825547" y="2620581"/>
                </a:cubicBezTo>
                <a:close/>
                <a:moveTo>
                  <a:pt x="13464586" y="2618276"/>
                </a:moveTo>
                <a:cubicBezTo>
                  <a:pt x="13474317" y="2619530"/>
                  <a:pt x="13473854" y="2636114"/>
                  <a:pt x="13482197" y="2637508"/>
                </a:cubicBezTo>
                <a:cubicBezTo>
                  <a:pt x="13482197" y="2634721"/>
                  <a:pt x="13483586" y="2633328"/>
                  <a:pt x="13485439" y="2633328"/>
                </a:cubicBezTo>
                <a:cubicBezTo>
                  <a:pt x="13483586" y="2625105"/>
                  <a:pt x="13472465" y="2630540"/>
                  <a:pt x="13473854" y="2618276"/>
                </a:cubicBezTo>
                <a:cubicBezTo>
                  <a:pt x="13488220" y="2630540"/>
                  <a:pt x="13510463" y="2629286"/>
                  <a:pt x="13526218" y="2637508"/>
                </a:cubicBezTo>
                <a:cubicBezTo>
                  <a:pt x="13532242" y="2634721"/>
                  <a:pt x="13532242" y="2623711"/>
                  <a:pt x="13538729" y="2619670"/>
                </a:cubicBezTo>
                <a:cubicBezTo>
                  <a:pt x="13541974" y="2621063"/>
                  <a:pt x="13540119" y="2623850"/>
                  <a:pt x="13538729" y="2623850"/>
                </a:cubicBezTo>
                <a:cubicBezTo>
                  <a:pt x="13540119" y="2634721"/>
                  <a:pt x="13549851" y="2634860"/>
                  <a:pt x="13556340" y="2638902"/>
                </a:cubicBezTo>
                <a:cubicBezTo>
                  <a:pt x="13547071" y="2651166"/>
                  <a:pt x="13553094" y="2649632"/>
                  <a:pt x="13557730" y="2663290"/>
                </a:cubicBezTo>
                <a:cubicBezTo>
                  <a:pt x="13546608" y="2652281"/>
                  <a:pt x="13541974" y="2668865"/>
                  <a:pt x="13545219" y="2685169"/>
                </a:cubicBezTo>
                <a:cubicBezTo>
                  <a:pt x="13535486" y="2687957"/>
                  <a:pt x="13535486" y="2674439"/>
                  <a:pt x="13529463" y="2674439"/>
                </a:cubicBezTo>
                <a:cubicBezTo>
                  <a:pt x="13532705" y="2688095"/>
                  <a:pt x="13535951" y="2690743"/>
                  <a:pt x="13522974" y="2686563"/>
                </a:cubicBezTo>
                <a:cubicBezTo>
                  <a:pt x="13522511" y="2693531"/>
                  <a:pt x="13525292" y="2695065"/>
                  <a:pt x="13528071" y="2696458"/>
                </a:cubicBezTo>
                <a:cubicBezTo>
                  <a:pt x="13504902" y="2688792"/>
                  <a:pt x="13465976" y="2666216"/>
                  <a:pt x="13444197" y="2657994"/>
                </a:cubicBezTo>
                <a:cubicBezTo>
                  <a:pt x="13446977" y="2647124"/>
                  <a:pt x="13457172" y="2662035"/>
                  <a:pt x="13467831" y="2655206"/>
                </a:cubicBezTo>
                <a:cubicBezTo>
                  <a:pt x="13465050" y="2649772"/>
                  <a:pt x="13458562" y="2646845"/>
                  <a:pt x="13450684" y="2648099"/>
                </a:cubicBezTo>
                <a:cubicBezTo>
                  <a:pt x="13456710" y="2635836"/>
                  <a:pt x="13469683" y="2641689"/>
                  <a:pt x="13476172" y="2643082"/>
                </a:cubicBezTo>
                <a:cubicBezTo>
                  <a:pt x="13472928" y="2629425"/>
                  <a:pt x="13456710" y="2634860"/>
                  <a:pt x="13448831" y="2628032"/>
                </a:cubicBezTo>
                <a:cubicBezTo>
                  <a:pt x="13453465" y="2615768"/>
                  <a:pt x="13464586" y="2635975"/>
                  <a:pt x="13464586" y="2618276"/>
                </a:cubicBezTo>
                <a:close/>
                <a:moveTo>
                  <a:pt x="982637" y="2618211"/>
                </a:moveTo>
                <a:lnTo>
                  <a:pt x="982637" y="2635911"/>
                </a:lnTo>
                <a:cubicBezTo>
                  <a:pt x="972906" y="2637444"/>
                  <a:pt x="973833" y="2625876"/>
                  <a:pt x="962711" y="2630336"/>
                </a:cubicBezTo>
                <a:cubicBezTo>
                  <a:pt x="965491" y="2621418"/>
                  <a:pt x="972906" y="2616678"/>
                  <a:pt x="982637" y="2618211"/>
                </a:cubicBezTo>
                <a:close/>
                <a:moveTo>
                  <a:pt x="2078564" y="2617794"/>
                </a:moveTo>
                <a:cubicBezTo>
                  <a:pt x="2079955" y="2643297"/>
                  <a:pt x="2052614" y="2633681"/>
                  <a:pt x="2041492" y="2643018"/>
                </a:cubicBezTo>
                <a:cubicBezTo>
                  <a:pt x="2040103" y="2647060"/>
                  <a:pt x="2040103" y="2649846"/>
                  <a:pt x="2041492" y="2652495"/>
                </a:cubicBezTo>
                <a:cubicBezTo>
                  <a:pt x="2043346" y="2652495"/>
                  <a:pt x="2046590" y="2651519"/>
                  <a:pt x="2047980" y="2650125"/>
                </a:cubicBezTo>
                <a:cubicBezTo>
                  <a:pt x="2047980" y="2650125"/>
                  <a:pt x="2047055" y="2648592"/>
                  <a:pt x="2047055" y="2648592"/>
                </a:cubicBezTo>
                <a:cubicBezTo>
                  <a:pt x="2047055" y="2648592"/>
                  <a:pt x="2047980" y="2648592"/>
                  <a:pt x="2049370" y="2648592"/>
                </a:cubicBezTo>
                <a:cubicBezTo>
                  <a:pt x="2055858" y="2645945"/>
                  <a:pt x="2062346" y="2644552"/>
                  <a:pt x="2068833" y="2647199"/>
                </a:cubicBezTo>
                <a:cubicBezTo>
                  <a:pt x="2068833" y="2648592"/>
                  <a:pt x="2068833" y="2648592"/>
                  <a:pt x="2068833" y="2648592"/>
                </a:cubicBezTo>
                <a:cubicBezTo>
                  <a:pt x="2072077" y="2649986"/>
                  <a:pt x="2073931" y="2649707"/>
                  <a:pt x="2073931" y="2653749"/>
                </a:cubicBezTo>
                <a:cubicBezTo>
                  <a:pt x="2075321" y="2663086"/>
                  <a:pt x="2051224" y="2669915"/>
                  <a:pt x="2064199" y="2675350"/>
                </a:cubicBezTo>
                <a:cubicBezTo>
                  <a:pt x="2073467" y="2671308"/>
                  <a:pt x="2087832" y="2670054"/>
                  <a:pt x="2110539" y="2659323"/>
                </a:cubicBezTo>
                <a:cubicBezTo>
                  <a:pt x="2089685" y="2664759"/>
                  <a:pt x="2092930" y="2631173"/>
                  <a:pt x="2078564" y="2617794"/>
                </a:cubicBezTo>
                <a:close/>
                <a:moveTo>
                  <a:pt x="1003490" y="2616400"/>
                </a:moveTo>
                <a:cubicBezTo>
                  <a:pt x="1011367" y="2616958"/>
                  <a:pt x="1021562" y="2620302"/>
                  <a:pt x="1027123" y="2617794"/>
                </a:cubicBezTo>
                <a:cubicBezTo>
                  <a:pt x="1021099" y="2636189"/>
                  <a:pt x="1011367" y="2623089"/>
                  <a:pt x="990515" y="2631451"/>
                </a:cubicBezTo>
                <a:cubicBezTo>
                  <a:pt x="989124" y="2618072"/>
                  <a:pt x="995149" y="2615703"/>
                  <a:pt x="1003490" y="2616400"/>
                </a:cubicBezTo>
                <a:close/>
                <a:moveTo>
                  <a:pt x="2629729" y="2616274"/>
                </a:moveTo>
                <a:lnTo>
                  <a:pt x="2628613" y="2627131"/>
                </a:lnTo>
                <a:cubicBezTo>
                  <a:pt x="2638345" y="2623926"/>
                  <a:pt x="2646221" y="2623229"/>
                  <a:pt x="2653636" y="2623229"/>
                </a:cubicBezTo>
                <a:lnTo>
                  <a:pt x="2641363" y="2618236"/>
                </a:lnTo>
                <a:close/>
                <a:moveTo>
                  <a:pt x="2704115" y="2615723"/>
                </a:moveTo>
                <a:cubicBezTo>
                  <a:pt x="2698385" y="2615422"/>
                  <a:pt x="2692260" y="2615788"/>
                  <a:pt x="2685918" y="2616381"/>
                </a:cubicBezTo>
                <a:lnTo>
                  <a:pt x="2665672" y="2617801"/>
                </a:lnTo>
                <a:lnTo>
                  <a:pt x="2666147" y="2618211"/>
                </a:lnTo>
                <a:cubicBezTo>
                  <a:pt x="2665221" y="2621418"/>
                  <a:pt x="2663832" y="2623089"/>
                  <a:pt x="2661515" y="2623786"/>
                </a:cubicBezTo>
                <a:cubicBezTo>
                  <a:pt x="2676343" y="2625041"/>
                  <a:pt x="2691635" y="2628665"/>
                  <a:pt x="2716196" y="2627131"/>
                </a:cubicBezTo>
                <a:cubicBezTo>
                  <a:pt x="2695805" y="2653889"/>
                  <a:pt x="2633710" y="2632287"/>
                  <a:pt x="2606370" y="2652495"/>
                </a:cubicBezTo>
                <a:cubicBezTo>
                  <a:pt x="2612857" y="2672563"/>
                  <a:pt x="2629077" y="2681063"/>
                  <a:pt x="2643442" y="2690402"/>
                </a:cubicBezTo>
                <a:cubicBezTo>
                  <a:pt x="2636953" y="2698484"/>
                  <a:pt x="2644832" y="2722593"/>
                  <a:pt x="2628613" y="2721199"/>
                </a:cubicBezTo>
                <a:cubicBezTo>
                  <a:pt x="2628613" y="2722593"/>
                  <a:pt x="2628613" y="2722315"/>
                  <a:pt x="2628613" y="2723568"/>
                </a:cubicBezTo>
                <a:cubicBezTo>
                  <a:pt x="2635101" y="2719527"/>
                  <a:pt x="2641588" y="2720921"/>
                  <a:pt x="2651320" y="2723568"/>
                </a:cubicBezTo>
                <a:cubicBezTo>
                  <a:pt x="2649466" y="2719527"/>
                  <a:pt x="2646686" y="2717018"/>
                  <a:pt x="2643442" y="2715625"/>
                </a:cubicBezTo>
                <a:cubicBezTo>
                  <a:pt x="2659197" y="2702246"/>
                  <a:pt x="2678197" y="2710051"/>
                  <a:pt x="2694415" y="2704755"/>
                </a:cubicBezTo>
                <a:cubicBezTo>
                  <a:pt x="2694415" y="2692630"/>
                  <a:pt x="2686074" y="2688729"/>
                  <a:pt x="2679586" y="2684827"/>
                </a:cubicBezTo>
                <a:cubicBezTo>
                  <a:pt x="2670318" y="2683432"/>
                  <a:pt x="2665221" y="2688868"/>
                  <a:pt x="2665221" y="2699599"/>
                </a:cubicBezTo>
                <a:cubicBezTo>
                  <a:pt x="2642978" y="2687613"/>
                  <a:pt x="2651320" y="2671168"/>
                  <a:pt x="2624442" y="2663226"/>
                </a:cubicBezTo>
                <a:cubicBezTo>
                  <a:pt x="2655953" y="2628246"/>
                  <a:pt x="2687927" y="2680924"/>
                  <a:pt x="2716196" y="2668800"/>
                </a:cubicBezTo>
                <a:cubicBezTo>
                  <a:pt x="2716196" y="2668800"/>
                  <a:pt x="2716196" y="2667267"/>
                  <a:pt x="2716196" y="2665873"/>
                </a:cubicBezTo>
                <a:cubicBezTo>
                  <a:pt x="2719438" y="2664620"/>
                  <a:pt x="2723146" y="2663226"/>
                  <a:pt x="2726390" y="2663226"/>
                </a:cubicBezTo>
                <a:cubicBezTo>
                  <a:pt x="2723146" y="2659184"/>
                  <a:pt x="2721292" y="2655282"/>
                  <a:pt x="2721292" y="2647199"/>
                </a:cubicBezTo>
                <a:cubicBezTo>
                  <a:pt x="2713414" y="2653889"/>
                  <a:pt x="2703683" y="2664479"/>
                  <a:pt x="2694415" y="2652495"/>
                </a:cubicBezTo>
                <a:cubicBezTo>
                  <a:pt x="2700440" y="2643018"/>
                  <a:pt x="2716658" y="2641625"/>
                  <a:pt x="2734267" y="2641625"/>
                </a:cubicBezTo>
                <a:cubicBezTo>
                  <a:pt x="2729400" y="2635562"/>
                  <a:pt x="2725346" y="2632218"/>
                  <a:pt x="2724130" y="2628194"/>
                </a:cubicBezTo>
                <a:lnTo>
                  <a:pt x="2724562" y="2622799"/>
                </a:lnTo>
                <a:lnTo>
                  <a:pt x="2719933" y="2619064"/>
                </a:lnTo>
                <a:cubicBezTo>
                  <a:pt x="2715176" y="2616991"/>
                  <a:pt x="2709844" y="2616024"/>
                  <a:pt x="2704115" y="2615723"/>
                </a:cubicBezTo>
                <a:close/>
                <a:moveTo>
                  <a:pt x="4209336" y="2614724"/>
                </a:moveTo>
                <a:lnTo>
                  <a:pt x="4202260" y="2615328"/>
                </a:lnTo>
                <a:lnTo>
                  <a:pt x="4205253" y="2619117"/>
                </a:lnTo>
                <a:cubicBezTo>
                  <a:pt x="4207281" y="2622114"/>
                  <a:pt x="4208787" y="2625668"/>
                  <a:pt x="4208787" y="2630894"/>
                </a:cubicBezTo>
                <a:cubicBezTo>
                  <a:pt x="4200445" y="2632287"/>
                  <a:pt x="4196275" y="2628385"/>
                  <a:pt x="4192103" y="2624343"/>
                </a:cubicBezTo>
                <a:cubicBezTo>
                  <a:pt x="4188860" y="2635074"/>
                  <a:pt x="4173568" y="2632845"/>
                  <a:pt x="4168471" y="2626712"/>
                </a:cubicBezTo>
                <a:cubicBezTo>
                  <a:pt x="4171251" y="2619327"/>
                  <a:pt x="4175422" y="2617655"/>
                  <a:pt x="4180056" y="2617794"/>
                </a:cubicBezTo>
                <a:lnTo>
                  <a:pt x="4180798" y="2617400"/>
                </a:lnTo>
                <a:lnTo>
                  <a:pt x="4165889" y="2619050"/>
                </a:lnTo>
                <a:lnTo>
                  <a:pt x="4164764" y="2619327"/>
                </a:lnTo>
                <a:cubicBezTo>
                  <a:pt x="4164764" y="2622114"/>
                  <a:pt x="4165691" y="2626155"/>
                  <a:pt x="4164301" y="2628524"/>
                </a:cubicBezTo>
                <a:cubicBezTo>
                  <a:pt x="4166153" y="2629221"/>
                  <a:pt x="4167544" y="2629639"/>
                  <a:pt x="4169398" y="2630336"/>
                </a:cubicBezTo>
                <a:cubicBezTo>
                  <a:pt x="4166153" y="2633542"/>
                  <a:pt x="4163374" y="2634796"/>
                  <a:pt x="4160593" y="2634656"/>
                </a:cubicBezTo>
                <a:cubicBezTo>
                  <a:pt x="4159203" y="2636747"/>
                  <a:pt x="4158277" y="2638140"/>
                  <a:pt x="4156885" y="2641206"/>
                </a:cubicBezTo>
                <a:cubicBezTo>
                  <a:pt x="4147155" y="2640092"/>
                  <a:pt x="4141594" y="2638279"/>
                  <a:pt x="4136497" y="2637025"/>
                </a:cubicBezTo>
                <a:cubicBezTo>
                  <a:pt x="4138813" y="2645108"/>
                  <a:pt x="4146691" y="2642042"/>
                  <a:pt x="4146227" y="2654865"/>
                </a:cubicBezTo>
                <a:cubicBezTo>
                  <a:pt x="4130935" y="2653052"/>
                  <a:pt x="4133716" y="2678416"/>
                  <a:pt x="4120741" y="2664062"/>
                </a:cubicBezTo>
                <a:cubicBezTo>
                  <a:pt x="4119815" y="2673816"/>
                  <a:pt x="4130935" y="2685523"/>
                  <a:pt x="4129082" y="2673538"/>
                </a:cubicBezTo>
                <a:cubicBezTo>
                  <a:pt x="4134180" y="2674096"/>
                  <a:pt x="4132326" y="2678138"/>
                  <a:pt x="4130009" y="2678555"/>
                </a:cubicBezTo>
                <a:lnTo>
                  <a:pt x="4131863" y="2689286"/>
                </a:lnTo>
                <a:cubicBezTo>
                  <a:pt x="4123059" y="2686499"/>
                  <a:pt x="4118424" y="2665734"/>
                  <a:pt x="4100352" y="2661693"/>
                </a:cubicBezTo>
                <a:cubicBezTo>
                  <a:pt x="4101741" y="2653610"/>
                  <a:pt x="4107767" y="2650823"/>
                  <a:pt x="4114254" y="2648175"/>
                </a:cubicBezTo>
                <a:cubicBezTo>
                  <a:pt x="4114254" y="2644830"/>
                  <a:pt x="4114718" y="2640928"/>
                  <a:pt x="4109156" y="2637025"/>
                </a:cubicBezTo>
                <a:cubicBezTo>
                  <a:pt x="4104522" y="2637862"/>
                  <a:pt x="4101741" y="2639534"/>
                  <a:pt x="4099426" y="2640371"/>
                </a:cubicBezTo>
                <a:cubicBezTo>
                  <a:pt x="4095255" y="2643576"/>
                  <a:pt x="4091084" y="2646502"/>
                  <a:pt x="4087378" y="2649149"/>
                </a:cubicBezTo>
                <a:cubicBezTo>
                  <a:pt x="4083207" y="2655561"/>
                  <a:pt x="4079036" y="2662529"/>
                  <a:pt x="4076256" y="2670192"/>
                </a:cubicBezTo>
                <a:cubicBezTo>
                  <a:pt x="4087841" y="2673677"/>
                  <a:pt x="4097571" y="2672005"/>
                  <a:pt x="4110548" y="2676186"/>
                </a:cubicBezTo>
                <a:cubicBezTo>
                  <a:pt x="4110083" y="2681761"/>
                  <a:pt x="4108230" y="2686220"/>
                  <a:pt x="4105913" y="2689286"/>
                </a:cubicBezTo>
                <a:cubicBezTo>
                  <a:pt x="4108693" y="2691655"/>
                  <a:pt x="4110548" y="2691795"/>
                  <a:pt x="4112400" y="2693049"/>
                </a:cubicBezTo>
                <a:cubicBezTo>
                  <a:pt x="4112864" y="2693188"/>
                  <a:pt x="4113327" y="2693049"/>
                  <a:pt x="4113327" y="2693049"/>
                </a:cubicBezTo>
                <a:cubicBezTo>
                  <a:pt x="4112400" y="2686499"/>
                  <a:pt x="4111937" y="2680646"/>
                  <a:pt x="4116571" y="2679531"/>
                </a:cubicBezTo>
                <a:cubicBezTo>
                  <a:pt x="4117497" y="2684966"/>
                  <a:pt x="4116571" y="2688729"/>
                  <a:pt x="4116571" y="2693606"/>
                </a:cubicBezTo>
                <a:cubicBezTo>
                  <a:pt x="4120278" y="2694442"/>
                  <a:pt x="4123522" y="2695697"/>
                  <a:pt x="4126302" y="2697230"/>
                </a:cubicBezTo>
                <a:cubicBezTo>
                  <a:pt x="4130935" y="2696952"/>
                  <a:pt x="4136033" y="2695976"/>
                  <a:pt x="4144374" y="2693049"/>
                </a:cubicBezTo>
                <a:cubicBezTo>
                  <a:pt x="4147618" y="2701828"/>
                  <a:pt x="4143448" y="2703780"/>
                  <a:pt x="4139740" y="2705870"/>
                </a:cubicBezTo>
                <a:cubicBezTo>
                  <a:pt x="4141594" y="2707263"/>
                  <a:pt x="4143911" y="2707960"/>
                  <a:pt x="4145765" y="2709493"/>
                </a:cubicBezTo>
                <a:cubicBezTo>
                  <a:pt x="4147155" y="2708657"/>
                  <a:pt x="4147618" y="2706846"/>
                  <a:pt x="4149472" y="2706705"/>
                </a:cubicBezTo>
                <a:cubicBezTo>
                  <a:pt x="4149008" y="2708657"/>
                  <a:pt x="4148545" y="2709912"/>
                  <a:pt x="4148082" y="2711444"/>
                </a:cubicBezTo>
                <a:cubicBezTo>
                  <a:pt x="4150400" y="2713117"/>
                  <a:pt x="4152716" y="2713535"/>
                  <a:pt x="4154568" y="2715068"/>
                </a:cubicBezTo>
                <a:cubicBezTo>
                  <a:pt x="4161983" y="2713952"/>
                  <a:pt x="4142985" y="2702665"/>
                  <a:pt x="4155959" y="2700157"/>
                </a:cubicBezTo>
                <a:cubicBezTo>
                  <a:pt x="4159203" y="2701272"/>
                  <a:pt x="4162910" y="2702386"/>
                  <a:pt x="4166153" y="2703780"/>
                </a:cubicBezTo>
                <a:cubicBezTo>
                  <a:pt x="4164764" y="2698345"/>
                  <a:pt x="4163374" y="2692491"/>
                  <a:pt x="4166618" y="2689286"/>
                </a:cubicBezTo>
                <a:cubicBezTo>
                  <a:pt x="4174494" y="2685384"/>
                  <a:pt x="4177275" y="2690402"/>
                  <a:pt x="4183299" y="2692212"/>
                </a:cubicBezTo>
                <a:cubicBezTo>
                  <a:pt x="4180983" y="2696533"/>
                  <a:pt x="4177738" y="2701272"/>
                  <a:pt x="4172641" y="2704755"/>
                </a:cubicBezTo>
                <a:cubicBezTo>
                  <a:pt x="4176349" y="2710886"/>
                  <a:pt x="4183763" y="2712837"/>
                  <a:pt x="4190250" y="2711862"/>
                </a:cubicBezTo>
                <a:cubicBezTo>
                  <a:pt x="4198129" y="2709215"/>
                  <a:pt x="4206470" y="2694442"/>
                  <a:pt x="4208787" y="2709075"/>
                </a:cubicBezTo>
                <a:cubicBezTo>
                  <a:pt x="4212493" y="2704476"/>
                  <a:pt x="4213885" y="2698623"/>
                  <a:pt x="4214347" y="2693049"/>
                </a:cubicBezTo>
                <a:cubicBezTo>
                  <a:pt x="4214347" y="2691934"/>
                  <a:pt x="4213420" y="2692909"/>
                  <a:pt x="4212956" y="2692212"/>
                </a:cubicBezTo>
                <a:cubicBezTo>
                  <a:pt x="4210177" y="2701689"/>
                  <a:pt x="4196275" y="2702943"/>
                  <a:pt x="4189323" y="2697787"/>
                </a:cubicBezTo>
                <a:cubicBezTo>
                  <a:pt x="4193958" y="2693606"/>
                  <a:pt x="4199518" y="2691098"/>
                  <a:pt x="4205079" y="2688450"/>
                </a:cubicBezTo>
                <a:cubicBezTo>
                  <a:pt x="4201371" y="2689565"/>
                  <a:pt x="4197665" y="2691098"/>
                  <a:pt x="4195348" y="2690402"/>
                </a:cubicBezTo>
                <a:cubicBezTo>
                  <a:pt x="4196275" y="2686360"/>
                  <a:pt x="4195811" y="2684687"/>
                  <a:pt x="4196275" y="2681899"/>
                </a:cubicBezTo>
                <a:cubicBezTo>
                  <a:pt x="4189323" y="2683571"/>
                  <a:pt x="4181445" y="2684129"/>
                  <a:pt x="4176349" y="2688032"/>
                </a:cubicBezTo>
                <a:cubicBezTo>
                  <a:pt x="4165227" y="2674653"/>
                  <a:pt x="4147155" y="2670472"/>
                  <a:pt x="4137887" y="2686639"/>
                </a:cubicBezTo>
                <a:cubicBezTo>
                  <a:pt x="4131400" y="2685245"/>
                  <a:pt x="4136033" y="2667825"/>
                  <a:pt x="4130009" y="2667825"/>
                </a:cubicBezTo>
                <a:cubicBezTo>
                  <a:pt x="4147155" y="2674933"/>
                  <a:pt x="4170326" y="2671587"/>
                  <a:pt x="4193495" y="2668242"/>
                </a:cubicBezTo>
                <a:cubicBezTo>
                  <a:pt x="4191641" y="2665455"/>
                  <a:pt x="4190715" y="2662808"/>
                  <a:pt x="4186544" y="2659323"/>
                </a:cubicBezTo>
                <a:cubicBezTo>
                  <a:pt x="4190250" y="2628385"/>
                  <a:pt x="4220835" y="2647199"/>
                  <a:pt x="4241687" y="2638001"/>
                </a:cubicBezTo>
                <a:cubicBezTo>
                  <a:pt x="4232883" y="2637722"/>
                  <a:pt x="4223615" y="2638697"/>
                  <a:pt x="4217591" y="2639813"/>
                </a:cubicBezTo>
                <a:close/>
                <a:moveTo>
                  <a:pt x="4228405" y="2612513"/>
                </a:moveTo>
                <a:lnTo>
                  <a:pt x="4224078" y="2615982"/>
                </a:lnTo>
                <a:cubicBezTo>
                  <a:pt x="4223151" y="2615425"/>
                  <a:pt x="4221761" y="2615982"/>
                  <a:pt x="4220835" y="2615425"/>
                </a:cubicBezTo>
                <a:cubicBezTo>
                  <a:pt x="4222224" y="2616958"/>
                  <a:pt x="4223615" y="2617376"/>
                  <a:pt x="4224078" y="2619605"/>
                </a:cubicBezTo>
                <a:cubicBezTo>
                  <a:pt x="4227090" y="2617027"/>
                  <a:pt x="4229871" y="2615599"/>
                  <a:pt x="4232535" y="2614640"/>
                </a:cubicBezTo>
                <a:lnTo>
                  <a:pt x="4233046" y="2614499"/>
                </a:lnTo>
                <a:close/>
                <a:moveTo>
                  <a:pt x="4370511" y="2612220"/>
                </a:moveTo>
                <a:cubicBezTo>
                  <a:pt x="4368193" y="2614728"/>
                  <a:pt x="4365414" y="2616818"/>
                  <a:pt x="4362633" y="2618769"/>
                </a:cubicBezTo>
                <a:lnTo>
                  <a:pt x="4364121" y="2620260"/>
                </a:lnTo>
                <a:lnTo>
                  <a:pt x="4368689" y="2621024"/>
                </a:lnTo>
                <a:cubicBezTo>
                  <a:pt x="4371021" y="2621494"/>
                  <a:pt x="4373136" y="2622269"/>
                  <a:pt x="4374526" y="2624046"/>
                </a:cubicBezTo>
                <a:cubicBezTo>
                  <a:pt x="4375915" y="2619447"/>
                  <a:pt x="4378348" y="2615929"/>
                  <a:pt x="4382229" y="2613786"/>
                </a:cubicBezTo>
                <a:lnTo>
                  <a:pt x="4383495" y="2613631"/>
                </a:lnTo>
                <a:lnTo>
                  <a:pt x="4383487" y="2613613"/>
                </a:lnTo>
                <a:cubicBezTo>
                  <a:pt x="4379778" y="2613195"/>
                  <a:pt x="4375144" y="2612777"/>
                  <a:pt x="4370511" y="2612220"/>
                </a:cubicBezTo>
                <a:close/>
                <a:moveTo>
                  <a:pt x="13355226" y="2611726"/>
                </a:moveTo>
                <a:cubicBezTo>
                  <a:pt x="13387663" y="2623293"/>
                  <a:pt x="13413150" y="2615489"/>
                  <a:pt x="13444197" y="2625662"/>
                </a:cubicBezTo>
                <a:cubicBezTo>
                  <a:pt x="13444197" y="2635836"/>
                  <a:pt x="13440954" y="2641968"/>
                  <a:pt x="13432613" y="2643500"/>
                </a:cubicBezTo>
                <a:cubicBezTo>
                  <a:pt x="13429369" y="2640574"/>
                  <a:pt x="13428443" y="2634860"/>
                  <a:pt x="13428443" y="2627614"/>
                </a:cubicBezTo>
                <a:cubicBezTo>
                  <a:pt x="13420101" y="2629147"/>
                  <a:pt x="13416394" y="2634721"/>
                  <a:pt x="13416394" y="2644893"/>
                </a:cubicBezTo>
                <a:cubicBezTo>
                  <a:pt x="13398785" y="2621759"/>
                  <a:pt x="13383957" y="2620227"/>
                  <a:pt x="13356615" y="2628867"/>
                </a:cubicBezTo>
                <a:cubicBezTo>
                  <a:pt x="13350129" y="2624547"/>
                  <a:pt x="13363104" y="2624687"/>
                  <a:pt x="13355226" y="2611726"/>
                </a:cubicBezTo>
                <a:close/>
                <a:moveTo>
                  <a:pt x="2618351" y="2610518"/>
                </a:moveTo>
                <a:lnTo>
                  <a:pt x="2614711" y="2610686"/>
                </a:lnTo>
                <a:cubicBezTo>
                  <a:pt x="2605907" y="2622114"/>
                  <a:pt x="2582273" y="2621418"/>
                  <a:pt x="2560493" y="2616958"/>
                </a:cubicBezTo>
                <a:cubicBezTo>
                  <a:pt x="2562811" y="2619745"/>
                  <a:pt x="2563275" y="2624762"/>
                  <a:pt x="2564202" y="2630336"/>
                </a:cubicBezTo>
                <a:cubicBezTo>
                  <a:pt x="2579956" y="2621696"/>
                  <a:pt x="2590151" y="2620302"/>
                  <a:pt x="2608224" y="2624343"/>
                </a:cubicBezTo>
                <a:lnTo>
                  <a:pt x="2624213" y="2613886"/>
                </a:lnTo>
                <a:close/>
                <a:moveTo>
                  <a:pt x="34070" y="2607481"/>
                </a:moveTo>
                <a:cubicBezTo>
                  <a:pt x="41948" y="2606227"/>
                  <a:pt x="55849" y="2621277"/>
                  <a:pt x="54459" y="2609293"/>
                </a:cubicBezTo>
                <a:cubicBezTo>
                  <a:pt x="72995" y="2623647"/>
                  <a:pt x="32679" y="2626573"/>
                  <a:pt x="28972" y="2615425"/>
                </a:cubicBezTo>
                <a:cubicBezTo>
                  <a:pt x="29436" y="2609850"/>
                  <a:pt x="31289" y="2607898"/>
                  <a:pt x="34070" y="2607481"/>
                </a:cubicBezTo>
                <a:close/>
                <a:moveTo>
                  <a:pt x="4406192" y="2604694"/>
                </a:moveTo>
                <a:cubicBezTo>
                  <a:pt x="4399705" y="2612081"/>
                  <a:pt x="4394145" y="2613055"/>
                  <a:pt x="4388119" y="2613055"/>
                </a:cubicBezTo>
                <a:lnTo>
                  <a:pt x="4388114" y="2613066"/>
                </a:lnTo>
                <a:lnTo>
                  <a:pt x="4398621" y="2611782"/>
                </a:lnTo>
                <a:lnTo>
                  <a:pt x="4394793" y="2620433"/>
                </a:lnTo>
                <a:lnTo>
                  <a:pt x="4397620" y="2620668"/>
                </a:lnTo>
                <a:cubicBezTo>
                  <a:pt x="4401674" y="2620024"/>
                  <a:pt x="4405498" y="2618351"/>
                  <a:pt x="4406192" y="2621138"/>
                </a:cubicBezTo>
                <a:cubicBezTo>
                  <a:pt x="4402948" y="2630755"/>
                  <a:pt x="4398315" y="2632427"/>
                  <a:pt x="4393971" y="2629918"/>
                </a:cubicBezTo>
                <a:lnTo>
                  <a:pt x="4390641" y="2626403"/>
                </a:lnTo>
                <a:lnTo>
                  <a:pt x="4377435" y="2631271"/>
                </a:lnTo>
                <a:lnTo>
                  <a:pt x="4379084" y="2635388"/>
                </a:lnTo>
                <a:cubicBezTo>
                  <a:pt x="4378737" y="2637618"/>
                  <a:pt x="4377230" y="2639673"/>
                  <a:pt x="4375608" y="2643018"/>
                </a:cubicBezTo>
                <a:cubicBezTo>
                  <a:pt x="4387657" y="2638140"/>
                  <a:pt x="4398778" y="2637164"/>
                  <a:pt x="4410362" y="2638279"/>
                </a:cubicBezTo>
                <a:cubicBezTo>
                  <a:pt x="4414070" y="2630894"/>
                  <a:pt x="4403412" y="2623647"/>
                  <a:pt x="4406192" y="2604694"/>
                </a:cubicBezTo>
                <a:close/>
                <a:moveTo>
                  <a:pt x="733794" y="2603718"/>
                </a:moveTo>
                <a:cubicBezTo>
                  <a:pt x="740283" y="2606227"/>
                  <a:pt x="731941" y="2610268"/>
                  <a:pt x="733794" y="2619327"/>
                </a:cubicBezTo>
                <a:cubicBezTo>
                  <a:pt x="712478" y="2623089"/>
                  <a:pt x="714332" y="2617933"/>
                  <a:pt x="701357" y="2629361"/>
                </a:cubicBezTo>
                <a:cubicBezTo>
                  <a:pt x="702747" y="2617933"/>
                  <a:pt x="699504" y="2610129"/>
                  <a:pt x="691162" y="2608874"/>
                </a:cubicBezTo>
                <a:cubicBezTo>
                  <a:pt x="704601" y="2596192"/>
                  <a:pt x="722210" y="2627966"/>
                  <a:pt x="733794" y="2603718"/>
                </a:cubicBezTo>
                <a:close/>
                <a:moveTo>
                  <a:pt x="4382712" y="2603122"/>
                </a:moveTo>
                <a:lnTo>
                  <a:pt x="4377248" y="2603623"/>
                </a:lnTo>
                <a:lnTo>
                  <a:pt x="4374746" y="2603920"/>
                </a:lnTo>
                <a:lnTo>
                  <a:pt x="4375144" y="2605112"/>
                </a:lnTo>
                <a:cubicBezTo>
                  <a:pt x="4377463" y="2605112"/>
                  <a:pt x="4379778" y="2604972"/>
                  <a:pt x="4382095" y="2605112"/>
                </a:cubicBezTo>
                <a:close/>
                <a:moveTo>
                  <a:pt x="4393560" y="2602127"/>
                </a:moveTo>
                <a:lnTo>
                  <a:pt x="4391817" y="2602287"/>
                </a:lnTo>
                <a:lnTo>
                  <a:pt x="4391364" y="2603718"/>
                </a:lnTo>
                <a:close/>
                <a:moveTo>
                  <a:pt x="1014612" y="2600095"/>
                </a:moveTo>
                <a:cubicBezTo>
                  <a:pt x="1019245" y="2600374"/>
                  <a:pt x="1023416" y="2601489"/>
                  <a:pt x="1027123" y="2603300"/>
                </a:cubicBezTo>
                <a:cubicBezTo>
                  <a:pt x="1016929" y="2625041"/>
                  <a:pt x="997929" y="2609293"/>
                  <a:pt x="977540" y="2609293"/>
                </a:cubicBezTo>
                <a:cubicBezTo>
                  <a:pt x="984490" y="2604972"/>
                  <a:pt x="992832" y="2601628"/>
                  <a:pt x="1001636" y="2600374"/>
                </a:cubicBezTo>
                <a:cubicBezTo>
                  <a:pt x="1005807" y="2599816"/>
                  <a:pt x="1010441" y="2599677"/>
                  <a:pt x="1014612" y="2600095"/>
                </a:cubicBezTo>
                <a:close/>
                <a:moveTo>
                  <a:pt x="814889" y="2595914"/>
                </a:moveTo>
                <a:cubicBezTo>
                  <a:pt x="813498" y="2622392"/>
                  <a:pt x="793572" y="2605669"/>
                  <a:pt x="784768" y="2603718"/>
                </a:cubicBezTo>
                <a:cubicBezTo>
                  <a:pt x="786158" y="2587413"/>
                  <a:pt x="806084" y="2601907"/>
                  <a:pt x="814889" y="2595914"/>
                </a:cubicBezTo>
                <a:close/>
                <a:moveTo>
                  <a:pt x="13443734" y="2585527"/>
                </a:moveTo>
                <a:cubicBezTo>
                  <a:pt x="13448831" y="2584551"/>
                  <a:pt x="13455782" y="2593051"/>
                  <a:pt x="13463660" y="2587338"/>
                </a:cubicBezTo>
                <a:cubicBezTo>
                  <a:pt x="13462269" y="2613258"/>
                  <a:pt x="13450220" y="2592215"/>
                  <a:pt x="13439564" y="2590682"/>
                </a:cubicBezTo>
                <a:cubicBezTo>
                  <a:pt x="13440490" y="2587198"/>
                  <a:pt x="13441882" y="2585945"/>
                  <a:pt x="13443734" y="2585527"/>
                </a:cubicBezTo>
                <a:close/>
                <a:moveTo>
                  <a:pt x="13746794" y="2581763"/>
                </a:moveTo>
                <a:cubicBezTo>
                  <a:pt x="13750966" y="2583157"/>
                  <a:pt x="13755598" y="2587895"/>
                  <a:pt x="13760231" y="2589707"/>
                </a:cubicBezTo>
                <a:cubicBezTo>
                  <a:pt x="13755598" y="2605874"/>
                  <a:pt x="13743550" y="2587616"/>
                  <a:pt x="13735672" y="2593051"/>
                </a:cubicBezTo>
                <a:cubicBezTo>
                  <a:pt x="13738916" y="2582181"/>
                  <a:pt x="13742623" y="2580370"/>
                  <a:pt x="13746794" y="2581763"/>
                </a:cubicBezTo>
                <a:close/>
                <a:moveTo>
                  <a:pt x="2147146" y="2570411"/>
                </a:moveTo>
                <a:cubicBezTo>
                  <a:pt x="2123050" y="2574453"/>
                  <a:pt x="2116563" y="2601489"/>
                  <a:pt x="2087832" y="2601489"/>
                </a:cubicBezTo>
                <a:cubicBezTo>
                  <a:pt x="2092930" y="2608178"/>
                  <a:pt x="2100343" y="2612220"/>
                  <a:pt x="2100343" y="2622950"/>
                </a:cubicBezTo>
                <a:cubicBezTo>
                  <a:pt x="2106831" y="2610826"/>
                  <a:pt x="2123050" y="2612081"/>
                  <a:pt x="2119807" y="2590618"/>
                </a:cubicBezTo>
                <a:cubicBezTo>
                  <a:pt x="2132319" y="2603997"/>
                  <a:pt x="2143904" y="2587971"/>
                  <a:pt x="2161512" y="2590618"/>
                </a:cubicBezTo>
                <a:cubicBezTo>
                  <a:pt x="2159658" y="2609432"/>
                  <a:pt x="2145293" y="2612220"/>
                  <a:pt x="2129537" y="2612220"/>
                </a:cubicBezTo>
                <a:cubicBezTo>
                  <a:pt x="2136025" y="2616260"/>
                  <a:pt x="2143904" y="2618909"/>
                  <a:pt x="2152244" y="2622950"/>
                </a:cubicBezTo>
                <a:cubicBezTo>
                  <a:pt x="2166610" y="2617515"/>
                  <a:pt x="2193486" y="2620442"/>
                  <a:pt x="2179120" y="2636468"/>
                </a:cubicBezTo>
                <a:cubicBezTo>
                  <a:pt x="2174487" y="2621696"/>
                  <a:pt x="2156414" y="2628385"/>
                  <a:pt x="2174024" y="2636468"/>
                </a:cubicBezTo>
                <a:cubicBezTo>
                  <a:pt x="2170780" y="2643158"/>
                  <a:pt x="2167999" y="2641903"/>
                  <a:pt x="2164756" y="2639255"/>
                </a:cubicBezTo>
                <a:cubicBezTo>
                  <a:pt x="2164756" y="2641903"/>
                  <a:pt x="2166145" y="2644691"/>
                  <a:pt x="2166145" y="2648592"/>
                </a:cubicBezTo>
                <a:cubicBezTo>
                  <a:pt x="2169389" y="2649986"/>
                  <a:pt x="2172634" y="2650125"/>
                  <a:pt x="2175877" y="2650125"/>
                </a:cubicBezTo>
                <a:cubicBezTo>
                  <a:pt x="2177266" y="2646084"/>
                  <a:pt x="2179120" y="2643158"/>
                  <a:pt x="2179120" y="2636468"/>
                </a:cubicBezTo>
                <a:cubicBezTo>
                  <a:pt x="2188853" y="2635214"/>
                  <a:pt x="2189780" y="2643018"/>
                  <a:pt x="2198121" y="2643018"/>
                </a:cubicBezTo>
                <a:cubicBezTo>
                  <a:pt x="2201363" y="2630894"/>
                  <a:pt x="2180512" y="2626852"/>
                  <a:pt x="2193486" y="2622950"/>
                </a:cubicBezTo>
                <a:cubicBezTo>
                  <a:pt x="2209241" y="2637583"/>
                  <a:pt x="2212485" y="2637862"/>
                  <a:pt x="2239362" y="2633821"/>
                </a:cubicBezTo>
                <a:cubicBezTo>
                  <a:pt x="2242606" y="2647199"/>
                  <a:pt x="2229632" y="2643297"/>
                  <a:pt x="2224997" y="2648592"/>
                </a:cubicBezTo>
                <a:cubicBezTo>
                  <a:pt x="2229632" y="2663365"/>
                  <a:pt x="2249094" y="2660578"/>
                  <a:pt x="2262068" y="2664620"/>
                </a:cubicBezTo>
                <a:cubicBezTo>
                  <a:pt x="2269946" y="2664620"/>
                  <a:pt x="2255581" y="2640510"/>
                  <a:pt x="2266703" y="2633821"/>
                </a:cubicBezTo>
                <a:cubicBezTo>
                  <a:pt x="2276434" y="2631032"/>
                  <a:pt x="2279214" y="2636468"/>
                  <a:pt x="2285702" y="2639255"/>
                </a:cubicBezTo>
                <a:cubicBezTo>
                  <a:pt x="2281067" y="2643297"/>
                  <a:pt x="2275970" y="2647477"/>
                  <a:pt x="2271337" y="2650125"/>
                </a:cubicBezTo>
                <a:cubicBezTo>
                  <a:pt x="2275970" y="2662250"/>
                  <a:pt x="2292188" y="2660717"/>
                  <a:pt x="2308408" y="2659323"/>
                </a:cubicBezTo>
                <a:cubicBezTo>
                  <a:pt x="2271800" y="2698345"/>
                  <a:pt x="2225461" y="2657790"/>
                  <a:pt x="2188389" y="2686081"/>
                </a:cubicBezTo>
                <a:cubicBezTo>
                  <a:pt x="2182365" y="2683293"/>
                  <a:pt x="2179120" y="2679670"/>
                  <a:pt x="2179120" y="2670192"/>
                </a:cubicBezTo>
                <a:cubicBezTo>
                  <a:pt x="2166145" y="2674235"/>
                  <a:pt x="2164756" y="2674235"/>
                  <a:pt x="2152244" y="2670192"/>
                </a:cubicBezTo>
                <a:cubicBezTo>
                  <a:pt x="2153170" y="2677162"/>
                  <a:pt x="2161975" y="2675908"/>
                  <a:pt x="2165219" y="2681481"/>
                </a:cubicBezTo>
                <a:cubicBezTo>
                  <a:pt x="2165219" y="2680785"/>
                  <a:pt x="2164756" y="2680228"/>
                  <a:pt x="2164756" y="2679531"/>
                </a:cubicBezTo>
                <a:cubicBezTo>
                  <a:pt x="2179120" y="2674096"/>
                  <a:pt x="2177266" y="2688729"/>
                  <a:pt x="2180512" y="2695418"/>
                </a:cubicBezTo>
                <a:cubicBezTo>
                  <a:pt x="2205997" y="2694164"/>
                  <a:pt x="2234728" y="2687336"/>
                  <a:pt x="2252337" y="2686081"/>
                </a:cubicBezTo>
                <a:cubicBezTo>
                  <a:pt x="2277824" y="2684687"/>
                  <a:pt x="2250483" y="2708936"/>
                  <a:pt x="2275970" y="2707681"/>
                </a:cubicBezTo>
                <a:cubicBezTo>
                  <a:pt x="2275970" y="2718412"/>
                  <a:pt x="2274580" y="2725102"/>
                  <a:pt x="2271337" y="2730536"/>
                </a:cubicBezTo>
                <a:cubicBezTo>
                  <a:pt x="2274580" y="2729143"/>
                  <a:pt x="2277824" y="2727610"/>
                  <a:pt x="2279214" y="2726356"/>
                </a:cubicBezTo>
                <a:cubicBezTo>
                  <a:pt x="2279214" y="2729004"/>
                  <a:pt x="2281067" y="2731512"/>
                  <a:pt x="2281067" y="2732905"/>
                </a:cubicBezTo>
                <a:cubicBezTo>
                  <a:pt x="2289408" y="2731512"/>
                  <a:pt x="2298676" y="2730397"/>
                  <a:pt x="2298676" y="2738480"/>
                </a:cubicBezTo>
                <a:cubicBezTo>
                  <a:pt x="2300066" y="2738480"/>
                  <a:pt x="2301920" y="2735693"/>
                  <a:pt x="2301920" y="2734300"/>
                </a:cubicBezTo>
                <a:cubicBezTo>
                  <a:pt x="2300066" y="2729004"/>
                  <a:pt x="2296823" y="2725241"/>
                  <a:pt x="2303310" y="2721199"/>
                </a:cubicBezTo>
                <a:cubicBezTo>
                  <a:pt x="2306555" y="2722593"/>
                  <a:pt x="2307945" y="2723568"/>
                  <a:pt x="2309799" y="2724823"/>
                </a:cubicBezTo>
                <a:cubicBezTo>
                  <a:pt x="2317675" y="2727610"/>
                  <a:pt x="2319066" y="2726216"/>
                  <a:pt x="2330187" y="2722175"/>
                </a:cubicBezTo>
                <a:lnTo>
                  <a:pt x="2330187" y="2741407"/>
                </a:lnTo>
                <a:cubicBezTo>
                  <a:pt x="2332041" y="2741407"/>
                  <a:pt x="2333894" y="2740989"/>
                  <a:pt x="2335748" y="2742243"/>
                </a:cubicBezTo>
                <a:cubicBezTo>
                  <a:pt x="2345016" y="2740989"/>
                  <a:pt x="2345016" y="2727470"/>
                  <a:pt x="2354748" y="2722175"/>
                </a:cubicBezTo>
                <a:cubicBezTo>
                  <a:pt x="2367259" y="2722175"/>
                  <a:pt x="2376527" y="2734300"/>
                  <a:pt x="2373283" y="2745030"/>
                </a:cubicBezTo>
                <a:cubicBezTo>
                  <a:pt x="2375137" y="2745030"/>
                  <a:pt x="2375137" y="2746423"/>
                  <a:pt x="2376527" y="2746423"/>
                </a:cubicBezTo>
                <a:cubicBezTo>
                  <a:pt x="2378381" y="2745170"/>
                  <a:pt x="2381623" y="2743498"/>
                  <a:pt x="2386721" y="2743498"/>
                </a:cubicBezTo>
                <a:cubicBezTo>
                  <a:pt x="2372357" y="2763704"/>
                  <a:pt x="2402477" y="2765517"/>
                  <a:pt x="2389966" y="2780149"/>
                </a:cubicBezTo>
                <a:cubicBezTo>
                  <a:pt x="2402477" y="2772206"/>
                  <a:pt x="2408501" y="2773599"/>
                  <a:pt x="2419622" y="2772206"/>
                </a:cubicBezTo>
                <a:cubicBezTo>
                  <a:pt x="2413134" y="2769557"/>
                  <a:pt x="2413598" y="2758688"/>
                  <a:pt x="2413598" y="2747957"/>
                </a:cubicBezTo>
                <a:cubicBezTo>
                  <a:pt x="2414988" y="2747957"/>
                  <a:pt x="2416842" y="2747957"/>
                  <a:pt x="2418232" y="2747957"/>
                </a:cubicBezTo>
                <a:cubicBezTo>
                  <a:pt x="2418232" y="2745170"/>
                  <a:pt x="2418232" y="2742522"/>
                  <a:pt x="2418232" y="2738480"/>
                </a:cubicBezTo>
                <a:cubicBezTo>
                  <a:pt x="2437231" y="2729143"/>
                  <a:pt x="2441865" y="2739735"/>
                  <a:pt x="2458085" y="2746423"/>
                </a:cubicBezTo>
                <a:cubicBezTo>
                  <a:pt x="2496082" y="2720921"/>
                  <a:pt x="2574396" y="2750744"/>
                  <a:pt x="2587372" y="2731930"/>
                </a:cubicBezTo>
                <a:cubicBezTo>
                  <a:pt x="2588761" y="2719806"/>
                  <a:pt x="2606833" y="2729004"/>
                  <a:pt x="2616101" y="2726356"/>
                </a:cubicBezTo>
                <a:cubicBezTo>
                  <a:pt x="2619345" y="2722315"/>
                  <a:pt x="2622589" y="2717018"/>
                  <a:pt x="2624442" y="2710329"/>
                </a:cubicBezTo>
                <a:cubicBezTo>
                  <a:pt x="2608224" y="2682178"/>
                  <a:pt x="2483570" y="2638001"/>
                  <a:pt x="2513691" y="2721199"/>
                </a:cubicBezTo>
                <a:cubicBezTo>
                  <a:pt x="2531299" y="2723987"/>
                  <a:pt x="2526666" y="2699320"/>
                  <a:pt x="2546129" y="2704755"/>
                </a:cubicBezTo>
                <a:cubicBezTo>
                  <a:pt x="2546129" y="2700714"/>
                  <a:pt x="2541032" y="2700992"/>
                  <a:pt x="2538251" y="2699599"/>
                </a:cubicBezTo>
                <a:cubicBezTo>
                  <a:pt x="2542885" y="2696952"/>
                  <a:pt x="2547519" y="2693884"/>
                  <a:pt x="2550763" y="2692630"/>
                </a:cubicBezTo>
                <a:cubicBezTo>
                  <a:pt x="2552154" y="2679113"/>
                  <a:pt x="2579030" y="2687336"/>
                  <a:pt x="2584128" y="2691237"/>
                </a:cubicBezTo>
                <a:cubicBezTo>
                  <a:pt x="2582273" y="2692630"/>
                  <a:pt x="2582737" y="2692630"/>
                  <a:pt x="2580883" y="2694025"/>
                </a:cubicBezTo>
                <a:cubicBezTo>
                  <a:pt x="2585981" y="2694025"/>
                  <a:pt x="2589224" y="2694164"/>
                  <a:pt x="2592467" y="2695418"/>
                </a:cubicBezTo>
                <a:cubicBezTo>
                  <a:pt x="2592467" y="2703500"/>
                  <a:pt x="2590614" y="2714232"/>
                  <a:pt x="2597103" y="2715625"/>
                </a:cubicBezTo>
                <a:cubicBezTo>
                  <a:pt x="2580883" y="2731652"/>
                  <a:pt x="2545666" y="2690402"/>
                  <a:pt x="2541032" y="2731930"/>
                </a:cubicBezTo>
                <a:cubicBezTo>
                  <a:pt x="2521569" y="2715904"/>
                  <a:pt x="2507667" y="2738341"/>
                  <a:pt x="2477083" y="2726356"/>
                </a:cubicBezTo>
                <a:lnTo>
                  <a:pt x="2477083" y="2699599"/>
                </a:lnTo>
                <a:cubicBezTo>
                  <a:pt x="2483570" y="2707681"/>
                  <a:pt x="2496546" y="2706427"/>
                  <a:pt x="2496546" y="2721199"/>
                </a:cubicBezTo>
                <a:cubicBezTo>
                  <a:pt x="2509057" y="2715904"/>
                  <a:pt x="2490058" y="2705173"/>
                  <a:pt x="2496546" y="2690402"/>
                </a:cubicBezTo>
                <a:cubicBezTo>
                  <a:pt x="2495620" y="2682736"/>
                  <a:pt x="2485424" y="2684548"/>
                  <a:pt x="2479864" y="2681899"/>
                </a:cubicBezTo>
                <a:cubicBezTo>
                  <a:pt x="2467815" y="2685663"/>
                  <a:pt x="2445573" y="2678555"/>
                  <a:pt x="2434451" y="2683293"/>
                </a:cubicBezTo>
                <a:lnTo>
                  <a:pt x="2434451" y="2661414"/>
                </a:lnTo>
                <a:cubicBezTo>
                  <a:pt x="2444182" y="2658487"/>
                  <a:pt x="2452987" y="2662668"/>
                  <a:pt x="2459938" y="2664620"/>
                </a:cubicBezTo>
                <a:cubicBezTo>
                  <a:pt x="2458085" y="2655004"/>
                  <a:pt x="2445573" y="2658070"/>
                  <a:pt x="2435378" y="2658070"/>
                </a:cubicBezTo>
                <a:cubicBezTo>
                  <a:pt x="2439548" y="2638559"/>
                  <a:pt x="2459474" y="2646781"/>
                  <a:pt x="2471985" y="2657512"/>
                </a:cubicBezTo>
                <a:cubicBezTo>
                  <a:pt x="2472450" y="2656676"/>
                  <a:pt x="2472912" y="2656815"/>
                  <a:pt x="2472912" y="2655700"/>
                </a:cubicBezTo>
                <a:cubicBezTo>
                  <a:pt x="2483107" y="2651519"/>
                  <a:pt x="2483570" y="2683571"/>
                  <a:pt x="2488669" y="2666988"/>
                </a:cubicBezTo>
                <a:cubicBezTo>
                  <a:pt x="2489132" y="2669915"/>
                  <a:pt x="2486815" y="2670472"/>
                  <a:pt x="2486815" y="2672563"/>
                </a:cubicBezTo>
                <a:cubicBezTo>
                  <a:pt x="2521105" y="2666152"/>
                  <a:pt x="2550299" y="2657790"/>
                  <a:pt x="2573933" y="2646781"/>
                </a:cubicBezTo>
                <a:cubicBezTo>
                  <a:pt x="2574396" y="2645526"/>
                  <a:pt x="2573469" y="2644552"/>
                  <a:pt x="2573933" y="2643018"/>
                </a:cubicBezTo>
                <a:cubicBezTo>
                  <a:pt x="2575322" y="2643855"/>
                  <a:pt x="2574858" y="2644691"/>
                  <a:pt x="2575787" y="2645387"/>
                </a:cubicBezTo>
                <a:cubicBezTo>
                  <a:pt x="2579493" y="2643715"/>
                  <a:pt x="2581810" y="2641486"/>
                  <a:pt x="2585054" y="2639813"/>
                </a:cubicBezTo>
                <a:cubicBezTo>
                  <a:pt x="2568834" y="2639534"/>
                  <a:pt x="2554007" y="2631173"/>
                  <a:pt x="2559567" y="2616958"/>
                </a:cubicBezTo>
                <a:cubicBezTo>
                  <a:pt x="2558178" y="2616539"/>
                  <a:pt x="2556787" y="2616678"/>
                  <a:pt x="2555397" y="2616400"/>
                </a:cubicBezTo>
                <a:lnTo>
                  <a:pt x="2556878" y="2615120"/>
                </a:lnTo>
                <a:lnTo>
                  <a:pt x="2516780" y="2606207"/>
                </a:lnTo>
                <a:cubicBezTo>
                  <a:pt x="2507975" y="2608437"/>
                  <a:pt x="2505193" y="2617635"/>
                  <a:pt x="2500098" y="2622513"/>
                </a:cubicBezTo>
                <a:cubicBezTo>
                  <a:pt x="2486195" y="2625161"/>
                  <a:pt x="2500098" y="2619586"/>
                  <a:pt x="2495463" y="2608019"/>
                </a:cubicBezTo>
                <a:cubicBezTo>
                  <a:pt x="2483414" y="2608995"/>
                  <a:pt x="2484342" y="2620701"/>
                  <a:pt x="2471829" y="2620143"/>
                </a:cubicBezTo>
                <a:cubicBezTo>
                  <a:pt x="2473682" y="2625997"/>
                  <a:pt x="2478781" y="2624324"/>
                  <a:pt x="2484342" y="2625440"/>
                </a:cubicBezTo>
                <a:cubicBezTo>
                  <a:pt x="2458855" y="2639376"/>
                  <a:pt x="2419465" y="2632129"/>
                  <a:pt x="2391200" y="2634358"/>
                </a:cubicBezTo>
                <a:cubicBezTo>
                  <a:pt x="2406027" y="2621258"/>
                  <a:pt x="2446343" y="2611782"/>
                  <a:pt x="2463488" y="2626833"/>
                </a:cubicBezTo>
                <a:cubicBezTo>
                  <a:pt x="2468586" y="2625021"/>
                  <a:pt x="2465805" y="2616381"/>
                  <a:pt x="2471366" y="2615963"/>
                </a:cubicBezTo>
                <a:cubicBezTo>
                  <a:pt x="2464416" y="2598682"/>
                  <a:pt x="2439392" y="2592829"/>
                  <a:pt x="2430124" y="2609971"/>
                </a:cubicBezTo>
                <a:cubicBezTo>
                  <a:pt x="2413905" y="2605371"/>
                  <a:pt x="2404174" y="2595616"/>
                  <a:pt x="2389346" y="2589345"/>
                </a:cubicBezTo>
                <a:cubicBezTo>
                  <a:pt x="2371273" y="2587811"/>
                  <a:pt x="2384247" y="2616800"/>
                  <a:pt x="2368030" y="2616520"/>
                </a:cubicBezTo>
                <a:cubicBezTo>
                  <a:pt x="2355054" y="2563842"/>
                  <a:pt x="2290179" y="2616938"/>
                  <a:pt x="2273496" y="2582377"/>
                </a:cubicBezTo>
                <a:lnTo>
                  <a:pt x="2246069" y="2585751"/>
                </a:lnTo>
                <a:lnTo>
                  <a:pt x="2249136" y="2588922"/>
                </a:lnTo>
                <a:cubicBezTo>
                  <a:pt x="2249962" y="2590591"/>
                  <a:pt x="2250251" y="2592848"/>
                  <a:pt x="2249556" y="2596192"/>
                </a:cubicBezTo>
                <a:cubicBezTo>
                  <a:pt x="2230094" y="2592151"/>
                  <a:pt x="2230094" y="2617515"/>
                  <a:pt x="2215730" y="2601489"/>
                </a:cubicBezTo>
                <a:cubicBezTo>
                  <a:pt x="2212485" y="2610826"/>
                  <a:pt x="2224997" y="2624204"/>
                  <a:pt x="2224997" y="2612220"/>
                </a:cubicBezTo>
                <a:cubicBezTo>
                  <a:pt x="2229632" y="2613474"/>
                  <a:pt x="2228241" y="2617794"/>
                  <a:pt x="2224997" y="2617794"/>
                </a:cubicBezTo>
                <a:lnTo>
                  <a:pt x="2224997" y="2628524"/>
                </a:lnTo>
                <a:cubicBezTo>
                  <a:pt x="2213876" y="2624483"/>
                  <a:pt x="2212485" y="2602882"/>
                  <a:pt x="2193486" y="2596192"/>
                </a:cubicBezTo>
                <a:cubicBezTo>
                  <a:pt x="2194645" y="2591837"/>
                  <a:pt x="2197425" y="2589311"/>
                  <a:pt x="2200966" y="2587657"/>
                </a:cubicBezTo>
                <a:lnTo>
                  <a:pt x="2203157" y="2587054"/>
                </a:lnTo>
                <a:lnTo>
                  <a:pt x="2161356" y="2583353"/>
                </a:lnTo>
                <a:lnTo>
                  <a:pt x="2161476" y="2582945"/>
                </a:lnTo>
                <a:lnTo>
                  <a:pt x="2159528" y="2582723"/>
                </a:lnTo>
                <a:cubicBezTo>
                  <a:pt x="2155227" y="2580654"/>
                  <a:pt x="2151085" y="2576786"/>
                  <a:pt x="2147146" y="2570411"/>
                </a:cubicBezTo>
                <a:close/>
                <a:moveTo>
                  <a:pt x="13527147" y="2568106"/>
                </a:moveTo>
                <a:cubicBezTo>
                  <a:pt x="13538267" y="2574378"/>
                  <a:pt x="13523901" y="2583157"/>
                  <a:pt x="13525756" y="2590682"/>
                </a:cubicBezTo>
                <a:cubicBezTo>
                  <a:pt x="13516025" y="2581903"/>
                  <a:pt x="13482197" y="2603224"/>
                  <a:pt x="13461806" y="2577024"/>
                </a:cubicBezTo>
                <a:cubicBezTo>
                  <a:pt x="13458562" y="2565876"/>
                  <a:pt x="13471538" y="2585805"/>
                  <a:pt x="13469683" y="2573401"/>
                </a:cubicBezTo>
                <a:cubicBezTo>
                  <a:pt x="13480806" y="2582181"/>
                  <a:pt x="13521120" y="2590543"/>
                  <a:pt x="13527147" y="2568106"/>
                </a:cubicBezTo>
                <a:close/>
                <a:moveTo>
                  <a:pt x="13334837" y="2556539"/>
                </a:moveTo>
                <a:cubicBezTo>
                  <a:pt x="13337618" y="2557375"/>
                  <a:pt x="13340862" y="2559605"/>
                  <a:pt x="13345493" y="2557375"/>
                </a:cubicBezTo>
                <a:lnTo>
                  <a:pt x="13345493" y="2570197"/>
                </a:lnTo>
                <a:cubicBezTo>
                  <a:pt x="13336228" y="2574378"/>
                  <a:pt x="13339470" y="2560163"/>
                  <a:pt x="13330666" y="2563089"/>
                </a:cubicBezTo>
                <a:cubicBezTo>
                  <a:pt x="13331130" y="2555842"/>
                  <a:pt x="13332521" y="2555563"/>
                  <a:pt x="13334837" y="2556539"/>
                </a:cubicBezTo>
                <a:close/>
                <a:moveTo>
                  <a:pt x="1546589" y="2554663"/>
                </a:moveTo>
                <a:lnTo>
                  <a:pt x="1570684" y="2554663"/>
                </a:lnTo>
                <a:cubicBezTo>
                  <a:pt x="1579489" y="2574592"/>
                  <a:pt x="1539637" y="2574592"/>
                  <a:pt x="1546589" y="2554663"/>
                </a:cubicBezTo>
                <a:close/>
                <a:moveTo>
                  <a:pt x="13457636" y="2553195"/>
                </a:moveTo>
                <a:cubicBezTo>
                  <a:pt x="13468757" y="2558350"/>
                  <a:pt x="13439564" y="2582321"/>
                  <a:pt x="13439564" y="2558350"/>
                </a:cubicBezTo>
                <a:cubicBezTo>
                  <a:pt x="13444661" y="2555842"/>
                  <a:pt x="13457636" y="2560859"/>
                  <a:pt x="13457636" y="2553195"/>
                </a:cubicBezTo>
                <a:close/>
                <a:moveTo>
                  <a:pt x="1659657" y="2550482"/>
                </a:moveTo>
                <a:lnTo>
                  <a:pt x="1682362" y="2550482"/>
                </a:lnTo>
                <a:cubicBezTo>
                  <a:pt x="1688387" y="2570411"/>
                  <a:pt x="1653632" y="2570411"/>
                  <a:pt x="1659657" y="2550482"/>
                </a:cubicBezTo>
                <a:close/>
                <a:moveTo>
                  <a:pt x="1931668" y="2549088"/>
                </a:moveTo>
                <a:cubicBezTo>
                  <a:pt x="1912668" y="2561074"/>
                  <a:pt x="1885793" y="2545326"/>
                  <a:pt x="1868184" y="2574870"/>
                </a:cubicBezTo>
                <a:cubicBezTo>
                  <a:pt x="1908036" y="2589503"/>
                  <a:pt x="1920548" y="2583929"/>
                  <a:pt x="1931668" y="2549088"/>
                </a:cubicBezTo>
                <a:close/>
                <a:moveTo>
                  <a:pt x="1169848" y="2548113"/>
                </a:moveTo>
                <a:cubicBezTo>
                  <a:pt x="1172628" y="2547694"/>
                  <a:pt x="1176799" y="2548113"/>
                  <a:pt x="1180043" y="2549088"/>
                </a:cubicBezTo>
                <a:cubicBezTo>
                  <a:pt x="1187457" y="2551040"/>
                  <a:pt x="1194408" y="2555778"/>
                  <a:pt x="1193482" y="2563025"/>
                </a:cubicBezTo>
                <a:cubicBezTo>
                  <a:pt x="1176799" y="2558704"/>
                  <a:pt x="1176799" y="2564418"/>
                  <a:pt x="1165214" y="2551458"/>
                </a:cubicBezTo>
                <a:cubicBezTo>
                  <a:pt x="1165214" y="2549646"/>
                  <a:pt x="1167067" y="2548531"/>
                  <a:pt x="1169848" y="2548113"/>
                </a:cubicBezTo>
                <a:close/>
                <a:moveTo>
                  <a:pt x="13701323" y="2547933"/>
                </a:moveTo>
                <a:cubicBezTo>
                  <a:pt x="13703351" y="2548595"/>
                  <a:pt x="13705089" y="2549919"/>
                  <a:pt x="13706016" y="2551801"/>
                </a:cubicBezTo>
                <a:cubicBezTo>
                  <a:pt x="13703234" y="2559326"/>
                  <a:pt x="13694895" y="2557653"/>
                  <a:pt x="13689334" y="2562114"/>
                </a:cubicBezTo>
                <a:cubicBezTo>
                  <a:pt x="13687943" y="2553752"/>
                  <a:pt x="13690723" y="2549571"/>
                  <a:pt x="13694895" y="2548037"/>
                </a:cubicBezTo>
                <a:cubicBezTo>
                  <a:pt x="13696980" y="2547271"/>
                  <a:pt x="13699295" y="2547271"/>
                  <a:pt x="13701323" y="2547933"/>
                </a:cubicBezTo>
                <a:close/>
                <a:moveTo>
                  <a:pt x="353347" y="2531250"/>
                </a:moveTo>
                <a:cubicBezTo>
                  <a:pt x="363079" y="2529578"/>
                  <a:pt x="375591" y="2540448"/>
                  <a:pt x="384859" y="2538357"/>
                </a:cubicBezTo>
                <a:cubicBezTo>
                  <a:pt x="383005" y="2563303"/>
                  <a:pt x="358909" y="2534176"/>
                  <a:pt x="345007" y="2538357"/>
                </a:cubicBezTo>
                <a:cubicBezTo>
                  <a:pt x="347324" y="2534176"/>
                  <a:pt x="350103" y="2531808"/>
                  <a:pt x="353347" y="2531250"/>
                </a:cubicBezTo>
                <a:close/>
                <a:moveTo>
                  <a:pt x="2218353" y="2528305"/>
                </a:moveTo>
                <a:cubicBezTo>
                  <a:pt x="2216037" y="2527887"/>
                  <a:pt x="2213720" y="2528165"/>
                  <a:pt x="2210476" y="2529141"/>
                </a:cubicBezTo>
                <a:cubicBezTo>
                  <a:pt x="2213255" y="2542240"/>
                  <a:pt x="2203060" y="2540150"/>
                  <a:pt x="2203524" y="2550463"/>
                </a:cubicBezTo>
                <a:cubicBezTo>
                  <a:pt x="2207694" y="2554644"/>
                  <a:pt x="2230864" y="2557430"/>
                  <a:pt x="2231793" y="2546840"/>
                </a:cubicBezTo>
                <a:cubicBezTo>
                  <a:pt x="2229938" y="2545585"/>
                  <a:pt x="2227620" y="2542520"/>
                  <a:pt x="2227158" y="2536527"/>
                </a:cubicBezTo>
                <a:cubicBezTo>
                  <a:pt x="2232255" y="2536109"/>
                  <a:pt x="2239669" y="2536806"/>
                  <a:pt x="2239206" y="2530953"/>
                </a:cubicBezTo>
                <a:cubicBezTo>
                  <a:pt x="2229011" y="2535133"/>
                  <a:pt x="2224840" y="2529698"/>
                  <a:pt x="2218353" y="2528305"/>
                </a:cubicBezTo>
                <a:close/>
                <a:moveTo>
                  <a:pt x="1941401" y="2522331"/>
                </a:moveTo>
                <a:cubicBezTo>
                  <a:pt x="1930279" y="2539752"/>
                  <a:pt x="1912668" y="2518150"/>
                  <a:pt x="1904791" y="2538357"/>
                </a:cubicBezTo>
                <a:cubicBezTo>
                  <a:pt x="1925181" y="2518150"/>
                  <a:pt x="1957619" y="2587971"/>
                  <a:pt x="1941401" y="2549088"/>
                </a:cubicBezTo>
                <a:cubicBezTo>
                  <a:pt x="1946497" y="2549088"/>
                  <a:pt x="1946034" y="2545047"/>
                  <a:pt x="1949277" y="2543792"/>
                </a:cubicBezTo>
                <a:cubicBezTo>
                  <a:pt x="1960399" y="2542399"/>
                  <a:pt x="1965033" y="2547694"/>
                  <a:pt x="1963643" y="2559679"/>
                </a:cubicBezTo>
                <a:cubicBezTo>
                  <a:pt x="1952521" y="2561074"/>
                  <a:pt x="1944643" y="2565394"/>
                  <a:pt x="1941401" y="2574870"/>
                </a:cubicBezTo>
                <a:cubicBezTo>
                  <a:pt x="1959009" y="2573477"/>
                  <a:pt x="1965495" y="2558426"/>
                  <a:pt x="1978008" y="2549088"/>
                </a:cubicBezTo>
                <a:cubicBezTo>
                  <a:pt x="1965495" y="2530274"/>
                  <a:pt x="1930279" y="2545186"/>
                  <a:pt x="1941401" y="2522331"/>
                </a:cubicBezTo>
                <a:close/>
                <a:moveTo>
                  <a:pt x="1802844" y="2513829"/>
                </a:moveTo>
                <a:cubicBezTo>
                  <a:pt x="1794041" y="2516060"/>
                  <a:pt x="1786162" y="2531111"/>
                  <a:pt x="1775504" y="2533062"/>
                </a:cubicBezTo>
                <a:cubicBezTo>
                  <a:pt x="1783383" y="2539752"/>
                  <a:pt x="1802382" y="2525118"/>
                  <a:pt x="1811648" y="2517036"/>
                </a:cubicBezTo>
                <a:cubicBezTo>
                  <a:pt x="1808870" y="2514109"/>
                  <a:pt x="1806088" y="2513133"/>
                  <a:pt x="1802844" y="2513829"/>
                </a:cubicBezTo>
                <a:close/>
                <a:moveTo>
                  <a:pt x="249085" y="2504632"/>
                </a:moveTo>
                <a:cubicBezTo>
                  <a:pt x="266230" y="2500730"/>
                  <a:pt x="258816" y="2523864"/>
                  <a:pt x="270863" y="2525118"/>
                </a:cubicBezTo>
                <a:cubicBezTo>
                  <a:pt x="269474" y="2534037"/>
                  <a:pt x="261596" y="2527626"/>
                  <a:pt x="262986" y="2519962"/>
                </a:cubicBezTo>
                <a:cubicBezTo>
                  <a:pt x="258352" y="2523864"/>
                  <a:pt x="252328" y="2525118"/>
                  <a:pt x="244450" y="2525118"/>
                </a:cubicBezTo>
                <a:cubicBezTo>
                  <a:pt x="252328" y="2514806"/>
                  <a:pt x="241207" y="2514806"/>
                  <a:pt x="249085" y="2504632"/>
                </a:cubicBezTo>
                <a:close/>
                <a:moveTo>
                  <a:pt x="1138801" y="2502542"/>
                </a:moveTo>
                <a:cubicBezTo>
                  <a:pt x="1140655" y="2502960"/>
                  <a:pt x="1143435" y="2503796"/>
                  <a:pt x="1145751" y="2505468"/>
                </a:cubicBezTo>
                <a:lnTo>
                  <a:pt x="1145751" y="2521495"/>
                </a:lnTo>
                <a:cubicBezTo>
                  <a:pt x="1130923" y="2521495"/>
                  <a:pt x="1126753" y="2505329"/>
                  <a:pt x="1134630" y="2502820"/>
                </a:cubicBezTo>
                <a:cubicBezTo>
                  <a:pt x="1135558" y="2502263"/>
                  <a:pt x="1136947" y="2502123"/>
                  <a:pt x="1138801" y="2502542"/>
                </a:cubicBezTo>
                <a:close/>
                <a:moveTo>
                  <a:pt x="1885329" y="2500730"/>
                </a:moveTo>
                <a:cubicBezTo>
                  <a:pt x="1880696" y="2518150"/>
                  <a:pt x="1901548" y="2504910"/>
                  <a:pt x="1895061" y="2522331"/>
                </a:cubicBezTo>
                <a:cubicBezTo>
                  <a:pt x="1904791" y="2523724"/>
                  <a:pt x="1909425" y="2518429"/>
                  <a:pt x="1909425" y="2506444"/>
                </a:cubicBezTo>
                <a:cubicBezTo>
                  <a:pt x="1895061" y="2511739"/>
                  <a:pt x="1896451" y="2499476"/>
                  <a:pt x="1885329" y="2500730"/>
                </a:cubicBezTo>
                <a:close/>
                <a:moveTo>
                  <a:pt x="1385326" y="2500730"/>
                </a:moveTo>
                <a:cubicBezTo>
                  <a:pt x="1388571" y="2510486"/>
                  <a:pt x="1397838" y="2514387"/>
                  <a:pt x="1412203" y="2511600"/>
                </a:cubicBezTo>
                <a:cubicBezTo>
                  <a:pt x="1401082" y="2524143"/>
                  <a:pt x="1370498" y="2525397"/>
                  <a:pt x="1348255" y="2517036"/>
                </a:cubicBezTo>
                <a:cubicBezTo>
                  <a:pt x="1354742" y="2506025"/>
                  <a:pt x="1380229" y="2514666"/>
                  <a:pt x="1385326" y="2500730"/>
                </a:cubicBezTo>
                <a:close/>
                <a:moveTo>
                  <a:pt x="990051" y="2500730"/>
                </a:moveTo>
                <a:cubicBezTo>
                  <a:pt x="988198" y="2523585"/>
                  <a:pt x="1025733" y="2501846"/>
                  <a:pt x="1030367" y="2515781"/>
                </a:cubicBezTo>
                <a:cubicBezTo>
                  <a:pt x="1032221" y="2524700"/>
                  <a:pt x="1003953" y="2524839"/>
                  <a:pt x="1016465" y="2531250"/>
                </a:cubicBezTo>
                <a:cubicBezTo>
                  <a:pt x="1002563" y="2546441"/>
                  <a:pt x="992832" y="2510764"/>
                  <a:pt x="967809" y="2520937"/>
                </a:cubicBezTo>
                <a:cubicBezTo>
                  <a:pt x="969662" y="2508256"/>
                  <a:pt x="982174" y="2505887"/>
                  <a:pt x="990051" y="2500730"/>
                </a:cubicBezTo>
                <a:close/>
                <a:moveTo>
                  <a:pt x="1302379" y="2498918"/>
                </a:moveTo>
                <a:cubicBezTo>
                  <a:pt x="1305622" y="2498779"/>
                  <a:pt x="1309330" y="2500033"/>
                  <a:pt x="1313500" y="2504075"/>
                </a:cubicBezTo>
                <a:cubicBezTo>
                  <a:pt x="1313500" y="2514666"/>
                  <a:pt x="1301915" y="2514944"/>
                  <a:pt x="1300526" y="2525676"/>
                </a:cubicBezTo>
                <a:cubicBezTo>
                  <a:pt x="1288013" y="2515641"/>
                  <a:pt x="1292648" y="2499615"/>
                  <a:pt x="1302379" y="2498918"/>
                </a:cubicBezTo>
                <a:close/>
                <a:moveTo>
                  <a:pt x="152235" y="2491532"/>
                </a:moveTo>
                <a:cubicBezTo>
                  <a:pt x="159185" y="2490975"/>
                  <a:pt x="167063" y="2493204"/>
                  <a:pt x="172162" y="2494738"/>
                </a:cubicBezTo>
                <a:cubicBezTo>
                  <a:pt x="172162" y="2511460"/>
                  <a:pt x="151308" y="2505468"/>
                  <a:pt x="137870" y="2505468"/>
                </a:cubicBezTo>
                <a:cubicBezTo>
                  <a:pt x="139261" y="2495713"/>
                  <a:pt x="145285" y="2492089"/>
                  <a:pt x="152235" y="2491532"/>
                </a:cubicBezTo>
                <a:close/>
                <a:moveTo>
                  <a:pt x="13559582" y="2485046"/>
                </a:moveTo>
                <a:cubicBezTo>
                  <a:pt x="13561899" y="2485187"/>
                  <a:pt x="13564681" y="2485743"/>
                  <a:pt x="13567460" y="2486859"/>
                </a:cubicBezTo>
                <a:cubicBezTo>
                  <a:pt x="13564217" y="2493826"/>
                  <a:pt x="13566070" y="2503582"/>
                  <a:pt x="13554485" y="2500794"/>
                </a:cubicBezTo>
                <a:cubicBezTo>
                  <a:pt x="13551240" y="2493269"/>
                  <a:pt x="13551240" y="2488391"/>
                  <a:pt x="13554022" y="2486301"/>
                </a:cubicBezTo>
                <a:cubicBezTo>
                  <a:pt x="13555412" y="2485326"/>
                  <a:pt x="13557266" y="2484907"/>
                  <a:pt x="13559582" y="2485046"/>
                </a:cubicBezTo>
                <a:close/>
                <a:moveTo>
                  <a:pt x="897467" y="2480738"/>
                </a:moveTo>
                <a:cubicBezTo>
                  <a:pt x="903744" y="2480627"/>
                  <a:pt x="910579" y="2480871"/>
                  <a:pt x="918225" y="2481220"/>
                </a:cubicBezTo>
                <a:cubicBezTo>
                  <a:pt x="911738" y="2496410"/>
                  <a:pt x="884398" y="2485679"/>
                  <a:pt x="881153" y="2503657"/>
                </a:cubicBezTo>
                <a:cubicBezTo>
                  <a:pt x="884398" y="2520241"/>
                  <a:pt x="890885" y="2498082"/>
                  <a:pt x="900153" y="2503657"/>
                </a:cubicBezTo>
                <a:cubicBezTo>
                  <a:pt x="887642" y="2525815"/>
                  <a:pt x="868178" y="2499476"/>
                  <a:pt x="849180" y="2498082"/>
                </a:cubicBezTo>
                <a:cubicBezTo>
                  <a:pt x="864819" y="2484599"/>
                  <a:pt x="878634" y="2481071"/>
                  <a:pt x="897467" y="2480738"/>
                </a:cubicBezTo>
                <a:close/>
                <a:moveTo>
                  <a:pt x="228695" y="2478292"/>
                </a:moveTo>
                <a:cubicBezTo>
                  <a:pt x="238426" y="2475506"/>
                  <a:pt x="239817" y="2481220"/>
                  <a:pt x="246304" y="2483867"/>
                </a:cubicBezTo>
                <a:cubicBezTo>
                  <a:pt x="236574" y="2489302"/>
                  <a:pt x="233792" y="2504213"/>
                  <a:pt x="224061" y="2509650"/>
                </a:cubicBezTo>
                <a:cubicBezTo>
                  <a:pt x="224061" y="2520519"/>
                  <a:pt x="237036" y="2516617"/>
                  <a:pt x="233792" y="2531668"/>
                </a:cubicBezTo>
                <a:lnTo>
                  <a:pt x="218964" y="2531668"/>
                </a:lnTo>
                <a:cubicBezTo>
                  <a:pt x="220818" y="2541145"/>
                  <a:pt x="227304" y="2543931"/>
                  <a:pt x="237036" y="2542539"/>
                </a:cubicBezTo>
                <a:cubicBezTo>
                  <a:pt x="224061" y="2562886"/>
                  <a:pt x="210623" y="2512297"/>
                  <a:pt x="196257" y="2536824"/>
                </a:cubicBezTo>
                <a:cubicBezTo>
                  <a:pt x="189771" y="2527347"/>
                  <a:pt x="180039" y="2522331"/>
                  <a:pt x="167063" y="2520937"/>
                </a:cubicBezTo>
                <a:cubicBezTo>
                  <a:pt x="170308" y="2503239"/>
                  <a:pt x="194867" y="2516617"/>
                  <a:pt x="181892" y="2494738"/>
                </a:cubicBezTo>
                <a:cubicBezTo>
                  <a:pt x="194867" y="2507002"/>
                  <a:pt x="217573" y="2490836"/>
                  <a:pt x="224061" y="2498918"/>
                </a:cubicBezTo>
                <a:cubicBezTo>
                  <a:pt x="236574" y="2494877"/>
                  <a:pt x="217110" y="2485122"/>
                  <a:pt x="228695" y="2478292"/>
                </a:cubicBezTo>
                <a:close/>
                <a:moveTo>
                  <a:pt x="13628628" y="2462470"/>
                </a:moveTo>
                <a:cubicBezTo>
                  <a:pt x="13633725" y="2464003"/>
                  <a:pt x="13635580" y="2470135"/>
                  <a:pt x="13641603" y="2471389"/>
                </a:cubicBezTo>
                <a:cubicBezTo>
                  <a:pt x="13638359" y="2481841"/>
                  <a:pt x="13621676" y="2476824"/>
                  <a:pt x="13621676" y="2462888"/>
                </a:cubicBezTo>
                <a:cubicBezTo>
                  <a:pt x="13624459" y="2462053"/>
                  <a:pt x="13626776" y="2462053"/>
                  <a:pt x="13628628" y="2462470"/>
                </a:cubicBezTo>
                <a:close/>
                <a:moveTo>
                  <a:pt x="13607313" y="2462053"/>
                </a:moveTo>
                <a:cubicBezTo>
                  <a:pt x="13611020" y="2462191"/>
                  <a:pt x="13614726" y="2463724"/>
                  <a:pt x="13617044" y="2464700"/>
                </a:cubicBezTo>
                <a:cubicBezTo>
                  <a:pt x="13615652" y="2472783"/>
                  <a:pt x="13610555" y="2476824"/>
                  <a:pt x="13605458" y="2476824"/>
                </a:cubicBezTo>
                <a:cubicBezTo>
                  <a:pt x="13604069" y="2472783"/>
                  <a:pt x="13601751" y="2466651"/>
                  <a:pt x="13597118" y="2466651"/>
                </a:cubicBezTo>
                <a:cubicBezTo>
                  <a:pt x="13599435" y="2462609"/>
                  <a:pt x="13603606" y="2461774"/>
                  <a:pt x="13607313" y="2462053"/>
                </a:cubicBezTo>
                <a:close/>
                <a:moveTo>
                  <a:pt x="13526218" y="2452715"/>
                </a:moveTo>
                <a:cubicBezTo>
                  <a:pt x="13527147" y="2452437"/>
                  <a:pt x="13528536" y="2453133"/>
                  <a:pt x="13530389" y="2453969"/>
                </a:cubicBezTo>
                <a:cubicBezTo>
                  <a:pt x="13533170" y="2455780"/>
                  <a:pt x="13537340" y="2458429"/>
                  <a:pt x="13541509" y="2455780"/>
                </a:cubicBezTo>
                <a:cubicBezTo>
                  <a:pt x="13536412" y="2480866"/>
                  <a:pt x="13508609" y="2481005"/>
                  <a:pt x="13500270" y="2503582"/>
                </a:cubicBezTo>
                <a:cubicBezTo>
                  <a:pt x="13488683" y="2486301"/>
                  <a:pt x="13542901" y="2469159"/>
                  <a:pt x="13522974" y="2457313"/>
                </a:cubicBezTo>
                <a:cubicBezTo>
                  <a:pt x="13523901" y="2454248"/>
                  <a:pt x="13524829" y="2452993"/>
                  <a:pt x="13526218" y="2452715"/>
                </a:cubicBezTo>
                <a:close/>
                <a:moveTo>
                  <a:pt x="1044732" y="2450700"/>
                </a:moveTo>
                <a:cubicBezTo>
                  <a:pt x="1063268" y="2463521"/>
                  <a:pt x="1079950" y="2457807"/>
                  <a:pt x="1101729" y="2450700"/>
                </a:cubicBezTo>
                <a:cubicBezTo>
                  <a:pt x="1101729" y="2457807"/>
                  <a:pt x="1103120" y="2460455"/>
                  <a:pt x="1106364" y="2461987"/>
                </a:cubicBezTo>
                <a:cubicBezTo>
                  <a:pt x="1103120" y="2477596"/>
                  <a:pt x="1092462" y="2457667"/>
                  <a:pt x="1084584" y="2461987"/>
                </a:cubicBezTo>
                <a:cubicBezTo>
                  <a:pt x="1078560" y="2463382"/>
                  <a:pt x="1083194" y="2477874"/>
                  <a:pt x="1075316" y="2479407"/>
                </a:cubicBezTo>
                <a:cubicBezTo>
                  <a:pt x="1086437" y="2503516"/>
                  <a:pt x="1087827" y="2487630"/>
                  <a:pt x="1097095" y="2506025"/>
                </a:cubicBezTo>
                <a:cubicBezTo>
                  <a:pt x="1076707" y="2508813"/>
                  <a:pt x="1064194" y="2501846"/>
                  <a:pt x="1052147" y="2494738"/>
                </a:cubicBezTo>
                <a:cubicBezTo>
                  <a:pt x="1056780" y="2484843"/>
                  <a:pt x="1063268" y="2473555"/>
                  <a:pt x="1070682" y="2483589"/>
                </a:cubicBezTo>
                <a:cubicBezTo>
                  <a:pt x="1075316" y="2463660"/>
                  <a:pt x="1055390" y="2473276"/>
                  <a:pt x="1054000" y="2461987"/>
                </a:cubicBezTo>
                <a:cubicBezTo>
                  <a:pt x="1043342" y="2463382"/>
                  <a:pt x="1050756" y="2489023"/>
                  <a:pt x="1049366" y="2500450"/>
                </a:cubicBezTo>
                <a:cubicBezTo>
                  <a:pt x="1042878" y="2508953"/>
                  <a:pt x="1022953" y="2508953"/>
                  <a:pt x="1016929" y="2500450"/>
                </a:cubicBezTo>
                <a:cubicBezTo>
                  <a:pt x="1012295" y="2487630"/>
                  <a:pt x="1028976" y="2479407"/>
                  <a:pt x="1018318" y="2479407"/>
                </a:cubicBezTo>
                <a:cubicBezTo>
                  <a:pt x="1027586" y="2470907"/>
                  <a:pt x="1042878" y="2470488"/>
                  <a:pt x="1044732" y="2450700"/>
                </a:cubicBezTo>
                <a:close/>
                <a:moveTo>
                  <a:pt x="13708332" y="2449788"/>
                </a:moveTo>
                <a:cubicBezTo>
                  <a:pt x="13712039" y="2449788"/>
                  <a:pt x="13717137" y="2453551"/>
                  <a:pt x="13720382" y="2457871"/>
                </a:cubicBezTo>
                <a:cubicBezTo>
                  <a:pt x="13720382" y="2468045"/>
                  <a:pt x="13708332" y="2461215"/>
                  <a:pt x="13702771" y="2464700"/>
                </a:cubicBezTo>
                <a:cubicBezTo>
                  <a:pt x="13701845" y="2453551"/>
                  <a:pt x="13704626" y="2449788"/>
                  <a:pt x="13708332" y="2449788"/>
                </a:cubicBezTo>
                <a:close/>
                <a:moveTo>
                  <a:pt x="950663" y="2446518"/>
                </a:moveTo>
                <a:cubicBezTo>
                  <a:pt x="958541" y="2471464"/>
                  <a:pt x="992368" y="2449584"/>
                  <a:pt x="1007197" y="2468955"/>
                </a:cubicBezTo>
                <a:cubicBezTo>
                  <a:pt x="1005344" y="2487073"/>
                  <a:pt x="1007197" y="2496550"/>
                  <a:pt x="1002563" y="2500730"/>
                </a:cubicBezTo>
                <a:cubicBezTo>
                  <a:pt x="992832" y="2488326"/>
                  <a:pt x="992368" y="2493900"/>
                  <a:pt x="982637" y="2468955"/>
                </a:cubicBezTo>
                <a:cubicBezTo>
                  <a:pt x="961785" y="2484286"/>
                  <a:pt x="952517" y="2471464"/>
                  <a:pt x="927956" y="2479686"/>
                </a:cubicBezTo>
                <a:cubicBezTo>
                  <a:pt x="923323" y="2472858"/>
                  <a:pt x="927956" y="2450978"/>
                  <a:pt x="918225" y="2463382"/>
                </a:cubicBezTo>
                <a:cubicBezTo>
                  <a:pt x="903396" y="2438436"/>
                  <a:pt x="945565" y="2456273"/>
                  <a:pt x="950663" y="2446518"/>
                </a:cubicBezTo>
                <a:close/>
                <a:moveTo>
                  <a:pt x="2031761" y="2438156"/>
                </a:moveTo>
                <a:cubicBezTo>
                  <a:pt x="2034542" y="2471464"/>
                  <a:pt x="2006738" y="2445822"/>
                  <a:pt x="1990519" y="2455995"/>
                </a:cubicBezTo>
                <a:cubicBezTo>
                  <a:pt x="1997934" y="2442895"/>
                  <a:pt x="2010908" y="2441084"/>
                  <a:pt x="2031761" y="2438156"/>
                </a:cubicBezTo>
                <a:close/>
                <a:moveTo>
                  <a:pt x="1788480" y="2436902"/>
                </a:moveTo>
                <a:cubicBezTo>
                  <a:pt x="1794503" y="2438436"/>
                  <a:pt x="1802382" y="2448051"/>
                  <a:pt x="1810723" y="2439133"/>
                </a:cubicBezTo>
                <a:cubicBezTo>
                  <a:pt x="1817674" y="2458921"/>
                  <a:pt x="1801454" y="2455020"/>
                  <a:pt x="1788015" y="2455020"/>
                </a:cubicBezTo>
                <a:cubicBezTo>
                  <a:pt x="1788015" y="2447076"/>
                  <a:pt x="1787553" y="2440387"/>
                  <a:pt x="1782918" y="2439133"/>
                </a:cubicBezTo>
                <a:cubicBezTo>
                  <a:pt x="1784309" y="2436763"/>
                  <a:pt x="1786162" y="2436345"/>
                  <a:pt x="1788480" y="2436902"/>
                </a:cubicBezTo>
                <a:close/>
                <a:moveTo>
                  <a:pt x="2043202" y="2427753"/>
                </a:moveTo>
                <a:cubicBezTo>
                  <a:pt x="2047893" y="2429098"/>
                  <a:pt x="2052847" y="2434011"/>
                  <a:pt x="2054931" y="2435787"/>
                </a:cubicBezTo>
                <a:cubicBezTo>
                  <a:pt x="2053077" y="2444010"/>
                  <a:pt x="2047980" y="2438992"/>
                  <a:pt x="2047980" y="2432582"/>
                </a:cubicBezTo>
                <a:cubicBezTo>
                  <a:pt x="2044738" y="2434114"/>
                  <a:pt x="2041492" y="2437460"/>
                  <a:pt x="2041492" y="2442338"/>
                </a:cubicBezTo>
                <a:cubicBezTo>
                  <a:pt x="2038248" y="2440666"/>
                  <a:pt x="2040103" y="2432164"/>
                  <a:pt x="2035005" y="2433836"/>
                </a:cubicBezTo>
                <a:cubicBezTo>
                  <a:pt x="2035932" y="2430213"/>
                  <a:pt x="2037322" y="2428681"/>
                  <a:pt x="2038714" y="2427844"/>
                </a:cubicBezTo>
                <a:cubicBezTo>
                  <a:pt x="2040103" y="2427251"/>
                  <a:pt x="2041638" y="2427304"/>
                  <a:pt x="2043202" y="2427753"/>
                </a:cubicBezTo>
                <a:close/>
                <a:moveTo>
                  <a:pt x="1057243" y="2418925"/>
                </a:moveTo>
                <a:cubicBezTo>
                  <a:pt x="1064194" y="2417950"/>
                  <a:pt x="1074853" y="2429516"/>
                  <a:pt x="1081341" y="2430492"/>
                </a:cubicBezTo>
                <a:cubicBezTo>
                  <a:pt x="1074389" y="2446379"/>
                  <a:pt x="1058634" y="2426589"/>
                  <a:pt x="1051683" y="2425057"/>
                </a:cubicBezTo>
                <a:cubicBezTo>
                  <a:pt x="1052609" y="2421154"/>
                  <a:pt x="1054926" y="2419204"/>
                  <a:pt x="1057243" y="2418925"/>
                </a:cubicBezTo>
                <a:close/>
                <a:moveTo>
                  <a:pt x="1817674" y="2409170"/>
                </a:moveTo>
                <a:cubicBezTo>
                  <a:pt x="1828332" y="2410563"/>
                  <a:pt x="1835282" y="2418368"/>
                  <a:pt x="1837136" y="2430213"/>
                </a:cubicBezTo>
                <a:cubicBezTo>
                  <a:pt x="1832038" y="2422826"/>
                  <a:pt x="1819063" y="2425474"/>
                  <a:pt x="1817674" y="2409170"/>
                </a:cubicBezTo>
                <a:close/>
                <a:moveTo>
                  <a:pt x="873740" y="2404989"/>
                </a:moveTo>
                <a:cubicBezTo>
                  <a:pt x="867716" y="2431050"/>
                  <a:pt x="872350" y="2433976"/>
                  <a:pt x="887178" y="2435229"/>
                </a:cubicBezTo>
                <a:cubicBezTo>
                  <a:pt x="889031" y="2444428"/>
                  <a:pt x="882544" y="2444149"/>
                  <a:pt x="882544" y="2450700"/>
                </a:cubicBezTo>
                <a:cubicBezTo>
                  <a:pt x="870496" y="2437599"/>
                  <a:pt x="852424" y="2440387"/>
                  <a:pt x="834351" y="2445542"/>
                </a:cubicBezTo>
                <a:cubicBezTo>
                  <a:pt x="837595" y="2437739"/>
                  <a:pt x="841765" y="2432443"/>
                  <a:pt x="843620" y="2424499"/>
                </a:cubicBezTo>
                <a:cubicBezTo>
                  <a:pt x="864472" y="2448051"/>
                  <a:pt x="861691" y="2407637"/>
                  <a:pt x="873740" y="2404989"/>
                </a:cubicBezTo>
                <a:close/>
                <a:moveTo>
                  <a:pt x="1923171" y="2399395"/>
                </a:moveTo>
                <a:cubicBezTo>
                  <a:pt x="1928269" y="2399674"/>
                  <a:pt x="1933830" y="2400649"/>
                  <a:pt x="1937072" y="2399395"/>
                </a:cubicBezTo>
                <a:cubicBezTo>
                  <a:pt x="1938463" y="2408454"/>
                  <a:pt x="1931976" y="2408872"/>
                  <a:pt x="1931976" y="2415282"/>
                </a:cubicBezTo>
                <a:cubicBezTo>
                  <a:pt x="1925952" y="2412774"/>
                  <a:pt x="1921780" y="2407200"/>
                  <a:pt x="1913903" y="2404552"/>
                </a:cubicBezTo>
                <a:cubicBezTo>
                  <a:pt x="1913903" y="2399395"/>
                  <a:pt x="1918074" y="2398977"/>
                  <a:pt x="1923171" y="2399395"/>
                </a:cubicBezTo>
                <a:close/>
                <a:moveTo>
                  <a:pt x="1817674" y="2394676"/>
                </a:moveTo>
                <a:cubicBezTo>
                  <a:pt x="1815821" y="2403874"/>
                  <a:pt x="1813040" y="2403874"/>
                  <a:pt x="1808406" y="2399274"/>
                </a:cubicBezTo>
                <a:cubicBezTo>
                  <a:pt x="1805626" y="2400808"/>
                  <a:pt x="1805626" y="2405545"/>
                  <a:pt x="1805626" y="2408613"/>
                </a:cubicBezTo>
                <a:cubicBezTo>
                  <a:pt x="1797285" y="2414744"/>
                  <a:pt x="1801454" y="2394536"/>
                  <a:pt x="1792650" y="2396069"/>
                </a:cubicBezTo>
                <a:cubicBezTo>
                  <a:pt x="1798674" y="2391471"/>
                  <a:pt x="1804236" y="2402340"/>
                  <a:pt x="1817674" y="2394676"/>
                </a:cubicBezTo>
                <a:close/>
                <a:moveTo>
                  <a:pt x="1828176" y="2391870"/>
                </a:moveTo>
                <a:cubicBezTo>
                  <a:pt x="1842078" y="2390894"/>
                  <a:pt x="1857832" y="2406503"/>
                  <a:pt x="1879612" y="2395214"/>
                </a:cubicBezTo>
                <a:lnTo>
                  <a:pt x="1879612" y="2415282"/>
                </a:lnTo>
                <a:cubicBezTo>
                  <a:pt x="1853661" y="2398977"/>
                  <a:pt x="1844395" y="2419324"/>
                  <a:pt x="1815200" y="2400371"/>
                </a:cubicBezTo>
                <a:cubicBezTo>
                  <a:pt x="1819834" y="2394796"/>
                  <a:pt x="1824005" y="2392288"/>
                  <a:pt x="1828176" y="2391870"/>
                </a:cubicBezTo>
                <a:close/>
                <a:moveTo>
                  <a:pt x="1950048" y="2373752"/>
                </a:moveTo>
                <a:lnTo>
                  <a:pt x="1969974" y="2373752"/>
                </a:lnTo>
                <a:cubicBezTo>
                  <a:pt x="1973218" y="2390336"/>
                  <a:pt x="1953756" y="2380442"/>
                  <a:pt x="1955145" y="2394239"/>
                </a:cubicBezTo>
                <a:cubicBezTo>
                  <a:pt x="1948657" y="2392845"/>
                  <a:pt x="1951438" y="2382114"/>
                  <a:pt x="1950048" y="2373752"/>
                </a:cubicBezTo>
                <a:close/>
                <a:moveTo>
                  <a:pt x="1386561" y="2364277"/>
                </a:moveTo>
                <a:cubicBezTo>
                  <a:pt x="1394438" y="2365530"/>
                  <a:pt x="1403706" y="2369154"/>
                  <a:pt x="1410194" y="2368457"/>
                </a:cubicBezTo>
                <a:cubicBezTo>
                  <a:pt x="1399072" y="2390058"/>
                  <a:pt x="1387487" y="2384623"/>
                  <a:pt x="1370341" y="2375983"/>
                </a:cubicBezTo>
                <a:cubicBezTo>
                  <a:pt x="1371731" y="2364416"/>
                  <a:pt x="1378683" y="2363022"/>
                  <a:pt x="1386561" y="2364277"/>
                </a:cubicBezTo>
                <a:close/>
                <a:moveTo>
                  <a:pt x="675407" y="2359975"/>
                </a:moveTo>
                <a:cubicBezTo>
                  <a:pt x="682358" y="2360393"/>
                  <a:pt x="691162" y="2363459"/>
                  <a:pt x="696259" y="2360811"/>
                </a:cubicBezTo>
                <a:cubicBezTo>
                  <a:pt x="693016" y="2387151"/>
                  <a:pt x="681895" y="2366245"/>
                  <a:pt x="664749" y="2375026"/>
                </a:cubicBezTo>
                <a:cubicBezTo>
                  <a:pt x="662895" y="2361787"/>
                  <a:pt x="668456" y="2359557"/>
                  <a:pt x="675407" y="2359975"/>
                </a:cubicBezTo>
                <a:close/>
                <a:moveTo>
                  <a:pt x="844082" y="2350639"/>
                </a:moveTo>
                <a:cubicBezTo>
                  <a:pt x="846399" y="2350081"/>
                  <a:pt x="849180" y="2349940"/>
                  <a:pt x="852424" y="2351056"/>
                </a:cubicBezTo>
                <a:cubicBezTo>
                  <a:pt x="854278" y="2368337"/>
                  <a:pt x="843156" y="2368476"/>
                  <a:pt x="830643" y="2367082"/>
                </a:cubicBezTo>
                <a:cubicBezTo>
                  <a:pt x="832034" y="2372797"/>
                  <a:pt x="835742" y="2377116"/>
                  <a:pt x="833888" y="2384224"/>
                </a:cubicBezTo>
                <a:cubicBezTo>
                  <a:pt x="824620" y="2384224"/>
                  <a:pt x="824620" y="2370149"/>
                  <a:pt x="826011" y="2357187"/>
                </a:cubicBezTo>
                <a:cubicBezTo>
                  <a:pt x="835278" y="2359418"/>
                  <a:pt x="837595" y="2352450"/>
                  <a:pt x="844082" y="2350639"/>
                </a:cubicBezTo>
                <a:close/>
                <a:moveTo>
                  <a:pt x="712942" y="2330571"/>
                </a:moveTo>
                <a:cubicBezTo>
                  <a:pt x="725453" y="2334750"/>
                  <a:pt x="717576" y="2338653"/>
                  <a:pt x="716185" y="2352450"/>
                </a:cubicBezTo>
                <a:cubicBezTo>
                  <a:pt x="733794" y="2351195"/>
                  <a:pt x="730551" y="2345620"/>
                  <a:pt x="744916" y="2352450"/>
                </a:cubicBezTo>
                <a:cubicBezTo>
                  <a:pt x="744916" y="2363599"/>
                  <a:pt x="728698" y="2353982"/>
                  <a:pt x="720820" y="2358163"/>
                </a:cubicBezTo>
                <a:cubicBezTo>
                  <a:pt x="724063" y="2369173"/>
                  <a:pt x="746769" y="2356351"/>
                  <a:pt x="744916" y="2373076"/>
                </a:cubicBezTo>
                <a:cubicBezTo>
                  <a:pt x="750014" y="2353704"/>
                  <a:pt x="775501" y="2351195"/>
                  <a:pt x="789865" y="2358163"/>
                </a:cubicBezTo>
                <a:cubicBezTo>
                  <a:pt x="774109" y="2367779"/>
                  <a:pt x="746769" y="2369173"/>
                  <a:pt x="749550" y="2395512"/>
                </a:cubicBezTo>
                <a:cubicBezTo>
                  <a:pt x="735185" y="2396907"/>
                  <a:pt x="741672" y="2375723"/>
                  <a:pt x="730551" y="2373076"/>
                </a:cubicBezTo>
                <a:cubicBezTo>
                  <a:pt x="725917" y="2382690"/>
                  <a:pt x="718039" y="2387011"/>
                  <a:pt x="703674" y="2384224"/>
                </a:cubicBezTo>
                <a:cubicBezTo>
                  <a:pt x="688845" y="2380182"/>
                  <a:pt x="711089" y="2377255"/>
                  <a:pt x="716185" y="2378648"/>
                </a:cubicBezTo>
                <a:cubicBezTo>
                  <a:pt x="716185" y="2368893"/>
                  <a:pt x="707844" y="2366525"/>
                  <a:pt x="698113" y="2367918"/>
                </a:cubicBezTo>
                <a:cubicBezTo>
                  <a:pt x="699967" y="2360951"/>
                  <a:pt x="709698" y="2363738"/>
                  <a:pt x="716185" y="2362345"/>
                </a:cubicBezTo>
                <a:cubicBezTo>
                  <a:pt x="701357" y="2352589"/>
                  <a:pt x="684212" y="2352589"/>
                  <a:pt x="666603" y="2358163"/>
                </a:cubicBezTo>
                <a:cubicBezTo>
                  <a:pt x="667993" y="2342973"/>
                  <a:pt x="680967" y="2341161"/>
                  <a:pt x="688845" y="2335587"/>
                </a:cubicBezTo>
                <a:cubicBezTo>
                  <a:pt x="687456" y="2349523"/>
                  <a:pt x="698576" y="2349801"/>
                  <a:pt x="708308" y="2352450"/>
                </a:cubicBezTo>
                <a:cubicBezTo>
                  <a:pt x="720820" y="2347014"/>
                  <a:pt x="701357" y="2337537"/>
                  <a:pt x="712942" y="2330571"/>
                </a:cubicBezTo>
                <a:close/>
                <a:moveTo>
                  <a:pt x="1311183" y="2313985"/>
                </a:moveTo>
                <a:cubicBezTo>
                  <a:pt x="1317671" y="2313706"/>
                  <a:pt x="1325548" y="2316076"/>
                  <a:pt x="1328793" y="2319700"/>
                </a:cubicBezTo>
                <a:lnTo>
                  <a:pt x="1328793" y="2342695"/>
                </a:lnTo>
                <a:cubicBezTo>
                  <a:pt x="1316745" y="2339768"/>
                  <a:pt x="1310720" y="2329594"/>
                  <a:pt x="1298672" y="2325274"/>
                </a:cubicBezTo>
                <a:cubicBezTo>
                  <a:pt x="1298672" y="2317331"/>
                  <a:pt x="1304696" y="2314403"/>
                  <a:pt x="1311183" y="2313985"/>
                </a:cubicBezTo>
                <a:close/>
                <a:moveTo>
                  <a:pt x="1389034" y="2313706"/>
                </a:moveTo>
                <a:cubicBezTo>
                  <a:pt x="1392740" y="2313568"/>
                  <a:pt x="1397375" y="2314961"/>
                  <a:pt x="1403862" y="2316354"/>
                </a:cubicBezTo>
                <a:cubicBezTo>
                  <a:pt x="1407569" y="2328898"/>
                  <a:pt x="1400156" y="2331406"/>
                  <a:pt x="1398302" y="2338374"/>
                </a:cubicBezTo>
                <a:cubicBezTo>
                  <a:pt x="1381619" y="2342554"/>
                  <a:pt x="1388571" y="2324856"/>
                  <a:pt x="1377449" y="2322068"/>
                </a:cubicBezTo>
                <a:cubicBezTo>
                  <a:pt x="1381156" y="2315797"/>
                  <a:pt x="1384864" y="2313846"/>
                  <a:pt x="1389034" y="2313706"/>
                </a:cubicBezTo>
                <a:close/>
                <a:moveTo>
                  <a:pt x="1619341" y="2310363"/>
                </a:moveTo>
                <a:cubicBezTo>
                  <a:pt x="1619341" y="2315658"/>
                  <a:pt x="1623975" y="2314264"/>
                  <a:pt x="1627682" y="2315518"/>
                </a:cubicBezTo>
                <a:cubicBezTo>
                  <a:pt x="1642511" y="2321929"/>
                  <a:pt x="1614244" y="2321929"/>
                  <a:pt x="1614244" y="2315518"/>
                </a:cubicBezTo>
                <a:cubicBezTo>
                  <a:pt x="1614706" y="2312871"/>
                  <a:pt x="1617488" y="2312174"/>
                  <a:pt x="1619341" y="2310363"/>
                </a:cubicBezTo>
                <a:close/>
                <a:moveTo>
                  <a:pt x="1464567" y="2310363"/>
                </a:moveTo>
                <a:cubicBezTo>
                  <a:pt x="1489590" y="2308830"/>
                  <a:pt x="1521564" y="2328201"/>
                  <a:pt x="1550758" y="2322068"/>
                </a:cubicBezTo>
                <a:cubicBezTo>
                  <a:pt x="1550758" y="2327504"/>
                  <a:pt x="1549368" y="2331824"/>
                  <a:pt x="1546124" y="2331824"/>
                </a:cubicBezTo>
                <a:cubicBezTo>
                  <a:pt x="1522028" y="2336005"/>
                  <a:pt x="1463177" y="2338513"/>
                  <a:pt x="1442324" y="2320535"/>
                </a:cubicBezTo>
                <a:cubicBezTo>
                  <a:pt x="1448812" y="2313706"/>
                  <a:pt x="1456226" y="2310919"/>
                  <a:pt x="1464567" y="2310363"/>
                </a:cubicBezTo>
                <a:close/>
                <a:moveTo>
                  <a:pt x="1685143" y="2292106"/>
                </a:moveTo>
                <a:cubicBezTo>
                  <a:pt x="1699045" y="2289319"/>
                  <a:pt x="1719433" y="2300606"/>
                  <a:pt x="1729165" y="2295869"/>
                </a:cubicBezTo>
                <a:cubicBezTo>
                  <a:pt x="1743066" y="2308551"/>
                  <a:pt x="1719898" y="2319839"/>
                  <a:pt x="1715263" y="2326250"/>
                </a:cubicBezTo>
                <a:cubicBezTo>
                  <a:pt x="1702752" y="2307157"/>
                  <a:pt x="1690240" y="2318445"/>
                  <a:pt x="1674485" y="2300606"/>
                </a:cubicBezTo>
                <a:cubicBezTo>
                  <a:pt x="1676802" y="2295590"/>
                  <a:pt x="1680509" y="2293081"/>
                  <a:pt x="1685143" y="2292106"/>
                </a:cubicBezTo>
                <a:close/>
                <a:moveTo>
                  <a:pt x="1611462" y="2289737"/>
                </a:moveTo>
                <a:cubicBezTo>
                  <a:pt x="1625364" y="2290434"/>
                  <a:pt x="1639267" y="2292942"/>
                  <a:pt x="1647608" y="2289737"/>
                </a:cubicBezTo>
                <a:cubicBezTo>
                  <a:pt x="1649461" y="2309248"/>
                  <a:pt x="1629071" y="2305206"/>
                  <a:pt x="1619341" y="2310363"/>
                </a:cubicBezTo>
                <a:cubicBezTo>
                  <a:pt x="1620732" y="2308690"/>
                  <a:pt x="1620732" y="2305764"/>
                  <a:pt x="1624437" y="2305206"/>
                </a:cubicBezTo>
                <a:cubicBezTo>
                  <a:pt x="1612391" y="2303813"/>
                  <a:pt x="1594318" y="2293638"/>
                  <a:pt x="1575781" y="2300050"/>
                </a:cubicBezTo>
                <a:cubicBezTo>
                  <a:pt x="1584123" y="2290294"/>
                  <a:pt x="1597562" y="2289040"/>
                  <a:pt x="1611462" y="2289737"/>
                </a:cubicBezTo>
                <a:close/>
                <a:moveTo>
                  <a:pt x="1840687" y="2289439"/>
                </a:moveTo>
                <a:cubicBezTo>
                  <a:pt x="1845320" y="2289439"/>
                  <a:pt x="1849954" y="2290136"/>
                  <a:pt x="1855978" y="2291390"/>
                </a:cubicBezTo>
                <a:cubicBezTo>
                  <a:pt x="1848101" y="2300449"/>
                  <a:pt x="1851344" y="2314663"/>
                  <a:pt x="1848101" y="2323722"/>
                </a:cubicBezTo>
                <a:lnTo>
                  <a:pt x="1894177" y="2327786"/>
                </a:lnTo>
                <a:lnTo>
                  <a:pt x="1896451" y="2326250"/>
                </a:lnTo>
                <a:lnTo>
                  <a:pt x="1895962" y="2327944"/>
                </a:lnTo>
                <a:lnTo>
                  <a:pt x="1905273" y="2328765"/>
                </a:lnTo>
                <a:cubicBezTo>
                  <a:pt x="1962010" y="2336291"/>
                  <a:pt x="2016661" y="2349225"/>
                  <a:pt x="2062189" y="2349225"/>
                </a:cubicBezTo>
                <a:lnTo>
                  <a:pt x="2020339" y="2356027"/>
                </a:lnTo>
                <a:lnTo>
                  <a:pt x="2021770" y="2358895"/>
                </a:lnTo>
                <a:cubicBezTo>
                  <a:pt x="2017773" y="2363529"/>
                  <a:pt x="2003466" y="2366212"/>
                  <a:pt x="1996225" y="2362344"/>
                </a:cubicBezTo>
                <a:lnTo>
                  <a:pt x="1995079" y="2358527"/>
                </a:lnTo>
                <a:lnTo>
                  <a:pt x="1940780" y="2355914"/>
                </a:lnTo>
                <a:cubicBezTo>
                  <a:pt x="1937536" y="2358562"/>
                  <a:pt x="1932901" y="2357169"/>
                  <a:pt x="1927806" y="2354521"/>
                </a:cubicBezTo>
                <a:lnTo>
                  <a:pt x="1892533" y="2347807"/>
                </a:lnTo>
                <a:lnTo>
                  <a:pt x="1892281" y="2356212"/>
                </a:lnTo>
                <a:cubicBezTo>
                  <a:pt x="1899231" y="2357605"/>
                  <a:pt x="1905255" y="2360532"/>
                  <a:pt x="1912207" y="2358441"/>
                </a:cubicBezTo>
                <a:cubicBezTo>
                  <a:pt x="1915449" y="2363877"/>
                  <a:pt x="1872354" y="2364992"/>
                  <a:pt x="1861232" y="2373076"/>
                </a:cubicBezTo>
                <a:lnTo>
                  <a:pt x="1860951" y="2372560"/>
                </a:lnTo>
                <a:lnTo>
                  <a:pt x="1855233" y="2377866"/>
                </a:lnTo>
                <a:cubicBezTo>
                  <a:pt x="1846045" y="2383230"/>
                  <a:pt x="1836400" y="2380303"/>
                  <a:pt x="1824931" y="2377376"/>
                </a:cubicBezTo>
                <a:cubicBezTo>
                  <a:pt x="1831882" y="2369433"/>
                  <a:pt x="1837906" y="2366644"/>
                  <a:pt x="1844395" y="2366088"/>
                </a:cubicBezTo>
                <a:lnTo>
                  <a:pt x="1858731" y="2368495"/>
                </a:lnTo>
                <a:lnTo>
                  <a:pt x="1856135" y="2363738"/>
                </a:lnTo>
                <a:cubicBezTo>
                  <a:pt x="1857990" y="2359139"/>
                  <a:pt x="1860769" y="2357745"/>
                  <a:pt x="1863550" y="2356212"/>
                </a:cubicBezTo>
                <a:cubicBezTo>
                  <a:pt x="1861232" y="2354958"/>
                  <a:pt x="1859379" y="2354122"/>
                  <a:pt x="1857062" y="2352868"/>
                </a:cubicBezTo>
                <a:lnTo>
                  <a:pt x="1870699" y="2343652"/>
                </a:lnTo>
                <a:lnTo>
                  <a:pt x="1861540" y="2341909"/>
                </a:lnTo>
                <a:cubicBezTo>
                  <a:pt x="1839181" y="2336962"/>
                  <a:pt x="1816822" y="2331527"/>
                  <a:pt x="1795274" y="2326371"/>
                </a:cubicBezTo>
                <a:cubicBezTo>
                  <a:pt x="1806396" y="2325115"/>
                  <a:pt x="1817980" y="2323722"/>
                  <a:pt x="1830956" y="2323722"/>
                </a:cubicBezTo>
                <a:cubicBezTo>
                  <a:pt x="1832345" y="2317172"/>
                  <a:pt x="1836979" y="2313270"/>
                  <a:pt x="1838370" y="2306859"/>
                </a:cubicBezTo>
                <a:cubicBezTo>
                  <a:pt x="1817980" y="2312015"/>
                  <a:pt x="1822615" y="2306720"/>
                  <a:pt x="1805005" y="2301564"/>
                </a:cubicBezTo>
                <a:cubicBezTo>
                  <a:pt x="1814737" y="2296407"/>
                  <a:pt x="1821225" y="2292783"/>
                  <a:pt x="1828640" y="2290833"/>
                </a:cubicBezTo>
                <a:cubicBezTo>
                  <a:pt x="1832345" y="2289857"/>
                  <a:pt x="1836516" y="2289300"/>
                  <a:pt x="1840687" y="2289439"/>
                </a:cubicBezTo>
                <a:close/>
                <a:moveTo>
                  <a:pt x="964566" y="2282769"/>
                </a:moveTo>
                <a:cubicBezTo>
                  <a:pt x="980783" y="2282350"/>
                  <a:pt x="1007660" y="2292663"/>
                  <a:pt x="1022025" y="2292663"/>
                </a:cubicBezTo>
                <a:cubicBezTo>
                  <a:pt x="1003027" y="2307157"/>
                  <a:pt x="975223" y="2287368"/>
                  <a:pt x="952980" y="2287368"/>
                </a:cubicBezTo>
                <a:cubicBezTo>
                  <a:pt x="954834" y="2284163"/>
                  <a:pt x="959467" y="2283047"/>
                  <a:pt x="964566" y="2282769"/>
                </a:cubicBezTo>
                <a:close/>
                <a:moveTo>
                  <a:pt x="317667" y="2280539"/>
                </a:moveTo>
                <a:lnTo>
                  <a:pt x="335276" y="2280539"/>
                </a:lnTo>
                <a:lnTo>
                  <a:pt x="335276" y="2297401"/>
                </a:lnTo>
                <a:cubicBezTo>
                  <a:pt x="326934" y="2294615"/>
                  <a:pt x="315814" y="2294335"/>
                  <a:pt x="317667" y="2280539"/>
                </a:cubicBezTo>
                <a:close/>
                <a:moveTo>
                  <a:pt x="933980" y="2273432"/>
                </a:moveTo>
                <a:cubicBezTo>
                  <a:pt x="940469" y="2272038"/>
                  <a:pt x="938615" y="2284580"/>
                  <a:pt x="947882" y="2280539"/>
                </a:cubicBezTo>
                <a:cubicBezTo>
                  <a:pt x="946493" y="2297123"/>
                  <a:pt x="923323" y="2285835"/>
                  <a:pt x="933980" y="2273432"/>
                </a:cubicBezTo>
                <a:close/>
                <a:moveTo>
                  <a:pt x="895983" y="2272456"/>
                </a:moveTo>
                <a:cubicBezTo>
                  <a:pt x="904324" y="2272317"/>
                  <a:pt x="915445" y="2281374"/>
                  <a:pt x="923323" y="2281374"/>
                </a:cubicBezTo>
                <a:cubicBezTo>
                  <a:pt x="914518" y="2296008"/>
                  <a:pt x="897836" y="2279981"/>
                  <a:pt x="888569" y="2276637"/>
                </a:cubicBezTo>
                <a:cubicBezTo>
                  <a:pt x="890422" y="2273850"/>
                  <a:pt x="893202" y="2272596"/>
                  <a:pt x="895983" y="2272456"/>
                </a:cubicBezTo>
                <a:close/>
                <a:moveTo>
                  <a:pt x="1612391" y="2260330"/>
                </a:moveTo>
                <a:cubicBezTo>
                  <a:pt x="1620268" y="2261446"/>
                  <a:pt x="1627218" y="2266742"/>
                  <a:pt x="1624901" y="2276637"/>
                </a:cubicBezTo>
                <a:cubicBezTo>
                  <a:pt x="1617951" y="2276637"/>
                  <a:pt x="1616097" y="2275522"/>
                  <a:pt x="1616097" y="2271619"/>
                </a:cubicBezTo>
                <a:cubicBezTo>
                  <a:pt x="1605903" y="2284859"/>
                  <a:pt x="1585513" y="2275243"/>
                  <a:pt x="1595708" y="2268693"/>
                </a:cubicBezTo>
                <a:cubicBezTo>
                  <a:pt x="1596635" y="2262143"/>
                  <a:pt x="1604975" y="2259216"/>
                  <a:pt x="1612391" y="2260330"/>
                </a:cubicBezTo>
                <a:close/>
                <a:moveTo>
                  <a:pt x="851033" y="2259495"/>
                </a:moveTo>
                <a:cubicBezTo>
                  <a:pt x="854278" y="2267577"/>
                  <a:pt x="869106" y="2260610"/>
                  <a:pt x="869106" y="2272874"/>
                </a:cubicBezTo>
                <a:cubicBezTo>
                  <a:pt x="859375" y="2276916"/>
                  <a:pt x="857057" y="2270226"/>
                  <a:pt x="849180" y="2271619"/>
                </a:cubicBezTo>
                <a:cubicBezTo>
                  <a:pt x="850569" y="2267438"/>
                  <a:pt x="851033" y="2264930"/>
                  <a:pt x="851033" y="2259495"/>
                </a:cubicBezTo>
                <a:close/>
                <a:moveTo>
                  <a:pt x="13161065" y="2258862"/>
                </a:moveTo>
                <a:cubicBezTo>
                  <a:pt x="13162454" y="2285063"/>
                  <a:pt x="13143454" y="2268758"/>
                  <a:pt x="13137430" y="2268758"/>
                </a:cubicBezTo>
                <a:cubicBezTo>
                  <a:pt x="13138821" y="2254681"/>
                  <a:pt x="13153651" y="2264994"/>
                  <a:pt x="13161065" y="2258862"/>
                </a:cubicBezTo>
                <a:close/>
                <a:moveTo>
                  <a:pt x="281059" y="2258519"/>
                </a:moveTo>
                <a:cubicBezTo>
                  <a:pt x="292644" y="2258102"/>
                  <a:pt x="306082" y="2259913"/>
                  <a:pt x="315350" y="2263119"/>
                </a:cubicBezTo>
                <a:cubicBezTo>
                  <a:pt x="315350" y="2283466"/>
                  <a:pt x="278742" y="2263258"/>
                  <a:pt x="283839" y="2288761"/>
                </a:cubicBezTo>
                <a:cubicBezTo>
                  <a:pt x="259743" y="2287507"/>
                  <a:pt x="275497" y="2273432"/>
                  <a:pt x="256036" y="2268276"/>
                </a:cubicBezTo>
                <a:cubicBezTo>
                  <a:pt x="259279" y="2261864"/>
                  <a:pt x="269474" y="2258937"/>
                  <a:pt x="281059" y="2258519"/>
                </a:cubicBezTo>
                <a:close/>
                <a:moveTo>
                  <a:pt x="1856135" y="2255314"/>
                </a:moveTo>
                <a:cubicBezTo>
                  <a:pt x="1854745" y="2287507"/>
                  <a:pt x="1781991" y="2256987"/>
                  <a:pt x="1836672" y="2261725"/>
                </a:cubicBezTo>
                <a:cubicBezTo>
                  <a:pt x="1841306" y="2256987"/>
                  <a:pt x="1848258" y="2255314"/>
                  <a:pt x="1856135" y="2255314"/>
                </a:cubicBezTo>
                <a:close/>
                <a:moveTo>
                  <a:pt x="426101" y="2251412"/>
                </a:moveTo>
                <a:cubicBezTo>
                  <a:pt x="442784" y="2283466"/>
                  <a:pt x="460855" y="2247232"/>
                  <a:pt x="478928" y="2256569"/>
                </a:cubicBezTo>
                <a:cubicBezTo>
                  <a:pt x="478928" y="2276497"/>
                  <a:pt x="449734" y="2255175"/>
                  <a:pt x="465026" y="2272456"/>
                </a:cubicBezTo>
                <a:cubicBezTo>
                  <a:pt x="461782" y="2284580"/>
                  <a:pt x="440930" y="2275383"/>
                  <a:pt x="430271" y="2278170"/>
                </a:cubicBezTo>
                <a:cubicBezTo>
                  <a:pt x="433052" y="2263398"/>
                  <a:pt x="424711" y="2264791"/>
                  <a:pt x="426101" y="2251412"/>
                </a:cubicBezTo>
                <a:close/>
                <a:moveTo>
                  <a:pt x="401078" y="2251412"/>
                </a:moveTo>
                <a:cubicBezTo>
                  <a:pt x="419151" y="2247232"/>
                  <a:pt x="410809" y="2272038"/>
                  <a:pt x="424247" y="2273432"/>
                </a:cubicBezTo>
                <a:cubicBezTo>
                  <a:pt x="424247" y="2277612"/>
                  <a:pt x="419614" y="2279145"/>
                  <a:pt x="419614" y="2284720"/>
                </a:cubicBezTo>
                <a:lnTo>
                  <a:pt x="410809" y="2284720"/>
                </a:lnTo>
                <a:cubicBezTo>
                  <a:pt x="402931" y="2270784"/>
                  <a:pt x="417760" y="2267857"/>
                  <a:pt x="396444" y="2273432"/>
                </a:cubicBezTo>
                <a:cubicBezTo>
                  <a:pt x="394590" y="2262283"/>
                  <a:pt x="399687" y="2259774"/>
                  <a:pt x="401078" y="2251412"/>
                </a:cubicBezTo>
                <a:close/>
                <a:moveTo>
                  <a:pt x="1458079" y="2242912"/>
                </a:moveTo>
                <a:cubicBezTo>
                  <a:pt x="1469200" y="2238452"/>
                  <a:pt x="1496541" y="2258660"/>
                  <a:pt x="1521102" y="2253782"/>
                </a:cubicBezTo>
                <a:cubicBezTo>
                  <a:pt x="1516467" y="2260330"/>
                  <a:pt x="1518321" y="2263955"/>
                  <a:pt x="1526198" y="2263955"/>
                </a:cubicBezTo>
                <a:cubicBezTo>
                  <a:pt x="1522955" y="2277055"/>
                  <a:pt x="1500712" y="2268135"/>
                  <a:pt x="1499322" y="2283744"/>
                </a:cubicBezTo>
                <a:cubicBezTo>
                  <a:pt x="1524345" y="2286393"/>
                  <a:pt x="1571612" y="2305903"/>
                  <a:pt x="1571612" y="2253782"/>
                </a:cubicBezTo>
                <a:cubicBezTo>
                  <a:pt x="1590147" y="2262980"/>
                  <a:pt x="1574855" y="2302975"/>
                  <a:pt x="1557246" y="2304231"/>
                </a:cubicBezTo>
                <a:cubicBezTo>
                  <a:pt x="1562343" y="2291269"/>
                  <a:pt x="1528978" y="2301721"/>
                  <a:pt x="1530833" y="2309526"/>
                </a:cubicBezTo>
                <a:cubicBezTo>
                  <a:pt x="1508589" y="2309526"/>
                  <a:pt x="1485420" y="2296704"/>
                  <a:pt x="1458543" y="2288761"/>
                </a:cubicBezTo>
                <a:cubicBezTo>
                  <a:pt x="1476152" y="2286253"/>
                  <a:pt x="1508589" y="2284859"/>
                  <a:pt x="1499322" y="2258937"/>
                </a:cubicBezTo>
                <a:cubicBezTo>
                  <a:pt x="1493297" y="2262840"/>
                  <a:pt x="1490053" y="2271619"/>
                  <a:pt x="1485420" y="2278170"/>
                </a:cubicBezTo>
                <a:cubicBezTo>
                  <a:pt x="1484030" y="2271619"/>
                  <a:pt x="1480322" y="2264234"/>
                  <a:pt x="1472907" y="2253782"/>
                </a:cubicBezTo>
                <a:cubicBezTo>
                  <a:pt x="1466421" y="2273293"/>
                  <a:pt x="1425178" y="2262840"/>
                  <a:pt x="1403399" y="2258937"/>
                </a:cubicBezTo>
                <a:cubicBezTo>
                  <a:pt x="1394131" y="2270644"/>
                  <a:pt x="1367255" y="2273153"/>
                  <a:pt x="1357987" y="2258937"/>
                </a:cubicBezTo>
                <a:cubicBezTo>
                  <a:pt x="1364474" y="2251133"/>
                  <a:pt x="1386253" y="2252249"/>
                  <a:pt x="1397375" y="2256151"/>
                </a:cubicBezTo>
                <a:cubicBezTo>
                  <a:pt x="1422398" y="2237894"/>
                  <a:pt x="1424252" y="2252249"/>
                  <a:pt x="1453909" y="2257405"/>
                </a:cubicBezTo>
                <a:cubicBezTo>
                  <a:pt x="1453446" y="2248626"/>
                  <a:pt x="1454373" y="2244443"/>
                  <a:pt x="1458079" y="2242912"/>
                </a:cubicBezTo>
                <a:close/>
                <a:moveTo>
                  <a:pt x="704601" y="2235525"/>
                </a:moveTo>
                <a:cubicBezTo>
                  <a:pt x="710161" y="2233853"/>
                  <a:pt x="720820" y="2241658"/>
                  <a:pt x="725453" y="2243469"/>
                </a:cubicBezTo>
                <a:cubicBezTo>
                  <a:pt x="724063" y="2258380"/>
                  <a:pt x="707382" y="2245698"/>
                  <a:pt x="701357" y="2240681"/>
                </a:cubicBezTo>
                <a:cubicBezTo>
                  <a:pt x="701357" y="2237616"/>
                  <a:pt x="702284" y="2236083"/>
                  <a:pt x="704601" y="2235525"/>
                </a:cubicBezTo>
                <a:close/>
                <a:moveTo>
                  <a:pt x="2404638" y="2227702"/>
                </a:moveTo>
                <a:cubicBezTo>
                  <a:pt x="2401394" y="2229095"/>
                  <a:pt x="2396759" y="2229095"/>
                  <a:pt x="2393517" y="2229095"/>
                </a:cubicBezTo>
                <a:cubicBezTo>
                  <a:pt x="2393517" y="2229095"/>
                  <a:pt x="2393053" y="2229095"/>
                  <a:pt x="2391663" y="2229095"/>
                </a:cubicBezTo>
                <a:cubicBezTo>
                  <a:pt x="2391663" y="2229095"/>
                  <a:pt x="2390735" y="2229095"/>
                  <a:pt x="2388882" y="2229095"/>
                </a:cubicBezTo>
                <a:cubicBezTo>
                  <a:pt x="2379150" y="2229095"/>
                  <a:pt x="2368030" y="2229095"/>
                  <a:pt x="2358298" y="2229095"/>
                </a:cubicBezTo>
                <a:cubicBezTo>
                  <a:pt x="2349030" y="2231882"/>
                  <a:pt x="2341153" y="2238432"/>
                  <a:pt x="2337908" y="2250557"/>
                </a:cubicBezTo>
                <a:cubicBezTo>
                  <a:pt x="2362005" y="2231743"/>
                  <a:pt x="2393517" y="2242752"/>
                  <a:pt x="2420857" y="2234809"/>
                </a:cubicBezTo>
                <a:cubicBezTo>
                  <a:pt x="2412515" y="2236063"/>
                  <a:pt x="2406491" y="2232997"/>
                  <a:pt x="2404638" y="2227702"/>
                </a:cubicBezTo>
                <a:close/>
                <a:moveTo>
                  <a:pt x="1493605" y="2210839"/>
                </a:moveTo>
                <a:cubicBezTo>
                  <a:pt x="1502872" y="2210420"/>
                  <a:pt x="1512141" y="2225054"/>
                  <a:pt x="1518628" y="2228260"/>
                </a:cubicBezTo>
                <a:cubicBezTo>
                  <a:pt x="1508433" y="2244843"/>
                  <a:pt x="1495922" y="2216970"/>
                  <a:pt x="1483873" y="2216970"/>
                </a:cubicBezTo>
                <a:cubicBezTo>
                  <a:pt x="1487117" y="2212511"/>
                  <a:pt x="1490361" y="2210978"/>
                  <a:pt x="1493605" y="2210839"/>
                </a:cubicBezTo>
                <a:close/>
                <a:moveTo>
                  <a:pt x="1538554" y="2207495"/>
                </a:moveTo>
                <a:lnTo>
                  <a:pt x="1560798" y="2207495"/>
                </a:lnTo>
                <a:cubicBezTo>
                  <a:pt x="1560798" y="2212651"/>
                  <a:pt x="1556163" y="2210978"/>
                  <a:pt x="1551529" y="2212232"/>
                </a:cubicBezTo>
                <a:cubicBezTo>
                  <a:pt x="1552920" y="2215995"/>
                  <a:pt x="1556163" y="2217389"/>
                  <a:pt x="1556163" y="2221151"/>
                </a:cubicBezTo>
                <a:cubicBezTo>
                  <a:pt x="1560798" y="2222406"/>
                  <a:pt x="1560798" y="2219898"/>
                  <a:pt x="1560798" y="2217389"/>
                </a:cubicBezTo>
                <a:cubicBezTo>
                  <a:pt x="1573308" y="2219898"/>
                  <a:pt x="1554309" y="2225193"/>
                  <a:pt x="1556163" y="2231464"/>
                </a:cubicBezTo>
                <a:cubicBezTo>
                  <a:pt x="1545042" y="2220175"/>
                  <a:pt x="1538554" y="2221430"/>
                  <a:pt x="1533920" y="2236620"/>
                </a:cubicBezTo>
                <a:lnTo>
                  <a:pt x="1524652" y="2236620"/>
                </a:lnTo>
                <a:cubicBezTo>
                  <a:pt x="1518628" y="2215019"/>
                  <a:pt x="1540408" y="2223938"/>
                  <a:pt x="1538554" y="2207495"/>
                </a:cubicBezTo>
                <a:close/>
                <a:moveTo>
                  <a:pt x="2108066" y="2206658"/>
                </a:moveTo>
                <a:cubicBezTo>
                  <a:pt x="2109918" y="2209306"/>
                  <a:pt x="2113163" y="2211814"/>
                  <a:pt x="2116407" y="2213208"/>
                </a:cubicBezTo>
                <a:cubicBezTo>
                  <a:pt x="2122430" y="2207772"/>
                  <a:pt x="2136795" y="2211814"/>
                  <a:pt x="2147918" y="2210420"/>
                </a:cubicBezTo>
                <a:cubicBezTo>
                  <a:pt x="2133551" y="2209167"/>
                  <a:pt x="2121040" y="2207912"/>
                  <a:pt x="2108066" y="2206658"/>
                </a:cubicBezTo>
                <a:close/>
                <a:moveTo>
                  <a:pt x="815815" y="2205563"/>
                </a:moveTo>
                <a:cubicBezTo>
                  <a:pt x="825083" y="2201382"/>
                  <a:pt x="825083" y="2233435"/>
                  <a:pt x="829717" y="2216851"/>
                </a:cubicBezTo>
                <a:cubicBezTo>
                  <a:pt x="834351" y="2247232"/>
                  <a:pt x="795889" y="2226188"/>
                  <a:pt x="780134" y="2233156"/>
                </a:cubicBezTo>
                <a:lnTo>
                  <a:pt x="780134" y="2211137"/>
                </a:lnTo>
                <a:cubicBezTo>
                  <a:pt x="797280" y="2205563"/>
                  <a:pt x="811182" y="2227721"/>
                  <a:pt x="815815" y="2205563"/>
                </a:cubicBezTo>
                <a:close/>
                <a:moveTo>
                  <a:pt x="2379150" y="2201502"/>
                </a:moveTo>
                <a:cubicBezTo>
                  <a:pt x="2371273" y="2200387"/>
                  <a:pt x="2362932" y="2200387"/>
                  <a:pt x="2356445" y="2202477"/>
                </a:cubicBezTo>
                <a:cubicBezTo>
                  <a:pt x="2370810" y="2203871"/>
                  <a:pt x="2385175" y="2206239"/>
                  <a:pt x="2399541" y="2207495"/>
                </a:cubicBezTo>
                <a:cubicBezTo>
                  <a:pt x="2393980" y="2204846"/>
                  <a:pt x="2387029" y="2202756"/>
                  <a:pt x="2379150" y="2201502"/>
                </a:cubicBezTo>
                <a:close/>
                <a:moveTo>
                  <a:pt x="1950048" y="2200944"/>
                </a:moveTo>
                <a:cubicBezTo>
                  <a:pt x="1948193" y="2200944"/>
                  <a:pt x="1944950" y="2202617"/>
                  <a:pt x="1943561" y="2203871"/>
                </a:cubicBezTo>
                <a:cubicBezTo>
                  <a:pt x="1946804" y="2203871"/>
                  <a:pt x="1948193" y="2203871"/>
                  <a:pt x="1951438" y="2203871"/>
                </a:cubicBezTo>
                <a:cubicBezTo>
                  <a:pt x="1951438" y="2202617"/>
                  <a:pt x="1951438" y="2202338"/>
                  <a:pt x="1950048" y="2200944"/>
                </a:cubicBezTo>
                <a:close/>
                <a:moveTo>
                  <a:pt x="2410661" y="2198296"/>
                </a:moveTo>
                <a:cubicBezTo>
                  <a:pt x="2410661" y="2202338"/>
                  <a:pt x="2409272" y="2204985"/>
                  <a:pt x="2409272" y="2209027"/>
                </a:cubicBezTo>
                <a:cubicBezTo>
                  <a:pt x="2417612" y="2209027"/>
                  <a:pt x="2425026" y="2210420"/>
                  <a:pt x="2434758" y="2211675"/>
                </a:cubicBezTo>
                <a:cubicBezTo>
                  <a:pt x="2436149" y="2210420"/>
                  <a:pt x="2436611" y="2209027"/>
                  <a:pt x="2438002" y="2209027"/>
                </a:cubicBezTo>
                <a:cubicBezTo>
                  <a:pt x="2433368" y="2199551"/>
                  <a:pt x="2425026" y="2195648"/>
                  <a:pt x="2410661" y="2198296"/>
                </a:cubicBezTo>
                <a:close/>
                <a:moveTo>
                  <a:pt x="2012143" y="2197182"/>
                </a:moveTo>
                <a:cubicBezTo>
                  <a:pt x="2013997" y="2198575"/>
                  <a:pt x="2013997" y="2199690"/>
                  <a:pt x="2015387" y="2200944"/>
                </a:cubicBezTo>
                <a:cubicBezTo>
                  <a:pt x="2015387" y="2199690"/>
                  <a:pt x="2016776" y="2198575"/>
                  <a:pt x="2016776" y="2197182"/>
                </a:cubicBezTo>
                <a:cubicBezTo>
                  <a:pt x="2015387" y="2197182"/>
                  <a:pt x="2013997" y="2197182"/>
                  <a:pt x="2012143" y="2197182"/>
                </a:cubicBezTo>
                <a:close/>
                <a:moveTo>
                  <a:pt x="2479244" y="2196902"/>
                </a:moveTo>
                <a:cubicBezTo>
                  <a:pt x="2469049" y="2196345"/>
                  <a:pt x="2460244" y="2198994"/>
                  <a:pt x="2462098" y="2209027"/>
                </a:cubicBezTo>
                <a:cubicBezTo>
                  <a:pt x="2474610" y="2195509"/>
                  <a:pt x="2494072" y="2215995"/>
                  <a:pt x="2503804" y="2203871"/>
                </a:cubicBezTo>
                <a:cubicBezTo>
                  <a:pt x="2500560" y="2201222"/>
                  <a:pt x="2488975" y="2197321"/>
                  <a:pt x="2479244" y="2196902"/>
                </a:cubicBezTo>
                <a:close/>
                <a:moveTo>
                  <a:pt x="1324622" y="2193857"/>
                </a:moveTo>
                <a:cubicBezTo>
                  <a:pt x="1364938" y="2192323"/>
                  <a:pt x="1405716" y="2196225"/>
                  <a:pt x="1442324" y="2199569"/>
                </a:cubicBezTo>
                <a:cubicBezTo>
                  <a:pt x="1442324" y="2227024"/>
                  <a:pt x="1429349" y="2204587"/>
                  <a:pt x="1414984" y="2204587"/>
                </a:cubicBezTo>
                <a:cubicBezTo>
                  <a:pt x="1403862" y="2205980"/>
                  <a:pt x="1421471" y="2213366"/>
                  <a:pt x="1414984" y="2225073"/>
                </a:cubicBezTo>
                <a:cubicBezTo>
                  <a:pt x="1408960" y="2225073"/>
                  <a:pt x="1402471" y="2224237"/>
                  <a:pt x="1400618" y="2230787"/>
                </a:cubicBezTo>
                <a:cubicBezTo>
                  <a:pt x="1384864" y="2222982"/>
                  <a:pt x="1411740" y="2222704"/>
                  <a:pt x="1405252" y="2209744"/>
                </a:cubicBezTo>
                <a:cubicBezTo>
                  <a:pt x="1373741" y="2210998"/>
                  <a:pt x="1311647" y="2194135"/>
                  <a:pt x="1286160" y="2230787"/>
                </a:cubicBezTo>
                <a:cubicBezTo>
                  <a:pt x="1273185" y="2207235"/>
                  <a:pt x="1224066" y="2230509"/>
                  <a:pt x="1209700" y="2220056"/>
                </a:cubicBezTo>
                <a:cubicBezTo>
                  <a:pt x="1244918" y="2202497"/>
                  <a:pt x="1284770" y="2195528"/>
                  <a:pt x="1324622" y="2193857"/>
                </a:cubicBezTo>
                <a:close/>
                <a:moveTo>
                  <a:pt x="914982" y="2193438"/>
                </a:moveTo>
                <a:cubicBezTo>
                  <a:pt x="933054" y="2204029"/>
                  <a:pt x="925177" y="2208072"/>
                  <a:pt x="929810" y="2230787"/>
                </a:cubicBezTo>
                <a:lnTo>
                  <a:pt x="910348" y="2230787"/>
                </a:lnTo>
                <a:cubicBezTo>
                  <a:pt x="921933" y="2216014"/>
                  <a:pt x="908494" y="2208072"/>
                  <a:pt x="914982" y="2193438"/>
                </a:cubicBezTo>
                <a:close/>
                <a:moveTo>
                  <a:pt x="2275814" y="2191746"/>
                </a:moveTo>
                <a:cubicBezTo>
                  <a:pt x="2277204" y="2194394"/>
                  <a:pt x="2278594" y="2195509"/>
                  <a:pt x="2280448" y="2199551"/>
                </a:cubicBezTo>
                <a:cubicBezTo>
                  <a:pt x="2281838" y="2198157"/>
                  <a:pt x="2283228" y="2195648"/>
                  <a:pt x="2285081" y="2193001"/>
                </a:cubicBezTo>
                <a:cubicBezTo>
                  <a:pt x="2281838" y="2194394"/>
                  <a:pt x="2279058" y="2193140"/>
                  <a:pt x="2275814" y="2191746"/>
                </a:cubicBezTo>
                <a:close/>
                <a:moveTo>
                  <a:pt x="2524656" y="2179482"/>
                </a:moveTo>
                <a:cubicBezTo>
                  <a:pt x="2520024" y="2181434"/>
                  <a:pt x="2514926" y="2182688"/>
                  <a:pt x="2510292" y="2183803"/>
                </a:cubicBezTo>
                <a:cubicBezTo>
                  <a:pt x="2526511" y="2190352"/>
                  <a:pt x="2543192" y="2199690"/>
                  <a:pt x="2548290" y="2193001"/>
                </a:cubicBezTo>
                <a:cubicBezTo>
                  <a:pt x="2542728" y="2190492"/>
                  <a:pt x="2533461" y="2184500"/>
                  <a:pt x="2524656" y="2179482"/>
                </a:cubicBezTo>
                <a:close/>
                <a:moveTo>
                  <a:pt x="13133261" y="2179426"/>
                </a:moveTo>
                <a:cubicBezTo>
                  <a:pt x="13147625" y="2188625"/>
                  <a:pt x="13154113" y="2182075"/>
                  <a:pt x="13172185" y="2192527"/>
                </a:cubicBezTo>
                <a:lnTo>
                  <a:pt x="13173576" y="2200888"/>
                </a:lnTo>
                <a:cubicBezTo>
                  <a:pt x="13167088" y="2195732"/>
                  <a:pt x="13136967" y="2192248"/>
                  <a:pt x="13133261" y="2179426"/>
                </a:cubicBezTo>
                <a:close/>
                <a:moveTo>
                  <a:pt x="2149307" y="2171678"/>
                </a:moveTo>
                <a:cubicBezTo>
                  <a:pt x="2149771" y="2171817"/>
                  <a:pt x="2149771" y="2171817"/>
                  <a:pt x="2150235" y="2171957"/>
                </a:cubicBezTo>
                <a:cubicBezTo>
                  <a:pt x="2149771" y="2172096"/>
                  <a:pt x="2149307" y="2172514"/>
                  <a:pt x="2148843" y="2172514"/>
                </a:cubicBezTo>
                <a:cubicBezTo>
                  <a:pt x="2149307" y="2172375"/>
                  <a:pt x="2148843" y="2171678"/>
                  <a:pt x="2149307" y="2171678"/>
                </a:cubicBezTo>
                <a:close/>
                <a:moveTo>
                  <a:pt x="903396" y="2164312"/>
                </a:moveTo>
                <a:cubicBezTo>
                  <a:pt x="908031" y="2165705"/>
                  <a:pt x="906640" y="2173649"/>
                  <a:pt x="906640" y="2180338"/>
                </a:cubicBezTo>
                <a:cubicBezTo>
                  <a:pt x="926104" y="2171001"/>
                  <a:pt x="933980" y="2169328"/>
                  <a:pt x="958078" y="2174625"/>
                </a:cubicBezTo>
                <a:cubicBezTo>
                  <a:pt x="953443" y="2201382"/>
                  <a:pt x="883934" y="2192323"/>
                  <a:pt x="903396" y="2164312"/>
                </a:cubicBezTo>
                <a:close/>
                <a:moveTo>
                  <a:pt x="973370" y="2150794"/>
                </a:moveTo>
                <a:cubicBezTo>
                  <a:pt x="989124" y="2153163"/>
                  <a:pt x="1003953" y="2160549"/>
                  <a:pt x="1007197" y="2168213"/>
                </a:cubicBezTo>
                <a:cubicBezTo>
                  <a:pt x="998856" y="2188979"/>
                  <a:pt x="970589" y="2147867"/>
                  <a:pt x="938152" y="2163057"/>
                </a:cubicBezTo>
                <a:cubicBezTo>
                  <a:pt x="942322" y="2151351"/>
                  <a:pt x="958078" y="2148285"/>
                  <a:pt x="973370" y="2150794"/>
                </a:cubicBezTo>
                <a:close/>
                <a:moveTo>
                  <a:pt x="1509980" y="2149817"/>
                </a:moveTo>
                <a:cubicBezTo>
                  <a:pt x="1524808" y="2147309"/>
                  <a:pt x="1522028" y="2164033"/>
                  <a:pt x="1531296" y="2169050"/>
                </a:cubicBezTo>
                <a:cubicBezTo>
                  <a:pt x="1523881" y="2179084"/>
                  <a:pt x="1514614" y="2186749"/>
                  <a:pt x="1501175" y="2189257"/>
                </a:cubicBezTo>
                <a:cubicBezTo>
                  <a:pt x="1503955" y="2184101"/>
                  <a:pt x="1507199" y="2180059"/>
                  <a:pt x="1501175" y="2178805"/>
                </a:cubicBezTo>
                <a:cubicBezTo>
                  <a:pt x="1509980" y="2163754"/>
                  <a:pt x="1523418" y="2167516"/>
                  <a:pt x="1509980" y="2149817"/>
                </a:cubicBezTo>
                <a:close/>
                <a:moveTo>
                  <a:pt x="2516315" y="2140601"/>
                </a:moveTo>
                <a:cubicBezTo>
                  <a:pt x="2516315" y="2144641"/>
                  <a:pt x="2517706" y="2148963"/>
                  <a:pt x="2519560" y="2152864"/>
                </a:cubicBezTo>
                <a:cubicBezTo>
                  <a:pt x="2524656" y="2153980"/>
                  <a:pt x="2529754" y="2155930"/>
                  <a:pt x="2534387" y="2158020"/>
                </a:cubicBezTo>
                <a:cubicBezTo>
                  <a:pt x="2536241" y="2157324"/>
                  <a:pt x="2538095" y="2157185"/>
                  <a:pt x="2539486" y="2156488"/>
                </a:cubicBezTo>
                <a:cubicBezTo>
                  <a:pt x="2532998" y="2149520"/>
                  <a:pt x="2527437" y="2141436"/>
                  <a:pt x="2516315" y="2140601"/>
                </a:cubicBezTo>
                <a:close/>
                <a:moveTo>
                  <a:pt x="2479708" y="2135444"/>
                </a:moveTo>
                <a:cubicBezTo>
                  <a:pt x="2477854" y="2153004"/>
                  <a:pt x="2474610" y="2151610"/>
                  <a:pt x="2452367" y="2146175"/>
                </a:cubicBezTo>
                <a:cubicBezTo>
                  <a:pt x="2449123" y="2150217"/>
                  <a:pt x="2442637" y="2155233"/>
                  <a:pt x="2449123" y="2156488"/>
                </a:cubicBezTo>
                <a:cubicBezTo>
                  <a:pt x="2463488" y="2155233"/>
                  <a:pt x="2481098" y="2160808"/>
                  <a:pt x="2496854" y="2159414"/>
                </a:cubicBezTo>
                <a:cubicBezTo>
                  <a:pt x="2495463" y="2155373"/>
                  <a:pt x="2494072" y="2152864"/>
                  <a:pt x="2490829" y="2151471"/>
                </a:cubicBezTo>
                <a:cubicBezTo>
                  <a:pt x="2494072" y="2151471"/>
                  <a:pt x="2500560" y="2150077"/>
                  <a:pt x="2507047" y="2150077"/>
                </a:cubicBezTo>
                <a:cubicBezTo>
                  <a:pt x="2501951" y="2146036"/>
                  <a:pt x="2497316" y="2140879"/>
                  <a:pt x="2494072" y="2135444"/>
                </a:cubicBezTo>
                <a:cubicBezTo>
                  <a:pt x="2484805" y="2146175"/>
                  <a:pt x="2489439" y="2146175"/>
                  <a:pt x="2479708" y="2135444"/>
                </a:cubicBezTo>
                <a:close/>
                <a:moveTo>
                  <a:pt x="13065742" y="2124626"/>
                </a:moveTo>
                <a:cubicBezTo>
                  <a:pt x="13070672" y="2128969"/>
                  <a:pt x="13070587" y="2143366"/>
                  <a:pt x="13078579" y="2140127"/>
                </a:cubicBezTo>
                <a:cubicBezTo>
                  <a:pt x="13073482" y="2150160"/>
                  <a:pt x="13062362" y="2131904"/>
                  <a:pt x="13058655" y="2124657"/>
                </a:cubicBezTo>
                <a:cubicBezTo>
                  <a:pt x="13061897" y="2122846"/>
                  <a:pt x="13064099" y="2123177"/>
                  <a:pt x="13065742" y="2124626"/>
                </a:cubicBezTo>
                <a:close/>
                <a:moveTo>
                  <a:pt x="1426569" y="2123758"/>
                </a:moveTo>
                <a:cubicBezTo>
                  <a:pt x="1429812" y="2123200"/>
                  <a:pt x="1433520" y="2123758"/>
                  <a:pt x="1437227" y="2126962"/>
                </a:cubicBezTo>
                <a:cubicBezTo>
                  <a:pt x="1437227" y="2146194"/>
                  <a:pt x="1395984" y="2147448"/>
                  <a:pt x="1387643" y="2131979"/>
                </a:cubicBezTo>
                <a:cubicBezTo>
                  <a:pt x="1406644" y="2137833"/>
                  <a:pt x="1416374" y="2125151"/>
                  <a:pt x="1426569" y="2123758"/>
                </a:cubicBezTo>
                <a:close/>
                <a:moveTo>
                  <a:pt x="2619462" y="2120251"/>
                </a:moveTo>
                <a:lnTo>
                  <a:pt x="2618146" y="2120463"/>
                </a:lnTo>
                <a:lnTo>
                  <a:pt x="2617464" y="2120617"/>
                </a:lnTo>
                <a:close/>
                <a:moveTo>
                  <a:pt x="13038727" y="2117271"/>
                </a:moveTo>
                <a:cubicBezTo>
                  <a:pt x="13050314" y="2113090"/>
                  <a:pt x="13042434" y="2136643"/>
                  <a:pt x="13054020" y="2133855"/>
                </a:cubicBezTo>
                <a:cubicBezTo>
                  <a:pt x="13054020" y="2138036"/>
                  <a:pt x="13047531" y="2136364"/>
                  <a:pt x="13044289" y="2137758"/>
                </a:cubicBezTo>
                <a:cubicBezTo>
                  <a:pt x="13040582" y="2133577"/>
                  <a:pt x="13038727" y="2126888"/>
                  <a:pt x="13038727" y="2117271"/>
                </a:cubicBezTo>
                <a:close/>
                <a:moveTo>
                  <a:pt x="2640505" y="2108408"/>
                </a:moveTo>
                <a:cubicBezTo>
                  <a:pt x="2639695" y="2113808"/>
                  <a:pt x="2636624" y="2116604"/>
                  <a:pt x="2632497" y="2118159"/>
                </a:cubicBezTo>
                <a:lnTo>
                  <a:pt x="2626100" y="2119186"/>
                </a:lnTo>
                <a:lnTo>
                  <a:pt x="2645603" y="2120756"/>
                </a:lnTo>
                <a:lnTo>
                  <a:pt x="2645777" y="2116701"/>
                </a:lnTo>
                <a:cubicBezTo>
                  <a:pt x="2645834" y="2111996"/>
                  <a:pt x="2644907" y="2108408"/>
                  <a:pt x="2640505" y="2108408"/>
                </a:cubicBezTo>
                <a:close/>
                <a:moveTo>
                  <a:pt x="2552924" y="2108408"/>
                </a:moveTo>
                <a:cubicBezTo>
                  <a:pt x="2550143" y="2119139"/>
                  <a:pt x="2545046" y="2128477"/>
                  <a:pt x="2543192" y="2140601"/>
                </a:cubicBezTo>
                <a:cubicBezTo>
                  <a:pt x="2552924" y="2143109"/>
                  <a:pt x="2562192" y="2145618"/>
                  <a:pt x="2571923" y="2147707"/>
                </a:cubicBezTo>
                <a:cubicBezTo>
                  <a:pt x="2576557" y="2146733"/>
                  <a:pt x="2580264" y="2144503"/>
                  <a:pt x="2584897" y="2144085"/>
                </a:cubicBezTo>
                <a:cubicBezTo>
                  <a:pt x="2600654" y="2141298"/>
                  <a:pt x="2654870" y="2154815"/>
                  <a:pt x="2633554" y="2134051"/>
                </a:cubicBezTo>
                <a:cubicBezTo>
                  <a:pt x="2635871" y="2131542"/>
                  <a:pt x="2640967" y="2131681"/>
                  <a:pt x="2645138" y="2131681"/>
                </a:cubicBezTo>
                <a:lnTo>
                  <a:pt x="2645278" y="2128416"/>
                </a:lnTo>
                <a:lnTo>
                  <a:pt x="2629598" y="2128391"/>
                </a:lnTo>
                <a:cubicBezTo>
                  <a:pt x="2623718" y="2129611"/>
                  <a:pt x="2617679" y="2131588"/>
                  <a:pt x="2611662" y="2132912"/>
                </a:cubicBezTo>
                <a:lnTo>
                  <a:pt x="2600233" y="2133297"/>
                </a:lnTo>
                <a:lnTo>
                  <a:pt x="2599262" y="2135444"/>
                </a:lnTo>
                <a:lnTo>
                  <a:pt x="2597233" y="2133399"/>
                </a:lnTo>
                <a:lnTo>
                  <a:pt x="2593858" y="2133513"/>
                </a:lnTo>
                <a:lnTo>
                  <a:pt x="2595131" y="2132310"/>
                </a:lnTo>
                <a:lnTo>
                  <a:pt x="2589532" y="2135444"/>
                </a:lnTo>
                <a:cubicBezTo>
                  <a:pt x="2597409" y="2124714"/>
                  <a:pt x="2586288" y="2124714"/>
                  <a:pt x="2594166" y="2113983"/>
                </a:cubicBezTo>
                <a:cubicBezTo>
                  <a:pt x="2575166" y="2109942"/>
                  <a:pt x="2572386" y="2116491"/>
                  <a:pt x="2552924" y="2108408"/>
                </a:cubicBezTo>
                <a:close/>
                <a:moveTo>
                  <a:pt x="1526198" y="2101738"/>
                </a:moveTo>
                <a:lnTo>
                  <a:pt x="1526198" y="2117486"/>
                </a:lnTo>
                <a:cubicBezTo>
                  <a:pt x="1506736" y="2125429"/>
                  <a:pt x="1492371" y="2130725"/>
                  <a:pt x="1471982" y="2117486"/>
                </a:cubicBezTo>
                <a:cubicBezTo>
                  <a:pt x="1487737" y="2113584"/>
                  <a:pt x="1509980" y="2116231"/>
                  <a:pt x="1526198" y="2101738"/>
                </a:cubicBezTo>
                <a:close/>
                <a:moveTo>
                  <a:pt x="706" y="2100901"/>
                </a:moveTo>
                <a:lnTo>
                  <a:pt x="21558" y="2100901"/>
                </a:lnTo>
                <a:cubicBezTo>
                  <a:pt x="29436" y="2120831"/>
                  <a:pt x="-5319" y="2120831"/>
                  <a:pt x="706" y="2100901"/>
                </a:cubicBezTo>
                <a:close/>
                <a:moveTo>
                  <a:pt x="1043342" y="2093794"/>
                </a:moveTo>
                <a:cubicBezTo>
                  <a:pt x="1047513" y="2095885"/>
                  <a:pt x="1053536" y="2104107"/>
                  <a:pt x="1061878" y="2101738"/>
                </a:cubicBezTo>
                <a:cubicBezTo>
                  <a:pt x="1061878" y="2114142"/>
                  <a:pt x="1044269" y="2104664"/>
                  <a:pt x="1036854" y="2107313"/>
                </a:cubicBezTo>
                <a:cubicBezTo>
                  <a:pt x="1037781" y="2099787"/>
                  <a:pt x="1038708" y="2095746"/>
                  <a:pt x="1040098" y="2094073"/>
                </a:cubicBezTo>
                <a:cubicBezTo>
                  <a:pt x="1041025" y="2092958"/>
                  <a:pt x="1041952" y="2093097"/>
                  <a:pt x="1043342" y="2093794"/>
                </a:cubicBezTo>
                <a:close/>
                <a:moveTo>
                  <a:pt x="1342231" y="2091565"/>
                </a:moveTo>
                <a:cubicBezTo>
                  <a:pt x="1345011" y="2091565"/>
                  <a:pt x="1348255" y="2092261"/>
                  <a:pt x="1351499" y="2093236"/>
                </a:cubicBezTo>
                <a:cubicBezTo>
                  <a:pt x="1358449" y="2095049"/>
                  <a:pt x="1366327" y="2097697"/>
                  <a:pt x="1376522" y="2095188"/>
                </a:cubicBezTo>
                <a:cubicBezTo>
                  <a:pt x="1377912" y="2114142"/>
                  <a:pt x="1346865" y="2100483"/>
                  <a:pt x="1338523" y="2110657"/>
                </a:cubicBezTo>
                <a:cubicBezTo>
                  <a:pt x="1336670" y="2106894"/>
                  <a:pt x="1332963" y="2102853"/>
                  <a:pt x="1332963" y="2095188"/>
                </a:cubicBezTo>
                <a:cubicBezTo>
                  <a:pt x="1336207" y="2092680"/>
                  <a:pt x="1338987" y="2091704"/>
                  <a:pt x="1342231" y="2091565"/>
                </a:cubicBezTo>
                <a:close/>
                <a:moveTo>
                  <a:pt x="13155968" y="2082849"/>
                </a:moveTo>
                <a:cubicBezTo>
                  <a:pt x="13146236" y="2087030"/>
                  <a:pt x="13136504" y="2088285"/>
                  <a:pt x="13127236" y="2087588"/>
                </a:cubicBezTo>
                <a:cubicBezTo>
                  <a:pt x="13128626" y="2094276"/>
                  <a:pt x="13122602" y="2109188"/>
                  <a:pt x="13123992" y="2119362"/>
                </a:cubicBezTo>
                <a:cubicBezTo>
                  <a:pt x="13127236" y="2124657"/>
                  <a:pt x="13135114" y="2125494"/>
                  <a:pt x="13142992" y="2125494"/>
                </a:cubicBezTo>
                <a:cubicBezTo>
                  <a:pt x="13141137" y="2120337"/>
                  <a:pt x="13136504" y="2123125"/>
                  <a:pt x="13133261" y="2121731"/>
                </a:cubicBezTo>
                <a:cubicBezTo>
                  <a:pt x="13153185" y="2102220"/>
                  <a:pt x="13171258" y="2108213"/>
                  <a:pt x="13196281" y="2102638"/>
                </a:cubicBezTo>
                <a:cubicBezTo>
                  <a:pt x="13181917" y="2099154"/>
                  <a:pt x="13167551" y="2088841"/>
                  <a:pt x="13155968" y="2082849"/>
                </a:cubicBezTo>
                <a:close/>
                <a:moveTo>
                  <a:pt x="2371273" y="2078585"/>
                </a:moveTo>
                <a:cubicBezTo>
                  <a:pt x="2365249" y="2080536"/>
                  <a:pt x="2358298" y="2087922"/>
                  <a:pt x="2356445" y="2093914"/>
                </a:cubicBezTo>
                <a:cubicBezTo>
                  <a:pt x="2372662" y="2093914"/>
                  <a:pt x="2369419" y="2099349"/>
                  <a:pt x="2383785" y="2093914"/>
                </a:cubicBezTo>
                <a:cubicBezTo>
                  <a:pt x="2383785" y="2079839"/>
                  <a:pt x="2377761" y="2076495"/>
                  <a:pt x="2371273" y="2078585"/>
                </a:cubicBezTo>
                <a:close/>
                <a:moveTo>
                  <a:pt x="2640505" y="2077470"/>
                </a:moveTo>
                <a:cubicBezTo>
                  <a:pt x="2645602" y="2093497"/>
                  <a:pt x="2654870" y="2107154"/>
                  <a:pt x="2667846" y="2113983"/>
                </a:cubicBezTo>
                <a:cubicBezTo>
                  <a:pt x="2667846" y="2097817"/>
                  <a:pt x="2677577" y="2104506"/>
                  <a:pt x="2682211" y="2083044"/>
                </a:cubicBezTo>
                <a:cubicBezTo>
                  <a:pt x="2671090" y="2068272"/>
                  <a:pt x="2651626" y="2093497"/>
                  <a:pt x="2640505" y="2077470"/>
                </a:cubicBezTo>
                <a:close/>
                <a:moveTo>
                  <a:pt x="12923806" y="2075464"/>
                </a:moveTo>
                <a:cubicBezTo>
                  <a:pt x="12932149" y="2081316"/>
                  <a:pt x="12938635" y="2087309"/>
                  <a:pt x="12945586" y="2096228"/>
                </a:cubicBezTo>
                <a:cubicBezTo>
                  <a:pt x="12941879" y="2100548"/>
                  <a:pt x="12920562" y="2094556"/>
                  <a:pt x="12923806" y="2075464"/>
                </a:cubicBezTo>
                <a:close/>
                <a:moveTo>
                  <a:pt x="13434465" y="2070446"/>
                </a:moveTo>
                <a:cubicBezTo>
                  <a:pt x="13442345" y="2070446"/>
                  <a:pt x="13449295" y="2069052"/>
                  <a:pt x="13449295" y="2084939"/>
                </a:cubicBezTo>
                <a:cubicBezTo>
                  <a:pt x="13440954" y="2086612"/>
                  <a:pt x="13434465" y="2086333"/>
                  <a:pt x="13434465" y="2070446"/>
                </a:cubicBezTo>
                <a:close/>
                <a:moveTo>
                  <a:pt x="1476152" y="2067037"/>
                </a:moveTo>
                <a:cubicBezTo>
                  <a:pt x="1486346" y="2067874"/>
                  <a:pt x="1497932" y="2070661"/>
                  <a:pt x="1506272" y="2068570"/>
                </a:cubicBezTo>
                <a:cubicBezTo>
                  <a:pt x="1496078" y="2085851"/>
                  <a:pt x="1469200" y="2083342"/>
                  <a:pt x="1452055" y="2076932"/>
                </a:cubicBezTo>
                <a:cubicBezTo>
                  <a:pt x="1456226" y="2067177"/>
                  <a:pt x="1465494" y="2066340"/>
                  <a:pt x="1476152" y="2067037"/>
                </a:cubicBezTo>
                <a:close/>
                <a:moveTo>
                  <a:pt x="2558948" y="2066739"/>
                </a:moveTo>
                <a:cubicBezTo>
                  <a:pt x="2552924" y="2069387"/>
                  <a:pt x="2543657" y="2070920"/>
                  <a:pt x="2545046" y="2083044"/>
                </a:cubicBezTo>
                <a:cubicBezTo>
                  <a:pt x="2578874" y="2070920"/>
                  <a:pt x="2602507" y="2091267"/>
                  <a:pt x="2626603" y="2104646"/>
                </a:cubicBezTo>
                <a:cubicBezTo>
                  <a:pt x="2633091" y="2101998"/>
                  <a:pt x="2637261" y="2097956"/>
                  <a:pt x="2640505" y="2093914"/>
                </a:cubicBezTo>
                <a:cubicBezTo>
                  <a:pt x="2627993" y="2088619"/>
                  <a:pt x="2613165" y="2096283"/>
                  <a:pt x="2621505" y="2077470"/>
                </a:cubicBezTo>
                <a:cubicBezTo>
                  <a:pt x="2602043" y="2086807"/>
                  <a:pt x="2592775" y="2077749"/>
                  <a:pt x="2580264" y="2069665"/>
                </a:cubicBezTo>
                <a:cubicBezTo>
                  <a:pt x="2573776" y="2070920"/>
                  <a:pt x="2565436" y="2072453"/>
                  <a:pt x="2558948" y="2073846"/>
                </a:cubicBezTo>
                <a:cubicBezTo>
                  <a:pt x="2558948" y="2069805"/>
                  <a:pt x="2558948" y="2068133"/>
                  <a:pt x="2558948" y="2066739"/>
                </a:cubicBezTo>
                <a:close/>
                <a:moveTo>
                  <a:pt x="1418228" y="2066201"/>
                </a:moveTo>
                <a:cubicBezTo>
                  <a:pt x="1424252" y="2064807"/>
                  <a:pt x="1430739" y="2080137"/>
                  <a:pt x="1446958" y="2074562"/>
                </a:cubicBezTo>
                <a:cubicBezTo>
                  <a:pt x="1441861" y="2085851"/>
                  <a:pt x="1432129" y="2092540"/>
                  <a:pt x="1417301" y="2093794"/>
                </a:cubicBezTo>
                <a:cubicBezTo>
                  <a:pt x="1427496" y="2082367"/>
                  <a:pt x="1428886" y="2079580"/>
                  <a:pt x="1412203" y="2074562"/>
                </a:cubicBezTo>
                <a:cubicBezTo>
                  <a:pt x="1414520" y="2068849"/>
                  <a:pt x="1416374" y="2066619"/>
                  <a:pt x="1418228" y="2066201"/>
                </a:cubicBezTo>
                <a:close/>
                <a:moveTo>
                  <a:pt x="2790028" y="2065605"/>
                </a:moveTo>
                <a:lnTo>
                  <a:pt x="2784313" y="2075120"/>
                </a:lnTo>
                <a:lnTo>
                  <a:pt x="2789316" y="2073593"/>
                </a:lnTo>
                <a:lnTo>
                  <a:pt x="2796670" y="2066739"/>
                </a:lnTo>
                <a:close/>
                <a:moveTo>
                  <a:pt x="2780450" y="2061165"/>
                </a:moveTo>
                <a:cubicBezTo>
                  <a:pt x="2778597" y="2060607"/>
                  <a:pt x="2776280" y="2060607"/>
                  <a:pt x="2773036" y="2061722"/>
                </a:cubicBezTo>
                <a:lnTo>
                  <a:pt x="2773036" y="2067737"/>
                </a:lnTo>
                <a:lnTo>
                  <a:pt x="2773445" y="2067481"/>
                </a:lnTo>
                <a:lnTo>
                  <a:pt x="2780559" y="2061226"/>
                </a:lnTo>
                <a:close/>
                <a:moveTo>
                  <a:pt x="13427516" y="2060830"/>
                </a:moveTo>
                <a:cubicBezTo>
                  <a:pt x="13429369" y="2060551"/>
                  <a:pt x="13431223" y="2061248"/>
                  <a:pt x="13432613" y="2063339"/>
                </a:cubicBezTo>
                <a:cubicBezTo>
                  <a:pt x="13431223" y="2075742"/>
                  <a:pt x="13428905" y="2066962"/>
                  <a:pt x="13421954" y="2068356"/>
                </a:cubicBezTo>
                <a:cubicBezTo>
                  <a:pt x="13423344" y="2076717"/>
                  <a:pt x="13429834" y="2075464"/>
                  <a:pt x="13434465" y="2079644"/>
                </a:cubicBezTo>
                <a:cubicBezTo>
                  <a:pt x="13429834" y="2092047"/>
                  <a:pt x="13423344" y="2071422"/>
                  <a:pt x="13414540" y="2076996"/>
                </a:cubicBezTo>
                <a:cubicBezTo>
                  <a:pt x="13416858" y="2070725"/>
                  <a:pt x="13421954" y="2061527"/>
                  <a:pt x="13427516" y="2060830"/>
                </a:cubicBezTo>
                <a:close/>
                <a:moveTo>
                  <a:pt x="2757280" y="2059074"/>
                </a:moveTo>
                <a:cubicBezTo>
                  <a:pt x="2754500" y="2059074"/>
                  <a:pt x="2751256" y="2059911"/>
                  <a:pt x="2748013" y="2061165"/>
                </a:cubicBezTo>
                <a:lnTo>
                  <a:pt x="2732687" y="2071700"/>
                </a:lnTo>
                <a:lnTo>
                  <a:pt x="2733535" y="2072372"/>
                </a:lnTo>
                <a:lnTo>
                  <a:pt x="2753168" y="2073028"/>
                </a:lnTo>
                <a:cubicBezTo>
                  <a:pt x="2759481" y="2072384"/>
                  <a:pt x="2764231" y="2069736"/>
                  <a:pt x="2765158" y="2061722"/>
                </a:cubicBezTo>
                <a:cubicBezTo>
                  <a:pt x="2763304" y="2059911"/>
                  <a:pt x="2760524" y="2059074"/>
                  <a:pt x="2757280" y="2059074"/>
                </a:cubicBezTo>
                <a:close/>
                <a:moveTo>
                  <a:pt x="13200453" y="2044664"/>
                </a:moveTo>
                <a:cubicBezTo>
                  <a:pt x="13199524" y="2044943"/>
                  <a:pt x="13199062" y="2044386"/>
                  <a:pt x="13198599" y="2044943"/>
                </a:cubicBezTo>
                <a:cubicBezTo>
                  <a:pt x="13198599" y="2045501"/>
                  <a:pt x="13199062" y="2045640"/>
                  <a:pt x="13199062" y="2046057"/>
                </a:cubicBezTo>
                <a:cubicBezTo>
                  <a:pt x="13199062" y="2045083"/>
                  <a:pt x="13199988" y="2045360"/>
                  <a:pt x="13200453" y="2044664"/>
                </a:cubicBezTo>
                <a:close/>
                <a:moveTo>
                  <a:pt x="2618784" y="2040992"/>
                </a:moveTo>
                <a:cubicBezTo>
                  <a:pt x="2614554" y="2040818"/>
                  <a:pt x="2610384" y="2040818"/>
                  <a:pt x="2606677" y="2041515"/>
                </a:cubicBezTo>
                <a:cubicBezTo>
                  <a:pt x="2599727" y="2042909"/>
                  <a:pt x="2594166" y="2046671"/>
                  <a:pt x="2594166" y="2056008"/>
                </a:cubicBezTo>
                <a:cubicBezTo>
                  <a:pt x="2610384" y="2056008"/>
                  <a:pt x="2618262" y="2045556"/>
                  <a:pt x="2631237" y="2041515"/>
                </a:cubicBezTo>
                <a:cubicBezTo>
                  <a:pt x="2627299" y="2041515"/>
                  <a:pt x="2623012" y="2041166"/>
                  <a:pt x="2618784" y="2040992"/>
                </a:cubicBezTo>
                <a:close/>
                <a:moveTo>
                  <a:pt x="2488975" y="2030784"/>
                </a:moveTo>
                <a:cubicBezTo>
                  <a:pt x="2460244" y="2029530"/>
                  <a:pt x="2481561" y="2059911"/>
                  <a:pt x="2443099" y="2045138"/>
                </a:cubicBezTo>
                <a:cubicBezTo>
                  <a:pt x="2444953" y="2062559"/>
                  <a:pt x="2425491" y="2057541"/>
                  <a:pt x="2425491" y="2072314"/>
                </a:cubicBezTo>
                <a:cubicBezTo>
                  <a:pt x="2446343" y="2062977"/>
                  <a:pt x="2487584" y="2073567"/>
                  <a:pt x="2498707" y="2050712"/>
                </a:cubicBezTo>
                <a:lnTo>
                  <a:pt x="2488975" y="2050712"/>
                </a:lnTo>
                <a:cubicBezTo>
                  <a:pt x="2477854" y="2050712"/>
                  <a:pt x="2487584" y="2033431"/>
                  <a:pt x="2488975" y="2030784"/>
                </a:cubicBezTo>
                <a:close/>
                <a:moveTo>
                  <a:pt x="1198115" y="2027319"/>
                </a:moveTo>
                <a:cubicBezTo>
                  <a:pt x="1199968" y="2043485"/>
                  <a:pt x="1192091" y="2050732"/>
                  <a:pt x="1176799" y="2051986"/>
                </a:cubicBezTo>
                <a:cubicBezTo>
                  <a:pt x="1174945" y="2035820"/>
                  <a:pt x="1182823" y="2028574"/>
                  <a:pt x="1198115" y="2027319"/>
                </a:cubicBezTo>
                <a:close/>
                <a:moveTo>
                  <a:pt x="2659041" y="2024233"/>
                </a:moveTo>
                <a:cubicBezTo>
                  <a:pt x="2656724" y="2023956"/>
                  <a:pt x="2653944" y="2024233"/>
                  <a:pt x="2650236" y="2025209"/>
                </a:cubicBezTo>
                <a:cubicBezTo>
                  <a:pt x="2644212" y="2041236"/>
                  <a:pt x="2677577" y="2038867"/>
                  <a:pt x="2677577" y="2030784"/>
                </a:cubicBezTo>
                <a:cubicBezTo>
                  <a:pt x="2669235" y="2030784"/>
                  <a:pt x="2665992" y="2025349"/>
                  <a:pt x="2659041" y="2024233"/>
                </a:cubicBezTo>
                <a:close/>
                <a:moveTo>
                  <a:pt x="2551533" y="2021725"/>
                </a:moveTo>
                <a:cubicBezTo>
                  <a:pt x="2549216" y="2021168"/>
                  <a:pt x="2546436" y="2021307"/>
                  <a:pt x="2544583" y="2022283"/>
                </a:cubicBezTo>
                <a:cubicBezTo>
                  <a:pt x="2541803" y="2023537"/>
                  <a:pt x="2539948" y="2026464"/>
                  <a:pt x="2539948" y="2030784"/>
                </a:cubicBezTo>
                <a:cubicBezTo>
                  <a:pt x="2543192" y="2032178"/>
                  <a:pt x="2545046" y="2034825"/>
                  <a:pt x="2545046" y="2041515"/>
                </a:cubicBezTo>
                <a:lnTo>
                  <a:pt x="2567289" y="2041515"/>
                </a:lnTo>
                <a:cubicBezTo>
                  <a:pt x="2568216" y="2030923"/>
                  <a:pt x="2559411" y="2023259"/>
                  <a:pt x="2551533" y="2021725"/>
                </a:cubicBezTo>
                <a:close/>
                <a:moveTo>
                  <a:pt x="1596635" y="2021187"/>
                </a:moveTo>
                <a:cubicBezTo>
                  <a:pt x="1602195" y="2022024"/>
                  <a:pt x="1604975" y="2026343"/>
                  <a:pt x="1610073" y="2027319"/>
                </a:cubicBezTo>
                <a:cubicBezTo>
                  <a:pt x="1610073" y="2037074"/>
                  <a:pt x="1600806" y="2039443"/>
                  <a:pt x="1590147" y="2038050"/>
                </a:cubicBezTo>
                <a:lnTo>
                  <a:pt x="1590147" y="2021744"/>
                </a:lnTo>
                <a:cubicBezTo>
                  <a:pt x="1592928" y="2021048"/>
                  <a:pt x="1594781" y="2020909"/>
                  <a:pt x="1596635" y="2021187"/>
                </a:cubicBezTo>
                <a:close/>
                <a:moveTo>
                  <a:pt x="2760524" y="2019914"/>
                </a:moveTo>
                <a:cubicBezTo>
                  <a:pt x="2755427" y="2026603"/>
                  <a:pt x="2755427" y="2040121"/>
                  <a:pt x="2745695" y="2041515"/>
                </a:cubicBezTo>
                <a:cubicBezTo>
                  <a:pt x="2739671" y="2040121"/>
                  <a:pt x="2728549" y="2042629"/>
                  <a:pt x="2736428" y="2046532"/>
                </a:cubicBezTo>
                <a:cubicBezTo>
                  <a:pt x="2750793" y="2050573"/>
                  <a:pt x="2750793" y="2037473"/>
                  <a:pt x="2765158" y="2041515"/>
                </a:cubicBezTo>
                <a:cubicBezTo>
                  <a:pt x="2758671" y="2028136"/>
                  <a:pt x="2766548" y="2025349"/>
                  <a:pt x="2760524" y="2019914"/>
                </a:cubicBezTo>
                <a:close/>
                <a:moveTo>
                  <a:pt x="13018220" y="2019160"/>
                </a:moveTo>
                <a:cubicBezTo>
                  <a:pt x="13016136" y="2018917"/>
                  <a:pt x="13013936" y="2019021"/>
                  <a:pt x="13011850" y="2019718"/>
                </a:cubicBezTo>
                <a:cubicBezTo>
                  <a:pt x="13007682" y="2021252"/>
                  <a:pt x="13004900" y="2025572"/>
                  <a:pt x="13006753" y="2034351"/>
                </a:cubicBezTo>
                <a:cubicBezTo>
                  <a:pt x="13012779" y="2030310"/>
                  <a:pt x="13023900" y="2030031"/>
                  <a:pt x="13023900" y="2020694"/>
                </a:cubicBezTo>
                <a:cubicBezTo>
                  <a:pt x="13022277" y="2019997"/>
                  <a:pt x="13020308" y="2019405"/>
                  <a:pt x="13018220" y="2019160"/>
                </a:cubicBezTo>
                <a:close/>
                <a:moveTo>
                  <a:pt x="2548290" y="2009183"/>
                </a:moveTo>
                <a:cubicBezTo>
                  <a:pt x="2522802" y="2006535"/>
                  <a:pt x="2533461" y="2039982"/>
                  <a:pt x="2507975" y="2025209"/>
                </a:cubicBezTo>
                <a:cubicBezTo>
                  <a:pt x="2504731" y="2041236"/>
                  <a:pt x="2522802" y="2036079"/>
                  <a:pt x="2530680" y="2041515"/>
                </a:cubicBezTo>
                <a:cubicBezTo>
                  <a:pt x="2530680" y="2024095"/>
                  <a:pt x="2539022" y="2023956"/>
                  <a:pt x="2548290" y="2009183"/>
                </a:cubicBezTo>
                <a:close/>
                <a:moveTo>
                  <a:pt x="12875614" y="1997839"/>
                </a:moveTo>
                <a:lnTo>
                  <a:pt x="12875614" y="2012890"/>
                </a:lnTo>
                <a:cubicBezTo>
                  <a:pt x="12886734" y="2012890"/>
                  <a:pt x="12893222" y="2020833"/>
                  <a:pt x="12901100" y="2011357"/>
                </a:cubicBezTo>
                <a:cubicBezTo>
                  <a:pt x="12896465" y="2002019"/>
                  <a:pt x="12888125" y="1996445"/>
                  <a:pt x="12875614" y="1997839"/>
                </a:cubicBezTo>
                <a:close/>
                <a:moveTo>
                  <a:pt x="2744110" y="1994429"/>
                </a:moveTo>
                <a:lnTo>
                  <a:pt x="2741640" y="1994895"/>
                </a:lnTo>
                <a:lnTo>
                  <a:pt x="2742242" y="1995916"/>
                </a:lnTo>
                <a:cubicBezTo>
                  <a:pt x="2743378" y="1997616"/>
                  <a:pt x="2744537" y="1998801"/>
                  <a:pt x="2745695" y="1998452"/>
                </a:cubicBezTo>
                <a:close/>
                <a:moveTo>
                  <a:pt x="2775103" y="1988577"/>
                </a:moveTo>
                <a:lnTo>
                  <a:pt x="2770664" y="1989414"/>
                </a:lnTo>
                <a:lnTo>
                  <a:pt x="2769792" y="1999846"/>
                </a:lnTo>
                <a:cubicBezTo>
                  <a:pt x="2776280" y="2000473"/>
                  <a:pt x="2777902" y="1995421"/>
                  <a:pt x="2779292" y="1990055"/>
                </a:cubicBezTo>
                <a:lnTo>
                  <a:pt x="2779710" y="1988777"/>
                </a:lnTo>
                <a:close/>
                <a:moveTo>
                  <a:pt x="1462714" y="1987043"/>
                </a:moveTo>
                <a:cubicBezTo>
                  <a:pt x="1468738" y="1987183"/>
                  <a:pt x="1475225" y="1987880"/>
                  <a:pt x="1482177" y="1988855"/>
                </a:cubicBezTo>
                <a:cubicBezTo>
                  <a:pt x="1495151" y="1990806"/>
                  <a:pt x="1508589" y="1992896"/>
                  <a:pt x="1516467" y="1989830"/>
                </a:cubicBezTo>
                <a:cubicBezTo>
                  <a:pt x="1503955" y="2018817"/>
                  <a:pt x="1468275" y="1985929"/>
                  <a:pt x="1446958" y="1989830"/>
                </a:cubicBezTo>
                <a:cubicBezTo>
                  <a:pt x="1451128" y="1987601"/>
                  <a:pt x="1456689" y="1987043"/>
                  <a:pt x="1462714" y="1987043"/>
                </a:cubicBezTo>
                <a:close/>
                <a:moveTo>
                  <a:pt x="12832053" y="1978607"/>
                </a:moveTo>
                <a:cubicBezTo>
                  <a:pt x="12837151" y="1977353"/>
                  <a:pt x="12843175" y="1980139"/>
                  <a:pt x="12845956" y="1985715"/>
                </a:cubicBezTo>
                <a:cubicBezTo>
                  <a:pt x="12841322" y="1998396"/>
                  <a:pt x="12831126" y="1987247"/>
                  <a:pt x="12821860" y="1993658"/>
                </a:cubicBezTo>
                <a:cubicBezTo>
                  <a:pt x="12822786" y="1984878"/>
                  <a:pt x="12826957" y="1979722"/>
                  <a:pt x="12832053" y="1978607"/>
                </a:cubicBezTo>
                <a:close/>
                <a:moveTo>
                  <a:pt x="1344548" y="1970042"/>
                </a:moveTo>
                <a:cubicBezTo>
                  <a:pt x="1349646" y="1972132"/>
                  <a:pt x="1356133" y="1979240"/>
                  <a:pt x="1367718" y="1976730"/>
                </a:cubicBezTo>
                <a:cubicBezTo>
                  <a:pt x="1359840" y="1992061"/>
                  <a:pt x="1339451" y="1979240"/>
                  <a:pt x="1332963" y="1981469"/>
                </a:cubicBezTo>
                <a:cubicBezTo>
                  <a:pt x="1335280" y="1974918"/>
                  <a:pt x="1337597" y="1971435"/>
                  <a:pt x="1339914" y="1970181"/>
                </a:cubicBezTo>
                <a:cubicBezTo>
                  <a:pt x="1341304" y="1969205"/>
                  <a:pt x="1342695" y="1969344"/>
                  <a:pt x="1344548" y="1970042"/>
                </a:cubicBezTo>
                <a:close/>
                <a:moveTo>
                  <a:pt x="2766704" y="1967393"/>
                </a:moveTo>
                <a:lnTo>
                  <a:pt x="2766641" y="1967394"/>
                </a:lnTo>
                <a:lnTo>
                  <a:pt x="2766649" y="1967407"/>
                </a:lnTo>
                <a:close/>
                <a:moveTo>
                  <a:pt x="1310720" y="1949694"/>
                </a:moveTo>
                <a:cubicBezTo>
                  <a:pt x="1320452" y="1950391"/>
                  <a:pt x="1329256" y="1954293"/>
                  <a:pt x="1332963" y="1958893"/>
                </a:cubicBezTo>
                <a:cubicBezTo>
                  <a:pt x="1319524" y="1968369"/>
                  <a:pt x="1302843" y="1964606"/>
                  <a:pt x="1288941" y="1958893"/>
                </a:cubicBezTo>
                <a:cubicBezTo>
                  <a:pt x="1291721" y="1951367"/>
                  <a:pt x="1301452" y="1948998"/>
                  <a:pt x="1310720" y="1949694"/>
                </a:cubicBezTo>
                <a:close/>
                <a:moveTo>
                  <a:pt x="1489898" y="1915253"/>
                </a:moveTo>
                <a:cubicBezTo>
                  <a:pt x="1501482" y="1921385"/>
                  <a:pt x="1510287" y="1932394"/>
                  <a:pt x="1514920" y="1948422"/>
                </a:cubicBezTo>
                <a:cubicBezTo>
                  <a:pt x="1497311" y="1947167"/>
                  <a:pt x="1497311" y="1927516"/>
                  <a:pt x="1489898" y="1915253"/>
                </a:cubicBezTo>
                <a:close/>
                <a:moveTo>
                  <a:pt x="1357987" y="1903706"/>
                </a:moveTo>
                <a:cubicBezTo>
                  <a:pt x="1352889" y="1925446"/>
                  <a:pt x="1337133" y="1905517"/>
                  <a:pt x="1323231" y="1918896"/>
                </a:cubicBezTo>
                <a:cubicBezTo>
                  <a:pt x="1325086" y="1900501"/>
                  <a:pt x="1345938" y="1908722"/>
                  <a:pt x="1357987" y="1903706"/>
                </a:cubicBezTo>
                <a:close/>
                <a:moveTo>
                  <a:pt x="2034849" y="1903408"/>
                </a:moveTo>
                <a:cubicBezTo>
                  <a:pt x="2041799" y="1902154"/>
                  <a:pt x="2048752" y="1903268"/>
                  <a:pt x="2052922" y="1908146"/>
                </a:cubicBezTo>
                <a:cubicBezTo>
                  <a:pt x="2049215" y="1917901"/>
                  <a:pt x="2044581" y="1909539"/>
                  <a:pt x="2039484" y="1908146"/>
                </a:cubicBezTo>
                <a:cubicBezTo>
                  <a:pt x="2034385" y="1908146"/>
                  <a:pt x="2035775" y="1915253"/>
                  <a:pt x="2034385" y="1919434"/>
                </a:cubicBezTo>
                <a:cubicBezTo>
                  <a:pt x="2030678" y="1916647"/>
                  <a:pt x="2025582" y="1913721"/>
                  <a:pt x="2018629" y="1913721"/>
                </a:cubicBezTo>
                <a:cubicBezTo>
                  <a:pt x="2021411" y="1908286"/>
                  <a:pt x="2027897" y="1904662"/>
                  <a:pt x="2034849" y="1903408"/>
                </a:cubicBezTo>
                <a:close/>
                <a:moveTo>
                  <a:pt x="1699972" y="1902312"/>
                </a:moveTo>
                <a:cubicBezTo>
                  <a:pt x="1718507" y="1918478"/>
                  <a:pt x="1683289" y="1919732"/>
                  <a:pt x="1678655" y="1927118"/>
                </a:cubicBezTo>
                <a:cubicBezTo>
                  <a:pt x="1664290" y="1914715"/>
                  <a:pt x="1695337" y="1909838"/>
                  <a:pt x="1699972" y="1902312"/>
                </a:cubicBezTo>
                <a:close/>
                <a:moveTo>
                  <a:pt x="2829147" y="1900031"/>
                </a:moveTo>
                <a:lnTo>
                  <a:pt x="2827872" y="1903288"/>
                </a:lnTo>
                <a:lnTo>
                  <a:pt x="2835591" y="1904631"/>
                </a:lnTo>
                <a:close/>
                <a:moveTo>
                  <a:pt x="345469" y="1899385"/>
                </a:moveTo>
                <a:cubicBezTo>
                  <a:pt x="352885" y="1901197"/>
                  <a:pt x="358909" y="1910256"/>
                  <a:pt x="358909" y="1901057"/>
                </a:cubicBezTo>
                <a:cubicBezTo>
                  <a:pt x="380225" y="1911928"/>
                  <a:pt x="330642" y="1924191"/>
                  <a:pt x="338056" y="1901057"/>
                </a:cubicBezTo>
                <a:cubicBezTo>
                  <a:pt x="340836" y="1899107"/>
                  <a:pt x="343154" y="1898828"/>
                  <a:pt x="345469" y="1899385"/>
                </a:cubicBezTo>
                <a:close/>
                <a:moveTo>
                  <a:pt x="2714184" y="1899227"/>
                </a:moveTo>
                <a:cubicBezTo>
                  <a:pt x="2699819" y="1901874"/>
                  <a:pt x="2687307" y="1906055"/>
                  <a:pt x="2682211" y="1920828"/>
                </a:cubicBezTo>
                <a:cubicBezTo>
                  <a:pt x="2696575" y="1918180"/>
                  <a:pt x="2712331" y="1915393"/>
                  <a:pt x="2714184" y="1899227"/>
                </a:cubicBezTo>
                <a:close/>
                <a:moveTo>
                  <a:pt x="2802825" y="1898275"/>
                </a:moveTo>
                <a:lnTo>
                  <a:pt x="2800275" y="1899099"/>
                </a:lnTo>
                <a:cubicBezTo>
                  <a:pt x="2798494" y="1900124"/>
                  <a:pt x="2797133" y="1901701"/>
                  <a:pt x="2796670" y="1904384"/>
                </a:cubicBezTo>
                <a:lnTo>
                  <a:pt x="2799506" y="1903904"/>
                </a:lnTo>
                <a:lnTo>
                  <a:pt x="2803660" y="1900082"/>
                </a:lnTo>
                <a:close/>
                <a:moveTo>
                  <a:pt x="1900157" y="1898132"/>
                </a:moveTo>
                <a:cubicBezTo>
                  <a:pt x="1903866" y="1907190"/>
                  <a:pt x="1914522" y="1906075"/>
                  <a:pt x="1916376" y="1916527"/>
                </a:cubicBezTo>
                <a:cubicBezTo>
                  <a:pt x="1908963" y="1919035"/>
                  <a:pt x="1902011" y="1917642"/>
                  <a:pt x="1898305" y="1914994"/>
                </a:cubicBezTo>
                <a:cubicBezTo>
                  <a:pt x="1896451" y="1905935"/>
                  <a:pt x="1900157" y="1904681"/>
                  <a:pt x="1900157" y="1898132"/>
                </a:cubicBezTo>
                <a:close/>
                <a:moveTo>
                  <a:pt x="1417301" y="1896319"/>
                </a:moveTo>
                <a:cubicBezTo>
                  <a:pt x="1413594" y="1900082"/>
                  <a:pt x="1408497" y="1902451"/>
                  <a:pt x="1402471" y="1904263"/>
                </a:cubicBezTo>
                <a:cubicBezTo>
                  <a:pt x="1408497" y="1903148"/>
                  <a:pt x="1416374" y="1914436"/>
                  <a:pt x="1417301" y="1916527"/>
                </a:cubicBezTo>
                <a:cubicBezTo>
                  <a:pt x="1417301" y="1921962"/>
                  <a:pt x="1413594" y="1921683"/>
                  <a:pt x="1413594" y="1927118"/>
                </a:cubicBezTo>
                <a:lnTo>
                  <a:pt x="1402936" y="1927118"/>
                </a:lnTo>
                <a:cubicBezTo>
                  <a:pt x="1402936" y="1920290"/>
                  <a:pt x="1402936" y="1912206"/>
                  <a:pt x="1397838" y="1910812"/>
                </a:cubicBezTo>
                <a:cubicBezTo>
                  <a:pt x="1399228" y="1906772"/>
                  <a:pt x="1400618" y="1904959"/>
                  <a:pt x="1402471" y="1904541"/>
                </a:cubicBezTo>
                <a:cubicBezTo>
                  <a:pt x="1392278" y="1907886"/>
                  <a:pt x="1379766" y="1909280"/>
                  <a:pt x="1367718" y="1911231"/>
                </a:cubicBezTo>
                <a:cubicBezTo>
                  <a:pt x="1370962" y="1888794"/>
                  <a:pt x="1405252" y="1899385"/>
                  <a:pt x="1417301" y="1896319"/>
                </a:cubicBezTo>
                <a:close/>
                <a:moveTo>
                  <a:pt x="1568368" y="1894925"/>
                </a:moveTo>
                <a:cubicBezTo>
                  <a:pt x="1574392" y="1895344"/>
                  <a:pt x="1580879" y="1897852"/>
                  <a:pt x="1590147" y="1897852"/>
                </a:cubicBezTo>
                <a:cubicBezTo>
                  <a:pt x="1585513" y="1912485"/>
                  <a:pt x="1564662" y="1912485"/>
                  <a:pt x="1550758" y="1904263"/>
                </a:cubicBezTo>
                <a:cubicBezTo>
                  <a:pt x="1557710" y="1896179"/>
                  <a:pt x="1562807" y="1894508"/>
                  <a:pt x="1568368" y="1894925"/>
                </a:cubicBezTo>
                <a:close/>
                <a:moveTo>
                  <a:pt x="2840848" y="1891024"/>
                </a:moveTo>
                <a:lnTo>
                  <a:pt x="2835728" y="1892981"/>
                </a:lnTo>
                <a:lnTo>
                  <a:pt x="2841386" y="1894541"/>
                </a:lnTo>
                <a:lnTo>
                  <a:pt x="2846067" y="1892015"/>
                </a:lnTo>
                <a:close/>
                <a:moveTo>
                  <a:pt x="2167073" y="1891024"/>
                </a:moveTo>
                <a:cubicBezTo>
                  <a:pt x="2169389" y="1891720"/>
                  <a:pt x="2171243" y="1893393"/>
                  <a:pt x="2173097" y="1896319"/>
                </a:cubicBezTo>
                <a:cubicBezTo>
                  <a:pt x="2173097" y="1913043"/>
                  <a:pt x="2155951" y="1900779"/>
                  <a:pt x="2149000" y="1905517"/>
                </a:cubicBezTo>
                <a:cubicBezTo>
                  <a:pt x="2151317" y="1899664"/>
                  <a:pt x="2155951" y="1894508"/>
                  <a:pt x="2160586" y="1892138"/>
                </a:cubicBezTo>
                <a:cubicBezTo>
                  <a:pt x="2162902" y="1891024"/>
                  <a:pt x="2165219" y="1890466"/>
                  <a:pt x="2167073" y="1891024"/>
                </a:cubicBezTo>
                <a:close/>
                <a:moveTo>
                  <a:pt x="1876988" y="1890188"/>
                </a:moveTo>
                <a:lnTo>
                  <a:pt x="1868157" y="1900495"/>
                </a:lnTo>
                <a:lnTo>
                  <a:pt x="1879612" y="1901039"/>
                </a:lnTo>
                <a:cubicBezTo>
                  <a:pt x="1879612" y="1907728"/>
                  <a:pt x="1881466" y="1910655"/>
                  <a:pt x="1885172" y="1911909"/>
                </a:cubicBezTo>
                <a:cubicBezTo>
                  <a:pt x="1873125" y="1940199"/>
                  <a:pt x="1869881" y="1901318"/>
                  <a:pt x="1850881" y="1906752"/>
                </a:cubicBezTo>
                <a:cubicBezTo>
                  <a:pt x="1850881" y="1903687"/>
                  <a:pt x="1852040" y="1901910"/>
                  <a:pt x="1854010" y="1900970"/>
                </a:cubicBezTo>
                <a:lnTo>
                  <a:pt x="1860293" y="1900366"/>
                </a:lnTo>
                <a:lnTo>
                  <a:pt x="1861870" y="1897992"/>
                </a:lnTo>
                <a:cubicBezTo>
                  <a:pt x="1867835" y="1895797"/>
                  <a:pt x="1875366" y="1893741"/>
                  <a:pt x="1876988" y="1890188"/>
                </a:cubicBezTo>
                <a:close/>
                <a:moveTo>
                  <a:pt x="1803309" y="1890188"/>
                </a:moveTo>
                <a:cubicBezTo>
                  <a:pt x="1811186" y="1896459"/>
                  <a:pt x="1812576" y="1900360"/>
                  <a:pt x="1810723" y="1915551"/>
                </a:cubicBezTo>
                <a:cubicBezTo>
                  <a:pt x="1801687" y="1913043"/>
                  <a:pt x="1796357" y="1913008"/>
                  <a:pt x="1791029" y="1914071"/>
                </a:cubicBezTo>
                <a:lnTo>
                  <a:pt x="1771955" y="1919014"/>
                </a:lnTo>
                <a:lnTo>
                  <a:pt x="1776275" y="1920828"/>
                </a:lnTo>
                <a:cubicBezTo>
                  <a:pt x="1760984" y="1931140"/>
                  <a:pt x="1750324" y="1920828"/>
                  <a:pt x="1727156" y="1920828"/>
                </a:cubicBezTo>
                <a:cubicBezTo>
                  <a:pt x="1735959" y="1912328"/>
                  <a:pt x="1743375" y="1909679"/>
                  <a:pt x="1751715" y="1910515"/>
                </a:cubicBezTo>
                <a:lnTo>
                  <a:pt x="1770772" y="1918518"/>
                </a:lnTo>
                <a:lnTo>
                  <a:pt x="1763052" y="1909489"/>
                </a:lnTo>
                <a:cubicBezTo>
                  <a:pt x="1758823" y="1908374"/>
                  <a:pt x="1753493" y="1909002"/>
                  <a:pt x="1748164" y="1910256"/>
                </a:cubicBezTo>
                <a:cubicBezTo>
                  <a:pt x="1763457" y="1896459"/>
                  <a:pt x="1794503" y="1906631"/>
                  <a:pt x="1803309" y="1890188"/>
                </a:cubicBezTo>
                <a:close/>
                <a:moveTo>
                  <a:pt x="2531143" y="1887521"/>
                </a:moveTo>
                <a:cubicBezTo>
                  <a:pt x="2529754" y="1887102"/>
                  <a:pt x="2527901" y="1888914"/>
                  <a:pt x="2526046" y="1893652"/>
                </a:cubicBezTo>
                <a:cubicBezTo>
                  <a:pt x="2537168" y="1905638"/>
                  <a:pt x="2487584" y="1892537"/>
                  <a:pt x="2488975" y="1909958"/>
                </a:cubicBezTo>
                <a:cubicBezTo>
                  <a:pt x="2500098" y="1916647"/>
                  <a:pt x="2509827" y="1897834"/>
                  <a:pt x="2530680" y="1909958"/>
                </a:cubicBezTo>
                <a:cubicBezTo>
                  <a:pt x="2537633" y="1906892"/>
                  <a:pt x="2535778" y="1888357"/>
                  <a:pt x="2531143" y="1887521"/>
                </a:cubicBezTo>
                <a:close/>
                <a:moveTo>
                  <a:pt x="2843471" y="1884176"/>
                </a:moveTo>
                <a:lnTo>
                  <a:pt x="2842784" y="1885544"/>
                </a:lnTo>
                <a:lnTo>
                  <a:pt x="2844286" y="1885356"/>
                </a:lnTo>
                <a:close/>
                <a:moveTo>
                  <a:pt x="2874601" y="1879159"/>
                </a:moveTo>
                <a:lnTo>
                  <a:pt x="2879838" y="1884079"/>
                </a:lnTo>
                <a:lnTo>
                  <a:pt x="2883266" y="1885429"/>
                </a:lnTo>
                <a:lnTo>
                  <a:pt x="2884714" y="1879159"/>
                </a:lnTo>
                <a:close/>
                <a:moveTo>
                  <a:pt x="1680509" y="1879038"/>
                </a:moveTo>
                <a:cubicBezTo>
                  <a:pt x="1687923" y="1880432"/>
                  <a:pt x="1691631" y="1886007"/>
                  <a:pt x="1699045" y="1886007"/>
                </a:cubicBezTo>
                <a:cubicBezTo>
                  <a:pt x="1699045" y="1895344"/>
                  <a:pt x="1664290" y="1899803"/>
                  <a:pt x="1671241" y="1879457"/>
                </a:cubicBezTo>
                <a:cubicBezTo>
                  <a:pt x="1674948" y="1878620"/>
                  <a:pt x="1677729" y="1878620"/>
                  <a:pt x="1680509" y="1879038"/>
                </a:cubicBezTo>
                <a:close/>
                <a:moveTo>
                  <a:pt x="2754500" y="1877626"/>
                </a:moveTo>
                <a:cubicBezTo>
                  <a:pt x="2741525" y="1875674"/>
                  <a:pt x="2723452" y="1896300"/>
                  <a:pt x="2718819" y="1904384"/>
                </a:cubicBezTo>
                <a:cubicBezTo>
                  <a:pt x="2726696" y="1907031"/>
                  <a:pt x="2729940" y="1896300"/>
                  <a:pt x="2733183" y="1904384"/>
                </a:cubicBezTo>
                <a:lnTo>
                  <a:pt x="2727613" y="1913085"/>
                </a:lnTo>
                <a:lnTo>
                  <a:pt x="2746688" y="1907120"/>
                </a:lnTo>
                <a:lnTo>
                  <a:pt x="2741061" y="1893652"/>
                </a:lnTo>
                <a:cubicBezTo>
                  <a:pt x="2741061" y="1896300"/>
                  <a:pt x="2737817" y="1900342"/>
                  <a:pt x="2737817" y="1893652"/>
                </a:cubicBezTo>
                <a:cubicBezTo>
                  <a:pt x="2748939" y="1886963"/>
                  <a:pt x="2750793" y="1883200"/>
                  <a:pt x="2765158" y="1888497"/>
                </a:cubicBezTo>
                <a:cubicBezTo>
                  <a:pt x="2762378" y="1881528"/>
                  <a:pt x="2758671" y="1878323"/>
                  <a:pt x="2754500" y="1877626"/>
                </a:cubicBezTo>
                <a:close/>
                <a:moveTo>
                  <a:pt x="1969974" y="1877626"/>
                </a:moveTo>
                <a:cubicBezTo>
                  <a:pt x="1970900" y="1877068"/>
                  <a:pt x="1971827" y="1877207"/>
                  <a:pt x="1972754" y="1877626"/>
                </a:cubicBezTo>
                <a:cubicBezTo>
                  <a:pt x="1978779" y="1880552"/>
                  <a:pt x="1984339" y="1899366"/>
                  <a:pt x="1994070" y="1897415"/>
                </a:cubicBezTo>
                <a:cubicBezTo>
                  <a:pt x="1990827" y="1901457"/>
                  <a:pt x="1988973" y="1906613"/>
                  <a:pt x="1988973" y="1913163"/>
                </a:cubicBezTo>
                <a:cubicBezTo>
                  <a:pt x="1977620" y="1901178"/>
                  <a:pt x="1968815" y="1906892"/>
                  <a:pt x="1959837" y="1910777"/>
                </a:cubicBezTo>
                <a:lnTo>
                  <a:pt x="1950892" y="1912069"/>
                </a:lnTo>
                <a:lnTo>
                  <a:pt x="1949755" y="1914540"/>
                </a:lnTo>
                <a:cubicBezTo>
                  <a:pt x="1941631" y="1921988"/>
                  <a:pt x="1928425" y="1915168"/>
                  <a:pt x="1921475" y="1917362"/>
                </a:cubicBezTo>
                <a:cubicBezTo>
                  <a:pt x="1921475" y="1907886"/>
                  <a:pt x="1926571" y="1904611"/>
                  <a:pt x="1933406" y="1903357"/>
                </a:cubicBezTo>
                <a:lnTo>
                  <a:pt x="1934305" y="1903282"/>
                </a:lnTo>
                <a:lnTo>
                  <a:pt x="1929659" y="1897415"/>
                </a:lnTo>
                <a:cubicBezTo>
                  <a:pt x="1944487" y="1897415"/>
                  <a:pt x="1953756" y="1886545"/>
                  <a:pt x="1961632" y="1902572"/>
                </a:cubicBezTo>
                <a:cubicBezTo>
                  <a:pt x="1973218" y="1898530"/>
                  <a:pt x="1969511" y="1885431"/>
                  <a:pt x="1966266" y="1881528"/>
                </a:cubicBezTo>
                <a:cubicBezTo>
                  <a:pt x="1967656" y="1879438"/>
                  <a:pt x="1968583" y="1878183"/>
                  <a:pt x="1969974" y="1877626"/>
                </a:cubicBezTo>
                <a:close/>
                <a:moveTo>
                  <a:pt x="2838374" y="1868428"/>
                </a:moveTo>
                <a:cubicBezTo>
                  <a:pt x="2832119" y="1867731"/>
                  <a:pt x="2828179" y="1869403"/>
                  <a:pt x="2825978" y="1873079"/>
                </a:cubicBezTo>
                <a:lnTo>
                  <a:pt x="2824263" y="1887594"/>
                </a:lnTo>
                <a:lnTo>
                  <a:pt x="2834534" y="1886581"/>
                </a:lnTo>
                <a:lnTo>
                  <a:pt x="2840710" y="1885805"/>
                </a:lnTo>
                <a:lnTo>
                  <a:pt x="2843471" y="1879159"/>
                </a:lnTo>
                <a:cubicBezTo>
                  <a:pt x="2833740" y="1879159"/>
                  <a:pt x="2833740" y="1875116"/>
                  <a:pt x="2838374" y="1868428"/>
                </a:cubicBezTo>
                <a:close/>
                <a:moveTo>
                  <a:pt x="3141897" y="1867870"/>
                </a:moveTo>
                <a:cubicBezTo>
                  <a:pt x="3138422" y="1868358"/>
                  <a:pt x="3135179" y="1869960"/>
                  <a:pt x="3133151" y="1872051"/>
                </a:cubicBezTo>
                <a:lnTo>
                  <a:pt x="3132465" y="1875421"/>
                </a:lnTo>
                <a:lnTo>
                  <a:pt x="3144001" y="1874950"/>
                </a:lnTo>
                <a:close/>
                <a:moveTo>
                  <a:pt x="2576094" y="1865501"/>
                </a:moveTo>
                <a:cubicBezTo>
                  <a:pt x="2573776" y="1870518"/>
                  <a:pt x="2570533" y="1872330"/>
                  <a:pt x="2568216" y="1874978"/>
                </a:cubicBezTo>
                <a:cubicBezTo>
                  <a:pt x="2569606" y="1875674"/>
                  <a:pt x="2572386" y="1875257"/>
                  <a:pt x="2572386" y="1877626"/>
                </a:cubicBezTo>
                <a:cubicBezTo>
                  <a:pt x="2553386" y="1895046"/>
                  <a:pt x="2562192" y="1893652"/>
                  <a:pt x="2539948" y="1904384"/>
                </a:cubicBezTo>
                <a:cubicBezTo>
                  <a:pt x="2546436" y="1904384"/>
                  <a:pt x="2556168" y="1903130"/>
                  <a:pt x="2552924" y="1915253"/>
                </a:cubicBezTo>
                <a:cubicBezTo>
                  <a:pt x="2561265" y="1909818"/>
                  <a:pt x="2577021" y="1912328"/>
                  <a:pt x="2581653" y="1904384"/>
                </a:cubicBezTo>
                <a:cubicBezTo>
                  <a:pt x="2573776" y="1904384"/>
                  <a:pt x="2568679" y="1900342"/>
                  <a:pt x="2567289" y="1893652"/>
                </a:cubicBezTo>
                <a:cubicBezTo>
                  <a:pt x="2576557" y="1889611"/>
                  <a:pt x="2603896" y="1881807"/>
                  <a:pt x="2608994" y="1888497"/>
                </a:cubicBezTo>
                <a:cubicBezTo>
                  <a:pt x="2600654" y="1893931"/>
                  <a:pt x="2584897" y="1888218"/>
                  <a:pt x="2586288" y="1904384"/>
                </a:cubicBezTo>
                <a:cubicBezTo>
                  <a:pt x="2616871" y="1898949"/>
                  <a:pt x="2643749" y="1882921"/>
                  <a:pt x="2667846" y="1904384"/>
                </a:cubicBezTo>
                <a:cubicBezTo>
                  <a:pt x="2669235" y="1893095"/>
                  <a:pt x="2662747" y="1890587"/>
                  <a:pt x="2663675" y="1884176"/>
                </a:cubicBezTo>
                <a:cubicBezTo>
                  <a:pt x="2662747" y="1883618"/>
                  <a:pt x="2661358" y="1884594"/>
                  <a:pt x="2660894" y="1883758"/>
                </a:cubicBezTo>
                <a:cubicBezTo>
                  <a:pt x="2660894" y="1881249"/>
                  <a:pt x="2663211" y="1880134"/>
                  <a:pt x="2664602" y="1878741"/>
                </a:cubicBezTo>
                <a:cubicBezTo>
                  <a:pt x="2665064" y="1878323"/>
                  <a:pt x="2664138" y="1878183"/>
                  <a:pt x="2664602" y="1877626"/>
                </a:cubicBezTo>
                <a:cubicBezTo>
                  <a:pt x="2648383" y="1884315"/>
                  <a:pt x="2653480" y="1869681"/>
                  <a:pt x="2645138" y="1868428"/>
                </a:cubicBezTo>
                <a:cubicBezTo>
                  <a:pt x="2638188" y="1884176"/>
                  <a:pt x="2623823" y="1871912"/>
                  <a:pt x="2604823" y="1874002"/>
                </a:cubicBezTo>
                <a:cubicBezTo>
                  <a:pt x="2605751" y="1874699"/>
                  <a:pt x="2605751" y="1876372"/>
                  <a:pt x="2607605" y="1876372"/>
                </a:cubicBezTo>
                <a:cubicBezTo>
                  <a:pt x="2621505" y="1885431"/>
                  <a:pt x="2583971" y="1876372"/>
                  <a:pt x="2597873" y="1866059"/>
                </a:cubicBezTo>
                <a:cubicBezTo>
                  <a:pt x="2597873" y="1865920"/>
                  <a:pt x="2597873" y="1865641"/>
                  <a:pt x="2597409" y="1865501"/>
                </a:cubicBezTo>
                <a:close/>
                <a:moveTo>
                  <a:pt x="1385790" y="1858414"/>
                </a:moveTo>
                <a:cubicBezTo>
                  <a:pt x="1401082" y="1860085"/>
                  <a:pt x="1398302" y="1866635"/>
                  <a:pt x="1410813" y="1858414"/>
                </a:cubicBezTo>
                <a:cubicBezTo>
                  <a:pt x="1412203" y="1873185"/>
                  <a:pt x="1382547" y="1882941"/>
                  <a:pt x="1385790" y="1858414"/>
                </a:cubicBezTo>
                <a:close/>
                <a:moveTo>
                  <a:pt x="2796670" y="1857557"/>
                </a:moveTo>
                <a:cubicBezTo>
                  <a:pt x="2787400" y="1866894"/>
                  <a:pt x="2768401" y="1867034"/>
                  <a:pt x="2769792" y="1888497"/>
                </a:cubicBezTo>
                <a:cubicBezTo>
                  <a:pt x="2803156" y="1887242"/>
                  <a:pt x="2792035" y="1885570"/>
                  <a:pt x="2811497" y="1873445"/>
                </a:cubicBezTo>
                <a:cubicBezTo>
                  <a:pt x="2797131" y="1876231"/>
                  <a:pt x="2788790" y="1866894"/>
                  <a:pt x="2796670" y="1857557"/>
                </a:cubicBezTo>
                <a:close/>
                <a:moveTo>
                  <a:pt x="1506579" y="1857139"/>
                </a:moveTo>
                <a:lnTo>
                  <a:pt x="1524652" y="1857139"/>
                </a:lnTo>
                <a:cubicBezTo>
                  <a:pt x="1521408" y="1869960"/>
                  <a:pt x="1490824" y="1876372"/>
                  <a:pt x="1520018" y="1872608"/>
                </a:cubicBezTo>
                <a:cubicBezTo>
                  <a:pt x="1515384" y="1882782"/>
                  <a:pt x="1497311" y="1890447"/>
                  <a:pt x="1489434" y="1881528"/>
                </a:cubicBezTo>
                <a:cubicBezTo>
                  <a:pt x="1485263" y="1862295"/>
                  <a:pt x="1511214" y="1876372"/>
                  <a:pt x="1506579" y="1857139"/>
                </a:cubicBezTo>
                <a:close/>
                <a:moveTo>
                  <a:pt x="13657821" y="1853739"/>
                </a:moveTo>
                <a:cubicBezTo>
                  <a:pt x="13663383" y="1855411"/>
                  <a:pt x="13669408" y="1859871"/>
                  <a:pt x="13676358" y="1856526"/>
                </a:cubicBezTo>
                <a:cubicBezTo>
                  <a:pt x="13672650" y="1872553"/>
                  <a:pt x="13655043" y="1863634"/>
                  <a:pt x="13646701" y="1868233"/>
                </a:cubicBezTo>
                <a:cubicBezTo>
                  <a:pt x="13648552" y="1853321"/>
                  <a:pt x="13652725" y="1852066"/>
                  <a:pt x="13657821" y="1853739"/>
                </a:cubicBezTo>
                <a:close/>
                <a:moveTo>
                  <a:pt x="3090924" y="1853377"/>
                </a:moveTo>
                <a:cubicBezTo>
                  <a:pt x="3081193" y="1854631"/>
                  <a:pt x="3095094" y="1871076"/>
                  <a:pt x="3104826" y="1868428"/>
                </a:cubicBezTo>
                <a:lnTo>
                  <a:pt x="3098805" y="1876796"/>
                </a:lnTo>
                <a:lnTo>
                  <a:pt x="3104970" y="1876544"/>
                </a:lnTo>
                <a:lnTo>
                  <a:pt x="3104978" y="1876100"/>
                </a:lnTo>
                <a:cubicBezTo>
                  <a:pt x="3107258" y="1870501"/>
                  <a:pt x="3114556" y="1870762"/>
                  <a:pt x="3114556" y="1862713"/>
                </a:cubicBezTo>
                <a:cubicBezTo>
                  <a:pt x="3113167" y="1851983"/>
                  <a:pt x="3094167" y="1861460"/>
                  <a:pt x="3090924" y="1853377"/>
                </a:cubicBezTo>
                <a:close/>
                <a:moveTo>
                  <a:pt x="13624921" y="1850813"/>
                </a:moveTo>
                <a:cubicBezTo>
                  <a:pt x="13634190" y="1847050"/>
                  <a:pt x="13629091" y="1863912"/>
                  <a:pt x="13640213" y="1857502"/>
                </a:cubicBezTo>
                <a:cubicBezTo>
                  <a:pt x="13641603" y="1876455"/>
                  <a:pt x="13612410" y="1863494"/>
                  <a:pt x="13624921" y="1850813"/>
                </a:cubicBezTo>
                <a:close/>
                <a:moveTo>
                  <a:pt x="2053847" y="1850450"/>
                </a:moveTo>
                <a:cubicBezTo>
                  <a:pt x="2056628" y="1851007"/>
                  <a:pt x="2059408" y="1852680"/>
                  <a:pt x="2061262" y="1855328"/>
                </a:cubicBezTo>
                <a:cubicBezTo>
                  <a:pt x="2063116" y="1869125"/>
                  <a:pt x="2047823" y="1861181"/>
                  <a:pt x="2046434" y="1873445"/>
                </a:cubicBezTo>
                <a:cubicBezTo>
                  <a:pt x="2039946" y="1870379"/>
                  <a:pt x="2043190" y="1853655"/>
                  <a:pt x="2028361" y="1861320"/>
                </a:cubicBezTo>
                <a:cubicBezTo>
                  <a:pt x="2032068" y="1856721"/>
                  <a:pt x="2038092" y="1852680"/>
                  <a:pt x="2044581" y="1851007"/>
                </a:cubicBezTo>
                <a:cubicBezTo>
                  <a:pt x="2047823" y="1850172"/>
                  <a:pt x="2051069" y="1849892"/>
                  <a:pt x="2053847" y="1850450"/>
                </a:cubicBezTo>
                <a:close/>
                <a:moveTo>
                  <a:pt x="3296055" y="1849182"/>
                </a:moveTo>
                <a:cubicBezTo>
                  <a:pt x="3295107" y="1849736"/>
                  <a:pt x="3294238" y="1851007"/>
                  <a:pt x="3293427" y="1853377"/>
                </a:cubicBezTo>
                <a:lnTo>
                  <a:pt x="3293848" y="1853559"/>
                </a:lnTo>
                <a:lnTo>
                  <a:pt x="3302035" y="1850735"/>
                </a:lnTo>
                <a:lnTo>
                  <a:pt x="3299162" y="1849301"/>
                </a:lnTo>
                <a:cubicBezTo>
                  <a:pt x="3298032" y="1848795"/>
                  <a:pt x="3297004" y="1848630"/>
                  <a:pt x="3296055" y="1849182"/>
                </a:cubicBezTo>
                <a:close/>
                <a:moveTo>
                  <a:pt x="1990827" y="1847384"/>
                </a:moveTo>
                <a:cubicBezTo>
                  <a:pt x="1994070" y="1847384"/>
                  <a:pt x="1997314" y="1848916"/>
                  <a:pt x="1998241" y="1851565"/>
                </a:cubicBezTo>
                <a:cubicBezTo>
                  <a:pt x="2011679" y="1863551"/>
                  <a:pt x="1989436" y="1844598"/>
                  <a:pt x="1993144" y="1856582"/>
                </a:cubicBezTo>
                <a:cubicBezTo>
                  <a:pt x="1994533" y="1863271"/>
                  <a:pt x="2005192" y="1860485"/>
                  <a:pt x="2013533" y="1861878"/>
                </a:cubicBezTo>
                <a:cubicBezTo>
                  <a:pt x="2012143" y="1871215"/>
                  <a:pt x="2018629" y="1872608"/>
                  <a:pt x="2016776" y="1881947"/>
                </a:cubicBezTo>
                <a:cubicBezTo>
                  <a:pt x="2005192" y="1875396"/>
                  <a:pt x="1998241" y="1870240"/>
                  <a:pt x="1982949" y="1878183"/>
                </a:cubicBezTo>
                <a:cubicBezTo>
                  <a:pt x="1984339" y="1863551"/>
                  <a:pt x="1963949" y="1872608"/>
                  <a:pt x="1969047" y="1856582"/>
                </a:cubicBezTo>
                <a:cubicBezTo>
                  <a:pt x="1974144" y="1857976"/>
                  <a:pt x="1998241" y="1855467"/>
                  <a:pt x="1982949" y="1851565"/>
                </a:cubicBezTo>
                <a:cubicBezTo>
                  <a:pt x="1983876" y="1848916"/>
                  <a:pt x="1987119" y="1847384"/>
                  <a:pt x="1990827" y="1847384"/>
                </a:cubicBezTo>
                <a:close/>
                <a:moveTo>
                  <a:pt x="13585533" y="1847189"/>
                </a:moveTo>
                <a:cubicBezTo>
                  <a:pt x="13590166" y="1849697"/>
                  <a:pt x="13585533" y="1854715"/>
                  <a:pt x="13585533" y="1858478"/>
                </a:cubicBezTo>
                <a:cubicBezTo>
                  <a:pt x="13598044" y="1863494"/>
                  <a:pt x="13591558" y="1848304"/>
                  <a:pt x="13600825" y="1849558"/>
                </a:cubicBezTo>
                <a:cubicBezTo>
                  <a:pt x="13599435" y="1855830"/>
                  <a:pt x="13604069" y="1856944"/>
                  <a:pt x="13607313" y="1856944"/>
                </a:cubicBezTo>
                <a:cubicBezTo>
                  <a:pt x="13605922" y="1871995"/>
                  <a:pt x="13585069" y="1868651"/>
                  <a:pt x="13572558" y="1867397"/>
                </a:cubicBezTo>
                <a:cubicBezTo>
                  <a:pt x="13550778" y="1866143"/>
                  <a:pt x="13525756" y="1858199"/>
                  <a:pt x="13513242" y="1856944"/>
                </a:cubicBezTo>
                <a:cubicBezTo>
                  <a:pt x="13535486" y="1849558"/>
                  <a:pt x="13568388" y="1862101"/>
                  <a:pt x="13585533" y="1847189"/>
                </a:cubicBezTo>
                <a:close/>
                <a:moveTo>
                  <a:pt x="2938930" y="1846826"/>
                </a:moveTo>
                <a:cubicBezTo>
                  <a:pt x="2938930" y="1861599"/>
                  <a:pt x="2950515" y="1862713"/>
                  <a:pt x="2963028" y="1862713"/>
                </a:cubicBezTo>
                <a:lnTo>
                  <a:pt x="2958506" y="1871597"/>
                </a:lnTo>
                <a:lnTo>
                  <a:pt x="2965037" y="1869701"/>
                </a:lnTo>
                <a:lnTo>
                  <a:pt x="2983221" y="1872766"/>
                </a:lnTo>
                <a:lnTo>
                  <a:pt x="2985451" y="1871868"/>
                </a:lnTo>
                <a:cubicBezTo>
                  <a:pt x="2992134" y="1869952"/>
                  <a:pt x="2999404" y="1868707"/>
                  <a:pt x="3007513" y="1868428"/>
                </a:cubicBezTo>
                <a:lnTo>
                  <a:pt x="3007513" y="1876860"/>
                </a:lnTo>
                <a:lnTo>
                  <a:pt x="3019595" y="1878897"/>
                </a:lnTo>
                <a:lnTo>
                  <a:pt x="3067393" y="1877730"/>
                </a:lnTo>
                <a:lnTo>
                  <a:pt x="3060382" y="1865583"/>
                </a:lnTo>
                <a:cubicBezTo>
                  <a:pt x="3035332" y="1841583"/>
                  <a:pt x="2966909" y="1866825"/>
                  <a:pt x="2938930" y="1846826"/>
                </a:cubicBezTo>
                <a:close/>
                <a:moveTo>
                  <a:pt x="2914356" y="1846683"/>
                </a:moveTo>
                <a:cubicBezTo>
                  <a:pt x="2897978" y="1846774"/>
                  <a:pt x="2883555" y="1848709"/>
                  <a:pt x="2880081" y="1862713"/>
                </a:cubicBezTo>
                <a:cubicBezTo>
                  <a:pt x="2894444" y="1854770"/>
                  <a:pt x="2924566" y="1865641"/>
                  <a:pt x="2931054" y="1846826"/>
                </a:cubicBezTo>
                <a:cubicBezTo>
                  <a:pt x="2925492" y="1846826"/>
                  <a:pt x="2919817" y="1846653"/>
                  <a:pt x="2914356" y="1846683"/>
                </a:cubicBezTo>
                <a:close/>
                <a:moveTo>
                  <a:pt x="2590457" y="1845015"/>
                </a:moveTo>
                <a:cubicBezTo>
                  <a:pt x="2593238" y="1848360"/>
                  <a:pt x="2594628" y="1853097"/>
                  <a:pt x="2596482" y="1857139"/>
                </a:cubicBezTo>
                <a:cubicBezTo>
                  <a:pt x="2596020" y="1853794"/>
                  <a:pt x="2596020" y="1850868"/>
                  <a:pt x="2599262" y="1846826"/>
                </a:cubicBezTo>
                <a:cubicBezTo>
                  <a:pt x="2594628" y="1848220"/>
                  <a:pt x="2592775" y="1846269"/>
                  <a:pt x="2590457" y="1845015"/>
                </a:cubicBezTo>
                <a:close/>
                <a:moveTo>
                  <a:pt x="2562192" y="1841113"/>
                </a:moveTo>
                <a:cubicBezTo>
                  <a:pt x="2557556" y="1847384"/>
                  <a:pt x="2558021" y="1851704"/>
                  <a:pt x="2558021" y="1855328"/>
                </a:cubicBezTo>
                <a:cubicBezTo>
                  <a:pt x="2570069" y="1856304"/>
                  <a:pt x="2581653" y="1856024"/>
                  <a:pt x="2589532" y="1845015"/>
                </a:cubicBezTo>
                <a:cubicBezTo>
                  <a:pt x="2586288" y="1842645"/>
                  <a:pt x="2583508" y="1839579"/>
                  <a:pt x="2577021" y="1841113"/>
                </a:cubicBezTo>
                <a:cubicBezTo>
                  <a:pt x="2577021" y="1863968"/>
                  <a:pt x="2568679" y="1841113"/>
                  <a:pt x="2562192" y="1841113"/>
                </a:cubicBezTo>
                <a:close/>
                <a:moveTo>
                  <a:pt x="1582269" y="1840435"/>
                </a:moveTo>
                <a:cubicBezTo>
                  <a:pt x="1585513" y="1840296"/>
                  <a:pt x="1588757" y="1840714"/>
                  <a:pt x="1592464" y="1841550"/>
                </a:cubicBezTo>
                <a:cubicBezTo>
                  <a:pt x="1599878" y="1843222"/>
                  <a:pt x="1607755" y="1846985"/>
                  <a:pt x="1613317" y="1850051"/>
                </a:cubicBezTo>
                <a:cubicBezTo>
                  <a:pt x="1615171" y="1865381"/>
                  <a:pt x="1577172" y="1860225"/>
                  <a:pt x="1575781" y="1843362"/>
                </a:cubicBezTo>
                <a:cubicBezTo>
                  <a:pt x="1577172" y="1841411"/>
                  <a:pt x="1579489" y="1840714"/>
                  <a:pt x="1582269" y="1840435"/>
                </a:cubicBezTo>
                <a:close/>
                <a:moveTo>
                  <a:pt x="3224383" y="1837489"/>
                </a:moveTo>
                <a:cubicBezTo>
                  <a:pt x="3227625" y="1857697"/>
                  <a:pt x="3251722" y="1860066"/>
                  <a:pt x="3266086" y="1853377"/>
                </a:cubicBezTo>
                <a:lnTo>
                  <a:pt x="3262538" y="1858417"/>
                </a:lnTo>
                <a:lnTo>
                  <a:pt x="3261088" y="1863448"/>
                </a:lnTo>
                <a:lnTo>
                  <a:pt x="3259184" y="1868406"/>
                </a:lnTo>
                <a:lnTo>
                  <a:pt x="3259601" y="1869925"/>
                </a:lnTo>
                <a:lnTo>
                  <a:pt x="3268596" y="1865471"/>
                </a:lnTo>
                <a:lnTo>
                  <a:pt x="3271127" y="1863359"/>
                </a:lnTo>
                <a:lnTo>
                  <a:pt x="3271976" y="1863796"/>
                </a:lnTo>
                <a:lnTo>
                  <a:pt x="3287487" y="1856114"/>
                </a:lnTo>
                <a:lnTo>
                  <a:pt x="3288329" y="1853377"/>
                </a:lnTo>
                <a:cubicBezTo>
                  <a:pt x="3267477" y="1842645"/>
                  <a:pt x="3243844" y="1844318"/>
                  <a:pt x="3224383" y="1837489"/>
                </a:cubicBezTo>
                <a:close/>
                <a:moveTo>
                  <a:pt x="1628146" y="1834025"/>
                </a:moveTo>
                <a:cubicBezTo>
                  <a:pt x="1630926" y="1833607"/>
                  <a:pt x="1633706" y="1833607"/>
                  <a:pt x="1636486" y="1834442"/>
                </a:cubicBezTo>
                <a:cubicBezTo>
                  <a:pt x="1639731" y="1835557"/>
                  <a:pt x="1643437" y="1838066"/>
                  <a:pt x="1644827" y="1842386"/>
                </a:cubicBezTo>
                <a:cubicBezTo>
                  <a:pt x="1636486" y="1853396"/>
                  <a:pt x="1628146" y="1846567"/>
                  <a:pt x="1613317" y="1846567"/>
                </a:cubicBezTo>
                <a:cubicBezTo>
                  <a:pt x="1611462" y="1841689"/>
                  <a:pt x="1619341" y="1835557"/>
                  <a:pt x="1628146" y="1834025"/>
                </a:cubicBezTo>
                <a:close/>
                <a:moveTo>
                  <a:pt x="1353353" y="1826638"/>
                </a:moveTo>
                <a:lnTo>
                  <a:pt x="1386253" y="1826638"/>
                </a:lnTo>
                <a:cubicBezTo>
                  <a:pt x="1392740" y="1846567"/>
                  <a:pt x="1348255" y="1846567"/>
                  <a:pt x="1353353" y="1826638"/>
                </a:cubicBezTo>
                <a:close/>
                <a:moveTo>
                  <a:pt x="2430802" y="1824269"/>
                </a:moveTo>
                <a:lnTo>
                  <a:pt x="2419812" y="1828987"/>
                </a:lnTo>
                <a:lnTo>
                  <a:pt x="2420103" y="1829012"/>
                </a:lnTo>
                <a:lnTo>
                  <a:pt x="2444138" y="1827646"/>
                </a:lnTo>
                <a:close/>
                <a:moveTo>
                  <a:pt x="1887490" y="1823972"/>
                </a:moveTo>
                <a:cubicBezTo>
                  <a:pt x="1884246" y="1839998"/>
                  <a:pt x="1899537" y="1834563"/>
                  <a:pt x="1896758" y="1850589"/>
                </a:cubicBezTo>
                <a:cubicBezTo>
                  <a:pt x="1887026" y="1849335"/>
                  <a:pt x="1882855" y="1851983"/>
                  <a:pt x="1882855" y="1861320"/>
                </a:cubicBezTo>
                <a:cubicBezTo>
                  <a:pt x="1876368" y="1854631"/>
                  <a:pt x="1876368" y="1839720"/>
                  <a:pt x="1865246" y="1839720"/>
                </a:cubicBezTo>
                <a:cubicBezTo>
                  <a:pt x="1868490" y="1828989"/>
                  <a:pt x="1876368" y="1826619"/>
                  <a:pt x="1887490" y="1823972"/>
                </a:cubicBezTo>
                <a:close/>
                <a:moveTo>
                  <a:pt x="1564196" y="1823433"/>
                </a:moveTo>
                <a:lnTo>
                  <a:pt x="1595244" y="1823433"/>
                </a:lnTo>
                <a:cubicBezTo>
                  <a:pt x="1592000" y="1845174"/>
                  <a:pt x="1570684" y="1831098"/>
                  <a:pt x="1564196" y="1838763"/>
                </a:cubicBezTo>
                <a:cubicBezTo>
                  <a:pt x="1567441" y="1843920"/>
                  <a:pt x="1573927" y="1844059"/>
                  <a:pt x="1573927" y="1854232"/>
                </a:cubicBezTo>
                <a:cubicBezTo>
                  <a:pt x="1544735" y="1844059"/>
                  <a:pt x="1515077" y="1856601"/>
                  <a:pt x="1501175" y="1848936"/>
                </a:cubicBezTo>
                <a:cubicBezTo>
                  <a:pt x="1515077" y="1824688"/>
                  <a:pt x="1553539" y="1852838"/>
                  <a:pt x="1564196" y="1823433"/>
                </a:cubicBezTo>
                <a:close/>
                <a:moveTo>
                  <a:pt x="2492838" y="1820507"/>
                </a:moveTo>
                <a:cubicBezTo>
                  <a:pt x="2484034" y="1819183"/>
                  <a:pt x="2483107" y="1821064"/>
                  <a:pt x="2482992" y="1823451"/>
                </a:cubicBezTo>
                <a:lnTo>
                  <a:pt x="2481082" y="1825742"/>
                </a:lnTo>
                <a:lnTo>
                  <a:pt x="2495236" y="1825116"/>
                </a:lnTo>
                <a:close/>
                <a:moveTo>
                  <a:pt x="3283695" y="1817421"/>
                </a:moveTo>
                <a:cubicBezTo>
                  <a:pt x="3270720" y="1817421"/>
                  <a:pt x="3256356" y="1815889"/>
                  <a:pt x="3256356" y="1831915"/>
                </a:cubicBezTo>
                <a:cubicBezTo>
                  <a:pt x="3272112" y="1825226"/>
                  <a:pt x="3280453" y="1834702"/>
                  <a:pt x="3288329" y="1826619"/>
                </a:cubicBezTo>
                <a:cubicBezTo>
                  <a:pt x="3285086" y="1826619"/>
                  <a:pt x="3283695" y="1822717"/>
                  <a:pt x="3283695" y="1817421"/>
                </a:cubicBezTo>
                <a:close/>
                <a:moveTo>
                  <a:pt x="3326328" y="1814495"/>
                </a:moveTo>
                <a:cubicBezTo>
                  <a:pt x="3324938" y="1815889"/>
                  <a:pt x="3323547" y="1817421"/>
                  <a:pt x="3320304" y="1817421"/>
                </a:cubicBezTo>
                <a:cubicBezTo>
                  <a:pt x="3318913" y="1825504"/>
                  <a:pt x="3326791" y="1830521"/>
                  <a:pt x="3320304" y="1831915"/>
                </a:cubicBezTo>
                <a:cubicBezTo>
                  <a:pt x="3312426" y="1823833"/>
                  <a:pt x="3315670" y="1833309"/>
                  <a:pt x="3302695" y="1831915"/>
                </a:cubicBezTo>
                <a:cubicBezTo>
                  <a:pt x="3301304" y="1827873"/>
                  <a:pt x="3302695" y="1822439"/>
                  <a:pt x="3298061" y="1821044"/>
                </a:cubicBezTo>
                <a:cubicBezTo>
                  <a:pt x="3293195" y="1837141"/>
                  <a:pt x="3303448" y="1835913"/>
                  <a:pt x="3306923" y="1842818"/>
                </a:cubicBezTo>
                <a:lnTo>
                  <a:pt x="3307160" y="1848966"/>
                </a:lnTo>
                <a:lnTo>
                  <a:pt x="3319835" y="1844593"/>
                </a:lnTo>
                <a:lnTo>
                  <a:pt x="3319724" y="1841218"/>
                </a:lnTo>
                <a:cubicBezTo>
                  <a:pt x="3322621" y="1837873"/>
                  <a:pt x="3328876" y="1836863"/>
                  <a:pt x="3339303" y="1837489"/>
                </a:cubicBezTo>
                <a:cubicBezTo>
                  <a:pt x="3337450" y="1836236"/>
                  <a:pt x="3337913" y="1833309"/>
                  <a:pt x="3337913" y="1831915"/>
                </a:cubicBezTo>
                <a:cubicBezTo>
                  <a:pt x="3336059" y="1831915"/>
                  <a:pt x="3332815" y="1831776"/>
                  <a:pt x="3329571" y="1830521"/>
                </a:cubicBezTo>
                <a:cubicBezTo>
                  <a:pt x="3318449" y="1826480"/>
                  <a:pt x="3331426" y="1825365"/>
                  <a:pt x="3339303" y="1825365"/>
                </a:cubicBezTo>
                <a:cubicBezTo>
                  <a:pt x="3339303" y="1822717"/>
                  <a:pt x="3339303" y="1821044"/>
                  <a:pt x="3341156" y="1819791"/>
                </a:cubicBezTo>
                <a:cubicBezTo>
                  <a:pt x="3337913" y="1815749"/>
                  <a:pt x="3332815" y="1814495"/>
                  <a:pt x="3326328" y="1814495"/>
                </a:cubicBezTo>
                <a:close/>
                <a:moveTo>
                  <a:pt x="2470596" y="1813957"/>
                </a:moveTo>
                <a:cubicBezTo>
                  <a:pt x="2468278" y="1820368"/>
                  <a:pt x="2467468" y="1822911"/>
                  <a:pt x="2465672" y="1824321"/>
                </a:cubicBezTo>
                <a:lnTo>
                  <a:pt x="2457973" y="1826860"/>
                </a:lnTo>
                <a:lnTo>
                  <a:pt x="2465574" y="1826428"/>
                </a:lnTo>
                <a:lnTo>
                  <a:pt x="2472598" y="1826117"/>
                </a:lnTo>
                <a:lnTo>
                  <a:pt x="2472739" y="1824566"/>
                </a:lnTo>
                <a:cubicBezTo>
                  <a:pt x="2473840" y="1821030"/>
                  <a:pt x="2475462" y="1816535"/>
                  <a:pt x="2470596" y="1813957"/>
                </a:cubicBezTo>
                <a:close/>
                <a:moveTo>
                  <a:pt x="1693947" y="1813957"/>
                </a:moveTo>
                <a:cubicBezTo>
                  <a:pt x="1693947" y="1827196"/>
                  <a:pt x="1677729" y="1824688"/>
                  <a:pt x="1679581" y="1839181"/>
                </a:cubicBezTo>
                <a:cubicBezTo>
                  <a:pt x="1686070" y="1845731"/>
                  <a:pt x="1693947" y="1842804"/>
                  <a:pt x="1697190" y="1833607"/>
                </a:cubicBezTo>
                <a:cubicBezTo>
                  <a:pt x="1680972" y="1832214"/>
                  <a:pt x="1710166" y="1815211"/>
                  <a:pt x="1693947" y="1813957"/>
                </a:cubicBezTo>
                <a:close/>
                <a:moveTo>
                  <a:pt x="2412252" y="1813029"/>
                </a:moveTo>
                <a:cubicBezTo>
                  <a:pt x="2409602" y="1813582"/>
                  <a:pt x="2406474" y="1815019"/>
                  <a:pt x="2403403" y="1816013"/>
                </a:cubicBezTo>
                <a:lnTo>
                  <a:pt x="2397265" y="1816242"/>
                </a:lnTo>
                <a:lnTo>
                  <a:pt x="2379150" y="1825365"/>
                </a:lnTo>
                <a:lnTo>
                  <a:pt x="2407268" y="1827870"/>
                </a:lnTo>
                <a:lnTo>
                  <a:pt x="2404330" y="1820507"/>
                </a:lnTo>
                <a:cubicBezTo>
                  <a:pt x="2415451" y="1825663"/>
                  <a:pt x="2408965" y="1817998"/>
                  <a:pt x="2418232" y="1815350"/>
                </a:cubicBezTo>
                <a:cubicBezTo>
                  <a:pt x="2417074" y="1812807"/>
                  <a:pt x="2414902" y="1812476"/>
                  <a:pt x="2412252" y="1813029"/>
                </a:cubicBezTo>
                <a:close/>
                <a:moveTo>
                  <a:pt x="2731330" y="1812126"/>
                </a:moveTo>
                <a:cubicBezTo>
                  <a:pt x="2720208" y="1814774"/>
                  <a:pt x="2710942" y="1833029"/>
                  <a:pt x="2701209" y="1836096"/>
                </a:cubicBezTo>
                <a:cubicBezTo>
                  <a:pt x="2741061" y="1850868"/>
                  <a:pt x="2781377" y="1834702"/>
                  <a:pt x="2829106" y="1836096"/>
                </a:cubicBezTo>
                <a:cubicBezTo>
                  <a:pt x="2819375" y="1822717"/>
                  <a:pt x="2797131" y="1831776"/>
                  <a:pt x="2782768" y="1821044"/>
                </a:cubicBezTo>
                <a:cubicBezTo>
                  <a:pt x="2781377" y="1829128"/>
                  <a:pt x="2768401" y="1825365"/>
                  <a:pt x="2769792" y="1836096"/>
                </a:cubicBezTo>
                <a:cubicBezTo>
                  <a:pt x="2755427" y="1833447"/>
                  <a:pt x="2749402" y="1821323"/>
                  <a:pt x="2728549" y="1825365"/>
                </a:cubicBezTo>
                <a:cubicBezTo>
                  <a:pt x="2730403" y="1818676"/>
                  <a:pt x="2741061" y="1823972"/>
                  <a:pt x="2742453" y="1816028"/>
                </a:cubicBezTo>
                <a:cubicBezTo>
                  <a:pt x="2738745" y="1812265"/>
                  <a:pt x="2735037" y="1811290"/>
                  <a:pt x="2731330" y="1812126"/>
                </a:cubicBezTo>
                <a:close/>
                <a:moveTo>
                  <a:pt x="1442324" y="1806849"/>
                </a:moveTo>
                <a:cubicBezTo>
                  <a:pt x="1437227" y="1833188"/>
                  <a:pt x="1432129" y="1822179"/>
                  <a:pt x="1442324" y="1845731"/>
                </a:cubicBezTo>
                <a:cubicBezTo>
                  <a:pt x="1427032" y="1845731"/>
                  <a:pt x="1428423" y="1856880"/>
                  <a:pt x="1402936" y="1855487"/>
                </a:cubicBezTo>
                <a:cubicBezTo>
                  <a:pt x="1408033" y="1823712"/>
                  <a:pt x="1387643" y="1848518"/>
                  <a:pt x="1387643" y="1818138"/>
                </a:cubicBezTo>
                <a:cubicBezTo>
                  <a:pt x="1414984" y="1831934"/>
                  <a:pt x="1414984" y="1806849"/>
                  <a:pt x="1442324" y="1806849"/>
                </a:cubicBezTo>
                <a:close/>
                <a:moveTo>
                  <a:pt x="3334669" y="1806551"/>
                </a:moveTo>
                <a:cubicBezTo>
                  <a:pt x="3334669" y="1807805"/>
                  <a:pt x="3332815" y="1809060"/>
                  <a:pt x="3331426" y="1810313"/>
                </a:cubicBezTo>
                <a:cubicBezTo>
                  <a:pt x="3334207" y="1810313"/>
                  <a:pt x="3337913" y="1810313"/>
                  <a:pt x="3341156" y="1810313"/>
                </a:cubicBezTo>
                <a:cubicBezTo>
                  <a:pt x="3339303" y="1807666"/>
                  <a:pt x="3337913" y="1807805"/>
                  <a:pt x="3334669" y="1806551"/>
                </a:cubicBezTo>
                <a:close/>
                <a:moveTo>
                  <a:pt x="2426031" y="1805501"/>
                </a:moveTo>
                <a:lnTo>
                  <a:pt x="2424691" y="1805869"/>
                </a:lnTo>
                <a:lnTo>
                  <a:pt x="2426342" y="1814323"/>
                </a:lnTo>
                <a:cubicBezTo>
                  <a:pt x="2431902" y="1815420"/>
                  <a:pt x="2440243" y="1814445"/>
                  <a:pt x="2445109" y="1812563"/>
                </a:cubicBezTo>
                <a:cubicBezTo>
                  <a:pt x="2445109" y="1817650"/>
                  <a:pt x="2446268" y="1819566"/>
                  <a:pt x="2446847" y="1821169"/>
                </a:cubicBezTo>
                <a:lnTo>
                  <a:pt x="2445189" y="1827587"/>
                </a:lnTo>
                <a:lnTo>
                  <a:pt x="2454947" y="1827032"/>
                </a:lnTo>
                <a:lnTo>
                  <a:pt x="2456115" y="1817580"/>
                </a:lnTo>
                <a:cubicBezTo>
                  <a:pt x="2457042" y="1814654"/>
                  <a:pt x="2458548" y="1812354"/>
                  <a:pt x="2460865" y="1811030"/>
                </a:cubicBezTo>
                <a:cubicBezTo>
                  <a:pt x="2453914" y="1804340"/>
                  <a:pt x="2440446" y="1813643"/>
                  <a:pt x="2431410" y="1811128"/>
                </a:cubicBezTo>
                <a:close/>
                <a:moveTo>
                  <a:pt x="197184" y="1805038"/>
                </a:moveTo>
                <a:cubicBezTo>
                  <a:pt x="197184" y="1837370"/>
                  <a:pt x="127676" y="1806710"/>
                  <a:pt x="179575" y="1811588"/>
                </a:cubicBezTo>
                <a:cubicBezTo>
                  <a:pt x="182819" y="1806710"/>
                  <a:pt x="189307" y="1805038"/>
                  <a:pt x="197184" y="1805038"/>
                </a:cubicBezTo>
                <a:close/>
                <a:moveTo>
                  <a:pt x="2383709" y="1801641"/>
                </a:moveTo>
                <a:lnTo>
                  <a:pt x="2380092" y="1802094"/>
                </a:lnTo>
                <a:lnTo>
                  <a:pt x="2384661" y="1804267"/>
                </a:lnTo>
                <a:lnTo>
                  <a:pt x="2392278" y="1802137"/>
                </a:lnTo>
                <a:close/>
                <a:moveTo>
                  <a:pt x="2475660" y="1798321"/>
                </a:moveTo>
                <a:lnTo>
                  <a:pt x="2452338" y="1800386"/>
                </a:lnTo>
                <a:lnTo>
                  <a:pt x="2461118" y="1801939"/>
                </a:lnTo>
                <a:cubicBezTo>
                  <a:pt x="2474650" y="1805969"/>
                  <a:pt x="2487393" y="1811588"/>
                  <a:pt x="2498862" y="1818974"/>
                </a:cubicBezTo>
                <a:cubicBezTo>
                  <a:pt x="2503496" y="1813887"/>
                  <a:pt x="2507088" y="1812598"/>
                  <a:pt x="2511490" y="1812423"/>
                </a:cubicBezTo>
                <a:lnTo>
                  <a:pt x="2523026" y="1812516"/>
                </a:lnTo>
                <a:lnTo>
                  <a:pt x="2518560" y="1807962"/>
                </a:lnTo>
                <a:cubicBezTo>
                  <a:pt x="2517213" y="1805898"/>
                  <a:pt x="2516315" y="1803276"/>
                  <a:pt x="2516315" y="1799583"/>
                </a:cubicBezTo>
                <a:cubicBezTo>
                  <a:pt x="2501486" y="1798573"/>
                  <a:pt x="2488077" y="1798085"/>
                  <a:pt x="2475660" y="1798321"/>
                </a:cubicBezTo>
                <a:close/>
                <a:moveTo>
                  <a:pt x="1738897" y="1797930"/>
                </a:moveTo>
                <a:cubicBezTo>
                  <a:pt x="1738897" y="1803226"/>
                  <a:pt x="1734262" y="1801972"/>
                  <a:pt x="1731019" y="1803226"/>
                </a:cubicBezTo>
                <a:cubicBezTo>
                  <a:pt x="1727774" y="1815071"/>
                  <a:pt x="1738897" y="1813957"/>
                  <a:pt x="1734262" y="1828450"/>
                </a:cubicBezTo>
                <a:cubicBezTo>
                  <a:pt x="1724531" y="1815211"/>
                  <a:pt x="1721288" y="1813678"/>
                  <a:pt x="1701825" y="1818974"/>
                </a:cubicBezTo>
                <a:cubicBezTo>
                  <a:pt x="1701825" y="1832214"/>
                  <a:pt x="1703679" y="1840435"/>
                  <a:pt x="1716190" y="1839181"/>
                </a:cubicBezTo>
                <a:cubicBezTo>
                  <a:pt x="1722677" y="1837788"/>
                  <a:pt x="1716654" y="1829844"/>
                  <a:pt x="1712019" y="1828450"/>
                </a:cubicBezTo>
                <a:cubicBezTo>
                  <a:pt x="1729628" y="1819252"/>
                  <a:pt x="1745847" y="1852282"/>
                  <a:pt x="1768554" y="1828450"/>
                </a:cubicBezTo>
                <a:cubicBezTo>
                  <a:pt x="1768554" y="1841689"/>
                  <a:pt x="1739359" y="1855904"/>
                  <a:pt x="1768554" y="1854650"/>
                </a:cubicBezTo>
                <a:cubicBezTo>
                  <a:pt x="1752335" y="1867751"/>
                  <a:pt x="1708313" y="1873464"/>
                  <a:pt x="1688849" y="1865520"/>
                </a:cubicBezTo>
                <a:cubicBezTo>
                  <a:pt x="1688849" y="1853535"/>
                  <a:pt x="1700434" y="1853257"/>
                  <a:pt x="1712019" y="1854650"/>
                </a:cubicBezTo>
                <a:cubicBezTo>
                  <a:pt x="1702288" y="1838763"/>
                  <a:pt x="1687460" y="1861200"/>
                  <a:pt x="1669388" y="1854650"/>
                </a:cubicBezTo>
                <a:cubicBezTo>
                  <a:pt x="1693947" y="1817580"/>
                  <a:pt x="1623048" y="1840296"/>
                  <a:pt x="1604975" y="1828450"/>
                </a:cubicBezTo>
                <a:cubicBezTo>
                  <a:pt x="1606828" y="1828450"/>
                  <a:pt x="1616097" y="1806014"/>
                  <a:pt x="1612853" y="1806014"/>
                </a:cubicBezTo>
                <a:cubicBezTo>
                  <a:pt x="1642047" y="1786084"/>
                  <a:pt x="1693484" y="1813817"/>
                  <a:pt x="1738897" y="1797930"/>
                </a:cubicBezTo>
                <a:close/>
                <a:moveTo>
                  <a:pt x="2222680" y="1794725"/>
                </a:moveTo>
                <a:lnTo>
                  <a:pt x="2222449" y="1794992"/>
                </a:lnTo>
                <a:lnTo>
                  <a:pt x="2222698" y="1794964"/>
                </a:lnTo>
                <a:close/>
                <a:moveTo>
                  <a:pt x="12872833" y="1789075"/>
                </a:moveTo>
                <a:cubicBezTo>
                  <a:pt x="12878392" y="1791863"/>
                  <a:pt x="12878392" y="1798552"/>
                  <a:pt x="12885807" y="1797158"/>
                </a:cubicBezTo>
                <a:cubicBezTo>
                  <a:pt x="12887660" y="1802593"/>
                  <a:pt x="12882100" y="1804266"/>
                  <a:pt x="12882100" y="1809840"/>
                </a:cubicBezTo>
                <a:cubicBezTo>
                  <a:pt x="12874223" y="1807053"/>
                  <a:pt x="12869126" y="1796044"/>
                  <a:pt x="12872833" y="1789075"/>
                </a:cubicBezTo>
                <a:close/>
                <a:moveTo>
                  <a:pt x="898878" y="1788105"/>
                </a:moveTo>
                <a:cubicBezTo>
                  <a:pt x="903166" y="1788593"/>
                  <a:pt x="906640" y="1789499"/>
                  <a:pt x="908494" y="1790544"/>
                </a:cubicBezTo>
                <a:cubicBezTo>
                  <a:pt x="906640" y="1809080"/>
                  <a:pt x="879300" y="1800299"/>
                  <a:pt x="864008" y="1801833"/>
                </a:cubicBezTo>
                <a:cubicBezTo>
                  <a:pt x="864935" y="1793191"/>
                  <a:pt x="874667" y="1789430"/>
                  <a:pt x="884398" y="1788174"/>
                </a:cubicBezTo>
                <a:cubicBezTo>
                  <a:pt x="889495" y="1787548"/>
                  <a:pt x="894593" y="1787617"/>
                  <a:pt x="898878" y="1788105"/>
                </a:cubicBezTo>
                <a:close/>
                <a:moveTo>
                  <a:pt x="3012147" y="1787876"/>
                </a:moveTo>
                <a:lnTo>
                  <a:pt x="3030218" y="1787876"/>
                </a:lnTo>
                <a:lnTo>
                  <a:pt x="3030218" y="1804321"/>
                </a:lnTo>
                <a:cubicBezTo>
                  <a:pt x="3021414" y="1801534"/>
                  <a:pt x="3010757" y="1801673"/>
                  <a:pt x="3012147" y="1787876"/>
                </a:cubicBezTo>
                <a:close/>
                <a:moveTo>
                  <a:pt x="3513695" y="1786363"/>
                </a:moveTo>
                <a:cubicBezTo>
                  <a:pt x="3512768" y="1786084"/>
                  <a:pt x="3511378" y="1787478"/>
                  <a:pt x="3510451" y="1791101"/>
                </a:cubicBezTo>
                <a:cubicBezTo>
                  <a:pt x="3507671" y="1792216"/>
                  <a:pt x="3507671" y="1790126"/>
                  <a:pt x="3507671" y="1788732"/>
                </a:cubicBezTo>
                <a:cubicBezTo>
                  <a:pt x="3506745" y="1790126"/>
                  <a:pt x="3505354" y="1790683"/>
                  <a:pt x="3505818" y="1792913"/>
                </a:cubicBezTo>
                <a:cubicBezTo>
                  <a:pt x="3507208" y="1791938"/>
                  <a:pt x="3508597" y="1791798"/>
                  <a:pt x="3510451" y="1791101"/>
                </a:cubicBezTo>
                <a:cubicBezTo>
                  <a:pt x="3512304" y="1790126"/>
                  <a:pt x="3514159" y="1789430"/>
                  <a:pt x="3516012" y="1788732"/>
                </a:cubicBezTo>
                <a:cubicBezTo>
                  <a:pt x="3515085" y="1787617"/>
                  <a:pt x="3514159" y="1786503"/>
                  <a:pt x="3513695" y="1786363"/>
                </a:cubicBezTo>
                <a:close/>
                <a:moveTo>
                  <a:pt x="924249" y="1781067"/>
                </a:moveTo>
                <a:cubicBezTo>
                  <a:pt x="927494" y="1779673"/>
                  <a:pt x="931663" y="1779673"/>
                  <a:pt x="936298" y="1781625"/>
                </a:cubicBezTo>
                <a:cubicBezTo>
                  <a:pt x="938152" y="1797651"/>
                  <a:pt x="922396" y="1794864"/>
                  <a:pt x="920543" y="1806849"/>
                </a:cubicBezTo>
                <a:cubicBezTo>
                  <a:pt x="911275" y="1801833"/>
                  <a:pt x="914518" y="1785527"/>
                  <a:pt x="924249" y="1781067"/>
                </a:cubicBezTo>
                <a:close/>
                <a:moveTo>
                  <a:pt x="3422870" y="1780231"/>
                </a:moveTo>
                <a:cubicBezTo>
                  <a:pt x="3424261" y="1786920"/>
                  <a:pt x="3429357" y="1790962"/>
                  <a:pt x="3434455" y="1794725"/>
                </a:cubicBezTo>
                <a:cubicBezTo>
                  <a:pt x="3438161" y="1794028"/>
                  <a:pt x="3441870" y="1793470"/>
                  <a:pt x="3445113" y="1792355"/>
                </a:cubicBezTo>
                <a:cubicBezTo>
                  <a:pt x="3438625" y="1787617"/>
                  <a:pt x="3432601" y="1782600"/>
                  <a:pt x="3422870" y="1780231"/>
                </a:cubicBezTo>
                <a:close/>
                <a:moveTo>
                  <a:pt x="1459007" y="1779814"/>
                </a:moveTo>
                <a:cubicBezTo>
                  <a:pt x="1468275" y="1777723"/>
                  <a:pt x="1479859" y="1786363"/>
                  <a:pt x="1474299" y="1800299"/>
                </a:cubicBezTo>
                <a:cubicBezTo>
                  <a:pt x="1493297" y="1785666"/>
                  <a:pt x="1510443" y="1807128"/>
                  <a:pt x="1539173" y="1791101"/>
                </a:cubicBezTo>
                <a:cubicBezTo>
                  <a:pt x="1537319" y="1784412"/>
                  <a:pt x="1529443" y="1785527"/>
                  <a:pt x="1524808" y="1785527"/>
                </a:cubicBezTo>
                <a:cubicBezTo>
                  <a:pt x="1537319" y="1769360"/>
                  <a:pt x="1548442" y="1799044"/>
                  <a:pt x="1570684" y="1791101"/>
                </a:cubicBezTo>
                <a:cubicBezTo>
                  <a:pt x="1554466" y="1805734"/>
                  <a:pt x="1531296" y="1812423"/>
                  <a:pt x="1502565" y="1811030"/>
                </a:cubicBezTo>
                <a:cubicBezTo>
                  <a:pt x="1504419" y="1828450"/>
                  <a:pt x="1527590" y="1819252"/>
                  <a:pt x="1541954" y="1821901"/>
                </a:cubicBezTo>
                <a:cubicBezTo>
                  <a:pt x="1540564" y="1834025"/>
                  <a:pt x="1483566" y="1827196"/>
                  <a:pt x="1474299" y="1848657"/>
                </a:cubicBezTo>
                <a:cubicBezTo>
                  <a:pt x="1469200" y="1837927"/>
                  <a:pt x="1488199" y="1830959"/>
                  <a:pt x="1474299" y="1827057"/>
                </a:cubicBezTo>
                <a:cubicBezTo>
                  <a:pt x="1474299" y="1816326"/>
                  <a:pt x="1490053" y="1824548"/>
                  <a:pt x="1497932" y="1821901"/>
                </a:cubicBezTo>
                <a:cubicBezTo>
                  <a:pt x="1491444" y="1801833"/>
                  <a:pt x="1474299" y="1824409"/>
                  <a:pt x="1461323" y="1811030"/>
                </a:cubicBezTo>
                <a:cubicBezTo>
                  <a:pt x="1458079" y="1801692"/>
                  <a:pt x="1467811" y="1780092"/>
                  <a:pt x="1452055" y="1785527"/>
                </a:cubicBezTo>
                <a:cubicBezTo>
                  <a:pt x="1453446" y="1782183"/>
                  <a:pt x="1456226" y="1780510"/>
                  <a:pt x="1459007" y="1779814"/>
                </a:cubicBezTo>
                <a:close/>
                <a:moveTo>
                  <a:pt x="1833273" y="1773383"/>
                </a:moveTo>
                <a:cubicBezTo>
                  <a:pt x="1842540" y="1771850"/>
                  <a:pt x="1855052" y="1782999"/>
                  <a:pt x="1866174" y="1779794"/>
                </a:cubicBezTo>
                <a:cubicBezTo>
                  <a:pt x="1869417" y="1808363"/>
                  <a:pt x="1832345" y="1788434"/>
                  <a:pt x="1824931" y="1779794"/>
                </a:cubicBezTo>
                <a:cubicBezTo>
                  <a:pt x="1827247" y="1775613"/>
                  <a:pt x="1830029" y="1773802"/>
                  <a:pt x="1833273" y="1773383"/>
                </a:cubicBezTo>
                <a:close/>
                <a:moveTo>
                  <a:pt x="2329104" y="1771989"/>
                </a:moveTo>
                <a:cubicBezTo>
                  <a:pt x="2324470" y="1771014"/>
                  <a:pt x="2319374" y="1773244"/>
                  <a:pt x="2320299" y="1778539"/>
                </a:cubicBezTo>
                <a:cubicBezTo>
                  <a:pt x="2324933" y="1779236"/>
                  <a:pt x="2323311" y="1782825"/>
                  <a:pt x="2321922" y="1787075"/>
                </a:cubicBezTo>
                <a:lnTo>
                  <a:pt x="2324682" y="1798537"/>
                </a:lnTo>
                <a:lnTo>
                  <a:pt x="2325805" y="1799429"/>
                </a:lnTo>
                <a:lnTo>
                  <a:pt x="2332761" y="1798196"/>
                </a:lnTo>
                <a:cubicBezTo>
                  <a:pt x="2339820" y="1793173"/>
                  <a:pt x="2343817" y="1779584"/>
                  <a:pt x="2337908" y="1778539"/>
                </a:cubicBezTo>
                <a:cubicBezTo>
                  <a:pt x="2337908" y="1781327"/>
                  <a:pt x="2337445" y="1784951"/>
                  <a:pt x="2332812" y="1783696"/>
                </a:cubicBezTo>
                <a:cubicBezTo>
                  <a:pt x="2336518" y="1777007"/>
                  <a:pt x="2333275" y="1773105"/>
                  <a:pt x="2329104" y="1771989"/>
                </a:cubicBezTo>
                <a:close/>
                <a:moveTo>
                  <a:pt x="3585459" y="1771456"/>
                </a:moveTo>
                <a:lnTo>
                  <a:pt x="3583082" y="1774050"/>
                </a:lnTo>
                <a:lnTo>
                  <a:pt x="3585065" y="1773903"/>
                </a:lnTo>
                <a:lnTo>
                  <a:pt x="3587951" y="1771472"/>
                </a:lnTo>
                <a:close/>
                <a:moveTo>
                  <a:pt x="2791728" y="1766713"/>
                </a:moveTo>
                <a:cubicBezTo>
                  <a:pt x="2795898" y="1765598"/>
                  <a:pt x="2800069" y="1766435"/>
                  <a:pt x="2800532" y="1774239"/>
                </a:cubicBezTo>
                <a:cubicBezTo>
                  <a:pt x="2797752" y="1774239"/>
                  <a:pt x="2797289" y="1771312"/>
                  <a:pt x="2794508" y="1771312"/>
                </a:cubicBezTo>
                <a:cubicBezTo>
                  <a:pt x="2791264" y="1771312"/>
                  <a:pt x="2791728" y="1777583"/>
                  <a:pt x="2791728" y="1780789"/>
                </a:cubicBezTo>
                <a:cubicBezTo>
                  <a:pt x="2785704" y="1783854"/>
                  <a:pt x="2787093" y="1772706"/>
                  <a:pt x="2780606" y="1772706"/>
                </a:cubicBezTo>
                <a:cubicBezTo>
                  <a:pt x="2782459" y="1771173"/>
                  <a:pt x="2787557" y="1767967"/>
                  <a:pt x="2791728" y="1766713"/>
                </a:cubicBezTo>
                <a:close/>
                <a:moveTo>
                  <a:pt x="3534074" y="1760620"/>
                </a:moveTo>
                <a:lnTo>
                  <a:pt x="3533853" y="1760929"/>
                </a:lnTo>
                <a:cubicBezTo>
                  <a:pt x="3532637" y="1763107"/>
                  <a:pt x="3531363" y="1765198"/>
                  <a:pt x="3529263" y="1766369"/>
                </a:cubicBezTo>
                <a:lnTo>
                  <a:pt x="3526434" y="1766348"/>
                </a:lnTo>
                <a:lnTo>
                  <a:pt x="3530410" y="1770069"/>
                </a:lnTo>
                <a:cubicBezTo>
                  <a:pt x="3531728" y="1772155"/>
                  <a:pt x="3532538" y="1774846"/>
                  <a:pt x="3532538" y="1778539"/>
                </a:cubicBezTo>
                <a:cubicBezTo>
                  <a:pt x="3538794" y="1775892"/>
                  <a:pt x="3537172" y="1771885"/>
                  <a:pt x="3534797" y="1766694"/>
                </a:cubicBezTo>
                <a:close/>
                <a:moveTo>
                  <a:pt x="1727156" y="1757497"/>
                </a:moveTo>
                <a:lnTo>
                  <a:pt x="1747082" y="1757497"/>
                </a:lnTo>
                <a:cubicBezTo>
                  <a:pt x="1745228" y="1765300"/>
                  <a:pt x="1750324" y="1766415"/>
                  <a:pt x="1756812" y="1766415"/>
                </a:cubicBezTo>
                <a:cubicBezTo>
                  <a:pt x="1756812" y="1778121"/>
                  <a:pt x="1729009" y="1775753"/>
                  <a:pt x="1727156" y="1757497"/>
                </a:cubicBezTo>
                <a:close/>
                <a:moveTo>
                  <a:pt x="2140966" y="1755127"/>
                </a:moveTo>
                <a:cubicBezTo>
                  <a:pt x="2138650" y="1755546"/>
                  <a:pt x="2136795" y="1754848"/>
                  <a:pt x="2134015" y="1755546"/>
                </a:cubicBezTo>
                <a:cubicBezTo>
                  <a:pt x="2139112" y="1762374"/>
                  <a:pt x="2137722" y="1764045"/>
                  <a:pt x="2132625" y="1764464"/>
                </a:cubicBezTo>
                <a:cubicBezTo>
                  <a:pt x="2136795" y="1766973"/>
                  <a:pt x="2140966" y="1770596"/>
                  <a:pt x="2140039" y="1778539"/>
                </a:cubicBezTo>
                <a:cubicBezTo>
                  <a:pt x="2150235" y="1774220"/>
                  <a:pt x="2141893" y="1765718"/>
                  <a:pt x="2140966" y="1755127"/>
                </a:cubicBezTo>
                <a:close/>
                <a:moveTo>
                  <a:pt x="3677047" y="1754986"/>
                </a:moveTo>
                <a:lnTo>
                  <a:pt x="3676661" y="1756160"/>
                </a:lnTo>
                <a:lnTo>
                  <a:pt x="3676421" y="1758710"/>
                </a:lnTo>
                <a:lnTo>
                  <a:pt x="3680054" y="1756818"/>
                </a:lnTo>
                <a:close/>
                <a:moveTo>
                  <a:pt x="2158112" y="1753734"/>
                </a:moveTo>
                <a:cubicBezTo>
                  <a:pt x="2157185" y="1753594"/>
                  <a:pt x="2155795" y="1754292"/>
                  <a:pt x="2154404" y="1754292"/>
                </a:cubicBezTo>
                <a:cubicBezTo>
                  <a:pt x="2153941" y="1760841"/>
                  <a:pt x="2155795" y="1768784"/>
                  <a:pt x="2159039" y="1778539"/>
                </a:cubicBezTo>
                <a:cubicBezTo>
                  <a:pt x="2176648" y="1781327"/>
                  <a:pt x="2172013" y="1756660"/>
                  <a:pt x="2191013" y="1762095"/>
                </a:cubicBezTo>
                <a:cubicBezTo>
                  <a:pt x="2191013" y="1758193"/>
                  <a:pt x="2186379" y="1758193"/>
                  <a:pt x="2181744" y="1756939"/>
                </a:cubicBezTo>
                <a:cubicBezTo>
                  <a:pt x="2181744" y="1757079"/>
                  <a:pt x="2181282" y="1756939"/>
                  <a:pt x="2181282" y="1756939"/>
                </a:cubicBezTo>
                <a:cubicBezTo>
                  <a:pt x="2174330" y="1755824"/>
                  <a:pt x="2166916" y="1754431"/>
                  <a:pt x="2158112" y="1753734"/>
                </a:cubicBezTo>
                <a:close/>
                <a:moveTo>
                  <a:pt x="3546596" y="1753473"/>
                </a:moveTo>
                <a:lnTo>
                  <a:pt x="3545251" y="1753710"/>
                </a:lnTo>
                <a:lnTo>
                  <a:pt x="3549684" y="1778539"/>
                </a:lnTo>
                <a:lnTo>
                  <a:pt x="3555012" y="1777361"/>
                </a:lnTo>
                <a:lnTo>
                  <a:pt x="3550362" y="1769675"/>
                </a:lnTo>
                <a:cubicBezTo>
                  <a:pt x="3549725" y="1765389"/>
                  <a:pt x="3549609" y="1760303"/>
                  <a:pt x="3546596" y="1753473"/>
                </a:cubicBezTo>
                <a:close/>
                <a:moveTo>
                  <a:pt x="3442333" y="1747899"/>
                </a:moveTo>
                <a:cubicBezTo>
                  <a:pt x="3452064" y="1749571"/>
                  <a:pt x="3461794" y="1755146"/>
                  <a:pt x="3462722" y="1762114"/>
                </a:cubicBezTo>
                <a:cubicBezTo>
                  <a:pt x="3448819" y="1764065"/>
                  <a:pt x="3439090" y="1755843"/>
                  <a:pt x="3425187" y="1755843"/>
                </a:cubicBezTo>
                <a:cubicBezTo>
                  <a:pt x="3424261" y="1748039"/>
                  <a:pt x="3433064" y="1746226"/>
                  <a:pt x="3442333" y="1747899"/>
                </a:cubicBezTo>
                <a:close/>
                <a:moveTo>
                  <a:pt x="2077945" y="1745372"/>
                </a:moveTo>
                <a:cubicBezTo>
                  <a:pt x="2084431" y="1746208"/>
                  <a:pt x="2089993" y="1751365"/>
                  <a:pt x="2087213" y="1765858"/>
                </a:cubicBezTo>
                <a:cubicBezTo>
                  <a:pt x="2076091" y="1765858"/>
                  <a:pt x="2071457" y="1753873"/>
                  <a:pt x="2063116" y="1749970"/>
                </a:cubicBezTo>
                <a:cubicBezTo>
                  <a:pt x="2064043" y="1747881"/>
                  <a:pt x="2070993" y="1744535"/>
                  <a:pt x="2077945" y="1745372"/>
                </a:cubicBezTo>
                <a:close/>
                <a:moveTo>
                  <a:pt x="1189774" y="1744694"/>
                </a:moveTo>
                <a:cubicBezTo>
                  <a:pt x="1185604" y="1751383"/>
                  <a:pt x="1158264" y="1778420"/>
                  <a:pt x="1148996" y="1781067"/>
                </a:cubicBezTo>
                <a:cubicBezTo>
                  <a:pt x="1159654" y="1793331"/>
                  <a:pt x="1158264" y="1795979"/>
                  <a:pt x="1142972" y="1790544"/>
                </a:cubicBezTo>
                <a:cubicBezTo>
                  <a:pt x="1142972" y="1795979"/>
                  <a:pt x="1142972" y="1801833"/>
                  <a:pt x="1147605" y="1801833"/>
                </a:cubicBezTo>
                <a:cubicBezTo>
                  <a:pt x="1135094" y="1811308"/>
                  <a:pt x="1123046" y="1802947"/>
                  <a:pt x="1106364" y="1798906"/>
                </a:cubicBezTo>
                <a:cubicBezTo>
                  <a:pt x="1141581" y="1806988"/>
                  <a:pt x="1148532" y="1756818"/>
                  <a:pt x="1189774" y="1744694"/>
                </a:cubicBezTo>
                <a:close/>
                <a:moveTo>
                  <a:pt x="3332509" y="1743718"/>
                </a:moveTo>
                <a:cubicBezTo>
                  <a:pt x="3319997" y="1747760"/>
                  <a:pt x="3327412" y="1751662"/>
                  <a:pt x="3327412" y="1763926"/>
                </a:cubicBezTo>
                <a:cubicBezTo>
                  <a:pt x="3315594" y="1758804"/>
                  <a:pt x="3311858" y="1762306"/>
                  <a:pt x="3304668" y="1761496"/>
                </a:cubicBezTo>
                <a:lnTo>
                  <a:pt x="3300900" y="1760324"/>
                </a:lnTo>
                <a:lnTo>
                  <a:pt x="3301102" y="1761980"/>
                </a:lnTo>
                <a:cubicBezTo>
                  <a:pt x="3302521" y="1764055"/>
                  <a:pt x="3305591" y="1765335"/>
                  <a:pt x="3311962" y="1765021"/>
                </a:cubicBezTo>
                <a:cubicBezTo>
                  <a:pt x="3311962" y="1775753"/>
                  <a:pt x="3310573" y="1782442"/>
                  <a:pt x="3307329" y="1787876"/>
                </a:cubicBezTo>
                <a:cubicBezTo>
                  <a:pt x="3310573" y="1786483"/>
                  <a:pt x="3313817" y="1784951"/>
                  <a:pt x="3315206" y="1783696"/>
                </a:cubicBezTo>
                <a:cubicBezTo>
                  <a:pt x="3315206" y="1786344"/>
                  <a:pt x="3317060" y="1788852"/>
                  <a:pt x="3317060" y="1790245"/>
                </a:cubicBezTo>
                <a:cubicBezTo>
                  <a:pt x="3325401" y="1788852"/>
                  <a:pt x="3334669" y="1787737"/>
                  <a:pt x="3334669" y="1795820"/>
                </a:cubicBezTo>
                <a:cubicBezTo>
                  <a:pt x="3336059" y="1795820"/>
                  <a:pt x="3337913" y="1793033"/>
                  <a:pt x="3337913" y="1791640"/>
                </a:cubicBezTo>
                <a:cubicBezTo>
                  <a:pt x="3336059" y="1786344"/>
                  <a:pt x="3332815" y="1782581"/>
                  <a:pt x="3339303" y="1778539"/>
                </a:cubicBezTo>
                <a:cubicBezTo>
                  <a:pt x="3342547" y="1779933"/>
                  <a:pt x="3343937" y="1780909"/>
                  <a:pt x="3345791" y="1782163"/>
                </a:cubicBezTo>
                <a:cubicBezTo>
                  <a:pt x="3353667" y="1784951"/>
                  <a:pt x="3355059" y="1783556"/>
                  <a:pt x="3366181" y="1779515"/>
                </a:cubicBezTo>
                <a:lnTo>
                  <a:pt x="3366181" y="1798747"/>
                </a:lnTo>
                <a:cubicBezTo>
                  <a:pt x="3368033" y="1798747"/>
                  <a:pt x="3369887" y="1798329"/>
                  <a:pt x="3371740" y="1799583"/>
                </a:cubicBezTo>
                <a:cubicBezTo>
                  <a:pt x="3376374" y="1798956"/>
                  <a:pt x="3378692" y="1795263"/>
                  <a:pt x="3381066" y="1791065"/>
                </a:cubicBezTo>
                <a:lnTo>
                  <a:pt x="3387096" y="1783866"/>
                </a:lnTo>
                <a:lnTo>
                  <a:pt x="3385219" y="1782339"/>
                </a:lnTo>
                <a:cubicBezTo>
                  <a:pt x="3381860" y="1779046"/>
                  <a:pt x="3378384" y="1775910"/>
                  <a:pt x="3373752" y="1774517"/>
                </a:cubicBezTo>
                <a:cubicBezTo>
                  <a:pt x="3373752" y="1765180"/>
                  <a:pt x="3386262" y="1767967"/>
                  <a:pt x="3383018" y="1754449"/>
                </a:cubicBezTo>
                <a:cubicBezTo>
                  <a:pt x="3381628" y="1742325"/>
                  <a:pt x="3370043" y="1742325"/>
                  <a:pt x="3358921" y="1743718"/>
                </a:cubicBezTo>
                <a:cubicBezTo>
                  <a:pt x="3362167" y="1747760"/>
                  <a:pt x="3367262" y="1751662"/>
                  <a:pt x="3373752" y="1754449"/>
                </a:cubicBezTo>
                <a:cubicBezTo>
                  <a:pt x="3370506" y="1766574"/>
                  <a:pt x="3343629" y="1751941"/>
                  <a:pt x="3346411" y="1769501"/>
                </a:cubicBezTo>
                <a:cubicBezTo>
                  <a:pt x="3341776" y="1766852"/>
                  <a:pt x="3348264" y="1745112"/>
                  <a:pt x="3332509" y="1743718"/>
                </a:cubicBezTo>
                <a:close/>
                <a:moveTo>
                  <a:pt x="3160896" y="1738264"/>
                </a:moveTo>
                <a:cubicBezTo>
                  <a:pt x="3168775" y="1750389"/>
                  <a:pt x="3184992" y="1754292"/>
                  <a:pt x="3203991" y="1754292"/>
                </a:cubicBezTo>
                <a:cubicBezTo>
                  <a:pt x="3203065" y="1750249"/>
                  <a:pt x="3202138" y="1745790"/>
                  <a:pt x="3201675" y="1741330"/>
                </a:cubicBezTo>
                <a:cubicBezTo>
                  <a:pt x="3202138" y="1743282"/>
                  <a:pt x="3202602" y="1745233"/>
                  <a:pt x="3202138" y="1748577"/>
                </a:cubicBezTo>
                <a:cubicBezTo>
                  <a:pt x="3182675" y="1749970"/>
                  <a:pt x="3172019" y="1743700"/>
                  <a:pt x="3160896" y="1738264"/>
                </a:cubicBezTo>
                <a:close/>
                <a:moveTo>
                  <a:pt x="3605173" y="1737042"/>
                </a:moveTo>
                <a:lnTo>
                  <a:pt x="3607199" y="1744405"/>
                </a:lnTo>
                <a:lnTo>
                  <a:pt x="3620120" y="1748577"/>
                </a:lnTo>
                <a:cubicBezTo>
                  <a:pt x="3618266" y="1749970"/>
                  <a:pt x="3618729" y="1749970"/>
                  <a:pt x="3616876" y="1751365"/>
                </a:cubicBezTo>
                <a:cubicBezTo>
                  <a:pt x="3621974" y="1751365"/>
                  <a:pt x="3625217" y="1751504"/>
                  <a:pt x="3628460" y="1752758"/>
                </a:cubicBezTo>
                <a:cubicBezTo>
                  <a:pt x="3628460" y="1756799"/>
                  <a:pt x="3627997" y="1761503"/>
                  <a:pt x="3628345" y="1765370"/>
                </a:cubicBezTo>
                <a:lnTo>
                  <a:pt x="3630296" y="1768490"/>
                </a:lnTo>
                <a:lnTo>
                  <a:pt x="3636654" y="1765422"/>
                </a:lnTo>
                <a:cubicBezTo>
                  <a:pt x="3641650" y="1764453"/>
                  <a:pt x="3647327" y="1764231"/>
                  <a:pt x="3652946" y="1764013"/>
                </a:cubicBezTo>
                <a:lnTo>
                  <a:pt x="3655414" y="1763799"/>
                </a:lnTo>
                <a:lnTo>
                  <a:pt x="3632052" y="1745792"/>
                </a:lnTo>
                <a:close/>
                <a:moveTo>
                  <a:pt x="2920858" y="1736871"/>
                </a:moveTo>
                <a:cubicBezTo>
                  <a:pt x="2927809" y="1737289"/>
                  <a:pt x="2936150" y="1740355"/>
                  <a:pt x="2941248" y="1737706"/>
                </a:cubicBezTo>
                <a:cubicBezTo>
                  <a:pt x="2935223" y="1748299"/>
                  <a:pt x="2922249" y="1748438"/>
                  <a:pt x="2911590" y="1751921"/>
                </a:cubicBezTo>
                <a:cubicBezTo>
                  <a:pt x="2909275" y="1738683"/>
                  <a:pt x="2914370" y="1736453"/>
                  <a:pt x="2920858" y="1736871"/>
                </a:cubicBezTo>
                <a:close/>
                <a:moveTo>
                  <a:pt x="3567213" y="1731115"/>
                </a:moveTo>
                <a:lnTo>
                  <a:pt x="3559994" y="1734280"/>
                </a:lnTo>
                <a:lnTo>
                  <a:pt x="3560093" y="1738893"/>
                </a:lnTo>
                <a:cubicBezTo>
                  <a:pt x="3559339" y="1745007"/>
                  <a:pt x="3556791" y="1750895"/>
                  <a:pt x="3552157" y="1749014"/>
                </a:cubicBezTo>
                <a:cubicBezTo>
                  <a:pt x="3552273" y="1756470"/>
                  <a:pt x="3554358" y="1762367"/>
                  <a:pt x="3557624" y="1766700"/>
                </a:cubicBezTo>
                <a:lnTo>
                  <a:pt x="3563938" y="1770879"/>
                </a:lnTo>
                <a:lnTo>
                  <a:pt x="3565208" y="1769324"/>
                </a:lnTo>
                <a:cubicBezTo>
                  <a:pt x="3568683" y="1764185"/>
                  <a:pt x="3572391" y="1759377"/>
                  <a:pt x="3582122" y="1762095"/>
                </a:cubicBezTo>
                <a:cubicBezTo>
                  <a:pt x="3582122" y="1758054"/>
                  <a:pt x="3577025" y="1758332"/>
                  <a:pt x="3574243" y="1756939"/>
                </a:cubicBezTo>
                <a:cubicBezTo>
                  <a:pt x="3578878" y="1754292"/>
                  <a:pt x="3583511" y="1751224"/>
                  <a:pt x="3586756" y="1749970"/>
                </a:cubicBezTo>
                <a:cubicBezTo>
                  <a:pt x="3587103" y="1746591"/>
                  <a:pt x="3589044" y="1744571"/>
                  <a:pt x="3591838" y="1743501"/>
                </a:cubicBezTo>
                <a:lnTo>
                  <a:pt x="3595768" y="1743209"/>
                </a:lnTo>
                <a:lnTo>
                  <a:pt x="3601689" y="1735908"/>
                </a:lnTo>
                <a:lnTo>
                  <a:pt x="3587682" y="1731348"/>
                </a:lnTo>
                <a:cubicBezTo>
                  <a:pt x="3580325" y="1730307"/>
                  <a:pt x="3573331" y="1730136"/>
                  <a:pt x="3567213" y="1731115"/>
                </a:cubicBezTo>
                <a:close/>
                <a:moveTo>
                  <a:pt x="3188236" y="1727533"/>
                </a:moveTo>
                <a:cubicBezTo>
                  <a:pt x="3189163" y="1734502"/>
                  <a:pt x="3197967" y="1733248"/>
                  <a:pt x="3201212" y="1738821"/>
                </a:cubicBezTo>
                <a:cubicBezTo>
                  <a:pt x="3201212" y="1738125"/>
                  <a:pt x="3200748" y="1737568"/>
                  <a:pt x="3200748" y="1736871"/>
                </a:cubicBezTo>
                <a:cubicBezTo>
                  <a:pt x="3215112" y="1731436"/>
                  <a:pt x="3213260" y="1746069"/>
                  <a:pt x="3216504" y="1752758"/>
                </a:cubicBezTo>
                <a:cubicBezTo>
                  <a:pt x="3241990" y="1751504"/>
                  <a:pt x="3270720" y="1744676"/>
                  <a:pt x="3288329" y="1743421"/>
                </a:cubicBezTo>
                <a:cubicBezTo>
                  <a:pt x="3294702" y="1743073"/>
                  <a:pt x="3297771" y="1744326"/>
                  <a:pt x="3299191" y="1746384"/>
                </a:cubicBezTo>
                <a:lnTo>
                  <a:pt x="3300087" y="1753683"/>
                </a:lnTo>
                <a:lnTo>
                  <a:pt x="3304589" y="1748213"/>
                </a:lnTo>
                <a:cubicBezTo>
                  <a:pt x="3308527" y="1745809"/>
                  <a:pt x="3313278" y="1744415"/>
                  <a:pt x="3318143" y="1743718"/>
                </a:cubicBezTo>
                <a:cubicBezTo>
                  <a:pt x="3308412" y="1728807"/>
                  <a:pt x="3294047" y="1750826"/>
                  <a:pt x="3281534" y="1738702"/>
                </a:cubicBezTo>
                <a:lnTo>
                  <a:pt x="3285427" y="1734046"/>
                </a:lnTo>
                <a:lnTo>
                  <a:pt x="3284565" y="1734067"/>
                </a:lnTo>
                <a:cubicBezTo>
                  <a:pt x="3263770" y="1732342"/>
                  <a:pt x="3242918" y="1729276"/>
                  <a:pt x="3224383" y="1743421"/>
                </a:cubicBezTo>
                <a:cubicBezTo>
                  <a:pt x="3218357" y="1740633"/>
                  <a:pt x="3215112" y="1737010"/>
                  <a:pt x="3215112" y="1727533"/>
                </a:cubicBezTo>
                <a:cubicBezTo>
                  <a:pt x="3202138" y="1731575"/>
                  <a:pt x="3200748" y="1731575"/>
                  <a:pt x="3188236" y="1727533"/>
                </a:cubicBezTo>
                <a:close/>
                <a:moveTo>
                  <a:pt x="13095262" y="1726920"/>
                </a:moveTo>
                <a:cubicBezTo>
                  <a:pt x="13111481" y="1733889"/>
                  <a:pt x="13126310" y="1744619"/>
                  <a:pt x="13133261" y="1765384"/>
                </a:cubicBezTo>
                <a:cubicBezTo>
                  <a:pt x="13119822" y="1776393"/>
                  <a:pt x="13108237" y="1751726"/>
                  <a:pt x="13088774" y="1755907"/>
                </a:cubicBezTo>
                <a:cubicBezTo>
                  <a:pt x="13096652" y="1744898"/>
                  <a:pt x="13092018" y="1735142"/>
                  <a:pt x="13095262" y="1726920"/>
                </a:cubicBezTo>
                <a:close/>
                <a:moveTo>
                  <a:pt x="1869417" y="1724328"/>
                </a:moveTo>
                <a:cubicBezTo>
                  <a:pt x="1885172" y="1729624"/>
                  <a:pt x="1876368" y="1732273"/>
                  <a:pt x="1874514" y="1745372"/>
                </a:cubicBezTo>
                <a:cubicBezTo>
                  <a:pt x="1859222" y="1749274"/>
                  <a:pt x="1857832" y="1739797"/>
                  <a:pt x="1845784" y="1739797"/>
                </a:cubicBezTo>
                <a:cubicBezTo>
                  <a:pt x="1847174" y="1733248"/>
                  <a:pt x="1857832" y="1735756"/>
                  <a:pt x="1866174" y="1734502"/>
                </a:cubicBezTo>
                <a:cubicBezTo>
                  <a:pt x="1869881" y="1734502"/>
                  <a:pt x="1869417" y="1728230"/>
                  <a:pt x="1869417" y="1724328"/>
                </a:cubicBezTo>
                <a:close/>
                <a:moveTo>
                  <a:pt x="1717424" y="1718754"/>
                </a:moveTo>
                <a:cubicBezTo>
                  <a:pt x="1745228" y="1717221"/>
                  <a:pt x="1779056" y="1740076"/>
                  <a:pt x="1811030" y="1740076"/>
                </a:cubicBezTo>
                <a:cubicBezTo>
                  <a:pt x="1767934" y="1765718"/>
                  <a:pt x="1733643" y="1723492"/>
                  <a:pt x="1692864" y="1729903"/>
                </a:cubicBezTo>
                <a:cubicBezTo>
                  <a:pt x="1700278" y="1722238"/>
                  <a:pt x="1708156" y="1719172"/>
                  <a:pt x="1717424" y="1718754"/>
                </a:cubicBezTo>
                <a:close/>
                <a:moveTo>
                  <a:pt x="13064214" y="1718559"/>
                </a:moveTo>
                <a:cubicBezTo>
                  <a:pt x="13068849" y="1731519"/>
                  <a:pt x="13078579" y="1736397"/>
                  <a:pt x="13078579" y="1755907"/>
                </a:cubicBezTo>
                <a:cubicBezTo>
                  <a:pt x="13069311" y="1759810"/>
                  <a:pt x="13068849" y="1749635"/>
                  <a:pt x="13059581" y="1753539"/>
                </a:cubicBezTo>
                <a:cubicBezTo>
                  <a:pt x="13066068" y="1748382"/>
                  <a:pt x="13072093" y="1744340"/>
                  <a:pt x="13067459" y="1728732"/>
                </a:cubicBezTo>
                <a:cubicBezTo>
                  <a:pt x="13056338" y="1726084"/>
                  <a:pt x="13058190" y="1738070"/>
                  <a:pt x="13053556" y="1741971"/>
                </a:cubicBezTo>
                <a:cubicBezTo>
                  <a:pt x="13045679" y="1741971"/>
                  <a:pt x="13040582" y="1736536"/>
                  <a:pt x="13038727" y="1727477"/>
                </a:cubicBezTo>
                <a:cubicBezTo>
                  <a:pt x="13046605" y="1724830"/>
                  <a:pt x="13059581" y="1725108"/>
                  <a:pt x="13064214" y="1718559"/>
                </a:cubicBezTo>
                <a:close/>
                <a:moveTo>
                  <a:pt x="3086291" y="1714016"/>
                </a:moveTo>
                <a:cubicBezTo>
                  <a:pt x="3086291" y="1714713"/>
                  <a:pt x="3088143" y="1716524"/>
                  <a:pt x="3090461" y="1719590"/>
                </a:cubicBezTo>
                <a:cubicBezTo>
                  <a:pt x="3089997" y="1717638"/>
                  <a:pt x="3091850" y="1715548"/>
                  <a:pt x="3090924" y="1714016"/>
                </a:cubicBezTo>
                <a:cubicBezTo>
                  <a:pt x="3088606" y="1713319"/>
                  <a:pt x="3086753" y="1713179"/>
                  <a:pt x="3086291" y="1714016"/>
                </a:cubicBezTo>
                <a:close/>
                <a:moveTo>
                  <a:pt x="1792494" y="1709835"/>
                </a:moveTo>
                <a:cubicBezTo>
                  <a:pt x="1808249" y="1711786"/>
                  <a:pt x="1824005" y="1729066"/>
                  <a:pt x="1836052" y="1735059"/>
                </a:cubicBezTo>
                <a:cubicBezTo>
                  <a:pt x="1811956" y="1753455"/>
                  <a:pt x="1802225" y="1710810"/>
                  <a:pt x="1776275" y="1713458"/>
                </a:cubicBezTo>
                <a:cubicBezTo>
                  <a:pt x="1781836" y="1709835"/>
                  <a:pt x="1786933" y="1709139"/>
                  <a:pt x="1792494" y="1709835"/>
                </a:cubicBezTo>
                <a:close/>
                <a:moveTo>
                  <a:pt x="3219748" y="1704539"/>
                </a:moveTo>
                <a:cubicBezTo>
                  <a:pt x="3219748" y="1704539"/>
                  <a:pt x="3219748" y="1704678"/>
                  <a:pt x="3219748" y="1705932"/>
                </a:cubicBezTo>
                <a:cubicBezTo>
                  <a:pt x="3219748" y="1704678"/>
                  <a:pt x="3221138" y="1704539"/>
                  <a:pt x="3221138" y="1704539"/>
                </a:cubicBezTo>
                <a:cubicBezTo>
                  <a:pt x="3221138" y="1704539"/>
                  <a:pt x="3219748" y="1704539"/>
                  <a:pt x="3219748" y="1704539"/>
                </a:cubicBezTo>
                <a:close/>
                <a:moveTo>
                  <a:pt x="3050144" y="1699940"/>
                </a:moveTo>
                <a:cubicBezTo>
                  <a:pt x="3051072" y="1701892"/>
                  <a:pt x="3052462" y="1703424"/>
                  <a:pt x="3053853" y="1704539"/>
                </a:cubicBezTo>
                <a:cubicBezTo>
                  <a:pt x="3053853" y="1703145"/>
                  <a:pt x="3053853" y="1701751"/>
                  <a:pt x="3053853" y="1700358"/>
                </a:cubicBezTo>
                <a:cubicBezTo>
                  <a:pt x="3052462" y="1699522"/>
                  <a:pt x="3051072" y="1700219"/>
                  <a:pt x="3050144" y="1699940"/>
                </a:cubicBezTo>
                <a:close/>
                <a:moveTo>
                  <a:pt x="3045048" y="1699522"/>
                </a:moveTo>
                <a:cubicBezTo>
                  <a:pt x="3042268" y="1700358"/>
                  <a:pt x="3039488" y="1701892"/>
                  <a:pt x="3037633" y="1703285"/>
                </a:cubicBezTo>
                <a:cubicBezTo>
                  <a:pt x="3037633" y="1704678"/>
                  <a:pt x="3039951" y="1705654"/>
                  <a:pt x="3039951" y="1708302"/>
                </a:cubicBezTo>
                <a:cubicBezTo>
                  <a:pt x="3043194" y="1708302"/>
                  <a:pt x="3044121" y="1710950"/>
                  <a:pt x="3045976" y="1719033"/>
                </a:cubicBezTo>
                <a:cubicBezTo>
                  <a:pt x="3045976" y="1719033"/>
                  <a:pt x="3047365" y="1720566"/>
                  <a:pt x="3049218" y="1720566"/>
                </a:cubicBezTo>
                <a:cubicBezTo>
                  <a:pt x="3049218" y="1724607"/>
                  <a:pt x="3045976" y="1725861"/>
                  <a:pt x="3045976" y="1731156"/>
                </a:cubicBezTo>
                <a:lnTo>
                  <a:pt x="3036243" y="1731156"/>
                </a:lnTo>
                <a:cubicBezTo>
                  <a:pt x="3034853" y="1728508"/>
                  <a:pt x="3034853" y="1727394"/>
                  <a:pt x="3032999" y="1724746"/>
                </a:cubicBezTo>
                <a:cubicBezTo>
                  <a:pt x="3031609" y="1727394"/>
                  <a:pt x="3028366" y="1728648"/>
                  <a:pt x="3026512" y="1732690"/>
                </a:cubicBezTo>
                <a:cubicBezTo>
                  <a:pt x="3047365" y="1730042"/>
                  <a:pt x="3040877" y="1756800"/>
                  <a:pt x="3053853" y="1763489"/>
                </a:cubicBezTo>
                <a:cubicBezTo>
                  <a:pt x="3053853" y="1740633"/>
                  <a:pt x="3064974" y="1765161"/>
                  <a:pt x="3077485" y="1758472"/>
                </a:cubicBezTo>
                <a:cubicBezTo>
                  <a:pt x="3087217" y="1747742"/>
                  <a:pt x="3076095" y="1748995"/>
                  <a:pt x="3072851" y="1738264"/>
                </a:cubicBezTo>
                <a:cubicBezTo>
                  <a:pt x="3083973" y="1740355"/>
                  <a:pt x="3089070" y="1730321"/>
                  <a:pt x="3089533" y="1721402"/>
                </a:cubicBezTo>
                <a:cubicBezTo>
                  <a:pt x="3085362" y="1731297"/>
                  <a:pt x="3064510" y="1723632"/>
                  <a:pt x="3053853" y="1726140"/>
                </a:cubicBezTo>
                <a:cubicBezTo>
                  <a:pt x="3055242" y="1722099"/>
                  <a:pt x="3055706" y="1718894"/>
                  <a:pt x="3055706" y="1717638"/>
                </a:cubicBezTo>
                <a:cubicBezTo>
                  <a:pt x="3052462" y="1716245"/>
                  <a:pt x="3050609" y="1713876"/>
                  <a:pt x="3052462" y="1709835"/>
                </a:cubicBezTo>
                <a:cubicBezTo>
                  <a:pt x="3051072" y="1707326"/>
                  <a:pt x="3049682" y="1704400"/>
                  <a:pt x="3049682" y="1699940"/>
                </a:cubicBezTo>
                <a:cubicBezTo>
                  <a:pt x="3047829" y="1699801"/>
                  <a:pt x="3046438" y="1698965"/>
                  <a:pt x="3045048" y="1699522"/>
                </a:cubicBezTo>
                <a:close/>
                <a:moveTo>
                  <a:pt x="12933539" y="1696958"/>
                </a:moveTo>
                <a:cubicBezTo>
                  <a:pt x="12943269" y="1700720"/>
                  <a:pt x="12945586" y="1708524"/>
                  <a:pt x="12942342" y="1718559"/>
                </a:cubicBezTo>
                <a:cubicBezTo>
                  <a:pt x="12928903" y="1714795"/>
                  <a:pt x="12920562" y="1705876"/>
                  <a:pt x="12904344" y="1705876"/>
                </a:cubicBezTo>
                <a:cubicBezTo>
                  <a:pt x="12901100" y="1693334"/>
                  <a:pt x="12923806" y="1701974"/>
                  <a:pt x="12925196" y="1708246"/>
                </a:cubicBezTo>
                <a:close/>
                <a:moveTo>
                  <a:pt x="3031146" y="1695341"/>
                </a:moveTo>
                <a:cubicBezTo>
                  <a:pt x="3020024" y="1695341"/>
                  <a:pt x="3017244" y="1703006"/>
                  <a:pt x="3014000" y="1711089"/>
                </a:cubicBezTo>
                <a:cubicBezTo>
                  <a:pt x="3017244" y="1712482"/>
                  <a:pt x="3018635" y="1712482"/>
                  <a:pt x="3021878" y="1711089"/>
                </a:cubicBezTo>
                <a:cubicBezTo>
                  <a:pt x="3023731" y="1707047"/>
                  <a:pt x="3025122" y="1704261"/>
                  <a:pt x="3026512" y="1698965"/>
                </a:cubicBezTo>
                <a:cubicBezTo>
                  <a:pt x="3028366" y="1698965"/>
                  <a:pt x="3029756" y="1698965"/>
                  <a:pt x="3031146" y="1698965"/>
                </a:cubicBezTo>
                <a:cubicBezTo>
                  <a:pt x="3031146" y="1697571"/>
                  <a:pt x="3031146" y="1697989"/>
                  <a:pt x="3031146" y="1695341"/>
                </a:cubicBezTo>
                <a:close/>
                <a:moveTo>
                  <a:pt x="1736424" y="1686701"/>
                </a:moveTo>
                <a:cubicBezTo>
                  <a:pt x="1740130" y="1690882"/>
                  <a:pt x="1741983" y="1699104"/>
                  <a:pt x="1741983" y="1707465"/>
                </a:cubicBezTo>
                <a:cubicBezTo>
                  <a:pt x="1724839" y="1696316"/>
                  <a:pt x="1716034" y="1699104"/>
                  <a:pt x="1697498" y="1703285"/>
                </a:cubicBezTo>
                <a:cubicBezTo>
                  <a:pt x="1700742" y="1674158"/>
                  <a:pt x="1719277" y="1697850"/>
                  <a:pt x="1736424" y="1686701"/>
                </a:cubicBezTo>
                <a:close/>
                <a:moveTo>
                  <a:pt x="1776275" y="1686422"/>
                </a:moveTo>
                <a:cubicBezTo>
                  <a:pt x="1782762" y="1685447"/>
                  <a:pt x="1789250" y="1687398"/>
                  <a:pt x="1793421" y="1691996"/>
                </a:cubicBezTo>
                <a:cubicBezTo>
                  <a:pt x="1796200" y="1693390"/>
                  <a:pt x="1772568" y="1701055"/>
                  <a:pt x="1761446" y="1711647"/>
                </a:cubicBezTo>
                <a:cubicBezTo>
                  <a:pt x="1761446" y="1703703"/>
                  <a:pt x="1769324" y="1698408"/>
                  <a:pt x="1761446" y="1697153"/>
                </a:cubicBezTo>
                <a:cubicBezTo>
                  <a:pt x="1763763" y="1691161"/>
                  <a:pt x="1770251" y="1687398"/>
                  <a:pt x="1776275" y="1686422"/>
                </a:cubicBezTo>
                <a:close/>
                <a:moveTo>
                  <a:pt x="1861540" y="1677921"/>
                </a:moveTo>
                <a:cubicBezTo>
                  <a:pt x="1870807" y="1679175"/>
                  <a:pt x="1880075" y="1682798"/>
                  <a:pt x="1882855" y="1693251"/>
                </a:cubicBezTo>
                <a:cubicBezTo>
                  <a:pt x="1896758" y="1665796"/>
                  <a:pt x="1913439" y="1685586"/>
                  <a:pt x="1939853" y="1688234"/>
                </a:cubicBezTo>
                <a:cubicBezTo>
                  <a:pt x="1944023" y="1715827"/>
                  <a:pt x="1901392" y="1698826"/>
                  <a:pt x="1918074" y="1683077"/>
                </a:cubicBezTo>
                <a:cubicBezTo>
                  <a:pt x="1910660" y="1680569"/>
                  <a:pt x="1903245" y="1701612"/>
                  <a:pt x="1913903" y="1704121"/>
                </a:cubicBezTo>
                <a:cubicBezTo>
                  <a:pt x="1900001" y="1712064"/>
                  <a:pt x="1836979" y="1707884"/>
                  <a:pt x="1830956" y="1688234"/>
                </a:cubicBezTo>
                <a:cubicBezTo>
                  <a:pt x="1847638" y="1685586"/>
                  <a:pt x="1858759" y="1701473"/>
                  <a:pt x="1861540" y="1677921"/>
                </a:cubicBezTo>
                <a:close/>
                <a:moveTo>
                  <a:pt x="2018629" y="1675551"/>
                </a:moveTo>
                <a:lnTo>
                  <a:pt x="2018629" y="1693251"/>
                </a:lnTo>
                <a:cubicBezTo>
                  <a:pt x="2008899" y="1694784"/>
                  <a:pt x="2009826" y="1683216"/>
                  <a:pt x="1998703" y="1687676"/>
                </a:cubicBezTo>
                <a:cubicBezTo>
                  <a:pt x="2001485" y="1678758"/>
                  <a:pt x="2008899" y="1674018"/>
                  <a:pt x="2018629" y="1675551"/>
                </a:cubicBezTo>
                <a:close/>
                <a:moveTo>
                  <a:pt x="3362628" y="1675431"/>
                </a:moveTo>
                <a:cubicBezTo>
                  <a:pt x="3371897" y="1673062"/>
                  <a:pt x="3382091" y="1674734"/>
                  <a:pt x="3380701" y="1689507"/>
                </a:cubicBezTo>
                <a:cubicBezTo>
                  <a:pt x="3366337" y="1684630"/>
                  <a:pt x="3366337" y="1687138"/>
                  <a:pt x="3349190" y="1687138"/>
                </a:cubicBezTo>
                <a:cubicBezTo>
                  <a:pt x="3344094" y="1684630"/>
                  <a:pt x="3352898" y="1677939"/>
                  <a:pt x="3362628" y="1675431"/>
                </a:cubicBezTo>
                <a:close/>
                <a:moveTo>
                  <a:pt x="3114556" y="1675134"/>
                </a:moveTo>
                <a:cubicBezTo>
                  <a:pt x="3115947" y="1700637"/>
                  <a:pt x="3088606" y="1691021"/>
                  <a:pt x="3077485" y="1700358"/>
                </a:cubicBezTo>
                <a:cubicBezTo>
                  <a:pt x="3076095" y="1704400"/>
                  <a:pt x="3076095" y="1707186"/>
                  <a:pt x="3077485" y="1709835"/>
                </a:cubicBezTo>
                <a:cubicBezTo>
                  <a:pt x="3079338" y="1709835"/>
                  <a:pt x="3082583" y="1708859"/>
                  <a:pt x="3083973" y="1707465"/>
                </a:cubicBezTo>
                <a:cubicBezTo>
                  <a:pt x="3083973" y="1707465"/>
                  <a:pt x="3083047" y="1705932"/>
                  <a:pt x="3083047" y="1705932"/>
                </a:cubicBezTo>
                <a:cubicBezTo>
                  <a:pt x="3083047" y="1705932"/>
                  <a:pt x="3083973" y="1705932"/>
                  <a:pt x="3085362" y="1705932"/>
                </a:cubicBezTo>
                <a:cubicBezTo>
                  <a:pt x="3091850" y="1703285"/>
                  <a:pt x="3098339" y="1701892"/>
                  <a:pt x="3104826" y="1704539"/>
                </a:cubicBezTo>
                <a:cubicBezTo>
                  <a:pt x="3104826" y="1705932"/>
                  <a:pt x="3104826" y="1705932"/>
                  <a:pt x="3104826" y="1705932"/>
                </a:cubicBezTo>
                <a:cubicBezTo>
                  <a:pt x="3108069" y="1707326"/>
                  <a:pt x="3109924" y="1707047"/>
                  <a:pt x="3109924" y="1711089"/>
                </a:cubicBezTo>
                <a:cubicBezTo>
                  <a:pt x="3111313" y="1720426"/>
                  <a:pt x="3087217" y="1727255"/>
                  <a:pt x="3100193" y="1732690"/>
                </a:cubicBezTo>
                <a:cubicBezTo>
                  <a:pt x="3109459" y="1728648"/>
                  <a:pt x="3123824" y="1727394"/>
                  <a:pt x="3146531" y="1716663"/>
                </a:cubicBezTo>
                <a:cubicBezTo>
                  <a:pt x="3125678" y="1722099"/>
                  <a:pt x="3128922" y="1688513"/>
                  <a:pt x="3114556" y="1675134"/>
                </a:cubicBezTo>
                <a:close/>
                <a:moveTo>
                  <a:pt x="2039484" y="1673740"/>
                </a:moveTo>
                <a:cubicBezTo>
                  <a:pt x="2047360" y="1674298"/>
                  <a:pt x="2057555" y="1677642"/>
                  <a:pt x="2063116" y="1675134"/>
                </a:cubicBezTo>
                <a:cubicBezTo>
                  <a:pt x="2057091" y="1693529"/>
                  <a:pt x="2047360" y="1680429"/>
                  <a:pt x="2026508" y="1688791"/>
                </a:cubicBezTo>
                <a:cubicBezTo>
                  <a:pt x="2025117" y="1675412"/>
                  <a:pt x="2031143" y="1673043"/>
                  <a:pt x="2039484" y="1673740"/>
                </a:cubicBezTo>
                <a:close/>
                <a:moveTo>
                  <a:pt x="3665995" y="1670953"/>
                </a:moveTo>
                <a:cubicBezTo>
                  <a:pt x="3666922" y="1673740"/>
                  <a:pt x="3663678" y="1677364"/>
                  <a:pt x="3664606" y="1684471"/>
                </a:cubicBezTo>
                <a:cubicBezTo>
                  <a:pt x="3674338" y="1681266"/>
                  <a:pt x="3682214" y="1680569"/>
                  <a:pt x="3689629" y="1680569"/>
                </a:cubicBezTo>
                <a:cubicBezTo>
                  <a:pt x="3683141" y="1678617"/>
                  <a:pt x="3675263" y="1674298"/>
                  <a:pt x="3665995" y="1670953"/>
                </a:cubicBezTo>
                <a:close/>
                <a:moveTo>
                  <a:pt x="3767017" y="1668026"/>
                </a:moveTo>
                <a:cubicBezTo>
                  <a:pt x="3746164" y="1671789"/>
                  <a:pt x="3712798" y="1676109"/>
                  <a:pt x="3695189" y="1669560"/>
                </a:cubicBezTo>
                <a:cubicBezTo>
                  <a:pt x="3697970" y="1671510"/>
                  <a:pt x="3701214" y="1673322"/>
                  <a:pt x="3702140" y="1675551"/>
                </a:cubicBezTo>
                <a:cubicBezTo>
                  <a:pt x="3701214" y="1678758"/>
                  <a:pt x="3699824" y="1680429"/>
                  <a:pt x="3697506" y="1681126"/>
                </a:cubicBezTo>
                <a:cubicBezTo>
                  <a:pt x="3712335" y="1682381"/>
                  <a:pt x="3727626" y="1686005"/>
                  <a:pt x="3752188" y="1684471"/>
                </a:cubicBezTo>
                <a:cubicBezTo>
                  <a:pt x="3731798" y="1711229"/>
                  <a:pt x="3669703" y="1689627"/>
                  <a:pt x="3642362" y="1709835"/>
                </a:cubicBezTo>
                <a:cubicBezTo>
                  <a:pt x="3645606" y="1719870"/>
                  <a:pt x="3651283" y="1727011"/>
                  <a:pt x="3657944" y="1732812"/>
                </a:cubicBezTo>
                <a:lnTo>
                  <a:pt x="3670200" y="1741327"/>
                </a:lnTo>
                <a:lnTo>
                  <a:pt x="3672640" y="1740096"/>
                </a:lnTo>
                <a:cubicBezTo>
                  <a:pt x="3671249" y="1740096"/>
                  <a:pt x="3671713" y="1740373"/>
                  <a:pt x="3670322" y="1740513"/>
                </a:cubicBezTo>
                <a:lnTo>
                  <a:pt x="3671822" y="1729145"/>
                </a:lnTo>
                <a:lnTo>
                  <a:pt x="3660436" y="1720566"/>
                </a:lnTo>
                <a:cubicBezTo>
                  <a:pt x="3668313" y="1711821"/>
                  <a:pt x="3676219" y="1708554"/>
                  <a:pt x="3684090" y="1708385"/>
                </a:cubicBezTo>
                <a:lnTo>
                  <a:pt x="3707429" y="1714755"/>
                </a:lnTo>
                <a:lnTo>
                  <a:pt x="3708958" y="1709697"/>
                </a:lnTo>
                <a:cubicBezTo>
                  <a:pt x="3709942" y="1707206"/>
                  <a:pt x="3709942" y="1705533"/>
                  <a:pt x="3706003" y="1704836"/>
                </a:cubicBezTo>
                <a:cubicBezTo>
                  <a:pt x="3709479" y="1691040"/>
                  <a:pt x="3721035" y="1704680"/>
                  <a:pt x="3720535" y="1713480"/>
                </a:cubicBezTo>
                <a:lnTo>
                  <a:pt x="3715934" y="1718716"/>
                </a:lnTo>
                <a:lnTo>
                  <a:pt x="3722076" y="1721590"/>
                </a:lnTo>
                <a:lnTo>
                  <a:pt x="3723381" y="1720306"/>
                </a:lnTo>
                <a:cubicBezTo>
                  <a:pt x="3725003" y="1717937"/>
                  <a:pt x="3728247" y="1714592"/>
                  <a:pt x="3741221" y="1715289"/>
                </a:cubicBezTo>
                <a:lnTo>
                  <a:pt x="3743672" y="1727569"/>
                </a:lnTo>
                <a:lnTo>
                  <a:pt x="3745167" y="1727318"/>
                </a:lnTo>
                <a:lnTo>
                  <a:pt x="3756513" y="1708739"/>
                </a:lnTo>
                <a:lnTo>
                  <a:pt x="3757907" y="1708992"/>
                </a:lnTo>
                <a:lnTo>
                  <a:pt x="3757284" y="1704539"/>
                </a:lnTo>
                <a:cubicBezTo>
                  <a:pt x="3749407" y="1711229"/>
                  <a:pt x="3739676" y="1721819"/>
                  <a:pt x="3730408" y="1709835"/>
                </a:cubicBezTo>
                <a:cubicBezTo>
                  <a:pt x="3736432" y="1700358"/>
                  <a:pt x="3752650" y="1698965"/>
                  <a:pt x="3770259" y="1698965"/>
                </a:cubicBezTo>
                <a:cubicBezTo>
                  <a:pt x="3760527" y="1686840"/>
                  <a:pt x="3754041" y="1685586"/>
                  <a:pt x="3767017" y="1668026"/>
                </a:cubicBezTo>
                <a:close/>
                <a:moveTo>
                  <a:pt x="3656728" y="1667748"/>
                </a:moveTo>
                <a:cubicBezTo>
                  <a:pt x="3654873" y="1667329"/>
                  <a:pt x="3652558" y="1668166"/>
                  <a:pt x="3650703" y="1668026"/>
                </a:cubicBezTo>
                <a:cubicBezTo>
                  <a:pt x="3641899" y="1679454"/>
                  <a:pt x="3618266" y="1678758"/>
                  <a:pt x="3596487" y="1674298"/>
                </a:cubicBezTo>
                <a:cubicBezTo>
                  <a:pt x="3598804" y="1677085"/>
                  <a:pt x="3599267" y="1682102"/>
                  <a:pt x="3600195" y="1687676"/>
                </a:cubicBezTo>
                <a:cubicBezTo>
                  <a:pt x="3615948" y="1679036"/>
                  <a:pt x="3626143" y="1677642"/>
                  <a:pt x="3644216" y="1681683"/>
                </a:cubicBezTo>
                <a:cubicBezTo>
                  <a:pt x="3649777" y="1677503"/>
                  <a:pt x="3657654" y="1674298"/>
                  <a:pt x="3662753" y="1669560"/>
                </a:cubicBezTo>
                <a:cubicBezTo>
                  <a:pt x="3660436" y="1668862"/>
                  <a:pt x="3659045" y="1668026"/>
                  <a:pt x="3656728" y="1667748"/>
                </a:cubicBezTo>
                <a:close/>
                <a:moveTo>
                  <a:pt x="1070063" y="1664821"/>
                </a:moveTo>
                <a:cubicBezTo>
                  <a:pt x="1077940" y="1663567"/>
                  <a:pt x="1091842" y="1678617"/>
                  <a:pt x="1090451" y="1666633"/>
                </a:cubicBezTo>
                <a:cubicBezTo>
                  <a:pt x="1108988" y="1680987"/>
                  <a:pt x="1068672" y="1683913"/>
                  <a:pt x="1064965" y="1672765"/>
                </a:cubicBezTo>
                <a:cubicBezTo>
                  <a:pt x="1065429" y="1667190"/>
                  <a:pt x="1067282" y="1665239"/>
                  <a:pt x="1070063" y="1664821"/>
                </a:cubicBezTo>
                <a:close/>
                <a:moveTo>
                  <a:pt x="1769787" y="1661058"/>
                </a:moveTo>
                <a:cubicBezTo>
                  <a:pt x="1776275" y="1663567"/>
                  <a:pt x="1767934" y="1667608"/>
                  <a:pt x="1769787" y="1676667"/>
                </a:cubicBezTo>
                <a:cubicBezTo>
                  <a:pt x="1748471" y="1680429"/>
                  <a:pt x="1750324" y="1675273"/>
                  <a:pt x="1737350" y="1686701"/>
                </a:cubicBezTo>
                <a:cubicBezTo>
                  <a:pt x="1738741" y="1675273"/>
                  <a:pt x="1735497" y="1667469"/>
                  <a:pt x="1727156" y="1666214"/>
                </a:cubicBezTo>
                <a:cubicBezTo>
                  <a:pt x="1740594" y="1653532"/>
                  <a:pt x="1758203" y="1685307"/>
                  <a:pt x="1769787" y="1661058"/>
                </a:cubicBezTo>
                <a:close/>
                <a:moveTo>
                  <a:pt x="13396932" y="1659887"/>
                </a:moveTo>
                <a:cubicBezTo>
                  <a:pt x="13403418" y="1661141"/>
                  <a:pt x="13406199" y="1665044"/>
                  <a:pt x="13392761" y="1666995"/>
                </a:cubicBezTo>
                <a:cubicBezTo>
                  <a:pt x="13386274" y="1669085"/>
                  <a:pt x="13388126" y="1681489"/>
                  <a:pt x="13379787" y="1669364"/>
                </a:cubicBezTo>
                <a:cubicBezTo>
                  <a:pt x="13380713" y="1660305"/>
                  <a:pt x="13390443" y="1658633"/>
                  <a:pt x="13396932" y="1659887"/>
                </a:cubicBezTo>
                <a:close/>
                <a:moveTo>
                  <a:pt x="2050604" y="1657435"/>
                </a:moveTo>
                <a:cubicBezTo>
                  <a:pt x="2055238" y="1657714"/>
                  <a:pt x="2059408" y="1658829"/>
                  <a:pt x="2063116" y="1660640"/>
                </a:cubicBezTo>
                <a:cubicBezTo>
                  <a:pt x="2052922" y="1682381"/>
                  <a:pt x="2033921" y="1666633"/>
                  <a:pt x="2013533" y="1666633"/>
                </a:cubicBezTo>
                <a:cubicBezTo>
                  <a:pt x="2020483" y="1662312"/>
                  <a:pt x="2028826" y="1658968"/>
                  <a:pt x="2037629" y="1657714"/>
                </a:cubicBezTo>
                <a:cubicBezTo>
                  <a:pt x="2041799" y="1657156"/>
                  <a:pt x="2046434" y="1657017"/>
                  <a:pt x="2050604" y="1657435"/>
                </a:cubicBezTo>
                <a:close/>
                <a:moveTo>
                  <a:pt x="1850881" y="1653254"/>
                </a:moveTo>
                <a:cubicBezTo>
                  <a:pt x="1849491" y="1679732"/>
                  <a:pt x="1829565" y="1663009"/>
                  <a:pt x="1820761" y="1661058"/>
                </a:cubicBezTo>
                <a:cubicBezTo>
                  <a:pt x="1822152" y="1644753"/>
                  <a:pt x="1842078" y="1659247"/>
                  <a:pt x="1850881" y="1653254"/>
                </a:cubicBezTo>
                <a:close/>
                <a:moveTo>
                  <a:pt x="3684068" y="1652279"/>
                </a:moveTo>
                <a:cubicBezTo>
                  <a:pt x="3677580" y="1658968"/>
                  <a:pt x="3667850" y="1658689"/>
                  <a:pt x="3654873" y="1657435"/>
                </a:cubicBezTo>
                <a:cubicBezTo>
                  <a:pt x="3654873" y="1657992"/>
                  <a:pt x="3654411" y="1658271"/>
                  <a:pt x="3654411" y="1658829"/>
                </a:cubicBezTo>
                <a:cubicBezTo>
                  <a:pt x="3665995" y="1657853"/>
                  <a:pt x="3678507" y="1660222"/>
                  <a:pt x="3688239" y="1664821"/>
                </a:cubicBezTo>
                <a:cubicBezTo>
                  <a:pt x="3684995" y="1661615"/>
                  <a:pt x="3682214" y="1658132"/>
                  <a:pt x="3684068" y="1652279"/>
                </a:cubicBezTo>
                <a:close/>
                <a:moveTo>
                  <a:pt x="3921945" y="1647978"/>
                </a:moveTo>
                <a:cubicBezTo>
                  <a:pt x="3920555" y="1665677"/>
                  <a:pt x="3901093" y="1661216"/>
                  <a:pt x="3887654" y="1664282"/>
                </a:cubicBezTo>
                <a:cubicBezTo>
                  <a:pt x="3889045" y="1644912"/>
                  <a:pt x="3911287" y="1653831"/>
                  <a:pt x="3921945" y="1647978"/>
                </a:cubicBezTo>
                <a:close/>
                <a:moveTo>
                  <a:pt x="12843175" y="1647484"/>
                </a:moveTo>
                <a:cubicBezTo>
                  <a:pt x="12848273" y="1647624"/>
                  <a:pt x="12854760" y="1650550"/>
                  <a:pt x="12856612" y="1652082"/>
                </a:cubicBezTo>
                <a:cubicBezTo>
                  <a:pt x="12851516" y="1660305"/>
                  <a:pt x="12841322" y="1666855"/>
                  <a:pt x="12836226" y="1658633"/>
                </a:cubicBezTo>
                <a:cubicBezTo>
                  <a:pt x="12833908" y="1649714"/>
                  <a:pt x="12838078" y="1647205"/>
                  <a:pt x="12843175" y="1647484"/>
                </a:cubicBezTo>
                <a:close/>
                <a:moveTo>
                  <a:pt x="3973226" y="1646146"/>
                </a:moveTo>
                <a:cubicBezTo>
                  <a:pt x="3975079" y="1669280"/>
                  <a:pt x="3962568" y="1660640"/>
                  <a:pt x="3955617" y="1653532"/>
                </a:cubicBezTo>
                <a:cubicBezTo>
                  <a:pt x="3955617" y="1642802"/>
                  <a:pt x="3969519" y="1649631"/>
                  <a:pt x="3973226" y="1646146"/>
                </a:cubicBezTo>
                <a:close/>
                <a:moveTo>
                  <a:pt x="13516025" y="1645394"/>
                </a:moveTo>
                <a:cubicBezTo>
                  <a:pt x="13530389" y="1646508"/>
                  <a:pt x="13544290" y="1650829"/>
                  <a:pt x="13552633" y="1653337"/>
                </a:cubicBezTo>
                <a:cubicBezTo>
                  <a:pt x="13540119" y="1671872"/>
                  <a:pt x="13506293" y="1646648"/>
                  <a:pt x="13478490" y="1656682"/>
                </a:cubicBezTo>
                <a:cubicBezTo>
                  <a:pt x="13487756" y="1646648"/>
                  <a:pt x="13502122" y="1644418"/>
                  <a:pt x="13516025" y="1645394"/>
                </a:cubicBezTo>
                <a:close/>
                <a:moveTo>
                  <a:pt x="3836061" y="1641966"/>
                </a:moveTo>
                <a:cubicBezTo>
                  <a:pt x="3840695" y="1642245"/>
                  <a:pt x="3845330" y="1645171"/>
                  <a:pt x="3846720" y="1648516"/>
                </a:cubicBezTo>
                <a:cubicBezTo>
                  <a:pt x="3845330" y="1661755"/>
                  <a:pt x="3829574" y="1656877"/>
                  <a:pt x="3826794" y="1650327"/>
                </a:cubicBezTo>
                <a:cubicBezTo>
                  <a:pt x="3827257" y="1643638"/>
                  <a:pt x="3831428" y="1641687"/>
                  <a:pt x="3836061" y="1641966"/>
                </a:cubicBezTo>
                <a:close/>
                <a:moveTo>
                  <a:pt x="4136695" y="1632203"/>
                </a:moveTo>
                <a:lnTo>
                  <a:pt x="4133560" y="1634858"/>
                </a:lnTo>
                <a:lnTo>
                  <a:pt x="4133806" y="1635679"/>
                </a:lnTo>
                <a:lnTo>
                  <a:pt x="4134253" y="1634326"/>
                </a:lnTo>
                <a:cubicBezTo>
                  <a:pt x="4135483" y="1632856"/>
                  <a:pt x="4137540" y="1632055"/>
                  <a:pt x="4141131" y="1632508"/>
                </a:cubicBezTo>
                <a:close/>
                <a:moveTo>
                  <a:pt x="4161174" y="1622821"/>
                </a:moveTo>
                <a:lnTo>
                  <a:pt x="4143911" y="1627769"/>
                </a:lnTo>
                <a:lnTo>
                  <a:pt x="4154254" y="1628789"/>
                </a:lnTo>
                <a:lnTo>
                  <a:pt x="4156672" y="1626653"/>
                </a:lnTo>
                <a:close/>
                <a:moveTo>
                  <a:pt x="12940488" y="1622260"/>
                </a:moveTo>
                <a:cubicBezTo>
                  <a:pt x="12946050" y="1621842"/>
                  <a:pt x="12952073" y="1622260"/>
                  <a:pt x="12958561" y="1623514"/>
                </a:cubicBezTo>
                <a:cubicBezTo>
                  <a:pt x="12983584" y="1628113"/>
                  <a:pt x="13010461" y="1643582"/>
                  <a:pt x="13028068" y="1654313"/>
                </a:cubicBezTo>
                <a:cubicBezTo>
                  <a:pt x="13029923" y="1666437"/>
                  <a:pt x="13024826" y="1670200"/>
                  <a:pt x="13022972" y="1678282"/>
                </a:cubicBezTo>
                <a:cubicBezTo>
                  <a:pt x="13034559" y="1687620"/>
                  <a:pt x="13045679" y="1698630"/>
                  <a:pt x="13054020" y="1712009"/>
                </a:cubicBezTo>
                <a:cubicBezTo>
                  <a:pt x="13041045" y="1716050"/>
                  <a:pt x="13033168" y="1703926"/>
                  <a:pt x="13024826" y="1714795"/>
                </a:cubicBezTo>
                <a:cubicBezTo>
                  <a:pt x="13024826" y="1722739"/>
                  <a:pt x="13033168" y="1718559"/>
                  <a:pt x="13031313" y="1730682"/>
                </a:cubicBezTo>
                <a:cubicBezTo>
                  <a:pt x="12992852" y="1698491"/>
                  <a:pt x="12926587" y="1706852"/>
                  <a:pt x="12901100" y="1655706"/>
                </a:cubicBezTo>
                <a:cubicBezTo>
                  <a:pt x="12908051" y="1632573"/>
                  <a:pt x="12922880" y="1623374"/>
                  <a:pt x="12940488" y="1622260"/>
                </a:cubicBezTo>
                <a:close/>
                <a:moveTo>
                  <a:pt x="4183299" y="1616900"/>
                </a:moveTo>
                <a:lnTo>
                  <a:pt x="4171146" y="1620121"/>
                </a:lnTo>
                <a:lnTo>
                  <a:pt x="4165998" y="1625939"/>
                </a:lnTo>
                <a:cubicBezTo>
                  <a:pt x="4168777" y="1625661"/>
                  <a:pt x="4172022" y="1625242"/>
                  <a:pt x="4175265" y="1625661"/>
                </a:cubicBezTo>
                <a:lnTo>
                  <a:pt x="4178011" y="1630116"/>
                </a:lnTo>
                <a:lnTo>
                  <a:pt x="4188887" y="1628201"/>
                </a:lnTo>
                <a:lnTo>
                  <a:pt x="4189631" y="1626497"/>
                </a:lnTo>
                <a:lnTo>
                  <a:pt x="4190478" y="1626732"/>
                </a:lnTo>
                <a:lnTo>
                  <a:pt x="4198129" y="1617457"/>
                </a:lnTo>
                <a:cubicBezTo>
                  <a:pt x="4192567" y="1616342"/>
                  <a:pt x="4187933" y="1616342"/>
                  <a:pt x="4183299" y="1616900"/>
                </a:cubicBezTo>
                <a:close/>
                <a:moveTo>
                  <a:pt x="2582581" y="1612003"/>
                </a:moveTo>
                <a:lnTo>
                  <a:pt x="2606677" y="1612003"/>
                </a:lnTo>
                <a:cubicBezTo>
                  <a:pt x="2615482" y="1631932"/>
                  <a:pt x="2575630" y="1631932"/>
                  <a:pt x="2582581" y="1612003"/>
                </a:cubicBezTo>
                <a:close/>
                <a:moveTo>
                  <a:pt x="2695649" y="1607822"/>
                </a:moveTo>
                <a:lnTo>
                  <a:pt x="2718355" y="1607822"/>
                </a:lnTo>
                <a:cubicBezTo>
                  <a:pt x="2724380" y="1627750"/>
                  <a:pt x="2689624" y="1627750"/>
                  <a:pt x="2695649" y="1607822"/>
                </a:cubicBezTo>
                <a:close/>
                <a:moveTo>
                  <a:pt x="4259760" y="1606726"/>
                </a:moveTo>
                <a:cubicBezTo>
                  <a:pt x="4256979" y="1605472"/>
                  <a:pt x="4251766" y="1607354"/>
                  <a:pt x="4247133" y="1608242"/>
                </a:cubicBezTo>
                <a:lnTo>
                  <a:pt x="4246691" y="1608247"/>
                </a:lnTo>
                <a:lnTo>
                  <a:pt x="4247810" y="1614682"/>
                </a:lnTo>
                <a:lnTo>
                  <a:pt x="4252389" y="1614132"/>
                </a:lnTo>
                <a:cubicBezTo>
                  <a:pt x="4254894" y="1612919"/>
                  <a:pt x="4257328" y="1610629"/>
                  <a:pt x="4259760" y="1606726"/>
                </a:cubicBezTo>
                <a:close/>
                <a:moveTo>
                  <a:pt x="2967661" y="1606428"/>
                </a:moveTo>
                <a:cubicBezTo>
                  <a:pt x="2948661" y="1618413"/>
                  <a:pt x="2921785" y="1602666"/>
                  <a:pt x="2904177" y="1632210"/>
                </a:cubicBezTo>
                <a:cubicBezTo>
                  <a:pt x="2944028" y="1646843"/>
                  <a:pt x="2956540" y="1641269"/>
                  <a:pt x="2967661" y="1606428"/>
                </a:cubicBezTo>
                <a:close/>
                <a:moveTo>
                  <a:pt x="4117636" y="1606210"/>
                </a:moveTo>
                <a:lnTo>
                  <a:pt x="4114619" y="1606723"/>
                </a:lnTo>
                <a:lnTo>
                  <a:pt x="4110279" y="1606278"/>
                </a:lnTo>
                <a:lnTo>
                  <a:pt x="4107303" y="1611011"/>
                </a:lnTo>
                <a:cubicBezTo>
                  <a:pt x="4104638" y="1613625"/>
                  <a:pt x="4102205" y="1616412"/>
                  <a:pt x="4102669" y="1621638"/>
                </a:cubicBezTo>
                <a:lnTo>
                  <a:pt x="4109612" y="1620822"/>
                </a:lnTo>
                <a:lnTo>
                  <a:pt x="4110912" y="1616323"/>
                </a:lnTo>
                <a:cubicBezTo>
                  <a:pt x="4111665" y="1613710"/>
                  <a:pt x="4112707" y="1611516"/>
                  <a:pt x="4115025" y="1610609"/>
                </a:cubicBezTo>
                <a:cubicBezTo>
                  <a:pt x="4116414" y="1609913"/>
                  <a:pt x="4118732" y="1609913"/>
                  <a:pt x="4121512" y="1610609"/>
                </a:cubicBezTo>
                <a:lnTo>
                  <a:pt x="4121687" y="1619156"/>
                </a:lnTo>
                <a:lnTo>
                  <a:pt x="4128019" y="1616367"/>
                </a:lnTo>
                <a:cubicBezTo>
                  <a:pt x="4129749" y="1614748"/>
                  <a:pt x="4130705" y="1612440"/>
                  <a:pt x="4130474" y="1609096"/>
                </a:cubicBezTo>
                <a:cubicBezTo>
                  <a:pt x="4124449" y="1612510"/>
                  <a:pt x="4121553" y="1610873"/>
                  <a:pt x="4119467" y="1608242"/>
                </a:cubicBezTo>
                <a:close/>
                <a:moveTo>
                  <a:pt x="2205841" y="1605453"/>
                </a:moveTo>
                <a:cubicBezTo>
                  <a:pt x="2208621" y="1605034"/>
                  <a:pt x="2212792" y="1605453"/>
                  <a:pt x="2216037" y="1606428"/>
                </a:cubicBezTo>
                <a:cubicBezTo>
                  <a:pt x="2223450" y="1608380"/>
                  <a:pt x="2230401" y="1613118"/>
                  <a:pt x="2229475" y="1620365"/>
                </a:cubicBezTo>
                <a:cubicBezTo>
                  <a:pt x="2212792" y="1616044"/>
                  <a:pt x="2212792" y="1621758"/>
                  <a:pt x="2201207" y="1608798"/>
                </a:cubicBezTo>
                <a:cubicBezTo>
                  <a:pt x="2201207" y="1606986"/>
                  <a:pt x="2203060" y="1605871"/>
                  <a:pt x="2205841" y="1605453"/>
                </a:cubicBezTo>
                <a:close/>
                <a:moveTo>
                  <a:pt x="3734579" y="1601271"/>
                </a:moveTo>
                <a:cubicBezTo>
                  <a:pt x="3739676" y="1603501"/>
                  <a:pt x="3746164" y="1611445"/>
                  <a:pt x="3756357" y="1609077"/>
                </a:cubicBezTo>
                <a:cubicBezTo>
                  <a:pt x="3754967" y="1621619"/>
                  <a:pt x="3735042" y="1612003"/>
                  <a:pt x="3727164" y="1614790"/>
                </a:cubicBezTo>
                <a:cubicBezTo>
                  <a:pt x="3727626" y="1607125"/>
                  <a:pt x="3729481" y="1603223"/>
                  <a:pt x="3730870" y="1601690"/>
                </a:cubicBezTo>
                <a:cubicBezTo>
                  <a:pt x="3731798" y="1600436"/>
                  <a:pt x="3733187" y="1600576"/>
                  <a:pt x="3734579" y="1601271"/>
                </a:cubicBezTo>
                <a:close/>
                <a:moveTo>
                  <a:pt x="4175265" y="1599878"/>
                </a:moveTo>
                <a:cubicBezTo>
                  <a:pt x="4173876" y="1601132"/>
                  <a:pt x="4172485" y="1604059"/>
                  <a:pt x="4170632" y="1605453"/>
                </a:cubicBezTo>
                <a:cubicBezTo>
                  <a:pt x="4170632" y="1606847"/>
                  <a:pt x="4168777" y="1606428"/>
                  <a:pt x="4168777" y="1606428"/>
                </a:cubicBezTo>
                <a:lnTo>
                  <a:pt x="4165621" y="1613514"/>
                </a:lnTo>
                <a:lnTo>
                  <a:pt x="4166770" y="1614014"/>
                </a:lnTo>
                <a:lnTo>
                  <a:pt x="4170858" y="1612284"/>
                </a:lnTo>
                <a:lnTo>
                  <a:pt x="4176193" y="1603501"/>
                </a:lnTo>
                <a:lnTo>
                  <a:pt x="4176023" y="1608269"/>
                </a:lnTo>
                <a:lnTo>
                  <a:pt x="4183264" y="1600577"/>
                </a:lnTo>
                <a:close/>
                <a:moveTo>
                  <a:pt x="4248638" y="1594602"/>
                </a:moveTo>
                <a:cubicBezTo>
                  <a:pt x="4245395" y="1594323"/>
                  <a:pt x="4242614" y="1595020"/>
                  <a:pt x="4239833" y="1596413"/>
                </a:cubicBezTo>
                <a:lnTo>
                  <a:pt x="4233224" y="1603040"/>
                </a:lnTo>
                <a:lnTo>
                  <a:pt x="4234523" y="1602666"/>
                </a:lnTo>
                <a:cubicBezTo>
                  <a:pt x="4237476" y="1601272"/>
                  <a:pt x="4240604" y="1599878"/>
                  <a:pt x="4245238" y="1599878"/>
                </a:cubicBezTo>
                <a:lnTo>
                  <a:pt x="4245880" y="1603574"/>
                </a:lnTo>
                <a:lnTo>
                  <a:pt x="4251361" y="1603416"/>
                </a:lnTo>
                <a:cubicBezTo>
                  <a:pt x="4255821" y="1603660"/>
                  <a:pt x="4259296" y="1603033"/>
                  <a:pt x="4258833" y="1597807"/>
                </a:cubicBezTo>
                <a:cubicBezTo>
                  <a:pt x="4255126" y="1595856"/>
                  <a:pt x="4251881" y="1594741"/>
                  <a:pt x="4248638" y="1594602"/>
                </a:cubicBezTo>
                <a:close/>
                <a:moveTo>
                  <a:pt x="3116732" y="1592547"/>
                </a:moveTo>
                <a:lnTo>
                  <a:pt x="3115938" y="1593174"/>
                </a:lnTo>
                <a:lnTo>
                  <a:pt x="3116487" y="1593121"/>
                </a:lnTo>
                <a:close/>
                <a:moveTo>
                  <a:pt x="1389340" y="1588590"/>
                </a:moveTo>
                <a:cubicBezTo>
                  <a:pt x="1399072" y="1586918"/>
                  <a:pt x="1411583" y="1597788"/>
                  <a:pt x="1420851" y="1595697"/>
                </a:cubicBezTo>
                <a:cubicBezTo>
                  <a:pt x="1418998" y="1620643"/>
                  <a:pt x="1394902" y="1591516"/>
                  <a:pt x="1381000" y="1595697"/>
                </a:cubicBezTo>
                <a:cubicBezTo>
                  <a:pt x="1383317" y="1591516"/>
                  <a:pt x="1386096" y="1589148"/>
                  <a:pt x="1389340" y="1588590"/>
                </a:cubicBezTo>
                <a:close/>
                <a:moveTo>
                  <a:pt x="3617803" y="1587197"/>
                </a:moveTo>
                <a:cubicBezTo>
                  <a:pt x="3617803" y="1598624"/>
                  <a:pt x="3607608" y="1600018"/>
                  <a:pt x="3604363" y="1606428"/>
                </a:cubicBezTo>
                <a:cubicBezTo>
                  <a:pt x="3612705" y="1608937"/>
                  <a:pt x="3619193" y="1612560"/>
                  <a:pt x="3617803" y="1618832"/>
                </a:cubicBezTo>
                <a:cubicBezTo>
                  <a:pt x="3601120" y="1615068"/>
                  <a:pt x="3602510" y="1620226"/>
                  <a:pt x="3589535" y="1608798"/>
                </a:cubicBezTo>
                <a:cubicBezTo>
                  <a:pt x="3589535" y="1607404"/>
                  <a:pt x="3591389" y="1606428"/>
                  <a:pt x="3594633" y="1606428"/>
                </a:cubicBezTo>
                <a:cubicBezTo>
                  <a:pt x="3594633" y="1598764"/>
                  <a:pt x="3609461" y="1589705"/>
                  <a:pt x="3617803" y="1587197"/>
                </a:cubicBezTo>
                <a:close/>
                <a:moveTo>
                  <a:pt x="4448825" y="1585124"/>
                </a:moveTo>
                <a:lnTo>
                  <a:pt x="4448336" y="1585159"/>
                </a:lnTo>
                <a:lnTo>
                  <a:pt x="4448678" y="1585400"/>
                </a:lnTo>
                <a:close/>
                <a:moveTo>
                  <a:pt x="12784324" y="1581427"/>
                </a:moveTo>
                <a:cubicBezTo>
                  <a:pt x="12786179" y="1594945"/>
                  <a:pt x="12795445" y="1594805"/>
                  <a:pt x="12806567" y="1592018"/>
                </a:cubicBezTo>
                <a:cubicBezTo>
                  <a:pt x="12804713" y="1600240"/>
                  <a:pt x="12803324" y="1608463"/>
                  <a:pt x="12792201" y="1605675"/>
                </a:cubicBezTo>
                <a:cubicBezTo>
                  <a:pt x="12795445" y="1616545"/>
                  <a:pt x="12807494" y="1613759"/>
                  <a:pt x="12817224" y="1615152"/>
                </a:cubicBezTo>
                <a:cubicBezTo>
                  <a:pt x="12820470" y="1639680"/>
                  <a:pt x="12831590" y="1635498"/>
                  <a:pt x="12828346" y="1659887"/>
                </a:cubicBezTo>
                <a:cubicBezTo>
                  <a:pt x="12812592" y="1654452"/>
                  <a:pt x="12806567" y="1638147"/>
                  <a:pt x="12792201" y="1630064"/>
                </a:cubicBezTo>
                <a:cubicBezTo>
                  <a:pt x="12786179" y="1631318"/>
                  <a:pt x="12787570" y="1641492"/>
                  <a:pt x="12781080" y="1644139"/>
                </a:cubicBezTo>
                <a:cubicBezTo>
                  <a:pt x="12768568" y="1634663"/>
                  <a:pt x="12767179" y="1623374"/>
                  <a:pt x="12748179" y="1632851"/>
                </a:cubicBezTo>
                <a:cubicBezTo>
                  <a:pt x="12745399" y="1630203"/>
                  <a:pt x="12746788" y="1618079"/>
                  <a:pt x="12738913" y="1622260"/>
                </a:cubicBezTo>
                <a:cubicBezTo>
                  <a:pt x="12735668" y="1611250"/>
                  <a:pt x="12745399" y="1613898"/>
                  <a:pt x="12743546" y="1605675"/>
                </a:cubicBezTo>
                <a:cubicBezTo>
                  <a:pt x="12743546" y="1597453"/>
                  <a:pt x="12729180" y="1605955"/>
                  <a:pt x="12727791" y="1599126"/>
                </a:cubicBezTo>
                <a:cubicBezTo>
                  <a:pt x="12744936" y="1588256"/>
                  <a:pt x="12759299" y="1582681"/>
                  <a:pt x="12784324" y="1581427"/>
                </a:cubicBezTo>
                <a:close/>
                <a:moveTo>
                  <a:pt x="2977393" y="1579671"/>
                </a:moveTo>
                <a:cubicBezTo>
                  <a:pt x="2966271" y="1597092"/>
                  <a:pt x="2948661" y="1575490"/>
                  <a:pt x="2940784" y="1595697"/>
                </a:cubicBezTo>
                <a:cubicBezTo>
                  <a:pt x="2961173" y="1575490"/>
                  <a:pt x="2993612" y="1645311"/>
                  <a:pt x="2977393" y="1606428"/>
                </a:cubicBezTo>
                <a:cubicBezTo>
                  <a:pt x="2982489" y="1606428"/>
                  <a:pt x="2982026" y="1602387"/>
                  <a:pt x="2985270" y="1601132"/>
                </a:cubicBezTo>
                <a:cubicBezTo>
                  <a:pt x="2996391" y="1599739"/>
                  <a:pt x="3001025" y="1605034"/>
                  <a:pt x="2999635" y="1617019"/>
                </a:cubicBezTo>
                <a:cubicBezTo>
                  <a:pt x="2988513" y="1618413"/>
                  <a:pt x="2980636" y="1622734"/>
                  <a:pt x="2977393" y="1632210"/>
                </a:cubicBezTo>
                <a:cubicBezTo>
                  <a:pt x="2995002" y="1630817"/>
                  <a:pt x="3001488" y="1615766"/>
                  <a:pt x="3014000" y="1606428"/>
                </a:cubicBezTo>
                <a:cubicBezTo>
                  <a:pt x="3001488" y="1587614"/>
                  <a:pt x="2966271" y="1602526"/>
                  <a:pt x="2977393" y="1579671"/>
                </a:cubicBezTo>
                <a:close/>
                <a:moveTo>
                  <a:pt x="4394607" y="1578574"/>
                </a:moveTo>
                <a:lnTo>
                  <a:pt x="4393770" y="1578912"/>
                </a:lnTo>
                <a:lnTo>
                  <a:pt x="4394359" y="1578890"/>
                </a:lnTo>
                <a:close/>
                <a:moveTo>
                  <a:pt x="4477587" y="1577827"/>
                </a:moveTo>
                <a:lnTo>
                  <a:pt x="4469040" y="1580857"/>
                </a:lnTo>
                <a:cubicBezTo>
                  <a:pt x="4465275" y="1581850"/>
                  <a:pt x="4461799" y="1583174"/>
                  <a:pt x="4460409" y="1586519"/>
                </a:cubicBezTo>
                <a:lnTo>
                  <a:pt x="4460409" y="1590133"/>
                </a:lnTo>
                <a:lnTo>
                  <a:pt x="4468594" y="1590402"/>
                </a:lnTo>
                <a:cubicBezTo>
                  <a:pt x="4473229" y="1589008"/>
                  <a:pt x="4471839" y="1579671"/>
                  <a:pt x="4478326" y="1579671"/>
                </a:cubicBezTo>
                <a:close/>
                <a:moveTo>
                  <a:pt x="2838838" y="1571170"/>
                </a:moveTo>
                <a:cubicBezTo>
                  <a:pt x="2830034" y="1573400"/>
                  <a:pt x="2822155" y="1588451"/>
                  <a:pt x="2811497" y="1590402"/>
                </a:cubicBezTo>
                <a:cubicBezTo>
                  <a:pt x="2819375" y="1597092"/>
                  <a:pt x="2838374" y="1582458"/>
                  <a:pt x="2847641" y="1574376"/>
                </a:cubicBezTo>
                <a:cubicBezTo>
                  <a:pt x="2844862" y="1571449"/>
                  <a:pt x="2842082" y="1570473"/>
                  <a:pt x="2838838" y="1571170"/>
                </a:cubicBezTo>
                <a:close/>
                <a:moveTo>
                  <a:pt x="4571624" y="1570631"/>
                </a:moveTo>
                <a:cubicBezTo>
                  <a:pt x="4568843" y="1571189"/>
                  <a:pt x="4565601" y="1571607"/>
                  <a:pt x="4563283" y="1572444"/>
                </a:cubicBezTo>
                <a:cubicBezTo>
                  <a:pt x="4563746" y="1574394"/>
                  <a:pt x="4564674" y="1575788"/>
                  <a:pt x="4566063" y="1576764"/>
                </a:cubicBezTo>
                <a:cubicBezTo>
                  <a:pt x="4566527" y="1576903"/>
                  <a:pt x="4566990" y="1577042"/>
                  <a:pt x="4567917" y="1577181"/>
                </a:cubicBezTo>
                <a:cubicBezTo>
                  <a:pt x="4570697" y="1574952"/>
                  <a:pt x="4572550" y="1573000"/>
                  <a:pt x="4571624" y="1570631"/>
                </a:cubicBezTo>
                <a:close/>
                <a:moveTo>
                  <a:pt x="4510457" y="1568820"/>
                </a:moveTo>
                <a:cubicBezTo>
                  <a:pt x="4506284" y="1569378"/>
                  <a:pt x="4502116" y="1569378"/>
                  <a:pt x="4497481" y="1569656"/>
                </a:cubicBezTo>
                <a:cubicBezTo>
                  <a:pt x="4499798" y="1571050"/>
                  <a:pt x="4502578" y="1574115"/>
                  <a:pt x="4504895" y="1574813"/>
                </a:cubicBezTo>
                <a:cubicBezTo>
                  <a:pt x="4506749" y="1573000"/>
                  <a:pt x="4509529" y="1572303"/>
                  <a:pt x="4510457" y="1568820"/>
                </a:cubicBezTo>
                <a:close/>
                <a:moveTo>
                  <a:pt x="1285077" y="1561972"/>
                </a:moveTo>
                <a:cubicBezTo>
                  <a:pt x="1302223" y="1558070"/>
                  <a:pt x="1294808" y="1581204"/>
                  <a:pt x="1306856" y="1582458"/>
                </a:cubicBezTo>
                <a:cubicBezTo>
                  <a:pt x="1305466" y="1591377"/>
                  <a:pt x="1297589" y="1584966"/>
                  <a:pt x="1298979" y="1577302"/>
                </a:cubicBezTo>
                <a:cubicBezTo>
                  <a:pt x="1294344" y="1581204"/>
                  <a:pt x="1288320" y="1582458"/>
                  <a:pt x="1280442" y="1582458"/>
                </a:cubicBezTo>
                <a:cubicBezTo>
                  <a:pt x="1288320" y="1572145"/>
                  <a:pt x="1277199" y="1572145"/>
                  <a:pt x="1285077" y="1561972"/>
                </a:cubicBezTo>
                <a:close/>
                <a:moveTo>
                  <a:pt x="2174794" y="1559882"/>
                </a:moveTo>
                <a:cubicBezTo>
                  <a:pt x="2176648" y="1560299"/>
                  <a:pt x="2179428" y="1561136"/>
                  <a:pt x="2181744" y="1562808"/>
                </a:cubicBezTo>
                <a:lnTo>
                  <a:pt x="2181744" y="1578834"/>
                </a:lnTo>
                <a:cubicBezTo>
                  <a:pt x="2166916" y="1578834"/>
                  <a:pt x="2162745" y="1562669"/>
                  <a:pt x="2170624" y="1560160"/>
                </a:cubicBezTo>
                <a:cubicBezTo>
                  <a:pt x="2171550" y="1559603"/>
                  <a:pt x="2172941" y="1559463"/>
                  <a:pt x="2174794" y="1559882"/>
                </a:cubicBezTo>
                <a:close/>
                <a:moveTo>
                  <a:pt x="2921322" y="1558070"/>
                </a:moveTo>
                <a:cubicBezTo>
                  <a:pt x="2916688" y="1575490"/>
                  <a:pt x="2937540" y="1562250"/>
                  <a:pt x="2931054" y="1579671"/>
                </a:cubicBezTo>
                <a:cubicBezTo>
                  <a:pt x="2940784" y="1581064"/>
                  <a:pt x="2945418" y="1575769"/>
                  <a:pt x="2945418" y="1563784"/>
                </a:cubicBezTo>
                <a:cubicBezTo>
                  <a:pt x="2931054" y="1569079"/>
                  <a:pt x="2932443" y="1556816"/>
                  <a:pt x="2921322" y="1558070"/>
                </a:cubicBezTo>
                <a:close/>
                <a:moveTo>
                  <a:pt x="2421319" y="1558070"/>
                </a:moveTo>
                <a:cubicBezTo>
                  <a:pt x="2424564" y="1567826"/>
                  <a:pt x="2433831" y="1571727"/>
                  <a:pt x="2448196" y="1568940"/>
                </a:cubicBezTo>
                <a:cubicBezTo>
                  <a:pt x="2437076" y="1581482"/>
                  <a:pt x="2406491" y="1582737"/>
                  <a:pt x="2384247" y="1574376"/>
                </a:cubicBezTo>
                <a:cubicBezTo>
                  <a:pt x="2390735" y="1563366"/>
                  <a:pt x="2416223" y="1572006"/>
                  <a:pt x="2421319" y="1558070"/>
                </a:cubicBezTo>
                <a:close/>
                <a:moveTo>
                  <a:pt x="2026044" y="1558070"/>
                </a:moveTo>
                <a:cubicBezTo>
                  <a:pt x="2024190" y="1580925"/>
                  <a:pt x="2061726" y="1559185"/>
                  <a:pt x="2066360" y="1573121"/>
                </a:cubicBezTo>
                <a:cubicBezTo>
                  <a:pt x="2068213" y="1582040"/>
                  <a:pt x="2039946" y="1582179"/>
                  <a:pt x="2052458" y="1588590"/>
                </a:cubicBezTo>
                <a:cubicBezTo>
                  <a:pt x="2038556" y="1603781"/>
                  <a:pt x="2028826" y="1568103"/>
                  <a:pt x="2003802" y="1578277"/>
                </a:cubicBezTo>
                <a:cubicBezTo>
                  <a:pt x="2005656" y="1565596"/>
                  <a:pt x="2018166" y="1563227"/>
                  <a:pt x="2026044" y="1558070"/>
                </a:cubicBezTo>
                <a:close/>
                <a:moveTo>
                  <a:pt x="2338372" y="1556258"/>
                </a:moveTo>
                <a:cubicBezTo>
                  <a:pt x="2341616" y="1556119"/>
                  <a:pt x="2345323" y="1557372"/>
                  <a:pt x="2349493" y="1561414"/>
                </a:cubicBezTo>
                <a:cubicBezTo>
                  <a:pt x="2349493" y="1572006"/>
                  <a:pt x="2337908" y="1572284"/>
                  <a:pt x="2336518" y="1583016"/>
                </a:cubicBezTo>
                <a:cubicBezTo>
                  <a:pt x="2324007" y="1572981"/>
                  <a:pt x="2328640" y="1556955"/>
                  <a:pt x="2338372" y="1556258"/>
                </a:cubicBezTo>
                <a:close/>
                <a:moveTo>
                  <a:pt x="4370611" y="1556000"/>
                </a:moveTo>
                <a:lnTo>
                  <a:pt x="4364776" y="1557200"/>
                </a:lnTo>
                <a:lnTo>
                  <a:pt x="4361936" y="1562518"/>
                </a:lnTo>
                <a:lnTo>
                  <a:pt x="4365258" y="1562250"/>
                </a:lnTo>
                <a:close/>
                <a:moveTo>
                  <a:pt x="4643450" y="1555162"/>
                </a:moveTo>
                <a:cubicBezTo>
                  <a:pt x="4618890" y="1560179"/>
                  <a:pt x="4597111" y="1565197"/>
                  <a:pt x="4577649" y="1569098"/>
                </a:cubicBezTo>
                <a:cubicBezTo>
                  <a:pt x="4587379" y="1573419"/>
                  <a:pt x="4595256" y="1564778"/>
                  <a:pt x="4600354" y="1580387"/>
                </a:cubicBezTo>
                <a:cubicBezTo>
                  <a:pt x="4604062" y="1580247"/>
                  <a:pt x="4608232" y="1580387"/>
                  <a:pt x="4611941" y="1580108"/>
                </a:cubicBezTo>
                <a:cubicBezTo>
                  <a:pt x="4620281" y="1576903"/>
                  <a:pt x="4625841" y="1570910"/>
                  <a:pt x="4634182" y="1567844"/>
                </a:cubicBezTo>
                <a:lnTo>
                  <a:pt x="4638999" y="1574975"/>
                </a:lnTo>
                <a:lnTo>
                  <a:pt x="4642367" y="1574376"/>
                </a:lnTo>
                <a:lnTo>
                  <a:pt x="4641868" y="1576542"/>
                </a:lnTo>
                <a:lnTo>
                  <a:pt x="4644376" y="1576206"/>
                </a:lnTo>
                <a:cubicBezTo>
                  <a:pt x="4643450" y="1569517"/>
                  <a:pt x="4641596" y="1562688"/>
                  <a:pt x="4643450" y="1555162"/>
                </a:cubicBezTo>
                <a:close/>
                <a:moveTo>
                  <a:pt x="4374681" y="1555162"/>
                </a:moveTo>
                <a:lnTo>
                  <a:pt x="4374284" y="1555244"/>
                </a:lnTo>
                <a:lnTo>
                  <a:pt x="4378601" y="1563479"/>
                </a:lnTo>
                <a:lnTo>
                  <a:pt x="4381116" y="1563870"/>
                </a:lnTo>
                <a:lnTo>
                  <a:pt x="4383587" y="1563701"/>
                </a:lnTo>
                <a:lnTo>
                  <a:pt x="4389361" y="1560500"/>
                </a:lnTo>
                <a:lnTo>
                  <a:pt x="4394057" y="1559587"/>
                </a:lnTo>
                <a:lnTo>
                  <a:pt x="4395998" y="1555720"/>
                </a:lnTo>
                <a:cubicBezTo>
                  <a:pt x="4390436" y="1557810"/>
                  <a:pt x="4382095" y="1555441"/>
                  <a:pt x="4374681" y="1555162"/>
                </a:cubicBezTo>
                <a:close/>
                <a:moveTo>
                  <a:pt x="11719909" y="1553275"/>
                </a:moveTo>
                <a:cubicBezTo>
                  <a:pt x="11719446" y="1553275"/>
                  <a:pt x="11719446" y="1553833"/>
                  <a:pt x="11718981" y="1553833"/>
                </a:cubicBezTo>
                <a:cubicBezTo>
                  <a:pt x="11717591" y="1558153"/>
                  <a:pt x="11715274" y="1561916"/>
                  <a:pt x="11711104" y="1564425"/>
                </a:cubicBezTo>
                <a:cubicBezTo>
                  <a:pt x="11711567" y="1566376"/>
                  <a:pt x="11710178" y="1569163"/>
                  <a:pt x="11712495" y="1570138"/>
                </a:cubicBezTo>
                <a:cubicBezTo>
                  <a:pt x="11713422" y="1563588"/>
                  <a:pt x="11719909" y="1563030"/>
                  <a:pt x="11720836" y="1556621"/>
                </a:cubicBezTo>
                <a:cubicBezTo>
                  <a:pt x="11720836" y="1555645"/>
                  <a:pt x="11720372" y="1553833"/>
                  <a:pt x="11719909" y="1553275"/>
                </a:cubicBezTo>
                <a:close/>
                <a:moveTo>
                  <a:pt x="4654572" y="1552793"/>
                </a:moveTo>
                <a:cubicBezTo>
                  <a:pt x="4652255" y="1553491"/>
                  <a:pt x="4649938" y="1553769"/>
                  <a:pt x="4647157" y="1554326"/>
                </a:cubicBezTo>
                <a:cubicBezTo>
                  <a:pt x="4649011" y="1556557"/>
                  <a:pt x="4651329" y="1558228"/>
                  <a:pt x="4654572" y="1558089"/>
                </a:cubicBezTo>
                <a:cubicBezTo>
                  <a:pt x="4654108" y="1556277"/>
                  <a:pt x="4655035" y="1555162"/>
                  <a:pt x="4654572" y="1552793"/>
                </a:cubicBezTo>
                <a:close/>
                <a:moveTo>
                  <a:pt x="11738909" y="1552300"/>
                </a:moveTo>
                <a:cubicBezTo>
                  <a:pt x="11737054" y="1552161"/>
                  <a:pt x="11735664" y="1555087"/>
                  <a:pt x="11733810" y="1555645"/>
                </a:cubicBezTo>
                <a:cubicBezTo>
                  <a:pt x="11735201" y="1556900"/>
                  <a:pt x="11734737" y="1559129"/>
                  <a:pt x="11737054" y="1559408"/>
                </a:cubicBezTo>
                <a:cubicBezTo>
                  <a:pt x="11732420" y="1566097"/>
                  <a:pt x="11725006" y="1568745"/>
                  <a:pt x="11715739" y="1570138"/>
                </a:cubicBezTo>
                <a:cubicBezTo>
                  <a:pt x="11716202" y="1570974"/>
                  <a:pt x="11716202" y="1572508"/>
                  <a:pt x="11716664" y="1573343"/>
                </a:cubicBezTo>
                <a:cubicBezTo>
                  <a:pt x="11730567" y="1575156"/>
                  <a:pt x="11744005" y="1575992"/>
                  <a:pt x="11757444" y="1573901"/>
                </a:cubicBezTo>
                <a:cubicBezTo>
                  <a:pt x="11745396" y="1591740"/>
                  <a:pt x="11763003" y="1588116"/>
                  <a:pt x="11769955" y="1603864"/>
                </a:cubicBezTo>
                <a:cubicBezTo>
                  <a:pt x="11772272" y="1596338"/>
                  <a:pt x="11779223" y="1599543"/>
                  <a:pt x="11782931" y="1596757"/>
                </a:cubicBezTo>
                <a:cubicBezTo>
                  <a:pt x="11783393" y="1596757"/>
                  <a:pt x="11783393" y="1596477"/>
                  <a:pt x="11783393" y="1596477"/>
                </a:cubicBezTo>
                <a:cubicBezTo>
                  <a:pt x="11784783" y="1595363"/>
                  <a:pt x="11786173" y="1593691"/>
                  <a:pt x="11786638" y="1590206"/>
                </a:cubicBezTo>
                <a:cubicBezTo>
                  <a:pt x="11783393" y="1588952"/>
                  <a:pt x="11779686" y="1584353"/>
                  <a:pt x="11776442" y="1581427"/>
                </a:cubicBezTo>
                <a:cubicBezTo>
                  <a:pt x="11775052" y="1581008"/>
                  <a:pt x="11774127" y="1579893"/>
                  <a:pt x="11771810" y="1580451"/>
                </a:cubicBezTo>
                <a:cubicBezTo>
                  <a:pt x="11772735" y="1579893"/>
                  <a:pt x="11773662" y="1579615"/>
                  <a:pt x="11774127" y="1579058"/>
                </a:cubicBezTo>
                <a:cubicBezTo>
                  <a:pt x="11762541" y="1567630"/>
                  <a:pt x="11750492" y="1553416"/>
                  <a:pt x="11738909" y="1552300"/>
                </a:cubicBezTo>
                <a:close/>
                <a:moveTo>
                  <a:pt x="4669285" y="1552020"/>
                </a:moveTo>
                <a:lnTo>
                  <a:pt x="4668938" y="1559343"/>
                </a:lnTo>
                <a:cubicBezTo>
                  <a:pt x="4670790" y="1560319"/>
                  <a:pt x="4672644" y="1561155"/>
                  <a:pt x="4674035" y="1562688"/>
                </a:cubicBezTo>
                <a:cubicBezTo>
                  <a:pt x="4674035" y="1563524"/>
                  <a:pt x="4673108" y="1563385"/>
                  <a:pt x="4673108" y="1564081"/>
                </a:cubicBezTo>
                <a:lnTo>
                  <a:pt x="4675902" y="1563435"/>
                </a:lnTo>
                <a:lnTo>
                  <a:pt x="4675210" y="1562320"/>
                </a:lnTo>
                <a:lnTo>
                  <a:pt x="4673973" y="1552807"/>
                </a:lnTo>
                <a:lnTo>
                  <a:pt x="4672644" y="1553350"/>
                </a:lnTo>
                <a:lnTo>
                  <a:pt x="4673596" y="1552074"/>
                </a:lnTo>
                <a:close/>
                <a:moveTo>
                  <a:pt x="4658509" y="1551809"/>
                </a:moveTo>
                <a:lnTo>
                  <a:pt x="4657816" y="1551957"/>
                </a:lnTo>
                <a:cubicBezTo>
                  <a:pt x="4659670" y="1553350"/>
                  <a:pt x="4661523" y="1554605"/>
                  <a:pt x="4663838" y="1555720"/>
                </a:cubicBezTo>
                <a:lnTo>
                  <a:pt x="4666939" y="1551991"/>
                </a:lnTo>
                <a:lnTo>
                  <a:pt x="4659861" y="1551903"/>
                </a:lnTo>
                <a:close/>
                <a:moveTo>
                  <a:pt x="1188228" y="1548873"/>
                </a:moveTo>
                <a:cubicBezTo>
                  <a:pt x="1195178" y="1548315"/>
                  <a:pt x="1203056" y="1550544"/>
                  <a:pt x="1208154" y="1552077"/>
                </a:cubicBezTo>
                <a:cubicBezTo>
                  <a:pt x="1208154" y="1568800"/>
                  <a:pt x="1187301" y="1562808"/>
                  <a:pt x="1173862" y="1562808"/>
                </a:cubicBezTo>
                <a:cubicBezTo>
                  <a:pt x="1175253" y="1553053"/>
                  <a:pt x="1181277" y="1549429"/>
                  <a:pt x="1188228" y="1548873"/>
                </a:cubicBezTo>
                <a:close/>
                <a:moveTo>
                  <a:pt x="4437703" y="1545686"/>
                </a:moveTo>
                <a:cubicBezTo>
                  <a:pt x="4434459" y="1546383"/>
                  <a:pt x="4431217" y="1547776"/>
                  <a:pt x="4427973" y="1549169"/>
                </a:cubicBezTo>
                <a:cubicBezTo>
                  <a:pt x="4425192" y="1552793"/>
                  <a:pt x="4421483" y="1554605"/>
                  <a:pt x="4418240" y="1555162"/>
                </a:cubicBezTo>
                <a:cubicBezTo>
                  <a:pt x="4413607" y="1558228"/>
                  <a:pt x="4407583" y="1561434"/>
                  <a:pt x="4405265" y="1563524"/>
                </a:cubicBezTo>
                <a:cubicBezTo>
                  <a:pt x="4422876" y="1562131"/>
                  <a:pt x="4442802" y="1547498"/>
                  <a:pt x="4459483" y="1558089"/>
                </a:cubicBezTo>
                <a:cubicBezTo>
                  <a:pt x="4456702" y="1551260"/>
                  <a:pt x="4452068" y="1547079"/>
                  <a:pt x="4446971" y="1545686"/>
                </a:cubicBezTo>
                <a:cubicBezTo>
                  <a:pt x="4444190" y="1544850"/>
                  <a:pt x="4440947" y="1545128"/>
                  <a:pt x="4437703" y="1545686"/>
                </a:cubicBezTo>
                <a:close/>
                <a:moveTo>
                  <a:pt x="11680521" y="1540734"/>
                </a:moveTo>
                <a:cubicBezTo>
                  <a:pt x="11677739" y="1541848"/>
                  <a:pt x="11675886" y="1542823"/>
                  <a:pt x="11674032" y="1544356"/>
                </a:cubicBezTo>
                <a:cubicBezTo>
                  <a:pt x="11675886" y="1545890"/>
                  <a:pt x="11677277" y="1547980"/>
                  <a:pt x="11680056" y="1548119"/>
                </a:cubicBezTo>
                <a:cubicBezTo>
                  <a:pt x="11678204" y="1548816"/>
                  <a:pt x="11674497" y="1546587"/>
                  <a:pt x="11672180" y="1546308"/>
                </a:cubicBezTo>
                <a:cubicBezTo>
                  <a:pt x="11671715" y="1546587"/>
                  <a:pt x="11671252" y="1546447"/>
                  <a:pt x="11671252" y="1546726"/>
                </a:cubicBezTo>
                <a:cubicBezTo>
                  <a:pt x="11671252" y="1547284"/>
                  <a:pt x="11671252" y="1548119"/>
                  <a:pt x="11670790" y="1548677"/>
                </a:cubicBezTo>
                <a:cubicBezTo>
                  <a:pt x="11670325" y="1550767"/>
                  <a:pt x="11671252" y="1552858"/>
                  <a:pt x="11674497" y="1555645"/>
                </a:cubicBezTo>
                <a:cubicBezTo>
                  <a:pt x="11670790" y="1559129"/>
                  <a:pt x="11668473" y="1559268"/>
                  <a:pt x="11667082" y="1558014"/>
                </a:cubicBezTo>
                <a:cubicBezTo>
                  <a:pt x="11666618" y="1558711"/>
                  <a:pt x="11666618" y="1560105"/>
                  <a:pt x="11666156" y="1560801"/>
                </a:cubicBezTo>
                <a:cubicBezTo>
                  <a:pt x="11675422" y="1564425"/>
                  <a:pt x="11685154" y="1565958"/>
                  <a:pt x="11694422" y="1568327"/>
                </a:cubicBezTo>
                <a:cubicBezTo>
                  <a:pt x="11698592" y="1565958"/>
                  <a:pt x="11700909" y="1563310"/>
                  <a:pt x="11695349" y="1555227"/>
                </a:cubicBezTo>
                <a:cubicBezTo>
                  <a:pt x="11700909" y="1554112"/>
                  <a:pt x="11701836" y="1556759"/>
                  <a:pt x="11705080" y="1557596"/>
                </a:cubicBezTo>
                <a:cubicBezTo>
                  <a:pt x="11706008" y="1556202"/>
                  <a:pt x="11707861" y="1555784"/>
                  <a:pt x="11707861" y="1552858"/>
                </a:cubicBezTo>
                <a:cubicBezTo>
                  <a:pt x="11707861" y="1552300"/>
                  <a:pt x="11707398" y="1552579"/>
                  <a:pt x="11707398" y="1552021"/>
                </a:cubicBezTo>
                <a:cubicBezTo>
                  <a:pt x="11705543" y="1551324"/>
                  <a:pt x="11704153" y="1547980"/>
                  <a:pt x="11703226" y="1542545"/>
                </a:cubicBezTo>
                <a:cubicBezTo>
                  <a:pt x="11703226" y="1542406"/>
                  <a:pt x="11703226" y="1542266"/>
                  <a:pt x="11703226" y="1542127"/>
                </a:cubicBezTo>
                <a:cubicBezTo>
                  <a:pt x="11702763" y="1541848"/>
                  <a:pt x="11702300" y="1541013"/>
                  <a:pt x="11701836" y="1540734"/>
                </a:cubicBezTo>
                <a:cubicBezTo>
                  <a:pt x="11693959" y="1543938"/>
                  <a:pt x="11685154" y="1540454"/>
                  <a:pt x="11686080" y="1555227"/>
                </a:cubicBezTo>
                <a:cubicBezTo>
                  <a:pt x="11683301" y="1553973"/>
                  <a:pt x="11680984" y="1547143"/>
                  <a:pt x="11680521" y="1540734"/>
                </a:cubicBezTo>
                <a:close/>
                <a:moveTo>
                  <a:pt x="4359838" y="1540235"/>
                </a:moveTo>
                <a:lnTo>
                  <a:pt x="4345794" y="1541601"/>
                </a:lnTo>
                <a:lnTo>
                  <a:pt x="4345024" y="1544431"/>
                </a:lnTo>
                <a:lnTo>
                  <a:pt x="4362633" y="1543037"/>
                </a:lnTo>
                <a:close/>
                <a:moveTo>
                  <a:pt x="3819536" y="1539832"/>
                </a:moveTo>
                <a:cubicBezTo>
                  <a:pt x="3801463" y="1536766"/>
                  <a:pt x="3806097" y="1573559"/>
                  <a:pt x="3788951" y="1556974"/>
                </a:cubicBezTo>
                <a:cubicBezTo>
                  <a:pt x="3788024" y="1549587"/>
                  <a:pt x="3795439" y="1546103"/>
                  <a:pt x="3804244" y="1546800"/>
                </a:cubicBezTo>
                <a:cubicBezTo>
                  <a:pt x="3800421" y="1542654"/>
                  <a:pt x="3795874" y="1541330"/>
                  <a:pt x="3791088" y="1541546"/>
                </a:cubicBezTo>
                <a:lnTo>
                  <a:pt x="3778770" y="1544908"/>
                </a:lnTo>
                <a:lnTo>
                  <a:pt x="3779064" y="1547339"/>
                </a:lnTo>
                <a:lnTo>
                  <a:pt x="3772810" y="1547082"/>
                </a:lnTo>
                <a:lnTo>
                  <a:pt x="3763385" y="1551054"/>
                </a:lnTo>
                <a:cubicBezTo>
                  <a:pt x="3759584" y="1552297"/>
                  <a:pt x="3756514" y="1552515"/>
                  <a:pt x="3754660" y="1550425"/>
                </a:cubicBezTo>
                <a:cubicBezTo>
                  <a:pt x="3753270" y="1556557"/>
                  <a:pt x="3755124" y="1559621"/>
                  <a:pt x="3758830" y="1560876"/>
                </a:cubicBezTo>
                <a:cubicBezTo>
                  <a:pt x="3743076" y="1560040"/>
                  <a:pt x="3706931" y="1557113"/>
                  <a:pt x="3682834" y="1563106"/>
                </a:cubicBezTo>
                <a:cubicBezTo>
                  <a:pt x="3683298" y="1567147"/>
                  <a:pt x="3684688" y="1571328"/>
                  <a:pt x="3681907" y="1574394"/>
                </a:cubicBezTo>
                <a:cubicBezTo>
                  <a:pt x="3677274" y="1573000"/>
                  <a:pt x="3678664" y="1568263"/>
                  <a:pt x="3681907" y="1568263"/>
                </a:cubicBezTo>
                <a:cubicBezTo>
                  <a:pt x="3681444" y="1565197"/>
                  <a:pt x="3676810" y="1566033"/>
                  <a:pt x="3674029" y="1565475"/>
                </a:cubicBezTo>
                <a:cubicBezTo>
                  <a:pt x="3667542" y="1568541"/>
                  <a:pt x="3662444" y="1572722"/>
                  <a:pt x="3661055" y="1579133"/>
                </a:cubicBezTo>
                <a:cubicBezTo>
                  <a:pt x="3652250" y="1579829"/>
                  <a:pt x="3654568" y="1566033"/>
                  <a:pt x="3642982" y="1571468"/>
                </a:cubicBezTo>
                <a:cubicBezTo>
                  <a:pt x="3636031" y="1572026"/>
                  <a:pt x="3636496" y="1581223"/>
                  <a:pt x="3636958" y="1591257"/>
                </a:cubicBezTo>
                <a:cubicBezTo>
                  <a:pt x="3626764" y="1572303"/>
                  <a:pt x="3563278" y="1589863"/>
                  <a:pt x="3544744" y="1591257"/>
                </a:cubicBezTo>
                <a:cubicBezTo>
                  <a:pt x="3550303" y="1567008"/>
                  <a:pt x="3591546" y="1579968"/>
                  <a:pt x="3596643" y="1555720"/>
                </a:cubicBezTo>
                <a:cubicBezTo>
                  <a:pt x="3558645" y="1564778"/>
                  <a:pt x="3512768" y="1566729"/>
                  <a:pt x="3491452" y="1590700"/>
                </a:cubicBezTo>
                <a:cubicBezTo>
                  <a:pt x="3412676" y="1558089"/>
                  <a:pt x="3322314" y="1625261"/>
                  <a:pt x="3242146" y="1600176"/>
                </a:cubicBezTo>
                <a:cubicBezTo>
                  <a:pt x="3226854" y="1608816"/>
                  <a:pt x="3210172" y="1622334"/>
                  <a:pt x="3193490" y="1614670"/>
                </a:cubicBezTo>
                <a:cubicBezTo>
                  <a:pt x="3195344" y="1611604"/>
                  <a:pt x="3196734" y="1606587"/>
                  <a:pt x="3195807" y="1599061"/>
                </a:cubicBezTo>
                <a:cubicBezTo>
                  <a:pt x="3148078" y="1599897"/>
                  <a:pt x="3128151" y="1640591"/>
                  <a:pt x="3083203" y="1611324"/>
                </a:cubicBezTo>
                <a:cubicBezTo>
                  <a:pt x="3091080" y="1597250"/>
                  <a:pt x="3099885" y="1623032"/>
                  <a:pt x="3117030" y="1612719"/>
                </a:cubicBezTo>
                <a:lnTo>
                  <a:pt x="3109813" y="1603991"/>
                </a:lnTo>
                <a:lnTo>
                  <a:pt x="3106544" y="1602312"/>
                </a:lnTo>
                <a:cubicBezTo>
                  <a:pt x="3083502" y="1598909"/>
                  <a:pt x="3033984" y="1634318"/>
                  <a:pt x="3040877" y="1612003"/>
                </a:cubicBezTo>
                <a:cubicBezTo>
                  <a:pt x="3031609" y="1597231"/>
                  <a:pt x="3019098" y="1623849"/>
                  <a:pt x="3009366" y="1626497"/>
                </a:cubicBezTo>
                <a:cubicBezTo>
                  <a:pt x="3009366" y="1638621"/>
                  <a:pt x="3028366" y="1629423"/>
                  <a:pt x="3036243" y="1632210"/>
                </a:cubicBezTo>
                <a:cubicBezTo>
                  <a:pt x="3023731" y="1648237"/>
                  <a:pt x="3007513" y="1641269"/>
                  <a:pt x="2999635" y="1626497"/>
                </a:cubicBezTo>
                <a:cubicBezTo>
                  <a:pt x="2991757" y="1627890"/>
                  <a:pt x="2996391" y="1644195"/>
                  <a:pt x="2985270" y="1642802"/>
                </a:cubicBezTo>
                <a:cubicBezTo>
                  <a:pt x="2998245" y="1648237"/>
                  <a:pt x="3007513" y="1656459"/>
                  <a:pt x="3018635" y="1664403"/>
                </a:cubicBezTo>
                <a:cubicBezTo>
                  <a:pt x="3014000" y="1668445"/>
                  <a:pt x="3009366" y="1672485"/>
                  <a:pt x="3004733" y="1675134"/>
                </a:cubicBezTo>
                <a:cubicBezTo>
                  <a:pt x="3007976" y="1680569"/>
                  <a:pt x="3014000" y="1680290"/>
                  <a:pt x="3014000" y="1689627"/>
                </a:cubicBezTo>
                <a:cubicBezTo>
                  <a:pt x="3026975" y="1691021"/>
                  <a:pt x="3028366" y="1670953"/>
                  <a:pt x="3040877" y="1684471"/>
                </a:cubicBezTo>
                <a:cubicBezTo>
                  <a:pt x="3038097" y="1672347"/>
                  <a:pt x="3044121" y="1654648"/>
                  <a:pt x="3040877" y="1647958"/>
                </a:cubicBezTo>
                <a:cubicBezTo>
                  <a:pt x="3058486" y="1639875"/>
                  <a:pt x="3040877" y="1672485"/>
                  <a:pt x="3058486" y="1664403"/>
                </a:cubicBezTo>
                <a:cubicBezTo>
                  <a:pt x="3057096" y="1672485"/>
                  <a:pt x="3051999" y="1677642"/>
                  <a:pt x="3050609" y="1684471"/>
                </a:cubicBezTo>
                <a:cubicBezTo>
                  <a:pt x="3064974" y="1699104"/>
                  <a:pt x="3074706" y="1691161"/>
                  <a:pt x="3091850" y="1685864"/>
                </a:cubicBezTo>
                <a:cubicBezTo>
                  <a:pt x="3090461" y="1661755"/>
                  <a:pt x="3076559" y="1653532"/>
                  <a:pt x="3063583" y="1642802"/>
                </a:cubicBezTo>
                <a:cubicBezTo>
                  <a:pt x="3070535" y="1638621"/>
                  <a:pt x="3074241" y="1634301"/>
                  <a:pt x="3074706" y="1630120"/>
                </a:cubicBezTo>
                <a:cubicBezTo>
                  <a:pt x="3071461" y="1629005"/>
                  <a:pt x="3066827" y="1628169"/>
                  <a:pt x="3065900" y="1625661"/>
                </a:cubicBezTo>
                <a:cubicBezTo>
                  <a:pt x="3069144" y="1610052"/>
                  <a:pt x="3075168" y="1620504"/>
                  <a:pt x="3082120" y="1623292"/>
                </a:cubicBezTo>
                <a:cubicBezTo>
                  <a:pt x="3083047" y="1623292"/>
                  <a:pt x="3083509" y="1622873"/>
                  <a:pt x="3084436" y="1623292"/>
                </a:cubicBezTo>
                <a:cubicBezTo>
                  <a:pt x="3086753" y="1623292"/>
                  <a:pt x="3088606" y="1623151"/>
                  <a:pt x="3090924" y="1620922"/>
                </a:cubicBezTo>
                <a:cubicBezTo>
                  <a:pt x="3090461" y="1622037"/>
                  <a:pt x="3089533" y="1622316"/>
                  <a:pt x="3089533" y="1623292"/>
                </a:cubicBezTo>
                <a:cubicBezTo>
                  <a:pt x="3096021" y="1627054"/>
                  <a:pt x="3101582" y="1634162"/>
                  <a:pt x="3100193" y="1642802"/>
                </a:cubicBezTo>
                <a:cubicBezTo>
                  <a:pt x="3111313" y="1642802"/>
                  <a:pt x="3114093" y="1634580"/>
                  <a:pt x="3128459" y="1637228"/>
                </a:cubicBezTo>
                <a:cubicBezTo>
                  <a:pt x="3128459" y="1642523"/>
                  <a:pt x="3122435" y="1641548"/>
                  <a:pt x="3119191" y="1642802"/>
                </a:cubicBezTo>
                <a:cubicBezTo>
                  <a:pt x="3124288" y="1658968"/>
                  <a:pt x="3134946" y="1637506"/>
                  <a:pt x="3146531" y="1642802"/>
                </a:cubicBezTo>
                <a:cubicBezTo>
                  <a:pt x="3143287" y="1636113"/>
                  <a:pt x="3142824" y="1622455"/>
                  <a:pt x="3128459" y="1627750"/>
                </a:cubicBezTo>
                <a:cubicBezTo>
                  <a:pt x="3153946" y="1596951"/>
                  <a:pt x="3203991" y="1626636"/>
                  <a:pt x="3224383" y="1633464"/>
                </a:cubicBezTo>
                <a:cubicBezTo>
                  <a:pt x="3226235" y="1630677"/>
                  <a:pt x="3227625" y="1629144"/>
                  <a:pt x="3229478" y="1627750"/>
                </a:cubicBezTo>
                <a:cubicBezTo>
                  <a:pt x="3226235" y="1626497"/>
                  <a:pt x="3222991" y="1625242"/>
                  <a:pt x="3219748" y="1626497"/>
                </a:cubicBezTo>
                <a:cubicBezTo>
                  <a:pt x="3221601" y="1619807"/>
                  <a:pt x="3227625" y="1619946"/>
                  <a:pt x="3235966" y="1619946"/>
                </a:cubicBezTo>
                <a:cubicBezTo>
                  <a:pt x="3258209" y="1603920"/>
                  <a:pt x="3290183" y="1622734"/>
                  <a:pt x="3317060" y="1633464"/>
                </a:cubicBezTo>
                <a:cubicBezTo>
                  <a:pt x="3299914" y="1644195"/>
                  <a:pt x="3294816" y="1619946"/>
                  <a:pt x="3275355" y="1633464"/>
                </a:cubicBezTo>
                <a:cubicBezTo>
                  <a:pt x="3275355" y="1644195"/>
                  <a:pt x="3288329" y="1640153"/>
                  <a:pt x="3285549" y="1653532"/>
                </a:cubicBezTo>
                <a:cubicBezTo>
                  <a:pt x="3266086" y="1649491"/>
                  <a:pt x="3266086" y="1674855"/>
                  <a:pt x="3251722" y="1658829"/>
                </a:cubicBezTo>
                <a:cubicBezTo>
                  <a:pt x="3248477" y="1668166"/>
                  <a:pt x="3260990" y="1681545"/>
                  <a:pt x="3260990" y="1669560"/>
                </a:cubicBezTo>
                <a:cubicBezTo>
                  <a:pt x="3265624" y="1670814"/>
                  <a:pt x="3264233" y="1675134"/>
                  <a:pt x="3260990" y="1675134"/>
                </a:cubicBezTo>
                <a:lnTo>
                  <a:pt x="3260990" y="1685864"/>
                </a:lnTo>
                <a:cubicBezTo>
                  <a:pt x="3249868" y="1681823"/>
                  <a:pt x="3248477" y="1660222"/>
                  <a:pt x="3229478" y="1653532"/>
                </a:cubicBezTo>
                <a:cubicBezTo>
                  <a:pt x="3234113" y="1636113"/>
                  <a:pt x="3264697" y="1647958"/>
                  <a:pt x="3266086" y="1627750"/>
                </a:cubicBezTo>
                <a:cubicBezTo>
                  <a:pt x="3263307" y="1625103"/>
                  <a:pt x="3258209" y="1625661"/>
                  <a:pt x="3254965" y="1625661"/>
                </a:cubicBezTo>
                <a:cubicBezTo>
                  <a:pt x="3250331" y="1633605"/>
                  <a:pt x="3243844" y="1631932"/>
                  <a:pt x="3237357" y="1629284"/>
                </a:cubicBezTo>
                <a:cubicBezTo>
                  <a:pt x="3217893" y="1638621"/>
                  <a:pt x="3198895" y="1653254"/>
                  <a:pt x="3183139" y="1627750"/>
                </a:cubicBezTo>
                <a:cubicBezTo>
                  <a:pt x="3159042" y="1631792"/>
                  <a:pt x="3152555" y="1658829"/>
                  <a:pt x="3123824" y="1658829"/>
                </a:cubicBezTo>
                <a:cubicBezTo>
                  <a:pt x="3128922" y="1665518"/>
                  <a:pt x="3136336" y="1669560"/>
                  <a:pt x="3136336" y="1680290"/>
                </a:cubicBezTo>
                <a:cubicBezTo>
                  <a:pt x="3142824" y="1668166"/>
                  <a:pt x="3159042" y="1669421"/>
                  <a:pt x="3155799" y="1647958"/>
                </a:cubicBezTo>
                <a:cubicBezTo>
                  <a:pt x="3168311" y="1661337"/>
                  <a:pt x="3179896" y="1645311"/>
                  <a:pt x="3197505" y="1647958"/>
                </a:cubicBezTo>
                <a:cubicBezTo>
                  <a:pt x="3195651" y="1666772"/>
                  <a:pt x="3181286" y="1669560"/>
                  <a:pt x="3165531" y="1669560"/>
                </a:cubicBezTo>
                <a:cubicBezTo>
                  <a:pt x="3172019" y="1673600"/>
                  <a:pt x="3179896" y="1676249"/>
                  <a:pt x="3188236" y="1680290"/>
                </a:cubicBezTo>
                <a:cubicBezTo>
                  <a:pt x="3202602" y="1674855"/>
                  <a:pt x="3229478" y="1677782"/>
                  <a:pt x="3215112" y="1693808"/>
                </a:cubicBezTo>
                <a:cubicBezTo>
                  <a:pt x="3210480" y="1679036"/>
                  <a:pt x="3192407" y="1685725"/>
                  <a:pt x="3210016" y="1693808"/>
                </a:cubicBezTo>
                <a:cubicBezTo>
                  <a:pt x="3206772" y="1700498"/>
                  <a:pt x="3203991" y="1699243"/>
                  <a:pt x="3200748" y="1696595"/>
                </a:cubicBezTo>
                <a:cubicBezTo>
                  <a:pt x="3200748" y="1699243"/>
                  <a:pt x="3202138" y="1702031"/>
                  <a:pt x="3202138" y="1705932"/>
                </a:cubicBezTo>
                <a:cubicBezTo>
                  <a:pt x="3205382" y="1707326"/>
                  <a:pt x="3208626" y="1707465"/>
                  <a:pt x="3211869" y="1707465"/>
                </a:cubicBezTo>
                <a:cubicBezTo>
                  <a:pt x="3213260" y="1703424"/>
                  <a:pt x="3215112" y="1700498"/>
                  <a:pt x="3215112" y="1693808"/>
                </a:cubicBezTo>
                <a:cubicBezTo>
                  <a:pt x="3224845" y="1692554"/>
                  <a:pt x="3225772" y="1700358"/>
                  <a:pt x="3234113" y="1700358"/>
                </a:cubicBezTo>
                <a:cubicBezTo>
                  <a:pt x="3237357" y="1688234"/>
                  <a:pt x="3216504" y="1684192"/>
                  <a:pt x="3229478" y="1680290"/>
                </a:cubicBezTo>
                <a:cubicBezTo>
                  <a:pt x="3245234" y="1694923"/>
                  <a:pt x="3248477" y="1695202"/>
                  <a:pt x="3275355" y="1691161"/>
                </a:cubicBezTo>
                <a:cubicBezTo>
                  <a:pt x="3278599" y="1704539"/>
                  <a:pt x="3265624" y="1700637"/>
                  <a:pt x="3260990" y="1705932"/>
                </a:cubicBezTo>
                <a:cubicBezTo>
                  <a:pt x="3265624" y="1720705"/>
                  <a:pt x="3285086" y="1717918"/>
                  <a:pt x="3298061" y="1721960"/>
                </a:cubicBezTo>
                <a:cubicBezTo>
                  <a:pt x="3305938" y="1721960"/>
                  <a:pt x="3291573" y="1697850"/>
                  <a:pt x="3302695" y="1691161"/>
                </a:cubicBezTo>
                <a:cubicBezTo>
                  <a:pt x="3312426" y="1688372"/>
                  <a:pt x="3315206" y="1693808"/>
                  <a:pt x="3321694" y="1696595"/>
                </a:cubicBezTo>
                <a:cubicBezTo>
                  <a:pt x="3317060" y="1700637"/>
                  <a:pt x="3311962" y="1704817"/>
                  <a:pt x="3307329" y="1707465"/>
                </a:cubicBezTo>
                <a:cubicBezTo>
                  <a:pt x="3311962" y="1719590"/>
                  <a:pt x="3328182" y="1718057"/>
                  <a:pt x="3344400" y="1716663"/>
                </a:cubicBezTo>
                <a:cubicBezTo>
                  <a:pt x="3339825" y="1721541"/>
                  <a:pt x="3335096" y="1725176"/>
                  <a:pt x="3330253" y="1727857"/>
                </a:cubicBezTo>
                <a:lnTo>
                  <a:pt x="3327925" y="1728715"/>
                </a:lnTo>
                <a:lnTo>
                  <a:pt x="3334739" y="1731207"/>
                </a:lnTo>
                <a:cubicBezTo>
                  <a:pt x="3364107" y="1734278"/>
                  <a:pt x="3402597" y="1726961"/>
                  <a:pt x="3400164" y="1774517"/>
                </a:cubicBezTo>
                <a:cubicBezTo>
                  <a:pt x="3425651" y="1762393"/>
                  <a:pt x="3456234" y="1795004"/>
                  <a:pt x="3473379" y="1776051"/>
                </a:cubicBezTo>
                <a:cubicBezTo>
                  <a:pt x="3473379" y="1776190"/>
                  <a:pt x="3473379" y="1776747"/>
                  <a:pt x="3473379" y="1776886"/>
                </a:cubicBezTo>
                <a:cubicBezTo>
                  <a:pt x="3473843" y="1776607"/>
                  <a:pt x="3473843" y="1776329"/>
                  <a:pt x="3474307" y="1776051"/>
                </a:cubicBezTo>
                <a:cubicBezTo>
                  <a:pt x="3477086" y="1787757"/>
                  <a:pt x="3489136" y="1788036"/>
                  <a:pt x="3497012" y="1793470"/>
                </a:cubicBezTo>
                <a:cubicBezTo>
                  <a:pt x="3505354" y="1789847"/>
                  <a:pt x="3495160" y="1768107"/>
                  <a:pt x="3511378" y="1771312"/>
                </a:cubicBezTo>
                <a:cubicBezTo>
                  <a:pt x="3513232" y="1776468"/>
                  <a:pt x="3511842" y="1778559"/>
                  <a:pt x="3510451" y="1780789"/>
                </a:cubicBezTo>
                <a:lnTo>
                  <a:pt x="3513076" y="1780552"/>
                </a:lnTo>
                <a:lnTo>
                  <a:pt x="3513076" y="1756939"/>
                </a:lnTo>
                <a:lnTo>
                  <a:pt x="3522057" y="1763061"/>
                </a:lnTo>
                <a:lnTo>
                  <a:pt x="3527409" y="1755654"/>
                </a:lnTo>
                <a:lnTo>
                  <a:pt x="3533070" y="1752202"/>
                </a:lnTo>
                <a:lnTo>
                  <a:pt x="3532538" y="1747742"/>
                </a:lnTo>
                <a:cubicBezTo>
                  <a:pt x="3531612" y="1740076"/>
                  <a:pt x="3521417" y="1741888"/>
                  <a:pt x="3515856" y="1739239"/>
                </a:cubicBezTo>
                <a:cubicBezTo>
                  <a:pt x="3503807" y="1743003"/>
                  <a:pt x="3481566" y="1735895"/>
                  <a:pt x="3470443" y="1740633"/>
                </a:cubicBezTo>
                <a:lnTo>
                  <a:pt x="3470443" y="1718754"/>
                </a:lnTo>
                <a:cubicBezTo>
                  <a:pt x="3480174" y="1715827"/>
                  <a:pt x="3488979" y="1720008"/>
                  <a:pt x="3495930" y="1721960"/>
                </a:cubicBezTo>
                <a:cubicBezTo>
                  <a:pt x="3494077" y="1712344"/>
                  <a:pt x="3481566" y="1715410"/>
                  <a:pt x="3471370" y="1715410"/>
                </a:cubicBezTo>
                <a:cubicBezTo>
                  <a:pt x="3475541" y="1695899"/>
                  <a:pt x="3495467" y="1704121"/>
                  <a:pt x="3507978" y="1714852"/>
                </a:cubicBezTo>
                <a:cubicBezTo>
                  <a:pt x="3508442" y="1714016"/>
                  <a:pt x="3508905" y="1714155"/>
                  <a:pt x="3508905" y="1713040"/>
                </a:cubicBezTo>
                <a:cubicBezTo>
                  <a:pt x="3519099" y="1708859"/>
                  <a:pt x="3519563" y="1740912"/>
                  <a:pt x="3524661" y="1724328"/>
                </a:cubicBezTo>
                <a:cubicBezTo>
                  <a:pt x="3525124" y="1727255"/>
                  <a:pt x="3522808" y="1727812"/>
                  <a:pt x="3522808" y="1729903"/>
                </a:cubicBezTo>
                <a:cubicBezTo>
                  <a:pt x="3557099" y="1723492"/>
                  <a:pt x="3586292" y="1715130"/>
                  <a:pt x="3609925" y="1704121"/>
                </a:cubicBezTo>
                <a:cubicBezTo>
                  <a:pt x="3610389" y="1702866"/>
                  <a:pt x="3609461" y="1701892"/>
                  <a:pt x="3609925" y="1700358"/>
                </a:cubicBezTo>
                <a:cubicBezTo>
                  <a:pt x="3611315" y="1701195"/>
                  <a:pt x="3610851" y="1702031"/>
                  <a:pt x="3611779" y="1702727"/>
                </a:cubicBezTo>
                <a:cubicBezTo>
                  <a:pt x="3615485" y="1701055"/>
                  <a:pt x="3617803" y="1698826"/>
                  <a:pt x="3621046" y="1697153"/>
                </a:cubicBezTo>
                <a:cubicBezTo>
                  <a:pt x="3604828" y="1696874"/>
                  <a:pt x="3589999" y="1688513"/>
                  <a:pt x="3595560" y="1674298"/>
                </a:cubicBezTo>
                <a:cubicBezTo>
                  <a:pt x="3594170" y="1673879"/>
                  <a:pt x="3592779" y="1674018"/>
                  <a:pt x="3591389" y="1673740"/>
                </a:cubicBezTo>
                <a:cubicBezTo>
                  <a:pt x="3599267" y="1668304"/>
                  <a:pt x="3613632" y="1658968"/>
                  <a:pt x="3596024" y="1652279"/>
                </a:cubicBezTo>
                <a:cubicBezTo>
                  <a:pt x="3665995" y="1616044"/>
                  <a:pt x="3699824" y="1661615"/>
                  <a:pt x="3752188" y="1663009"/>
                </a:cubicBezTo>
                <a:cubicBezTo>
                  <a:pt x="3771649" y="1656321"/>
                  <a:pt x="3812891" y="1634580"/>
                  <a:pt x="3830501" y="1668026"/>
                </a:cubicBezTo>
                <a:cubicBezTo>
                  <a:pt x="3814282" y="1677503"/>
                  <a:pt x="3806867" y="1663985"/>
                  <a:pt x="3784625" y="1668026"/>
                </a:cubicBezTo>
                <a:cubicBezTo>
                  <a:pt x="3798990" y="1680151"/>
                  <a:pt x="3806867" y="1672068"/>
                  <a:pt x="3821233" y="1678758"/>
                </a:cubicBezTo>
                <a:cubicBezTo>
                  <a:pt x="3816598" y="1702866"/>
                  <a:pt x="3787406" y="1670814"/>
                  <a:pt x="3774893" y="1689627"/>
                </a:cubicBezTo>
                <a:cubicBezTo>
                  <a:pt x="3771649" y="1703145"/>
                  <a:pt x="3784625" y="1700358"/>
                  <a:pt x="3784625" y="1709835"/>
                </a:cubicBezTo>
                <a:cubicBezTo>
                  <a:pt x="3802234" y="1712482"/>
                  <a:pt x="3797137" y="1688513"/>
                  <a:pt x="3816598" y="1695341"/>
                </a:cubicBezTo>
                <a:cubicBezTo>
                  <a:pt x="3811502" y="1702031"/>
                  <a:pt x="3803623" y="1704678"/>
                  <a:pt x="3803623" y="1715410"/>
                </a:cubicBezTo>
                <a:cubicBezTo>
                  <a:pt x="3808720" y="1718057"/>
                  <a:pt x="3813354" y="1719172"/>
                  <a:pt x="3819843" y="1723213"/>
                </a:cubicBezTo>
                <a:lnTo>
                  <a:pt x="3831113" y="1723213"/>
                </a:lnTo>
                <a:lnTo>
                  <a:pt x="3830020" y="1718947"/>
                </a:lnTo>
                <a:cubicBezTo>
                  <a:pt x="3828224" y="1717763"/>
                  <a:pt x="3825560" y="1717589"/>
                  <a:pt x="3822779" y="1717101"/>
                </a:cubicBezTo>
                <a:cubicBezTo>
                  <a:pt x="3824748" y="1712850"/>
                  <a:pt x="3828659" y="1712720"/>
                  <a:pt x="3833597" y="1714342"/>
                </a:cubicBezTo>
                <a:lnTo>
                  <a:pt x="3840095" y="1717309"/>
                </a:lnTo>
                <a:lnTo>
                  <a:pt x="3840231" y="1716663"/>
                </a:lnTo>
                <a:cubicBezTo>
                  <a:pt x="3835598" y="1714016"/>
                  <a:pt x="3831891" y="1709695"/>
                  <a:pt x="3825867" y="1708302"/>
                </a:cubicBezTo>
                <a:cubicBezTo>
                  <a:pt x="3825867" y="1696316"/>
                  <a:pt x="3841622" y="1705932"/>
                  <a:pt x="3849501" y="1703285"/>
                </a:cubicBezTo>
                <a:lnTo>
                  <a:pt x="3849501" y="1709835"/>
                </a:lnTo>
                <a:cubicBezTo>
                  <a:pt x="3860621" y="1704400"/>
                  <a:pt x="3859694" y="1734223"/>
                  <a:pt x="3867572" y="1715410"/>
                </a:cubicBezTo>
                <a:cubicBezTo>
                  <a:pt x="3867572" y="1718057"/>
                  <a:pt x="3867572" y="1720566"/>
                  <a:pt x="3867572" y="1723213"/>
                </a:cubicBezTo>
                <a:lnTo>
                  <a:pt x="3872913" y="1723795"/>
                </a:lnTo>
                <a:lnTo>
                  <a:pt x="3875655" y="1722391"/>
                </a:lnTo>
                <a:cubicBezTo>
                  <a:pt x="3877844" y="1720188"/>
                  <a:pt x="3879719" y="1716943"/>
                  <a:pt x="3881167" y="1712362"/>
                </a:cubicBezTo>
                <a:cubicBezTo>
                  <a:pt x="3881629" y="1718215"/>
                  <a:pt x="3883483" y="1721143"/>
                  <a:pt x="3887191" y="1720863"/>
                </a:cubicBezTo>
                <a:cubicBezTo>
                  <a:pt x="3891824" y="1715986"/>
                  <a:pt x="3884410" y="1713616"/>
                  <a:pt x="3892752" y="1705394"/>
                </a:cubicBezTo>
                <a:cubicBezTo>
                  <a:pt x="3905263" y="1708878"/>
                  <a:pt x="3898776" y="1712640"/>
                  <a:pt x="3899702" y="1724486"/>
                </a:cubicBezTo>
                <a:cubicBezTo>
                  <a:pt x="3907580" y="1710411"/>
                  <a:pt x="3920555" y="1699123"/>
                  <a:pt x="3933994" y="1687696"/>
                </a:cubicBezTo>
                <a:cubicBezTo>
                  <a:pt x="3934458" y="1695081"/>
                  <a:pt x="3939090" y="1706091"/>
                  <a:pt x="3954846" y="1704836"/>
                </a:cubicBezTo>
                <a:cubicBezTo>
                  <a:pt x="3932139" y="1685744"/>
                  <a:pt x="3973845" y="1675152"/>
                  <a:pt x="3975235" y="1697451"/>
                </a:cubicBezTo>
                <a:cubicBezTo>
                  <a:pt x="3980333" y="1695499"/>
                  <a:pt x="3993772" y="1681424"/>
                  <a:pt x="3983114" y="1677800"/>
                </a:cubicBezTo>
                <a:cubicBezTo>
                  <a:pt x="3984736" y="1677661"/>
                  <a:pt x="3992382" y="1684142"/>
                  <a:pt x="4000839" y="1687016"/>
                </a:cubicBezTo>
                <a:lnTo>
                  <a:pt x="4012009" y="1687306"/>
                </a:lnTo>
                <a:lnTo>
                  <a:pt x="4014442" y="1686112"/>
                </a:lnTo>
                <a:lnTo>
                  <a:pt x="4023429" y="1674595"/>
                </a:lnTo>
                <a:cubicBezTo>
                  <a:pt x="4037794" y="1685395"/>
                  <a:pt x="4055983" y="1685047"/>
                  <a:pt x="4071216" y="1678776"/>
                </a:cubicBezTo>
                <a:lnTo>
                  <a:pt x="4080797" y="1672388"/>
                </a:lnTo>
                <a:lnTo>
                  <a:pt x="4085715" y="1661372"/>
                </a:lnTo>
                <a:cubicBezTo>
                  <a:pt x="4089075" y="1657958"/>
                  <a:pt x="4093013" y="1656390"/>
                  <a:pt x="4096952" y="1655066"/>
                </a:cubicBezTo>
                <a:lnTo>
                  <a:pt x="4096961" y="1655052"/>
                </a:lnTo>
                <a:lnTo>
                  <a:pt x="4100637" y="1648555"/>
                </a:lnTo>
                <a:lnTo>
                  <a:pt x="4082587" y="1639596"/>
                </a:lnTo>
                <a:cubicBezTo>
                  <a:pt x="4090001" y="1641687"/>
                  <a:pt x="4096025" y="1641130"/>
                  <a:pt x="4101122" y="1639596"/>
                </a:cubicBezTo>
                <a:cubicBezTo>
                  <a:pt x="4100196" y="1638481"/>
                  <a:pt x="4102049" y="1637506"/>
                  <a:pt x="4096952" y="1635833"/>
                </a:cubicBezTo>
                <a:cubicBezTo>
                  <a:pt x="4100659" y="1637506"/>
                  <a:pt x="4103903" y="1636948"/>
                  <a:pt x="4106683" y="1636671"/>
                </a:cubicBezTo>
                <a:cubicBezTo>
                  <a:pt x="4110391" y="1634858"/>
                  <a:pt x="4113634" y="1633883"/>
                  <a:pt x="4116414" y="1632489"/>
                </a:cubicBezTo>
                <a:lnTo>
                  <a:pt x="4117719" y="1630899"/>
                </a:lnTo>
                <a:lnTo>
                  <a:pt x="4099831" y="1629668"/>
                </a:lnTo>
                <a:lnTo>
                  <a:pt x="4073141" y="1633433"/>
                </a:lnTo>
                <a:lnTo>
                  <a:pt x="4078880" y="1642802"/>
                </a:lnTo>
                <a:cubicBezTo>
                  <a:pt x="4073782" y="1650049"/>
                  <a:pt x="4064051" y="1646426"/>
                  <a:pt x="4059418" y="1644614"/>
                </a:cubicBezTo>
                <a:lnTo>
                  <a:pt x="4070763" y="1633768"/>
                </a:lnTo>
                <a:lnTo>
                  <a:pt x="4054012" y="1636131"/>
                </a:lnTo>
                <a:cubicBezTo>
                  <a:pt x="4055404" y="1653969"/>
                  <a:pt x="4079499" y="1639894"/>
                  <a:pt x="4080890" y="1657733"/>
                </a:cubicBezTo>
                <a:cubicBezTo>
                  <a:pt x="4057257" y="1653552"/>
                  <a:pt x="4068842" y="1682957"/>
                  <a:pt x="4045208" y="1677242"/>
                </a:cubicBezTo>
                <a:cubicBezTo>
                  <a:pt x="4044744" y="1671390"/>
                  <a:pt x="4051695" y="1672086"/>
                  <a:pt x="4056793" y="1670275"/>
                </a:cubicBezTo>
                <a:cubicBezTo>
                  <a:pt x="4042428" y="1644493"/>
                  <a:pt x="4016941" y="1636131"/>
                  <a:pt x="3986821" y="1632508"/>
                </a:cubicBezTo>
                <a:cubicBezTo>
                  <a:pt x="3994003" y="1624426"/>
                  <a:pt x="4005009" y="1623554"/>
                  <a:pt x="4015609" y="1625697"/>
                </a:cubicBezTo>
                <a:lnTo>
                  <a:pt x="4036926" y="1634813"/>
                </a:lnTo>
                <a:lnTo>
                  <a:pt x="4038681" y="1632559"/>
                </a:lnTo>
                <a:cubicBezTo>
                  <a:pt x="4040650" y="1631653"/>
                  <a:pt x="4042967" y="1631653"/>
                  <a:pt x="4045052" y="1632489"/>
                </a:cubicBezTo>
                <a:lnTo>
                  <a:pt x="4046239" y="1634167"/>
                </a:lnTo>
                <a:lnTo>
                  <a:pt x="4059980" y="1625163"/>
                </a:lnTo>
                <a:cubicBezTo>
                  <a:pt x="4074981" y="1620107"/>
                  <a:pt x="4093690" y="1618491"/>
                  <a:pt x="4102437" y="1607199"/>
                </a:cubicBezTo>
                <a:lnTo>
                  <a:pt x="4103143" y="1605546"/>
                </a:lnTo>
                <a:lnTo>
                  <a:pt x="4102744" y="1605506"/>
                </a:lnTo>
                <a:cubicBezTo>
                  <a:pt x="4096026" y="1602979"/>
                  <a:pt x="4091624" y="1596604"/>
                  <a:pt x="4089075" y="1583852"/>
                </a:cubicBezTo>
                <a:cubicBezTo>
                  <a:pt x="4098806" y="1583852"/>
                  <a:pt x="4103440" y="1578277"/>
                  <a:pt x="4102049" y="1567546"/>
                </a:cubicBezTo>
                <a:cubicBezTo>
                  <a:pt x="4103440" y="1567546"/>
                  <a:pt x="4104829" y="1567685"/>
                  <a:pt x="4106683" y="1568940"/>
                </a:cubicBezTo>
                <a:cubicBezTo>
                  <a:pt x="4105293" y="1568522"/>
                  <a:pt x="4104367" y="1567546"/>
                  <a:pt x="4102977" y="1566990"/>
                </a:cubicBezTo>
                <a:cubicBezTo>
                  <a:pt x="4044589" y="1569776"/>
                  <a:pt x="3986664" y="1568940"/>
                  <a:pt x="3930130" y="1558628"/>
                </a:cubicBezTo>
                <a:cubicBezTo>
                  <a:pt x="3914375" y="1563923"/>
                  <a:pt x="3896302" y="1566850"/>
                  <a:pt x="3879620" y="1570751"/>
                </a:cubicBezTo>
                <a:cubicBezTo>
                  <a:pt x="3887498" y="1573539"/>
                  <a:pt x="3882401" y="1577859"/>
                  <a:pt x="3882401" y="1587197"/>
                </a:cubicBezTo>
                <a:cubicBezTo>
                  <a:pt x="3877303" y="1585803"/>
                  <a:pt x="3869889" y="1586918"/>
                  <a:pt x="3869889" y="1575908"/>
                </a:cubicBezTo>
                <a:cubicBezTo>
                  <a:pt x="3873134" y="1574515"/>
                  <a:pt x="3875913" y="1575908"/>
                  <a:pt x="3875913" y="1580089"/>
                </a:cubicBezTo>
                <a:cubicBezTo>
                  <a:pt x="3878694" y="1578696"/>
                  <a:pt x="3877766" y="1574793"/>
                  <a:pt x="3879157" y="1570751"/>
                </a:cubicBezTo>
                <a:cubicBezTo>
                  <a:pt x="3864792" y="1574236"/>
                  <a:pt x="3850890" y="1578000"/>
                  <a:pt x="3841622" y="1586221"/>
                </a:cubicBezTo>
                <a:cubicBezTo>
                  <a:pt x="3840695" y="1574376"/>
                  <a:pt x="3873596" y="1561553"/>
                  <a:pt x="3843476" y="1560997"/>
                </a:cubicBezTo>
                <a:lnTo>
                  <a:pt x="3853377" y="1549384"/>
                </a:lnTo>
                <a:lnTo>
                  <a:pt x="3839020" y="1550446"/>
                </a:lnTo>
                <a:cubicBezTo>
                  <a:pt x="3827645" y="1551592"/>
                  <a:pt x="3817102" y="1553177"/>
                  <a:pt x="3808414" y="1555720"/>
                </a:cubicBezTo>
                <a:cubicBezTo>
                  <a:pt x="3809341" y="1546661"/>
                  <a:pt x="3822316" y="1551539"/>
                  <a:pt x="3819536" y="1539832"/>
                </a:cubicBezTo>
                <a:close/>
                <a:moveTo>
                  <a:pt x="1933459" y="1538077"/>
                </a:moveTo>
                <a:cubicBezTo>
                  <a:pt x="1939737" y="1537966"/>
                  <a:pt x="1946572" y="1538211"/>
                  <a:pt x="1954218" y="1538560"/>
                </a:cubicBezTo>
                <a:cubicBezTo>
                  <a:pt x="1947732" y="1553750"/>
                  <a:pt x="1920391" y="1543019"/>
                  <a:pt x="1917146" y="1560997"/>
                </a:cubicBezTo>
                <a:cubicBezTo>
                  <a:pt x="1920391" y="1577581"/>
                  <a:pt x="1926878" y="1555422"/>
                  <a:pt x="1936147" y="1560997"/>
                </a:cubicBezTo>
                <a:cubicBezTo>
                  <a:pt x="1923635" y="1583155"/>
                  <a:pt x="1904171" y="1556816"/>
                  <a:pt x="1885172" y="1555422"/>
                </a:cubicBezTo>
                <a:cubicBezTo>
                  <a:pt x="1900812" y="1541939"/>
                  <a:pt x="1914627" y="1538411"/>
                  <a:pt x="1933459" y="1538077"/>
                </a:cubicBezTo>
                <a:close/>
                <a:moveTo>
                  <a:pt x="4682679" y="1537286"/>
                </a:moveTo>
                <a:lnTo>
                  <a:pt x="4680366" y="1539395"/>
                </a:lnTo>
                <a:lnTo>
                  <a:pt x="4683501" y="1542273"/>
                </a:lnTo>
                <a:close/>
                <a:moveTo>
                  <a:pt x="1264688" y="1535632"/>
                </a:moveTo>
                <a:cubicBezTo>
                  <a:pt x="1274419" y="1532846"/>
                  <a:pt x="1275809" y="1538560"/>
                  <a:pt x="1282297" y="1541207"/>
                </a:cubicBezTo>
                <a:cubicBezTo>
                  <a:pt x="1272566" y="1546642"/>
                  <a:pt x="1269785" y="1561553"/>
                  <a:pt x="1260054" y="1566990"/>
                </a:cubicBezTo>
                <a:cubicBezTo>
                  <a:pt x="1260054" y="1577859"/>
                  <a:pt x="1273028" y="1573957"/>
                  <a:pt x="1269785" y="1589008"/>
                </a:cubicBezTo>
                <a:lnTo>
                  <a:pt x="1254957" y="1589008"/>
                </a:lnTo>
                <a:cubicBezTo>
                  <a:pt x="1256811" y="1598485"/>
                  <a:pt x="1263297" y="1601271"/>
                  <a:pt x="1273028" y="1599878"/>
                </a:cubicBezTo>
                <a:cubicBezTo>
                  <a:pt x="1260054" y="1620226"/>
                  <a:pt x="1246615" y="1569637"/>
                  <a:pt x="1232250" y="1594164"/>
                </a:cubicBezTo>
                <a:cubicBezTo>
                  <a:pt x="1225763" y="1584687"/>
                  <a:pt x="1216032" y="1579671"/>
                  <a:pt x="1203056" y="1578277"/>
                </a:cubicBezTo>
                <a:cubicBezTo>
                  <a:pt x="1206301" y="1560579"/>
                  <a:pt x="1230860" y="1573957"/>
                  <a:pt x="1217885" y="1552077"/>
                </a:cubicBezTo>
                <a:cubicBezTo>
                  <a:pt x="1230860" y="1564341"/>
                  <a:pt x="1253566" y="1548176"/>
                  <a:pt x="1260054" y="1556258"/>
                </a:cubicBezTo>
                <a:cubicBezTo>
                  <a:pt x="1272566" y="1552217"/>
                  <a:pt x="1253103" y="1542462"/>
                  <a:pt x="1264688" y="1535632"/>
                </a:cubicBezTo>
                <a:close/>
                <a:moveTo>
                  <a:pt x="4650402" y="1531471"/>
                </a:moveTo>
                <a:lnTo>
                  <a:pt x="4649432" y="1532885"/>
                </a:lnTo>
                <a:lnTo>
                  <a:pt x="4650402" y="1533173"/>
                </a:lnTo>
                <a:close/>
                <a:moveTo>
                  <a:pt x="4670096" y="1528013"/>
                </a:moveTo>
                <a:lnTo>
                  <a:pt x="4657816" y="1529381"/>
                </a:lnTo>
                <a:cubicBezTo>
                  <a:pt x="4661059" y="1532865"/>
                  <a:pt x="4664767" y="1536906"/>
                  <a:pt x="4668473" y="1536906"/>
                </a:cubicBezTo>
                <a:lnTo>
                  <a:pt x="4666247" y="1539142"/>
                </a:lnTo>
                <a:lnTo>
                  <a:pt x="4668220" y="1539946"/>
                </a:lnTo>
                <a:lnTo>
                  <a:pt x="4669856" y="1539605"/>
                </a:lnTo>
                <a:lnTo>
                  <a:pt x="4670657" y="1540821"/>
                </a:lnTo>
                <a:lnTo>
                  <a:pt x="4671850" y="1535267"/>
                </a:lnTo>
                <a:close/>
                <a:moveTo>
                  <a:pt x="4782887" y="1527704"/>
                </a:moveTo>
                <a:lnTo>
                  <a:pt x="4782005" y="1530357"/>
                </a:lnTo>
                <a:cubicBezTo>
                  <a:pt x="4780616" y="1528266"/>
                  <a:pt x="4779688" y="1529799"/>
                  <a:pt x="4778762" y="1528544"/>
                </a:cubicBezTo>
                <a:lnTo>
                  <a:pt x="4771393" y="1542621"/>
                </a:lnTo>
                <a:lnTo>
                  <a:pt x="4772174" y="1543466"/>
                </a:lnTo>
                <a:lnTo>
                  <a:pt x="4776445" y="1543037"/>
                </a:lnTo>
                <a:cubicBezTo>
                  <a:pt x="4776908" y="1542620"/>
                  <a:pt x="4776908" y="1541923"/>
                  <a:pt x="4777370" y="1541644"/>
                </a:cubicBezTo>
                <a:cubicBezTo>
                  <a:pt x="4777370" y="1540808"/>
                  <a:pt x="4778297" y="1540529"/>
                  <a:pt x="4777834" y="1539832"/>
                </a:cubicBezTo>
                <a:cubicBezTo>
                  <a:pt x="4778297" y="1539694"/>
                  <a:pt x="4778762" y="1539832"/>
                  <a:pt x="4778762" y="1539832"/>
                </a:cubicBezTo>
                <a:cubicBezTo>
                  <a:pt x="4779224" y="1539554"/>
                  <a:pt x="4779224" y="1538997"/>
                  <a:pt x="4779224" y="1538857"/>
                </a:cubicBezTo>
                <a:cubicBezTo>
                  <a:pt x="4780151" y="1539414"/>
                  <a:pt x="4780616" y="1538718"/>
                  <a:pt x="4781078" y="1539275"/>
                </a:cubicBezTo>
                <a:lnTo>
                  <a:pt x="4785656" y="1538958"/>
                </a:lnTo>
                <a:lnTo>
                  <a:pt x="4787341" y="1536803"/>
                </a:lnTo>
                <a:lnTo>
                  <a:pt x="4788232" y="1529090"/>
                </a:lnTo>
                <a:close/>
                <a:moveTo>
                  <a:pt x="4560760" y="1526107"/>
                </a:moveTo>
                <a:lnTo>
                  <a:pt x="4530690" y="1527271"/>
                </a:lnTo>
                <a:lnTo>
                  <a:pt x="4524305" y="1528784"/>
                </a:lnTo>
                <a:lnTo>
                  <a:pt x="4560966" y="1533282"/>
                </a:lnTo>
                <a:cubicBezTo>
                  <a:pt x="4566063" y="1532865"/>
                  <a:pt x="4565253" y="1529625"/>
                  <a:pt x="4562530" y="1527099"/>
                </a:cubicBezTo>
                <a:close/>
                <a:moveTo>
                  <a:pt x="12990071" y="1525682"/>
                </a:moveTo>
                <a:cubicBezTo>
                  <a:pt x="13011850" y="1534880"/>
                  <a:pt x="13046141" y="1522895"/>
                  <a:pt x="13063752" y="1546726"/>
                </a:cubicBezTo>
                <a:cubicBezTo>
                  <a:pt x="13054483" y="1552021"/>
                  <a:pt x="13037337" y="1532372"/>
                  <a:pt x="13045215" y="1549653"/>
                </a:cubicBezTo>
                <a:cubicBezTo>
                  <a:pt x="13038727" y="1539061"/>
                  <a:pt x="13024361" y="1550767"/>
                  <a:pt x="13021119" y="1530978"/>
                </a:cubicBezTo>
                <a:cubicBezTo>
                  <a:pt x="13011389" y="1529584"/>
                  <a:pt x="13014631" y="1542823"/>
                  <a:pt x="13005364" y="1540176"/>
                </a:cubicBezTo>
                <a:cubicBezTo>
                  <a:pt x="13002120" y="1524288"/>
                  <a:pt x="12990071" y="1548119"/>
                  <a:pt x="12990071" y="1525682"/>
                </a:cubicBezTo>
                <a:close/>
                <a:moveTo>
                  <a:pt x="12971073" y="1524150"/>
                </a:moveTo>
                <a:cubicBezTo>
                  <a:pt x="12974316" y="1527355"/>
                  <a:pt x="12973388" y="1537528"/>
                  <a:pt x="12980341" y="1534601"/>
                </a:cubicBezTo>
                <a:cubicBezTo>
                  <a:pt x="12978950" y="1539757"/>
                  <a:pt x="12978023" y="1542684"/>
                  <a:pt x="12972462" y="1543938"/>
                </a:cubicBezTo>
                <a:cubicBezTo>
                  <a:pt x="12973853" y="1530839"/>
                  <a:pt x="12964123" y="1536134"/>
                  <a:pt x="12965512" y="1524428"/>
                </a:cubicBezTo>
                <a:cubicBezTo>
                  <a:pt x="12967830" y="1523034"/>
                  <a:pt x="12969682" y="1523174"/>
                  <a:pt x="12971073" y="1524150"/>
                </a:cubicBezTo>
                <a:close/>
                <a:moveTo>
                  <a:pt x="4585832" y="1523508"/>
                </a:moveTo>
                <a:lnTo>
                  <a:pt x="4578767" y="1525161"/>
                </a:lnTo>
                <a:lnTo>
                  <a:pt x="4581819" y="1527011"/>
                </a:lnTo>
                <a:lnTo>
                  <a:pt x="4586865" y="1524205"/>
                </a:lnTo>
                <a:close/>
                <a:moveTo>
                  <a:pt x="4751689" y="1520377"/>
                </a:moveTo>
                <a:lnTo>
                  <a:pt x="4750206" y="1520384"/>
                </a:lnTo>
                <a:lnTo>
                  <a:pt x="4750338" y="1520722"/>
                </a:lnTo>
                <a:close/>
                <a:moveTo>
                  <a:pt x="12876075" y="1519132"/>
                </a:moveTo>
                <a:cubicBezTo>
                  <a:pt x="12872833" y="1529166"/>
                  <a:pt x="12881174" y="1526658"/>
                  <a:pt x="12879321" y="1535437"/>
                </a:cubicBezTo>
                <a:cubicBezTo>
                  <a:pt x="12866345" y="1523313"/>
                  <a:pt x="12846419" y="1520246"/>
                  <a:pt x="12876075" y="1519132"/>
                </a:cubicBezTo>
                <a:close/>
                <a:moveTo>
                  <a:pt x="11865878" y="1519132"/>
                </a:moveTo>
                <a:cubicBezTo>
                  <a:pt x="11863561" y="1519689"/>
                  <a:pt x="11861244" y="1520108"/>
                  <a:pt x="11858001" y="1520526"/>
                </a:cubicBezTo>
                <a:cubicBezTo>
                  <a:pt x="11858463" y="1521641"/>
                  <a:pt x="11858926" y="1521780"/>
                  <a:pt x="11859391" y="1522895"/>
                </a:cubicBezTo>
                <a:cubicBezTo>
                  <a:pt x="11861244" y="1521222"/>
                  <a:pt x="11863561" y="1520665"/>
                  <a:pt x="11865878" y="1519132"/>
                </a:cubicBezTo>
                <a:close/>
                <a:moveTo>
                  <a:pt x="3527904" y="1517795"/>
                </a:moveTo>
                <a:cubicBezTo>
                  <a:pt x="3521996" y="1527202"/>
                  <a:pt x="3507225" y="1517716"/>
                  <a:pt x="3500796" y="1522322"/>
                </a:cubicBezTo>
                <a:lnTo>
                  <a:pt x="3500678" y="1522733"/>
                </a:lnTo>
                <a:lnTo>
                  <a:pt x="3516924" y="1523285"/>
                </a:lnTo>
                <a:lnTo>
                  <a:pt x="3529705" y="1521472"/>
                </a:lnTo>
                <a:close/>
                <a:moveTo>
                  <a:pt x="2080725" y="1508040"/>
                </a:moveTo>
                <a:cubicBezTo>
                  <a:pt x="2099261" y="1520861"/>
                  <a:pt x="2115942" y="1515146"/>
                  <a:pt x="2137722" y="1508040"/>
                </a:cubicBezTo>
                <a:cubicBezTo>
                  <a:pt x="2137722" y="1515146"/>
                  <a:pt x="2139112" y="1517795"/>
                  <a:pt x="2142356" y="1519327"/>
                </a:cubicBezTo>
                <a:cubicBezTo>
                  <a:pt x="2139112" y="1534936"/>
                  <a:pt x="2128454" y="1515007"/>
                  <a:pt x="2120577" y="1519327"/>
                </a:cubicBezTo>
                <a:cubicBezTo>
                  <a:pt x="2114553" y="1520722"/>
                  <a:pt x="2119187" y="1535214"/>
                  <a:pt x="2111310" y="1536747"/>
                </a:cubicBezTo>
                <a:cubicBezTo>
                  <a:pt x="2122430" y="1560856"/>
                  <a:pt x="2123820" y="1544970"/>
                  <a:pt x="2133088" y="1563366"/>
                </a:cubicBezTo>
                <a:cubicBezTo>
                  <a:pt x="2112699" y="1566153"/>
                  <a:pt x="2100187" y="1559185"/>
                  <a:pt x="2088140" y="1552077"/>
                </a:cubicBezTo>
                <a:cubicBezTo>
                  <a:pt x="2092773" y="1542183"/>
                  <a:pt x="2099261" y="1530894"/>
                  <a:pt x="2106675" y="1540929"/>
                </a:cubicBezTo>
                <a:cubicBezTo>
                  <a:pt x="2111310" y="1521000"/>
                  <a:pt x="2091384" y="1530616"/>
                  <a:pt x="2089993" y="1519327"/>
                </a:cubicBezTo>
                <a:cubicBezTo>
                  <a:pt x="2079335" y="1520722"/>
                  <a:pt x="2086748" y="1546363"/>
                  <a:pt x="2085359" y="1557791"/>
                </a:cubicBezTo>
                <a:cubicBezTo>
                  <a:pt x="2078872" y="1566293"/>
                  <a:pt x="2058946" y="1566293"/>
                  <a:pt x="2052922" y="1557791"/>
                </a:cubicBezTo>
                <a:cubicBezTo>
                  <a:pt x="2048287" y="1544970"/>
                  <a:pt x="2064969" y="1536747"/>
                  <a:pt x="2054311" y="1536747"/>
                </a:cubicBezTo>
                <a:cubicBezTo>
                  <a:pt x="2063579" y="1528247"/>
                  <a:pt x="2078872" y="1527828"/>
                  <a:pt x="2080725" y="1508040"/>
                </a:cubicBezTo>
                <a:close/>
                <a:moveTo>
                  <a:pt x="4661419" y="1506029"/>
                </a:moveTo>
                <a:lnTo>
                  <a:pt x="4632867" y="1512526"/>
                </a:lnTo>
                <a:lnTo>
                  <a:pt x="4642944" y="1512137"/>
                </a:lnTo>
                <a:close/>
                <a:moveTo>
                  <a:pt x="11670790" y="1504220"/>
                </a:moveTo>
                <a:cubicBezTo>
                  <a:pt x="11666156" y="1504359"/>
                  <a:pt x="11662448" y="1506172"/>
                  <a:pt x="11658277" y="1507566"/>
                </a:cubicBezTo>
                <a:cubicBezTo>
                  <a:pt x="11664301" y="1510491"/>
                  <a:pt x="11670790" y="1513000"/>
                  <a:pt x="11675886" y="1517321"/>
                </a:cubicBezTo>
                <a:cubicBezTo>
                  <a:pt x="11675886" y="1519969"/>
                  <a:pt x="11675886" y="1524150"/>
                  <a:pt x="11675422" y="1527634"/>
                </a:cubicBezTo>
                <a:cubicBezTo>
                  <a:pt x="11675886" y="1527493"/>
                  <a:pt x="11675886" y="1526936"/>
                  <a:pt x="11675886" y="1526797"/>
                </a:cubicBezTo>
                <a:cubicBezTo>
                  <a:pt x="11679594" y="1520943"/>
                  <a:pt x="11679129" y="1510771"/>
                  <a:pt x="11687935" y="1510771"/>
                </a:cubicBezTo>
                <a:cubicBezTo>
                  <a:pt x="11686545" y="1513697"/>
                  <a:pt x="11687471" y="1515230"/>
                  <a:pt x="11687935" y="1517321"/>
                </a:cubicBezTo>
                <a:cubicBezTo>
                  <a:pt x="11692569" y="1519411"/>
                  <a:pt x="11697666" y="1521362"/>
                  <a:pt x="11703691" y="1522337"/>
                </a:cubicBezTo>
                <a:cubicBezTo>
                  <a:pt x="11700446" y="1517599"/>
                  <a:pt x="11698129" y="1511885"/>
                  <a:pt x="11695349" y="1506032"/>
                </a:cubicBezTo>
                <a:cubicBezTo>
                  <a:pt x="11687008" y="1505056"/>
                  <a:pt x="11678204" y="1503942"/>
                  <a:pt x="11670790" y="1504220"/>
                </a:cubicBezTo>
                <a:close/>
                <a:moveTo>
                  <a:pt x="1986656" y="1503858"/>
                </a:moveTo>
                <a:cubicBezTo>
                  <a:pt x="1994533" y="1528804"/>
                  <a:pt x="2028361" y="1506924"/>
                  <a:pt x="2043190" y="1526296"/>
                </a:cubicBezTo>
                <a:cubicBezTo>
                  <a:pt x="2041337" y="1544412"/>
                  <a:pt x="2043190" y="1553890"/>
                  <a:pt x="2038556" y="1558070"/>
                </a:cubicBezTo>
                <a:cubicBezTo>
                  <a:pt x="2028826" y="1545666"/>
                  <a:pt x="2028361" y="1551240"/>
                  <a:pt x="2018629" y="1526296"/>
                </a:cubicBezTo>
                <a:cubicBezTo>
                  <a:pt x="1997777" y="1541626"/>
                  <a:pt x="1988509" y="1528804"/>
                  <a:pt x="1963949" y="1537026"/>
                </a:cubicBezTo>
                <a:cubicBezTo>
                  <a:pt x="1959316" y="1530198"/>
                  <a:pt x="1963949" y="1508318"/>
                  <a:pt x="1954218" y="1520722"/>
                </a:cubicBezTo>
                <a:cubicBezTo>
                  <a:pt x="1939389" y="1495776"/>
                  <a:pt x="1981559" y="1513613"/>
                  <a:pt x="1986656" y="1503858"/>
                </a:cubicBezTo>
                <a:close/>
                <a:moveTo>
                  <a:pt x="11573939" y="1502269"/>
                </a:moveTo>
                <a:cubicBezTo>
                  <a:pt x="11575330" y="1503384"/>
                  <a:pt x="11576719" y="1503802"/>
                  <a:pt x="11578109" y="1505197"/>
                </a:cubicBezTo>
                <a:cubicBezTo>
                  <a:pt x="11578109" y="1504359"/>
                  <a:pt x="11578109" y="1503663"/>
                  <a:pt x="11578109" y="1502827"/>
                </a:cubicBezTo>
                <a:cubicBezTo>
                  <a:pt x="11576719" y="1502687"/>
                  <a:pt x="11575330" y="1502269"/>
                  <a:pt x="11573939" y="1502269"/>
                </a:cubicBezTo>
                <a:close/>
                <a:moveTo>
                  <a:pt x="11604061" y="1495719"/>
                </a:moveTo>
                <a:cubicBezTo>
                  <a:pt x="11602671" y="1495998"/>
                  <a:pt x="11602206" y="1496695"/>
                  <a:pt x="11601279" y="1497112"/>
                </a:cubicBezTo>
                <a:cubicBezTo>
                  <a:pt x="11602671" y="1498089"/>
                  <a:pt x="11604061" y="1498646"/>
                  <a:pt x="11605913" y="1499482"/>
                </a:cubicBezTo>
                <a:cubicBezTo>
                  <a:pt x="11604988" y="1498646"/>
                  <a:pt x="11604988" y="1496416"/>
                  <a:pt x="11604061" y="1495719"/>
                </a:cubicBezTo>
                <a:close/>
                <a:moveTo>
                  <a:pt x="4707706" y="1495497"/>
                </a:moveTo>
                <a:lnTo>
                  <a:pt x="4667315" y="1504688"/>
                </a:lnTo>
                <a:lnTo>
                  <a:pt x="4671254" y="1513755"/>
                </a:lnTo>
                <a:cubicBezTo>
                  <a:pt x="4673107" y="1516003"/>
                  <a:pt x="4675424" y="1517396"/>
                  <a:pt x="4678204" y="1518232"/>
                </a:cubicBezTo>
                <a:cubicBezTo>
                  <a:pt x="4680058" y="1518092"/>
                  <a:pt x="4682375" y="1518650"/>
                  <a:pt x="4683301" y="1517813"/>
                </a:cubicBezTo>
                <a:cubicBezTo>
                  <a:pt x="4683301" y="1518232"/>
                  <a:pt x="4683301" y="1517813"/>
                  <a:pt x="4683301" y="1518232"/>
                </a:cubicBezTo>
                <a:lnTo>
                  <a:pt x="4697511" y="1516801"/>
                </a:lnTo>
                <a:lnTo>
                  <a:pt x="4700466" y="1510025"/>
                </a:lnTo>
                <a:cubicBezTo>
                  <a:pt x="4703535" y="1508806"/>
                  <a:pt x="4707706" y="1510060"/>
                  <a:pt x="4712339" y="1512778"/>
                </a:cubicBezTo>
                <a:lnTo>
                  <a:pt x="4726733" y="1517046"/>
                </a:lnTo>
                <a:lnTo>
                  <a:pt x="4726166" y="1514295"/>
                </a:lnTo>
                <a:lnTo>
                  <a:pt x="4723002" y="1506974"/>
                </a:lnTo>
                <a:lnTo>
                  <a:pt x="4715590" y="1502262"/>
                </a:lnTo>
                <a:cubicBezTo>
                  <a:pt x="4711500" y="1500548"/>
                  <a:pt x="4706779" y="1499921"/>
                  <a:pt x="4701219" y="1502047"/>
                </a:cubicBezTo>
                <a:cubicBezTo>
                  <a:pt x="4703999" y="1497866"/>
                  <a:pt x="4705853" y="1496751"/>
                  <a:pt x="4707706" y="1495497"/>
                </a:cubicBezTo>
                <a:close/>
                <a:moveTo>
                  <a:pt x="3067753" y="1495497"/>
                </a:moveTo>
                <a:cubicBezTo>
                  <a:pt x="3070535" y="1528804"/>
                  <a:pt x="3042731" y="1503161"/>
                  <a:pt x="3026512" y="1513335"/>
                </a:cubicBezTo>
                <a:cubicBezTo>
                  <a:pt x="3033927" y="1500235"/>
                  <a:pt x="3046901" y="1498424"/>
                  <a:pt x="3067753" y="1495497"/>
                </a:cubicBezTo>
                <a:close/>
                <a:moveTo>
                  <a:pt x="2824472" y="1494242"/>
                </a:moveTo>
                <a:cubicBezTo>
                  <a:pt x="2830497" y="1495776"/>
                  <a:pt x="2838374" y="1505391"/>
                  <a:pt x="2846715" y="1496472"/>
                </a:cubicBezTo>
                <a:cubicBezTo>
                  <a:pt x="2853667" y="1516261"/>
                  <a:pt x="2837447" y="1512360"/>
                  <a:pt x="2824009" y="1512360"/>
                </a:cubicBezTo>
                <a:cubicBezTo>
                  <a:pt x="2824009" y="1504416"/>
                  <a:pt x="2823545" y="1497727"/>
                  <a:pt x="2818912" y="1496472"/>
                </a:cubicBezTo>
                <a:cubicBezTo>
                  <a:pt x="2820303" y="1494103"/>
                  <a:pt x="2822155" y="1493685"/>
                  <a:pt x="2824472" y="1494242"/>
                </a:cubicBezTo>
                <a:close/>
                <a:moveTo>
                  <a:pt x="3079195" y="1485092"/>
                </a:moveTo>
                <a:cubicBezTo>
                  <a:pt x="3083886" y="1486438"/>
                  <a:pt x="3088840" y="1491351"/>
                  <a:pt x="3090924" y="1493127"/>
                </a:cubicBezTo>
                <a:cubicBezTo>
                  <a:pt x="3089070" y="1501350"/>
                  <a:pt x="3083973" y="1496332"/>
                  <a:pt x="3083973" y="1489922"/>
                </a:cubicBezTo>
                <a:cubicBezTo>
                  <a:pt x="3080730" y="1491455"/>
                  <a:pt x="3077485" y="1494800"/>
                  <a:pt x="3077485" y="1499678"/>
                </a:cubicBezTo>
                <a:cubicBezTo>
                  <a:pt x="3074241" y="1498005"/>
                  <a:pt x="3076095" y="1489504"/>
                  <a:pt x="3070998" y="1491176"/>
                </a:cubicBezTo>
                <a:cubicBezTo>
                  <a:pt x="3071924" y="1487553"/>
                  <a:pt x="3073314" y="1486021"/>
                  <a:pt x="3074706" y="1485184"/>
                </a:cubicBezTo>
                <a:cubicBezTo>
                  <a:pt x="3076095" y="1484591"/>
                  <a:pt x="3077631" y="1484644"/>
                  <a:pt x="3079195" y="1485092"/>
                </a:cubicBezTo>
                <a:close/>
                <a:moveTo>
                  <a:pt x="11717129" y="1484432"/>
                </a:moveTo>
                <a:cubicBezTo>
                  <a:pt x="11716664" y="1485406"/>
                  <a:pt x="11716202" y="1486940"/>
                  <a:pt x="11715739" y="1487776"/>
                </a:cubicBezTo>
                <a:cubicBezTo>
                  <a:pt x="11717129" y="1486940"/>
                  <a:pt x="11717591" y="1485825"/>
                  <a:pt x="11718519" y="1484432"/>
                </a:cubicBezTo>
                <a:cubicBezTo>
                  <a:pt x="11718054" y="1484432"/>
                  <a:pt x="11717591" y="1484432"/>
                  <a:pt x="11717129" y="1484432"/>
                </a:cubicBezTo>
                <a:close/>
                <a:moveTo>
                  <a:pt x="2093237" y="1476265"/>
                </a:moveTo>
                <a:cubicBezTo>
                  <a:pt x="2100187" y="1475290"/>
                  <a:pt x="2110845" y="1486856"/>
                  <a:pt x="2117334" y="1487832"/>
                </a:cubicBezTo>
                <a:cubicBezTo>
                  <a:pt x="2110383" y="1503719"/>
                  <a:pt x="2094627" y="1483929"/>
                  <a:pt x="2087676" y="1482397"/>
                </a:cubicBezTo>
                <a:cubicBezTo>
                  <a:pt x="2088602" y="1478495"/>
                  <a:pt x="2090919" y="1476543"/>
                  <a:pt x="2093237" y="1476265"/>
                </a:cubicBezTo>
                <a:close/>
                <a:moveTo>
                  <a:pt x="4848114" y="1469158"/>
                </a:moveTo>
                <a:lnTo>
                  <a:pt x="4847671" y="1481805"/>
                </a:lnTo>
                <a:lnTo>
                  <a:pt x="4847806" y="1482276"/>
                </a:lnTo>
                <a:lnTo>
                  <a:pt x="4850805" y="1479817"/>
                </a:lnTo>
                <a:close/>
                <a:moveTo>
                  <a:pt x="3719285" y="1469158"/>
                </a:moveTo>
                <a:cubicBezTo>
                  <a:pt x="3703067" y="1469018"/>
                  <a:pt x="3696580" y="1474035"/>
                  <a:pt x="3695653" y="1487553"/>
                </a:cubicBezTo>
                <a:cubicBezTo>
                  <a:pt x="3667386" y="1488250"/>
                  <a:pt x="3645606" y="1483790"/>
                  <a:pt x="3621974" y="1494660"/>
                </a:cubicBezTo>
                <a:cubicBezTo>
                  <a:pt x="3583975" y="1463583"/>
                  <a:pt x="3531148" y="1489783"/>
                  <a:pt x="3495930" y="1500096"/>
                </a:cubicBezTo>
                <a:cubicBezTo>
                  <a:pt x="3533001" y="1499748"/>
                  <a:pt x="3561732" y="1502535"/>
                  <a:pt x="3588493" y="1506594"/>
                </a:cubicBezTo>
                <a:lnTo>
                  <a:pt x="3603400" y="1509202"/>
                </a:lnTo>
                <a:lnTo>
                  <a:pt x="3628110" y="1504145"/>
                </a:lnTo>
                <a:cubicBezTo>
                  <a:pt x="3645879" y="1500872"/>
                  <a:pt x="3663835" y="1498407"/>
                  <a:pt x="3682834" y="1498024"/>
                </a:cubicBezTo>
                <a:cubicBezTo>
                  <a:pt x="3681907" y="1505550"/>
                  <a:pt x="3676810" y="1510566"/>
                  <a:pt x="3675420" y="1518232"/>
                </a:cubicBezTo>
                <a:lnTo>
                  <a:pt x="3694310" y="1502763"/>
                </a:lnTo>
                <a:lnTo>
                  <a:pt x="3693336" y="1502465"/>
                </a:lnTo>
                <a:cubicBezTo>
                  <a:pt x="3695653" y="1498493"/>
                  <a:pt x="3699824" y="1495915"/>
                  <a:pt x="3704747" y="1494051"/>
                </a:cubicBezTo>
                <a:lnTo>
                  <a:pt x="3705045" y="1493974"/>
                </a:lnTo>
                <a:lnTo>
                  <a:pt x="3718959" y="1482580"/>
                </a:lnTo>
                <a:lnTo>
                  <a:pt x="3717027" y="1478651"/>
                </a:lnTo>
                <a:cubicBezTo>
                  <a:pt x="3716042" y="1476509"/>
                  <a:pt x="3716042" y="1474662"/>
                  <a:pt x="3719285" y="1469158"/>
                </a:cubicBezTo>
                <a:close/>
                <a:moveTo>
                  <a:pt x="2853667" y="1466510"/>
                </a:moveTo>
                <a:cubicBezTo>
                  <a:pt x="2864324" y="1467903"/>
                  <a:pt x="2871276" y="1475708"/>
                  <a:pt x="2873129" y="1487553"/>
                </a:cubicBezTo>
                <a:cubicBezTo>
                  <a:pt x="2868032" y="1480166"/>
                  <a:pt x="2855056" y="1482814"/>
                  <a:pt x="2853667" y="1466510"/>
                </a:cubicBezTo>
                <a:close/>
                <a:moveTo>
                  <a:pt x="4839659" y="1466446"/>
                </a:moveTo>
                <a:lnTo>
                  <a:pt x="4840604" y="1469030"/>
                </a:lnTo>
                <a:lnTo>
                  <a:pt x="4842947" y="1468736"/>
                </a:lnTo>
                <a:lnTo>
                  <a:pt x="4843635" y="1467783"/>
                </a:lnTo>
                <a:lnTo>
                  <a:pt x="4843876" y="1468620"/>
                </a:lnTo>
                <a:lnTo>
                  <a:pt x="4846261" y="1468320"/>
                </a:lnTo>
                <a:close/>
                <a:moveTo>
                  <a:pt x="4862770" y="1466247"/>
                </a:moveTo>
                <a:lnTo>
                  <a:pt x="4853212" y="1467345"/>
                </a:lnTo>
                <a:cubicBezTo>
                  <a:pt x="4852285" y="1467764"/>
                  <a:pt x="4851820" y="1468739"/>
                  <a:pt x="4851358" y="1469158"/>
                </a:cubicBezTo>
                <a:lnTo>
                  <a:pt x="4858430" y="1473563"/>
                </a:lnTo>
                <a:lnTo>
                  <a:pt x="4862462" y="1470257"/>
                </a:lnTo>
                <a:close/>
                <a:moveTo>
                  <a:pt x="4774667" y="1464901"/>
                </a:moveTo>
                <a:lnTo>
                  <a:pt x="4769278" y="1466248"/>
                </a:lnTo>
                <a:cubicBezTo>
                  <a:pt x="4756478" y="1471980"/>
                  <a:pt x="4744545" y="1479888"/>
                  <a:pt x="4735973" y="1488946"/>
                </a:cubicBezTo>
                <a:cubicBezTo>
                  <a:pt x="4730412" y="1490479"/>
                  <a:pt x="4719753" y="1492569"/>
                  <a:pt x="4713267" y="1494103"/>
                </a:cubicBezTo>
                <a:cubicBezTo>
                  <a:pt x="4716510" y="1494939"/>
                  <a:pt x="4719869" y="1497831"/>
                  <a:pt x="4724214" y="1500061"/>
                </a:cubicBezTo>
                <a:lnTo>
                  <a:pt x="4738873" y="1501788"/>
                </a:lnTo>
                <a:lnTo>
                  <a:pt x="4747946" y="1500184"/>
                </a:lnTo>
                <a:cubicBezTo>
                  <a:pt x="4757445" y="1498582"/>
                  <a:pt x="4768103" y="1496840"/>
                  <a:pt x="4777370" y="1495376"/>
                </a:cubicBezTo>
                <a:cubicBezTo>
                  <a:pt x="4775981" y="1492589"/>
                  <a:pt x="4775055" y="1489663"/>
                  <a:pt x="4771346" y="1490220"/>
                </a:cubicBezTo>
                <a:lnTo>
                  <a:pt x="4771776" y="1486944"/>
                </a:lnTo>
                <a:lnTo>
                  <a:pt x="4761684" y="1489274"/>
                </a:lnTo>
                <a:cubicBezTo>
                  <a:pt x="4756623" y="1489331"/>
                  <a:pt x="4751960" y="1487832"/>
                  <a:pt x="4748021" y="1483651"/>
                </a:cubicBezTo>
                <a:lnTo>
                  <a:pt x="4773204" y="1476055"/>
                </a:lnTo>
                <a:close/>
                <a:moveTo>
                  <a:pt x="1909733" y="1462329"/>
                </a:moveTo>
                <a:cubicBezTo>
                  <a:pt x="1903708" y="1488390"/>
                  <a:pt x="1908343" y="1491316"/>
                  <a:pt x="1923171" y="1492569"/>
                </a:cubicBezTo>
                <a:cubicBezTo>
                  <a:pt x="1925024" y="1501767"/>
                  <a:pt x="1918537" y="1501489"/>
                  <a:pt x="1918537" y="1508040"/>
                </a:cubicBezTo>
                <a:cubicBezTo>
                  <a:pt x="1906489" y="1494939"/>
                  <a:pt x="1888416" y="1497727"/>
                  <a:pt x="1870344" y="1502882"/>
                </a:cubicBezTo>
                <a:cubicBezTo>
                  <a:pt x="1873587" y="1495079"/>
                  <a:pt x="1877758" y="1489783"/>
                  <a:pt x="1879612" y="1481839"/>
                </a:cubicBezTo>
                <a:cubicBezTo>
                  <a:pt x="1900465" y="1505391"/>
                  <a:pt x="1897683" y="1464977"/>
                  <a:pt x="1909733" y="1462329"/>
                </a:cubicBezTo>
                <a:close/>
                <a:moveTo>
                  <a:pt x="4822029" y="1459289"/>
                </a:moveTo>
                <a:lnTo>
                  <a:pt x="4822321" y="1466250"/>
                </a:lnTo>
                <a:cubicBezTo>
                  <a:pt x="4824637" y="1466912"/>
                  <a:pt x="4826085" y="1466581"/>
                  <a:pt x="4827100" y="1465734"/>
                </a:cubicBezTo>
                <a:lnTo>
                  <a:pt x="4829207" y="1462229"/>
                </a:lnTo>
                <a:lnTo>
                  <a:pt x="4822627" y="1459402"/>
                </a:lnTo>
                <a:close/>
                <a:moveTo>
                  <a:pt x="4806192" y="1457016"/>
                </a:moveTo>
                <a:lnTo>
                  <a:pt x="4803616" y="1457661"/>
                </a:lnTo>
                <a:lnTo>
                  <a:pt x="4804249" y="1459142"/>
                </a:lnTo>
                <a:close/>
                <a:moveTo>
                  <a:pt x="2853667" y="1452016"/>
                </a:moveTo>
                <a:cubicBezTo>
                  <a:pt x="2851812" y="1461214"/>
                  <a:pt x="2849032" y="1461214"/>
                  <a:pt x="2844398" y="1456614"/>
                </a:cubicBezTo>
                <a:cubicBezTo>
                  <a:pt x="2841618" y="1458148"/>
                  <a:pt x="2841618" y="1462885"/>
                  <a:pt x="2841618" y="1465953"/>
                </a:cubicBezTo>
                <a:cubicBezTo>
                  <a:pt x="2833277" y="1472084"/>
                  <a:pt x="2837447" y="1451876"/>
                  <a:pt x="2828642" y="1453409"/>
                </a:cubicBezTo>
                <a:cubicBezTo>
                  <a:pt x="2834667" y="1448811"/>
                  <a:pt x="2840227" y="1459680"/>
                  <a:pt x="2853667" y="1452016"/>
                </a:cubicBezTo>
                <a:close/>
                <a:moveTo>
                  <a:pt x="11570695" y="1451821"/>
                </a:moveTo>
                <a:cubicBezTo>
                  <a:pt x="11575330" y="1462552"/>
                  <a:pt x="11567453" y="1479972"/>
                  <a:pt x="11572085" y="1479972"/>
                </a:cubicBezTo>
                <a:cubicBezTo>
                  <a:pt x="11573939" y="1470495"/>
                  <a:pt x="11589695" y="1478439"/>
                  <a:pt x="11587841" y="1466314"/>
                </a:cubicBezTo>
                <a:cubicBezTo>
                  <a:pt x="11581354" y="1463666"/>
                  <a:pt x="11580426" y="1451821"/>
                  <a:pt x="11570695" y="1451821"/>
                </a:cubicBezTo>
                <a:close/>
                <a:moveTo>
                  <a:pt x="4868967" y="1446301"/>
                </a:moveTo>
                <a:cubicBezTo>
                  <a:pt x="4857845" y="1448532"/>
                  <a:pt x="4851358" y="1452435"/>
                  <a:pt x="4843944" y="1455779"/>
                </a:cubicBezTo>
                <a:cubicBezTo>
                  <a:pt x="4845334" y="1455918"/>
                  <a:pt x="4845334" y="1455499"/>
                  <a:pt x="4846724" y="1455779"/>
                </a:cubicBezTo>
                <a:cubicBezTo>
                  <a:pt x="4852517" y="1457033"/>
                  <a:pt x="4854486" y="1458879"/>
                  <a:pt x="4856803" y="1460709"/>
                </a:cubicBezTo>
                <a:lnTo>
                  <a:pt x="4863007" y="1463170"/>
                </a:lnTo>
                <a:lnTo>
                  <a:pt x="4863561" y="1455937"/>
                </a:lnTo>
                <a:cubicBezTo>
                  <a:pt x="4862172" y="1450084"/>
                  <a:pt x="4866574" y="1450467"/>
                  <a:pt x="4870513" y="1450154"/>
                </a:cubicBezTo>
                <a:lnTo>
                  <a:pt x="4873049" y="1449167"/>
                </a:lnTo>
                <a:close/>
                <a:moveTo>
                  <a:pt x="11649010" y="1445688"/>
                </a:moveTo>
                <a:cubicBezTo>
                  <a:pt x="11652253" y="1444712"/>
                  <a:pt x="11655034" y="1447361"/>
                  <a:pt x="11655959" y="1460182"/>
                </a:cubicBezTo>
                <a:cubicBezTo>
                  <a:pt x="11652253" y="1461715"/>
                  <a:pt x="11651790" y="1456977"/>
                  <a:pt x="11650862" y="1450844"/>
                </a:cubicBezTo>
                <a:cubicBezTo>
                  <a:pt x="11647155" y="1456977"/>
                  <a:pt x="11644838" y="1456838"/>
                  <a:pt x="11640668" y="1452378"/>
                </a:cubicBezTo>
                <a:cubicBezTo>
                  <a:pt x="11642986" y="1450844"/>
                  <a:pt x="11646228" y="1446525"/>
                  <a:pt x="11649010" y="1445688"/>
                </a:cubicBezTo>
                <a:close/>
                <a:moveTo>
                  <a:pt x="4875021" y="1444688"/>
                </a:moveTo>
                <a:lnTo>
                  <a:pt x="4873601" y="1444909"/>
                </a:lnTo>
                <a:lnTo>
                  <a:pt x="4874263" y="1448694"/>
                </a:lnTo>
                <a:lnTo>
                  <a:pt x="4875292" y="1448294"/>
                </a:lnTo>
                <a:close/>
                <a:moveTo>
                  <a:pt x="4912062" y="1438916"/>
                </a:moveTo>
                <a:lnTo>
                  <a:pt x="4876879" y="1444398"/>
                </a:lnTo>
                <a:lnTo>
                  <a:pt x="4877754" y="1446077"/>
                </a:lnTo>
                <a:cubicBezTo>
                  <a:pt x="4877001" y="1448656"/>
                  <a:pt x="4875379" y="1451687"/>
                  <a:pt x="4875611" y="1454683"/>
                </a:cubicBezTo>
                <a:cubicBezTo>
                  <a:pt x="4882910" y="1451129"/>
                  <a:pt x="4890903" y="1449004"/>
                  <a:pt x="4899236" y="1447593"/>
                </a:cubicBezTo>
                <a:lnTo>
                  <a:pt x="4919518" y="1445377"/>
                </a:lnTo>
                <a:lnTo>
                  <a:pt x="4917739" y="1444142"/>
                </a:lnTo>
                <a:cubicBezTo>
                  <a:pt x="4913684" y="1442017"/>
                  <a:pt x="4910441" y="1440240"/>
                  <a:pt x="4912062" y="1438916"/>
                </a:cubicBezTo>
                <a:close/>
                <a:moveTo>
                  <a:pt x="1711400" y="1417315"/>
                </a:moveTo>
                <a:cubicBezTo>
                  <a:pt x="1718350" y="1417733"/>
                  <a:pt x="1727156" y="1420799"/>
                  <a:pt x="1732252" y="1418151"/>
                </a:cubicBezTo>
                <a:cubicBezTo>
                  <a:pt x="1729009" y="1444491"/>
                  <a:pt x="1717887" y="1423585"/>
                  <a:pt x="1700742" y="1432366"/>
                </a:cubicBezTo>
                <a:cubicBezTo>
                  <a:pt x="1698888" y="1419127"/>
                  <a:pt x="1704449" y="1416896"/>
                  <a:pt x="1711400" y="1417315"/>
                </a:cubicBezTo>
                <a:close/>
                <a:moveTo>
                  <a:pt x="2599882" y="1415522"/>
                </a:moveTo>
                <a:cubicBezTo>
                  <a:pt x="2604980" y="1416079"/>
                  <a:pt x="2607296" y="1421236"/>
                  <a:pt x="2612857" y="1422352"/>
                </a:cubicBezTo>
                <a:cubicBezTo>
                  <a:pt x="2611468" y="1436984"/>
                  <a:pt x="2600809" y="1429737"/>
                  <a:pt x="2594786" y="1429737"/>
                </a:cubicBezTo>
                <a:lnTo>
                  <a:pt x="2593395" y="1416776"/>
                </a:lnTo>
                <a:cubicBezTo>
                  <a:pt x="2595711" y="1415662"/>
                  <a:pt x="2598028" y="1415244"/>
                  <a:pt x="2599882" y="1415522"/>
                </a:cubicBezTo>
                <a:close/>
                <a:moveTo>
                  <a:pt x="1880075" y="1407978"/>
                </a:moveTo>
                <a:cubicBezTo>
                  <a:pt x="1882392" y="1407421"/>
                  <a:pt x="1885172" y="1407280"/>
                  <a:pt x="1888416" y="1408396"/>
                </a:cubicBezTo>
                <a:cubicBezTo>
                  <a:pt x="1890270" y="1425677"/>
                  <a:pt x="1879149" y="1425816"/>
                  <a:pt x="1866637" y="1424422"/>
                </a:cubicBezTo>
                <a:cubicBezTo>
                  <a:pt x="1868027" y="1430136"/>
                  <a:pt x="1871734" y="1434456"/>
                  <a:pt x="1869881" y="1441564"/>
                </a:cubicBezTo>
                <a:cubicBezTo>
                  <a:pt x="1860612" y="1441564"/>
                  <a:pt x="1860612" y="1427489"/>
                  <a:pt x="1862004" y="1414527"/>
                </a:cubicBezTo>
                <a:cubicBezTo>
                  <a:pt x="1871270" y="1416757"/>
                  <a:pt x="1873587" y="1409790"/>
                  <a:pt x="1880075" y="1407978"/>
                </a:cubicBezTo>
                <a:close/>
                <a:moveTo>
                  <a:pt x="3037633" y="1407002"/>
                </a:moveTo>
                <a:cubicBezTo>
                  <a:pt x="3045512" y="1408814"/>
                  <a:pt x="3052462" y="1417733"/>
                  <a:pt x="3053853" y="1408396"/>
                </a:cubicBezTo>
                <a:cubicBezTo>
                  <a:pt x="3075168" y="1419266"/>
                  <a:pt x="3020488" y="1431530"/>
                  <a:pt x="3028829" y="1408396"/>
                </a:cubicBezTo>
                <a:cubicBezTo>
                  <a:pt x="3031609" y="1406445"/>
                  <a:pt x="3034853" y="1406305"/>
                  <a:pt x="3037633" y="1407002"/>
                </a:cubicBezTo>
                <a:close/>
                <a:moveTo>
                  <a:pt x="11563281" y="1402625"/>
                </a:moveTo>
                <a:cubicBezTo>
                  <a:pt x="11559111" y="1403044"/>
                  <a:pt x="11554940" y="1403044"/>
                  <a:pt x="11550307" y="1403601"/>
                </a:cubicBezTo>
                <a:cubicBezTo>
                  <a:pt x="11553550" y="1405135"/>
                  <a:pt x="11555404" y="1407225"/>
                  <a:pt x="11559574" y="1408757"/>
                </a:cubicBezTo>
                <a:cubicBezTo>
                  <a:pt x="11560964" y="1407364"/>
                  <a:pt x="11561891" y="1404856"/>
                  <a:pt x="11563281" y="1402625"/>
                </a:cubicBezTo>
                <a:close/>
                <a:moveTo>
                  <a:pt x="11621206" y="1397051"/>
                </a:moveTo>
                <a:cubicBezTo>
                  <a:pt x="11607303" y="1397469"/>
                  <a:pt x="11590158" y="1399561"/>
                  <a:pt x="11574867" y="1401232"/>
                </a:cubicBezTo>
                <a:cubicBezTo>
                  <a:pt x="11585060" y="1413496"/>
                  <a:pt x="11604524" y="1404438"/>
                  <a:pt x="11612402" y="1421022"/>
                </a:cubicBezTo>
                <a:cubicBezTo>
                  <a:pt x="11616572" y="1415865"/>
                  <a:pt x="11621669" y="1405553"/>
                  <a:pt x="11623523" y="1397051"/>
                </a:cubicBezTo>
                <a:cubicBezTo>
                  <a:pt x="11622596" y="1397051"/>
                  <a:pt x="11622133" y="1396912"/>
                  <a:pt x="11621206" y="1397051"/>
                </a:cubicBezTo>
                <a:close/>
                <a:moveTo>
                  <a:pt x="1748935" y="1387910"/>
                </a:moveTo>
                <a:cubicBezTo>
                  <a:pt x="1761446" y="1392091"/>
                  <a:pt x="1753568" y="1395993"/>
                  <a:pt x="1752178" y="1409790"/>
                </a:cubicBezTo>
                <a:cubicBezTo>
                  <a:pt x="1769787" y="1408535"/>
                  <a:pt x="1766544" y="1402960"/>
                  <a:pt x="1780909" y="1409790"/>
                </a:cubicBezTo>
                <a:cubicBezTo>
                  <a:pt x="1780909" y="1420938"/>
                  <a:pt x="1764691" y="1411322"/>
                  <a:pt x="1756812" y="1415503"/>
                </a:cubicBezTo>
                <a:cubicBezTo>
                  <a:pt x="1760056" y="1426513"/>
                  <a:pt x="1782762" y="1413691"/>
                  <a:pt x="1780909" y="1430416"/>
                </a:cubicBezTo>
                <a:cubicBezTo>
                  <a:pt x="1786006" y="1411044"/>
                  <a:pt x="1811493" y="1408535"/>
                  <a:pt x="1825858" y="1415503"/>
                </a:cubicBezTo>
                <a:cubicBezTo>
                  <a:pt x="1810102" y="1425119"/>
                  <a:pt x="1782762" y="1426513"/>
                  <a:pt x="1785543" y="1452852"/>
                </a:cubicBezTo>
                <a:cubicBezTo>
                  <a:pt x="1771177" y="1454246"/>
                  <a:pt x="1777665" y="1433063"/>
                  <a:pt x="1766544" y="1430416"/>
                </a:cubicBezTo>
                <a:cubicBezTo>
                  <a:pt x="1761909" y="1440030"/>
                  <a:pt x="1754032" y="1444351"/>
                  <a:pt x="1739666" y="1441564"/>
                </a:cubicBezTo>
                <a:cubicBezTo>
                  <a:pt x="1724839" y="1437522"/>
                  <a:pt x="1747082" y="1434595"/>
                  <a:pt x="1752178" y="1435988"/>
                </a:cubicBezTo>
                <a:cubicBezTo>
                  <a:pt x="1752178" y="1426233"/>
                  <a:pt x="1743837" y="1423865"/>
                  <a:pt x="1734106" y="1425258"/>
                </a:cubicBezTo>
                <a:cubicBezTo>
                  <a:pt x="1735959" y="1418290"/>
                  <a:pt x="1745690" y="1421078"/>
                  <a:pt x="1752178" y="1419685"/>
                </a:cubicBezTo>
                <a:cubicBezTo>
                  <a:pt x="1737350" y="1409929"/>
                  <a:pt x="1720205" y="1409929"/>
                  <a:pt x="1702595" y="1415503"/>
                </a:cubicBezTo>
                <a:cubicBezTo>
                  <a:pt x="1703986" y="1400313"/>
                  <a:pt x="1716960" y="1398501"/>
                  <a:pt x="1724839" y="1392927"/>
                </a:cubicBezTo>
                <a:cubicBezTo>
                  <a:pt x="1723448" y="1406863"/>
                  <a:pt x="1734569" y="1407141"/>
                  <a:pt x="1744300" y="1409790"/>
                </a:cubicBezTo>
                <a:cubicBezTo>
                  <a:pt x="1756812" y="1404355"/>
                  <a:pt x="1737350" y="1394877"/>
                  <a:pt x="1748935" y="1387910"/>
                </a:cubicBezTo>
                <a:close/>
                <a:moveTo>
                  <a:pt x="2932443" y="1383590"/>
                </a:moveTo>
                <a:cubicBezTo>
                  <a:pt x="2928273" y="1389861"/>
                  <a:pt x="2928273" y="1401009"/>
                  <a:pt x="2928273" y="1413552"/>
                </a:cubicBezTo>
                <a:cubicBezTo>
                  <a:pt x="2935223" y="1414945"/>
                  <a:pt x="2941248" y="1417872"/>
                  <a:pt x="2948199" y="1415782"/>
                </a:cubicBezTo>
                <a:cubicBezTo>
                  <a:pt x="2951443" y="1421217"/>
                  <a:pt x="2908346" y="1422332"/>
                  <a:pt x="2897225" y="1430416"/>
                </a:cubicBezTo>
                <a:cubicBezTo>
                  <a:pt x="2897225" y="1424980"/>
                  <a:pt x="2895372" y="1422472"/>
                  <a:pt x="2892127" y="1421078"/>
                </a:cubicBezTo>
                <a:cubicBezTo>
                  <a:pt x="2893982" y="1416479"/>
                  <a:pt x="2896761" y="1415085"/>
                  <a:pt x="2899543" y="1413552"/>
                </a:cubicBezTo>
                <a:cubicBezTo>
                  <a:pt x="2897225" y="1412298"/>
                  <a:pt x="2895372" y="1411462"/>
                  <a:pt x="2893055" y="1410207"/>
                </a:cubicBezTo>
                <a:cubicBezTo>
                  <a:pt x="2905566" y="1399477"/>
                  <a:pt x="2919005" y="1390279"/>
                  <a:pt x="2932443" y="1383590"/>
                </a:cubicBezTo>
                <a:close/>
                <a:moveTo>
                  <a:pt x="11617961" y="1383394"/>
                </a:moveTo>
                <a:cubicBezTo>
                  <a:pt x="11610548" y="1384370"/>
                  <a:pt x="11602206" y="1385485"/>
                  <a:pt x="11602206" y="1389526"/>
                </a:cubicBezTo>
                <a:cubicBezTo>
                  <a:pt x="11607303" y="1390641"/>
                  <a:pt x="11617035" y="1388551"/>
                  <a:pt x="11623986" y="1388690"/>
                </a:cubicBezTo>
                <a:cubicBezTo>
                  <a:pt x="11623059" y="1385903"/>
                  <a:pt x="11621206" y="1384091"/>
                  <a:pt x="11617961" y="1383394"/>
                </a:cubicBezTo>
                <a:close/>
                <a:moveTo>
                  <a:pt x="2347177" y="1371325"/>
                </a:moveTo>
                <a:cubicBezTo>
                  <a:pt x="2353664" y="1371046"/>
                  <a:pt x="2361542" y="1373416"/>
                  <a:pt x="2364786" y="1377040"/>
                </a:cubicBezTo>
                <a:lnTo>
                  <a:pt x="2364786" y="1400035"/>
                </a:lnTo>
                <a:cubicBezTo>
                  <a:pt x="2352738" y="1397108"/>
                  <a:pt x="2346713" y="1386934"/>
                  <a:pt x="2334665" y="1382614"/>
                </a:cubicBezTo>
                <a:cubicBezTo>
                  <a:pt x="2334665" y="1374670"/>
                  <a:pt x="2340689" y="1371743"/>
                  <a:pt x="2347177" y="1371325"/>
                </a:cubicBezTo>
                <a:close/>
                <a:moveTo>
                  <a:pt x="2425026" y="1371046"/>
                </a:moveTo>
                <a:cubicBezTo>
                  <a:pt x="2428733" y="1370908"/>
                  <a:pt x="2433368" y="1372301"/>
                  <a:pt x="2439855" y="1373694"/>
                </a:cubicBezTo>
                <a:cubicBezTo>
                  <a:pt x="2443562" y="1386238"/>
                  <a:pt x="2436149" y="1388746"/>
                  <a:pt x="2434294" y="1395714"/>
                </a:cubicBezTo>
                <a:cubicBezTo>
                  <a:pt x="2417612" y="1399894"/>
                  <a:pt x="2424564" y="1382196"/>
                  <a:pt x="2413441" y="1379408"/>
                </a:cubicBezTo>
                <a:cubicBezTo>
                  <a:pt x="2417150" y="1373137"/>
                  <a:pt x="2420857" y="1371186"/>
                  <a:pt x="2425026" y="1371046"/>
                </a:cubicBezTo>
                <a:close/>
                <a:moveTo>
                  <a:pt x="2655334" y="1367703"/>
                </a:moveTo>
                <a:cubicBezTo>
                  <a:pt x="2655334" y="1372998"/>
                  <a:pt x="2659968" y="1371604"/>
                  <a:pt x="2663675" y="1372858"/>
                </a:cubicBezTo>
                <a:cubicBezTo>
                  <a:pt x="2678504" y="1379269"/>
                  <a:pt x="2650236" y="1379269"/>
                  <a:pt x="2650236" y="1372858"/>
                </a:cubicBezTo>
                <a:cubicBezTo>
                  <a:pt x="2650700" y="1370211"/>
                  <a:pt x="2653480" y="1369514"/>
                  <a:pt x="2655334" y="1367703"/>
                </a:cubicBezTo>
                <a:close/>
                <a:moveTo>
                  <a:pt x="2500560" y="1367703"/>
                </a:moveTo>
                <a:cubicBezTo>
                  <a:pt x="2525583" y="1366170"/>
                  <a:pt x="2557556" y="1385541"/>
                  <a:pt x="2586751" y="1379408"/>
                </a:cubicBezTo>
                <a:cubicBezTo>
                  <a:pt x="2586751" y="1384844"/>
                  <a:pt x="2585362" y="1389164"/>
                  <a:pt x="2582118" y="1389164"/>
                </a:cubicBezTo>
                <a:cubicBezTo>
                  <a:pt x="2558021" y="1393345"/>
                  <a:pt x="2499169" y="1395853"/>
                  <a:pt x="2478316" y="1377875"/>
                </a:cubicBezTo>
                <a:cubicBezTo>
                  <a:pt x="2484805" y="1371046"/>
                  <a:pt x="2492219" y="1368259"/>
                  <a:pt x="2500560" y="1367703"/>
                </a:cubicBezTo>
                <a:close/>
                <a:moveTo>
                  <a:pt x="2721135" y="1349446"/>
                </a:moveTo>
                <a:cubicBezTo>
                  <a:pt x="2735037" y="1346659"/>
                  <a:pt x="2755427" y="1357946"/>
                  <a:pt x="2765158" y="1353209"/>
                </a:cubicBezTo>
                <a:cubicBezTo>
                  <a:pt x="2779059" y="1365891"/>
                  <a:pt x="2755890" y="1377179"/>
                  <a:pt x="2751256" y="1383590"/>
                </a:cubicBezTo>
                <a:cubicBezTo>
                  <a:pt x="2738745" y="1364497"/>
                  <a:pt x="2726233" y="1375785"/>
                  <a:pt x="2710478" y="1357946"/>
                </a:cubicBezTo>
                <a:cubicBezTo>
                  <a:pt x="2712795" y="1352930"/>
                  <a:pt x="2716501" y="1350421"/>
                  <a:pt x="2721135" y="1349446"/>
                </a:cubicBezTo>
                <a:close/>
                <a:moveTo>
                  <a:pt x="2647456" y="1347077"/>
                </a:moveTo>
                <a:cubicBezTo>
                  <a:pt x="2661358" y="1347774"/>
                  <a:pt x="2675260" y="1350282"/>
                  <a:pt x="2683601" y="1347077"/>
                </a:cubicBezTo>
                <a:cubicBezTo>
                  <a:pt x="2685454" y="1366588"/>
                  <a:pt x="2665064" y="1362546"/>
                  <a:pt x="2655334" y="1367703"/>
                </a:cubicBezTo>
                <a:cubicBezTo>
                  <a:pt x="2656724" y="1366030"/>
                  <a:pt x="2656724" y="1363104"/>
                  <a:pt x="2660430" y="1362546"/>
                </a:cubicBezTo>
                <a:cubicBezTo>
                  <a:pt x="2648383" y="1361152"/>
                  <a:pt x="2630310" y="1350979"/>
                  <a:pt x="2611774" y="1357390"/>
                </a:cubicBezTo>
                <a:cubicBezTo>
                  <a:pt x="2620115" y="1347634"/>
                  <a:pt x="2633554" y="1346380"/>
                  <a:pt x="2647456" y="1347077"/>
                </a:cubicBezTo>
                <a:close/>
                <a:moveTo>
                  <a:pt x="11581817" y="1345627"/>
                </a:moveTo>
                <a:cubicBezTo>
                  <a:pt x="11580891" y="1348136"/>
                  <a:pt x="11579964" y="1350227"/>
                  <a:pt x="11579036" y="1352595"/>
                </a:cubicBezTo>
                <a:cubicBezTo>
                  <a:pt x="11584134" y="1351480"/>
                  <a:pt x="11585060" y="1348833"/>
                  <a:pt x="11584598" y="1345627"/>
                </a:cubicBezTo>
                <a:cubicBezTo>
                  <a:pt x="11583208" y="1345348"/>
                  <a:pt x="11583208" y="1346185"/>
                  <a:pt x="11581817" y="1345627"/>
                </a:cubicBezTo>
                <a:close/>
                <a:moveTo>
                  <a:pt x="2000558" y="1340109"/>
                </a:moveTo>
                <a:cubicBezTo>
                  <a:pt x="2016776" y="1339690"/>
                  <a:pt x="2043653" y="1350003"/>
                  <a:pt x="2058018" y="1350003"/>
                </a:cubicBezTo>
                <a:cubicBezTo>
                  <a:pt x="2039019" y="1364497"/>
                  <a:pt x="2011217" y="1344708"/>
                  <a:pt x="1988973" y="1344708"/>
                </a:cubicBezTo>
                <a:cubicBezTo>
                  <a:pt x="1990827" y="1341503"/>
                  <a:pt x="1995461" y="1340387"/>
                  <a:pt x="2000558" y="1340109"/>
                </a:cubicBezTo>
                <a:close/>
                <a:moveTo>
                  <a:pt x="1353660" y="1337879"/>
                </a:moveTo>
                <a:lnTo>
                  <a:pt x="1371268" y="1337879"/>
                </a:lnTo>
                <a:lnTo>
                  <a:pt x="1371268" y="1354741"/>
                </a:lnTo>
                <a:cubicBezTo>
                  <a:pt x="1362927" y="1351954"/>
                  <a:pt x="1351806" y="1351675"/>
                  <a:pt x="1353660" y="1337879"/>
                </a:cubicBezTo>
                <a:close/>
                <a:moveTo>
                  <a:pt x="1969974" y="1330772"/>
                </a:moveTo>
                <a:cubicBezTo>
                  <a:pt x="1976461" y="1329377"/>
                  <a:pt x="1974607" y="1341920"/>
                  <a:pt x="1983876" y="1337879"/>
                </a:cubicBezTo>
                <a:cubicBezTo>
                  <a:pt x="1982485" y="1354463"/>
                  <a:pt x="1959316" y="1343175"/>
                  <a:pt x="1969974" y="1330772"/>
                </a:cubicBezTo>
                <a:close/>
                <a:moveTo>
                  <a:pt x="1931976" y="1329796"/>
                </a:moveTo>
                <a:cubicBezTo>
                  <a:pt x="1940318" y="1329657"/>
                  <a:pt x="1951438" y="1338714"/>
                  <a:pt x="1959316" y="1338714"/>
                </a:cubicBezTo>
                <a:cubicBezTo>
                  <a:pt x="1950511" y="1353348"/>
                  <a:pt x="1933830" y="1337321"/>
                  <a:pt x="1924562" y="1333977"/>
                </a:cubicBezTo>
                <a:cubicBezTo>
                  <a:pt x="1926415" y="1331190"/>
                  <a:pt x="1929195" y="1329936"/>
                  <a:pt x="1931976" y="1329796"/>
                </a:cubicBezTo>
                <a:close/>
                <a:moveTo>
                  <a:pt x="2648383" y="1317671"/>
                </a:moveTo>
                <a:cubicBezTo>
                  <a:pt x="2656261" y="1318786"/>
                  <a:pt x="2663211" y="1324082"/>
                  <a:pt x="2660894" y="1333977"/>
                </a:cubicBezTo>
                <a:cubicBezTo>
                  <a:pt x="2653944" y="1333977"/>
                  <a:pt x="2652090" y="1332862"/>
                  <a:pt x="2652090" y="1328959"/>
                </a:cubicBezTo>
                <a:cubicBezTo>
                  <a:pt x="2641895" y="1342199"/>
                  <a:pt x="2621505" y="1332583"/>
                  <a:pt x="2631700" y="1326033"/>
                </a:cubicBezTo>
                <a:cubicBezTo>
                  <a:pt x="2632627" y="1319484"/>
                  <a:pt x="2640967" y="1316556"/>
                  <a:pt x="2648383" y="1317671"/>
                </a:cubicBezTo>
                <a:close/>
                <a:moveTo>
                  <a:pt x="1887026" y="1316835"/>
                </a:moveTo>
                <a:cubicBezTo>
                  <a:pt x="1890270" y="1324917"/>
                  <a:pt x="1905099" y="1317950"/>
                  <a:pt x="1905099" y="1330214"/>
                </a:cubicBezTo>
                <a:cubicBezTo>
                  <a:pt x="1895368" y="1334256"/>
                  <a:pt x="1893051" y="1327566"/>
                  <a:pt x="1885172" y="1328959"/>
                </a:cubicBezTo>
                <a:cubicBezTo>
                  <a:pt x="1886563" y="1324778"/>
                  <a:pt x="1887026" y="1322270"/>
                  <a:pt x="1887026" y="1316835"/>
                </a:cubicBezTo>
                <a:close/>
                <a:moveTo>
                  <a:pt x="1317052" y="1315859"/>
                </a:moveTo>
                <a:cubicBezTo>
                  <a:pt x="1328636" y="1315442"/>
                  <a:pt x="1342075" y="1317253"/>
                  <a:pt x="1351343" y="1320459"/>
                </a:cubicBezTo>
                <a:cubicBezTo>
                  <a:pt x="1351343" y="1340806"/>
                  <a:pt x="1314734" y="1320598"/>
                  <a:pt x="1319832" y="1346101"/>
                </a:cubicBezTo>
                <a:cubicBezTo>
                  <a:pt x="1295736" y="1344847"/>
                  <a:pt x="1311490" y="1330772"/>
                  <a:pt x="1292029" y="1325616"/>
                </a:cubicBezTo>
                <a:cubicBezTo>
                  <a:pt x="1295272" y="1319204"/>
                  <a:pt x="1305466" y="1316277"/>
                  <a:pt x="1317052" y="1315859"/>
                </a:cubicBezTo>
                <a:close/>
                <a:moveTo>
                  <a:pt x="2892127" y="1312654"/>
                </a:moveTo>
                <a:cubicBezTo>
                  <a:pt x="2890737" y="1344847"/>
                  <a:pt x="2817985" y="1314327"/>
                  <a:pt x="2872665" y="1319065"/>
                </a:cubicBezTo>
                <a:cubicBezTo>
                  <a:pt x="2877299" y="1314327"/>
                  <a:pt x="2884251" y="1312654"/>
                  <a:pt x="2892127" y="1312654"/>
                </a:cubicBezTo>
                <a:close/>
                <a:moveTo>
                  <a:pt x="1462093" y="1308753"/>
                </a:moveTo>
                <a:cubicBezTo>
                  <a:pt x="1478776" y="1340806"/>
                  <a:pt x="1496848" y="1304572"/>
                  <a:pt x="1514920" y="1313909"/>
                </a:cubicBezTo>
                <a:cubicBezTo>
                  <a:pt x="1514920" y="1333837"/>
                  <a:pt x="1485727" y="1312515"/>
                  <a:pt x="1501019" y="1329796"/>
                </a:cubicBezTo>
                <a:cubicBezTo>
                  <a:pt x="1497775" y="1341920"/>
                  <a:pt x="1476923" y="1332723"/>
                  <a:pt x="1466264" y="1335510"/>
                </a:cubicBezTo>
                <a:cubicBezTo>
                  <a:pt x="1469045" y="1320738"/>
                  <a:pt x="1460704" y="1322131"/>
                  <a:pt x="1462093" y="1308753"/>
                </a:cubicBezTo>
                <a:close/>
                <a:moveTo>
                  <a:pt x="1437071" y="1308753"/>
                </a:moveTo>
                <a:cubicBezTo>
                  <a:pt x="1455143" y="1304572"/>
                  <a:pt x="1446802" y="1329377"/>
                  <a:pt x="1460240" y="1330772"/>
                </a:cubicBezTo>
                <a:cubicBezTo>
                  <a:pt x="1460240" y="1334952"/>
                  <a:pt x="1455606" y="1336485"/>
                  <a:pt x="1455606" y="1342061"/>
                </a:cubicBezTo>
                <a:lnTo>
                  <a:pt x="1446802" y="1342061"/>
                </a:lnTo>
                <a:cubicBezTo>
                  <a:pt x="1438924" y="1328124"/>
                  <a:pt x="1453753" y="1325197"/>
                  <a:pt x="1432437" y="1330772"/>
                </a:cubicBezTo>
                <a:cubicBezTo>
                  <a:pt x="1430583" y="1319623"/>
                  <a:pt x="1435680" y="1317114"/>
                  <a:pt x="1437071" y="1308753"/>
                </a:cubicBezTo>
                <a:close/>
                <a:moveTo>
                  <a:pt x="2494072" y="1300252"/>
                </a:moveTo>
                <a:cubicBezTo>
                  <a:pt x="2505193" y="1295792"/>
                  <a:pt x="2532534" y="1315999"/>
                  <a:pt x="2557094" y="1311122"/>
                </a:cubicBezTo>
                <a:cubicBezTo>
                  <a:pt x="2552460" y="1317671"/>
                  <a:pt x="2554314" y="1321294"/>
                  <a:pt x="2562192" y="1321294"/>
                </a:cubicBezTo>
                <a:cubicBezTo>
                  <a:pt x="2558948" y="1334395"/>
                  <a:pt x="2536704" y="1325475"/>
                  <a:pt x="2535316" y="1341084"/>
                </a:cubicBezTo>
                <a:cubicBezTo>
                  <a:pt x="2560338" y="1343733"/>
                  <a:pt x="2607605" y="1363243"/>
                  <a:pt x="2607605" y="1311122"/>
                </a:cubicBezTo>
                <a:cubicBezTo>
                  <a:pt x="2626139" y="1320320"/>
                  <a:pt x="2610847" y="1360316"/>
                  <a:pt x="2593238" y="1361571"/>
                </a:cubicBezTo>
                <a:cubicBezTo>
                  <a:pt x="2598336" y="1348609"/>
                  <a:pt x="2564972" y="1359061"/>
                  <a:pt x="2566825" y="1366866"/>
                </a:cubicBezTo>
                <a:cubicBezTo>
                  <a:pt x="2544583" y="1366866"/>
                  <a:pt x="2521413" y="1354045"/>
                  <a:pt x="2494536" y="1346101"/>
                </a:cubicBezTo>
                <a:cubicBezTo>
                  <a:pt x="2512146" y="1343593"/>
                  <a:pt x="2544583" y="1342199"/>
                  <a:pt x="2535316" y="1316277"/>
                </a:cubicBezTo>
                <a:cubicBezTo>
                  <a:pt x="2529290" y="1320180"/>
                  <a:pt x="2526046" y="1328959"/>
                  <a:pt x="2521413" y="1335510"/>
                </a:cubicBezTo>
                <a:cubicBezTo>
                  <a:pt x="2520024" y="1328959"/>
                  <a:pt x="2516315" y="1321574"/>
                  <a:pt x="2508900" y="1311122"/>
                </a:cubicBezTo>
                <a:cubicBezTo>
                  <a:pt x="2502414" y="1330633"/>
                  <a:pt x="2461172" y="1320180"/>
                  <a:pt x="2439392" y="1316277"/>
                </a:cubicBezTo>
                <a:cubicBezTo>
                  <a:pt x="2430124" y="1327983"/>
                  <a:pt x="2403248" y="1330493"/>
                  <a:pt x="2393980" y="1316277"/>
                </a:cubicBezTo>
                <a:cubicBezTo>
                  <a:pt x="2400467" y="1308473"/>
                  <a:pt x="2422246" y="1309589"/>
                  <a:pt x="2433368" y="1313490"/>
                </a:cubicBezTo>
                <a:cubicBezTo>
                  <a:pt x="2458390" y="1295234"/>
                  <a:pt x="2460244" y="1309589"/>
                  <a:pt x="2489901" y="1314745"/>
                </a:cubicBezTo>
                <a:cubicBezTo>
                  <a:pt x="2489439" y="1305966"/>
                  <a:pt x="2490366" y="1301783"/>
                  <a:pt x="2494072" y="1300252"/>
                </a:cubicBezTo>
                <a:close/>
                <a:moveTo>
                  <a:pt x="12174034" y="1298802"/>
                </a:moveTo>
                <a:cubicBezTo>
                  <a:pt x="12179133" y="1302983"/>
                  <a:pt x="12179595" y="1314271"/>
                  <a:pt x="12189327" y="1314271"/>
                </a:cubicBezTo>
                <a:lnTo>
                  <a:pt x="12189327" y="1339077"/>
                </a:lnTo>
                <a:cubicBezTo>
                  <a:pt x="12186082" y="1333642"/>
                  <a:pt x="12173108" y="1316919"/>
                  <a:pt x="12176352" y="1340331"/>
                </a:cubicBezTo>
                <a:cubicBezTo>
                  <a:pt x="12171254" y="1330716"/>
                  <a:pt x="12169402" y="1332109"/>
                  <a:pt x="12159670" y="1337683"/>
                </a:cubicBezTo>
                <a:cubicBezTo>
                  <a:pt x="12154571" y="1326535"/>
                  <a:pt x="12169402" y="1318034"/>
                  <a:pt x="12154571" y="1320820"/>
                </a:cubicBezTo>
                <a:cubicBezTo>
                  <a:pt x="12154571" y="1305630"/>
                  <a:pt x="12170791" y="1308557"/>
                  <a:pt x="12174034" y="1298802"/>
                </a:cubicBezTo>
                <a:close/>
                <a:moveTo>
                  <a:pt x="11686545" y="1298802"/>
                </a:moveTo>
                <a:cubicBezTo>
                  <a:pt x="11692105" y="1303818"/>
                  <a:pt x="11699983" y="1313853"/>
                  <a:pt x="11696276" y="1321378"/>
                </a:cubicBezTo>
                <a:cubicBezTo>
                  <a:pt x="11687935" y="1323886"/>
                  <a:pt x="11692105" y="1308975"/>
                  <a:pt x="11681446" y="1315107"/>
                </a:cubicBezTo>
                <a:cubicBezTo>
                  <a:pt x="11680056" y="1305212"/>
                  <a:pt x="11686545" y="1306327"/>
                  <a:pt x="11686545" y="1298802"/>
                </a:cubicBezTo>
                <a:close/>
                <a:moveTo>
                  <a:pt x="1740594" y="1292865"/>
                </a:moveTo>
                <a:cubicBezTo>
                  <a:pt x="1746154" y="1291193"/>
                  <a:pt x="1756812" y="1298997"/>
                  <a:pt x="1761446" y="1300809"/>
                </a:cubicBezTo>
                <a:cubicBezTo>
                  <a:pt x="1760056" y="1315720"/>
                  <a:pt x="1743375" y="1303038"/>
                  <a:pt x="1737350" y="1298022"/>
                </a:cubicBezTo>
                <a:cubicBezTo>
                  <a:pt x="1737350" y="1294955"/>
                  <a:pt x="1738276" y="1293422"/>
                  <a:pt x="1740594" y="1292865"/>
                </a:cubicBezTo>
                <a:close/>
                <a:moveTo>
                  <a:pt x="11672643" y="1292670"/>
                </a:moveTo>
                <a:cubicBezTo>
                  <a:pt x="11675886" y="1292949"/>
                  <a:pt x="11680521" y="1295596"/>
                  <a:pt x="11685154" y="1295596"/>
                </a:cubicBezTo>
                <a:cubicBezTo>
                  <a:pt x="11685154" y="1310507"/>
                  <a:pt x="11671715" y="1310507"/>
                  <a:pt x="11665691" y="1302983"/>
                </a:cubicBezTo>
                <a:cubicBezTo>
                  <a:pt x="11666618" y="1294620"/>
                  <a:pt x="11669398" y="1292391"/>
                  <a:pt x="11672643" y="1292670"/>
                </a:cubicBezTo>
                <a:close/>
                <a:moveTo>
                  <a:pt x="1851808" y="1262903"/>
                </a:moveTo>
                <a:cubicBezTo>
                  <a:pt x="1861076" y="1258722"/>
                  <a:pt x="1861076" y="1290775"/>
                  <a:pt x="1865710" y="1274191"/>
                </a:cubicBezTo>
                <a:cubicBezTo>
                  <a:pt x="1870344" y="1304572"/>
                  <a:pt x="1831882" y="1283528"/>
                  <a:pt x="1816126" y="1290496"/>
                </a:cubicBezTo>
                <a:lnTo>
                  <a:pt x="1816126" y="1268477"/>
                </a:lnTo>
                <a:cubicBezTo>
                  <a:pt x="1833273" y="1262903"/>
                  <a:pt x="1847174" y="1285061"/>
                  <a:pt x="1851808" y="1262903"/>
                </a:cubicBezTo>
                <a:close/>
                <a:moveTo>
                  <a:pt x="11567453" y="1259083"/>
                </a:moveTo>
                <a:cubicBezTo>
                  <a:pt x="11566988" y="1259502"/>
                  <a:pt x="11567453" y="1260338"/>
                  <a:pt x="11569306" y="1262429"/>
                </a:cubicBezTo>
                <a:cubicBezTo>
                  <a:pt x="11573939" y="1263683"/>
                  <a:pt x="11569306" y="1269396"/>
                  <a:pt x="11566062" y="1270651"/>
                </a:cubicBezTo>
                <a:cubicBezTo>
                  <a:pt x="11553087" y="1262707"/>
                  <a:pt x="11549842" y="1269257"/>
                  <a:pt x="11536869" y="1277201"/>
                </a:cubicBezTo>
                <a:cubicBezTo>
                  <a:pt x="11543355" y="1282636"/>
                  <a:pt x="11547525" y="1290439"/>
                  <a:pt x="11552160" y="1298244"/>
                </a:cubicBezTo>
                <a:cubicBezTo>
                  <a:pt x="11554940" y="1298941"/>
                  <a:pt x="11556332" y="1298384"/>
                  <a:pt x="11558647" y="1299220"/>
                </a:cubicBezTo>
                <a:cubicBezTo>
                  <a:pt x="11561891" y="1302425"/>
                  <a:pt x="11561891" y="1305212"/>
                  <a:pt x="11560964" y="1308140"/>
                </a:cubicBezTo>
                <a:cubicBezTo>
                  <a:pt x="11561891" y="1309533"/>
                  <a:pt x="11562819" y="1311483"/>
                  <a:pt x="11564208" y="1312877"/>
                </a:cubicBezTo>
                <a:cubicBezTo>
                  <a:pt x="11565598" y="1310787"/>
                  <a:pt x="11567453" y="1310090"/>
                  <a:pt x="11571160" y="1310507"/>
                </a:cubicBezTo>
                <a:cubicBezTo>
                  <a:pt x="11575794" y="1297547"/>
                  <a:pt x="11578109" y="1286538"/>
                  <a:pt x="11581817" y="1265076"/>
                </a:cubicBezTo>
                <a:cubicBezTo>
                  <a:pt x="11579501" y="1263125"/>
                  <a:pt x="11569306" y="1258109"/>
                  <a:pt x="11567453" y="1259083"/>
                </a:cubicBezTo>
                <a:close/>
                <a:moveTo>
                  <a:pt x="11209712" y="1251419"/>
                </a:moveTo>
                <a:cubicBezTo>
                  <a:pt x="11187468" y="1263543"/>
                  <a:pt x="11159201" y="1247796"/>
                  <a:pt x="11149470" y="1269257"/>
                </a:cubicBezTo>
                <a:cubicBezTo>
                  <a:pt x="11165690" y="1275946"/>
                  <a:pt x="11203688" y="1276922"/>
                  <a:pt x="11209712" y="1251419"/>
                </a:cubicBezTo>
                <a:close/>
                <a:moveTo>
                  <a:pt x="2360615" y="1251196"/>
                </a:moveTo>
                <a:cubicBezTo>
                  <a:pt x="2400930" y="1249663"/>
                  <a:pt x="2441709" y="1253565"/>
                  <a:pt x="2478316" y="1256909"/>
                </a:cubicBezTo>
                <a:cubicBezTo>
                  <a:pt x="2478316" y="1284364"/>
                  <a:pt x="2465342" y="1261927"/>
                  <a:pt x="2450977" y="1261927"/>
                </a:cubicBezTo>
                <a:cubicBezTo>
                  <a:pt x="2439855" y="1263320"/>
                  <a:pt x="2457464" y="1270706"/>
                  <a:pt x="2450977" y="1282413"/>
                </a:cubicBezTo>
                <a:cubicBezTo>
                  <a:pt x="2444953" y="1282413"/>
                  <a:pt x="2438465" y="1281576"/>
                  <a:pt x="2436611" y="1288127"/>
                </a:cubicBezTo>
                <a:cubicBezTo>
                  <a:pt x="2420857" y="1280322"/>
                  <a:pt x="2447733" y="1280043"/>
                  <a:pt x="2441245" y="1267083"/>
                </a:cubicBezTo>
                <a:cubicBezTo>
                  <a:pt x="2409734" y="1268338"/>
                  <a:pt x="2347640" y="1251475"/>
                  <a:pt x="2322153" y="1288127"/>
                </a:cubicBezTo>
                <a:cubicBezTo>
                  <a:pt x="2309178" y="1264575"/>
                  <a:pt x="2260058" y="1287849"/>
                  <a:pt x="2245693" y="1277396"/>
                </a:cubicBezTo>
                <a:cubicBezTo>
                  <a:pt x="2280911" y="1259837"/>
                  <a:pt x="2320763" y="1252868"/>
                  <a:pt x="2360615" y="1251196"/>
                </a:cubicBezTo>
                <a:close/>
                <a:moveTo>
                  <a:pt x="1950974" y="1250778"/>
                </a:moveTo>
                <a:cubicBezTo>
                  <a:pt x="1969047" y="1261369"/>
                  <a:pt x="1961170" y="1265412"/>
                  <a:pt x="1965803" y="1288127"/>
                </a:cubicBezTo>
                <a:lnTo>
                  <a:pt x="1946340" y="1288127"/>
                </a:lnTo>
                <a:cubicBezTo>
                  <a:pt x="1957925" y="1273354"/>
                  <a:pt x="1944487" y="1265412"/>
                  <a:pt x="1950974" y="1250778"/>
                </a:cubicBezTo>
                <a:close/>
                <a:moveTo>
                  <a:pt x="11525746" y="1250583"/>
                </a:moveTo>
                <a:cubicBezTo>
                  <a:pt x="11503503" y="1249189"/>
                  <a:pt x="11526210" y="1274413"/>
                  <a:pt x="11511845" y="1283751"/>
                </a:cubicBezTo>
                <a:cubicBezTo>
                  <a:pt x="11527601" y="1283751"/>
                  <a:pt x="11527138" y="1268003"/>
                  <a:pt x="11525746" y="1250583"/>
                </a:cubicBezTo>
                <a:close/>
                <a:moveTo>
                  <a:pt x="11492383" y="1248911"/>
                </a:moveTo>
                <a:cubicBezTo>
                  <a:pt x="11491455" y="1248074"/>
                  <a:pt x="11490528" y="1247796"/>
                  <a:pt x="11487748" y="1249050"/>
                </a:cubicBezTo>
                <a:cubicBezTo>
                  <a:pt x="11470140" y="1284030"/>
                  <a:pt x="11428434" y="1259780"/>
                  <a:pt x="11401093" y="1287931"/>
                </a:cubicBezTo>
                <a:cubicBezTo>
                  <a:pt x="11411751" y="1296711"/>
                  <a:pt x="11427507" y="1279012"/>
                  <a:pt x="11433531" y="1298244"/>
                </a:cubicBezTo>
                <a:cubicBezTo>
                  <a:pt x="11436311" y="1292809"/>
                  <a:pt x="11427970" y="1287653"/>
                  <a:pt x="11436311" y="1281939"/>
                </a:cubicBezTo>
                <a:cubicBezTo>
                  <a:pt x="11438164" y="1284865"/>
                  <a:pt x="11441871" y="1285283"/>
                  <a:pt x="11444188" y="1287096"/>
                </a:cubicBezTo>
                <a:cubicBezTo>
                  <a:pt x="11451140" y="1283054"/>
                  <a:pt x="11462726" y="1281660"/>
                  <a:pt x="11467823" y="1287096"/>
                </a:cubicBezTo>
                <a:cubicBezTo>
                  <a:pt x="11467823" y="1290858"/>
                  <a:pt x="11464116" y="1291555"/>
                  <a:pt x="11462261" y="1293227"/>
                </a:cubicBezTo>
                <a:cubicBezTo>
                  <a:pt x="11471065" y="1293924"/>
                  <a:pt x="11479406" y="1295596"/>
                  <a:pt x="11488675" y="1295875"/>
                </a:cubicBezTo>
                <a:cubicBezTo>
                  <a:pt x="11493309" y="1282357"/>
                  <a:pt x="11496552" y="1272184"/>
                  <a:pt x="11500259" y="1255878"/>
                </a:cubicBezTo>
                <a:cubicBezTo>
                  <a:pt x="11493309" y="1260896"/>
                  <a:pt x="11495162" y="1251559"/>
                  <a:pt x="11492383" y="1248911"/>
                </a:cubicBezTo>
                <a:close/>
                <a:moveTo>
                  <a:pt x="10486816" y="1227170"/>
                </a:moveTo>
                <a:cubicBezTo>
                  <a:pt x="10487743" y="1229678"/>
                  <a:pt x="10488208" y="1230515"/>
                  <a:pt x="10490060" y="1234278"/>
                </a:cubicBezTo>
                <a:cubicBezTo>
                  <a:pt x="10482184" y="1236925"/>
                  <a:pt x="10481719" y="1227309"/>
                  <a:pt x="10473842" y="1231351"/>
                </a:cubicBezTo>
                <a:cubicBezTo>
                  <a:pt x="10473842" y="1225916"/>
                  <a:pt x="10481719" y="1227170"/>
                  <a:pt x="10486816" y="1227170"/>
                </a:cubicBezTo>
                <a:close/>
                <a:moveTo>
                  <a:pt x="1939389" y="1221652"/>
                </a:moveTo>
                <a:cubicBezTo>
                  <a:pt x="1944023" y="1223044"/>
                  <a:pt x="1942633" y="1230989"/>
                  <a:pt x="1942633" y="1237678"/>
                </a:cubicBezTo>
                <a:cubicBezTo>
                  <a:pt x="1962096" y="1228341"/>
                  <a:pt x="1969974" y="1226668"/>
                  <a:pt x="1994070" y="1231965"/>
                </a:cubicBezTo>
                <a:cubicBezTo>
                  <a:pt x="1989436" y="1258722"/>
                  <a:pt x="1919927" y="1249663"/>
                  <a:pt x="1939389" y="1221652"/>
                </a:cubicBezTo>
                <a:close/>
                <a:moveTo>
                  <a:pt x="11566988" y="1218251"/>
                </a:moveTo>
                <a:cubicBezTo>
                  <a:pt x="11565483" y="1218285"/>
                  <a:pt x="11563745" y="1218738"/>
                  <a:pt x="11561428" y="1219784"/>
                </a:cubicBezTo>
                <a:cubicBezTo>
                  <a:pt x="11559574" y="1226473"/>
                  <a:pt x="11551697" y="1245147"/>
                  <a:pt x="11558184" y="1247796"/>
                </a:cubicBezTo>
                <a:cubicBezTo>
                  <a:pt x="11560964" y="1234417"/>
                  <a:pt x="11573477" y="1231490"/>
                  <a:pt x="11579964" y="1222013"/>
                </a:cubicBezTo>
                <a:cubicBezTo>
                  <a:pt x="11575794" y="1222013"/>
                  <a:pt x="11573477" y="1220341"/>
                  <a:pt x="11571160" y="1219227"/>
                </a:cubicBezTo>
                <a:cubicBezTo>
                  <a:pt x="11569768" y="1218599"/>
                  <a:pt x="11568495" y="1218216"/>
                  <a:pt x="11566988" y="1218251"/>
                </a:cubicBezTo>
                <a:close/>
                <a:moveTo>
                  <a:pt x="11439092" y="1215603"/>
                </a:moveTo>
                <a:cubicBezTo>
                  <a:pt x="11435848" y="1216996"/>
                  <a:pt x="11433066" y="1220202"/>
                  <a:pt x="11431677" y="1226194"/>
                </a:cubicBezTo>
                <a:cubicBezTo>
                  <a:pt x="11439556" y="1224940"/>
                  <a:pt x="11450678" y="1226333"/>
                  <a:pt x="11450678" y="1215603"/>
                </a:cubicBezTo>
                <a:cubicBezTo>
                  <a:pt x="11446043" y="1214209"/>
                  <a:pt x="11442336" y="1214070"/>
                  <a:pt x="11439092" y="1215603"/>
                </a:cubicBezTo>
                <a:close/>
                <a:moveTo>
                  <a:pt x="11492383" y="1212676"/>
                </a:moveTo>
                <a:cubicBezTo>
                  <a:pt x="11489138" y="1223407"/>
                  <a:pt x="11468750" y="1215742"/>
                  <a:pt x="11470140" y="1230375"/>
                </a:cubicBezTo>
                <a:cubicBezTo>
                  <a:pt x="11483114" y="1233163"/>
                  <a:pt x="11502113" y="1222013"/>
                  <a:pt x="11492383" y="1212676"/>
                </a:cubicBezTo>
                <a:close/>
                <a:moveTo>
                  <a:pt x="11272269" y="1210307"/>
                </a:moveTo>
                <a:lnTo>
                  <a:pt x="11259293" y="1211422"/>
                </a:lnTo>
                <a:cubicBezTo>
                  <a:pt x="11257904" y="1227449"/>
                  <a:pt x="11275513" y="1226333"/>
                  <a:pt x="11272269" y="1210307"/>
                </a:cubicBezTo>
                <a:close/>
                <a:moveTo>
                  <a:pt x="2009362" y="1208134"/>
                </a:moveTo>
                <a:cubicBezTo>
                  <a:pt x="2025117" y="1210503"/>
                  <a:pt x="2039946" y="1217888"/>
                  <a:pt x="2043190" y="1225552"/>
                </a:cubicBezTo>
                <a:cubicBezTo>
                  <a:pt x="2034849" y="1246319"/>
                  <a:pt x="2006581" y="1205207"/>
                  <a:pt x="1974144" y="1220397"/>
                </a:cubicBezTo>
                <a:cubicBezTo>
                  <a:pt x="1978315" y="1208691"/>
                  <a:pt x="1994070" y="1205625"/>
                  <a:pt x="2009362" y="1208134"/>
                </a:cubicBezTo>
                <a:close/>
                <a:moveTo>
                  <a:pt x="2545972" y="1207157"/>
                </a:moveTo>
                <a:cubicBezTo>
                  <a:pt x="2560801" y="1204649"/>
                  <a:pt x="2558021" y="1221373"/>
                  <a:pt x="2567289" y="1226390"/>
                </a:cubicBezTo>
                <a:cubicBezTo>
                  <a:pt x="2559875" y="1236423"/>
                  <a:pt x="2550607" y="1244089"/>
                  <a:pt x="2537168" y="1246597"/>
                </a:cubicBezTo>
                <a:cubicBezTo>
                  <a:pt x="2539948" y="1241441"/>
                  <a:pt x="2543192" y="1237399"/>
                  <a:pt x="2537168" y="1236145"/>
                </a:cubicBezTo>
                <a:cubicBezTo>
                  <a:pt x="2545972" y="1221094"/>
                  <a:pt x="2559411" y="1224856"/>
                  <a:pt x="2545972" y="1207157"/>
                </a:cubicBezTo>
                <a:close/>
                <a:moveTo>
                  <a:pt x="11965970" y="1206824"/>
                </a:moveTo>
                <a:cubicBezTo>
                  <a:pt x="11968287" y="1206824"/>
                  <a:pt x="11970142" y="1207799"/>
                  <a:pt x="11971532" y="1210307"/>
                </a:cubicBezTo>
                <a:cubicBezTo>
                  <a:pt x="11971532" y="1226612"/>
                  <a:pt x="11958094" y="1213373"/>
                  <a:pt x="11947435" y="1221596"/>
                </a:cubicBezTo>
                <a:cubicBezTo>
                  <a:pt x="11948362" y="1217415"/>
                  <a:pt x="11952996" y="1212398"/>
                  <a:pt x="11958094" y="1209332"/>
                </a:cubicBezTo>
                <a:cubicBezTo>
                  <a:pt x="11960874" y="1207799"/>
                  <a:pt x="11963653" y="1206824"/>
                  <a:pt x="11965970" y="1206824"/>
                </a:cubicBezTo>
                <a:close/>
                <a:moveTo>
                  <a:pt x="3507208" y="1205644"/>
                </a:moveTo>
                <a:cubicBezTo>
                  <a:pt x="3518793" y="1209546"/>
                  <a:pt x="3541036" y="1211079"/>
                  <a:pt x="3566522" y="1214982"/>
                </a:cubicBezTo>
                <a:cubicBezTo>
                  <a:pt x="3554474" y="1220695"/>
                  <a:pt x="3515549" y="1226827"/>
                  <a:pt x="3507208" y="1205644"/>
                </a:cubicBezTo>
                <a:close/>
                <a:moveTo>
                  <a:pt x="11237978" y="1202782"/>
                </a:moveTo>
                <a:cubicBezTo>
                  <a:pt x="11232881" y="1202225"/>
                  <a:pt x="11229174" y="1204036"/>
                  <a:pt x="11231027" y="1214070"/>
                </a:cubicBezTo>
                <a:cubicBezTo>
                  <a:pt x="11237515" y="1215464"/>
                  <a:pt x="11251417" y="1222293"/>
                  <a:pt x="11252806" y="1207520"/>
                </a:cubicBezTo>
                <a:cubicBezTo>
                  <a:pt x="11249100" y="1206962"/>
                  <a:pt x="11243076" y="1203478"/>
                  <a:pt x="11237978" y="1202782"/>
                </a:cubicBezTo>
                <a:close/>
                <a:moveTo>
                  <a:pt x="10592934" y="1194838"/>
                </a:moveTo>
                <a:cubicBezTo>
                  <a:pt x="10592934" y="1205151"/>
                  <a:pt x="10587838" y="1210446"/>
                  <a:pt x="10578106" y="1211700"/>
                </a:cubicBezTo>
                <a:lnTo>
                  <a:pt x="10578106" y="1196371"/>
                </a:lnTo>
                <a:close/>
                <a:moveTo>
                  <a:pt x="11587841" y="1192469"/>
                </a:moveTo>
                <a:lnTo>
                  <a:pt x="11578573" y="1194002"/>
                </a:lnTo>
                <a:cubicBezTo>
                  <a:pt x="11580426" y="1203339"/>
                  <a:pt x="11584598" y="1204733"/>
                  <a:pt x="11579964" y="1214070"/>
                </a:cubicBezTo>
                <a:cubicBezTo>
                  <a:pt x="11584598" y="1212815"/>
                  <a:pt x="11591547" y="1214349"/>
                  <a:pt x="11592939" y="1209053"/>
                </a:cubicBezTo>
                <a:cubicBezTo>
                  <a:pt x="11579036" y="1210307"/>
                  <a:pt x="11589695" y="1200552"/>
                  <a:pt x="11587841" y="1192469"/>
                </a:cubicBezTo>
                <a:close/>
                <a:moveTo>
                  <a:pt x="10619811" y="1190657"/>
                </a:moveTo>
                <a:cubicBezTo>
                  <a:pt x="10628615" y="1194838"/>
                  <a:pt x="10632322" y="1206126"/>
                  <a:pt x="10642981" y="1210307"/>
                </a:cubicBezTo>
                <a:cubicBezTo>
                  <a:pt x="10639273" y="1215881"/>
                  <a:pt x="10617957" y="1207241"/>
                  <a:pt x="10619811" y="1190657"/>
                </a:cubicBezTo>
                <a:close/>
                <a:moveTo>
                  <a:pt x="10823241" y="1189960"/>
                </a:moveTo>
                <a:cubicBezTo>
                  <a:pt x="10809803" y="1192191"/>
                  <a:pt x="10794047" y="1201946"/>
                  <a:pt x="10809340" y="1216996"/>
                </a:cubicBezTo>
                <a:cubicBezTo>
                  <a:pt x="10815827" y="1198183"/>
                  <a:pt x="10826948" y="1210307"/>
                  <a:pt x="10841313" y="1210307"/>
                </a:cubicBezTo>
                <a:cubicBezTo>
                  <a:pt x="10836216" y="1199577"/>
                  <a:pt x="10843166" y="1196650"/>
                  <a:pt x="10838534" y="1194002"/>
                </a:cubicBezTo>
                <a:cubicBezTo>
                  <a:pt x="10833899" y="1207381"/>
                  <a:pt x="10830192" y="1188985"/>
                  <a:pt x="10834827" y="1190378"/>
                </a:cubicBezTo>
                <a:cubicBezTo>
                  <a:pt x="10832044" y="1189264"/>
                  <a:pt x="10827875" y="1189264"/>
                  <a:pt x="10823241" y="1189960"/>
                </a:cubicBezTo>
                <a:close/>
                <a:moveTo>
                  <a:pt x="10923798" y="1188846"/>
                </a:moveTo>
                <a:cubicBezTo>
                  <a:pt x="10909432" y="1190657"/>
                  <a:pt x="10891822" y="1199994"/>
                  <a:pt x="10876067" y="1201946"/>
                </a:cubicBezTo>
                <a:cubicBezTo>
                  <a:pt x="10890432" y="1219365"/>
                  <a:pt x="10927505" y="1209053"/>
                  <a:pt x="10937236" y="1190378"/>
                </a:cubicBezTo>
                <a:cubicBezTo>
                  <a:pt x="10933064" y="1188706"/>
                  <a:pt x="10928432" y="1188288"/>
                  <a:pt x="10923798" y="1188846"/>
                </a:cubicBezTo>
                <a:close/>
                <a:moveTo>
                  <a:pt x="11383485" y="1181459"/>
                </a:moveTo>
                <a:cubicBezTo>
                  <a:pt x="11379313" y="1181041"/>
                  <a:pt x="11374679" y="1184246"/>
                  <a:pt x="11374679" y="1190378"/>
                </a:cubicBezTo>
                <a:cubicBezTo>
                  <a:pt x="11384410" y="1187591"/>
                  <a:pt x="11383948" y="1203199"/>
                  <a:pt x="11390435" y="1192469"/>
                </a:cubicBezTo>
                <a:cubicBezTo>
                  <a:pt x="11392289" y="1185083"/>
                  <a:pt x="11388117" y="1181738"/>
                  <a:pt x="11383485" y="1181459"/>
                </a:cubicBezTo>
                <a:close/>
                <a:moveTo>
                  <a:pt x="2462562" y="1181098"/>
                </a:moveTo>
                <a:cubicBezTo>
                  <a:pt x="2465805" y="1180540"/>
                  <a:pt x="2469513" y="1181098"/>
                  <a:pt x="2473220" y="1184302"/>
                </a:cubicBezTo>
                <a:cubicBezTo>
                  <a:pt x="2473220" y="1203534"/>
                  <a:pt x="2431977" y="1204788"/>
                  <a:pt x="2423636" y="1189319"/>
                </a:cubicBezTo>
                <a:cubicBezTo>
                  <a:pt x="2442637" y="1195172"/>
                  <a:pt x="2452367" y="1182491"/>
                  <a:pt x="2462562" y="1181098"/>
                </a:cubicBezTo>
                <a:close/>
                <a:moveTo>
                  <a:pt x="11425653" y="1178115"/>
                </a:moveTo>
                <a:cubicBezTo>
                  <a:pt x="11400165" y="1180902"/>
                  <a:pt x="11438164" y="1207241"/>
                  <a:pt x="11433531" y="1192469"/>
                </a:cubicBezTo>
                <a:lnTo>
                  <a:pt x="11427042" y="1194002"/>
                </a:lnTo>
                <a:cubicBezTo>
                  <a:pt x="11431677" y="1185919"/>
                  <a:pt x="11425653" y="1188846"/>
                  <a:pt x="11425653" y="1178115"/>
                </a:cubicBezTo>
                <a:close/>
                <a:moveTo>
                  <a:pt x="11547990" y="1171425"/>
                </a:moveTo>
                <a:cubicBezTo>
                  <a:pt x="11553087" y="1186198"/>
                  <a:pt x="11540112" y="1180484"/>
                  <a:pt x="11543355" y="1192469"/>
                </a:cubicBezTo>
                <a:cubicBezTo>
                  <a:pt x="11551233" y="1189822"/>
                  <a:pt x="11556332" y="1183410"/>
                  <a:pt x="11561428" y="1179368"/>
                </a:cubicBezTo>
                <a:cubicBezTo>
                  <a:pt x="11553087" y="1182156"/>
                  <a:pt x="11554477" y="1171425"/>
                  <a:pt x="11547990" y="1171425"/>
                </a:cubicBezTo>
                <a:close/>
                <a:moveTo>
                  <a:pt x="10972916" y="1170589"/>
                </a:moveTo>
                <a:cubicBezTo>
                  <a:pt x="10969210" y="1171286"/>
                  <a:pt x="10965503" y="1174073"/>
                  <a:pt x="10965503" y="1179368"/>
                </a:cubicBezTo>
                <a:cubicBezTo>
                  <a:pt x="10971990" y="1184804"/>
                  <a:pt x="10980331" y="1180484"/>
                  <a:pt x="10982185" y="1173794"/>
                </a:cubicBezTo>
                <a:cubicBezTo>
                  <a:pt x="10980331" y="1171146"/>
                  <a:pt x="10976161" y="1169893"/>
                  <a:pt x="10972916" y="1170589"/>
                </a:cubicBezTo>
                <a:close/>
                <a:moveTo>
                  <a:pt x="2562192" y="1159078"/>
                </a:moveTo>
                <a:lnTo>
                  <a:pt x="2562192" y="1174826"/>
                </a:lnTo>
                <a:cubicBezTo>
                  <a:pt x="2542728" y="1182769"/>
                  <a:pt x="2528365" y="1188065"/>
                  <a:pt x="2507975" y="1174826"/>
                </a:cubicBezTo>
                <a:cubicBezTo>
                  <a:pt x="2523731" y="1170924"/>
                  <a:pt x="2545972" y="1173571"/>
                  <a:pt x="2562192" y="1159078"/>
                </a:cubicBezTo>
                <a:close/>
                <a:moveTo>
                  <a:pt x="1036698" y="1158241"/>
                </a:moveTo>
                <a:lnTo>
                  <a:pt x="1057551" y="1158241"/>
                </a:lnTo>
                <a:cubicBezTo>
                  <a:pt x="1065429" y="1178171"/>
                  <a:pt x="1030674" y="1178171"/>
                  <a:pt x="1036698" y="1158241"/>
                </a:cubicBezTo>
                <a:close/>
                <a:moveTo>
                  <a:pt x="11644376" y="1152751"/>
                </a:moveTo>
                <a:cubicBezTo>
                  <a:pt x="11655496" y="1155259"/>
                  <a:pt x="11644376" y="1166547"/>
                  <a:pt x="11652717" y="1170171"/>
                </a:cubicBezTo>
                <a:cubicBezTo>
                  <a:pt x="11654107" y="1178812"/>
                  <a:pt x="11642059" y="1174909"/>
                  <a:pt x="11642059" y="1182295"/>
                </a:cubicBezTo>
                <a:cubicBezTo>
                  <a:pt x="11643913" y="1168778"/>
                  <a:pt x="11634181" y="1162925"/>
                  <a:pt x="11621206" y="1158047"/>
                </a:cubicBezTo>
                <a:cubicBezTo>
                  <a:pt x="11624451" y="1149406"/>
                  <a:pt x="11644376" y="1170031"/>
                  <a:pt x="11644376" y="1152751"/>
                </a:cubicBezTo>
                <a:close/>
                <a:moveTo>
                  <a:pt x="11544746" y="1152333"/>
                </a:moveTo>
                <a:cubicBezTo>
                  <a:pt x="11544746" y="1153309"/>
                  <a:pt x="11545208" y="1154562"/>
                  <a:pt x="11545208" y="1155817"/>
                </a:cubicBezTo>
                <a:cubicBezTo>
                  <a:pt x="11544746" y="1155399"/>
                  <a:pt x="11544283" y="1154841"/>
                  <a:pt x="11543818" y="1154284"/>
                </a:cubicBezTo>
                <a:cubicBezTo>
                  <a:pt x="11544746" y="1153587"/>
                  <a:pt x="11544283" y="1153029"/>
                  <a:pt x="11544746" y="1152333"/>
                </a:cubicBezTo>
                <a:close/>
                <a:moveTo>
                  <a:pt x="11536869" y="1152333"/>
                </a:moveTo>
                <a:cubicBezTo>
                  <a:pt x="11533625" y="1159161"/>
                  <a:pt x="11514624" y="1172679"/>
                  <a:pt x="11509990" y="1167245"/>
                </a:cubicBezTo>
                <a:cubicBezTo>
                  <a:pt x="11517869" y="1176721"/>
                  <a:pt x="11503503" y="1172540"/>
                  <a:pt x="11503503" y="1183271"/>
                </a:cubicBezTo>
                <a:cubicBezTo>
                  <a:pt x="11513235" y="1184525"/>
                  <a:pt x="11538721" y="1173794"/>
                  <a:pt x="11536869" y="1152333"/>
                </a:cubicBezTo>
                <a:close/>
                <a:moveTo>
                  <a:pt x="2079335" y="1151134"/>
                </a:moveTo>
                <a:cubicBezTo>
                  <a:pt x="2083505" y="1153225"/>
                  <a:pt x="2089529" y="1161447"/>
                  <a:pt x="2097870" y="1159078"/>
                </a:cubicBezTo>
                <a:cubicBezTo>
                  <a:pt x="2097870" y="1171481"/>
                  <a:pt x="2080261" y="1162004"/>
                  <a:pt x="2072847" y="1164653"/>
                </a:cubicBezTo>
                <a:cubicBezTo>
                  <a:pt x="2073774" y="1157127"/>
                  <a:pt x="2074701" y="1153086"/>
                  <a:pt x="2076091" y="1151413"/>
                </a:cubicBezTo>
                <a:cubicBezTo>
                  <a:pt x="2077018" y="1150298"/>
                  <a:pt x="2077945" y="1150437"/>
                  <a:pt x="2079335" y="1151134"/>
                </a:cubicBezTo>
                <a:close/>
                <a:moveTo>
                  <a:pt x="2378224" y="1148904"/>
                </a:moveTo>
                <a:cubicBezTo>
                  <a:pt x="2381004" y="1148904"/>
                  <a:pt x="2384247" y="1149601"/>
                  <a:pt x="2387492" y="1150576"/>
                </a:cubicBezTo>
                <a:cubicBezTo>
                  <a:pt x="2394442" y="1152389"/>
                  <a:pt x="2402320" y="1155037"/>
                  <a:pt x="2412515" y="1152528"/>
                </a:cubicBezTo>
                <a:cubicBezTo>
                  <a:pt x="2413905" y="1171481"/>
                  <a:pt x="2382858" y="1157823"/>
                  <a:pt x="2374516" y="1167997"/>
                </a:cubicBezTo>
                <a:cubicBezTo>
                  <a:pt x="2372662" y="1164234"/>
                  <a:pt x="2368956" y="1160193"/>
                  <a:pt x="2368956" y="1152528"/>
                </a:cubicBezTo>
                <a:cubicBezTo>
                  <a:pt x="2372200" y="1150020"/>
                  <a:pt x="2374980" y="1149044"/>
                  <a:pt x="2378224" y="1148904"/>
                </a:cubicBezTo>
                <a:close/>
                <a:moveTo>
                  <a:pt x="10431084" y="1138870"/>
                </a:moveTo>
                <a:cubicBezTo>
                  <a:pt x="10432473" y="1165071"/>
                  <a:pt x="10413474" y="1148766"/>
                  <a:pt x="10407450" y="1148766"/>
                </a:cubicBezTo>
                <a:cubicBezTo>
                  <a:pt x="10408840" y="1134690"/>
                  <a:pt x="10423670" y="1145002"/>
                  <a:pt x="10431084" y="1138870"/>
                </a:cubicBezTo>
                <a:close/>
                <a:moveTo>
                  <a:pt x="11556794" y="1126829"/>
                </a:moveTo>
                <a:cubicBezTo>
                  <a:pt x="11561891" y="1128084"/>
                  <a:pt x="11563745" y="1132265"/>
                  <a:pt x="11571622" y="1129338"/>
                </a:cubicBezTo>
                <a:cubicBezTo>
                  <a:pt x="11571622" y="1133241"/>
                  <a:pt x="11567915" y="1133659"/>
                  <a:pt x="11564671" y="1134912"/>
                </a:cubicBezTo>
                <a:cubicBezTo>
                  <a:pt x="11564671" y="1137560"/>
                  <a:pt x="11566525" y="1137281"/>
                  <a:pt x="11568378" y="1137281"/>
                </a:cubicBezTo>
                <a:cubicBezTo>
                  <a:pt x="11568378" y="1142578"/>
                  <a:pt x="11564671" y="1140069"/>
                  <a:pt x="11564671" y="1138815"/>
                </a:cubicBezTo>
                <a:cubicBezTo>
                  <a:pt x="11554014" y="1136167"/>
                  <a:pt x="11559111" y="1149406"/>
                  <a:pt x="11546600" y="1146759"/>
                </a:cubicBezTo>
                <a:cubicBezTo>
                  <a:pt x="11550307" y="1142857"/>
                  <a:pt x="11552160" y="1136167"/>
                  <a:pt x="11550307" y="1126968"/>
                </a:cubicBezTo>
                <a:cubicBezTo>
                  <a:pt x="11553087" y="1126272"/>
                  <a:pt x="11555404" y="1126412"/>
                  <a:pt x="11556794" y="1126829"/>
                </a:cubicBezTo>
                <a:close/>
                <a:moveTo>
                  <a:pt x="2512146" y="1124377"/>
                </a:moveTo>
                <a:cubicBezTo>
                  <a:pt x="2522339" y="1125213"/>
                  <a:pt x="2533924" y="1128001"/>
                  <a:pt x="2542266" y="1125910"/>
                </a:cubicBezTo>
                <a:cubicBezTo>
                  <a:pt x="2532072" y="1143191"/>
                  <a:pt x="2505193" y="1140682"/>
                  <a:pt x="2488049" y="1134272"/>
                </a:cubicBezTo>
                <a:cubicBezTo>
                  <a:pt x="2492219" y="1124517"/>
                  <a:pt x="2501486" y="1123680"/>
                  <a:pt x="2512146" y="1124377"/>
                </a:cubicBezTo>
                <a:close/>
                <a:moveTo>
                  <a:pt x="2454220" y="1123541"/>
                </a:moveTo>
                <a:cubicBezTo>
                  <a:pt x="2460244" y="1122147"/>
                  <a:pt x="2466732" y="1137477"/>
                  <a:pt x="2482951" y="1131902"/>
                </a:cubicBezTo>
                <a:cubicBezTo>
                  <a:pt x="2477854" y="1143191"/>
                  <a:pt x="2468123" y="1149880"/>
                  <a:pt x="2453294" y="1151134"/>
                </a:cubicBezTo>
                <a:cubicBezTo>
                  <a:pt x="2463488" y="1139707"/>
                  <a:pt x="2464879" y="1136919"/>
                  <a:pt x="2448196" y="1131902"/>
                </a:cubicBezTo>
                <a:cubicBezTo>
                  <a:pt x="2450514" y="1126188"/>
                  <a:pt x="2452367" y="1123959"/>
                  <a:pt x="2454220" y="1123541"/>
                </a:cubicBezTo>
                <a:close/>
                <a:moveTo>
                  <a:pt x="2234108" y="1084658"/>
                </a:moveTo>
                <a:cubicBezTo>
                  <a:pt x="2235962" y="1100825"/>
                  <a:pt x="2228083" y="1108072"/>
                  <a:pt x="2212792" y="1109326"/>
                </a:cubicBezTo>
                <a:cubicBezTo>
                  <a:pt x="2210938" y="1093160"/>
                  <a:pt x="2218816" y="1085914"/>
                  <a:pt x="2234108" y="1084658"/>
                </a:cubicBezTo>
                <a:close/>
                <a:moveTo>
                  <a:pt x="2632627" y="1078526"/>
                </a:moveTo>
                <a:cubicBezTo>
                  <a:pt x="2638188" y="1079363"/>
                  <a:pt x="2640967" y="1083683"/>
                  <a:pt x="2646065" y="1084658"/>
                </a:cubicBezTo>
                <a:cubicBezTo>
                  <a:pt x="2646065" y="1094414"/>
                  <a:pt x="2636798" y="1096783"/>
                  <a:pt x="2626139" y="1095390"/>
                </a:cubicBezTo>
                <a:lnTo>
                  <a:pt x="2626139" y="1079084"/>
                </a:lnTo>
                <a:cubicBezTo>
                  <a:pt x="2628920" y="1078387"/>
                  <a:pt x="2630773" y="1078249"/>
                  <a:pt x="2632627" y="1078526"/>
                </a:cubicBezTo>
                <a:close/>
                <a:moveTo>
                  <a:pt x="10403280" y="1059434"/>
                </a:moveTo>
                <a:cubicBezTo>
                  <a:pt x="10417645" y="1068632"/>
                  <a:pt x="10424132" y="1062083"/>
                  <a:pt x="10442205" y="1072535"/>
                </a:cubicBezTo>
                <a:lnTo>
                  <a:pt x="10443595" y="1080896"/>
                </a:lnTo>
                <a:cubicBezTo>
                  <a:pt x="10437108" y="1075740"/>
                  <a:pt x="10406987" y="1072256"/>
                  <a:pt x="10403280" y="1059434"/>
                </a:cubicBezTo>
                <a:close/>
                <a:moveTo>
                  <a:pt x="2498707" y="1044383"/>
                </a:moveTo>
                <a:cubicBezTo>
                  <a:pt x="2504731" y="1044523"/>
                  <a:pt x="2511217" y="1045220"/>
                  <a:pt x="2518170" y="1046195"/>
                </a:cubicBezTo>
                <a:cubicBezTo>
                  <a:pt x="2531143" y="1048146"/>
                  <a:pt x="2544583" y="1050236"/>
                  <a:pt x="2552460" y="1047170"/>
                </a:cubicBezTo>
                <a:cubicBezTo>
                  <a:pt x="2539948" y="1076157"/>
                  <a:pt x="2504268" y="1043269"/>
                  <a:pt x="2482951" y="1047170"/>
                </a:cubicBezTo>
                <a:cubicBezTo>
                  <a:pt x="2487121" y="1044941"/>
                  <a:pt x="2492683" y="1044383"/>
                  <a:pt x="2498707" y="1044383"/>
                </a:cubicBezTo>
                <a:close/>
                <a:moveTo>
                  <a:pt x="2380541" y="1027382"/>
                </a:moveTo>
                <a:cubicBezTo>
                  <a:pt x="2385639" y="1029472"/>
                  <a:pt x="2392126" y="1036580"/>
                  <a:pt x="2403711" y="1034070"/>
                </a:cubicBezTo>
                <a:cubicBezTo>
                  <a:pt x="2395832" y="1049401"/>
                  <a:pt x="2375444" y="1036580"/>
                  <a:pt x="2368956" y="1038809"/>
                </a:cubicBezTo>
                <a:cubicBezTo>
                  <a:pt x="2371273" y="1032258"/>
                  <a:pt x="2373590" y="1028775"/>
                  <a:pt x="2375907" y="1027521"/>
                </a:cubicBezTo>
                <a:cubicBezTo>
                  <a:pt x="2377297" y="1026545"/>
                  <a:pt x="2378688" y="1026684"/>
                  <a:pt x="2380541" y="1027382"/>
                </a:cubicBezTo>
                <a:close/>
                <a:moveTo>
                  <a:pt x="2346713" y="1007034"/>
                </a:moveTo>
                <a:cubicBezTo>
                  <a:pt x="2356445" y="1007731"/>
                  <a:pt x="2365249" y="1011633"/>
                  <a:pt x="2368956" y="1016232"/>
                </a:cubicBezTo>
                <a:cubicBezTo>
                  <a:pt x="2355518" y="1025709"/>
                  <a:pt x="2338836" y="1021946"/>
                  <a:pt x="2324933" y="1016232"/>
                </a:cubicBezTo>
                <a:cubicBezTo>
                  <a:pt x="2327714" y="1008707"/>
                  <a:pt x="2337445" y="1006338"/>
                  <a:pt x="2346713" y="1007034"/>
                </a:cubicBezTo>
                <a:close/>
                <a:moveTo>
                  <a:pt x="10335761" y="1004633"/>
                </a:moveTo>
                <a:cubicBezTo>
                  <a:pt x="10340691" y="1008977"/>
                  <a:pt x="10340605" y="1023374"/>
                  <a:pt x="10348600" y="1020135"/>
                </a:cubicBezTo>
                <a:cubicBezTo>
                  <a:pt x="10343502" y="1030168"/>
                  <a:pt x="10332381" y="1011912"/>
                  <a:pt x="10328674" y="1004665"/>
                </a:cubicBezTo>
                <a:cubicBezTo>
                  <a:pt x="10331916" y="1002853"/>
                  <a:pt x="10334118" y="1003185"/>
                  <a:pt x="10335761" y="1004633"/>
                </a:cubicBezTo>
                <a:close/>
                <a:moveTo>
                  <a:pt x="10308747" y="997279"/>
                </a:moveTo>
                <a:cubicBezTo>
                  <a:pt x="10320333" y="993098"/>
                  <a:pt x="10312454" y="1016651"/>
                  <a:pt x="10324040" y="1013863"/>
                </a:cubicBezTo>
                <a:cubicBezTo>
                  <a:pt x="10324040" y="1018044"/>
                  <a:pt x="10317551" y="1016371"/>
                  <a:pt x="10314308" y="1017765"/>
                </a:cubicBezTo>
                <a:cubicBezTo>
                  <a:pt x="10310601" y="1013584"/>
                  <a:pt x="10308747" y="1006895"/>
                  <a:pt x="10308747" y="997279"/>
                </a:cubicBezTo>
                <a:close/>
                <a:moveTo>
                  <a:pt x="10425987" y="962857"/>
                </a:moveTo>
                <a:cubicBezTo>
                  <a:pt x="10416255" y="967038"/>
                  <a:pt x="10406524" y="968292"/>
                  <a:pt x="10397255" y="967596"/>
                </a:cubicBezTo>
                <a:cubicBezTo>
                  <a:pt x="10398646" y="974284"/>
                  <a:pt x="10392621" y="989196"/>
                  <a:pt x="10394011" y="999370"/>
                </a:cubicBezTo>
                <a:cubicBezTo>
                  <a:pt x="10397255" y="1004665"/>
                  <a:pt x="10405133" y="1005502"/>
                  <a:pt x="10413011" y="1005502"/>
                </a:cubicBezTo>
                <a:cubicBezTo>
                  <a:pt x="10411157" y="1000345"/>
                  <a:pt x="10406524" y="1003133"/>
                  <a:pt x="10403280" y="1001739"/>
                </a:cubicBezTo>
                <a:cubicBezTo>
                  <a:pt x="10423205" y="982228"/>
                  <a:pt x="10441277" y="988221"/>
                  <a:pt x="10466302" y="982646"/>
                </a:cubicBezTo>
                <a:cubicBezTo>
                  <a:pt x="10451936" y="979162"/>
                  <a:pt x="10437571" y="968849"/>
                  <a:pt x="10425987" y="962857"/>
                </a:cubicBezTo>
                <a:close/>
                <a:moveTo>
                  <a:pt x="2393980" y="961046"/>
                </a:moveTo>
                <a:cubicBezTo>
                  <a:pt x="2388882" y="982785"/>
                  <a:pt x="2373127" y="962857"/>
                  <a:pt x="2359225" y="976236"/>
                </a:cubicBezTo>
                <a:cubicBezTo>
                  <a:pt x="2361078" y="957841"/>
                  <a:pt x="2381932" y="966062"/>
                  <a:pt x="2393980" y="961046"/>
                </a:cubicBezTo>
                <a:close/>
                <a:moveTo>
                  <a:pt x="2735964" y="959652"/>
                </a:moveTo>
                <a:cubicBezTo>
                  <a:pt x="2754500" y="975818"/>
                  <a:pt x="2719282" y="977072"/>
                  <a:pt x="2714648" y="984458"/>
                </a:cubicBezTo>
                <a:cubicBezTo>
                  <a:pt x="2700282" y="972055"/>
                  <a:pt x="2731330" y="967178"/>
                  <a:pt x="2735964" y="959652"/>
                </a:cubicBezTo>
                <a:close/>
                <a:moveTo>
                  <a:pt x="2991757" y="958815"/>
                </a:moveTo>
                <a:cubicBezTo>
                  <a:pt x="2987124" y="984876"/>
                  <a:pt x="2966734" y="971776"/>
                  <a:pt x="2957467" y="974702"/>
                </a:cubicBezTo>
                <a:cubicBezTo>
                  <a:pt x="2957467" y="955750"/>
                  <a:pt x="2977855" y="961603"/>
                  <a:pt x="2991757" y="958815"/>
                </a:cubicBezTo>
                <a:close/>
                <a:moveTo>
                  <a:pt x="1381462" y="956725"/>
                </a:moveTo>
                <a:cubicBezTo>
                  <a:pt x="1388878" y="958537"/>
                  <a:pt x="1394902" y="967596"/>
                  <a:pt x="1394902" y="958397"/>
                </a:cubicBezTo>
                <a:cubicBezTo>
                  <a:pt x="1416218" y="969268"/>
                  <a:pt x="1366635" y="981531"/>
                  <a:pt x="1374049" y="958397"/>
                </a:cubicBezTo>
                <a:cubicBezTo>
                  <a:pt x="1376829" y="956446"/>
                  <a:pt x="1379146" y="956168"/>
                  <a:pt x="1381462" y="956725"/>
                </a:cubicBezTo>
                <a:close/>
                <a:moveTo>
                  <a:pt x="10193826" y="955471"/>
                </a:moveTo>
                <a:cubicBezTo>
                  <a:pt x="10202167" y="961324"/>
                  <a:pt x="10208654" y="967316"/>
                  <a:pt x="10215606" y="976236"/>
                </a:cubicBezTo>
                <a:cubicBezTo>
                  <a:pt x="10211899" y="980556"/>
                  <a:pt x="10190581" y="974563"/>
                  <a:pt x="10193826" y="955471"/>
                </a:cubicBezTo>
                <a:close/>
                <a:moveTo>
                  <a:pt x="2936150" y="955471"/>
                </a:moveTo>
                <a:cubicBezTo>
                  <a:pt x="2939858" y="964530"/>
                  <a:pt x="2950515" y="963415"/>
                  <a:pt x="2952369" y="973867"/>
                </a:cubicBezTo>
                <a:cubicBezTo>
                  <a:pt x="2944955" y="976375"/>
                  <a:pt x="2938003" y="974981"/>
                  <a:pt x="2934297" y="972334"/>
                </a:cubicBezTo>
                <a:cubicBezTo>
                  <a:pt x="2932443" y="963275"/>
                  <a:pt x="2936150" y="962021"/>
                  <a:pt x="2936150" y="955471"/>
                </a:cubicBezTo>
                <a:close/>
                <a:moveTo>
                  <a:pt x="2453294" y="953659"/>
                </a:moveTo>
                <a:cubicBezTo>
                  <a:pt x="2449587" y="957422"/>
                  <a:pt x="2444490" y="959791"/>
                  <a:pt x="2438465" y="961603"/>
                </a:cubicBezTo>
                <a:cubicBezTo>
                  <a:pt x="2444490" y="960488"/>
                  <a:pt x="2452367" y="971776"/>
                  <a:pt x="2453294" y="973867"/>
                </a:cubicBezTo>
                <a:cubicBezTo>
                  <a:pt x="2453294" y="979302"/>
                  <a:pt x="2449587" y="979023"/>
                  <a:pt x="2449587" y="984458"/>
                </a:cubicBezTo>
                <a:lnTo>
                  <a:pt x="2438929" y="984458"/>
                </a:lnTo>
                <a:cubicBezTo>
                  <a:pt x="2438929" y="977629"/>
                  <a:pt x="2438929" y="969546"/>
                  <a:pt x="2433831" y="968152"/>
                </a:cubicBezTo>
                <a:cubicBezTo>
                  <a:pt x="2435221" y="964112"/>
                  <a:pt x="2436611" y="962299"/>
                  <a:pt x="2438465" y="961881"/>
                </a:cubicBezTo>
                <a:cubicBezTo>
                  <a:pt x="2428270" y="965226"/>
                  <a:pt x="2415759" y="966620"/>
                  <a:pt x="2403711" y="968571"/>
                </a:cubicBezTo>
                <a:cubicBezTo>
                  <a:pt x="2406955" y="946134"/>
                  <a:pt x="2441245" y="956725"/>
                  <a:pt x="2453294" y="953659"/>
                </a:cubicBezTo>
                <a:close/>
                <a:moveTo>
                  <a:pt x="2604361" y="952265"/>
                </a:moveTo>
                <a:cubicBezTo>
                  <a:pt x="2610384" y="952684"/>
                  <a:pt x="2616871" y="955192"/>
                  <a:pt x="2626139" y="955192"/>
                </a:cubicBezTo>
                <a:cubicBezTo>
                  <a:pt x="2621505" y="969825"/>
                  <a:pt x="2600654" y="969825"/>
                  <a:pt x="2586751" y="961603"/>
                </a:cubicBezTo>
                <a:cubicBezTo>
                  <a:pt x="2593703" y="953519"/>
                  <a:pt x="2598800" y="951848"/>
                  <a:pt x="2604361" y="952265"/>
                </a:cubicBezTo>
                <a:close/>
                <a:moveTo>
                  <a:pt x="10704484" y="950453"/>
                </a:moveTo>
                <a:cubicBezTo>
                  <a:pt x="10712363" y="950453"/>
                  <a:pt x="10719315" y="949060"/>
                  <a:pt x="10719315" y="964947"/>
                </a:cubicBezTo>
                <a:cubicBezTo>
                  <a:pt x="10710974" y="966620"/>
                  <a:pt x="10704484" y="966341"/>
                  <a:pt x="10704484" y="950453"/>
                </a:cubicBezTo>
                <a:close/>
                <a:moveTo>
                  <a:pt x="3876841" y="948363"/>
                </a:moveTo>
                <a:cubicBezTo>
                  <a:pt x="3869425" y="949339"/>
                  <a:pt x="3862938" y="953102"/>
                  <a:pt x="3863865" y="960627"/>
                </a:cubicBezTo>
                <a:cubicBezTo>
                  <a:pt x="3868962" y="961603"/>
                  <a:pt x="3890742" y="969964"/>
                  <a:pt x="3894449" y="951709"/>
                </a:cubicBezTo>
                <a:cubicBezTo>
                  <a:pt x="3891669" y="948921"/>
                  <a:pt x="3883790" y="947528"/>
                  <a:pt x="3876841" y="948363"/>
                </a:cubicBezTo>
                <a:close/>
                <a:moveTo>
                  <a:pt x="3203065" y="948363"/>
                </a:moveTo>
                <a:cubicBezTo>
                  <a:pt x="3205382" y="949060"/>
                  <a:pt x="3207236" y="950733"/>
                  <a:pt x="3209089" y="953659"/>
                </a:cubicBezTo>
                <a:cubicBezTo>
                  <a:pt x="3209089" y="970382"/>
                  <a:pt x="3191943" y="958118"/>
                  <a:pt x="3184992" y="962857"/>
                </a:cubicBezTo>
                <a:cubicBezTo>
                  <a:pt x="3187310" y="957004"/>
                  <a:pt x="3191943" y="951848"/>
                  <a:pt x="3196578" y="949478"/>
                </a:cubicBezTo>
                <a:cubicBezTo>
                  <a:pt x="3198895" y="948363"/>
                  <a:pt x="3201212" y="947806"/>
                  <a:pt x="3203065" y="948363"/>
                </a:cubicBezTo>
                <a:close/>
                <a:moveTo>
                  <a:pt x="2912981" y="947528"/>
                </a:moveTo>
                <a:cubicBezTo>
                  <a:pt x="2908346" y="959373"/>
                  <a:pt x="2898615" y="960488"/>
                  <a:pt x="2892127" y="963971"/>
                </a:cubicBezTo>
                <a:cubicBezTo>
                  <a:pt x="2882859" y="955750"/>
                  <a:pt x="2909737" y="954634"/>
                  <a:pt x="2912981" y="947528"/>
                </a:cubicBezTo>
                <a:close/>
                <a:moveTo>
                  <a:pt x="2839301" y="947528"/>
                </a:moveTo>
                <a:cubicBezTo>
                  <a:pt x="2847179" y="953799"/>
                  <a:pt x="2848569" y="957700"/>
                  <a:pt x="2846715" y="972891"/>
                </a:cubicBezTo>
                <a:cubicBezTo>
                  <a:pt x="2828642" y="967874"/>
                  <a:pt x="2825399" y="972752"/>
                  <a:pt x="2807327" y="976515"/>
                </a:cubicBezTo>
                <a:cubicBezTo>
                  <a:pt x="2805474" y="965088"/>
                  <a:pt x="2794816" y="965088"/>
                  <a:pt x="2784157" y="967596"/>
                </a:cubicBezTo>
                <a:cubicBezTo>
                  <a:pt x="2799448" y="953799"/>
                  <a:pt x="2830497" y="963971"/>
                  <a:pt x="2839301" y="947528"/>
                </a:cubicBezTo>
                <a:close/>
                <a:moveTo>
                  <a:pt x="10697535" y="940838"/>
                </a:moveTo>
                <a:cubicBezTo>
                  <a:pt x="10699388" y="940559"/>
                  <a:pt x="10701242" y="941255"/>
                  <a:pt x="10702632" y="943347"/>
                </a:cubicBezTo>
                <a:cubicBezTo>
                  <a:pt x="10701242" y="955750"/>
                  <a:pt x="10698925" y="946970"/>
                  <a:pt x="10691973" y="948363"/>
                </a:cubicBezTo>
                <a:cubicBezTo>
                  <a:pt x="10693364" y="956725"/>
                  <a:pt x="10699852" y="955471"/>
                  <a:pt x="10704484" y="959652"/>
                </a:cubicBezTo>
                <a:cubicBezTo>
                  <a:pt x="10699852" y="972055"/>
                  <a:pt x="10693364" y="951429"/>
                  <a:pt x="10684560" y="957004"/>
                </a:cubicBezTo>
                <a:cubicBezTo>
                  <a:pt x="10686877" y="950733"/>
                  <a:pt x="10691973" y="941535"/>
                  <a:pt x="10697535" y="940838"/>
                </a:cubicBezTo>
                <a:close/>
                <a:moveTo>
                  <a:pt x="2716501" y="936378"/>
                </a:moveTo>
                <a:cubicBezTo>
                  <a:pt x="2723916" y="937772"/>
                  <a:pt x="2727623" y="943347"/>
                  <a:pt x="2735037" y="943347"/>
                </a:cubicBezTo>
                <a:cubicBezTo>
                  <a:pt x="2735037" y="952684"/>
                  <a:pt x="2700282" y="957143"/>
                  <a:pt x="2707234" y="936797"/>
                </a:cubicBezTo>
                <a:cubicBezTo>
                  <a:pt x="2710942" y="935960"/>
                  <a:pt x="2713721" y="935960"/>
                  <a:pt x="2716501" y="936378"/>
                </a:cubicBezTo>
                <a:close/>
                <a:moveTo>
                  <a:pt x="10470471" y="924672"/>
                </a:moveTo>
                <a:cubicBezTo>
                  <a:pt x="10469544" y="924951"/>
                  <a:pt x="10469082" y="924394"/>
                  <a:pt x="10468619" y="924951"/>
                </a:cubicBezTo>
                <a:cubicBezTo>
                  <a:pt x="10468619" y="925509"/>
                  <a:pt x="10469082" y="925647"/>
                  <a:pt x="10469082" y="926065"/>
                </a:cubicBezTo>
                <a:cubicBezTo>
                  <a:pt x="10469082" y="925090"/>
                  <a:pt x="10470008" y="925368"/>
                  <a:pt x="10470471" y="924672"/>
                </a:cubicBezTo>
                <a:close/>
                <a:moveTo>
                  <a:pt x="2421783" y="915753"/>
                </a:moveTo>
                <a:cubicBezTo>
                  <a:pt x="2437076" y="917425"/>
                  <a:pt x="2434294" y="923975"/>
                  <a:pt x="2446806" y="915753"/>
                </a:cubicBezTo>
                <a:cubicBezTo>
                  <a:pt x="2448196" y="930525"/>
                  <a:pt x="2418540" y="940281"/>
                  <a:pt x="2421783" y="915753"/>
                </a:cubicBezTo>
                <a:close/>
                <a:moveTo>
                  <a:pt x="10288240" y="899168"/>
                </a:moveTo>
                <a:cubicBezTo>
                  <a:pt x="10286155" y="898925"/>
                  <a:pt x="10283955" y="899029"/>
                  <a:pt x="10281870" y="899726"/>
                </a:cubicBezTo>
                <a:cubicBezTo>
                  <a:pt x="10277700" y="901260"/>
                  <a:pt x="10274919" y="905579"/>
                  <a:pt x="10276773" y="914359"/>
                </a:cubicBezTo>
                <a:cubicBezTo>
                  <a:pt x="10282798" y="910318"/>
                  <a:pt x="10293918" y="910039"/>
                  <a:pt x="10293918" y="900702"/>
                </a:cubicBezTo>
                <a:cubicBezTo>
                  <a:pt x="10292296" y="900005"/>
                  <a:pt x="10290327" y="899412"/>
                  <a:pt x="10288240" y="899168"/>
                </a:cubicBezTo>
                <a:close/>
                <a:moveTo>
                  <a:pt x="2618262" y="897775"/>
                </a:moveTo>
                <a:cubicBezTo>
                  <a:pt x="2621505" y="897636"/>
                  <a:pt x="2624750" y="898053"/>
                  <a:pt x="2628456" y="898890"/>
                </a:cubicBezTo>
                <a:cubicBezTo>
                  <a:pt x="2635871" y="900562"/>
                  <a:pt x="2643749" y="904325"/>
                  <a:pt x="2649309" y="907391"/>
                </a:cubicBezTo>
                <a:cubicBezTo>
                  <a:pt x="2651163" y="922721"/>
                  <a:pt x="2613165" y="917565"/>
                  <a:pt x="2611774" y="900702"/>
                </a:cubicBezTo>
                <a:cubicBezTo>
                  <a:pt x="2613165" y="898751"/>
                  <a:pt x="2615482" y="898053"/>
                  <a:pt x="2618262" y="897775"/>
                </a:cubicBezTo>
                <a:close/>
                <a:moveTo>
                  <a:pt x="2664138" y="891365"/>
                </a:moveTo>
                <a:cubicBezTo>
                  <a:pt x="2666919" y="890947"/>
                  <a:pt x="2669699" y="890947"/>
                  <a:pt x="2672479" y="891782"/>
                </a:cubicBezTo>
                <a:cubicBezTo>
                  <a:pt x="2675723" y="892897"/>
                  <a:pt x="2679431" y="895406"/>
                  <a:pt x="2680820" y="899726"/>
                </a:cubicBezTo>
                <a:cubicBezTo>
                  <a:pt x="2672479" y="910736"/>
                  <a:pt x="2664138" y="903907"/>
                  <a:pt x="2649309" y="903907"/>
                </a:cubicBezTo>
                <a:cubicBezTo>
                  <a:pt x="2647456" y="899029"/>
                  <a:pt x="2655334" y="892897"/>
                  <a:pt x="2664138" y="891365"/>
                </a:cubicBezTo>
                <a:close/>
                <a:moveTo>
                  <a:pt x="2389346" y="883978"/>
                </a:moveTo>
                <a:lnTo>
                  <a:pt x="2422246" y="883978"/>
                </a:lnTo>
                <a:cubicBezTo>
                  <a:pt x="2428733" y="903907"/>
                  <a:pt x="2384247" y="903907"/>
                  <a:pt x="2389346" y="883978"/>
                </a:cubicBezTo>
                <a:close/>
                <a:moveTo>
                  <a:pt x="2600189" y="880773"/>
                </a:moveTo>
                <a:lnTo>
                  <a:pt x="2631237" y="880773"/>
                </a:lnTo>
                <a:cubicBezTo>
                  <a:pt x="2627993" y="902513"/>
                  <a:pt x="2606677" y="888438"/>
                  <a:pt x="2600189" y="896103"/>
                </a:cubicBezTo>
                <a:cubicBezTo>
                  <a:pt x="2603434" y="901260"/>
                  <a:pt x="2609921" y="901399"/>
                  <a:pt x="2609921" y="911572"/>
                </a:cubicBezTo>
                <a:cubicBezTo>
                  <a:pt x="2580727" y="901399"/>
                  <a:pt x="2551070" y="913940"/>
                  <a:pt x="2537168" y="906276"/>
                </a:cubicBezTo>
                <a:cubicBezTo>
                  <a:pt x="2551070" y="882027"/>
                  <a:pt x="2589532" y="910178"/>
                  <a:pt x="2600189" y="880773"/>
                </a:cubicBezTo>
                <a:close/>
                <a:moveTo>
                  <a:pt x="10145633" y="877846"/>
                </a:moveTo>
                <a:lnTo>
                  <a:pt x="10145633" y="892897"/>
                </a:lnTo>
                <a:cubicBezTo>
                  <a:pt x="10156754" y="892897"/>
                  <a:pt x="10163242" y="900841"/>
                  <a:pt x="10171119" y="891365"/>
                </a:cubicBezTo>
                <a:cubicBezTo>
                  <a:pt x="10166485" y="882027"/>
                  <a:pt x="10158144" y="876453"/>
                  <a:pt x="10145633" y="877846"/>
                </a:cubicBezTo>
                <a:close/>
                <a:moveTo>
                  <a:pt x="2729940" y="871297"/>
                </a:moveTo>
                <a:cubicBezTo>
                  <a:pt x="2729940" y="884536"/>
                  <a:pt x="2713721" y="882027"/>
                  <a:pt x="2715575" y="896521"/>
                </a:cubicBezTo>
                <a:cubicBezTo>
                  <a:pt x="2722063" y="903071"/>
                  <a:pt x="2729940" y="900144"/>
                  <a:pt x="2733183" y="890947"/>
                </a:cubicBezTo>
                <a:cubicBezTo>
                  <a:pt x="2716966" y="889553"/>
                  <a:pt x="2746159" y="872551"/>
                  <a:pt x="2729940" y="871297"/>
                </a:cubicBezTo>
                <a:close/>
                <a:moveTo>
                  <a:pt x="2478316" y="864189"/>
                </a:moveTo>
                <a:cubicBezTo>
                  <a:pt x="2473220" y="890528"/>
                  <a:pt x="2468123" y="879518"/>
                  <a:pt x="2478316" y="903071"/>
                </a:cubicBezTo>
                <a:cubicBezTo>
                  <a:pt x="2463025" y="903071"/>
                  <a:pt x="2464416" y="914220"/>
                  <a:pt x="2438929" y="912826"/>
                </a:cubicBezTo>
                <a:cubicBezTo>
                  <a:pt x="2444026" y="881052"/>
                  <a:pt x="2423636" y="905858"/>
                  <a:pt x="2423636" y="875478"/>
                </a:cubicBezTo>
                <a:cubicBezTo>
                  <a:pt x="2450977" y="889274"/>
                  <a:pt x="2450977" y="864189"/>
                  <a:pt x="2478316" y="864189"/>
                </a:cubicBezTo>
                <a:close/>
                <a:moveTo>
                  <a:pt x="1233177" y="862377"/>
                </a:moveTo>
                <a:cubicBezTo>
                  <a:pt x="1233177" y="894710"/>
                  <a:pt x="1163668" y="864050"/>
                  <a:pt x="1215568" y="868928"/>
                </a:cubicBezTo>
                <a:cubicBezTo>
                  <a:pt x="1218812" y="864050"/>
                  <a:pt x="1225299" y="862377"/>
                  <a:pt x="1233177" y="862377"/>
                </a:cubicBezTo>
                <a:close/>
                <a:moveTo>
                  <a:pt x="10102073" y="858615"/>
                </a:moveTo>
                <a:cubicBezTo>
                  <a:pt x="10107170" y="857360"/>
                  <a:pt x="10113194" y="860147"/>
                  <a:pt x="10115976" y="865723"/>
                </a:cubicBezTo>
                <a:cubicBezTo>
                  <a:pt x="10111341" y="878404"/>
                  <a:pt x="10101146" y="867255"/>
                  <a:pt x="10091879" y="873666"/>
                </a:cubicBezTo>
                <a:cubicBezTo>
                  <a:pt x="10092806" y="864886"/>
                  <a:pt x="10096976" y="859730"/>
                  <a:pt x="10102073" y="858615"/>
                </a:cubicBezTo>
                <a:close/>
                <a:moveTo>
                  <a:pt x="2774889" y="855269"/>
                </a:moveTo>
                <a:cubicBezTo>
                  <a:pt x="2774889" y="860566"/>
                  <a:pt x="2770256" y="859311"/>
                  <a:pt x="2767012" y="860566"/>
                </a:cubicBezTo>
                <a:cubicBezTo>
                  <a:pt x="2763767" y="872411"/>
                  <a:pt x="2774889" y="871297"/>
                  <a:pt x="2770256" y="885790"/>
                </a:cubicBezTo>
                <a:cubicBezTo>
                  <a:pt x="2760524" y="872551"/>
                  <a:pt x="2757280" y="871018"/>
                  <a:pt x="2737817" y="876313"/>
                </a:cubicBezTo>
                <a:cubicBezTo>
                  <a:pt x="2737817" y="889553"/>
                  <a:pt x="2739671" y="897775"/>
                  <a:pt x="2752183" y="896521"/>
                </a:cubicBezTo>
                <a:cubicBezTo>
                  <a:pt x="2758671" y="895128"/>
                  <a:pt x="2752646" y="887184"/>
                  <a:pt x="2748013" y="885790"/>
                </a:cubicBezTo>
                <a:cubicBezTo>
                  <a:pt x="2765622" y="876592"/>
                  <a:pt x="2781839" y="909621"/>
                  <a:pt x="2804546" y="885790"/>
                </a:cubicBezTo>
                <a:cubicBezTo>
                  <a:pt x="2804546" y="899029"/>
                  <a:pt x="2775352" y="913244"/>
                  <a:pt x="2804546" y="911990"/>
                </a:cubicBezTo>
                <a:cubicBezTo>
                  <a:pt x="2788327" y="925090"/>
                  <a:pt x="2744306" y="930804"/>
                  <a:pt x="2724843" y="922860"/>
                </a:cubicBezTo>
                <a:cubicBezTo>
                  <a:pt x="2724843" y="910874"/>
                  <a:pt x="2736428" y="910597"/>
                  <a:pt x="2748013" y="911990"/>
                </a:cubicBezTo>
                <a:cubicBezTo>
                  <a:pt x="2738281" y="896103"/>
                  <a:pt x="2723452" y="918540"/>
                  <a:pt x="2705381" y="911990"/>
                </a:cubicBezTo>
                <a:cubicBezTo>
                  <a:pt x="2729940" y="874920"/>
                  <a:pt x="2659041" y="897636"/>
                  <a:pt x="2640967" y="885790"/>
                </a:cubicBezTo>
                <a:cubicBezTo>
                  <a:pt x="2642821" y="885790"/>
                  <a:pt x="2652090" y="863353"/>
                  <a:pt x="2648846" y="863353"/>
                </a:cubicBezTo>
                <a:cubicBezTo>
                  <a:pt x="2678039" y="843424"/>
                  <a:pt x="2729476" y="871157"/>
                  <a:pt x="2774889" y="855269"/>
                </a:cubicBezTo>
                <a:close/>
                <a:moveTo>
                  <a:pt x="3142361" y="854016"/>
                </a:moveTo>
                <a:cubicBezTo>
                  <a:pt x="3147457" y="853598"/>
                  <a:pt x="3152555" y="857639"/>
                  <a:pt x="3150238" y="868928"/>
                </a:cubicBezTo>
                <a:cubicBezTo>
                  <a:pt x="3145141" y="865723"/>
                  <a:pt x="3140044" y="864050"/>
                  <a:pt x="3133093" y="865723"/>
                </a:cubicBezTo>
                <a:cubicBezTo>
                  <a:pt x="3131702" y="859173"/>
                  <a:pt x="3136800" y="854434"/>
                  <a:pt x="3142361" y="854016"/>
                </a:cubicBezTo>
                <a:close/>
                <a:moveTo>
                  <a:pt x="3454631" y="851768"/>
                </a:moveTo>
                <a:cubicBezTo>
                  <a:pt x="3483883" y="853842"/>
                  <a:pt x="3511916" y="861541"/>
                  <a:pt x="3534855" y="876313"/>
                </a:cubicBezTo>
                <a:cubicBezTo>
                  <a:pt x="3544123" y="866140"/>
                  <a:pt x="3549221" y="871157"/>
                  <a:pt x="3564976" y="869903"/>
                </a:cubicBezTo>
                <a:cubicBezTo>
                  <a:pt x="3562195" y="886487"/>
                  <a:pt x="3523734" y="889413"/>
                  <a:pt x="3528832" y="877846"/>
                </a:cubicBezTo>
                <a:cubicBezTo>
                  <a:pt x="3511222" y="875199"/>
                  <a:pt x="3525124" y="885372"/>
                  <a:pt x="3514003" y="886766"/>
                </a:cubicBezTo>
                <a:cubicBezTo>
                  <a:pt x="3500101" y="889274"/>
                  <a:pt x="3516320" y="876453"/>
                  <a:pt x="3506588" y="871297"/>
                </a:cubicBezTo>
                <a:cubicBezTo>
                  <a:pt x="3501954" y="884118"/>
                  <a:pt x="3503344" y="881470"/>
                  <a:pt x="3490833" y="885232"/>
                </a:cubicBezTo>
                <a:cubicBezTo>
                  <a:pt x="3490833" y="877568"/>
                  <a:pt x="3492223" y="871018"/>
                  <a:pt x="3496857" y="868370"/>
                </a:cubicBezTo>
                <a:cubicBezTo>
                  <a:pt x="3487590" y="859450"/>
                  <a:pt x="3466736" y="878961"/>
                  <a:pt x="3460249" y="860984"/>
                </a:cubicBezTo>
                <a:cubicBezTo>
                  <a:pt x="3447737" y="873805"/>
                  <a:pt x="3471370" y="873666"/>
                  <a:pt x="3481103" y="869903"/>
                </a:cubicBezTo>
                <a:cubicBezTo>
                  <a:pt x="3481103" y="880076"/>
                  <a:pt x="3485736" y="877568"/>
                  <a:pt x="3481103" y="885232"/>
                </a:cubicBezTo>
                <a:cubicBezTo>
                  <a:pt x="3476004" y="878822"/>
                  <a:pt x="3457468" y="881191"/>
                  <a:pt x="3452834" y="887602"/>
                </a:cubicBezTo>
                <a:cubicBezTo>
                  <a:pt x="3446347" y="886347"/>
                  <a:pt x="3438933" y="888159"/>
                  <a:pt x="3440323" y="877846"/>
                </a:cubicBezTo>
                <a:cubicBezTo>
                  <a:pt x="3451444" y="883003"/>
                  <a:pt x="3444957" y="875337"/>
                  <a:pt x="3454225" y="872690"/>
                </a:cubicBezTo>
                <a:cubicBezTo>
                  <a:pt x="3449591" y="862516"/>
                  <a:pt x="3428738" y="887741"/>
                  <a:pt x="3425958" y="863353"/>
                </a:cubicBezTo>
                <a:cubicBezTo>
                  <a:pt x="3431982" y="860705"/>
                  <a:pt x="3433372" y="866140"/>
                  <a:pt x="3438469" y="866140"/>
                </a:cubicBezTo>
                <a:cubicBezTo>
                  <a:pt x="3430592" y="852065"/>
                  <a:pt x="3411592" y="862377"/>
                  <a:pt x="3392594" y="862377"/>
                </a:cubicBezTo>
                <a:cubicBezTo>
                  <a:pt x="3384716" y="862935"/>
                  <a:pt x="3375911" y="861402"/>
                  <a:pt x="3367106" y="860984"/>
                </a:cubicBezTo>
                <a:cubicBezTo>
                  <a:pt x="3394910" y="853249"/>
                  <a:pt x="3425379" y="849695"/>
                  <a:pt x="3454631" y="851768"/>
                </a:cubicBezTo>
                <a:close/>
                <a:moveTo>
                  <a:pt x="3346717" y="847884"/>
                </a:moveTo>
                <a:cubicBezTo>
                  <a:pt x="3353204" y="853040"/>
                  <a:pt x="3362472" y="853179"/>
                  <a:pt x="3367106" y="860984"/>
                </a:cubicBezTo>
                <a:cubicBezTo>
                  <a:pt x="3336523" y="859311"/>
                  <a:pt x="3304548" y="854852"/>
                  <a:pt x="3283695" y="860984"/>
                </a:cubicBezTo>
                <a:cubicBezTo>
                  <a:pt x="3283695" y="835201"/>
                  <a:pt x="3327718" y="859450"/>
                  <a:pt x="3346717" y="847884"/>
                </a:cubicBezTo>
                <a:close/>
                <a:moveTo>
                  <a:pt x="3257283" y="847326"/>
                </a:moveTo>
                <a:cubicBezTo>
                  <a:pt x="3264697" y="848860"/>
                  <a:pt x="3273501" y="848999"/>
                  <a:pt x="3273501" y="863910"/>
                </a:cubicBezTo>
                <a:cubicBezTo>
                  <a:pt x="3269331" y="863910"/>
                  <a:pt x="3264697" y="863910"/>
                  <a:pt x="3264697" y="868370"/>
                </a:cubicBezTo>
                <a:cubicBezTo>
                  <a:pt x="3260527" y="868370"/>
                  <a:pt x="3257283" y="862377"/>
                  <a:pt x="3258672" y="852065"/>
                </a:cubicBezTo>
                <a:cubicBezTo>
                  <a:pt x="3252648" y="854991"/>
                  <a:pt x="3252648" y="865304"/>
                  <a:pt x="3243844" y="862377"/>
                </a:cubicBezTo>
                <a:cubicBezTo>
                  <a:pt x="3245234" y="853458"/>
                  <a:pt x="3251258" y="848860"/>
                  <a:pt x="3257283" y="847326"/>
                </a:cubicBezTo>
                <a:close/>
                <a:moveTo>
                  <a:pt x="1934871" y="845445"/>
                </a:moveTo>
                <a:cubicBezTo>
                  <a:pt x="1939159" y="845933"/>
                  <a:pt x="1942633" y="846839"/>
                  <a:pt x="1944487" y="847884"/>
                </a:cubicBezTo>
                <a:cubicBezTo>
                  <a:pt x="1942633" y="866419"/>
                  <a:pt x="1915292" y="857639"/>
                  <a:pt x="1900001" y="859173"/>
                </a:cubicBezTo>
                <a:cubicBezTo>
                  <a:pt x="1900928" y="850531"/>
                  <a:pt x="1910660" y="846770"/>
                  <a:pt x="1920391" y="845514"/>
                </a:cubicBezTo>
                <a:cubicBezTo>
                  <a:pt x="1925489" y="844887"/>
                  <a:pt x="1930586" y="844957"/>
                  <a:pt x="1934871" y="845445"/>
                </a:cubicBezTo>
                <a:close/>
                <a:moveTo>
                  <a:pt x="4549688" y="843703"/>
                </a:moveTo>
                <a:cubicBezTo>
                  <a:pt x="4548761" y="843424"/>
                  <a:pt x="4547371" y="844818"/>
                  <a:pt x="4546445" y="848441"/>
                </a:cubicBezTo>
                <a:cubicBezTo>
                  <a:pt x="4543664" y="849556"/>
                  <a:pt x="4543664" y="847466"/>
                  <a:pt x="4543664" y="846072"/>
                </a:cubicBezTo>
                <a:cubicBezTo>
                  <a:pt x="4542737" y="847466"/>
                  <a:pt x="4541347" y="848023"/>
                  <a:pt x="4541811" y="850253"/>
                </a:cubicBezTo>
                <a:cubicBezTo>
                  <a:pt x="4543201" y="849278"/>
                  <a:pt x="4544591" y="849137"/>
                  <a:pt x="4546445" y="848441"/>
                </a:cubicBezTo>
                <a:cubicBezTo>
                  <a:pt x="4548298" y="847466"/>
                  <a:pt x="4550152" y="846770"/>
                  <a:pt x="4552005" y="846072"/>
                </a:cubicBezTo>
                <a:cubicBezTo>
                  <a:pt x="4551078" y="844957"/>
                  <a:pt x="4550152" y="843842"/>
                  <a:pt x="4549688" y="843703"/>
                </a:cubicBezTo>
                <a:close/>
                <a:moveTo>
                  <a:pt x="1960242" y="838407"/>
                </a:moveTo>
                <a:cubicBezTo>
                  <a:pt x="1963487" y="837013"/>
                  <a:pt x="1967656" y="837013"/>
                  <a:pt x="1972291" y="838965"/>
                </a:cubicBezTo>
                <a:cubicBezTo>
                  <a:pt x="1974144" y="854991"/>
                  <a:pt x="1958389" y="852203"/>
                  <a:pt x="1956535" y="864189"/>
                </a:cubicBezTo>
                <a:cubicBezTo>
                  <a:pt x="1947267" y="859173"/>
                  <a:pt x="1950511" y="842867"/>
                  <a:pt x="1960242" y="838407"/>
                </a:cubicBezTo>
                <a:close/>
                <a:moveTo>
                  <a:pt x="4458862" y="837571"/>
                </a:moveTo>
                <a:cubicBezTo>
                  <a:pt x="4460254" y="844260"/>
                  <a:pt x="4465350" y="848302"/>
                  <a:pt x="4470448" y="852065"/>
                </a:cubicBezTo>
                <a:cubicBezTo>
                  <a:pt x="4474154" y="851368"/>
                  <a:pt x="4477863" y="850810"/>
                  <a:pt x="4481107" y="849695"/>
                </a:cubicBezTo>
                <a:cubicBezTo>
                  <a:pt x="4474618" y="844957"/>
                  <a:pt x="4468594" y="839940"/>
                  <a:pt x="4458862" y="837571"/>
                </a:cubicBezTo>
                <a:close/>
                <a:moveTo>
                  <a:pt x="2494999" y="837153"/>
                </a:moveTo>
                <a:cubicBezTo>
                  <a:pt x="2504268" y="835063"/>
                  <a:pt x="2515852" y="843703"/>
                  <a:pt x="2510292" y="857639"/>
                </a:cubicBezTo>
                <a:cubicBezTo>
                  <a:pt x="2529290" y="843006"/>
                  <a:pt x="2546436" y="864468"/>
                  <a:pt x="2575166" y="848441"/>
                </a:cubicBezTo>
                <a:cubicBezTo>
                  <a:pt x="2573312" y="841752"/>
                  <a:pt x="2565436" y="842867"/>
                  <a:pt x="2560801" y="842867"/>
                </a:cubicBezTo>
                <a:cubicBezTo>
                  <a:pt x="2573312" y="826700"/>
                  <a:pt x="2584435" y="856384"/>
                  <a:pt x="2606677" y="848441"/>
                </a:cubicBezTo>
                <a:cubicBezTo>
                  <a:pt x="2590457" y="863074"/>
                  <a:pt x="2567289" y="869763"/>
                  <a:pt x="2538558" y="868370"/>
                </a:cubicBezTo>
                <a:cubicBezTo>
                  <a:pt x="2540411" y="885790"/>
                  <a:pt x="2563582" y="876592"/>
                  <a:pt x="2577947" y="879241"/>
                </a:cubicBezTo>
                <a:cubicBezTo>
                  <a:pt x="2576557" y="891365"/>
                  <a:pt x="2519560" y="884536"/>
                  <a:pt x="2510292" y="905997"/>
                </a:cubicBezTo>
                <a:cubicBezTo>
                  <a:pt x="2505193" y="895267"/>
                  <a:pt x="2524193" y="888299"/>
                  <a:pt x="2510292" y="884397"/>
                </a:cubicBezTo>
                <a:cubicBezTo>
                  <a:pt x="2510292" y="873666"/>
                  <a:pt x="2526046" y="881888"/>
                  <a:pt x="2533924" y="879241"/>
                </a:cubicBezTo>
                <a:cubicBezTo>
                  <a:pt x="2527437" y="859173"/>
                  <a:pt x="2510292" y="881749"/>
                  <a:pt x="2497316" y="868370"/>
                </a:cubicBezTo>
                <a:cubicBezTo>
                  <a:pt x="2494072" y="859032"/>
                  <a:pt x="2503804" y="837432"/>
                  <a:pt x="2488049" y="842867"/>
                </a:cubicBezTo>
                <a:cubicBezTo>
                  <a:pt x="2489439" y="839523"/>
                  <a:pt x="2492219" y="837850"/>
                  <a:pt x="2494999" y="837153"/>
                </a:cubicBezTo>
                <a:close/>
                <a:moveTo>
                  <a:pt x="3827720" y="824053"/>
                </a:moveTo>
                <a:cubicBezTo>
                  <a:pt x="3831891" y="822938"/>
                  <a:pt x="3836061" y="823774"/>
                  <a:pt x="3836524" y="831579"/>
                </a:cubicBezTo>
                <a:cubicBezTo>
                  <a:pt x="3833745" y="831579"/>
                  <a:pt x="3833281" y="828652"/>
                  <a:pt x="3830501" y="828652"/>
                </a:cubicBezTo>
                <a:cubicBezTo>
                  <a:pt x="3827257" y="828652"/>
                  <a:pt x="3827720" y="834923"/>
                  <a:pt x="3827720" y="838129"/>
                </a:cubicBezTo>
                <a:cubicBezTo>
                  <a:pt x="3821696" y="841194"/>
                  <a:pt x="3823086" y="830045"/>
                  <a:pt x="3816598" y="830045"/>
                </a:cubicBezTo>
                <a:cubicBezTo>
                  <a:pt x="3818452" y="828513"/>
                  <a:pt x="3823550" y="825307"/>
                  <a:pt x="3827720" y="824053"/>
                </a:cubicBezTo>
                <a:close/>
                <a:moveTo>
                  <a:pt x="4478326" y="805239"/>
                </a:moveTo>
                <a:cubicBezTo>
                  <a:pt x="4488057" y="806911"/>
                  <a:pt x="4497787" y="812486"/>
                  <a:pt x="4498716" y="819454"/>
                </a:cubicBezTo>
                <a:cubicBezTo>
                  <a:pt x="4484812" y="821405"/>
                  <a:pt x="4475082" y="813182"/>
                  <a:pt x="4461179" y="813182"/>
                </a:cubicBezTo>
                <a:cubicBezTo>
                  <a:pt x="4460254" y="805379"/>
                  <a:pt x="4469057" y="803566"/>
                  <a:pt x="4478326" y="805239"/>
                </a:cubicBezTo>
                <a:close/>
                <a:moveTo>
                  <a:pt x="2225767" y="802034"/>
                </a:moveTo>
                <a:cubicBezTo>
                  <a:pt x="2221596" y="808723"/>
                  <a:pt x="2194257" y="835759"/>
                  <a:pt x="2184989" y="838407"/>
                </a:cubicBezTo>
                <a:cubicBezTo>
                  <a:pt x="2195647" y="850671"/>
                  <a:pt x="2194257" y="853319"/>
                  <a:pt x="2178965" y="847884"/>
                </a:cubicBezTo>
                <a:cubicBezTo>
                  <a:pt x="2178965" y="853319"/>
                  <a:pt x="2178965" y="859173"/>
                  <a:pt x="2183598" y="859173"/>
                </a:cubicBezTo>
                <a:cubicBezTo>
                  <a:pt x="2171087" y="868648"/>
                  <a:pt x="2159039" y="860287"/>
                  <a:pt x="2142356" y="856245"/>
                </a:cubicBezTo>
                <a:cubicBezTo>
                  <a:pt x="2177574" y="864328"/>
                  <a:pt x="2184526" y="814158"/>
                  <a:pt x="2225767" y="802034"/>
                </a:cubicBezTo>
                <a:close/>
                <a:moveTo>
                  <a:pt x="4778142" y="787401"/>
                </a:moveTo>
                <a:cubicBezTo>
                  <a:pt x="4757752" y="792279"/>
                  <a:pt x="4744777" y="792836"/>
                  <a:pt x="4730877" y="794229"/>
                </a:cubicBezTo>
                <a:cubicBezTo>
                  <a:pt x="4741533" y="800222"/>
                  <a:pt x="4762850" y="797713"/>
                  <a:pt x="4778142" y="787401"/>
                </a:cubicBezTo>
                <a:close/>
                <a:moveTo>
                  <a:pt x="10927841" y="733747"/>
                </a:moveTo>
                <a:cubicBezTo>
                  <a:pt x="10933403" y="735419"/>
                  <a:pt x="10939427" y="739879"/>
                  <a:pt x="10946377" y="736534"/>
                </a:cubicBezTo>
                <a:cubicBezTo>
                  <a:pt x="10942669" y="752561"/>
                  <a:pt x="10925062" y="743641"/>
                  <a:pt x="10916720" y="748240"/>
                </a:cubicBezTo>
                <a:cubicBezTo>
                  <a:pt x="10918573" y="733329"/>
                  <a:pt x="10922745" y="732074"/>
                  <a:pt x="10927841" y="733747"/>
                </a:cubicBezTo>
                <a:close/>
                <a:moveTo>
                  <a:pt x="4398621" y="732771"/>
                </a:moveTo>
                <a:cubicBezTo>
                  <a:pt x="4407890" y="730402"/>
                  <a:pt x="4418084" y="732074"/>
                  <a:pt x="4416693" y="746847"/>
                </a:cubicBezTo>
                <a:cubicBezTo>
                  <a:pt x="4402329" y="741969"/>
                  <a:pt x="4402329" y="744478"/>
                  <a:pt x="4385183" y="744478"/>
                </a:cubicBezTo>
                <a:cubicBezTo>
                  <a:pt x="4380086" y="741969"/>
                  <a:pt x="4388891" y="735279"/>
                  <a:pt x="4398621" y="732771"/>
                </a:cubicBezTo>
                <a:close/>
                <a:moveTo>
                  <a:pt x="10894940" y="730820"/>
                </a:moveTo>
                <a:cubicBezTo>
                  <a:pt x="10904209" y="727058"/>
                  <a:pt x="10899110" y="743920"/>
                  <a:pt x="10910233" y="737509"/>
                </a:cubicBezTo>
                <a:cubicBezTo>
                  <a:pt x="10911623" y="756463"/>
                  <a:pt x="10882429" y="743502"/>
                  <a:pt x="10894940" y="730820"/>
                </a:cubicBezTo>
                <a:close/>
                <a:moveTo>
                  <a:pt x="10855552" y="727196"/>
                </a:moveTo>
                <a:cubicBezTo>
                  <a:pt x="10860185" y="729705"/>
                  <a:pt x="10855552" y="734723"/>
                  <a:pt x="10855552" y="738485"/>
                </a:cubicBezTo>
                <a:cubicBezTo>
                  <a:pt x="10868063" y="743502"/>
                  <a:pt x="10861577" y="728311"/>
                  <a:pt x="10870844" y="729566"/>
                </a:cubicBezTo>
                <a:cubicBezTo>
                  <a:pt x="10869454" y="735837"/>
                  <a:pt x="10874088" y="736952"/>
                  <a:pt x="10877332" y="736952"/>
                </a:cubicBezTo>
                <a:cubicBezTo>
                  <a:pt x="10875941" y="752003"/>
                  <a:pt x="10855088" y="748659"/>
                  <a:pt x="10842577" y="747405"/>
                </a:cubicBezTo>
                <a:cubicBezTo>
                  <a:pt x="10820797" y="746150"/>
                  <a:pt x="10795775" y="738206"/>
                  <a:pt x="10783262" y="736952"/>
                </a:cubicBezTo>
                <a:cubicBezTo>
                  <a:pt x="10805506" y="729566"/>
                  <a:pt x="10838407" y="742108"/>
                  <a:pt x="10855552" y="727196"/>
                </a:cubicBezTo>
                <a:close/>
                <a:moveTo>
                  <a:pt x="4957939" y="705318"/>
                </a:moveTo>
                <a:cubicBezTo>
                  <a:pt x="4956547" y="723016"/>
                  <a:pt x="4937086" y="718556"/>
                  <a:pt x="4923648" y="721622"/>
                </a:cubicBezTo>
                <a:cubicBezTo>
                  <a:pt x="4925037" y="702252"/>
                  <a:pt x="4947281" y="711170"/>
                  <a:pt x="4957939" y="705318"/>
                </a:cubicBezTo>
                <a:close/>
                <a:moveTo>
                  <a:pt x="5219291" y="674240"/>
                </a:moveTo>
                <a:cubicBezTo>
                  <a:pt x="5205390" y="675772"/>
                  <a:pt x="5194270" y="682880"/>
                  <a:pt x="5179903" y="685109"/>
                </a:cubicBezTo>
                <a:cubicBezTo>
                  <a:pt x="5194270" y="685527"/>
                  <a:pt x="5228560" y="696119"/>
                  <a:pt x="5234122" y="674796"/>
                </a:cubicBezTo>
                <a:cubicBezTo>
                  <a:pt x="5228560" y="673682"/>
                  <a:pt x="5223926" y="673682"/>
                  <a:pt x="5219291" y="674240"/>
                </a:cubicBezTo>
                <a:close/>
                <a:moveTo>
                  <a:pt x="10142852" y="669083"/>
                </a:moveTo>
                <a:cubicBezTo>
                  <a:pt x="10148412" y="671871"/>
                  <a:pt x="10148412" y="678560"/>
                  <a:pt x="10155826" y="677166"/>
                </a:cubicBezTo>
                <a:cubicBezTo>
                  <a:pt x="10157681" y="682601"/>
                  <a:pt x="10152120" y="684274"/>
                  <a:pt x="10152120" y="689848"/>
                </a:cubicBezTo>
                <a:cubicBezTo>
                  <a:pt x="10144242" y="687061"/>
                  <a:pt x="10139146" y="676052"/>
                  <a:pt x="10142852" y="669083"/>
                </a:cubicBezTo>
                <a:close/>
                <a:moveTo>
                  <a:pt x="5149321" y="658770"/>
                </a:moveTo>
                <a:cubicBezTo>
                  <a:pt x="5148394" y="667829"/>
                  <a:pt x="5137734" y="668525"/>
                  <a:pt x="5138662" y="678977"/>
                </a:cubicBezTo>
                <a:cubicBezTo>
                  <a:pt x="5149321" y="676608"/>
                  <a:pt x="5167394" y="679814"/>
                  <a:pt x="5166467" y="666435"/>
                </a:cubicBezTo>
                <a:cubicBezTo>
                  <a:pt x="5154418" y="673264"/>
                  <a:pt x="5154881" y="659885"/>
                  <a:pt x="5149321" y="658770"/>
                </a:cubicBezTo>
                <a:close/>
                <a:moveTo>
                  <a:pt x="5212805" y="652499"/>
                </a:moveTo>
                <a:cubicBezTo>
                  <a:pt x="5210025" y="652081"/>
                  <a:pt x="5207708" y="652918"/>
                  <a:pt x="5205390" y="654311"/>
                </a:cubicBezTo>
                <a:cubicBezTo>
                  <a:pt x="5200293" y="657098"/>
                  <a:pt x="5197050" y="662533"/>
                  <a:pt x="5196586" y="668664"/>
                </a:cubicBezTo>
                <a:cubicBezTo>
                  <a:pt x="5204464" y="676887"/>
                  <a:pt x="5214197" y="664484"/>
                  <a:pt x="5220683" y="656401"/>
                </a:cubicBezTo>
                <a:cubicBezTo>
                  <a:pt x="5218366" y="654032"/>
                  <a:pt x="5215586" y="652777"/>
                  <a:pt x="5212805" y="652499"/>
                </a:cubicBezTo>
                <a:close/>
                <a:moveTo>
                  <a:pt x="5284631" y="651942"/>
                </a:moveTo>
                <a:cubicBezTo>
                  <a:pt x="5281387" y="651662"/>
                  <a:pt x="5278607" y="652360"/>
                  <a:pt x="5275826" y="653753"/>
                </a:cubicBezTo>
                <a:cubicBezTo>
                  <a:pt x="5270267" y="656401"/>
                  <a:pt x="5266095" y="661418"/>
                  <a:pt x="5261926" y="667690"/>
                </a:cubicBezTo>
                <a:cubicBezTo>
                  <a:pt x="5276289" y="669501"/>
                  <a:pt x="5286021" y="679674"/>
                  <a:pt x="5295754" y="664066"/>
                </a:cubicBezTo>
                <a:cubicBezTo>
                  <a:pt x="5290192" y="661558"/>
                  <a:pt x="5274899" y="671592"/>
                  <a:pt x="5273974" y="661140"/>
                </a:cubicBezTo>
                <a:cubicBezTo>
                  <a:pt x="5280923" y="657655"/>
                  <a:pt x="5295754" y="665599"/>
                  <a:pt x="5294825" y="655147"/>
                </a:cubicBezTo>
                <a:cubicBezTo>
                  <a:pt x="5291119" y="653196"/>
                  <a:pt x="5287875" y="652081"/>
                  <a:pt x="5284631" y="651942"/>
                </a:cubicBezTo>
                <a:close/>
                <a:moveTo>
                  <a:pt x="5428747" y="644416"/>
                </a:moveTo>
                <a:cubicBezTo>
                  <a:pt x="5426893" y="644416"/>
                  <a:pt x="5425040" y="644974"/>
                  <a:pt x="5423187" y="646088"/>
                </a:cubicBezTo>
                <a:cubicBezTo>
                  <a:pt x="5429212" y="648458"/>
                  <a:pt x="5435234" y="650966"/>
                  <a:pt x="5440332" y="655565"/>
                </a:cubicBezTo>
                <a:cubicBezTo>
                  <a:pt x="5439868" y="653893"/>
                  <a:pt x="5440332" y="653474"/>
                  <a:pt x="5439868" y="652220"/>
                </a:cubicBezTo>
                <a:cubicBezTo>
                  <a:pt x="5437088" y="649711"/>
                  <a:pt x="5433844" y="644695"/>
                  <a:pt x="5428747" y="644416"/>
                </a:cubicBezTo>
                <a:close/>
                <a:moveTo>
                  <a:pt x="5477403" y="641908"/>
                </a:moveTo>
                <a:cubicBezTo>
                  <a:pt x="5471378" y="643858"/>
                  <a:pt x="5465818" y="649711"/>
                  <a:pt x="5465356" y="657934"/>
                </a:cubicBezTo>
                <a:cubicBezTo>
                  <a:pt x="5469526" y="658074"/>
                  <a:pt x="5471843" y="656401"/>
                  <a:pt x="5474160" y="655147"/>
                </a:cubicBezTo>
                <a:cubicBezTo>
                  <a:pt x="5475549" y="653335"/>
                  <a:pt x="5476940" y="651384"/>
                  <a:pt x="5476940" y="648040"/>
                </a:cubicBezTo>
                <a:cubicBezTo>
                  <a:pt x="5478795" y="648596"/>
                  <a:pt x="5478329" y="651942"/>
                  <a:pt x="5478795" y="653753"/>
                </a:cubicBezTo>
                <a:cubicBezTo>
                  <a:pt x="5482037" y="650966"/>
                  <a:pt x="5483427" y="646924"/>
                  <a:pt x="5484817" y="642464"/>
                </a:cubicBezTo>
                <a:cubicBezTo>
                  <a:pt x="5483427" y="641629"/>
                  <a:pt x="5481110" y="641629"/>
                  <a:pt x="5476940" y="643022"/>
                </a:cubicBezTo>
                <a:cubicBezTo>
                  <a:pt x="5476940" y="642605"/>
                  <a:pt x="5477403" y="642325"/>
                  <a:pt x="5477403" y="641908"/>
                </a:cubicBezTo>
                <a:close/>
                <a:moveTo>
                  <a:pt x="4143292" y="637448"/>
                </a:moveTo>
                <a:cubicBezTo>
                  <a:pt x="4139121" y="636473"/>
                  <a:pt x="4135415" y="638006"/>
                  <a:pt x="4134950" y="646227"/>
                </a:cubicBezTo>
                <a:cubicBezTo>
                  <a:pt x="4137267" y="649154"/>
                  <a:pt x="4155803" y="656680"/>
                  <a:pt x="4154876" y="644834"/>
                </a:cubicBezTo>
                <a:cubicBezTo>
                  <a:pt x="4151632" y="642047"/>
                  <a:pt x="4147000" y="638424"/>
                  <a:pt x="4143292" y="637448"/>
                </a:cubicBezTo>
                <a:close/>
                <a:moveTo>
                  <a:pt x="5437550" y="636473"/>
                </a:moveTo>
                <a:cubicBezTo>
                  <a:pt x="5437088" y="637866"/>
                  <a:pt x="5436625" y="639400"/>
                  <a:pt x="5436625" y="640653"/>
                </a:cubicBezTo>
                <a:cubicBezTo>
                  <a:pt x="5437550" y="643301"/>
                  <a:pt x="5440796" y="644137"/>
                  <a:pt x="5443111" y="645671"/>
                </a:cubicBezTo>
                <a:cubicBezTo>
                  <a:pt x="5447746" y="645252"/>
                  <a:pt x="5453306" y="645949"/>
                  <a:pt x="5451917" y="639817"/>
                </a:cubicBezTo>
                <a:cubicBezTo>
                  <a:pt x="5449599" y="637727"/>
                  <a:pt x="5443111" y="637030"/>
                  <a:pt x="5437550" y="636473"/>
                </a:cubicBezTo>
                <a:close/>
                <a:moveTo>
                  <a:pt x="5430600" y="635914"/>
                </a:moveTo>
                <a:cubicBezTo>
                  <a:pt x="5423649" y="636473"/>
                  <a:pt x="5416235" y="638284"/>
                  <a:pt x="5414381" y="642464"/>
                </a:cubicBezTo>
                <a:cubicBezTo>
                  <a:pt x="5417162" y="643719"/>
                  <a:pt x="5419941" y="644834"/>
                  <a:pt x="5422723" y="645949"/>
                </a:cubicBezTo>
                <a:cubicBezTo>
                  <a:pt x="5424112" y="641768"/>
                  <a:pt x="5427357" y="639121"/>
                  <a:pt x="5430600" y="635914"/>
                </a:cubicBezTo>
                <a:close/>
                <a:moveTo>
                  <a:pt x="5515402" y="634521"/>
                </a:moveTo>
                <a:cubicBezTo>
                  <a:pt x="5510304" y="638563"/>
                  <a:pt x="5499183" y="637169"/>
                  <a:pt x="5496402" y="643858"/>
                </a:cubicBezTo>
                <a:cubicBezTo>
                  <a:pt x="5501501" y="646088"/>
                  <a:pt x="5498255" y="648876"/>
                  <a:pt x="5496402" y="651942"/>
                </a:cubicBezTo>
                <a:cubicBezTo>
                  <a:pt x="5498719" y="653196"/>
                  <a:pt x="5501501" y="653753"/>
                  <a:pt x="5505207" y="653753"/>
                </a:cubicBezTo>
                <a:cubicBezTo>
                  <a:pt x="5505670" y="653057"/>
                  <a:pt x="5507524" y="654032"/>
                  <a:pt x="5507524" y="652220"/>
                </a:cubicBezTo>
                <a:cubicBezTo>
                  <a:pt x="5501963" y="649711"/>
                  <a:pt x="5505670" y="648876"/>
                  <a:pt x="5509840" y="647203"/>
                </a:cubicBezTo>
                <a:cubicBezTo>
                  <a:pt x="5510768" y="643858"/>
                  <a:pt x="5512621" y="640793"/>
                  <a:pt x="5515866" y="640097"/>
                </a:cubicBezTo>
                <a:cubicBezTo>
                  <a:pt x="5516328" y="638563"/>
                  <a:pt x="5516792" y="636890"/>
                  <a:pt x="5515402" y="634521"/>
                </a:cubicBezTo>
                <a:close/>
                <a:moveTo>
                  <a:pt x="5592788" y="631177"/>
                </a:moveTo>
                <a:cubicBezTo>
                  <a:pt x="5591862" y="631595"/>
                  <a:pt x="5590008" y="631316"/>
                  <a:pt x="5589082" y="631734"/>
                </a:cubicBezTo>
                <a:cubicBezTo>
                  <a:pt x="5590471" y="632153"/>
                  <a:pt x="5591397" y="631734"/>
                  <a:pt x="5592788" y="632153"/>
                </a:cubicBezTo>
                <a:cubicBezTo>
                  <a:pt x="5592788" y="631874"/>
                  <a:pt x="5592788" y="631455"/>
                  <a:pt x="5592788" y="631177"/>
                </a:cubicBezTo>
                <a:close/>
                <a:moveTo>
                  <a:pt x="5607617" y="627971"/>
                </a:moveTo>
                <a:cubicBezTo>
                  <a:pt x="5604836" y="628529"/>
                  <a:pt x="5601593" y="628947"/>
                  <a:pt x="5599276" y="629784"/>
                </a:cubicBezTo>
                <a:cubicBezTo>
                  <a:pt x="5599739" y="631734"/>
                  <a:pt x="5600665" y="633127"/>
                  <a:pt x="5602056" y="634103"/>
                </a:cubicBezTo>
                <a:cubicBezTo>
                  <a:pt x="5602519" y="634243"/>
                  <a:pt x="5602982" y="634382"/>
                  <a:pt x="5603909" y="634521"/>
                </a:cubicBezTo>
                <a:cubicBezTo>
                  <a:pt x="5606689" y="632292"/>
                  <a:pt x="5608543" y="630340"/>
                  <a:pt x="5607617" y="627971"/>
                </a:cubicBezTo>
                <a:close/>
                <a:moveTo>
                  <a:pt x="5546449" y="626160"/>
                </a:moveTo>
                <a:cubicBezTo>
                  <a:pt x="5542278" y="626718"/>
                  <a:pt x="5538108" y="626718"/>
                  <a:pt x="5533474" y="626996"/>
                </a:cubicBezTo>
                <a:cubicBezTo>
                  <a:pt x="5535792" y="628390"/>
                  <a:pt x="5538571" y="631455"/>
                  <a:pt x="5540889" y="632153"/>
                </a:cubicBezTo>
                <a:cubicBezTo>
                  <a:pt x="5542742" y="630340"/>
                  <a:pt x="5545522" y="629643"/>
                  <a:pt x="5546449" y="626160"/>
                </a:cubicBezTo>
                <a:close/>
                <a:moveTo>
                  <a:pt x="5679443" y="612502"/>
                </a:moveTo>
                <a:cubicBezTo>
                  <a:pt x="5654884" y="617519"/>
                  <a:pt x="5633102" y="622537"/>
                  <a:pt x="5613641" y="626438"/>
                </a:cubicBezTo>
                <a:cubicBezTo>
                  <a:pt x="5623372" y="630759"/>
                  <a:pt x="5631250" y="622118"/>
                  <a:pt x="5636348" y="637727"/>
                </a:cubicBezTo>
                <a:cubicBezTo>
                  <a:pt x="5640053" y="637587"/>
                  <a:pt x="5644226" y="637727"/>
                  <a:pt x="5647932" y="637448"/>
                </a:cubicBezTo>
                <a:cubicBezTo>
                  <a:pt x="5656273" y="634243"/>
                  <a:pt x="5661834" y="628250"/>
                  <a:pt x="5670176" y="625184"/>
                </a:cubicBezTo>
                <a:cubicBezTo>
                  <a:pt x="5672028" y="628111"/>
                  <a:pt x="5674346" y="630759"/>
                  <a:pt x="5676199" y="634103"/>
                </a:cubicBezTo>
                <a:cubicBezTo>
                  <a:pt x="5677590" y="633964"/>
                  <a:pt x="5679443" y="633824"/>
                  <a:pt x="5680369" y="633546"/>
                </a:cubicBezTo>
                <a:cubicBezTo>
                  <a:pt x="5679443" y="626856"/>
                  <a:pt x="5677590" y="620028"/>
                  <a:pt x="5679443" y="612502"/>
                </a:cubicBezTo>
                <a:close/>
                <a:moveTo>
                  <a:pt x="5410674" y="612502"/>
                </a:moveTo>
                <a:cubicBezTo>
                  <a:pt x="5403259" y="612224"/>
                  <a:pt x="5396773" y="614174"/>
                  <a:pt x="5395382" y="624627"/>
                </a:cubicBezTo>
                <a:cubicBezTo>
                  <a:pt x="5408821" y="618356"/>
                  <a:pt x="5419941" y="623790"/>
                  <a:pt x="5428285" y="620446"/>
                </a:cubicBezTo>
                <a:cubicBezTo>
                  <a:pt x="5428747" y="617240"/>
                  <a:pt x="5430137" y="614871"/>
                  <a:pt x="5431990" y="613059"/>
                </a:cubicBezTo>
                <a:cubicBezTo>
                  <a:pt x="5426430" y="615150"/>
                  <a:pt x="5418089" y="612781"/>
                  <a:pt x="5410674" y="612502"/>
                </a:cubicBezTo>
                <a:close/>
                <a:moveTo>
                  <a:pt x="5690564" y="610133"/>
                </a:moveTo>
                <a:cubicBezTo>
                  <a:pt x="5688248" y="610830"/>
                  <a:pt x="5685931" y="611109"/>
                  <a:pt x="5683151" y="611666"/>
                </a:cubicBezTo>
                <a:cubicBezTo>
                  <a:pt x="5685004" y="613896"/>
                  <a:pt x="5687320" y="615568"/>
                  <a:pt x="5690564" y="615429"/>
                </a:cubicBezTo>
                <a:cubicBezTo>
                  <a:pt x="5690102" y="613617"/>
                  <a:pt x="5691028" y="612502"/>
                  <a:pt x="5690564" y="610133"/>
                </a:cubicBezTo>
                <a:close/>
                <a:moveTo>
                  <a:pt x="10365282" y="606927"/>
                </a:moveTo>
                <a:cubicBezTo>
                  <a:pt x="10381500" y="613896"/>
                  <a:pt x="10396329" y="624627"/>
                  <a:pt x="10403280" y="645391"/>
                </a:cubicBezTo>
                <a:cubicBezTo>
                  <a:pt x="10389842" y="656401"/>
                  <a:pt x="10378256" y="631734"/>
                  <a:pt x="10358793" y="635914"/>
                </a:cubicBezTo>
                <a:cubicBezTo>
                  <a:pt x="10366672" y="624906"/>
                  <a:pt x="10362037" y="615150"/>
                  <a:pt x="10365282" y="606927"/>
                </a:cubicBezTo>
                <a:close/>
                <a:moveTo>
                  <a:pt x="5704930" y="606927"/>
                </a:moveTo>
                <a:cubicBezTo>
                  <a:pt x="5701223" y="608182"/>
                  <a:pt x="5697978" y="608321"/>
                  <a:pt x="5693808" y="609297"/>
                </a:cubicBezTo>
                <a:cubicBezTo>
                  <a:pt x="5695661" y="610690"/>
                  <a:pt x="5697515" y="611945"/>
                  <a:pt x="5699832" y="613059"/>
                </a:cubicBezTo>
                <a:cubicBezTo>
                  <a:pt x="5701223" y="610969"/>
                  <a:pt x="5701686" y="608600"/>
                  <a:pt x="5704930" y="606927"/>
                </a:cubicBezTo>
                <a:close/>
                <a:moveTo>
                  <a:pt x="5473697" y="603026"/>
                </a:moveTo>
                <a:cubicBezTo>
                  <a:pt x="5470452" y="603722"/>
                  <a:pt x="5467210" y="605116"/>
                  <a:pt x="5463965" y="606509"/>
                </a:cubicBezTo>
                <a:cubicBezTo>
                  <a:pt x="5461184" y="610133"/>
                  <a:pt x="5457477" y="611945"/>
                  <a:pt x="5454234" y="612502"/>
                </a:cubicBezTo>
                <a:cubicBezTo>
                  <a:pt x="5449599" y="615568"/>
                  <a:pt x="5443575" y="618774"/>
                  <a:pt x="5441258" y="620864"/>
                </a:cubicBezTo>
                <a:cubicBezTo>
                  <a:pt x="5458868" y="619471"/>
                  <a:pt x="5478795" y="604837"/>
                  <a:pt x="5495475" y="615429"/>
                </a:cubicBezTo>
                <a:cubicBezTo>
                  <a:pt x="5492695" y="608600"/>
                  <a:pt x="5488061" y="604419"/>
                  <a:pt x="5482963" y="603026"/>
                </a:cubicBezTo>
                <a:cubicBezTo>
                  <a:pt x="5480184" y="602189"/>
                  <a:pt x="5476940" y="602468"/>
                  <a:pt x="5473697" y="603026"/>
                </a:cubicBezTo>
                <a:close/>
                <a:moveTo>
                  <a:pt x="5185465" y="600377"/>
                </a:moveTo>
                <a:cubicBezTo>
                  <a:pt x="5182685" y="617380"/>
                  <a:pt x="5155344" y="617659"/>
                  <a:pt x="5150711" y="613059"/>
                </a:cubicBezTo>
                <a:cubicBezTo>
                  <a:pt x="5158589" y="602329"/>
                  <a:pt x="5170635" y="600377"/>
                  <a:pt x="5185465" y="600377"/>
                </a:cubicBezTo>
                <a:close/>
                <a:moveTo>
                  <a:pt x="10334234" y="598566"/>
                </a:moveTo>
                <a:cubicBezTo>
                  <a:pt x="10338868" y="611527"/>
                  <a:pt x="10348600" y="616405"/>
                  <a:pt x="10348600" y="635914"/>
                </a:cubicBezTo>
                <a:cubicBezTo>
                  <a:pt x="10339331" y="639817"/>
                  <a:pt x="10338868" y="629643"/>
                  <a:pt x="10329599" y="633546"/>
                </a:cubicBezTo>
                <a:cubicBezTo>
                  <a:pt x="10336088" y="628390"/>
                  <a:pt x="10342113" y="624348"/>
                  <a:pt x="10337478" y="608740"/>
                </a:cubicBezTo>
                <a:cubicBezTo>
                  <a:pt x="10326357" y="606092"/>
                  <a:pt x="10328210" y="618077"/>
                  <a:pt x="10323575" y="621979"/>
                </a:cubicBezTo>
                <a:cubicBezTo>
                  <a:pt x="10315699" y="621979"/>
                  <a:pt x="10310601" y="616544"/>
                  <a:pt x="10308747" y="607485"/>
                </a:cubicBezTo>
                <a:cubicBezTo>
                  <a:pt x="10316625" y="604837"/>
                  <a:pt x="10329599" y="605116"/>
                  <a:pt x="10334234" y="598566"/>
                </a:cubicBezTo>
                <a:close/>
                <a:moveTo>
                  <a:pt x="5715587" y="584351"/>
                </a:moveTo>
                <a:cubicBezTo>
                  <a:pt x="5713271" y="586859"/>
                  <a:pt x="5710490" y="588393"/>
                  <a:pt x="5706319" y="585327"/>
                </a:cubicBezTo>
                <a:cubicBezTo>
                  <a:pt x="5701686" y="585466"/>
                  <a:pt x="5697978" y="586163"/>
                  <a:pt x="5693808" y="586721"/>
                </a:cubicBezTo>
                <a:cubicBezTo>
                  <a:pt x="5697052" y="590205"/>
                  <a:pt x="5700759" y="594246"/>
                  <a:pt x="5704466" y="594246"/>
                </a:cubicBezTo>
                <a:cubicBezTo>
                  <a:pt x="5701223" y="602468"/>
                  <a:pt x="5693808" y="591459"/>
                  <a:pt x="5686395" y="599821"/>
                </a:cubicBezTo>
                <a:cubicBezTo>
                  <a:pt x="5689637" y="595082"/>
                  <a:pt x="5688248" y="591598"/>
                  <a:pt x="5686395" y="588811"/>
                </a:cubicBezTo>
                <a:cubicBezTo>
                  <a:pt x="5683151" y="590344"/>
                  <a:pt x="5680833" y="592713"/>
                  <a:pt x="5680369" y="597590"/>
                </a:cubicBezTo>
                <a:cubicBezTo>
                  <a:pt x="5690564" y="611806"/>
                  <a:pt x="5706319" y="583516"/>
                  <a:pt x="5711417" y="605395"/>
                </a:cubicBezTo>
                <a:cubicBezTo>
                  <a:pt x="5709100" y="606231"/>
                  <a:pt x="5707246" y="606231"/>
                  <a:pt x="5705393" y="606927"/>
                </a:cubicBezTo>
                <a:cubicBezTo>
                  <a:pt x="5704002" y="611527"/>
                  <a:pt x="5704466" y="614314"/>
                  <a:pt x="5704930" y="616683"/>
                </a:cubicBezTo>
                <a:cubicBezTo>
                  <a:pt x="5706783" y="617659"/>
                  <a:pt x="5708637" y="618495"/>
                  <a:pt x="5710028" y="620028"/>
                </a:cubicBezTo>
                <a:cubicBezTo>
                  <a:pt x="5710028" y="620864"/>
                  <a:pt x="5709100" y="620724"/>
                  <a:pt x="5709100" y="621421"/>
                </a:cubicBezTo>
                <a:cubicBezTo>
                  <a:pt x="5712808" y="622537"/>
                  <a:pt x="5716978" y="621003"/>
                  <a:pt x="5721149" y="618634"/>
                </a:cubicBezTo>
                <a:cubicBezTo>
                  <a:pt x="5721149" y="614453"/>
                  <a:pt x="5719758" y="609715"/>
                  <a:pt x="5720222" y="605953"/>
                </a:cubicBezTo>
                <a:cubicBezTo>
                  <a:pt x="5716051" y="605953"/>
                  <a:pt x="5712343" y="607764"/>
                  <a:pt x="5708637" y="610690"/>
                </a:cubicBezTo>
                <a:cubicBezTo>
                  <a:pt x="5711881" y="604001"/>
                  <a:pt x="5715587" y="601911"/>
                  <a:pt x="5719758" y="601214"/>
                </a:cubicBezTo>
                <a:cubicBezTo>
                  <a:pt x="5720222" y="596057"/>
                  <a:pt x="5721149" y="591180"/>
                  <a:pt x="5716978" y="584351"/>
                </a:cubicBezTo>
                <a:cubicBezTo>
                  <a:pt x="5716513" y="584490"/>
                  <a:pt x="5716051" y="584351"/>
                  <a:pt x="5715587" y="584351"/>
                </a:cubicBezTo>
                <a:close/>
                <a:moveTo>
                  <a:pt x="5824949" y="580170"/>
                </a:moveTo>
                <a:cubicBezTo>
                  <a:pt x="5823095" y="581146"/>
                  <a:pt x="5821242" y="582540"/>
                  <a:pt x="5819388" y="583516"/>
                </a:cubicBezTo>
                <a:cubicBezTo>
                  <a:pt x="5819388" y="585048"/>
                  <a:pt x="5817997" y="586024"/>
                  <a:pt x="5817997" y="587696"/>
                </a:cubicBezTo>
                <a:cubicBezTo>
                  <a:pt x="5816608" y="585606"/>
                  <a:pt x="5815680" y="587139"/>
                  <a:pt x="5814754" y="585884"/>
                </a:cubicBezTo>
                <a:cubicBezTo>
                  <a:pt x="5810583" y="588950"/>
                  <a:pt x="5807339" y="593130"/>
                  <a:pt x="5806875" y="600935"/>
                </a:cubicBezTo>
                <a:lnTo>
                  <a:pt x="5812437" y="600377"/>
                </a:lnTo>
                <a:cubicBezTo>
                  <a:pt x="5812901" y="599960"/>
                  <a:pt x="5812901" y="599263"/>
                  <a:pt x="5813363" y="598984"/>
                </a:cubicBezTo>
                <a:cubicBezTo>
                  <a:pt x="5813363" y="598148"/>
                  <a:pt x="5814291" y="597869"/>
                  <a:pt x="5813827" y="597172"/>
                </a:cubicBezTo>
                <a:cubicBezTo>
                  <a:pt x="5814291" y="597033"/>
                  <a:pt x="5814754" y="597172"/>
                  <a:pt x="5814754" y="597172"/>
                </a:cubicBezTo>
                <a:cubicBezTo>
                  <a:pt x="5815216" y="596894"/>
                  <a:pt x="5815216" y="596337"/>
                  <a:pt x="5815216" y="596197"/>
                </a:cubicBezTo>
                <a:cubicBezTo>
                  <a:pt x="5816145" y="596754"/>
                  <a:pt x="5816608" y="596057"/>
                  <a:pt x="5817071" y="596615"/>
                </a:cubicBezTo>
                <a:cubicBezTo>
                  <a:pt x="5819388" y="596476"/>
                  <a:pt x="5821242" y="596337"/>
                  <a:pt x="5823095" y="596197"/>
                </a:cubicBezTo>
                <a:cubicBezTo>
                  <a:pt x="5823095" y="589787"/>
                  <a:pt x="5824022" y="583933"/>
                  <a:pt x="5824949" y="580170"/>
                </a:cubicBezTo>
                <a:close/>
                <a:moveTo>
                  <a:pt x="10203558" y="576965"/>
                </a:moveTo>
                <a:cubicBezTo>
                  <a:pt x="10213288" y="580727"/>
                  <a:pt x="10215606" y="588532"/>
                  <a:pt x="10212361" y="598566"/>
                </a:cubicBezTo>
                <a:cubicBezTo>
                  <a:pt x="10198923" y="594803"/>
                  <a:pt x="10190581" y="585884"/>
                  <a:pt x="10174364" y="585884"/>
                </a:cubicBezTo>
                <a:cubicBezTo>
                  <a:pt x="10171119" y="573342"/>
                  <a:pt x="10193826" y="581982"/>
                  <a:pt x="10195216" y="588253"/>
                </a:cubicBezTo>
                <a:close/>
                <a:moveTo>
                  <a:pt x="5799924" y="575989"/>
                </a:moveTo>
                <a:cubicBezTo>
                  <a:pt x="5791121" y="581146"/>
                  <a:pt x="5767489" y="571252"/>
                  <a:pt x="5772121" y="588811"/>
                </a:cubicBezTo>
                <a:cubicBezTo>
                  <a:pt x="5789730" y="582958"/>
                  <a:pt x="5795756" y="591320"/>
                  <a:pt x="5799924" y="575989"/>
                </a:cubicBezTo>
                <a:close/>
                <a:moveTo>
                  <a:pt x="5205853" y="560242"/>
                </a:moveTo>
                <a:cubicBezTo>
                  <a:pt x="5199830" y="560659"/>
                  <a:pt x="5191025" y="567767"/>
                  <a:pt x="5182685" y="560659"/>
                </a:cubicBezTo>
                <a:cubicBezTo>
                  <a:pt x="5177124" y="579056"/>
                  <a:pt x="5216049" y="580588"/>
                  <a:pt x="5210951" y="563029"/>
                </a:cubicBezTo>
                <a:cubicBezTo>
                  <a:pt x="5209561" y="560939"/>
                  <a:pt x="5208171" y="560102"/>
                  <a:pt x="5205853" y="560242"/>
                </a:cubicBezTo>
                <a:close/>
                <a:moveTo>
                  <a:pt x="10666951" y="539895"/>
                </a:moveTo>
                <a:cubicBezTo>
                  <a:pt x="10673438" y="541149"/>
                  <a:pt x="10676218" y="545052"/>
                  <a:pt x="10662780" y="547003"/>
                </a:cubicBezTo>
                <a:cubicBezTo>
                  <a:pt x="10656293" y="549093"/>
                  <a:pt x="10658146" y="561496"/>
                  <a:pt x="10649806" y="549372"/>
                </a:cubicBezTo>
                <a:cubicBezTo>
                  <a:pt x="10650731" y="540313"/>
                  <a:pt x="10660463" y="538640"/>
                  <a:pt x="10666951" y="539895"/>
                </a:cubicBezTo>
                <a:close/>
                <a:moveTo>
                  <a:pt x="4817067" y="535714"/>
                </a:moveTo>
                <a:cubicBezTo>
                  <a:pt x="4803164" y="544355"/>
                  <a:pt x="4786482" y="551601"/>
                  <a:pt x="4781386" y="554946"/>
                </a:cubicBezTo>
                <a:cubicBezTo>
                  <a:pt x="4786482" y="554528"/>
                  <a:pt x="4785093" y="562332"/>
                  <a:pt x="4790653" y="563308"/>
                </a:cubicBezTo>
                <a:cubicBezTo>
                  <a:pt x="4793434" y="554110"/>
                  <a:pt x="4802237" y="551741"/>
                  <a:pt x="4814287" y="550765"/>
                </a:cubicBezTo>
                <a:cubicBezTo>
                  <a:pt x="4813822" y="544913"/>
                  <a:pt x="4815213" y="540313"/>
                  <a:pt x="4817067" y="535714"/>
                </a:cubicBezTo>
                <a:close/>
                <a:moveTo>
                  <a:pt x="10113194" y="527492"/>
                </a:moveTo>
                <a:cubicBezTo>
                  <a:pt x="10118293" y="527631"/>
                  <a:pt x="10124780" y="530558"/>
                  <a:pt x="10126632" y="532090"/>
                </a:cubicBezTo>
                <a:cubicBezTo>
                  <a:pt x="10121536" y="540313"/>
                  <a:pt x="10111341" y="546863"/>
                  <a:pt x="10106245" y="538640"/>
                </a:cubicBezTo>
                <a:cubicBezTo>
                  <a:pt x="10103928" y="529722"/>
                  <a:pt x="10108097" y="527212"/>
                  <a:pt x="10113194" y="527492"/>
                </a:cubicBezTo>
                <a:close/>
                <a:moveTo>
                  <a:pt x="10786044" y="525401"/>
                </a:moveTo>
                <a:cubicBezTo>
                  <a:pt x="10800408" y="526516"/>
                  <a:pt x="10814310" y="530836"/>
                  <a:pt x="10822652" y="533345"/>
                </a:cubicBezTo>
                <a:cubicBezTo>
                  <a:pt x="10810139" y="551880"/>
                  <a:pt x="10776312" y="526656"/>
                  <a:pt x="10748509" y="536690"/>
                </a:cubicBezTo>
                <a:cubicBezTo>
                  <a:pt x="10757775" y="526656"/>
                  <a:pt x="10772141" y="524426"/>
                  <a:pt x="10786044" y="525401"/>
                </a:cubicBezTo>
                <a:close/>
                <a:moveTo>
                  <a:pt x="5962113" y="521779"/>
                </a:moveTo>
                <a:cubicBezTo>
                  <a:pt x="5957016" y="525122"/>
                  <a:pt x="5940798" y="518851"/>
                  <a:pt x="5941723" y="529303"/>
                </a:cubicBezTo>
                <a:cubicBezTo>
                  <a:pt x="5946822" y="528885"/>
                  <a:pt x="5945430" y="533345"/>
                  <a:pt x="5942186" y="538083"/>
                </a:cubicBezTo>
                <a:cubicBezTo>
                  <a:pt x="5956554" y="540035"/>
                  <a:pt x="5959333" y="530976"/>
                  <a:pt x="5962113" y="521779"/>
                </a:cubicBezTo>
                <a:close/>
                <a:moveTo>
                  <a:pt x="5919481" y="520385"/>
                </a:moveTo>
                <a:cubicBezTo>
                  <a:pt x="5919944" y="524845"/>
                  <a:pt x="5920408" y="530836"/>
                  <a:pt x="5916701" y="531116"/>
                </a:cubicBezTo>
                <a:cubicBezTo>
                  <a:pt x="5913921" y="519269"/>
                  <a:pt x="5900946" y="532230"/>
                  <a:pt x="5901408" y="538083"/>
                </a:cubicBezTo>
                <a:cubicBezTo>
                  <a:pt x="5913457" y="532648"/>
                  <a:pt x="5914384" y="544913"/>
                  <a:pt x="5926431" y="541009"/>
                </a:cubicBezTo>
                <a:cubicBezTo>
                  <a:pt x="5925505" y="527631"/>
                  <a:pt x="5932455" y="523869"/>
                  <a:pt x="5919481" y="520385"/>
                </a:cubicBezTo>
                <a:close/>
                <a:moveTo>
                  <a:pt x="10210507" y="502268"/>
                </a:moveTo>
                <a:cubicBezTo>
                  <a:pt x="10216069" y="501850"/>
                  <a:pt x="10222093" y="502268"/>
                  <a:pt x="10228580" y="503522"/>
                </a:cubicBezTo>
                <a:cubicBezTo>
                  <a:pt x="10253604" y="508120"/>
                  <a:pt x="10280481" y="523590"/>
                  <a:pt x="10298088" y="534320"/>
                </a:cubicBezTo>
                <a:cubicBezTo>
                  <a:pt x="10299943" y="546445"/>
                  <a:pt x="10294846" y="550208"/>
                  <a:pt x="10292992" y="558290"/>
                </a:cubicBezTo>
                <a:cubicBezTo>
                  <a:pt x="10304577" y="567628"/>
                  <a:pt x="10315699" y="578637"/>
                  <a:pt x="10324040" y="592016"/>
                </a:cubicBezTo>
                <a:cubicBezTo>
                  <a:pt x="10311064" y="596057"/>
                  <a:pt x="10303187" y="583933"/>
                  <a:pt x="10294846" y="594803"/>
                </a:cubicBezTo>
                <a:cubicBezTo>
                  <a:pt x="10294846" y="602747"/>
                  <a:pt x="10303187" y="598566"/>
                  <a:pt x="10301333" y="610690"/>
                </a:cubicBezTo>
                <a:cubicBezTo>
                  <a:pt x="10262870" y="578498"/>
                  <a:pt x="10196606" y="586859"/>
                  <a:pt x="10171119" y="535714"/>
                </a:cubicBezTo>
                <a:cubicBezTo>
                  <a:pt x="10178070" y="512580"/>
                  <a:pt x="10192899" y="503382"/>
                  <a:pt x="10210507" y="502268"/>
                </a:cubicBezTo>
                <a:close/>
                <a:moveTo>
                  <a:pt x="5830508" y="494184"/>
                </a:moveTo>
                <a:cubicBezTo>
                  <a:pt x="5826801" y="494882"/>
                  <a:pt x="5823095" y="496972"/>
                  <a:pt x="5819850" y="499898"/>
                </a:cubicBezTo>
                <a:cubicBezTo>
                  <a:pt x="5821705" y="501988"/>
                  <a:pt x="5823095" y="504078"/>
                  <a:pt x="5824484" y="505891"/>
                </a:cubicBezTo>
                <a:cubicBezTo>
                  <a:pt x="5833289" y="503382"/>
                  <a:pt x="5832827" y="499480"/>
                  <a:pt x="5830508" y="494184"/>
                </a:cubicBezTo>
                <a:close/>
                <a:moveTo>
                  <a:pt x="5849973" y="492233"/>
                </a:moveTo>
                <a:cubicBezTo>
                  <a:pt x="5849973" y="492372"/>
                  <a:pt x="5850435" y="492651"/>
                  <a:pt x="5850435" y="492791"/>
                </a:cubicBezTo>
                <a:cubicBezTo>
                  <a:pt x="5853679" y="506169"/>
                  <a:pt x="5836070" y="497808"/>
                  <a:pt x="5834681" y="505891"/>
                </a:cubicBezTo>
                <a:cubicBezTo>
                  <a:pt x="5836070" y="511186"/>
                  <a:pt x="5840241" y="511186"/>
                  <a:pt x="5840241" y="516482"/>
                </a:cubicBezTo>
                <a:cubicBezTo>
                  <a:pt x="5849509" y="512580"/>
                  <a:pt x="5850435" y="501431"/>
                  <a:pt x="5855996" y="492233"/>
                </a:cubicBezTo>
                <a:cubicBezTo>
                  <a:pt x="5854141" y="492233"/>
                  <a:pt x="5851826" y="492233"/>
                  <a:pt x="5849973" y="492233"/>
                </a:cubicBezTo>
                <a:close/>
                <a:moveTo>
                  <a:pt x="6052474" y="475928"/>
                </a:moveTo>
                <a:cubicBezTo>
                  <a:pt x="6045523" y="475231"/>
                  <a:pt x="6038574" y="474673"/>
                  <a:pt x="6037646" y="485683"/>
                </a:cubicBezTo>
                <a:cubicBezTo>
                  <a:pt x="6042280" y="483314"/>
                  <a:pt x="6049694" y="484011"/>
                  <a:pt x="6055719" y="483872"/>
                </a:cubicBezTo>
                <a:cubicBezTo>
                  <a:pt x="6053865" y="482339"/>
                  <a:pt x="6053402" y="478716"/>
                  <a:pt x="6052474" y="475928"/>
                </a:cubicBezTo>
                <a:close/>
                <a:moveTo>
                  <a:pt x="6066376" y="473141"/>
                </a:moveTo>
                <a:cubicBezTo>
                  <a:pt x="6063132" y="476764"/>
                  <a:pt x="6058962" y="475511"/>
                  <a:pt x="6055255" y="475511"/>
                </a:cubicBezTo>
                <a:cubicBezTo>
                  <a:pt x="6056645" y="477182"/>
                  <a:pt x="6058499" y="478297"/>
                  <a:pt x="6059426" y="480109"/>
                </a:cubicBezTo>
                <a:cubicBezTo>
                  <a:pt x="6060353" y="478576"/>
                  <a:pt x="6063597" y="478437"/>
                  <a:pt x="6065912" y="477740"/>
                </a:cubicBezTo>
                <a:cubicBezTo>
                  <a:pt x="6066376" y="476207"/>
                  <a:pt x="6067303" y="475649"/>
                  <a:pt x="6066376" y="473141"/>
                </a:cubicBezTo>
                <a:close/>
                <a:moveTo>
                  <a:pt x="3635875" y="472862"/>
                </a:moveTo>
                <a:cubicBezTo>
                  <a:pt x="3640973" y="473419"/>
                  <a:pt x="3643289" y="478576"/>
                  <a:pt x="3648851" y="479691"/>
                </a:cubicBezTo>
                <a:cubicBezTo>
                  <a:pt x="3647460" y="494324"/>
                  <a:pt x="3636802" y="487077"/>
                  <a:pt x="3630778" y="487077"/>
                </a:cubicBezTo>
                <a:lnTo>
                  <a:pt x="3629388" y="474116"/>
                </a:lnTo>
                <a:cubicBezTo>
                  <a:pt x="3631704" y="473002"/>
                  <a:pt x="3634021" y="472583"/>
                  <a:pt x="3635875" y="472862"/>
                </a:cubicBezTo>
                <a:close/>
                <a:moveTo>
                  <a:pt x="10054344" y="461435"/>
                </a:moveTo>
                <a:cubicBezTo>
                  <a:pt x="10056199" y="474953"/>
                  <a:pt x="10065465" y="474812"/>
                  <a:pt x="10076586" y="472026"/>
                </a:cubicBezTo>
                <a:cubicBezTo>
                  <a:pt x="10074734" y="480248"/>
                  <a:pt x="10073344" y="488471"/>
                  <a:pt x="10062220" y="485683"/>
                </a:cubicBezTo>
                <a:cubicBezTo>
                  <a:pt x="10065465" y="496553"/>
                  <a:pt x="10077514" y="493766"/>
                  <a:pt x="10087245" y="495160"/>
                </a:cubicBezTo>
                <a:cubicBezTo>
                  <a:pt x="10090489" y="519688"/>
                  <a:pt x="10101610" y="515506"/>
                  <a:pt x="10098366" y="539895"/>
                </a:cubicBezTo>
                <a:cubicBezTo>
                  <a:pt x="10082610" y="534459"/>
                  <a:pt x="10076586" y="518155"/>
                  <a:pt x="10062220" y="510072"/>
                </a:cubicBezTo>
                <a:cubicBezTo>
                  <a:pt x="10056199" y="511325"/>
                  <a:pt x="10057588" y="521499"/>
                  <a:pt x="10051100" y="524146"/>
                </a:cubicBezTo>
                <a:cubicBezTo>
                  <a:pt x="10038588" y="514671"/>
                  <a:pt x="10037198" y="503382"/>
                  <a:pt x="10018199" y="512859"/>
                </a:cubicBezTo>
                <a:cubicBezTo>
                  <a:pt x="10015419" y="510211"/>
                  <a:pt x="10016808" y="498087"/>
                  <a:pt x="10008932" y="502268"/>
                </a:cubicBezTo>
                <a:cubicBezTo>
                  <a:pt x="10005687" y="491258"/>
                  <a:pt x="10015419" y="493906"/>
                  <a:pt x="10013566" y="485683"/>
                </a:cubicBezTo>
                <a:cubicBezTo>
                  <a:pt x="10013566" y="477461"/>
                  <a:pt x="9999200" y="485962"/>
                  <a:pt x="9997810" y="479134"/>
                </a:cubicBezTo>
                <a:cubicBezTo>
                  <a:pt x="10014956" y="468264"/>
                  <a:pt x="10029319" y="462689"/>
                  <a:pt x="10054344" y="461435"/>
                </a:cubicBezTo>
                <a:close/>
                <a:moveTo>
                  <a:pt x="6107620" y="453073"/>
                </a:moveTo>
                <a:cubicBezTo>
                  <a:pt x="6103911" y="453491"/>
                  <a:pt x="6099741" y="455024"/>
                  <a:pt x="6097423" y="457254"/>
                </a:cubicBezTo>
                <a:cubicBezTo>
                  <a:pt x="6099741" y="457811"/>
                  <a:pt x="6101594" y="459344"/>
                  <a:pt x="6104375" y="459066"/>
                </a:cubicBezTo>
                <a:cubicBezTo>
                  <a:pt x="6104375" y="462132"/>
                  <a:pt x="6102058" y="462828"/>
                  <a:pt x="6100205" y="463804"/>
                </a:cubicBezTo>
                <a:cubicBezTo>
                  <a:pt x="6112253" y="461156"/>
                  <a:pt x="6119203" y="465894"/>
                  <a:pt x="6127546" y="456278"/>
                </a:cubicBezTo>
                <a:cubicBezTo>
                  <a:pt x="6123373" y="453630"/>
                  <a:pt x="6115032" y="452097"/>
                  <a:pt x="6107620" y="453073"/>
                </a:cubicBezTo>
                <a:close/>
                <a:moveTo>
                  <a:pt x="6051549" y="439974"/>
                </a:moveTo>
                <a:cubicBezTo>
                  <a:pt x="6030696" y="444572"/>
                  <a:pt x="5999648" y="452934"/>
                  <a:pt x="6007989" y="473141"/>
                </a:cubicBezTo>
                <a:cubicBezTo>
                  <a:pt x="5999185" y="473838"/>
                  <a:pt x="6003356" y="457393"/>
                  <a:pt x="5994551" y="459623"/>
                </a:cubicBezTo>
                <a:cubicBezTo>
                  <a:pt x="5976016" y="471469"/>
                  <a:pt x="5963041" y="488889"/>
                  <a:pt x="5922725" y="496553"/>
                </a:cubicBezTo>
                <a:cubicBezTo>
                  <a:pt x="5923651" y="484569"/>
                  <a:pt x="5945895" y="494603"/>
                  <a:pt x="5941260" y="480109"/>
                </a:cubicBezTo>
                <a:cubicBezTo>
                  <a:pt x="5933845" y="479134"/>
                  <a:pt x="5895384" y="486659"/>
                  <a:pt x="5889824" y="503522"/>
                </a:cubicBezTo>
                <a:cubicBezTo>
                  <a:pt x="5885653" y="499341"/>
                  <a:pt x="5887043" y="491955"/>
                  <a:pt x="5875922" y="485266"/>
                </a:cubicBezTo>
                <a:cubicBezTo>
                  <a:pt x="5870361" y="490979"/>
                  <a:pt x="5863411" y="491955"/>
                  <a:pt x="5856461" y="492233"/>
                </a:cubicBezTo>
                <a:cubicBezTo>
                  <a:pt x="5862947" y="499062"/>
                  <a:pt x="5852288" y="510629"/>
                  <a:pt x="5858314" y="523590"/>
                </a:cubicBezTo>
                <a:cubicBezTo>
                  <a:pt x="5867581" y="526238"/>
                  <a:pt x="5862947" y="512998"/>
                  <a:pt x="5872215" y="514391"/>
                </a:cubicBezTo>
                <a:cubicBezTo>
                  <a:pt x="5871288" y="519827"/>
                  <a:pt x="5875459" y="523729"/>
                  <a:pt x="5877313" y="528328"/>
                </a:cubicBezTo>
                <a:cubicBezTo>
                  <a:pt x="5877775" y="526935"/>
                  <a:pt x="5879166" y="526935"/>
                  <a:pt x="5879629" y="525122"/>
                </a:cubicBezTo>
                <a:cubicBezTo>
                  <a:pt x="5888434" y="527353"/>
                  <a:pt x="5888897" y="531812"/>
                  <a:pt x="5883799" y="539616"/>
                </a:cubicBezTo>
                <a:cubicBezTo>
                  <a:pt x="5890751" y="534600"/>
                  <a:pt x="5910678" y="521360"/>
                  <a:pt x="5899555" y="513277"/>
                </a:cubicBezTo>
                <a:cubicBezTo>
                  <a:pt x="5896773" y="501570"/>
                  <a:pt x="5917164" y="514810"/>
                  <a:pt x="5910678" y="497529"/>
                </a:cubicBezTo>
                <a:cubicBezTo>
                  <a:pt x="5918090" y="499898"/>
                  <a:pt x="5911140" y="506030"/>
                  <a:pt x="5911603" y="512023"/>
                </a:cubicBezTo>
                <a:cubicBezTo>
                  <a:pt x="5940798" y="497808"/>
                  <a:pt x="5981112" y="506448"/>
                  <a:pt x="6009843" y="492233"/>
                </a:cubicBezTo>
                <a:cubicBezTo>
                  <a:pt x="6005209" y="500038"/>
                  <a:pt x="6007524" y="504916"/>
                  <a:pt x="6014477" y="507285"/>
                </a:cubicBezTo>
                <a:cubicBezTo>
                  <a:pt x="6013550" y="495438"/>
                  <a:pt x="6037646" y="485823"/>
                  <a:pt x="6024672" y="476485"/>
                </a:cubicBezTo>
                <a:cubicBezTo>
                  <a:pt x="6031158" y="469936"/>
                  <a:pt x="6044597" y="464222"/>
                  <a:pt x="6048767" y="469936"/>
                </a:cubicBezTo>
                <a:cubicBezTo>
                  <a:pt x="6053865" y="465057"/>
                  <a:pt x="6051085" y="456417"/>
                  <a:pt x="6051549" y="439974"/>
                </a:cubicBezTo>
                <a:close/>
                <a:moveTo>
                  <a:pt x="8989928" y="433283"/>
                </a:moveTo>
                <a:cubicBezTo>
                  <a:pt x="8989466" y="433283"/>
                  <a:pt x="8989466" y="433841"/>
                  <a:pt x="8989000" y="433841"/>
                </a:cubicBezTo>
                <a:cubicBezTo>
                  <a:pt x="8987611" y="438161"/>
                  <a:pt x="8985294" y="441924"/>
                  <a:pt x="8981124" y="444432"/>
                </a:cubicBezTo>
                <a:cubicBezTo>
                  <a:pt x="8981587" y="446383"/>
                  <a:pt x="8980197" y="449171"/>
                  <a:pt x="8982514" y="450146"/>
                </a:cubicBezTo>
                <a:cubicBezTo>
                  <a:pt x="8983441" y="443596"/>
                  <a:pt x="8989928" y="443038"/>
                  <a:pt x="8990855" y="436628"/>
                </a:cubicBezTo>
                <a:cubicBezTo>
                  <a:pt x="8990855" y="435652"/>
                  <a:pt x="8990391" y="433841"/>
                  <a:pt x="8989928" y="433283"/>
                </a:cubicBezTo>
                <a:close/>
                <a:moveTo>
                  <a:pt x="9008928" y="432308"/>
                </a:moveTo>
                <a:cubicBezTo>
                  <a:pt x="9007073" y="432169"/>
                  <a:pt x="9005683" y="435095"/>
                  <a:pt x="9003829" y="435652"/>
                </a:cubicBezTo>
                <a:cubicBezTo>
                  <a:pt x="9005220" y="436907"/>
                  <a:pt x="9004756" y="439137"/>
                  <a:pt x="9007073" y="439416"/>
                </a:cubicBezTo>
                <a:cubicBezTo>
                  <a:pt x="9002439" y="446104"/>
                  <a:pt x="8995025" y="448753"/>
                  <a:pt x="8985758" y="450146"/>
                </a:cubicBezTo>
                <a:cubicBezTo>
                  <a:pt x="8986221" y="450982"/>
                  <a:pt x="8986221" y="452515"/>
                  <a:pt x="8986683" y="453351"/>
                </a:cubicBezTo>
                <a:cubicBezTo>
                  <a:pt x="9000586" y="455163"/>
                  <a:pt x="9014025" y="456000"/>
                  <a:pt x="9027463" y="453909"/>
                </a:cubicBezTo>
                <a:cubicBezTo>
                  <a:pt x="9015415" y="471748"/>
                  <a:pt x="9033023" y="468124"/>
                  <a:pt x="9039974" y="483872"/>
                </a:cubicBezTo>
                <a:cubicBezTo>
                  <a:pt x="9042291" y="476346"/>
                  <a:pt x="9049243" y="479551"/>
                  <a:pt x="9052950" y="476764"/>
                </a:cubicBezTo>
                <a:cubicBezTo>
                  <a:pt x="9053412" y="476764"/>
                  <a:pt x="9053412" y="476485"/>
                  <a:pt x="9053412" y="476485"/>
                </a:cubicBezTo>
                <a:cubicBezTo>
                  <a:pt x="9054802" y="475370"/>
                  <a:pt x="9056193" y="473698"/>
                  <a:pt x="9056657" y="470214"/>
                </a:cubicBezTo>
                <a:cubicBezTo>
                  <a:pt x="9053412" y="468960"/>
                  <a:pt x="9049706" y="464361"/>
                  <a:pt x="9046461" y="461435"/>
                </a:cubicBezTo>
                <a:cubicBezTo>
                  <a:pt x="9045071" y="461016"/>
                  <a:pt x="9044146" y="459901"/>
                  <a:pt x="9041829" y="460459"/>
                </a:cubicBezTo>
                <a:cubicBezTo>
                  <a:pt x="9042754" y="459901"/>
                  <a:pt x="9043682" y="459623"/>
                  <a:pt x="9044146" y="459066"/>
                </a:cubicBezTo>
                <a:cubicBezTo>
                  <a:pt x="9032560" y="447638"/>
                  <a:pt x="9020512" y="433423"/>
                  <a:pt x="9008928" y="432308"/>
                </a:cubicBezTo>
                <a:close/>
                <a:moveTo>
                  <a:pt x="6073791" y="427848"/>
                </a:moveTo>
                <a:cubicBezTo>
                  <a:pt x="6072400" y="428267"/>
                  <a:pt x="6072400" y="429800"/>
                  <a:pt x="6070547" y="429661"/>
                </a:cubicBezTo>
                <a:cubicBezTo>
                  <a:pt x="6070547" y="428824"/>
                  <a:pt x="6070084" y="428824"/>
                  <a:pt x="6069621" y="428127"/>
                </a:cubicBezTo>
                <a:cubicBezTo>
                  <a:pt x="6064523" y="428545"/>
                  <a:pt x="6059889" y="430914"/>
                  <a:pt x="6058499" y="439416"/>
                </a:cubicBezTo>
                <a:cubicBezTo>
                  <a:pt x="6083521" y="440391"/>
                  <a:pt x="6061279" y="451122"/>
                  <a:pt x="6056645" y="459066"/>
                </a:cubicBezTo>
                <a:cubicBezTo>
                  <a:pt x="6064059" y="455442"/>
                  <a:pt x="6068694" y="453351"/>
                  <a:pt x="6073791" y="450982"/>
                </a:cubicBezTo>
                <a:cubicBezTo>
                  <a:pt x="6073791" y="448753"/>
                  <a:pt x="6073328" y="446104"/>
                  <a:pt x="6074718" y="444432"/>
                </a:cubicBezTo>
                <a:cubicBezTo>
                  <a:pt x="6076108" y="445548"/>
                  <a:pt x="6077497" y="447080"/>
                  <a:pt x="6079351" y="448335"/>
                </a:cubicBezTo>
                <a:cubicBezTo>
                  <a:pt x="6083986" y="445826"/>
                  <a:pt x="6089082" y="440948"/>
                  <a:pt x="6093252" y="436628"/>
                </a:cubicBezTo>
                <a:cubicBezTo>
                  <a:pt x="6091863" y="434677"/>
                  <a:pt x="6090010" y="432586"/>
                  <a:pt x="6090010" y="429103"/>
                </a:cubicBezTo>
                <a:cubicBezTo>
                  <a:pt x="6084449" y="428406"/>
                  <a:pt x="6078888" y="428267"/>
                  <a:pt x="6073791" y="427848"/>
                </a:cubicBezTo>
                <a:close/>
                <a:moveTo>
                  <a:pt x="8950540" y="420741"/>
                </a:moveTo>
                <a:cubicBezTo>
                  <a:pt x="8947758" y="421856"/>
                  <a:pt x="8945906" y="422831"/>
                  <a:pt x="8944052" y="424364"/>
                </a:cubicBezTo>
                <a:cubicBezTo>
                  <a:pt x="8945906" y="425897"/>
                  <a:pt x="8947296" y="427988"/>
                  <a:pt x="8950076" y="428127"/>
                </a:cubicBezTo>
                <a:cubicBezTo>
                  <a:pt x="8948223" y="428824"/>
                  <a:pt x="8944516" y="426595"/>
                  <a:pt x="8942199" y="426315"/>
                </a:cubicBezTo>
                <a:cubicBezTo>
                  <a:pt x="8941734" y="426595"/>
                  <a:pt x="8941271" y="426454"/>
                  <a:pt x="8941271" y="426734"/>
                </a:cubicBezTo>
                <a:cubicBezTo>
                  <a:pt x="8941271" y="427291"/>
                  <a:pt x="8941271" y="428127"/>
                  <a:pt x="8940809" y="428685"/>
                </a:cubicBezTo>
                <a:cubicBezTo>
                  <a:pt x="8940345" y="430775"/>
                  <a:pt x="8941271" y="432866"/>
                  <a:pt x="8944516" y="435652"/>
                </a:cubicBezTo>
                <a:cubicBezTo>
                  <a:pt x="8940809" y="439137"/>
                  <a:pt x="8938492" y="439275"/>
                  <a:pt x="8937102" y="438022"/>
                </a:cubicBezTo>
                <a:cubicBezTo>
                  <a:pt x="8936637" y="438718"/>
                  <a:pt x="8936637" y="440113"/>
                  <a:pt x="8936175" y="440809"/>
                </a:cubicBezTo>
                <a:cubicBezTo>
                  <a:pt x="8945441" y="444432"/>
                  <a:pt x="8955173" y="445965"/>
                  <a:pt x="8964441" y="448335"/>
                </a:cubicBezTo>
                <a:cubicBezTo>
                  <a:pt x="8968611" y="445965"/>
                  <a:pt x="8970928" y="443317"/>
                  <a:pt x="8965368" y="435235"/>
                </a:cubicBezTo>
                <a:cubicBezTo>
                  <a:pt x="8970928" y="434120"/>
                  <a:pt x="8971855" y="436767"/>
                  <a:pt x="8975100" y="437604"/>
                </a:cubicBezTo>
                <a:cubicBezTo>
                  <a:pt x="8976027" y="436210"/>
                  <a:pt x="8977880" y="435791"/>
                  <a:pt x="8977880" y="432866"/>
                </a:cubicBezTo>
                <a:cubicBezTo>
                  <a:pt x="8977880" y="432308"/>
                  <a:pt x="8977417" y="432586"/>
                  <a:pt x="8977417" y="432029"/>
                </a:cubicBezTo>
                <a:cubicBezTo>
                  <a:pt x="8975563" y="431332"/>
                  <a:pt x="8974172" y="427988"/>
                  <a:pt x="8973246" y="422553"/>
                </a:cubicBezTo>
                <a:cubicBezTo>
                  <a:pt x="8973246" y="422414"/>
                  <a:pt x="8973246" y="422273"/>
                  <a:pt x="8973246" y="422135"/>
                </a:cubicBezTo>
                <a:cubicBezTo>
                  <a:pt x="8972783" y="421856"/>
                  <a:pt x="8972320" y="421020"/>
                  <a:pt x="8971855" y="420741"/>
                </a:cubicBezTo>
                <a:cubicBezTo>
                  <a:pt x="8963978" y="423946"/>
                  <a:pt x="8955173" y="420462"/>
                  <a:pt x="8956100" y="435235"/>
                </a:cubicBezTo>
                <a:cubicBezTo>
                  <a:pt x="8953320" y="433980"/>
                  <a:pt x="8951003" y="427151"/>
                  <a:pt x="8950540" y="420741"/>
                </a:cubicBezTo>
                <a:close/>
                <a:moveTo>
                  <a:pt x="10260091" y="405690"/>
                </a:moveTo>
                <a:cubicBezTo>
                  <a:pt x="10281870" y="414888"/>
                  <a:pt x="10316161" y="402903"/>
                  <a:pt x="10333771" y="426734"/>
                </a:cubicBezTo>
                <a:cubicBezTo>
                  <a:pt x="10324502" y="432029"/>
                  <a:pt x="10307357" y="412379"/>
                  <a:pt x="10315233" y="429661"/>
                </a:cubicBezTo>
                <a:cubicBezTo>
                  <a:pt x="10308747" y="419068"/>
                  <a:pt x="10294381" y="430775"/>
                  <a:pt x="10291139" y="410985"/>
                </a:cubicBezTo>
                <a:cubicBezTo>
                  <a:pt x="10281407" y="409591"/>
                  <a:pt x="10284650" y="422831"/>
                  <a:pt x="10275383" y="420183"/>
                </a:cubicBezTo>
                <a:cubicBezTo>
                  <a:pt x="10272139" y="404296"/>
                  <a:pt x="10260091" y="428127"/>
                  <a:pt x="10260091" y="405690"/>
                </a:cubicBezTo>
                <a:close/>
                <a:moveTo>
                  <a:pt x="10241093" y="404157"/>
                </a:moveTo>
                <a:cubicBezTo>
                  <a:pt x="10244335" y="407362"/>
                  <a:pt x="10243408" y="417536"/>
                  <a:pt x="10250359" y="414609"/>
                </a:cubicBezTo>
                <a:cubicBezTo>
                  <a:pt x="10248969" y="419765"/>
                  <a:pt x="10248042" y="422692"/>
                  <a:pt x="10242482" y="423946"/>
                </a:cubicBezTo>
                <a:cubicBezTo>
                  <a:pt x="10243872" y="410846"/>
                  <a:pt x="10234141" y="416141"/>
                  <a:pt x="10235531" y="404436"/>
                </a:cubicBezTo>
                <a:cubicBezTo>
                  <a:pt x="10237848" y="403042"/>
                  <a:pt x="10239701" y="403181"/>
                  <a:pt x="10241093" y="404157"/>
                </a:cubicBezTo>
                <a:close/>
                <a:moveTo>
                  <a:pt x="10146095" y="399139"/>
                </a:moveTo>
                <a:cubicBezTo>
                  <a:pt x="10142852" y="409174"/>
                  <a:pt x="10151194" y="406666"/>
                  <a:pt x="10149339" y="415445"/>
                </a:cubicBezTo>
                <a:cubicBezTo>
                  <a:pt x="10136364" y="403320"/>
                  <a:pt x="10116439" y="400254"/>
                  <a:pt x="10146095" y="399139"/>
                </a:cubicBezTo>
                <a:close/>
                <a:moveTo>
                  <a:pt x="9135897" y="399139"/>
                </a:moveTo>
                <a:cubicBezTo>
                  <a:pt x="9133580" y="399697"/>
                  <a:pt x="9131263" y="400115"/>
                  <a:pt x="9128021" y="400533"/>
                </a:cubicBezTo>
                <a:cubicBezTo>
                  <a:pt x="9128483" y="401648"/>
                  <a:pt x="9128946" y="401788"/>
                  <a:pt x="9129410" y="402903"/>
                </a:cubicBezTo>
                <a:cubicBezTo>
                  <a:pt x="9131263" y="401230"/>
                  <a:pt x="9133580" y="400673"/>
                  <a:pt x="9135897" y="399139"/>
                </a:cubicBezTo>
                <a:close/>
                <a:moveTo>
                  <a:pt x="8940809" y="384228"/>
                </a:moveTo>
                <a:cubicBezTo>
                  <a:pt x="8936175" y="384367"/>
                  <a:pt x="8932467" y="386179"/>
                  <a:pt x="8928296" y="387574"/>
                </a:cubicBezTo>
                <a:cubicBezTo>
                  <a:pt x="8934320" y="390499"/>
                  <a:pt x="8940809" y="393007"/>
                  <a:pt x="8945906" y="397329"/>
                </a:cubicBezTo>
                <a:cubicBezTo>
                  <a:pt x="8945906" y="399977"/>
                  <a:pt x="8945906" y="404157"/>
                  <a:pt x="8945441" y="407641"/>
                </a:cubicBezTo>
                <a:cubicBezTo>
                  <a:pt x="8945906" y="407501"/>
                  <a:pt x="8945906" y="406944"/>
                  <a:pt x="8945906" y="406805"/>
                </a:cubicBezTo>
                <a:cubicBezTo>
                  <a:pt x="8949613" y="400951"/>
                  <a:pt x="8949148" y="390778"/>
                  <a:pt x="8957954" y="390778"/>
                </a:cubicBezTo>
                <a:cubicBezTo>
                  <a:pt x="8956565" y="393704"/>
                  <a:pt x="8957490" y="395238"/>
                  <a:pt x="8957954" y="397329"/>
                </a:cubicBezTo>
                <a:cubicBezTo>
                  <a:pt x="8962589" y="399419"/>
                  <a:pt x="8967685" y="401370"/>
                  <a:pt x="8973710" y="402345"/>
                </a:cubicBezTo>
                <a:cubicBezTo>
                  <a:pt x="8970465" y="397607"/>
                  <a:pt x="8968148" y="391893"/>
                  <a:pt x="8965368" y="386040"/>
                </a:cubicBezTo>
                <a:cubicBezTo>
                  <a:pt x="8957027" y="385064"/>
                  <a:pt x="8948223" y="383950"/>
                  <a:pt x="8940809" y="384228"/>
                </a:cubicBezTo>
                <a:close/>
                <a:moveTo>
                  <a:pt x="8843959" y="382277"/>
                </a:moveTo>
                <a:cubicBezTo>
                  <a:pt x="8845349" y="383392"/>
                  <a:pt x="8846739" y="383810"/>
                  <a:pt x="8848128" y="385204"/>
                </a:cubicBezTo>
                <a:cubicBezTo>
                  <a:pt x="8848128" y="384367"/>
                  <a:pt x="8848128" y="383671"/>
                  <a:pt x="8848128" y="382835"/>
                </a:cubicBezTo>
                <a:cubicBezTo>
                  <a:pt x="8846739" y="382695"/>
                  <a:pt x="8845349" y="382277"/>
                  <a:pt x="8843959" y="382277"/>
                </a:cubicBezTo>
                <a:close/>
                <a:moveTo>
                  <a:pt x="8874080" y="375727"/>
                </a:moveTo>
                <a:cubicBezTo>
                  <a:pt x="8872690" y="376006"/>
                  <a:pt x="8872226" y="376703"/>
                  <a:pt x="8871298" y="377120"/>
                </a:cubicBezTo>
                <a:cubicBezTo>
                  <a:pt x="8872690" y="378096"/>
                  <a:pt x="8874080" y="378654"/>
                  <a:pt x="8875933" y="379490"/>
                </a:cubicBezTo>
                <a:cubicBezTo>
                  <a:pt x="8875007" y="378654"/>
                  <a:pt x="8875007" y="376424"/>
                  <a:pt x="8874080" y="375727"/>
                </a:cubicBezTo>
                <a:close/>
                <a:moveTo>
                  <a:pt x="8987148" y="364440"/>
                </a:moveTo>
                <a:cubicBezTo>
                  <a:pt x="8986683" y="365414"/>
                  <a:pt x="8986221" y="366948"/>
                  <a:pt x="8985758" y="367783"/>
                </a:cubicBezTo>
                <a:cubicBezTo>
                  <a:pt x="8987148" y="366948"/>
                  <a:pt x="8987611" y="365833"/>
                  <a:pt x="8988538" y="364440"/>
                </a:cubicBezTo>
                <a:cubicBezTo>
                  <a:pt x="8988074" y="364440"/>
                  <a:pt x="8987611" y="364440"/>
                  <a:pt x="8987148" y="364440"/>
                </a:cubicBezTo>
                <a:close/>
                <a:moveTo>
                  <a:pt x="5936164" y="342559"/>
                </a:moveTo>
                <a:cubicBezTo>
                  <a:pt x="5926896" y="342420"/>
                  <a:pt x="5917164" y="345625"/>
                  <a:pt x="5907896" y="349667"/>
                </a:cubicBezTo>
                <a:cubicBezTo>
                  <a:pt x="5913457" y="351617"/>
                  <a:pt x="5918555" y="358308"/>
                  <a:pt x="5930601" y="352872"/>
                </a:cubicBezTo>
                <a:cubicBezTo>
                  <a:pt x="5934772" y="351896"/>
                  <a:pt x="5935700" y="346601"/>
                  <a:pt x="5938480" y="343117"/>
                </a:cubicBezTo>
                <a:cubicBezTo>
                  <a:pt x="5937554" y="342977"/>
                  <a:pt x="5937090" y="342559"/>
                  <a:pt x="5936164" y="342559"/>
                </a:cubicBezTo>
                <a:close/>
                <a:moveTo>
                  <a:pt x="5132638" y="333083"/>
                </a:moveTo>
                <a:cubicBezTo>
                  <a:pt x="5135880" y="333083"/>
                  <a:pt x="5141442" y="334197"/>
                  <a:pt x="5146540" y="335591"/>
                </a:cubicBezTo>
                <a:cubicBezTo>
                  <a:pt x="5157198" y="338517"/>
                  <a:pt x="5168320" y="343396"/>
                  <a:pt x="5166003" y="345764"/>
                </a:cubicBezTo>
                <a:lnTo>
                  <a:pt x="5141906" y="348134"/>
                </a:lnTo>
                <a:cubicBezTo>
                  <a:pt x="5138662" y="343396"/>
                  <a:pt x="5134955" y="338936"/>
                  <a:pt x="5129857" y="336567"/>
                </a:cubicBezTo>
                <a:cubicBezTo>
                  <a:pt x="5127541" y="334197"/>
                  <a:pt x="5129395" y="333083"/>
                  <a:pt x="5132638" y="333083"/>
                </a:cubicBezTo>
                <a:close/>
                <a:moveTo>
                  <a:pt x="8840715" y="331828"/>
                </a:moveTo>
                <a:cubicBezTo>
                  <a:pt x="8845349" y="342559"/>
                  <a:pt x="8837472" y="359979"/>
                  <a:pt x="8842104" y="359979"/>
                </a:cubicBezTo>
                <a:cubicBezTo>
                  <a:pt x="8843959" y="350503"/>
                  <a:pt x="8859714" y="358446"/>
                  <a:pt x="8857860" y="346322"/>
                </a:cubicBezTo>
                <a:cubicBezTo>
                  <a:pt x="8851373" y="343673"/>
                  <a:pt x="8850446" y="331828"/>
                  <a:pt x="8840715" y="331828"/>
                </a:cubicBezTo>
                <a:close/>
                <a:moveTo>
                  <a:pt x="8919030" y="325696"/>
                </a:moveTo>
                <a:cubicBezTo>
                  <a:pt x="8922272" y="324720"/>
                  <a:pt x="8925054" y="327369"/>
                  <a:pt x="8925979" y="340190"/>
                </a:cubicBezTo>
                <a:cubicBezTo>
                  <a:pt x="8922272" y="341723"/>
                  <a:pt x="8921809" y="336984"/>
                  <a:pt x="8920882" y="330852"/>
                </a:cubicBezTo>
                <a:cubicBezTo>
                  <a:pt x="8917175" y="336984"/>
                  <a:pt x="8914858" y="336845"/>
                  <a:pt x="8910688" y="332386"/>
                </a:cubicBezTo>
                <a:cubicBezTo>
                  <a:pt x="8913005" y="330852"/>
                  <a:pt x="8916247" y="326533"/>
                  <a:pt x="8919030" y="325696"/>
                </a:cubicBezTo>
                <a:close/>
                <a:moveTo>
                  <a:pt x="5076566" y="323466"/>
                </a:moveTo>
                <a:cubicBezTo>
                  <a:pt x="5083055" y="323885"/>
                  <a:pt x="5089543" y="328344"/>
                  <a:pt x="5087225" y="337821"/>
                </a:cubicBezTo>
                <a:cubicBezTo>
                  <a:pt x="5079347" y="337821"/>
                  <a:pt x="5074713" y="331410"/>
                  <a:pt x="5065446" y="336567"/>
                </a:cubicBezTo>
                <a:cubicBezTo>
                  <a:pt x="5063591" y="327090"/>
                  <a:pt x="5070079" y="323049"/>
                  <a:pt x="5076566" y="323466"/>
                </a:cubicBezTo>
                <a:close/>
                <a:moveTo>
                  <a:pt x="6039963" y="318729"/>
                </a:moveTo>
                <a:cubicBezTo>
                  <a:pt x="6042280" y="320401"/>
                  <a:pt x="6045060" y="320819"/>
                  <a:pt x="6046914" y="323466"/>
                </a:cubicBezTo>
                <a:cubicBezTo>
                  <a:pt x="6047378" y="322491"/>
                  <a:pt x="6047841" y="322770"/>
                  <a:pt x="6048304" y="322073"/>
                </a:cubicBezTo>
                <a:cubicBezTo>
                  <a:pt x="6045523" y="320958"/>
                  <a:pt x="6042744" y="319564"/>
                  <a:pt x="6039963" y="318729"/>
                </a:cubicBezTo>
                <a:close/>
                <a:moveTo>
                  <a:pt x="5007984" y="316777"/>
                </a:moveTo>
                <a:cubicBezTo>
                  <a:pt x="5012619" y="317473"/>
                  <a:pt x="5016788" y="322770"/>
                  <a:pt x="5015863" y="333640"/>
                </a:cubicBezTo>
                <a:cubicBezTo>
                  <a:pt x="5007058" y="336706"/>
                  <a:pt x="5008449" y="319425"/>
                  <a:pt x="4997790" y="325696"/>
                </a:cubicBezTo>
                <a:cubicBezTo>
                  <a:pt x="4998717" y="319425"/>
                  <a:pt x="5003351" y="315941"/>
                  <a:pt x="5007984" y="316777"/>
                </a:cubicBezTo>
                <a:close/>
                <a:moveTo>
                  <a:pt x="8833300" y="282633"/>
                </a:moveTo>
                <a:cubicBezTo>
                  <a:pt x="8829130" y="283052"/>
                  <a:pt x="8824959" y="283052"/>
                  <a:pt x="8820326" y="283609"/>
                </a:cubicBezTo>
                <a:cubicBezTo>
                  <a:pt x="8823569" y="285143"/>
                  <a:pt x="8825424" y="287233"/>
                  <a:pt x="8829593" y="288765"/>
                </a:cubicBezTo>
                <a:cubicBezTo>
                  <a:pt x="8830983" y="287372"/>
                  <a:pt x="8831911" y="284864"/>
                  <a:pt x="8833300" y="282633"/>
                </a:cubicBezTo>
                <a:close/>
                <a:moveTo>
                  <a:pt x="8891225" y="277059"/>
                </a:moveTo>
                <a:cubicBezTo>
                  <a:pt x="8877322" y="277477"/>
                  <a:pt x="8860177" y="279569"/>
                  <a:pt x="8844886" y="281240"/>
                </a:cubicBezTo>
                <a:cubicBezTo>
                  <a:pt x="8855080" y="293504"/>
                  <a:pt x="8874543" y="284445"/>
                  <a:pt x="8882421" y="301030"/>
                </a:cubicBezTo>
                <a:cubicBezTo>
                  <a:pt x="8886591" y="295873"/>
                  <a:pt x="8891688" y="285560"/>
                  <a:pt x="8893542" y="277059"/>
                </a:cubicBezTo>
                <a:cubicBezTo>
                  <a:pt x="8892615" y="277059"/>
                  <a:pt x="8892153" y="276920"/>
                  <a:pt x="8891225" y="277059"/>
                </a:cubicBezTo>
                <a:close/>
                <a:moveTo>
                  <a:pt x="8887981" y="263402"/>
                </a:moveTo>
                <a:cubicBezTo>
                  <a:pt x="8880567" y="264378"/>
                  <a:pt x="8872226" y="265492"/>
                  <a:pt x="8872226" y="269534"/>
                </a:cubicBezTo>
                <a:cubicBezTo>
                  <a:pt x="8877322" y="270649"/>
                  <a:pt x="8887054" y="268558"/>
                  <a:pt x="8894005" y="268697"/>
                </a:cubicBezTo>
                <a:cubicBezTo>
                  <a:pt x="8893078" y="265910"/>
                  <a:pt x="8891225" y="264099"/>
                  <a:pt x="8887981" y="263402"/>
                </a:cubicBezTo>
                <a:close/>
                <a:moveTo>
                  <a:pt x="4543201" y="262984"/>
                </a:moveTo>
                <a:cubicBezTo>
                  <a:pt x="4554786" y="266886"/>
                  <a:pt x="4577029" y="268419"/>
                  <a:pt x="4602516" y="272322"/>
                </a:cubicBezTo>
                <a:cubicBezTo>
                  <a:pt x="4590468" y="278035"/>
                  <a:pt x="4551542" y="284167"/>
                  <a:pt x="4543201" y="262984"/>
                </a:cubicBezTo>
                <a:close/>
                <a:moveTo>
                  <a:pt x="6340704" y="262148"/>
                </a:moveTo>
                <a:cubicBezTo>
                  <a:pt x="6339779" y="262426"/>
                  <a:pt x="6339314" y="263681"/>
                  <a:pt x="6338387" y="264517"/>
                </a:cubicBezTo>
                <a:cubicBezTo>
                  <a:pt x="6340242" y="264238"/>
                  <a:pt x="6341632" y="263820"/>
                  <a:pt x="6343485" y="263402"/>
                </a:cubicBezTo>
                <a:cubicBezTo>
                  <a:pt x="6342560" y="262984"/>
                  <a:pt x="6341632" y="261868"/>
                  <a:pt x="6340704" y="262148"/>
                </a:cubicBezTo>
                <a:close/>
                <a:moveTo>
                  <a:pt x="6295755" y="261172"/>
                </a:moveTo>
                <a:cubicBezTo>
                  <a:pt x="6291123" y="260336"/>
                  <a:pt x="6286951" y="261730"/>
                  <a:pt x="6281391" y="269534"/>
                </a:cubicBezTo>
                <a:cubicBezTo>
                  <a:pt x="6295755" y="272878"/>
                  <a:pt x="6301780" y="282912"/>
                  <a:pt x="6311048" y="267165"/>
                </a:cubicBezTo>
                <a:cubicBezTo>
                  <a:pt x="6305023" y="265492"/>
                  <a:pt x="6300390" y="262148"/>
                  <a:pt x="6295755" y="261172"/>
                </a:cubicBezTo>
                <a:close/>
                <a:moveTo>
                  <a:pt x="6331900" y="255040"/>
                </a:moveTo>
                <a:cubicBezTo>
                  <a:pt x="6330973" y="258943"/>
                  <a:pt x="6331438" y="261033"/>
                  <a:pt x="6332363" y="262565"/>
                </a:cubicBezTo>
                <a:cubicBezTo>
                  <a:pt x="6335144" y="260336"/>
                  <a:pt x="6337925" y="258802"/>
                  <a:pt x="6341169" y="257409"/>
                </a:cubicBezTo>
                <a:cubicBezTo>
                  <a:pt x="6337461" y="257131"/>
                  <a:pt x="6334217" y="257131"/>
                  <a:pt x="6331900" y="255040"/>
                </a:cubicBezTo>
                <a:close/>
                <a:moveTo>
                  <a:pt x="5130785" y="238734"/>
                </a:moveTo>
                <a:cubicBezTo>
                  <a:pt x="5143759" y="240129"/>
                  <a:pt x="5156735" y="245285"/>
                  <a:pt x="5166003" y="253646"/>
                </a:cubicBezTo>
                <a:cubicBezTo>
                  <a:pt x="5145613" y="266049"/>
                  <a:pt x="5127077" y="234275"/>
                  <a:pt x="5096493" y="246678"/>
                </a:cubicBezTo>
                <a:cubicBezTo>
                  <a:pt x="5105297" y="239849"/>
                  <a:pt x="5117809" y="237341"/>
                  <a:pt x="5130785" y="238734"/>
                </a:cubicBezTo>
                <a:close/>
                <a:moveTo>
                  <a:pt x="8851836" y="225635"/>
                </a:moveTo>
                <a:cubicBezTo>
                  <a:pt x="8850910" y="228144"/>
                  <a:pt x="8849983" y="230235"/>
                  <a:pt x="8849056" y="232602"/>
                </a:cubicBezTo>
                <a:cubicBezTo>
                  <a:pt x="8854153" y="231488"/>
                  <a:pt x="8855080" y="228840"/>
                  <a:pt x="8854618" y="225635"/>
                </a:cubicBezTo>
                <a:cubicBezTo>
                  <a:pt x="8853227" y="225356"/>
                  <a:pt x="8853227" y="226193"/>
                  <a:pt x="8851836" y="225635"/>
                </a:cubicBezTo>
                <a:close/>
                <a:moveTo>
                  <a:pt x="6903266" y="218528"/>
                </a:moveTo>
                <a:cubicBezTo>
                  <a:pt x="6901410" y="218528"/>
                  <a:pt x="6900021" y="219224"/>
                  <a:pt x="6899094" y="220339"/>
                </a:cubicBezTo>
                <a:cubicBezTo>
                  <a:pt x="6896314" y="222708"/>
                  <a:pt x="6893534" y="226193"/>
                  <a:pt x="6886582" y="227447"/>
                </a:cubicBezTo>
                <a:cubicBezTo>
                  <a:pt x="6889827" y="234136"/>
                  <a:pt x="6899094" y="245424"/>
                  <a:pt x="6905118" y="248490"/>
                </a:cubicBezTo>
                <a:cubicBezTo>
                  <a:pt x="6903728" y="244728"/>
                  <a:pt x="6911607" y="237759"/>
                  <a:pt x="6908362" y="230235"/>
                </a:cubicBezTo>
                <a:cubicBezTo>
                  <a:pt x="6903266" y="230652"/>
                  <a:pt x="6896314" y="232882"/>
                  <a:pt x="6895851" y="226889"/>
                </a:cubicBezTo>
                <a:cubicBezTo>
                  <a:pt x="6900948" y="226471"/>
                  <a:pt x="6909753" y="227447"/>
                  <a:pt x="6911142" y="221315"/>
                </a:cubicBezTo>
                <a:cubicBezTo>
                  <a:pt x="6907435" y="219364"/>
                  <a:pt x="6904656" y="218667"/>
                  <a:pt x="6903266" y="218528"/>
                </a:cubicBezTo>
                <a:close/>
                <a:moveTo>
                  <a:pt x="6021892" y="208772"/>
                </a:moveTo>
                <a:cubicBezTo>
                  <a:pt x="6030233" y="223823"/>
                  <a:pt x="6002427" y="219922"/>
                  <a:pt x="5995939" y="223684"/>
                </a:cubicBezTo>
                <a:cubicBezTo>
                  <a:pt x="5986209" y="208633"/>
                  <a:pt x="6014014" y="212534"/>
                  <a:pt x="6021892" y="208772"/>
                </a:cubicBezTo>
                <a:close/>
                <a:moveTo>
                  <a:pt x="7096037" y="187171"/>
                </a:moveTo>
                <a:cubicBezTo>
                  <a:pt x="7090477" y="196230"/>
                  <a:pt x="7097891" y="192188"/>
                  <a:pt x="7097891" y="202640"/>
                </a:cubicBezTo>
                <a:cubicBezTo>
                  <a:pt x="7091867" y="202640"/>
                  <a:pt x="7085842" y="202640"/>
                  <a:pt x="7085842" y="207936"/>
                </a:cubicBezTo>
                <a:cubicBezTo>
                  <a:pt x="7082136" y="201386"/>
                  <a:pt x="7072867" y="202780"/>
                  <a:pt x="7074721" y="192467"/>
                </a:cubicBezTo>
                <a:cubicBezTo>
                  <a:pt x="7086305" y="195115"/>
                  <a:pt x="7088160" y="188425"/>
                  <a:pt x="7096037" y="187171"/>
                </a:cubicBezTo>
                <a:close/>
                <a:moveTo>
                  <a:pt x="7241543" y="183966"/>
                </a:moveTo>
                <a:cubicBezTo>
                  <a:pt x="7230422" y="185220"/>
                  <a:pt x="7229032" y="199713"/>
                  <a:pt x="7230422" y="209190"/>
                </a:cubicBezTo>
                <a:cubicBezTo>
                  <a:pt x="7242005" y="209190"/>
                  <a:pt x="7238298" y="194697"/>
                  <a:pt x="7241543" y="183966"/>
                </a:cubicBezTo>
                <a:close/>
                <a:moveTo>
                  <a:pt x="9444054" y="178810"/>
                </a:moveTo>
                <a:cubicBezTo>
                  <a:pt x="9449153" y="182990"/>
                  <a:pt x="9449615" y="194278"/>
                  <a:pt x="9459346" y="194278"/>
                </a:cubicBezTo>
                <a:lnTo>
                  <a:pt x="9459346" y="219085"/>
                </a:lnTo>
                <a:cubicBezTo>
                  <a:pt x="9456102" y="213650"/>
                  <a:pt x="9443128" y="196927"/>
                  <a:pt x="9446371" y="220339"/>
                </a:cubicBezTo>
                <a:cubicBezTo>
                  <a:pt x="9441274" y="210723"/>
                  <a:pt x="9439421" y="212117"/>
                  <a:pt x="9429689" y="217691"/>
                </a:cubicBezTo>
                <a:cubicBezTo>
                  <a:pt x="9424591" y="206543"/>
                  <a:pt x="9439421" y="198041"/>
                  <a:pt x="9424591" y="200828"/>
                </a:cubicBezTo>
                <a:cubicBezTo>
                  <a:pt x="9424591" y="185638"/>
                  <a:pt x="9440811" y="188565"/>
                  <a:pt x="9444054" y="178810"/>
                </a:cubicBezTo>
                <a:close/>
                <a:moveTo>
                  <a:pt x="8956565" y="178810"/>
                </a:moveTo>
                <a:cubicBezTo>
                  <a:pt x="8962124" y="183826"/>
                  <a:pt x="8970002" y="193860"/>
                  <a:pt x="8966296" y="201386"/>
                </a:cubicBezTo>
                <a:cubicBezTo>
                  <a:pt x="8957954" y="203894"/>
                  <a:pt x="8962124" y="188983"/>
                  <a:pt x="8951465" y="195115"/>
                </a:cubicBezTo>
                <a:cubicBezTo>
                  <a:pt x="8950076" y="185220"/>
                  <a:pt x="8956565" y="186334"/>
                  <a:pt x="8956565" y="178810"/>
                </a:cubicBezTo>
                <a:close/>
                <a:moveTo>
                  <a:pt x="8942662" y="172678"/>
                </a:moveTo>
                <a:cubicBezTo>
                  <a:pt x="8945906" y="172957"/>
                  <a:pt x="8950540" y="175604"/>
                  <a:pt x="8955173" y="175604"/>
                </a:cubicBezTo>
                <a:cubicBezTo>
                  <a:pt x="8955173" y="190515"/>
                  <a:pt x="8941734" y="190515"/>
                  <a:pt x="8935710" y="182990"/>
                </a:cubicBezTo>
                <a:cubicBezTo>
                  <a:pt x="8936637" y="174628"/>
                  <a:pt x="8939417" y="172399"/>
                  <a:pt x="8942662" y="172678"/>
                </a:cubicBezTo>
                <a:close/>
                <a:moveTo>
                  <a:pt x="7125230" y="166127"/>
                </a:moveTo>
                <a:cubicBezTo>
                  <a:pt x="7129865" y="174768"/>
                  <a:pt x="7152107" y="196927"/>
                  <a:pt x="7133571" y="199296"/>
                </a:cubicBezTo>
                <a:cubicBezTo>
                  <a:pt x="7138206" y="177137"/>
                  <a:pt x="7122450" y="196927"/>
                  <a:pt x="7125230" y="166127"/>
                </a:cubicBezTo>
                <a:close/>
                <a:moveTo>
                  <a:pt x="8837472" y="139091"/>
                </a:moveTo>
                <a:cubicBezTo>
                  <a:pt x="8837008" y="139510"/>
                  <a:pt x="8837472" y="140346"/>
                  <a:pt x="8839325" y="142436"/>
                </a:cubicBezTo>
                <a:cubicBezTo>
                  <a:pt x="8843959" y="143691"/>
                  <a:pt x="8839325" y="149404"/>
                  <a:pt x="8836082" y="150658"/>
                </a:cubicBezTo>
                <a:cubicBezTo>
                  <a:pt x="8823106" y="142715"/>
                  <a:pt x="8819862" y="149265"/>
                  <a:pt x="8806889" y="157209"/>
                </a:cubicBezTo>
                <a:cubicBezTo>
                  <a:pt x="8813375" y="162644"/>
                  <a:pt x="8817545" y="170447"/>
                  <a:pt x="8822179" y="178252"/>
                </a:cubicBezTo>
                <a:cubicBezTo>
                  <a:pt x="8824959" y="178949"/>
                  <a:pt x="8826351" y="178391"/>
                  <a:pt x="8828666" y="179228"/>
                </a:cubicBezTo>
                <a:cubicBezTo>
                  <a:pt x="8831911" y="182433"/>
                  <a:pt x="8831911" y="185220"/>
                  <a:pt x="8830983" y="188147"/>
                </a:cubicBezTo>
                <a:cubicBezTo>
                  <a:pt x="8831911" y="189541"/>
                  <a:pt x="8832838" y="191491"/>
                  <a:pt x="8834228" y="192884"/>
                </a:cubicBezTo>
                <a:cubicBezTo>
                  <a:pt x="8835617" y="190794"/>
                  <a:pt x="8837472" y="190098"/>
                  <a:pt x="8841179" y="190515"/>
                </a:cubicBezTo>
                <a:cubicBezTo>
                  <a:pt x="8845813" y="177555"/>
                  <a:pt x="8848128" y="166546"/>
                  <a:pt x="8851836" y="145084"/>
                </a:cubicBezTo>
                <a:cubicBezTo>
                  <a:pt x="8849520" y="143133"/>
                  <a:pt x="8839325" y="138116"/>
                  <a:pt x="8837472" y="139091"/>
                </a:cubicBezTo>
                <a:close/>
                <a:moveTo>
                  <a:pt x="7291126" y="136723"/>
                </a:moveTo>
                <a:cubicBezTo>
                  <a:pt x="7288809" y="136861"/>
                  <a:pt x="7286027" y="137419"/>
                  <a:pt x="7283713" y="137698"/>
                </a:cubicBezTo>
                <a:cubicBezTo>
                  <a:pt x="7286954" y="138673"/>
                  <a:pt x="7280004" y="144666"/>
                  <a:pt x="7287882" y="143691"/>
                </a:cubicBezTo>
                <a:cubicBezTo>
                  <a:pt x="7288809" y="141322"/>
                  <a:pt x="7290200" y="139231"/>
                  <a:pt x="7291126" y="136723"/>
                </a:cubicBezTo>
                <a:close/>
                <a:moveTo>
                  <a:pt x="6359242" y="135886"/>
                </a:moveTo>
                <a:cubicBezTo>
                  <a:pt x="6365266" y="137141"/>
                  <a:pt x="6371288" y="140625"/>
                  <a:pt x="6378703" y="143273"/>
                </a:cubicBezTo>
                <a:cubicBezTo>
                  <a:pt x="6365728" y="130172"/>
                  <a:pt x="6445432" y="139788"/>
                  <a:pt x="6397239" y="142436"/>
                </a:cubicBezTo>
                <a:cubicBezTo>
                  <a:pt x="6387971" y="152888"/>
                  <a:pt x="6378703" y="143412"/>
                  <a:pt x="6372216" y="151216"/>
                </a:cubicBezTo>
                <a:cubicBezTo>
                  <a:pt x="6368973" y="148707"/>
                  <a:pt x="6365728" y="144806"/>
                  <a:pt x="6364339" y="140903"/>
                </a:cubicBezTo>
                <a:cubicBezTo>
                  <a:pt x="6359242" y="146199"/>
                  <a:pt x="6352752" y="154143"/>
                  <a:pt x="6341632" y="142436"/>
                </a:cubicBezTo>
                <a:cubicBezTo>
                  <a:pt x="6348118" y="135747"/>
                  <a:pt x="6353680" y="134493"/>
                  <a:pt x="6359242" y="135886"/>
                </a:cubicBezTo>
                <a:close/>
                <a:moveTo>
                  <a:pt x="6866658" y="133795"/>
                </a:moveTo>
                <a:cubicBezTo>
                  <a:pt x="6868048" y="133935"/>
                  <a:pt x="6869438" y="134910"/>
                  <a:pt x="6870365" y="136723"/>
                </a:cubicBezTo>
                <a:cubicBezTo>
                  <a:pt x="6867122" y="147731"/>
                  <a:pt x="6855537" y="153306"/>
                  <a:pt x="6850438" y="144247"/>
                </a:cubicBezTo>
                <a:cubicBezTo>
                  <a:pt x="6853220" y="140484"/>
                  <a:pt x="6856927" y="137141"/>
                  <a:pt x="6861096" y="135329"/>
                </a:cubicBezTo>
                <a:cubicBezTo>
                  <a:pt x="6862951" y="134353"/>
                  <a:pt x="6864803" y="133656"/>
                  <a:pt x="6866658" y="133795"/>
                </a:cubicBezTo>
                <a:close/>
                <a:moveTo>
                  <a:pt x="8479731" y="131427"/>
                </a:moveTo>
                <a:cubicBezTo>
                  <a:pt x="8457487" y="143550"/>
                  <a:pt x="8429220" y="127804"/>
                  <a:pt x="8419489" y="149265"/>
                </a:cubicBezTo>
                <a:cubicBezTo>
                  <a:pt x="8435709" y="155954"/>
                  <a:pt x="8473707" y="156929"/>
                  <a:pt x="8479731" y="131427"/>
                </a:cubicBezTo>
                <a:close/>
                <a:moveTo>
                  <a:pt x="8795765" y="130590"/>
                </a:moveTo>
                <a:cubicBezTo>
                  <a:pt x="8773522" y="129197"/>
                  <a:pt x="8796230" y="154421"/>
                  <a:pt x="8781864" y="163758"/>
                </a:cubicBezTo>
                <a:cubicBezTo>
                  <a:pt x="8797620" y="163758"/>
                  <a:pt x="8797157" y="148011"/>
                  <a:pt x="8795765" y="130590"/>
                </a:cubicBezTo>
                <a:close/>
                <a:moveTo>
                  <a:pt x="6341632" y="130590"/>
                </a:moveTo>
                <a:cubicBezTo>
                  <a:pt x="6339779" y="157209"/>
                  <a:pt x="6323559" y="140764"/>
                  <a:pt x="6312437" y="139091"/>
                </a:cubicBezTo>
                <a:cubicBezTo>
                  <a:pt x="6314292" y="127524"/>
                  <a:pt x="6332363" y="135607"/>
                  <a:pt x="6341632" y="130590"/>
                </a:cubicBezTo>
                <a:close/>
                <a:moveTo>
                  <a:pt x="6842098" y="129057"/>
                </a:moveTo>
                <a:cubicBezTo>
                  <a:pt x="6845805" y="158184"/>
                  <a:pt x="6803636" y="149125"/>
                  <a:pt x="6780002" y="151634"/>
                </a:cubicBezTo>
                <a:cubicBezTo>
                  <a:pt x="6778149" y="145364"/>
                  <a:pt x="6776758" y="143133"/>
                  <a:pt x="6771662" y="141879"/>
                </a:cubicBezTo>
                <a:cubicBezTo>
                  <a:pt x="6786954" y="131705"/>
                  <a:pt x="6823561" y="151913"/>
                  <a:pt x="6842098" y="129057"/>
                </a:cubicBezTo>
                <a:close/>
                <a:moveTo>
                  <a:pt x="8762402" y="128918"/>
                </a:moveTo>
                <a:cubicBezTo>
                  <a:pt x="8761474" y="128082"/>
                  <a:pt x="8760547" y="127804"/>
                  <a:pt x="8757768" y="129057"/>
                </a:cubicBezTo>
                <a:cubicBezTo>
                  <a:pt x="8740159" y="164037"/>
                  <a:pt x="8698454" y="139788"/>
                  <a:pt x="8671112" y="167939"/>
                </a:cubicBezTo>
                <a:cubicBezTo>
                  <a:pt x="8681771" y="176719"/>
                  <a:pt x="8697526" y="159020"/>
                  <a:pt x="8703550" y="178252"/>
                </a:cubicBezTo>
                <a:cubicBezTo>
                  <a:pt x="8706330" y="172817"/>
                  <a:pt x="8697989" y="167660"/>
                  <a:pt x="8706330" y="161947"/>
                </a:cubicBezTo>
                <a:cubicBezTo>
                  <a:pt x="8708184" y="164873"/>
                  <a:pt x="8711891" y="165291"/>
                  <a:pt x="8714208" y="167103"/>
                </a:cubicBezTo>
                <a:cubicBezTo>
                  <a:pt x="8721159" y="163061"/>
                  <a:pt x="8732745" y="161668"/>
                  <a:pt x="8737842" y="167103"/>
                </a:cubicBezTo>
                <a:cubicBezTo>
                  <a:pt x="8737842" y="170866"/>
                  <a:pt x="8734135" y="171563"/>
                  <a:pt x="8732280" y="173235"/>
                </a:cubicBezTo>
                <a:cubicBezTo>
                  <a:pt x="8741085" y="173931"/>
                  <a:pt x="8749426" y="175604"/>
                  <a:pt x="8758694" y="175882"/>
                </a:cubicBezTo>
                <a:cubicBezTo>
                  <a:pt x="8763329" y="162365"/>
                  <a:pt x="8766571" y="152191"/>
                  <a:pt x="8770279" y="135886"/>
                </a:cubicBezTo>
                <a:cubicBezTo>
                  <a:pt x="8763329" y="140903"/>
                  <a:pt x="8765181" y="131566"/>
                  <a:pt x="8762402" y="128918"/>
                </a:cubicBezTo>
                <a:close/>
                <a:moveTo>
                  <a:pt x="6289993" y="128461"/>
                </a:moveTo>
                <a:cubicBezTo>
                  <a:pt x="6294337" y="129440"/>
                  <a:pt x="6299464" y="133517"/>
                  <a:pt x="6302243" y="133517"/>
                </a:cubicBezTo>
                <a:cubicBezTo>
                  <a:pt x="6298537" y="149823"/>
                  <a:pt x="6288806" y="142576"/>
                  <a:pt x="6282317" y="135329"/>
                </a:cubicBezTo>
                <a:cubicBezTo>
                  <a:pt x="6282781" y="131705"/>
                  <a:pt x="6284171" y="129614"/>
                  <a:pt x="6286023" y="128779"/>
                </a:cubicBezTo>
                <a:cubicBezTo>
                  <a:pt x="6287183" y="128152"/>
                  <a:pt x="6288544" y="128134"/>
                  <a:pt x="6289993" y="128461"/>
                </a:cubicBezTo>
                <a:close/>
                <a:moveTo>
                  <a:pt x="6932922" y="127246"/>
                </a:moveTo>
                <a:cubicBezTo>
                  <a:pt x="6925045" y="126549"/>
                  <a:pt x="6918094" y="127524"/>
                  <a:pt x="6912069" y="130590"/>
                </a:cubicBezTo>
                <a:cubicBezTo>
                  <a:pt x="6926435" y="136026"/>
                  <a:pt x="6942190" y="139091"/>
                  <a:pt x="6956092" y="130590"/>
                </a:cubicBezTo>
                <a:cubicBezTo>
                  <a:pt x="6948677" y="129476"/>
                  <a:pt x="6940801" y="127943"/>
                  <a:pt x="6932922" y="127246"/>
                </a:cubicBezTo>
                <a:close/>
                <a:moveTo>
                  <a:pt x="5929213" y="125016"/>
                </a:moveTo>
                <a:cubicBezTo>
                  <a:pt x="5956089" y="134632"/>
                  <a:pt x="5961186" y="141739"/>
                  <a:pt x="5986674" y="127804"/>
                </a:cubicBezTo>
                <a:cubicBezTo>
                  <a:pt x="5990844" y="141739"/>
                  <a:pt x="5974161" y="131705"/>
                  <a:pt x="5976016" y="144247"/>
                </a:cubicBezTo>
                <a:cubicBezTo>
                  <a:pt x="5957943" y="137279"/>
                  <a:pt x="5943115" y="149823"/>
                  <a:pt x="5926431" y="145641"/>
                </a:cubicBezTo>
                <a:cubicBezTo>
                  <a:pt x="5929675" y="140067"/>
                  <a:pt x="5931066" y="133238"/>
                  <a:pt x="5929213" y="125016"/>
                </a:cubicBezTo>
                <a:close/>
                <a:moveTo>
                  <a:pt x="7121988" y="124597"/>
                </a:moveTo>
                <a:cubicBezTo>
                  <a:pt x="7123840" y="123344"/>
                  <a:pt x="7125230" y="125713"/>
                  <a:pt x="7125230" y="128221"/>
                </a:cubicBezTo>
                <a:cubicBezTo>
                  <a:pt x="7135426" y="129476"/>
                  <a:pt x="7153961" y="138394"/>
                  <a:pt x="7176668" y="135886"/>
                </a:cubicBezTo>
                <a:cubicBezTo>
                  <a:pt x="7173424" y="158324"/>
                  <a:pt x="7141913" y="120557"/>
                  <a:pt x="7147010" y="149265"/>
                </a:cubicBezTo>
                <a:cubicBezTo>
                  <a:pt x="7141913" y="142994"/>
                  <a:pt x="7127085" y="149544"/>
                  <a:pt x="7121988" y="143273"/>
                </a:cubicBezTo>
                <a:cubicBezTo>
                  <a:pt x="7128474" y="135747"/>
                  <a:pt x="7121988" y="133378"/>
                  <a:pt x="7121988" y="124597"/>
                </a:cubicBezTo>
                <a:close/>
                <a:moveTo>
                  <a:pt x="6042280" y="122228"/>
                </a:moveTo>
                <a:cubicBezTo>
                  <a:pt x="6047841" y="122228"/>
                  <a:pt x="6053402" y="126688"/>
                  <a:pt x="6051549" y="137141"/>
                </a:cubicBezTo>
                <a:cubicBezTo>
                  <a:pt x="6047841" y="131566"/>
                  <a:pt x="6039036" y="132960"/>
                  <a:pt x="6030233" y="134353"/>
                </a:cubicBezTo>
                <a:cubicBezTo>
                  <a:pt x="6030233" y="126688"/>
                  <a:pt x="6036719" y="122228"/>
                  <a:pt x="6042280" y="122228"/>
                </a:cubicBezTo>
                <a:close/>
                <a:moveTo>
                  <a:pt x="6223004" y="120835"/>
                </a:moveTo>
                <a:cubicBezTo>
                  <a:pt x="6238294" y="136583"/>
                  <a:pt x="6257294" y="121950"/>
                  <a:pt x="6277684" y="131148"/>
                </a:cubicBezTo>
                <a:cubicBezTo>
                  <a:pt x="6271196" y="140346"/>
                  <a:pt x="6250805" y="133935"/>
                  <a:pt x="6242929" y="141879"/>
                </a:cubicBezTo>
                <a:cubicBezTo>
                  <a:pt x="6239685" y="122089"/>
                  <a:pt x="6222539" y="145781"/>
                  <a:pt x="6217905" y="128779"/>
                </a:cubicBezTo>
                <a:cubicBezTo>
                  <a:pt x="6217905" y="124877"/>
                  <a:pt x="6224394" y="125991"/>
                  <a:pt x="6223004" y="120835"/>
                </a:cubicBezTo>
                <a:close/>
                <a:moveTo>
                  <a:pt x="7244787" y="116654"/>
                </a:moveTo>
                <a:cubicBezTo>
                  <a:pt x="7250810" y="117908"/>
                  <a:pt x="7245712" y="135747"/>
                  <a:pt x="7247567" y="143273"/>
                </a:cubicBezTo>
                <a:cubicBezTo>
                  <a:pt x="7238298" y="145781"/>
                  <a:pt x="7229032" y="145641"/>
                  <a:pt x="7225787" y="137976"/>
                </a:cubicBezTo>
                <a:cubicBezTo>
                  <a:pt x="7229032" y="122786"/>
                  <a:pt x="7236908" y="135468"/>
                  <a:pt x="7244787" y="127804"/>
                </a:cubicBezTo>
                <a:close/>
                <a:moveTo>
                  <a:pt x="6147470" y="116654"/>
                </a:moveTo>
                <a:cubicBezTo>
                  <a:pt x="6152568" y="120416"/>
                  <a:pt x="6153958" y="130729"/>
                  <a:pt x="6157201" y="135886"/>
                </a:cubicBezTo>
                <a:cubicBezTo>
                  <a:pt x="6172030" y="135886"/>
                  <a:pt x="6180372" y="132263"/>
                  <a:pt x="6180372" y="118047"/>
                </a:cubicBezTo>
                <a:cubicBezTo>
                  <a:pt x="6183615" y="120696"/>
                  <a:pt x="6191956" y="133517"/>
                  <a:pt x="6190102" y="118047"/>
                </a:cubicBezTo>
                <a:cubicBezTo>
                  <a:pt x="6204930" y="127107"/>
                  <a:pt x="6210028" y="129476"/>
                  <a:pt x="6217905" y="142436"/>
                </a:cubicBezTo>
                <a:cubicBezTo>
                  <a:pt x="6181761" y="147592"/>
                  <a:pt x="6145616" y="128221"/>
                  <a:pt x="6115961" y="154004"/>
                </a:cubicBezTo>
                <a:cubicBezTo>
                  <a:pt x="6119203" y="147592"/>
                  <a:pt x="6132178" y="130590"/>
                  <a:pt x="6114107" y="130590"/>
                </a:cubicBezTo>
                <a:cubicBezTo>
                  <a:pt x="6117350" y="120278"/>
                  <a:pt x="6149325" y="142436"/>
                  <a:pt x="6147470" y="116654"/>
                </a:cubicBezTo>
                <a:close/>
                <a:moveTo>
                  <a:pt x="6934312" y="116097"/>
                </a:moveTo>
                <a:cubicBezTo>
                  <a:pt x="6944507" y="116794"/>
                  <a:pt x="6954239" y="121950"/>
                  <a:pt x="6957946" y="129057"/>
                </a:cubicBezTo>
                <a:cubicBezTo>
                  <a:pt x="6960726" y="127246"/>
                  <a:pt x="6963505" y="126688"/>
                  <a:pt x="6965823" y="123623"/>
                </a:cubicBezTo>
                <a:cubicBezTo>
                  <a:pt x="6999651" y="143133"/>
                  <a:pt x="7039967" y="120835"/>
                  <a:pt x="7070550" y="126410"/>
                </a:cubicBezTo>
                <a:cubicBezTo>
                  <a:pt x="7075185" y="149962"/>
                  <a:pt x="7101134" y="127524"/>
                  <a:pt x="7117354" y="138534"/>
                </a:cubicBezTo>
                <a:cubicBezTo>
                  <a:pt x="7099743" y="163480"/>
                  <a:pt x="7071940" y="131566"/>
                  <a:pt x="7046453" y="141322"/>
                </a:cubicBezTo>
                <a:cubicBezTo>
                  <a:pt x="7044600" y="145502"/>
                  <a:pt x="7046453" y="148428"/>
                  <a:pt x="7049698" y="149823"/>
                </a:cubicBezTo>
                <a:cubicBezTo>
                  <a:pt x="7033480" y="149823"/>
                  <a:pt x="7004749" y="151216"/>
                  <a:pt x="6980189" y="155397"/>
                </a:cubicBezTo>
                <a:cubicBezTo>
                  <a:pt x="6982043" y="159578"/>
                  <a:pt x="6985286" y="158184"/>
                  <a:pt x="6988530" y="158184"/>
                </a:cubicBezTo>
                <a:cubicBezTo>
                  <a:pt x="6963970" y="163758"/>
                  <a:pt x="6930605" y="165013"/>
                  <a:pt x="6900021" y="178810"/>
                </a:cubicBezTo>
                <a:cubicBezTo>
                  <a:pt x="6924118" y="158044"/>
                  <a:pt x="6907900" y="134632"/>
                  <a:pt x="6894925" y="125016"/>
                </a:cubicBezTo>
                <a:cubicBezTo>
                  <a:pt x="6898631" y="126828"/>
                  <a:pt x="6905583" y="128221"/>
                  <a:pt x="6910680" y="130172"/>
                </a:cubicBezTo>
                <a:cubicBezTo>
                  <a:pt x="6913924" y="119860"/>
                  <a:pt x="6924118" y="115260"/>
                  <a:pt x="6934312" y="116097"/>
                </a:cubicBezTo>
                <a:close/>
                <a:moveTo>
                  <a:pt x="7756835" y="107178"/>
                </a:moveTo>
                <a:cubicBezTo>
                  <a:pt x="7757763" y="109686"/>
                  <a:pt x="7758227" y="110522"/>
                  <a:pt x="7760080" y="114286"/>
                </a:cubicBezTo>
                <a:cubicBezTo>
                  <a:pt x="7752204" y="116933"/>
                  <a:pt x="7751739" y="107317"/>
                  <a:pt x="7743862" y="111359"/>
                </a:cubicBezTo>
                <a:cubicBezTo>
                  <a:pt x="7743862" y="105923"/>
                  <a:pt x="7751739" y="107178"/>
                  <a:pt x="7756835" y="107178"/>
                </a:cubicBezTo>
                <a:close/>
                <a:moveTo>
                  <a:pt x="8837008" y="98258"/>
                </a:moveTo>
                <a:cubicBezTo>
                  <a:pt x="8835502" y="98293"/>
                  <a:pt x="8833765" y="98746"/>
                  <a:pt x="8831448" y="99792"/>
                </a:cubicBezTo>
                <a:cubicBezTo>
                  <a:pt x="8829593" y="106481"/>
                  <a:pt x="8821717" y="125155"/>
                  <a:pt x="8828204" y="127804"/>
                </a:cubicBezTo>
                <a:cubicBezTo>
                  <a:pt x="8830983" y="114425"/>
                  <a:pt x="8843496" y="111498"/>
                  <a:pt x="8849983" y="102021"/>
                </a:cubicBezTo>
                <a:cubicBezTo>
                  <a:pt x="8845813" y="102021"/>
                  <a:pt x="8843496" y="100349"/>
                  <a:pt x="8841179" y="99234"/>
                </a:cubicBezTo>
                <a:cubicBezTo>
                  <a:pt x="8839787" y="98607"/>
                  <a:pt x="8838514" y="98224"/>
                  <a:pt x="8837008" y="98258"/>
                </a:cubicBezTo>
                <a:close/>
                <a:moveTo>
                  <a:pt x="7660914" y="97980"/>
                </a:moveTo>
                <a:cubicBezTo>
                  <a:pt x="7662767" y="97701"/>
                  <a:pt x="7664622" y="98119"/>
                  <a:pt x="7666474" y="99234"/>
                </a:cubicBezTo>
                <a:cubicBezTo>
                  <a:pt x="7670646" y="101324"/>
                  <a:pt x="7675278" y="105923"/>
                  <a:pt x="7674353" y="110941"/>
                </a:cubicBezTo>
                <a:cubicBezTo>
                  <a:pt x="7664622" y="113588"/>
                  <a:pt x="7662767" y="125016"/>
                  <a:pt x="7648402" y="123623"/>
                </a:cubicBezTo>
                <a:cubicBezTo>
                  <a:pt x="7651646" y="108293"/>
                  <a:pt x="7640524" y="113310"/>
                  <a:pt x="7632647" y="113310"/>
                </a:cubicBezTo>
                <a:cubicBezTo>
                  <a:pt x="7630794" y="91569"/>
                  <a:pt x="7652109" y="110941"/>
                  <a:pt x="7658133" y="116097"/>
                </a:cubicBezTo>
                <a:cubicBezTo>
                  <a:pt x="7667865" y="113449"/>
                  <a:pt x="7663231" y="103136"/>
                  <a:pt x="7658133" y="100628"/>
                </a:cubicBezTo>
                <a:cubicBezTo>
                  <a:pt x="7658133" y="99094"/>
                  <a:pt x="7659524" y="98119"/>
                  <a:pt x="7660914" y="97980"/>
                </a:cubicBezTo>
                <a:close/>
                <a:moveTo>
                  <a:pt x="8709111" y="95611"/>
                </a:moveTo>
                <a:cubicBezTo>
                  <a:pt x="8705867" y="97004"/>
                  <a:pt x="8703086" y="100210"/>
                  <a:pt x="8701696" y="106202"/>
                </a:cubicBezTo>
                <a:cubicBezTo>
                  <a:pt x="8709576" y="104948"/>
                  <a:pt x="8720697" y="106341"/>
                  <a:pt x="8720697" y="95611"/>
                </a:cubicBezTo>
                <a:cubicBezTo>
                  <a:pt x="8716063" y="94216"/>
                  <a:pt x="8712355" y="94078"/>
                  <a:pt x="8709111" y="95611"/>
                </a:cubicBezTo>
                <a:close/>
                <a:moveTo>
                  <a:pt x="8762402" y="92684"/>
                </a:moveTo>
                <a:cubicBezTo>
                  <a:pt x="8759157" y="103415"/>
                  <a:pt x="8738770" y="95750"/>
                  <a:pt x="8740159" y="110383"/>
                </a:cubicBezTo>
                <a:cubicBezTo>
                  <a:pt x="8753133" y="113170"/>
                  <a:pt x="8772133" y="102021"/>
                  <a:pt x="8762402" y="92684"/>
                </a:cubicBezTo>
                <a:close/>
                <a:moveTo>
                  <a:pt x="8542288" y="90315"/>
                </a:moveTo>
                <a:lnTo>
                  <a:pt x="8529313" y="91430"/>
                </a:lnTo>
                <a:cubicBezTo>
                  <a:pt x="8527923" y="107456"/>
                  <a:pt x="8545533" y="106341"/>
                  <a:pt x="8542288" y="90315"/>
                </a:cubicBezTo>
                <a:close/>
                <a:moveTo>
                  <a:pt x="9235990" y="86831"/>
                </a:moveTo>
                <a:cubicBezTo>
                  <a:pt x="9238307" y="86831"/>
                  <a:pt x="9240162" y="87807"/>
                  <a:pt x="9241551" y="90315"/>
                </a:cubicBezTo>
                <a:cubicBezTo>
                  <a:pt x="9241551" y="106620"/>
                  <a:pt x="9228113" y="93381"/>
                  <a:pt x="9217455" y="101604"/>
                </a:cubicBezTo>
                <a:cubicBezTo>
                  <a:pt x="9218381" y="97423"/>
                  <a:pt x="9223016" y="92406"/>
                  <a:pt x="9228113" y="89340"/>
                </a:cubicBezTo>
                <a:cubicBezTo>
                  <a:pt x="9230893" y="87807"/>
                  <a:pt x="9233672" y="86831"/>
                  <a:pt x="9235990" y="86831"/>
                </a:cubicBezTo>
                <a:close/>
                <a:moveTo>
                  <a:pt x="5783243" y="86134"/>
                </a:moveTo>
                <a:cubicBezTo>
                  <a:pt x="5786025" y="85437"/>
                  <a:pt x="5789268" y="86134"/>
                  <a:pt x="5794365" y="88503"/>
                </a:cubicBezTo>
                <a:cubicBezTo>
                  <a:pt x="5796218" y="96307"/>
                  <a:pt x="5792047" y="98677"/>
                  <a:pt x="5790194" y="103973"/>
                </a:cubicBezTo>
                <a:cubicBezTo>
                  <a:pt x="5779536" y="100907"/>
                  <a:pt x="5776292" y="88364"/>
                  <a:pt x="5783243" y="86134"/>
                </a:cubicBezTo>
                <a:close/>
                <a:moveTo>
                  <a:pt x="8507998" y="82789"/>
                </a:moveTo>
                <a:cubicBezTo>
                  <a:pt x="8502900" y="82232"/>
                  <a:pt x="8499194" y="84044"/>
                  <a:pt x="8501046" y="94078"/>
                </a:cubicBezTo>
                <a:cubicBezTo>
                  <a:pt x="8507535" y="95472"/>
                  <a:pt x="8521436" y="102300"/>
                  <a:pt x="8522826" y="87527"/>
                </a:cubicBezTo>
                <a:cubicBezTo>
                  <a:pt x="8519119" y="86970"/>
                  <a:pt x="8513095" y="83486"/>
                  <a:pt x="8507998" y="82789"/>
                </a:cubicBezTo>
                <a:close/>
                <a:moveTo>
                  <a:pt x="7862954" y="74846"/>
                </a:moveTo>
                <a:cubicBezTo>
                  <a:pt x="7862954" y="85159"/>
                  <a:pt x="7857857" y="90454"/>
                  <a:pt x="7848126" y="91708"/>
                </a:cubicBezTo>
                <a:lnTo>
                  <a:pt x="7848126" y="76379"/>
                </a:lnTo>
                <a:close/>
                <a:moveTo>
                  <a:pt x="7748496" y="74846"/>
                </a:moveTo>
                <a:cubicBezTo>
                  <a:pt x="7748496" y="91569"/>
                  <a:pt x="7750813" y="95192"/>
                  <a:pt x="7756835" y="107178"/>
                </a:cubicBezTo>
                <a:cubicBezTo>
                  <a:pt x="7754983" y="99094"/>
                  <a:pt x="7743862" y="104529"/>
                  <a:pt x="7742007" y="95053"/>
                </a:cubicBezTo>
                <a:cubicBezTo>
                  <a:pt x="7729496" y="124738"/>
                  <a:pt x="7703083" y="122089"/>
                  <a:pt x="7680840" y="132960"/>
                </a:cubicBezTo>
                <a:cubicBezTo>
                  <a:pt x="7684085" y="119441"/>
                  <a:pt x="7699840" y="107456"/>
                  <a:pt x="7682229" y="100628"/>
                </a:cubicBezTo>
                <a:cubicBezTo>
                  <a:pt x="7696596" y="106063"/>
                  <a:pt x="7745714" y="112752"/>
                  <a:pt x="7748496" y="74846"/>
                </a:cubicBezTo>
                <a:close/>
                <a:moveTo>
                  <a:pt x="8857860" y="72476"/>
                </a:moveTo>
                <a:lnTo>
                  <a:pt x="8848593" y="74009"/>
                </a:lnTo>
                <a:cubicBezTo>
                  <a:pt x="8850446" y="83347"/>
                  <a:pt x="8854618" y="84741"/>
                  <a:pt x="8849983" y="94078"/>
                </a:cubicBezTo>
                <a:cubicBezTo>
                  <a:pt x="8854618" y="92823"/>
                  <a:pt x="8861567" y="94357"/>
                  <a:pt x="8862959" y="89060"/>
                </a:cubicBezTo>
                <a:cubicBezTo>
                  <a:pt x="8849056" y="90315"/>
                  <a:pt x="8859714" y="80560"/>
                  <a:pt x="8857860" y="72476"/>
                </a:cubicBezTo>
                <a:close/>
                <a:moveTo>
                  <a:pt x="7889831" y="70665"/>
                </a:moveTo>
                <a:cubicBezTo>
                  <a:pt x="7898635" y="74846"/>
                  <a:pt x="7902342" y="86134"/>
                  <a:pt x="7913001" y="90315"/>
                </a:cubicBezTo>
                <a:cubicBezTo>
                  <a:pt x="7909293" y="95889"/>
                  <a:pt x="7887976" y="87249"/>
                  <a:pt x="7889831" y="70665"/>
                </a:cubicBezTo>
                <a:close/>
                <a:moveTo>
                  <a:pt x="8093261" y="69968"/>
                </a:moveTo>
                <a:cubicBezTo>
                  <a:pt x="8079822" y="72199"/>
                  <a:pt x="8064067" y="81953"/>
                  <a:pt x="8079359" y="97004"/>
                </a:cubicBezTo>
                <a:cubicBezTo>
                  <a:pt x="8085846" y="78190"/>
                  <a:pt x="8096967" y="90315"/>
                  <a:pt x="8111333" y="90315"/>
                </a:cubicBezTo>
                <a:cubicBezTo>
                  <a:pt x="8106236" y="79585"/>
                  <a:pt x="8113185" y="76657"/>
                  <a:pt x="8108553" y="74009"/>
                </a:cubicBezTo>
                <a:cubicBezTo>
                  <a:pt x="8103919" y="87388"/>
                  <a:pt x="8100212" y="68992"/>
                  <a:pt x="8104846" y="70386"/>
                </a:cubicBezTo>
                <a:cubicBezTo>
                  <a:pt x="8102064" y="69272"/>
                  <a:pt x="8097895" y="69272"/>
                  <a:pt x="8093261" y="69968"/>
                </a:cubicBezTo>
                <a:close/>
                <a:moveTo>
                  <a:pt x="8193817" y="68853"/>
                </a:moveTo>
                <a:cubicBezTo>
                  <a:pt x="8179451" y="70665"/>
                  <a:pt x="8161842" y="80002"/>
                  <a:pt x="8146086" y="81953"/>
                </a:cubicBezTo>
                <a:cubicBezTo>
                  <a:pt x="8160452" y="99373"/>
                  <a:pt x="8197524" y="89060"/>
                  <a:pt x="8207256" y="70386"/>
                </a:cubicBezTo>
                <a:cubicBezTo>
                  <a:pt x="8203084" y="68714"/>
                  <a:pt x="8198452" y="68296"/>
                  <a:pt x="8193817" y="68853"/>
                </a:cubicBezTo>
                <a:close/>
                <a:moveTo>
                  <a:pt x="7231347" y="62303"/>
                </a:moveTo>
                <a:cubicBezTo>
                  <a:pt x="7238763" y="69968"/>
                  <a:pt x="7241543" y="71641"/>
                  <a:pt x="7250810" y="65649"/>
                </a:cubicBezTo>
                <a:cubicBezTo>
                  <a:pt x="7249420" y="68575"/>
                  <a:pt x="7247567" y="73173"/>
                  <a:pt x="7247567" y="79166"/>
                </a:cubicBezTo>
                <a:cubicBezTo>
                  <a:pt x="7239688" y="76239"/>
                  <a:pt x="7232739" y="74428"/>
                  <a:pt x="7231347" y="62303"/>
                </a:cubicBezTo>
                <a:close/>
                <a:moveTo>
                  <a:pt x="7223933" y="62303"/>
                </a:moveTo>
                <a:cubicBezTo>
                  <a:pt x="7229494" y="71083"/>
                  <a:pt x="7213740" y="78609"/>
                  <a:pt x="7225324" y="80142"/>
                </a:cubicBezTo>
                <a:cubicBezTo>
                  <a:pt x="7235519" y="87527"/>
                  <a:pt x="7219764" y="81395"/>
                  <a:pt x="7213740" y="81395"/>
                </a:cubicBezTo>
                <a:cubicBezTo>
                  <a:pt x="7213740" y="72616"/>
                  <a:pt x="7213740" y="62303"/>
                  <a:pt x="7223933" y="62303"/>
                </a:cubicBezTo>
                <a:close/>
                <a:moveTo>
                  <a:pt x="5788341" y="62303"/>
                </a:moveTo>
                <a:lnTo>
                  <a:pt x="5791121" y="83347"/>
                </a:lnTo>
                <a:cubicBezTo>
                  <a:pt x="5786487" y="81953"/>
                  <a:pt x="5782317" y="79166"/>
                  <a:pt x="5775830" y="80560"/>
                </a:cubicBezTo>
                <a:cubicBezTo>
                  <a:pt x="5778146" y="72199"/>
                  <a:pt x="5777683" y="62303"/>
                  <a:pt x="5788341" y="62303"/>
                </a:cubicBezTo>
                <a:close/>
                <a:moveTo>
                  <a:pt x="8653504" y="61467"/>
                </a:moveTo>
                <a:cubicBezTo>
                  <a:pt x="8649333" y="61049"/>
                  <a:pt x="8644698" y="64254"/>
                  <a:pt x="8644698" y="70386"/>
                </a:cubicBezTo>
                <a:cubicBezTo>
                  <a:pt x="8654429" y="67599"/>
                  <a:pt x="8653967" y="83207"/>
                  <a:pt x="8660454" y="72476"/>
                </a:cubicBezTo>
                <a:cubicBezTo>
                  <a:pt x="8662308" y="65091"/>
                  <a:pt x="8658137" y="61745"/>
                  <a:pt x="8653504" y="61467"/>
                </a:cubicBezTo>
                <a:close/>
                <a:moveTo>
                  <a:pt x="8695672" y="58122"/>
                </a:moveTo>
                <a:cubicBezTo>
                  <a:pt x="8670185" y="60910"/>
                  <a:pt x="8708184" y="87249"/>
                  <a:pt x="8703550" y="72476"/>
                </a:cubicBezTo>
                <a:lnTo>
                  <a:pt x="8697062" y="74009"/>
                </a:lnTo>
                <a:cubicBezTo>
                  <a:pt x="8701696" y="65926"/>
                  <a:pt x="8695672" y="68853"/>
                  <a:pt x="8695672" y="58122"/>
                </a:cubicBezTo>
                <a:close/>
                <a:moveTo>
                  <a:pt x="8818009" y="51433"/>
                </a:moveTo>
                <a:cubicBezTo>
                  <a:pt x="8823106" y="66206"/>
                  <a:pt x="8810131" y="60492"/>
                  <a:pt x="8813375" y="72476"/>
                </a:cubicBezTo>
                <a:cubicBezTo>
                  <a:pt x="8821252" y="69829"/>
                  <a:pt x="8826351" y="63418"/>
                  <a:pt x="8831448" y="59376"/>
                </a:cubicBezTo>
                <a:cubicBezTo>
                  <a:pt x="8823106" y="62164"/>
                  <a:pt x="8824496" y="51433"/>
                  <a:pt x="8818009" y="51433"/>
                </a:cubicBezTo>
                <a:close/>
                <a:moveTo>
                  <a:pt x="8242936" y="50597"/>
                </a:moveTo>
                <a:cubicBezTo>
                  <a:pt x="8239229" y="51294"/>
                  <a:pt x="8235522" y="54081"/>
                  <a:pt x="8235522" y="59376"/>
                </a:cubicBezTo>
                <a:cubicBezTo>
                  <a:pt x="8242009" y="64812"/>
                  <a:pt x="8250350" y="60492"/>
                  <a:pt x="8252205" y="53802"/>
                </a:cubicBezTo>
                <a:cubicBezTo>
                  <a:pt x="8250350" y="51154"/>
                  <a:pt x="8246181" y="49900"/>
                  <a:pt x="8242936" y="50597"/>
                </a:cubicBezTo>
                <a:close/>
                <a:moveTo>
                  <a:pt x="8914395" y="32759"/>
                </a:moveTo>
                <a:cubicBezTo>
                  <a:pt x="8925516" y="35267"/>
                  <a:pt x="8914395" y="46555"/>
                  <a:pt x="8922736" y="50179"/>
                </a:cubicBezTo>
                <a:cubicBezTo>
                  <a:pt x="8924126" y="58820"/>
                  <a:pt x="8912078" y="54917"/>
                  <a:pt x="8912078" y="62303"/>
                </a:cubicBezTo>
                <a:cubicBezTo>
                  <a:pt x="8913932" y="48785"/>
                  <a:pt x="8904201" y="42933"/>
                  <a:pt x="8891225" y="38055"/>
                </a:cubicBezTo>
                <a:cubicBezTo>
                  <a:pt x="8894470" y="29414"/>
                  <a:pt x="8914395" y="50039"/>
                  <a:pt x="8914395" y="32759"/>
                </a:cubicBezTo>
                <a:close/>
                <a:moveTo>
                  <a:pt x="8814765" y="32341"/>
                </a:moveTo>
                <a:cubicBezTo>
                  <a:pt x="8814765" y="33317"/>
                  <a:pt x="8815227" y="34570"/>
                  <a:pt x="8815227" y="35825"/>
                </a:cubicBezTo>
                <a:cubicBezTo>
                  <a:pt x="8814765" y="35407"/>
                  <a:pt x="8814302" y="34849"/>
                  <a:pt x="8813838" y="34292"/>
                </a:cubicBezTo>
                <a:cubicBezTo>
                  <a:pt x="8814765" y="33595"/>
                  <a:pt x="8814302" y="33037"/>
                  <a:pt x="8814765" y="32341"/>
                </a:cubicBezTo>
                <a:close/>
                <a:moveTo>
                  <a:pt x="8806889" y="32341"/>
                </a:moveTo>
                <a:cubicBezTo>
                  <a:pt x="8803644" y="39169"/>
                  <a:pt x="8784644" y="52687"/>
                  <a:pt x="8780009" y="47252"/>
                </a:cubicBezTo>
                <a:cubicBezTo>
                  <a:pt x="8787888" y="56729"/>
                  <a:pt x="8773522" y="52548"/>
                  <a:pt x="8773522" y="63279"/>
                </a:cubicBezTo>
                <a:cubicBezTo>
                  <a:pt x="8783254" y="64533"/>
                  <a:pt x="8808741" y="53802"/>
                  <a:pt x="8806889" y="32341"/>
                </a:cubicBezTo>
                <a:close/>
                <a:moveTo>
                  <a:pt x="8780009" y="6976"/>
                </a:moveTo>
                <a:cubicBezTo>
                  <a:pt x="8770279" y="20355"/>
                  <a:pt x="8792523" y="13945"/>
                  <a:pt x="8791133" y="30112"/>
                </a:cubicBezTo>
                <a:cubicBezTo>
                  <a:pt x="8799010" y="22307"/>
                  <a:pt x="8807814" y="24397"/>
                  <a:pt x="8813838" y="34292"/>
                </a:cubicBezTo>
                <a:cubicBezTo>
                  <a:pt x="8807351" y="41399"/>
                  <a:pt x="8821717" y="47810"/>
                  <a:pt x="8824496" y="51433"/>
                </a:cubicBezTo>
                <a:cubicBezTo>
                  <a:pt x="8832838" y="36661"/>
                  <a:pt x="8843959" y="35128"/>
                  <a:pt x="8856470" y="32341"/>
                </a:cubicBezTo>
                <a:cubicBezTo>
                  <a:pt x="8856470" y="41817"/>
                  <a:pt x="8848593" y="42096"/>
                  <a:pt x="8843959" y="38055"/>
                </a:cubicBezTo>
                <a:cubicBezTo>
                  <a:pt x="8842569" y="48785"/>
                  <a:pt x="8838862" y="54220"/>
                  <a:pt x="8845349" y="70386"/>
                </a:cubicBezTo>
                <a:cubicBezTo>
                  <a:pt x="8851836" y="52966"/>
                  <a:pt x="8855080" y="75263"/>
                  <a:pt x="8867592" y="63279"/>
                </a:cubicBezTo>
                <a:cubicBezTo>
                  <a:pt x="8867592" y="68575"/>
                  <a:pt x="8869446" y="71641"/>
                  <a:pt x="8871298" y="71641"/>
                </a:cubicBezTo>
                <a:cubicBezTo>
                  <a:pt x="8864811" y="89060"/>
                  <a:pt x="8864348" y="106481"/>
                  <a:pt x="8853227" y="109129"/>
                </a:cubicBezTo>
                <a:cubicBezTo>
                  <a:pt x="8856470" y="113170"/>
                  <a:pt x="8857860" y="118188"/>
                  <a:pt x="8857860" y="125016"/>
                </a:cubicBezTo>
                <a:cubicBezTo>
                  <a:pt x="8862494" y="125016"/>
                  <a:pt x="8864811" y="119860"/>
                  <a:pt x="8871298" y="119860"/>
                </a:cubicBezTo>
                <a:cubicBezTo>
                  <a:pt x="8869446" y="130590"/>
                  <a:pt x="8875933" y="133238"/>
                  <a:pt x="8883811" y="130590"/>
                </a:cubicBezTo>
                <a:cubicBezTo>
                  <a:pt x="8874080" y="141322"/>
                  <a:pt x="8878714" y="153167"/>
                  <a:pt x="8885201" y="162504"/>
                </a:cubicBezTo>
                <a:cubicBezTo>
                  <a:pt x="8880567" y="158463"/>
                  <a:pt x="8877322" y="158463"/>
                  <a:pt x="8872226" y="163758"/>
                </a:cubicBezTo>
                <a:cubicBezTo>
                  <a:pt x="8880567" y="174489"/>
                  <a:pt x="8874080" y="190794"/>
                  <a:pt x="8864348" y="197484"/>
                </a:cubicBezTo>
                <a:cubicBezTo>
                  <a:pt x="8867592" y="208215"/>
                  <a:pt x="8872226" y="190655"/>
                  <a:pt x="8880567" y="196091"/>
                </a:cubicBezTo>
                <a:lnTo>
                  <a:pt x="8882421" y="224241"/>
                </a:lnTo>
                <a:cubicBezTo>
                  <a:pt x="8871763" y="220339"/>
                  <a:pt x="8868056" y="224659"/>
                  <a:pt x="8860642" y="225635"/>
                </a:cubicBezTo>
                <a:cubicBezTo>
                  <a:pt x="8865739" y="239014"/>
                  <a:pt x="8883346" y="233160"/>
                  <a:pt x="8894932" y="238178"/>
                </a:cubicBezTo>
                <a:cubicBezTo>
                  <a:pt x="8895860" y="248630"/>
                  <a:pt x="8877787" y="242358"/>
                  <a:pt x="8870835" y="244309"/>
                </a:cubicBezTo>
                <a:cubicBezTo>
                  <a:pt x="8871763" y="257549"/>
                  <a:pt x="8880104" y="258106"/>
                  <a:pt x="8889836" y="257409"/>
                </a:cubicBezTo>
                <a:cubicBezTo>
                  <a:pt x="8895395" y="253786"/>
                  <a:pt x="8907444" y="259082"/>
                  <a:pt x="8912078" y="262148"/>
                </a:cubicBezTo>
                <a:cubicBezTo>
                  <a:pt x="8913468" y="266468"/>
                  <a:pt x="8911151" y="266886"/>
                  <a:pt x="8909298" y="268139"/>
                </a:cubicBezTo>
                <a:cubicBezTo>
                  <a:pt x="8935247" y="265492"/>
                  <a:pt x="8961661" y="258802"/>
                  <a:pt x="8969538" y="236923"/>
                </a:cubicBezTo>
                <a:cubicBezTo>
                  <a:pt x="8978342" y="237759"/>
                  <a:pt x="8993172" y="245424"/>
                  <a:pt x="8993635" y="228979"/>
                </a:cubicBezTo>
                <a:cubicBezTo>
                  <a:pt x="9022366" y="256573"/>
                  <a:pt x="9064071" y="221594"/>
                  <a:pt x="9080754" y="230791"/>
                </a:cubicBezTo>
                <a:cubicBezTo>
                  <a:pt x="9077972" y="238456"/>
                  <a:pt x="9065461" y="239432"/>
                  <a:pt x="9062217" y="247096"/>
                </a:cubicBezTo>
                <a:cubicBezTo>
                  <a:pt x="9064998" y="257270"/>
                  <a:pt x="9072875" y="259918"/>
                  <a:pt x="9071948" y="271903"/>
                </a:cubicBezTo>
                <a:cubicBezTo>
                  <a:pt x="9126166" y="263123"/>
                  <a:pt x="9190115" y="286257"/>
                  <a:pt x="9237844" y="261590"/>
                </a:cubicBezTo>
                <a:cubicBezTo>
                  <a:pt x="9274914" y="281101"/>
                  <a:pt x="9288353" y="268419"/>
                  <a:pt x="9331450" y="278453"/>
                </a:cubicBezTo>
                <a:cubicBezTo>
                  <a:pt x="9277232" y="285699"/>
                  <a:pt x="9187333" y="276084"/>
                  <a:pt x="9118289" y="277059"/>
                </a:cubicBezTo>
                <a:cubicBezTo>
                  <a:pt x="9102069" y="276780"/>
                  <a:pt x="9073802" y="303120"/>
                  <a:pt x="9067315" y="267722"/>
                </a:cubicBezTo>
                <a:cubicBezTo>
                  <a:pt x="9051560" y="268976"/>
                  <a:pt x="9030243" y="266329"/>
                  <a:pt x="9027926" y="279986"/>
                </a:cubicBezTo>
                <a:cubicBezTo>
                  <a:pt x="9017267" y="279289"/>
                  <a:pt x="9017732" y="262984"/>
                  <a:pt x="9001977" y="268697"/>
                </a:cubicBezTo>
                <a:cubicBezTo>
                  <a:pt x="8998732" y="268976"/>
                  <a:pt x="8997342" y="273436"/>
                  <a:pt x="8993635" y="273715"/>
                </a:cubicBezTo>
                <a:cubicBezTo>
                  <a:pt x="8984831" y="274412"/>
                  <a:pt x="9001977" y="290717"/>
                  <a:pt x="8992245" y="298939"/>
                </a:cubicBezTo>
                <a:cubicBezTo>
                  <a:pt x="8983441" y="301169"/>
                  <a:pt x="8975100" y="264517"/>
                  <a:pt x="8973710" y="290020"/>
                </a:cubicBezTo>
                <a:cubicBezTo>
                  <a:pt x="8951003" y="279986"/>
                  <a:pt x="8927371" y="277477"/>
                  <a:pt x="8901419" y="277617"/>
                </a:cubicBezTo>
                <a:cubicBezTo>
                  <a:pt x="8905127" y="284585"/>
                  <a:pt x="8915785" y="287930"/>
                  <a:pt x="8904201" y="293922"/>
                </a:cubicBezTo>
                <a:cubicBezTo>
                  <a:pt x="8910688" y="296570"/>
                  <a:pt x="8913932" y="303259"/>
                  <a:pt x="8919955" y="304652"/>
                </a:cubicBezTo>
                <a:cubicBezTo>
                  <a:pt x="8918564" y="308555"/>
                  <a:pt x="8917175" y="312596"/>
                  <a:pt x="8922272" y="312596"/>
                </a:cubicBezTo>
                <a:cubicBezTo>
                  <a:pt x="8917175" y="319286"/>
                  <a:pt x="8900029" y="328762"/>
                  <a:pt x="8906053" y="334197"/>
                </a:cubicBezTo>
                <a:cubicBezTo>
                  <a:pt x="8891688" y="344928"/>
                  <a:pt x="8878714" y="334477"/>
                  <a:pt x="8861105" y="342559"/>
                </a:cubicBezTo>
                <a:cubicBezTo>
                  <a:pt x="8862959" y="355938"/>
                  <a:pt x="8874080" y="346183"/>
                  <a:pt x="8880567" y="344928"/>
                </a:cubicBezTo>
                <a:cubicBezTo>
                  <a:pt x="8879640" y="354266"/>
                  <a:pt x="8882421" y="357470"/>
                  <a:pt x="8885201" y="360816"/>
                </a:cubicBezTo>
                <a:cubicBezTo>
                  <a:pt x="8891225" y="362070"/>
                  <a:pt x="8896785" y="363045"/>
                  <a:pt x="8904664" y="359979"/>
                </a:cubicBezTo>
                <a:cubicBezTo>
                  <a:pt x="8904664" y="360398"/>
                  <a:pt x="8905127" y="360398"/>
                  <a:pt x="8905127" y="360816"/>
                </a:cubicBezTo>
                <a:cubicBezTo>
                  <a:pt x="8908834" y="360677"/>
                  <a:pt x="8913005" y="360258"/>
                  <a:pt x="8916712" y="359979"/>
                </a:cubicBezTo>
                <a:cubicBezTo>
                  <a:pt x="8917175" y="357052"/>
                  <a:pt x="8919492" y="355380"/>
                  <a:pt x="8929686" y="357889"/>
                </a:cubicBezTo>
                <a:cubicBezTo>
                  <a:pt x="8930150" y="358308"/>
                  <a:pt x="8929686" y="358308"/>
                  <a:pt x="8930150" y="358446"/>
                </a:cubicBezTo>
                <a:cubicBezTo>
                  <a:pt x="8930613" y="358446"/>
                  <a:pt x="8931541" y="358586"/>
                  <a:pt x="8932003" y="358446"/>
                </a:cubicBezTo>
                <a:cubicBezTo>
                  <a:pt x="8936175" y="357193"/>
                  <a:pt x="8940345" y="356077"/>
                  <a:pt x="8940345" y="350085"/>
                </a:cubicBezTo>
                <a:cubicBezTo>
                  <a:pt x="8951003" y="350781"/>
                  <a:pt x="8960734" y="353430"/>
                  <a:pt x="8970928" y="354684"/>
                </a:cubicBezTo>
                <a:cubicBezTo>
                  <a:pt x="8977417" y="353986"/>
                  <a:pt x="8984366" y="353430"/>
                  <a:pt x="8990855" y="352872"/>
                </a:cubicBezTo>
                <a:cubicBezTo>
                  <a:pt x="8991318" y="355380"/>
                  <a:pt x="8989466" y="355659"/>
                  <a:pt x="8989000" y="357610"/>
                </a:cubicBezTo>
                <a:cubicBezTo>
                  <a:pt x="8991783" y="358167"/>
                  <a:pt x="8995025" y="358167"/>
                  <a:pt x="8997805" y="358864"/>
                </a:cubicBezTo>
                <a:cubicBezTo>
                  <a:pt x="8999196" y="358446"/>
                  <a:pt x="8999659" y="356913"/>
                  <a:pt x="9001977" y="357610"/>
                </a:cubicBezTo>
                <a:cubicBezTo>
                  <a:pt x="9001514" y="358446"/>
                  <a:pt x="9001977" y="358586"/>
                  <a:pt x="9001514" y="359422"/>
                </a:cubicBezTo>
                <a:cubicBezTo>
                  <a:pt x="9004294" y="360118"/>
                  <a:pt x="9007073" y="360118"/>
                  <a:pt x="9009853" y="360816"/>
                </a:cubicBezTo>
                <a:cubicBezTo>
                  <a:pt x="9007073" y="362209"/>
                  <a:pt x="9003829" y="361791"/>
                  <a:pt x="9000586" y="362349"/>
                </a:cubicBezTo>
                <a:cubicBezTo>
                  <a:pt x="8999196" y="366251"/>
                  <a:pt x="8998732" y="369596"/>
                  <a:pt x="9000586" y="372104"/>
                </a:cubicBezTo>
                <a:cubicBezTo>
                  <a:pt x="9004294" y="372939"/>
                  <a:pt x="9008464" y="372661"/>
                  <a:pt x="9009853" y="375309"/>
                </a:cubicBezTo>
                <a:cubicBezTo>
                  <a:pt x="9008001" y="375309"/>
                  <a:pt x="9007536" y="376285"/>
                  <a:pt x="9006146" y="376703"/>
                </a:cubicBezTo>
                <a:cubicBezTo>
                  <a:pt x="9014952" y="382277"/>
                  <a:pt x="9026536" y="388967"/>
                  <a:pt x="9025609" y="406805"/>
                </a:cubicBezTo>
                <a:cubicBezTo>
                  <a:pt x="9046461" y="403461"/>
                  <a:pt x="9060827" y="416141"/>
                  <a:pt x="9079364" y="403878"/>
                </a:cubicBezTo>
                <a:cubicBezTo>
                  <a:pt x="9079826" y="417257"/>
                  <a:pt x="9074265" y="420880"/>
                  <a:pt x="9086778" y="424364"/>
                </a:cubicBezTo>
                <a:cubicBezTo>
                  <a:pt x="9095582" y="402624"/>
                  <a:pt x="9067315" y="404296"/>
                  <a:pt x="9075655" y="378654"/>
                </a:cubicBezTo>
                <a:cubicBezTo>
                  <a:pt x="9079364" y="380466"/>
                  <a:pt x="9084924" y="380466"/>
                  <a:pt x="9089558" y="381023"/>
                </a:cubicBezTo>
                <a:cubicBezTo>
                  <a:pt x="9096045" y="374891"/>
                  <a:pt x="9104386" y="372104"/>
                  <a:pt x="9113190" y="372104"/>
                </a:cubicBezTo>
                <a:cubicBezTo>
                  <a:pt x="9111801" y="380186"/>
                  <a:pt x="9108557" y="382277"/>
                  <a:pt x="9104386" y="383392"/>
                </a:cubicBezTo>
                <a:cubicBezTo>
                  <a:pt x="9114118" y="384508"/>
                  <a:pt x="9121996" y="388688"/>
                  <a:pt x="9126629" y="398722"/>
                </a:cubicBezTo>
                <a:cubicBezTo>
                  <a:pt x="9130800" y="390638"/>
                  <a:pt x="9142849" y="383671"/>
                  <a:pt x="9153043" y="387851"/>
                </a:cubicBezTo>
                <a:cubicBezTo>
                  <a:pt x="9187333" y="370710"/>
                  <a:pt x="9222089" y="376285"/>
                  <a:pt x="9238771" y="429661"/>
                </a:cubicBezTo>
                <a:cubicBezTo>
                  <a:pt x="9259624" y="433144"/>
                  <a:pt x="9249892" y="404993"/>
                  <a:pt x="9261477" y="399139"/>
                </a:cubicBezTo>
                <a:cubicBezTo>
                  <a:pt x="9252673" y="387155"/>
                  <a:pt x="9245258" y="384646"/>
                  <a:pt x="9236917" y="383392"/>
                </a:cubicBezTo>
                <a:cubicBezTo>
                  <a:pt x="9230430" y="387433"/>
                  <a:pt x="9223016" y="387155"/>
                  <a:pt x="9222089" y="371546"/>
                </a:cubicBezTo>
                <a:cubicBezTo>
                  <a:pt x="9225796" y="376006"/>
                  <a:pt x="9232747" y="375867"/>
                  <a:pt x="9239234" y="374751"/>
                </a:cubicBezTo>
                <a:cubicBezTo>
                  <a:pt x="9251745" y="369596"/>
                  <a:pt x="9273989" y="378933"/>
                  <a:pt x="9286036" y="374751"/>
                </a:cubicBezTo>
                <a:cubicBezTo>
                  <a:pt x="9272135" y="344370"/>
                  <a:pt x="9276769" y="332804"/>
                  <a:pt x="9271672" y="307859"/>
                </a:cubicBezTo>
                <a:cubicBezTo>
                  <a:pt x="9288353" y="320262"/>
                  <a:pt x="9302256" y="349249"/>
                  <a:pt x="9311987" y="392590"/>
                </a:cubicBezTo>
                <a:cubicBezTo>
                  <a:pt x="9305498" y="388130"/>
                  <a:pt x="9301791" y="379072"/>
                  <a:pt x="9293452" y="378933"/>
                </a:cubicBezTo>
                <a:cubicBezTo>
                  <a:pt x="9287428" y="390778"/>
                  <a:pt x="9302256" y="395517"/>
                  <a:pt x="9305963" y="408617"/>
                </a:cubicBezTo>
                <a:cubicBezTo>
                  <a:pt x="9322646" y="377400"/>
                  <a:pt x="9338399" y="427709"/>
                  <a:pt x="9365278" y="415445"/>
                </a:cubicBezTo>
                <a:cubicBezTo>
                  <a:pt x="9345350" y="411683"/>
                  <a:pt x="9343961" y="383671"/>
                  <a:pt x="9329133" y="384646"/>
                </a:cubicBezTo>
                <a:cubicBezTo>
                  <a:pt x="9331913" y="374751"/>
                  <a:pt x="9334692" y="364717"/>
                  <a:pt x="9346741" y="365554"/>
                </a:cubicBezTo>
                <a:cubicBezTo>
                  <a:pt x="9341644" y="340609"/>
                  <a:pt x="9337937" y="316638"/>
                  <a:pt x="9323571" y="310785"/>
                </a:cubicBezTo>
                <a:cubicBezTo>
                  <a:pt x="9340254" y="278313"/>
                  <a:pt x="9364351" y="323188"/>
                  <a:pt x="9368520" y="357889"/>
                </a:cubicBezTo>
                <a:cubicBezTo>
                  <a:pt x="9385666" y="382417"/>
                  <a:pt x="9413470" y="386598"/>
                  <a:pt x="9418104" y="434677"/>
                </a:cubicBezTo>
                <a:cubicBezTo>
                  <a:pt x="9425055" y="417396"/>
                  <a:pt x="9417641" y="422414"/>
                  <a:pt x="9433397" y="428127"/>
                </a:cubicBezTo>
                <a:cubicBezTo>
                  <a:pt x="9436176" y="426454"/>
                  <a:pt x="9436639" y="422273"/>
                  <a:pt x="9440811" y="421577"/>
                </a:cubicBezTo>
                <a:cubicBezTo>
                  <a:pt x="9425055" y="400951"/>
                  <a:pt x="9439421" y="359283"/>
                  <a:pt x="9413470" y="340190"/>
                </a:cubicBezTo>
                <a:cubicBezTo>
                  <a:pt x="9419031" y="323049"/>
                  <a:pt x="9430615" y="339354"/>
                  <a:pt x="9444054" y="341306"/>
                </a:cubicBezTo>
                <a:cubicBezTo>
                  <a:pt x="9432933" y="364717"/>
                  <a:pt x="9462126" y="358725"/>
                  <a:pt x="9452395" y="372522"/>
                </a:cubicBezTo>
                <a:cubicBezTo>
                  <a:pt x="9455174" y="382835"/>
                  <a:pt x="9469077" y="371267"/>
                  <a:pt x="9473247" y="380047"/>
                </a:cubicBezTo>
                <a:cubicBezTo>
                  <a:pt x="9481126" y="378933"/>
                  <a:pt x="9484833" y="374195"/>
                  <a:pt x="9482979" y="362349"/>
                </a:cubicBezTo>
                <a:cubicBezTo>
                  <a:pt x="9505686" y="342559"/>
                  <a:pt x="9543221" y="376006"/>
                  <a:pt x="9574267" y="375309"/>
                </a:cubicBezTo>
                <a:cubicBezTo>
                  <a:pt x="9582609" y="375448"/>
                  <a:pt x="9593267" y="368480"/>
                  <a:pt x="9604853" y="372104"/>
                </a:cubicBezTo>
                <a:cubicBezTo>
                  <a:pt x="9624778" y="378514"/>
                  <a:pt x="9625240" y="392172"/>
                  <a:pt x="9654434" y="395935"/>
                </a:cubicBezTo>
                <a:cubicBezTo>
                  <a:pt x="9697531" y="402903"/>
                  <a:pt x="9737846" y="416699"/>
                  <a:pt x="9766113" y="443596"/>
                </a:cubicBezTo>
                <a:cubicBezTo>
                  <a:pt x="9775844" y="444851"/>
                  <a:pt x="9773527" y="432866"/>
                  <a:pt x="9784648" y="435235"/>
                </a:cubicBezTo>
                <a:cubicBezTo>
                  <a:pt x="9888912" y="523869"/>
                  <a:pt x="9979738" y="620167"/>
                  <a:pt x="10022370" y="794229"/>
                </a:cubicBezTo>
                <a:cubicBezTo>
                  <a:pt x="10030247" y="792975"/>
                  <a:pt x="10026077" y="779876"/>
                  <a:pt x="10037198" y="780991"/>
                </a:cubicBezTo>
                <a:cubicBezTo>
                  <a:pt x="10040905" y="787123"/>
                  <a:pt x="10043222" y="795066"/>
                  <a:pt x="10043685" y="807191"/>
                </a:cubicBezTo>
                <a:cubicBezTo>
                  <a:pt x="10069172" y="798550"/>
                  <a:pt x="10074269" y="827816"/>
                  <a:pt x="10078440" y="857639"/>
                </a:cubicBezTo>
                <a:cubicBezTo>
                  <a:pt x="10082148" y="857500"/>
                  <a:pt x="10086782" y="858893"/>
                  <a:pt x="10090025" y="857639"/>
                </a:cubicBezTo>
                <a:cubicBezTo>
                  <a:pt x="10087708" y="862099"/>
                  <a:pt x="10083538" y="863910"/>
                  <a:pt x="10079831" y="865723"/>
                </a:cubicBezTo>
                <a:cubicBezTo>
                  <a:pt x="10080758" y="874920"/>
                  <a:pt x="10082148" y="884536"/>
                  <a:pt x="10084001" y="891782"/>
                </a:cubicBezTo>
                <a:cubicBezTo>
                  <a:pt x="10084001" y="892062"/>
                  <a:pt x="10084001" y="892618"/>
                  <a:pt x="10084001" y="892897"/>
                </a:cubicBezTo>
                <a:cubicBezTo>
                  <a:pt x="10100221" y="892758"/>
                  <a:pt x="10119683" y="886208"/>
                  <a:pt x="10133122" y="882027"/>
                </a:cubicBezTo>
                <a:cubicBezTo>
                  <a:pt x="10136364" y="867255"/>
                  <a:pt x="10120145" y="876731"/>
                  <a:pt x="10122000" y="863353"/>
                </a:cubicBezTo>
                <a:cubicBezTo>
                  <a:pt x="10131267" y="851229"/>
                  <a:pt x="10129877" y="873944"/>
                  <a:pt x="10139608" y="873944"/>
                </a:cubicBezTo>
                <a:cubicBezTo>
                  <a:pt x="10142852" y="872690"/>
                  <a:pt x="10140998" y="865862"/>
                  <a:pt x="10140998" y="861820"/>
                </a:cubicBezTo>
                <a:cubicBezTo>
                  <a:pt x="10156754" y="883281"/>
                  <a:pt x="10204483" y="877846"/>
                  <a:pt x="10204483" y="908645"/>
                </a:cubicBezTo>
                <a:cubicBezTo>
                  <a:pt x="10223482" y="904603"/>
                  <a:pt x="10236458" y="908784"/>
                  <a:pt x="10250824" y="912826"/>
                </a:cubicBezTo>
                <a:cubicBezTo>
                  <a:pt x="10254066" y="907531"/>
                  <a:pt x="10255456" y="900423"/>
                  <a:pt x="10258700" y="895128"/>
                </a:cubicBezTo>
                <a:cubicBezTo>
                  <a:pt x="10273066" y="903071"/>
                  <a:pt x="10282798" y="890110"/>
                  <a:pt x="10300405" y="891365"/>
                </a:cubicBezTo>
                <a:cubicBezTo>
                  <a:pt x="10293918" y="900841"/>
                  <a:pt x="10302260" y="899309"/>
                  <a:pt x="10305040" y="907391"/>
                </a:cubicBezTo>
                <a:cubicBezTo>
                  <a:pt x="10314308" y="905441"/>
                  <a:pt x="10313381" y="899587"/>
                  <a:pt x="10315233" y="899726"/>
                </a:cubicBezTo>
                <a:cubicBezTo>
                  <a:pt x="10315233" y="899587"/>
                  <a:pt x="10315699" y="899029"/>
                  <a:pt x="10316161" y="898890"/>
                </a:cubicBezTo>
                <a:cubicBezTo>
                  <a:pt x="10316625" y="903071"/>
                  <a:pt x="10317088" y="900284"/>
                  <a:pt x="10317551" y="901260"/>
                </a:cubicBezTo>
                <a:cubicBezTo>
                  <a:pt x="10318016" y="902234"/>
                  <a:pt x="10317551" y="900702"/>
                  <a:pt x="10318478" y="902095"/>
                </a:cubicBezTo>
                <a:cubicBezTo>
                  <a:pt x="10327747" y="896800"/>
                  <a:pt x="10316161" y="886208"/>
                  <a:pt x="10332381" y="884954"/>
                </a:cubicBezTo>
                <a:cubicBezTo>
                  <a:pt x="10321723" y="905022"/>
                  <a:pt x="10343965" y="891504"/>
                  <a:pt x="10340258" y="906276"/>
                </a:cubicBezTo>
                <a:cubicBezTo>
                  <a:pt x="10340721" y="906834"/>
                  <a:pt x="10340721" y="907531"/>
                  <a:pt x="10341185" y="908366"/>
                </a:cubicBezTo>
                <a:cubicBezTo>
                  <a:pt x="10351379" y="900284"/>
                  <a:pt x="10356476" y="903210"/>
                  <a:pt x="10362965" y="894152"/>
                </a:cubicBezTo>
                <a:cubicBezTo>
                  <a:pt x="10368989" y="893037"/>
                  <a:pt x="10373621" y="900423"/>
                  <a:pt x="10370841" y="905997"/>
                </a:cubicBezTo>
                <a:cubicBezTo>
                  <a:pt x="10383818" y="908366"/>
                  <a:pt x="10397255" y="907112"/>
                  <a:pt x="10409767" y="908366"/>
                </a:cubicBezTo>
                <a:cubicBezTo>
                  <a:pt x="10407450" y="905718"/>
                  <a:pt x="10404207" y="904744"/>
                  <a:pt x="10404207" y="897914"/>
                </a:cubicBezTo>
                <a:cubicBezTo>
                  <a:pt x="10413011" y="895963"/>
                  <a:pt x="10415791" y="902513"/>
                  <a:pt x="10418570" y="909621"/>
                </a:cubicBezTo>
                <a:cubicBezTo>
                  <a:pt x="10424595" y="911432"/>
                  <a:pt x="10430156" y="914638"/>
                  <a:pt x="10435253" y="920770"/>
                </a:cubicBezTo>
                <a:cubicBezTo>
                  <a:pt x="10437571" y="919934"/>
                  <a:pt x="10443132" y="918679"/>
                  <a:pt x="10447764" y="917147"/>
                </a:cubicBezTo>
                <a:cubicBezTo>
                  <a:pt x="10460740" y="910874"/>
                  <a:pt x="10472789" y="906276"/>
                  <a:pt x="10476958" y="918958"/>
                </a:cubicBezTo>
                <a:cubicBezTo>
                  <a:pt x="10487154" y="919097"/>
                  <a:pt x="10501520" y="935542"/>
                  <a:pt x="10510324" y="918121"/>
                </a:cubicBezTo>
                <a:cubicBezTo>
                  <a:pt x="10513104" y="919515"/>
                  <a:pt x="10516811" y="923418"/>
                  <a:pt x="10516811" y="930246"/>
                </a:cubicBezTo>
                <a:cubicBezTo>
                  <a:pt x="10567784" y="897497"/>
                  <a:pt x="10609026" y="987803"/>
                  <a:pt x="10661853" y="949478"/>
                </a:cubicBezTo>
                <a:cubicBezTo>
                  <a:pt x="10666487" y="964530"/>
                  <a:pt x="10648879" y="954914"/>
                  <a:pt x="10650731" y="967316"/>
                </a:cubicBezTo>
                <a:cubicBezTo>
                  <a:pt x="10650731" y="976792"/>
                  <a:pt x="10656755" y="979441"/>
                  <a:pt x="10661853" y="982228"/>
                </a:cubicBezTo>
                <a:cubicBezTo>
                  <a:pt x="10664634" y="982228"/>
                  <a:pt x="10663245" y="975539"/>
                  <a:pt x="10663245" y="969964"/>
                </a:cubicBezTo>
                <a:cubicBezTo>
                  <a:pt x="10674366" y="974145"/>
                  <a:pt x="10680852" y="986409"/>
                  <a:pt x="10693364" y="987803"/>
                </a:cubicBezTo>
                <a:cubicBezTo>
                  <a:pt x="10688731" y="997418"/>
                  <a:pt x="10666487" y="980975"/>
                  <a:pt x="10665097" y="1002853"/>
                </a:cubicBezTo>
                <a:cubicBezTo>
                  <a:pt x="10618758" y="983761"/>
                  <a:pt x="10573808" y="1001182"/>
                  <a:pt x="10529322" y="978048"/>
                </a:cubicBezTo>
                <a:cubicBezTo>
                  <a:pt x="10522835" y="976653"/>
                  <a:pt x="10522835" y="982368"/>
                  <a:pt x="10522835" y="987803"/>
                </a:cubicBezTo>
                <a:cubicBezTo>
                  <a:pt x="10514958" y="979581"/>
                  <a:pt x="10494106" y="991705"/>
                  <a:pt x="10490861" y="978048"/>
                </a:cubicBezTo>
                <a:cubicBezTo>
                  <a:pt x="10487617" y="980834"/>
                  <a:pt x="10484374" y="981252"/>
                  <a:pt x="10481130" y="982228"/>
                </a:cubicBezTo>
                <a:cubicBezTo>
                  <a:pt x="10480203" y="985852"/>
                  <a:pt x="10478813" y="990589"/>
                  <a:pt x="10482520" y="991565"/>
                </a:cubicBezTo>
                <a:cubicBezTo>
                  <a:pt x="10477886" y="998115"/>
                  <a:pt x="10466302" y="996862"/>
                  <a:pt x="10463520" y="1004665"/>
                </a:cubicBezTo>
                <a:cubicBezTo>
                  <a:pt x="10464447" y="1010518"/>
                  <a:pt x="10470471" y="1008985"/>
                  <a:pt x="10473252" y="1011773"/>
                </a:cubicBezTo>
                <a:cubicBezTo>
                  <a:pt x="10488544" y="998812"/>
                  <a:pt x="10507544" y="989057"/>
                  <a:pt x="10526542" y="999370"/>
                </a:cubicBezTo>
                <a:cubicBezTo>
                  <a:pt x="10521908" y="1004665"/>
                  <a:pt x="10520055" y="1017486"/>
                  <a:pt x="10524690" y="1026684"/>
                </a:cubicBezTo>
                <a:cubicBezTo>
                  <a:pt x="10522835" y="1034489"/>
                  <a:pt x="10514031" y="1021668"/>
                  <a:pt x="10506152" y="1024315"/>
                </a:cubicBezTo>
                <a:cubicBezTo>
                  <a:pt x="10506152" y="1016371"/>
                  <a:pt x="10520518" y="1022782"/>
                  <a:pt x="10521908" y="1014978"/>
                </a:cubicBezTo>
                <a:cubicBezTo>
                  <a:pt x="10523299" y="1004526"/>
                  <a:pt x="10515421" y="1008289"/>
                  <a:pt x="10514031" y="1000484"/>
                </a:cubicBezTo>
                <a:cubicBezTo>
                  <a:pt x="10509396" y="1004386"/>
                  <a:pt x="10504300" y="1007175"/>
                  <a:pt x="10506152" y="1016232"/>
                </a:cubicBezTo>
                <a:cubicBezTo>
                  <a:pt x="10495031" y="1011076"/>
                  <a:pt x="10490397" y="1022921"/>
                  <a:pt x="10482520" y="1011215"/>
                </a:cubicBezTo>
                <a:cubicBezTo>
                  <a:pt x="10479276" y="1015118"/>
                  <a:pt x="10485300" y="1017626"/>
                  <a:pt x="10477423" y="1022782"/>
                </a:cubicBezTo>
                <a:cubicBezTo>
                  <a:pt x="10441277" y="1005780"/>
                  <a:pt x="10394476" y="1034489"/>
                  <a:pt x="10362965" y="1013584"/>
                </a:cubicBezTo>
                <a:cubicBezTo>
                  <a:pt x="10365745" y="987384"/>
                  <a:pt x="10343502" y="999231"/>
                  <a:pt x="10343502" y="975678"/>
                </a:cubicBezTo>
                <a:cubicBezTo>
                  <a:pt x="10349989" y="976933"/>
                  <a:pt x="10348137" y="988639"/>
                  <a:pt x="10357403" y="982228"/>
                </a:cubicBezTo>
                <a:cubicBezTo>
                  <a:pt x="10360648" y="987384"/>
                  <a:pt x="10359258" y="988778"/>
                  <a:pt x="10357403" y="993935"/>
                </a:cubicBezTo>
                <a:cubicBezTo>
                  <a:pt x="10363890" y="992681"/>
                  <a:pt x="10367134" y="996862"/>
                  <a:pt x="10370379" y="998115"/>
                </a:cubicBezTo>
                <a:cubicBezTo>
                  <a:pt x="10373158" y="985015"/>
                  <a:pt x="10361110" y="995189"/>
                  <a:pt x="10364354" y="982228"/>
                </a:cubicBezTo>
                <a:cubicBezTo>
                  <a:pt x="10375939" y="997836"/>
                  <a:pt x="10390769" y="982089"/>
                  <a:pt x="10395401" y="967316"/>
                </a:cubicBezTo>
                <a:cubicBezTo>
                  <a:pt x="10379645" y="965644"/>
                  <a:pt x="10367134" y="956028"/>
                  <a:pt x="10355551" y="945715"/>
                </a:cubicBezTo>
                <a:cubicBezTo>
                  <a:pt x="10355086" y="946412"/>
                  <a:pt x="10355086" y="946831"/>
                  <a:pt x="10354624" y="947528"/>
                </a:cubicBezTo>
                <a:cubicBezTo>
                  <a:pt x="10350451" y="940002"/>
                  <a:pt x="10342575" y="936239"/>
                  <a:pt x="10333771" y="933591"/>
                </a:cubicBezTo>
                <a:cubicBezTo>
                  <a:pt x="10330064" y="937911"/>
                  <a:pt x="10325892" y="936239"/>
                  <a:pt x="10321723" y="931222"/>
                </a:cubicBezTo>
                <a:cubicBezTo>
                  <a:pt x="10300870" y="928156"/>
                  <a:pt x="10276309" y="931083"/>
                  <a:pt x="10266578" y="930246"/>
                </a:cubicBezTo>
                <a:cubicBezTo>
                  <a:pt x="10247579" y="922163"/>
                  <a:pt x="10185485" y="916728"/>
                  <a:pt x="10161388" y="928852"/>
                </a:cubicBezTo>
                <a:cubicBezTo>
                  <a:pt x="10148876" y="926065"/>
                  <a:pt x="10147487" y="908645"/>
                  <a:pt x="10134511" y="918121"/>
                </a:cubicBezTo>
                <a:cubicBezTo>
                  <a:pt x="10131267" y="914081"/>
                  <a:pt x="10129877" y="907531"/>
                  <a:pt x="10131731" y="899447"/>
                </a:cubicBezTo>
                <a:lnTo>
                  <a:pt x="10120145" y="899447"/>
                </a:lnTo>
                <a:cubicBezTo>
                  <a:pt x="10117366" y="900702"/>
                  <a:pt x="10118756" y="907391"/>
                  <a:pt x="10122000" y="907391"/>
                </a:cubicBezTo>
                <a:cubicBezTo>
                  <a:pt x="10111804" y="909064"/>
                  <a:pt x="10098830" y="908507"/>
                  <a:pt x="10087245" y="908366"/>
                </a:cubicBezTo>
                <a:cubicBezTo>
                  <a:pt x="10090025" y="921745"/>
                  <a:pt x="10092806" y="936518"/>
                  <a:pt x="10096049" y="951290"/>
                </a:cubicBezTo>
                <a:cubicBezTo>
                  <a:pt x="10099293" y="949618"/>
                  <a:pt x="10101146" y="947806"/>
                  <a:pt x="10110415" y="945158"/>
                </a:cubicBezTo>
                <a:cubicBezTo>
                  <a:pt x="10121536" y="949199"/>
                  <a:pt x="10097904" y="949199"/>
                  <a:pt x="10097904" y="954634"/>
                </a:cubicBezTo>
                <a:cubicBezTo>
                  <a:pt x="10104390" y="966620"/>
                  <a:pt x="10120145" y="947945"/>
                  <a:pt x="10123390" y="956028"/>
                </a:cubicBezTo>
                <a:cubicBezTo>
                  <a:pt x="10124780" y="973449"/>
                  <a:pt x="10114121" y="970801"/>
                  <a:pt x="10128487" y="976236"/>
                </a:cubicBezTo>
                <a:cubicBezTo>
                  <a:pt x="10133122" y="986966"/>
                  <a:pt x="10110415" y="966620"/>
                  <a:pt x="10102538" y="965226"/>
                </a:cubicBezTo>
                <a:cubicBezTo>
                  <a:pt x="10102538" y="968710"/>
                  <a:pt x="10100221" y="968013"/>
                  <a:pt x="10099293" y="969128"/>
                </a:cubicBezTo>
                <a:cubicBezTo>
                  <a:pt x="10100683" y="977490"/>
                  <a:pt x="10102538" y="984597"/>
                  <a:pt x="10103463" y="992820"/>
                </a:cubicBezTo>
                <a:cubicBezTo>
                  <a:pt x="10108562" y="993655"/>
                  <a:pt x="10109487" y="999370"/>
                  <a:pt x="10117828" y="995189"/>
                </a:cubicBezTo>
                <a:cubicBezTo>
                  <a:pt x="10118293" y="997836"/>
                  <a:pt x="10117828" y="997976"/>
                  <a:pt x="10117828" y="999370"/>
                </a:cubicBezTo>
                <a:cubicBezTo>
                  <a:pt x="10123390" y="999231"/>
                  <a:pt x="10128024" y="997697"/>
                  <a:pt x="10133122" y="999928"/>
                </a:cubicBezTo>
                <a:cubicBezTo>
                  <a:pt x="10136828" y="1001460"/>
                  <a:pt x="10137756" y="1003272"/>
                  <a:pt x="10140535" y="1005083"/>
                </a:cubicBezTo>
                <a:lnTo>
                  <a:pt x="10140535" y="991008"/>
                </a:lnTo>
                <a:lnTo>
                  <a:pt x="10150267" y="990171"/>
                </a:lnTo>
                <a:cubicBezTo>
                  <a:pt x="10142388" y="988778"/>
                  <a:pt x="10145170" y="969686"/>
                  <a:pt x="10132656" y="975121"/>
                </a:cubicBezTo>
                <a:cubicBezTo>
                  <a:pt x="10138681" y="967038"/>
                  <a:pt x="10130804" y="968431"/>
                  <a:pt x="10132656" y="955192"/>
                </a:cubicBezTo>
                <a:cubicBezTo>
                  <a:pt x="10143780" y="960488"/>
                  <a:pt x="10140535" y="966898"/>
                  <a:pt x="10150267" y="981671"/>
                </a:cubicBezTo>
                <a:cubicBezTo>
                  <a:pt x="10151657" y="978884"/>
                  <a:pt x="10152120" y="972473"/>
                  <a:pt x="10158144" y="973867"/>
                </a:cubicBezTo>
                <a:cubicBezTo>
                  <a:pt x="10154901" y="969825"/>
                  <a:pt x="10156291" y="959373"/>
                  <a:pt x="10148412" y="962021"/>
                </a:cubicBezTo>
                <a:cubicBezTo>
                  <a:pt x="10150267" y="955331"/>
                  <a:pt x="10159533" y="955471"/>
                  <a:pt x="10159533" y="944740"/>
                </a:cubicBezTo>
                <a:cubicBezTo>
                  <a:pt x="10166022" y="943486"/>
                  <a:pt x="10166022" y="963136"/>
                  <a:pt x="10158144" y="957841"/>
                </a:cubicBezTo>
                <a:cubicBezTo>
                  <a:pt x="10163242" y="971218"/>
                  <a:pt x="10175753" y="951011"/>
                  <a:pt x="10174364" y="972334"/>
                </a:cubicBezTo>
                <a:cubicBezTo>
                  <a:pt x="10178996" y="971079"/>
                  <a:pt x="10177606" y="964669"/>
                  <a:pt x="10177606" y="959234"/>
                </a:cubicBezTo>
                <a:cubicBezTo>
                  <a:pt x="10190119" y="969964"/>
                  <a:pt x="10197533" y="989893"/>
                  <a:pt x="10219775" y="987246"/>
                </a:cubicBezTo>
                <a:cubicBezTo>
                  <a:pt x="10219775" y="1007314"/>
                  <a:pt x="10185485" y="1004386"/>
                  <a:pt x="10182240" y="991008"/>
                </a:cubicBezTo>
                <a:cubicBezTo>
                  <a:pt x="10190119" y="988360"/>
                  <a:pt x="10190119" y="997976"/>
                  <a:pt x="10197996" y="993935"/>
                </a:cubicBezTo>
                <a:cubicBezTo>
                  <a:pt x="10188264" y="969964"/>
                  <a:pt x="10156754" y="975399"/>
                  <a:pt x="10147022" y="998115"/>
                </a:cubicBezTo>
                <a:cubicBezTo>
                  <a:pt x="10154901" y="1007452"/>
                  <a:pt x="10172509" y="999231"/>
                  <a:pt x="10177606" y="1011215"/>
                </a:cubicBezTo>
                <a:cubicBezTo>
                  <a:pt x="10171582" y="1017347"/>
                  <a:pt x="10158608" y="1005223"/>
                  <a:pt x="10144242" y="1007871"/>
                </a:cubicBezTo>
                <a:cubicBezTo>
                  <a:pt x="10154901" y="1016093"/>
                  <a:pt x="10161850" y="1024733"/>
                  <a:pt x="10187338" y="1030726"/>
                </a:cubicBezTo>
                <a:cubicBezTo>
                  <a:pt x="10236921" y="1044244"/>
                  <a:pt x="10280943" y="1064452"/>
                  <a:pt x="10309674" y="1095390"/>
                </a:cubicBezTo>
                <a:cubicBezTo>
                  <a:pt x="10320795" y="1098037"/>
                  <a:pt x="10321723" y="1085773"/>
                  <a:pt x="10334234" y="1089815"/>
                </a:cubicBezTo>
                <a:cubicBezTo>
                  <a:pt x="10360994" y="1115632"/>
                  <a:pt x="10386626" y="1141797"/>
                  <a:pt x="10410324" y="1169312"/>
                </a:cubicBezTo>
                <a:lnTo>
                  <a:pt x="10450359" y="1223690"/>
                </a:lnTo>
                <a:lnTo>
                  <a:pt x="10468969" y="1215623"/>
                </a:lnTo>
                <a:cubicBezTo>
                  <a:pt x="10474189" y="1211004"/>
                  <a:pt x="10477781" y="1204315"/>
                  <a:pt x="10478476" y="1194838"/>
                </a:cubicBezTo>
                <a:cubicBezTo>
                  <a:pt x="10478476" y="1211562"/>
                  <a:pt x="10480793" y="1215185"/>
                  <a:pt x="10486816" y="1227170"/>
                </a:cubicBezTo>
                <a:cubicBezTo>
                  <a:pt x="10484963" y="1219086"/>
                  <a:pt x="10473842" y="1224522"/>
                  <a:pt x="10471988" y="1215046"/>
                </a:cubicBezTo>
                <a:cubicBezTo>
                  <a:pt x="10468860" y="1222467"/>
                  <a:pt x="10464863" y="1227867"/>
                  <a:pt x="10460280" y="1231963"/>
                </a:cubicBezTo>
                <a:lnTo>
                  <a:pt x="10457619" y="1233551"/>
                </a:lnTo>
                <a:lnTo>
                  <a:pt x="10474815" y="1256909"/>
                </a:lnTo>
                <a:lnTo>
                  <a:pt x="10482785" y="1273772"/>
                </a:lnTo>
                <a:lnTo>
                  <a:pt x="10485426" y="1273020"/>
                </a:lnTo>
                <a:lnTo>
                  <a:pt x="10486070" y="1280722"/>
                </a:lnTo>
                <a:lnTo>
                  <a:pt x="10491792" y="1292830"/>
                </a:lnTo>
                <a:lnTo>
                  <a:pt x="10494456" y="1292491"/>
                </a:lnTo>
                <a:cubicBezTo>
                  <a:pt x="10498170" y="1289577"/>
                  <a:pt x="10497128" y="1281765"/>
                  <a:pt x="10504426" y="1283751"/>
                </a:cubicBezTo>
                <a:cubicBezTo>
                  <a:pt x="10513230" y="1292252"/>
                  <a:pt x="10525741" y="1298941"/>
                  <a:pt x="10537789" y="1305352"/>
                </a:cubicBezTo>
                <a:cubicBezTo>
                  <a:pt x="10546130" y="1301867"/>
                  <a:pt x="10554935" y="1297408"/>
                  <a:pt x="10560496" y="1297408"/>
                </a:cubicBezTo>
                <a:cubicBezTo>
                  <a:pt x="10574862" y="1296014"/>
                  <a:pt x="10589690" y="1317337"/>
                  <a:pt x="10600812" y="1293227"/>
                </a:cubicBezTo>
                <a:cubicBezTo>
                  <a:pt x="10616566" y="1321378"/>
                  <a:pt x="10638809" y="1295736"/>
                  <a:pt x="10664296" y="1291695"/>
                </a:cubicBezTo>
                <a:cubicBezTo>
                  <a:pt x="10668930" y="1291695"/>
                  <a:pt x="10667540" y="1285563"/>
                  <a:pt x="10667540" y="1280127"/>
                </a:cubicBezTo>
                <a:cubicBezTo>
                  <a:pt x="10704148" y="1292252"/>
                  <a:pt x="10728245" y="1273159"/>
                  <a:pt x="10753732" y="1265076"/>
                </a:cubicBezTo>
                <a:cubicBezTo>
                  <a:pt x="10764853" y="1265076"/>
                  <a:pt x="10770877" y="1273020"/>
                  <a:pt x="10774122" y="1283751"/>
                </a:cubicBezTo>
                <a:cubicBezTo>
                  <a:pt x="10790340" y="1286399"/>
                  <a:pt x="10790340" y="1271905"/>
                  <a:pt x="10803316" y="1269257"/>
                </a:cubicBezTo>
                <a:cubicBezTo>
                  <a:pt x="10801461" y="1288071"/>
                  <a:pt x="10830192" y="1265076"/>
                  <a:pt x="10828338" y="1282497"/>
                </a:cubicBezTo>
                <a:cubicBezTo>
                  <a:pt x="10839459" y="1267724"/>
                  <a:pt x="10860776" y="1273159"/>
                  <a:pt x="10873287" y="1275807"/>
                </a:cubicBezTo>
                <a:cubicBezTo>
                  <a:pt x="10865410" y="1273159"/>
                  <a:pt x="10889507" y="1285283"/>
                  <a:pt x="10897384" y="1285283"/>
                </a:cubicBezTo>
                <a:cubicBezTo>
                  <a:pt x="10906652" y="1285283"/>
                  <a:pt x="10913139" y="1275807"/>
                  <a:pt x="10922870" y="1275807"/>
                </a:cubicBezTo>
                <a:cubicBezTo>
                  <a:pt x="10933992" y="1274413"/>
                  <a:pt x="10945113" y="1288071"/>
                  <a:pt x="10956234" y="1289464"/>
                </a:cubicBezTo>
                <a:cubicBezTo>
                  <a:pt x="10971990" y="1290719"/>
                  <a:pt x="11002573" y="1294761"/>
                  <a:pt x="11029915" y="1286677"/>
                </a:cubicBezTo>
                <a:cubicBezTo>
                  <a:pt x="11034549" y="1296014"/>
                  <a:pt x="11037791" y="1293367"/>
                  <a:pt x="11034549" y="1306885"/>
                </a:cubicBezTo>
                <a:cubicBezTo>
                  <a:pt x="11056791" y="1274693"/>
                  <a:pt x="11074399" y="1308278"/>
                  <a:pt x="11098496" y="1301589"/>
                </a:cubicBezTo>
                <a:cubicBezTo>
                  <a:pt x="11097106" y="1290858"/>
                  <a:pt x="11084131" y="1292112"/>
                  <a:pt x="11084131" y="1278733"/>
                </a:cubicBezTo>
                <a:cubicBezTo>
                  <a:pt x="11096643" y="1309533"/>
                  <a:pt x="11142983" y="1281243"/>
                  <a:pt x="11168932" y="1287931"/>
                </a:cubicBezTo>
                <a:cubicBezTo>
                  <a:pt x="11167079" y="1269117"/>
                  <a:pt x="11139739" y="1285423"/>
                  <a:pt x="11141593" y="1261314"/>
                </a:cubicBezTo>
                <a:cubicBezTo>
                  <a:pt x="11130472" y="1285423"/>
                  <a:pt x="11109155" y="1265076"/>
                  <a:pt x="11090155" y="1273020"/>
                </a:cubicBezTo>
                <a:cubicBezTo>
                  <a:pt x="11139739" y="1244869"/>
                  <a:pt x="11212029" y="1242220"/>
                  <a:pt x="11250027" y="1232744"/>
                </a:cubicBezTo>
                <a:cubicBezTo>
                  <a:pt x="11234271" y="1197904"/>
                  <a:pt x="11171712" y="1247796"/>
                  <a:pt x="11155494" y="1207520"/>
                </a:cubicBezTo>
                <a:cubicBezTo>
                  <a:pt x="11135104" y="1219644"/>
                  <a:pt x="11131397" y="1216996"/>
                  <a:pt x="11117033" y="1227728"/>
                </a:cubicBezTo>
                <a:cubicBezTo>
                  <a:pt x="11120276" y="1215603"/>
                  <a:pt x="11118886" y="1208775"/>
                  <a:pt x="11109617" y="1203339"/>
                </a:cubicBezTo>
                <a:cubicBezTo>
                  <a:pt x="11092009" y="1235532"/>
                  <a:pt x="11045670" y="1202085"/>
                  <a:pt x="11037791" y="1234278"/>
                </a:cubicBezTo>
                <a:cubicBezTo>
                  <a:pt x="11028060" y="1212815"/>
                  <a:pt x="11013696" y="1233163"/>
                  <a:pt x="11003965" y="1229121"/>
                </a:cubicBezTo>
                <a:cubicBezTo>
                  <a:pt x="11003965" y="1222431"/>
                  <a:pt x="11013696" y="1226473"/>
                  <a:pt x="11013696" y="1219784"/>
                </a:cubicBezTo>
                <a:cubicBezTo>
                  <a:pt x="11010452" y="1198322"/>
                  <a:pt x="10967355" y="1216996"/>
                  <a:pt x="10971990" y="1227728"/>
                </a:cubicBezTo>
                <a:cubicBezTo>
                  <a:pt x="10956234" y="1206265"/>
                  <a:pt x="10933992" y="1224940"/>
                  <a:pt x="10911749" y="1235671"/>
                </a:cubicBezTo>
                <a:cubicBezTo>
                  <a:pt x="10897384" y="1222293"/>
                  <a:pt x="10836679" y="1213095"/>
                  <a:pt x="10824168" y="1239852"/>
                </a:cubicBezTo>
                <a:cubicBezTo>
                  <a:pt x="10817679" y="1238458"/>
                  <a:pt x="10815827" y="1232883"/>
                  <a:pt x="10815827" y="1223546"/>
                </a:cubicBezTo>
                <a:cubicBezTo>
                  <a:pt x="10782463" y="1228843"/>
                  <a:pt x="10761608" y="1235671"/>
                  <a:pt x="10726390" y="1223546"/>
                </a:cubicBezTo>
                <a:cubicBezTo>
                  <a:pt x="10755122" y="1210168"/>
                  <a:pt x="10781072" y="1226473"/>
                  <a:pt x="10800071" y="1200970"/>
                </a:cubicBezTo>
                <a:cubicBezTo>
                  <a:pt x="10796826" y="1197068"/>
                  <a:pt x="10792194" y="1198322"/>
                  <a:pt x="10792194" y="1190378"/>
                </a:cubicBezTo>
                <a:cubicBezTo>
                  <a:pt x="10779219" y="1193027"/>
                  <a:pt x="10779219" y="1194141"/>
                  <a:pt x="10769487" y="1187452"/>
                </a:cubicBezTo>
                <a:cubicBezTo>
                  <a:pt x="10758366" y="1198183"/>
                  <a:pt x="10739367" y="1207520"/>
                  <a:pt x="10727782" y="1195396"/>
                </a:cubicBezTo>
                <a:cubicBezTo>
                  <a:pt x="10718514" y="1215464"/>
                  <a:pt x="10699514" y="1206126"/>
                  <a:pt x="10687002" y="1226194"/>
                </a:cubicBezTo>
                <a:cubicBezTo>
                  <a:pt x="10701368" y="1210168"/>
                  <a:pt x="10680516" y="1214070"/>
                  <a:pt x="10670785" y="1211422"/>
                </a:cubicBezTo>
                <a:cubicBezTo>
                  <a:pt x="10721758" y="1181878"/>
                  <a:pt x="10779219" y="1187591"/>
                  <a:pt x="10820924" y="1171425"/>
                </a:cubicBezTo>
                <a:cubicBezTo>
                  <a:pt x="10826948" y="1174073"/>
                  <a:pt x="10841313" y="1192608"/>
                  <a:pt x="10846410" y="1172540"/>
                </a:cubicBezTo>
                <a:cubicBezTo>
                  <a:pt x="10855679" y="1176581"/>
                  <a:pt x="10857532" y="1187591"/>
                  <a:pt x="10866800" y="1191633"/>
                </a:cubicBezTo>
                <a:cubicBezTo>
                  <a:pt x="10862166" y="1184944"/>
                  <a:pt x="10870045" y="1184525"/>
                  <a:pt x="10879311" y="1173794"/>
                </a:cubicBezTo>
                <a:cubicBezTo>
                  <a:pt x="10884408" y="1173794"/>
                  <a:pt x="10881628" y="1187312"/>
                  <a:pt x="10889507" y="1185919"/>
                </a:cubicBezTo>
                <a:cubicBezTo>
                  <a:pt x="10902018" y="1187312"/>
                  <a:pt x="10894139" y="1165991"/>
                  <a:pt x="10908505" y="1167245"/>
                </a:cubicBezTo>
                <a:cubicBezTo>
                  <a:pt x="10907115" y="1175328"/>
                  <a:pt x="10909895" y="1175328"/>
                  <a:pt x="10914529" y="1175328"/>
                </a:cubicBezTo>
                <a:cubicBezTo>
                  <a:pt x="10940016" y="1145783"/>
                  <a:pt x="10999331" y="1174073"/>
                  <a:pt x="11023428" y="1158047"/>
                </a:cubicBezTo>
                <a:cubicBezTo>
                  <a:pt x="11050305" y="1176860"/>
                  <a:pt x="11079033" y="1145922"/>
                  <a:pt x="11117033" y="1159300"/>
                </a:cubicBezTo>
                <a:cubicBezTo>
                  <a:pt x="11131397" y="1148570"/>
                  <a:pt x="11157348" y="1139093"/>
                  <a:pt x="11161981" y="1155120"/>
                </a:cubicBezTo>
                <a:cubicBezTo>
                  <a:pt x="11168470" y="1152472"/>
                  <a:pt x="11173566" y="1145504"/>
                  <a:pt x="11178201" y="1141462"/>
                </a:cubicBezTo>
                <a:cubicBezTo>
                  <a:pt x="11176346" y="1137422"/>
                  <a:pt x="11169859" y="1137978"/>
                  <a:pt x="11171249" y="1129895"/>
                </a:cubicBezTo>
                <a:cubicBezTo>
                  <a:pt x="11176346" y="1146062"/>
                  <a:pt x="11186077" y="1132265"/>
                  <a:pt x="11193956" y="1132265"/>
                </a:cubicBezTo>
                <a:cubicBezTo>
                  <a:pt x="11232417" y="1132265"/>
                  <a:pt x="11286635" y="1131010"/>
                  <a:pt x="11329729" y="1133659"/>
                </a:cubicBezTo>
                <a:cubicBezTo>
                  <a:pt x="11329729" y="1148431"/>
                  <a:pt x="11326487" y="1144250"/>
                  <a:pt x="11317218" y="1141462"/>
                </a:cubicBezTo>
                <a:cubicBezTo>
                  <a:pt x="11318608" y="1146897"/>
                  <a:pt x="11316755" y="1150104"/>
                  <a:pt x="11313512" y="1151497"/>
                </a:cubicBezTo>
                <a:cubicBezTo>
                  <a:pt x="11315366" y="1155538"/>
                  <a:pt x="11321853" y="1154005"/>
                  <a:pt x="11321853" y="1150104"/>
                </a:cubicBezTo>
                <a:cubicBezTo>
                  <a:pt x="11329729" y="1154005"/>
                  <a:pt x="11317218" y="1161809"/>
                  <a:pt x="11325097" y="1165850"/>
                </a:cubicBezTo>
                <a:cubicBezTo>
                  <a:pt x="11344095" y="1126968"/>
                  <a:pt x="11381168" y="1160694"/>
                  <a:pt x="11409897" y="1159300"/>
                </a:cubicBezTo>
                <a:cubicBezTo>
                  <a:pt x="11409897" y="1156653"/>
                  <a:pt x="11402947" y="1153726"/>
                  <a:pt x="11401093" y="1155120"/>
                </a:cubicBezTo>
                <a:cubicBezTo>
                  <a:pt x="11402020" y="1154562"/>
                  <a:pt x="11403410" y="1154702"/>
                  <a:pt x="11403872" y="1154284"/>
                </a:cubicBezTo>
                <a:cubicBezTo>
                  <a:pt x="11404800" y="1142717"/>
                  <a:pt x="11410362" y="1137003"/>
                  <a:pt x="11422873" y="1137003"/>
                </a:cubicBezTo>
                <a:cubicBezTo>
                  <a:pt x="11424725" y="1138954"/>
                  <a:pt x="11423800" y="1143274"/>
                  <a:pt x="11424725" y="1146201"/>
                </a:cubicBezTo>
                <a:cubicBezTo>
                  <a:pt x="11453920" y="1134356"/>
                  <a:pt x="11484968" y="1129199"/>
                  <a:pt x="11498869" y="1142996"/>
                </a:cubicBezTo>
                <a:cubicBezTo>
                  <a:pt x="11508600" y="1144250"/>
                  <a:pt x="11498869" y="1124321"/>
                  <a:pt x="11509990" y="1126968"/>
                </a:cubicBezTo>
                <a:cubicBezTo>
                  <a:pt x="11500259" y="1140347"/>
                  <a:pt x="11522503" y="1133937"/>
                  <a:pt x="11521114" y="1150104"/>
                </a:cubicBezTo>
                <a:cubicBezTo>
                  <a:pt x="11528990" y="1142299"/>
                  <a:pt x="11537794" y="1144389"/>
                  <a:pt x="11543818" y="1154284"/>
                </a:cubicBezTo>
                <a:cubicBezTo>
                  <a:pt x="11537331" y="1161391"/>
                  <a:pt x="11551697" y="1167802"/>
                  <a:pt x="11554477" y="1171425"/>
                </a:cubicBezTo>
                <a:cubicBezTo>
                  <a:pt x="11562819" y="1156653"/>
                  <a:pt x="11573939" y="1155120"/>
                  <a:pt x="11586451" y="1152333"/>
                </a:cubicBezTo>
                <a:cubicBezTo>
                  <a:pt x="11586451" y="1161809"/>
                  <a:pt x="11578573" y="1162088"/>
                  <a:pt x="11573939" y="1158047"/>
                </a:cubicBezTo>
                <a:cubicBezTo>
                  <a:pt x="11572549" y="1168778"/>
                  <a:pt x="11568843" y="1174212"/>
                  <a:pt x="11575330" y="1190378"/>
                </a:cubicBezTo>
                <a:cubicBezTo>
                  <a:pt x="11581817" y="1172959"/>
                  <a:pt x="11585060" y="1195255"/>
                  <a:pt x="11597572" y="1183271"/>
                </a:cubicBezTo>
                <a:cubicBezTo>
                  <a:pt x="11597572" y="1188567"/>
                  <a:pt x="11599426" y="1191633"/>
                  <a:pt x="11601279" y="1191633"/>
                </a:cubicBezTo>
                <a:cubicBezTo>
                  <a:pt x="11594792" y="1209053"/>
                  <a:pt x="11594329" y="1226473"/>
                  <a:pt x="11583208" y="1229121"/>
                </a:cubicBezTo>
                <a:cubicBezTo>
                  <a:pt x="11586451" y="1233163"/>
                  <a:pt x="11587841" y="1238180"/>
                  <a:pt x="11587841" y="1245008"/>
                </a:cubicBezTo>
                <a:cubicBezTo>
                  <a:pt x="11592475" y="1245008"/>
                  <a:pt x="11594792" y="1239852"/>
                  <a:pt x="11601279" y="1239852"/>
                </a:cubicBezTo>
                <a:cubicBezTo>
                  <a:pt x="11599426" y="1250583"/>
                  <a:pt x="11605913" y="1253230"/>
                  <a:pt x="11613791" y="1250583"/>
                </a:cubicBezTo>
                <a:cubicBezTo>
                  <a:pt x="11604061" y="1261314"/>
                  <a:pt x="11608695" y="1273159"/>
                  <a:pt x="11615182" y="1282497"/>
                </a:cubicBezTo>
                <a:cubicBezTo>
                  <a:pt x="11610548" y="1278455"/>
                  <a:pt x="11607303" y="1278455"/>
                  <a:pt x="11602206" y="1283751"/>
                </a:cubicBezTo>
                <a:cubicBezTo>
                  <a:pt x="11610548" y="1294481"/>
                  <a:pt x="11604061" y="1310787"/>
                  <a:pt x="11594329" y="1317476"/>
                </a:cubicBezTo>
                <a:cubicBezTo>
                  <a:pt x="11597572" y="1328208"/>
                  <a:pt x="11602206" y="1310648"/>
                  <a:pt x="11610548" y="1316083"/>
                </a:cubicBezTo>
                <a:lnTo>
                  <a:pt x="11612402" y="1344234"/>
                </a:lnTo>
                <a:cubicBezTo>
                  <a:pt x="11601743" y="1340331"/>
                  <a:pt x="11598037" y="1344651"/>
                  <a:pt x="11590622" y="1345627"/>
                </a:cubicBezTo>
                <a:cubicBezTo>
                  <a:pt x="11595719" y="1359006"/>
                  <a:pt x="11613327" y="1353152"/>
                  <a:pt x="11624913" y="1358170"/>
                </a:cubicBezTo>
                <a:cubicBezTo>
                  <a:pt x="11625840" y="1368622"/>
                  <a:pt x="11607767" y="1362351"/>
                  <a:pt x="11600816" y="1364302"/>
                </a:cubicBezTo>
                <a:cubicBezTo>
                  <a:pt x="11601743" y="1377541"/>
                  <a:pt x="11610085" y="1378098"/>
                  <a:pt x="11619816" y="1377401"/>
                </a:cubicBezTo>
                <a:cubicBezTo>
                  <a:pt x="11625376" y="1373778"/>
                  <a:pt x="11637424" y="1379074"/>
                  <a:pt x="11642059" y="1382140"/>
                </a:cubicBezTo>
                <a:cubicBezTo>
                  <a:pt x="11643448" y="1386460"/>
                  <a:pt x="11641131" y="1386879"/>
                  <a:pt x="11639279" y="1388132"/>
                </a:cubicBezTo>
                <a:cubicBezTo>
                  <a:pt x="11665228" y="1385485"/>
                  <a:pt x="11691642" y="1378795"/>
                  <a:pt x="11699519" y="1356916"/>
                </a:cubicBezTo>
                <a:cubicBezTo>
                  <a:pt x="11708323" y="1357751"/>
                  <a:pt x="11723153" y="1365417"/>
                  <a:pt x="11723615" y="1348972"/>
                </a:cubicBezTo>
                <a:cubicBezTo>
                  <a:pt x="11752347" y="1376566"/>
                  <a:pt x="11794051" y="1341586"/>
                  <a:pt x="11810734" y="1350784"/>
                </a:cubicBezTo>
                <a:cubicBezTo>
                  <a:pt x="11807953" y="1358448"/>
                  <a:pt x="11795442" y="1359424"/>
                  <a:pt x="11792197" y="1367088"/>
                </a:cubicBezTo>
                <a:cubicBezTo>
                  <a:pt x="11794979" y="1377262"/>
                  <a:pt x="11802856" y="1379910"/>
                  <a:pt x="11801929" y="1391895"/>
                </a:cubicBezTo>
                <a:cubicBezTo>
                  <a:pt x="11856146" y="1383116"/>
                  <a:pt x="11920095" y="1406250"/>
                  <a:pt x="11967825" y="1381582"/>
                </a:cubicBezTo>
                <a:cubicBezTo>
                  <a:pt x="12004895" y="1401093"/>
                  <a:pt x="12018334" y="1388411"/>
                  <a:pt x="12061430" y="1398445"/>
                </a:cubicBezTo>
                <a:cubicBezTo>
                  <a:pt x="12007212" y="1405691"/>
                  <a:pt x="11917314" y="1396076"/>
                  <a:pt x="11848270" y="1397051"/>
                </a:cubicBezTo>
                <a:cubicBezTo>
                  <a:pt x="11832050" y="1396772"/>
                  <a:pt x="11803783" y="1423112"/>
                  <a:pt x="11797296" y="1387714"/>
                </a:cubicBezTo>
                <a:cubicBezTo>
                  <a:pt x="11781540" y="1388969"/>
                  <a:pt x="11760224" y="1386321"/>
                  <a:pt x="11757907" y="1399978"/>
                </a:cubicBezTo>
                <a:cubicBezTo>
                  <a:pt x="11747248" y="1399281"/>
                  <a:pt x="11747713" y="1382976"/>
                  <a:pt x="11731957" y="1388690"/>
                </a:cubicBezTo>
                <a:cubicBezTo>
                  <a:pt x="11728713" y="1388969"/>
                  <a:pt x="11727323" y="1393428"/>
                  <a:pt x="11723615" y="1393707"/>
                </a:cubicBezTo>
                <a:cubicBezTo>
                  <a:pt x="11714812" y="1394404"/>
                  <a:pt x="11731957" y="1410709"/>
                  <a:pt x="11722226" y="1418931"/>
                </a:cubicBezTo>
                <a:cubicBezTo>
                  <a:pt x="11713422" y="1421161"/>
                  <a:pt x="11705080" y="1384509"/>
                  <a:pt x="11703691" y="1410013"/>
                </a:cubicBezTo>
                <a:cubicBezTo>
                  <a:pt x="11680984" y="1399978"/>
                  <a:pt x="11657351" y="1397469"/>
                  <a:pt x="11631400" y="1397609"/>
                </a:cubicBezTo>
                <a:cubicBezTo>
                  <a:pt x="11635107" y="1404577"/>
                  <a:pt x="11645766" y="1407922"/>
                  <a:pt x="11634181" y="1413914"/>
                </a:cubicBezTo>
                <a:cubicBezTo>
                  <a:pt x="11640668" y="1416562"/>
                  <a:pt x="11643913" y="1423251"/>
                  <a:pt x="11649935" y="1424645"/>
                </a:cubicBezTo>
                <a:cubicBezTo>
                  <a:pt x="11648545" y="1428547"/>
                  <a:pt x="11647155" y="1432589"/>
                  <a:pt x="11652253" y="1432589"/>
                </a:cubicBezTo>
                <a:cubicBezTo>
                  <a:pt x="11647155" y="1439279"/>
                  <a:pt x="11630010" y="1448754"/>
                  <a:pt x="11636034" y="1454190"/>
                </a:cubicBezTo>
                <a:cubicBezTo>
                  <a:pt x="11621669" y="1464921"/>
                  <a:pt x="11608695" y="1454469"/>
                  <a:pt x="11591085" y="1462552"/>
                </a:cubicBezTo>
                <a:cubicBezTo>
                  <a:pt x="11592939" y="1475930"/>
                  <a:pt x="11604061" y="1466175"/>
                  <a:pt x="11610548" y="1464921"/>
                </a:cubicBezTo>
                <a:cubicBezTo>
                  <a:pt x="11609620" y="1474258"/>
                  <a:pt x="11612402" y="1477463"/>
                  <a:pt x="11615182" y="1480808"/>
                </a:cubicBezTo>
                <a:cubicBezTo>
                  <a:pt x="11621206" y="1482062"/>
                  <a:pt x="11626765" y="1483038"/>
                  <a:pt x="11634644" y="1479972"/>
                </a:cubicBezTo>
                <a:cubicBezTo>
                  <a:pt x="11634644" y="1480390"/>
                  <a:pt x="11635107" y="1480390"/>
                  <a:pt x="11635107" y="1480808"/>
                </a:cubicBezTo>
                <a:cubicBezTo>
                  <a:pt x="11638814" y="1480669"/>
                  <a:pt x="11642986" y="1480250"/>
                  <a:pt x="11646693" y="1479972"/>
                </a:cubicBezTo>
                <a:cubicBezTo>
                  <a:pt x="11647155" y="1477045"/>
                  <a:pt x="11649472" y="1475373"/>
                  <a:pt x="11659666" y="1477882"/>
                </a:cubicBezTo>
                <a:cubicBezTo>
                  <a:pt x="11660131" y="1478300"/>
                  <a:pt x="11659666" y="1478300"/>
                  <a:pt x="11660131" y="1478439"/>
                </a:cubicBezTo>
                <a:cubicBezTo>
                  <a:pt x="11660594" y="1478439"/>
                  <a:pt x="11661521" y="1478578"/>
                  <a:pt x="11661983" y="1478439"/>
                </a:cubicBezTo>
                <a:cubicBezTo>
                  <a:pt x="11666156" y="1477185"/>
                  <a:pt x="11670325" y="1476069"/>
                  <a:pt x="11670325" y="1470077"/>
                </a:cubicBezTo>
                <a:cubicBezTo>
                  <a:pt x="11680984" y="1470774"/>
                  <a:pt x="11690715" y="1473422"/>
                  <a:pt x="11700909" y="1474676"/>
                </a:cubicBezTo>
                <a:cubicBezTo>
                  <a:pt x="11707398" y="1473978"/>
                  <a:pt x="11714347" y="1473422"/>
                  <a:pt x="11720836" y="1472864"/>
                </a:cubicBezTo>
                <a:cubicBezTo>
                  <a:pt x="11721298" y="1475373"/>
                  <a:pt x="11719446" y="1475651"/>
                  <a:pt x="11718981" y="1477602"/>
                </a:cubicBezTo>
                <a:cubicBezTo>
                  <a:pt x="11721763" y="1478159"/>
                  <a:pt x="11725006" y="1478159"/>
                  <a:pt x="11727785" y="1478856"/>
                </a:cubicBezTo>
                <a:cubicBezTo>
                  <a:pt x="11729177" y="1478439"/>
                  <a:pt x="11729640" y="1476906"/>
                  <a:pt x="11731957" y="1477602"/>
                </a:cubicBezTo>
                <a:cubicBezTo>
                  <a:pt x="11731494" y="1478439"/>
                  <a:pt x="11731957" y="1478578"/>
                  <a:pt x="11731494" y="1479414"/>
                </a:cubicBezTo>
                <a:cubicBezTo>
                  <a:pt x="11734274" y="1480111"/>
                  <a:pt x="11737054" y="1480111"/>
                  <a:pt x="11739834" y="1480808"/>
                </a:cubicBezTo>
                <a:cubicBezTo>
                  <a:pt x="11737054" y="1482201"/>
                  <a:pt x="11733810" y="1481783"/>
                  <a:pt x="11730567" y="1482341"/>
                </a:cubicBezTo>
                <a:cubicBezTo>
                  <a:pt x="11729177" y="1486243"/>
                  <a:pt x="11728713" y="1489588"/>
                  <a:pt x="11730567" y="1492096"/>
                </a:cubicBezTo>
                <a:cubicBezTo>
                  <a:pt x="11734274" y="1492932"/>
                  <a:pt x="11738444" y="1492653"/>
                  <a:pt x="11739834" y="1495301"/>
                </a:cubicBezTo>
                <a:cubicBezTo>
                  <a:pt x="11737981" y="1495301"/>
                  <a:pt x="11737517" y="1496277"/>
                  <a:pt x="11736127" y="1496695"/>
                </a:cubicBezTo>
                <a:cubicBezTo>
                  <a:pt x="11744933" y="1502269"/>
                  <a:pt x="11756516" y="1508959"/>
                  <a:pt x="11755590" y="1526797"/>
                </a:cubicBezTo>
                <a:cubicBezTo>
                  <a:pt x="11776442" y="1523453"/>
                  <a:pt x="11790808" y="1536134"/>
                  <a:pt x="11809345" y="1523870"/>
                </a:cubicBezTo>
                <a:cubicBezTo>
                  <a:pt x="11809807" y="1537249"/>
                  <a:pt x="11804246" y="1540872"/>
                  <a:pt x="11816758" y="1544356"/>
                </a:cubicBezTo>
                <a:cubicBezTo>
                  <a:pt x="11825563" y="1522616"/>
                  <a:pt x="11797296" y="1524288"/>
                  <a:pt x="11805636" y="1498646"/>
                </a:cubicBezTo>
                <a:cubicBezTo>
                  <a:pt x="11809345" y="1500458"/>
                  <a:pt x="11814904" y="1500458"/>
                  <a:pt x="11819539" y="1501016"/>
                </a:cubicBezTo>
                <a:cubicBezTo>
                  <a:pt x="11826026" y="1494884"/>
                  <a:pt x="11834367" y="1492096"/>
                  <a:pt x="11843171" y="1492096"/>
                </a:cubicBezTo>
                <a:cubicBezTo>
                  <a:pt x="11841781" y="1500178"/>
                  <a:pt x="11838538" y="1502269"/>
                  <a:pt x="11834367" y="1503384"/>
                </a:cubicBezTo>
                <a:cubicBezTo>
                  <a:pt x="11844098" y="1504500"/>
                  <a:pt x="11851976" y="1508680"/>
                  <a:pt x="11856609" y="1518714"/>
                </a:cubicBezTo>
                <a:cubicBezTo>
                  <a:pt x="11860781" y="1510630"/>
                  <a:pt x="11872829" y="1503663"/>
                  <a:pt x="11883023" y="1507844"/>
                </a:cubicBezTo>
                <a:cubicBezTo>
                  <a:pt x="11917314" y="1490703"/>
                  <a:pt x="11952070" y="1496277"/>
                  <a:pt x="11968752" y="1549653"/>
                </a:cubicBezTo>
                <a:cubicBezTo>
                  <a:pt x="11989605" y="1553136"/>
                  <a:pt x="11979873" y="1524985"/>
                  <a:pt x="11991457" y="1519132"/>
                </a:cubicBezTo>
                <a:cubicBezTo>
                  <a:pt x="11982653" y="1507147"/>
                  <a:pt x="11975239" y="1504639"/>
                  <a:pt x="11966898" y="1503384"/>
                </a:cubicBezTo>
                <a:cubicBezTo>
                  <a:pt x="11960411" y="1507425"/>
                  <a:pt x="11952996" y="1507147"/>
                  <a:pt x="11952070" y="1491538"/>
                </a:cubicBezTo>
                <a:cubicBezTo>
                  <a:pt x="11955776" y="1495998"/>
                  <a:pt x="11962728" y="1495860"/>
                  <a:pt x="11969215" y="1494743"/>
                </a:cubicBezTo>
                <a:cubicBezTo>
                  <a:pt x="11981726" y="1489588"/>
                  <a:pt x="12003970" y="1498925"/>
                  <a:pt x="12016016" y="1494743"/>
                </a:cubicBezTo>
                <a:cubicBezTo>
                  <a:pt x="12002116" y="1464363"/>
                  <a:pt x="12006750" y="1452796"/>
                  <a:pt x="12001653" y="1427851"/>
                </a:cubicBezTo>
                <a:cubicBezTo>
                  <a:pt x="12018334" y="1440254"/>
                  <a:pt x="12032236" y="1469241"/>
                  <a:pt x="12041968" y="1512582"/>
                </a:cubicBezTo>
                <a:cubicBezTo>
                  <a:pt x="12035479" y="1508122"/>
                  <a:pt x="12031772" y="1499064"/>
                  <a:pt x="12023432" y="1498925"/>
                </a:cubicBezTo>
                <a:cubicBezTo>
                  <a:pt x="12017408" y="1510771"/>
                  <a:pt x="12032236" y="1515509"/>
                  <a:pt x="12035944" y="1528609"/>
                </a:cubicBezTo>
                <a:cubicBezTo>
                  <a:pt x="12052626" y="1497392"/>
                  <a:pt x="12068380" y="1547701"/>
                  <a:pt x="12095259" y="1535437"/>
                </a:cubicBezTo>
                <a:cubicBezTo>
                  <a:pt x="12075331" y="1531675"/>
                  <a:pt x="12073941" y="1503663"/>
                  <a:pt x="12059113" y="1504639"/>
                </a:cubicBezTo>
                <a:cubicBezTo>
                  <a:pt x="12061893" y="1494743"/>
                  <a:pt x="12064673" y="1484710"/>
                  <a:pt x="12076722" y="1485546"/>
                </a:cubicBezTo>
                <a:cubicBezTo>
                  <a:pt x="12071624" y="1460601"/>
                  <a:pt x="12067917" y="1436630"/>
                  <a:pt x="12053552" y="1430777"/>
                </a:cubicBezTo>
                <a:cubicBezTo>
                  <a:pt x="12070235" y="1398306"/>
                  <a:pt x="12094331" y="1443180"/>
                  <a:pt x="12098501" y="1477882"/>
                </a:cubicBezTo>
                <a:cubicBezTo>
                  <a:pt x="12115646" y="1502409"/>
                  <a:pt x="12143451" y="1506590"/>
                  <a:pt x="12148084" y="1554669"/>
                </a:cubicBezTo>
                <a:cubicBezTo>
                  <a:pt x="12155036" y="1537388"/>
                  <a:pt x="12147622" y="1542406"/>
                  <a:pt x="12163378" y="1548119"/>
                </a:cubicBezTo>
                <a:cubicBezTo>
                  <a:pt x="12166157" y="1546447"/>
                  <a:pt x="12166620" y="1542266"/>
                  <a:pt x="12170791" y="1541569"/>
                </a:cubicBezTo>
                <a:cubicBezTo>
                  <a:pt x="12155036" y="1520943"/>
                  <a:pt x="12169402" y="1479275"/>
                  <a:pt x="12143451" y="1460182"/>
                </a:cubicBezTo>
                <a:cubicBezTo>
                  <a:pt x="12149012" y="1443041"/>
                  <a:pt x="12160596" y="1459347"/>
                  <a:pt x="12174034" y="1461298"/>
                </a:cubicBezTo>
                <a:cubicBezTo>
                  <a:pt x="12162913" y="1484710"/>
                  <a:pt x="12192106" y="1478717"/>
                  <a:pt x="12182376" y="1492514"/>
                </a:cubicBezTo>
                <a:cubicBezTo>
                  <a:pt x="12185155" y="1502827"/>
                  <a:pt x="12199058" y="1491260"/>
                  <a:pt x="12203228" y="1500040"/>
                </a:cubicBezTo>
                <a:cubicBezTo>
                  <a:pt x="12211107" y="1498925"/>
                  <a:pt x="12214813" y="1494187"/>
                  <a:pt x="12212959" y="1482341"/>
                </a:cubicBezTo>
                <a:cubicBezTo>
                  <a:pt x="12235666" y="1462552"/>
                  <a:pt x="12273202" y="1495998"/>
                  <a:pt x="12304247" y="1495301"/>
                </a:cubicBezTo>
                <a:cubicBezTo>
                  <a:pt x="12312589" y="1495441"/>
                  <a:pt x="12323248" y="1488472"/>
                  <a:pt x="12334834" y="1492096"/>
                </a:cubicBezTo>
                <a:cubicBezTo>
                  <a:pt x="12354759" y="1498507"/>
                  <a:pt x="12355220" y="1512164"/>
                  <a:pt x="12384415" y="1515927"/>
                </a:cubicBezTo>
                <a:cubicBezTo>
                  <a:pt x="12427511" y="1522895"/>
                  <a:pt x="12467827" y="1536692"/>
                  <a:pt x="12496092" y="1563588"/>
                </a:cubicBezTo>
                <a:cubicBezTo>
                  <a:pt x="12505825" y="1564843"/>
                  <a:pt x="12503508" y="1552858"/>
                  <a:pt x="12514630" y="1555227"/>
                </a:cubicBezTo>
                <a:cubicBezTo>
                  <a:pt x="12618892" y="1643861"/>
                  <a:pt x="12709718" y="1740160"/>
                  <a:pt x="12752350" y="1914221"/>
                </a:cubicBezTo>
                <a:cubicBezTo>
                  <a:pt x="12760228" y="1912968"/>
                  <a:pt x="12756057" y="1899868"/>
                  <a:pt x="12767179" y="1900983"/>
                </a:cubicBezTo>
                <a:cubicBezTo>
                  <a:pt x="12770886" y="1907115"/>
                  <a:pt x="12773204" y="1915059"/>
                  <a:pt x="12773665" y="1927183"/>
                </a:cubicBezTo>
                <a:cubicBezTo>
                  <a:pt x="12799152" y="1918542"/>
                  <a:pt x="12804249" y="1947809"/>
                  <a:pt x="12808420" y="1977631"/>
                </a:cubicBezTo>
                <a:cubicBezTo>
                  <a:pt x="12812129" y="1977492"/>
                  <a:pt x="12816763" y="1978885"/>
                  <a:pt x="12820005" y="1977631"/>
                </a:cubicBezTo>
                <a:cubicBezTo>
                  <a:pt x="12817689" y="1982091"/>
                  <a:pt x="12813518" y="1983903"/>
                  <a:pt x="12809811" y="1985715"/>
                </a:cubicBezTo>
                <a:cubicBezTo>
                  <a:pt x="12810738" y="1994912"/>
                  <a:pt x="12812129" y="2004528"/>
                  <a:pt x="12813982" y="2011775"/>
                </a:cubicBezTo>
                <a:cubicBezTo>
                  <a:pt x="12813982" y="2012054"/>
                  <a:pt x="12813982" y="2012611"/>
                  <a:pt x="12813982" y="2012890"/>
                </a:cubicBezTo>
                <a:cubicBezTo>
                  <a:pt x="12830201" y="2012751"/>
                  <a:pt x="12849663" y="2006200"/>
                  <a:pt x="12863103" y="2002019"/>
                </a:cubicBezTo>
                <a:cubicBezTo>
                  <a:pt x="12866345" y="1987247"/>
                  <a:pt x="12850126" y="1996724"/>
                  <a:pt x="12851981" y="1983346"/>
                </a:cubicBezTo>
                <a:cubicBezTo>
                  <a:pt x="12861248" y="1971221"/>
                  <a:pt x="12859858" y="1993936"/>
                  <a:pt x="12869588" y="1993936"/>
                </a:cubicBezTo>
                <a:cubicBezTo>
                  <a:pt x="12872833" y="1992683"/>
                  <a:pt x="12870978" y="1985854"/>
                  <a:pt x="12870978" y="1981812"/>
                </a:cubicBezTo>
                <a:cubicBezTo>
                  <a:pt x="12886734" y="2003273"/>
                  <a:pt x="12934463" y="1997839"/>
                  <a:pt x="12934463" y="2028638"/>
                </a:cubicBezTo>
                <a:cubicBezTo>
                  <a:pt x="12953464" y="2024596"/>
                  <a:pt x="12966439" y="2028777"/>
                  <a:pt x="12980805" y="2032819"/>
                </a:cubicBezTo>
                <a:cubicBezTo>
                  <a:pt x="12984047" y="2027523"/>
                  <a:pt x="12985438" y="2020415"/>
                  <a:pt x="12988680" y="2015120"/>
                </a:cubicBezTo>
                <a:cubicBezTo>
                  <a:pt x="13003046" y="2023063"/>
                  <a:pt x="13012779" y="2010103"/>
                  <a:pt x="13030386" y="2011357"/>
                </a:cubicBezTo>
                <a:cubicBezTo>
                  <a:pt x="13023900" y="2020833"/>
                  <a:pt x="13032241" y="2019301"/>
                  <a:pt x="13035020" y="2027383"/>
                </a:cubicBezTo>
                <a:cubicBezTo>
                  <a:pt x="13044289" y="2025433"/>
                  <a:pt x="13043363" y="2019579"/>
                  <a:pt x="13045215" y="2019718"/>
                </a:cubicBezTo>
                <a:cubicBezTo>
                  <a:pt x="13045215" y="2019579"/>
                  <a:pt x="13045679" y="2019021"/>
                  <a:pt x="13046141" y="2018883"/>
                </a:cubicBezTo>
                <a:cubicBezTo>
                  <a:pt x="13046605" y="2023063"/>
                  <a:pt x="13047070" y="2020276"/>
                  <a:pt x="13047531" y="2021252"/>
                </a:cubicBezTo>
                <a:cubicBezTo>
                  <a:pt x="13047996" y="2022227"/>
                  <a:pt x="13047531" y="2020694"/>
                  <a:pt x="13048459" y="2022087"/>
                </a:cubicBezTo>
                <a:cubicBezTo>
                  <a:pt x="13057727" y="2016793"/>
                  <a:pt x="13046141" y="2006200"/>
                  <a:pt x="13062362" y="2004946"/>
                </a:cubicBezTo>
                <a:cubicBezTo>
                  <a:pt x="13051703" y="2025014"/>
                  <a:pt x="13073947" y="2011496"/>
                  <a:pt x="13070238" y="2026268"/>
                </a:cubicBezTo>
                <a:cubicBezTo>
                  <a:pt x="13070701" y="2026826"/>
                  <a:pt x="13070701" y="2027523"/>
                  <a:pt x="13071166" y="2028358"/>
                </a:cubicBezTo>
                <a:cubicBezTo>
                  <a:pt x="13081360" y="2020276"/>
                  <a:pt x="13086458" y="2023202"/>
                  <a:pt x="13092945" y="2014144"/>
                </a:cubicBezTo>
                <a:cubicBezTo>
                  <a:pt x="13098969" y="2013029"/>
                  <a:pt x="13103601" y="2020415"/>
                  <a:pt x="13100822" y="2025990"/>
                </a:cubicBezTo>
                <a:cubicBezTo>
                  <a:pt x="13113799" y="2028358"/>
                  <a:pt x="13127236" y="2027104"/>
                  <a:pt x="13139747" y="2028358"/>
                </a:cubicBezTo>
                <a:cubicBezTo>
                  <a:pt x="13137430" y="2025711"/>
                  <a:pt x="13134188" y="2024736"/>
                  <a:pt x="13134188" y="2017907"/>
                </a:cubicBezTo>
                <a:cubicBezTo>
                  <a:pt x="13142992" y="2015955"/>
                  <a:pt x="13145772" y="2022506"/>
                  <a:pt x="13148551" y="2029614"/>
                </a:cubicBezTo>
                <a:cubicBezTo>
                  <a:pt x="13154576" y="2031425"/>
                  <a:pt x="13160136" y="2034630"/>
                  <a:pt x="13165233" y="2040762"/>
                </a:cubicBezTo>
                <a:cubicBezTo>
                  <a:pt x="13167551" y="2039927"/>
                  <a:pt x="13173113" y="2038671"/>
                  <a:pt x="13177744" y="2037139"/>
                </a:cubicBezTo>
                <a:cubicBezTo>
                  <a:pt x="13190720" y="2030867"/>
                  <a:pt x="13202769" y="2026268"/>
                  <a:pt x="13206939" y="2038951"/>
                </a:cubicBezTo>
                <a:cubicBezTo>
                  <a:pt x="13217135" y="2039089"/>
                  <a:pt x="13231501" y="2055535"/>
                  <a:pt x="13240305" y="2038114"/>
                </a:cubicBezTo>
                <a:cubicBezTo>
                  <a:pt x="13243085" y="2039508"/>
                  <a:pt x="13246791" y="2043410"/>
                  <a:pt x="13246791" y="2050239"/>
                </a:cubicBezTo>
                <a:cubicBezTo>
                  <a:pt x="13297766" y="2017489"/>
                  <a:pt x="13339007" y="2107795"/>
                  <a:pt x="13391833" y="2069470"/>
                </a:cubicBezTo>
                <a:cubicBezTo>
                  <a:pt x="13396468" y="2084522"/>
                  <a:pt x="13378859" y="2074906"/>
                  <a:pt x="13380713" y="2087309"/>
                </a:cubicBezTo>
                <a:cubicBezTo>
                  <a:pt x="13380713" y="2096784"/>
                  <a:pt x="13386736" y="2099433"/>
                  <a:pt x="13391833" y="2102220"/>
                </a:cubicBezTo>
                <a:cubicBezTo>
                  <a:pt x="13394614" y="2102220"/>
                  <a:pt x="13393225" y="2095532"/>
                  <a:pt x="13393225" y="2089957"/>
                </a:cubicBezTo>
                <a:cubicBezTo>
                  <a:pt x="13404347" y="2094137"/>
                  <a:pt x="13410832" y="2106401"/>
                  <a:pt x="13423344" y="2107795"/>
                </a:cubicBezTo>
                <a:cubicBezTo>
                  <a:pt x="13418712" y="2117410"/>
                  <a:pt x="13396468" y="2100967"/>
                  <a:pt x="13395079" y="2122846"/>
                </a:cubicBezTo>
                <a:cubicBezTo>
                  <a:pt x="13348739" y="2103754"/>
                  <a:pt x="13303789" y="2121174"/>
                  <a:pt x="13259302" y="2098040"/>
                </a:cubicBezTo>
                <a:cubicBezTo>
                  <a:pt x="13252816" y="2096646"/>
                  <a:pt x="13252816" y="2102360"/>
                  <a:pt x="13252816" y="2107795"/>
                </a:cubicBezTo>
                <a:cubicBezTo>
                  <a:pt x="13244938" y="2099573"/>
                  <a:pt x="13224087" y="2111697"/>
                  <a:pt x="13220842" y="2098040"/>
                </a:cubicBezTo>
                <a:cubicBezTo>
                  <a:pt x="13217597" y="2100826"/>
                  <a:pt x="13214354" y="2101245"/>
                  <a:pt x="13211110" y="2102220"/>
                </a:cubicBezTo>
                <a:cubicBezTo>
                  <a:pt x="13210183" y="2105844"/>
                  <a:pt x="13208792" y="2110581"/>
                  <a:pt x="13212501" y="2111557"/>
                </a:cubicBezTo>
                <a:cubicBezTo>
                  <a:pt x="13207866" y="2118107"/>
                  <a:pt x="13196281" y="2116854"/>
                  <a:pt x="13193501" y="2124657"/>
                </a:cubicBezTo>
                <a:cubicBezTo>
                  <a:pt x="13194428" y="2130511"/>
                  <a:pt x="13200453" y="2128978"/>
                  <a:pt x="13203232" y="2131765"/>
                </a:cubicBezTo>
                <a:cubicBezTo>
                  <a:pt x="13218526" y="2118804"/>
                  <a:pt x="13237524" y="2109049"/>
                  <a:pt x="13256523" y="2119362"/>
                </a:cubicBezTo>
                <a:cubicBezTo>
                  <a:pt x="13251889" y="2124657"/>
                  <a:pt x="13250035" y="2137478"/>
                  <a:pt x="13254671" y="2146676"/>
                </a:cubicBezTo>
                <a:cubicBezTo>
                  <a:pt x="13252816" y="2154481"/>
                  <a:pt x="13244012" y="2141660"/>
                  <a:pt x="13236134" y="2144307"/>
                </a:cubicBezTo>
                <a:cubicBezTo>
                  <a:pt x="13236134" y="2136364"/>
                  <a:pt x="13250498" y="2142775"/>
                  <a:pt x="13251889" y="2134970"/>
                </a:cubicBezTo>
                <a:cubicBezTo>
                  <a:pt x="13253281" y="2124518"/>
                  <a:pt x="13245402" y="2128281"/>
                  <a:pt x="13244012" y="2120476"/>
                </a:cubicBezTo>
                <a:cubicBezTo>
                  <a:pt x="13239376" y="2124379"/>
                  <a:pt x="13234280" y="2127167"/>
                  <a:pt x="13236134" y="2136225"/>
                </a:cubicBezTo>
                <a:cubicBezTo>
                  <a:pt x="13225012" y="2131069"/>
                  <a:pt x="13220377" y="2142914"/>
                  <a:pt x="13212501" y="2131208"/>
                </a:cubicBezTo>
                <a:cubicBezTo>
                  <a:pt x="13209257" y="2135110"/>
                  <a:pt x="13215280" y="2137619"/>
                  <a:pt x="13207403" y="2142775"/>
                </a:cubicBezTo>
                <a:cubicBezTo>
                  <a:pt x="13171258" y="2125772"/>
                  <a:pt x="13124456" y="2154481"/>
                  <a:pt x="13092945" y="2133577"/>
                </a:cubicBezTo>
                <a:cubicBezTo>
                  <a:pt x="13095726" y="2107377"/>
                  <a:pt x="13073482" y="2119223"/>
                  <a:pt x="13073482" y="2095670"/>
                </a:cubicBezTo>
                <a:cubicBezTo>
                  <a:pt x="13079970" y="2096925"/>
                  <a:pt x="13078118" y="2108631"/>
                  <a:pt x="13087384" y="2102220"/>
                </a:cubicBezTo>
                <a:cubicBezTo>
                  <a:pt x="13090629" y="2107377"/>
                  <a:pt x="13089238" y="2108770"/>
                  <a:pt x="13087384" y="2113927"/>
                </a:cubicBezTo>
                <a:cubicBezTo>
                  <a:pt x="13093871" y="2112673"/>
                  <a:pt x="13097115" y="2116854"/>
                  <a:pt x="13100359" y="2118107"/>
                </a:cubicBezTo>
                <a:cubicBezTo>
                  <a:pt x="13103140" y="2105007"/>
                  <a:pt x="13091090" y="2115182"/>
                  <a:pt x="13094336" y="2102220"/>
                </a:cubicBezTo>
                <a:cubicBezTo>
                  <a:pt x="13105919" y="2117829"/>
                  <a:pt x="13120750" y="2102081"/>
                  <a:pt x="13125381" y="2087309"/>
                </a:cubicBezTo>
                <a:cubicBezTo>
                  <a:pt x="13109626" y="2085636"/>
                  <a:pt x="13097115" y="2076020"/>
                  <a:pt x="13085532" y="2065708"/>
                </a:cubicBezTo>
                <a:cubicBezTo>
                  <a:pt x="13085067" y="2066404"/>
                  <a:pt x="13085067" y="2066823"/>
                  <a:pt x="13084604" y="2067520"/>
                </a:cubicBezTo>
                <a:cubicBezTo>
                  <a:pt x="13080431" y="2059994"/>
                  <a:pt x="13072556" y="2056231"/>
                  <a:pt x="13063752" y="2053583"/>
                </a:cubicBezTo>
                <a:cubicBezTo>
                  <a:pt x="13060045" y="2057904"/>
                  <a:pt x="13055874" y="2056231"/>
                  <a:pt x="13051703" y="2051214"/>
                </a:cubicBezTo>
                <a:cubicBezTo>
                  <a:pt x="13030850" y="2048148"/>
                  <a:pt x="13006288" y="2051075"/>
                  <a:pt x="12996558" y="2050239"/>
                </a:cubicBezTo>
                <a:cubicBezTo>
                  <a:pt x="12977560" y="2042156"/>
                  <a:pt x="12915466" y="2036720"/>
                  <a:pt x="12891369" y="2048845"/>
                </a:cubicBezTo>
                <a:cubicBezTo>
                  <a:pt x="12878856" y="2046057"/>
                  <a:pt x="12877467" y="2028638"/>
                  <a:pt x="12864492" y="2038114"/>
                </a:cubicBezTo>
                <a:cubicBezTo>
                  <a:pt x="12861248" y="2034073"/>
                  <a:pt x="12859858" y="2027523"/>
                  <a:pt x="12861713" y="2019440"/>
                </a:cubicBezTo>
                <a:lnTo>
                  <a:pt x="12850126" y="2019440"/>
                </a:lnTo>
                <a:cubicBezTo>
                  <a:pt x="12847347" y="2020694"/>
                  <a:pt x="12848737" y="2027383"/>
                  <a:pt x="12851981" y="2027383"/>
                </a:cubicBezTo>
                <a:cubicBezTo>
                  <a:pt x="12841785" y="2029056"/>
                  <a:pt x="12828811" y="2028499"/>
                  <a:pt x="12817224" y="2028358"/>
                </a:cubicBezTo>
                <a:cubicBezTo>
                  <a:pt x="12820005" y="2041737"/>
                  <a:pt x="12822786" y="2056510"/>
                  <a:pt x="12826029" y="2071283"/>
                </a:cubicBezTo>
                <a:cubicBezTo>
                  <a:pt x="12829274" y="2069610"/>
                  <a:pt x="12831126" y="2067798"/>
                  <a:pt x="12840394" y="2065151"/>
                </a:cubicBezTo>
                <a:cubicBezTo>
                  <a:pt x="12851516" y="2069191"/>
                  <a:pt x="12827883" y="2069191"/>
                  <a:pt x="12827883" y="2074626"/>
                </a:cubicBezTo>
                <a:cubicBezTo>
                  <a:pt x="12834371" y="2086612"/>
                  <a:pt x="12850126" y="2067937"/>
                  <a:pt x="12853370" y="2076020"/>
                </a:cubicBezTo>
                <a:cubicBezTo>
                  <a:pt x="12854760" y="2093441"/>
                  <a:pt x="12844101" y="2090793"/>
                  <a:pt x="12858467" y="2096228"/>
                </a:cubicBezTo>
                <a:cubicBezTo>
                  <a:pt x="12863103" y="2106958"/>
                  <a:pt x="12840394" y="2086612"/>
                  <a:pt x="12832519" y="2085219"/>
                </a:cubicBezTo>
                <a:cubicBezTo>
                  <a:pt x="12832519" y="2088702"/>
                  <a:pt x="12830201" y="2088005"/>
                  <a:pt x="12829274" y="2089120"/>
                </a:cubicBezTo>
                <a:cubicBezTo>
                  <a:pt x="12830664" y="2097482"/>
                  <a:pt x="12832519" y="2104589"/>
                  <a:pt x="12833444" y="2112812"/>
                </a:cubicBezTo>
                <a:cubicBezTo>
                  <a:pt x="12838542" y="2113648"/>
                  <a:pt x="12839468" y="2119362"/>
                  <a:pt x="12847808" y="2115182"/>
                </a:cubicBezTo>
                <a:cubicBezTo>
                  <a:pt x="12848273" y="2117829"/>
                  <a:pt x="12847808" y="2117968"/>
                  <a:pt x="12847808" y="2119362"/>
                </a:cubicBezTo>
                <a:cubicBezTo>
                  <a:pt x="12853370" y="2119223"/>
                  <a:pt x="12858006" y="2117690"/>
                  <a:pt x="12863103" y="2119920"/>
                </a:cubicBezTo>
                <a:cubicBezTo>
                  <a:pt x="12866810" y="2121452"/>
                  <a:pt x="12867736" y="2123264"/>
                  <a:pt x="12870517" y="2125075"/>
                </a:cubicBezTo>
                <a:lnTo>
                  <a:pt x="12870517" y="2111000"/>
                </a:lnTo>
                <a:lnTo>
                  <a:pt x="12880247" y="2110163"/>
                </a:lnTo>
                <a:cubicBezTo>
                  <a:pt x="12872369" y="2108770"/>
                  <a:pt x="12875149" y="2089678"/>
                  <a:pt x="12862637" y="2095113"/>
                </a:cubicBezTo>
                <a:cubicBezTo>
                  <a:pt x="12868662" y="2087030"/>
                  <a:pt x="12860785" y="2088424"/>
                  <a:pt x="12862637" y="2075184"/>
                </a:cubicBezTo>
                <a:cubicBezTo>
                  <a:pt x="12873761" y="2080480"/>
                  <a:pt x="12870517" y="2086890"/>
                  <a:pt x="12880247" y="2101663"/>
                </a:cubicBezTo>
                <a:cubicBezTo>
                  <a:pt x="12881637" y="2098876"/>
                  <a:pt x="12882100" y="2092465"/>
                  <a:pt x="12888125" y="2093859"/>
                </a:cubicBezTo>
                <a:cubicBezTo>
                  <a:pt x="12884883" y="2089817"/>
                  <a:pt x="12886271" y="2079365"/>
                  <a:pt x="12878392" y="2082013"/>
                </a:cubicBezTo>
                <a:cubicBezTo>
                  <a:pt x="12880247" y="2075323"/>
                  <a:pt x="12889514" y="2075464"/>
                  <a:pt x="12889514" y="2064733"/>
                </a:cubicBezTo>
                <a:cubicBezTo>
                  <a:pt x="12896003" y="2063478"/>
                  <a:pt x="12896003" y="2083128"/>
                  <a:pt x="12888125" y="2077833"/>
                </a:cubicBezTo>
                <a:cubicBezTo>
                  <a:pt x="12893222" y="2091210"/>
                  <a:pt x="12905733" y="2071003"/>
                  <a:pt x="12904344" y="2092326"/>
                </a:cubicBezTo>
                <a:cubicBezTo>
                  <a:pt x="12908976" y="2091071"/>
                  <a:pt x="12907587" y="2084661"/>
                  <a:pt x="12907587" y="2079226"/>
                </a:cubicBezTo>
                <a:cubicBezTo>
                  <a:pt x="12920099" y="2089957"/>
                  <a:pt x="12927513" y="2109885"/>
                  <a:pt x="12949757" y="2107238"/>
                </a:cubicBezTo>
                <a:cubicBezTo>
                  <a:pt x="12949757" y="2127306"/>
                  <a:pt x="12915466" y="2124379"/>
                  <a:pt x="12912221" y="2111000"/>
                </a:cubicBezTo>
                <a:cubicBezTo>
                  <a:pt x="12920099" y="2108353"/>
                  <a:pt x="12920099" y="2117968"/>
                  <a:pt x="12927977" y="2113927"/>
                </a:cubicBezTo>
                <a:cubicBezTo>
                  <a:pt x="12918244" y="2089957"/>
                  <a:pt x="12886734" y="2095391"/>
                  <a:pt x="12877003" y="2118107"/>
                </a:cubicBezTo>
                <a:cubicBezTo>
                  <a:pt x="12884883" y="2127445"/>
                  <a:pt x="12902489" y="2119223"/>
                  <a:pt x="12907587" y="2131208"/>
                </a:cubicBezTo>
                <a:cubicBezTo>
                  <a:pt x="12901562" y="2137339"/>
                  <a:pt x="12888589" y="2125215"/>
                  <a:pt x="12874223" y="2127863"/>
                </a:cubicBezTo>
                <a:cubicBezTo>
                  <a:pt x="12884883" y="2136085"/>
                  <a:pt x="12891832" y="2144725"/>
                  <a:pt x="12917318" y="2150718"/>
                </a:cubicBezTo>
                <a:cubicBezTo>
                  <a:pt x="12966901" y="2164236"/>
                  <a:pt x="13010924" y="2184444"/>
                  <a:pt x="13039655" y="2215382"/>
                </a:cubicBezTo>
                <a:cubicBezTo>
                  <a:pt x="13050777" y="2218029"/>
                  <a:pt x="13051703" y="2205765"/>
                  <a:pt x="13064214" y="2209807"/>
                </a:cubicBezTo>
                <a:cubicBezTo>
                  <a:pt x="13171258" y="2313074"/>
                  <a:pt x="13260230" y="2421916"/>
                  <a:pt x="13279693" y="2600437"/>
                </a:cubicBezTo>
                <a:cubicBezTo>
                  <a:pt x="13288962" y="2600437"/>
                  <a:pt x="13285716" y="2587060"/>
                  <a:pt x="13298692" y="2589707"/>
                </a:cubicBezTo>
                <a:cubicBezTo>
                  <a:pt x="13300544" y="2594167"/>
                  <a:pt x="13300544" y="2600995"/>
                  <a:pt x="13301010" y="2607545"/>
                </a:cubicBezTo>
                <a:cubicBezTo>
                  <a:pt x="13309812" y="2609218"/>
                  <a:pt x="13319545" y="2612005"/>
                  <a:pt x="13335763" y="2612561"/>
                </a:cubicBezTo>
                <a:cubicBezTo>
                  <a:pt x="13333911" y="2622039"/>
                  <a:pt x="13321399" y="2619530"/>
                  <a:pt x="13309351" y="2618695"/>
                </a:cubicBezTo>
                <a:cubicBezTo>
                  <a:pt x="13341786" y="2622457"/>
                  <a:pt x="13330666" y="2675414"/>
                  <a:pt x="13333911" y="2706213"/>
                </a:cubicBezTo>
                <a:cubicBezTo>
                  <a:pt x="13336689" y="2763910"/>
                  <a:pt x="13354300" y="2852543"/>
                  <a:pt x="13307959" y="2888776"/>
                </a:cubicBezTo>
                <a:cubicBezTo>
                  <a:pt x="13317690" y="2907590"/>
                  <a:pt x="13311203" y="2922362"/>
                  <a:pt x="13311203" y="2951907"/>
                </a:cubicBezTo>
                <a:lnTo>
                  <a:pt x="13292205" y="2951907"/>
                </a:lnTo>
                <a:cubicBezTo>
                  <a:pt x="13338080" y="3029810"/>
                  <a:pt x="13256987" y="3090433"/>
                  <a:pt x="13253742" y="3161507"/>
                </a:cubicBezTo>
                <a:cubicBezTo>
                  <a:pt x="13249109" y="3173631"/>
                  <a:pt x="13241231" y="3180042"/>
                  <a:pt x="13225012" y="3177254"/>
                </a:cubicBezTo>
                <a:cubicBezTo>
                  <a:pt x="13216208" y="3231466"/>
                  <a:pt x="13186551" y="3263101"/>
                  <a:pt x="13155503" y="3291949"/>
                </a:cubicBezTo>
                <a:cubicBezTo>
                  <a:pt x="13163844" y="3297384"/>
                  <a:pt x="13172185" y="3303656"/>
                  <a:pt x="13177744" y="3312714"/>
                </a:cubicBezTo>
                <a:cubicBezTo>
                  <a:pt x="13163844" y="3313271"/>
                  <a:pt x="13150867" y="3310902"/>
                  <a:pt x="13137430" y="3309369"/>
                </a:cubicBezTo>
                <a:cubicBezTo>
                  <a:pt x="13113799" y="3330553"/>
                  <a:pt x="13091090" y="3352571"/>
                  <a:pt x="13075800" y="3383231"/>
                </a:cubicBezTo>
                <a:cubicBezTo>
                  <a:pt x="13087848" y="3379329"/>
                  <a:pt x="13095262" y="3371385"/>
                  <a:pt x="13107773" y="3367761"/>
                </a:cubicBezTo>
                <a:cubicBezTo>
                  <a:pt x="13110091" y="3378075"/>
                  <a:pt x="13106847" y="3381280"/>
                  <a:pt x="13105919" y="3388806"/>
                </a:cubicBezTo>
                <a:cubicBezTo>
                  <a:pt x="13143454" y="3415702"/>
                  <a:pt x="13182845" y="3442459"/>
                  <a:pt x="13212501" y="3481899"/>
                </a:cubicBezTo>
                <a:cubicBezTo>
                  <a:pt x="13223158" y="3481062"/>
                  <a:pt x="13235208" y="3478276"/>
                  <a:pt x="13240767" y="3485243"/>
                </a:cubicBezTo>
                <a:cubicBezTo>
                  <a:pt x="13209257" y="3534020"/>
                  <a:pt x="13164772" y="3443575"/>
                  <a:pt x="13114260" y="3452076"/>
                </a:cubicBezTo>
                <a:cubicBezTo>
                  <a:pt x="13104530" y="3467685"/>
                  <a:pt x="13120284" y="3480087"/>
                  <a:pt x="13108702" y="3491375"/>
                </a:cubicBezTo>
                <a:cubicBezTo>
                  <a:pt x="13101286" y="3490400"/>
                  <a:pt x="13083215" y="3460438"/>
                  <a:pt x="13083677" y="3493187"/>
                </a:cubicBezTo>
                <a:cubicBezTo>
                  <a:pt x="13071166" y="3492630"/>
                  <a:pt x="13071629" y="3474791"/>
                  <a:pt x="13057727" y="3475906"/>
                </a:cubicBezTo>
                <a:cubicBezTo>
                  <a:pt x="13060045" y="3460855"/>
                  <a:pt x="13071629" y="3477996"/>
                  <a:pt x="13078579" y="3474513"/>
                </a:cubicBezTo>
                <a:cubicBezTo>
                  <a:pt x="13074873" y="3452354"/>
                  <a:pt x="13054483" y="3459740"/>
                  <a:pt x="13040118" y="3462389"/>
                </a:cubicBezTo>
                <a:cubicBezTo>
                  <a:pt x="13037337" y="3456396"/>
                  <a:pt x="13036411" y="3451100"/>
                  <a:pt x="13034559" y="3445525"/>
                </a:cubicBezTo>
                <a:cubicBezTo>
                  <a:pt x="13025290" y="3451657"/>
                  <a:pt x="13016022" y="3458208"/>
                  <a:pt x="13014631" y="3473956"/>
                </a:cubicBezTo>
                <a:cubicBezTo>
                  <a:pt x="12925196" y="3503500"/>
                  <a:pt x="12874223" y="3604258"/>
                  <a:pt x="12780154" y="3608300"/>
                </a:cubicBezTo>
                <a:cubicBezTo>
                  <a:pt x="12772276" y="3625721"/>
                  <a:pt x="12748179" y="3621539"/>
                  <a:pt x="12737058" y="3633664"/>
                </a:cubicBezTo>
                <a:cubicBezTo>
                  <a:pt x="12697206" y="3616243"/>
                  <a:pt x="12668477" y="3653871"/>
                  <a:pt x="12641136" y="3659306"/>
                </a:cubicBezTo>
                <a:lnTo>
                  <a:pt x="12627628" y="3660712"/>
                </a:lnTo>
                <a:lnTo>
                  <a:pt x="12628781" y="3670474"/>
                </a:lnTo>
                <a:cubicBezTo>
                  <a:pt x="12623567" y="3670126"/>
                  <a:pt x="12621221" y="3668366"/>
                  <a:pt x="12620338" y="3665904"/>
                </a:cubicBezTo>
                <a:lnTo>
                  <a:pt x="12620507" y="3661453"/>
                </a:lnTo>
                <a:lnTo>
                  <a:pt x="12599952" y="3663592"/>
                </a:lnTo>
                <a:cubicBezTo>
                  <a:pt x="12586571" y="3663418"/>
                  <a:pt x="12573248" y="3661885"/>
                  <a:pt x="12559115" y="3659724"/>
                </a:cubicBezTo>
                <a:cubicBezTo>
                  <a:pt x="12560968" y="3673103"/>
                  <a:pt x="12562822" y="3686482"/>
                  <a:pt x="12565602" y="3702787"/>
                </a:cubicBezTo>
                <a:cubicBezTo>
                  <a:pt x="12562822" y="3707526"/>
                  <a:pt x="12557724" y="3709895"/>
                  <a:pt x="12550311" y="3708919"/>
                </a:cubicBezTo>
                <a:cubicBezTo>
                  <a:pt x="12574871" y="3750310"/>
                  <a:pt x="12537798" y="3772606"/>
                  <a:pt x="12555408" y="3817481"/>
                </a:cubicBezTo>
                <a:cubicBezTo>
                  <a:pt x="12461802" y="3821941"/>
                  <a:pt x="12437706" y="3943046"/>
                  <a:pt x="12345955" y="3950293"/>
                </a:cubicBezTo>
                <a:cubicBezTo>
                  <a:pt x="12344100" y="3925068"/>
                  <a:pt x="12325565" y="3920748"/>
                  <a:pt x="12313979" y="3908206"/>
                </a:cubicBezTo>
                <a:cubicBezTo>
                  <a:pt x="12353368" y="3864724"/>
                  <a:pt x="12408048" y="3835181"/>
                  <a:pt x="12445120" y="3789051"/>
                </a:cubicBezTo>
                <a:cubicBezTo>
                  <a:pt x="12445584" y="3772468"/>
                  <a:pt x="12438167" y="3768566"/>
                  <a:pt x="12430754" y="3764663"/>
                </a:cubicBezTo>
                <a:cubicBezTo>
                  <a:pt x="12420098" y="3763966"/>
                  <a:pt x="12433999" y="3786404"/>
                  <a:pt x="12419170" y="3780133"/>
                </a:cubicBezTo>
                <a:cubicBezTo>
                  <a:pt x="12416391" y="3722019"/>
                  <a:pt x="12350125" y="3775116"/>
                  <a:pt x="12320468" y="3779018"/>
                </a:cubicBezTo>
                <a:cubicBezTo>
                  <a:pt x="12314907" y="3777973"/>
                  <a:pt x="12311779" y="3774070"/>
                  <a:pt x="12308709" y="3770151"/>
                </a:cubicBezTo>
                <a:lnTo>
                  <a:pt x="12300901" y="3764012"/>
                </a:lnTo>
                <a:lnTo>
                  <a:pt x="12295962" y="3795738"/>
                </a:lnTo>
                <a:cubicBezTo>
                  <a:pt x="12291140" y="3810045"/>
                  <a:pt x="12283551" y="3822378"/>
                  <a:pt x="12271966" y="3831436"/>
                </a:cubicBezTo>
                <a:cubicBezTo>
                  <a:pt x="12281698" y="3850250"/>
                  <a:pt x="12275211" y="3865022"/>
                  <a:pt x="12275211" y="3894567"/>
                </a:cubicBezTo>
                <a:lnTo>
                  <a:pt x="12256213" y="3894567"/>
                </a:lnTo>
                <a:cubicBezTo>
                  <a:pt x="12302087" y="3972470"/>
                  <a:pt x="12220995" y="4033093"/>
                  <a:pt x="12217750" y="4104167"/>
                </a:cubicBezTo>
                <a:cubicBezTo>
                  <a:pt x="12213116" y="4116291"/>
                  <a:pt x="12205239" y="4122702"/>
                  <a:pt x="12189019" y="4119914"/>
                </a:cubicBezTo>
                <a:cubicBezTo>
                  <a:pt x="12180215" y="4174126"/>
                  <a:pt x="12150559" y="4205761"/>
                  <a:pt x="12119510" y="4234609"/>
                </a:cubicBezTo>
                <a:cubicBezTo>
                  <a:pt x="12127852" y="4240044"/>
                  <a:pt x="12136193" y="4246316"/>
                  <a:pt x="12141752" y="4255374"/>
                </a:cubicBezTo>
                <a:cubicBezTo>
                  <a:pt x="12127852" y="4255931"/>
                  <a:pt x="12114875" y="4253562"/>
                  <a:pt x="12101438" y="4252029"/>
                </a:cubicBezTo>
                <a:cubicBezTo>
                  <a:pt x="12077806" y="4273213"/>
                  <a:pt x="12055098" y="4295231"/>
                  <a:pt x="12039807" y="4325892"/>
                </a:cubicBezTo>
                <a:cubicBezTo>
                  <a:pt x="12051856" y="4321989"/>
                  <a:pt x="12059270" y="4314045"/>
                  <a:pt x="12071781" y="4310421"/>
                </a:cubicBezTo>
                <a:cubicBezTo>
                  <a:pt x="12074098" y="4320735"/>
                  <a:pt x="12070854" y="4323940"/>
                  <a:pt x="12069927" y="4331466"/>
                </a:cubicBezTo>
                <a:cubicBezTo>
                  <a:pt x="12107462" y="4358363"/>
                  <a:pt x="12146851" y="4385120"/>
                  <a:pt x="12176508" y="4424560"/>
                </a:cubicBezTo>
                <a:cubicBezTo>
                  <a:pt x="12187166" y="4423723"/>
                  <a:pt x="12199214" y="4420936"/>
                  <a:pt x="12204775" y="4427903"/>
                </a:cubicBezTo>
                <a:cubicBezTo>
                  <a:pt x="12173264" y="4476680"/>
                  <a:pt x="12128778" y="4386235"/>
                  <a:pt x="12078268" y="4394736"/>
                </a:cubicBezTo>
                <a:cubicBezTo>
                  <a:pt x="12068537" y="4410345"/>
                  <a:pt x="12084292" y="4422747"/>
                  <a:pt x="12072708" y="4434035"/>
                </a:cubicBezTo>
                <a:cubicBezTo>
                  <a:pt x="12065294" y="4433060"/>
                  <a:pt x="12047222" y="4403098"/>
                  <a:pt x="12047684" y="4435847"/>
                </a:cubicBezTo>
                <a:cubicBezTo>
                  <a:pt x="12035173" y="4435290"/>
                  <a:pt x="12035636" y="4417452"/>
                  <a:pt x="12021735" y="4418566"/>
                </a:cubicBezTo>
                <a:cubicBezTo>
                  <a:pt x="12024052" y="4403516"/>
                  <a:pt x="12035636" y="4420657"/>
                  <a:pt x="12042588" y="4417173"/>
                </a:cubicBezTo>
                <a:cubicBezTo>
                  <a:pt x="12038880" y="4395014"/>
                  <a:pt x="12018490" y="4402400"/>
                  <a:pt x="12004125" y="4405049"/>
                </a:cubicBezTo>
                <a:cubicBezTo>
                  <a:pt x="12001345" y="4399056"/>
                  <a:pt x="12000418" y="4393760"/>
                  <a:pt x="11998565" y="4388186"/>
                </a:cubicBezTo>
                <a:cubicBezTo>
                  <a:pt x="11989297" y="4394318"/>
                  <a:pt x="11980028" y="4400868"/>
                  <a:pt x="11978638" y="4416616"/>
                </a:cubicBezTo>
                <a:cubicBezTo>
                  <a:pt x="11889204" y="4446160"/>
                  <a:pt x="11838230" y="4546918"/>
                  <a:pt x="11744162" y="4550960"/>
                </a:cubicBezTo>
                <a:cubicBezTo>
                  <a:pt x="11736284" y="4568381"/>
                  <a:pt x="11712187" y="4564199"/>
                  <a:pt x="11701066" y="4576324"/>
                </a:cubicBezTo>
                <a:cubicBezTo>
                  <a:pt x="11661213" y="4558904"/>
                  <a:pt x="11632484" y="4596531"/>
                  <a:pt x="11605142" y="4601967"/>
                </a:cubicBezTo>
                <a:cubicBezTo>
                  <a:pt x="11576414" y="4608516"/>
                  <a:pt x="11551389" y="4606705"/>
                  <a:pt x="11523123" y="4602384"/>
                </a:cubicBezTo>
                <a:cubicBezTo>
                  <a:pt x="11524976" y="4615763"/>
                  <a:pt x="11526830" y="4629142"/>
                  <a:pt x="11529610" y="4645447"/>
                </a:cubicBezTo>
                <a:cubicBezTo>
                  <a:pt x="11526830" y="4650186"/>
                  <a:pt x="11521732" y="4652555"/>
                  <a:pt x="11514319" y="4651579"/>
                </a:cubicBezTo>
                <a:cubicBezTo>
                  <a:pt x="11538878" y="4692970"/>
                  <a:pt x="11501806" y="4715267"/>
                  <a:pt x="11519415" y="4760141"/>
                </a:cubicBezTo>
                <a:cubicBezTo>
                  <a:pt x="11425810" y="4764601"/>
                  <a:pt x="11401713" y="4885706"/>
                  <a:pt x="11309962" y="4892953"/>
                </a:cubicBezTo>
                <a:cubicBezTo>
                  <a:pt x="11308107" y="4867728"/>
                  <a:pt x="11289572" y="4863408"/>
                  <a:pt x="11277986" y="4850866"/>
                </a:cubicBezTo>
                <a:cubicBezTo>
                  <a:pt x="11317376" y="4807385"/>
                  <a:pt x="11372056" y="4777841"/>
                  <a:pt x="11409127" y="4731712"/>
                </a:cubicBezTo>
                <a:cubicBezTo>
                  <a:pt x="11409591" y="4715128"/>
                  <a:pt x="11402175" y="4711226"/>
                  <a:pt x="11394762" y="4707323"/>
                </a:cubicBezTo>
                <a:cubicBezTo>
                  <a:pt x="11384105" y="4706626"/>
                  <a:pt x="11398006" y="4729064"/>
                  <a:pt x="11383177" y="4722793"/>
                </a:cubicBezTo>
                <a:cubicBezTo>
                  <a:pt x="11380398" y="4664680"/>
                  <a:pt x="11314132" y="4717776"/>
                  <a:pt x="11284475" y="4721678"/>
                </a:cubicBezTo>
                <a:cubicBezTo>
                  <a:pt x="11273354" y="4719588"/>
                  <a:pt x="11271962" y="4706069"/>
                  <a:pt x="11261306" y="4703840"/>
                </a:cubicBezTo>
                <a:cubicBezTo>
                  <a:pt x="11241379" y="4721817"/>
                  <a:pt x="11202918" y="4731294"/>
                  <a:pt x="11184380" y="4720702"/>
                </a:cubicBezTo>
                <a:cubicBezTo>
                  <a:pt x="11143603" y="4744812"/>
                  <a:pt x="11089385" y="4771429"/>
                  <a:pt x="11057411" y="4747041"/>
                </a:cubicBezTo>
                <a:cubicBezTo>
                  <a:pt x="11105605" y="4753731"/>
                  <a:pt x="11158894" y="4731712"/>
                  <a:pt x="11189942" y="4696454"/>
                </a:cubicBezTo>
                <a:cubicBezTo>
                  <a:pt x="11176967" y="4670532"/>
                  <a:pt x="11158431" y="4703560"/>
                  <a:pt x="11140359" y="4704954"/>
                </a:cubicBezTo>
                <a:cubicBezTo>
                  <a:pt x="11146383" y="4689624"/>
                  <a:pt x="11158431" y="4681123"/>
                  <a:pt x="11163528" y="4679173"/>
                </a:cubicBezTo>
                <a:cubicBezTo>
                  <a:pt x="11146847" y="4646144"/>
                  <a:pt x="11132482" y="4689067"/>
                  <a:pt x="11115336" y="4697847"/>
                </a:cubicBezTo>
                <a:cubicBezTo>
                  <a:pt x="11091702" y="4665376"/>
                  <a:pt x="11047217" y="4683911"/>
                  <a:pt x="11028680" y="4700217"/>
                </a:cubicBezTo>
                <a:cubicBezTo>
                  <a:pt x="11034704" y="4708717"/>
                  <a:pt x="11043973" y="4713873"/>
                  <a:pt x="11048607" y="4724047"/>
                </a:cubicBezTo>
                <a:cubicBezTo>
                  <a:pt x="11041656" y="4730457"/>
                  <a:pt x="11036559" y="4736868"/>
                  <a:pt x="11031925" y="4744673"/>
                </a:cubicBezTo>
                <a:cubicBezTo>
                  <a:pt x="11036559" y="4754846"/>
                  <a:pt x="11043973" y="4761814"/>
                  <a:pt x="11057874" y="4757773"/>
                </a:cubicBezTo>
                <a:cubicBezTo>
                  <a:pt x="11049534" y="4785366"/>
                  <a:pt x="11075022" y="4790383"/>
                  <a:pt x="11091239" y="4798048"/>
                </a:cubicBezTo>
                <a:cubicBezTo>
                  <a:pt x="11087995" y="4822158"/>
                  <a:pt x="11057411" y="4794982"/>
                  <a:pt x="11065753" y="4786760"/>
                </a:cubicBezTo>
                <a:cubicBezTo>
                  <a:pt x="11056949" y="4784530"/>
                  <a:pt x="11049997" y="4790941"/>
                  <a:pt x="11057411" y="4791916"/>
                </a:cubicBezTo>
                <a:cubicBezTo>
                  <a:pt x="11057874" y="4797769"/>
                  <a:pt x="11044900" y="4798744"/>
                  <a:pt x="11044436" y="4792752"/>
                </a:cubicBezTo>
                <a:cubicBezTo>
                  <a:pt x="11042119" y="4805015"/>
                  <a:pt x="11034704" y="4820625"/>
                  <a:pt x="11045828" y="4848078"/>
                </a:cubicBezTo>
                <a:cubicBezTo>
                  <a:pt x="11018486" y="4839856"/>
                  <a:pt x="11014779" y="4886264"/>
                  <a:pt x="10986513" y="4891559"/>
                </a:cubicBezTo>
                <a:cubicBezTo>
                  <a:pt x="10980951" y="4908422"/>
                  <a:pt x="11004120" y="4910930"/>
                  <a:pt x="10992537" y="4916366"/>
                </a:cubicBezTo>
                <a:cubicBezTo>
                  <a:pt x="10985585" y="4918456"/>
                  <a:pt x="10985122" y="4912881"/>
                  <a:pt x="10982805" y="4907168"/>
                </a:cubicBezTo>
                <a:cubicBezTo>
                  <a:pt x="10956854" y="4916645"/>
                  <a:pt x="10946198" y="4911070"/>
                  <a:pt x="10922101" y="4923474"/>
                </a:cubicBezTo>
                <a:cubicBezTo>
                  <a:pt x="10910980" y="4942287"/>
                  <a:pt x="10905881" y="4968208"/>
                  <a:pt x="10872055" y="4966396"/>
                </a:cubicBezTo>
                <a:cubicBezTo>
                  <a:pt x="10876225" y="4995942"/>
                  <a:pt x="10885029" y="4998311"/>
                  <a:pt x="10881786" y="5025485"/>
                </a:cubicBezTo>
                <a:cubicBezTo>
                  <a:pt x="10875762" y="5030641"/>
                  <a:pt x="10869738" y="5033430"/>
                  <a:pt x="10863248" y="5035241"/>
                </a:cubicBezTo>
                <a:lnTo>
                  <a:pt x="10863248" y="5036635"/>
                </a:lnTo>
                <a:cubicBezTo>
                  <a:pt x="10863248" y="5042070"/>
                  <a:pt x="10871590" y="5036495"/>
                  <a:pt x="10871590" y="5043185"/>
                </a:cubicBezTo>
                <a:cubicBezTo>
                  <a:pt x="10871590" y="5061998"/>
                  <a:pt x="10866030" y="5036635"/>
                  <a:pt x="10857689" y="5044718"/>
                </a:cubicBezTo>
                <a:cubicBezTo>
                  <a:pt x="10857689" y="5042209"/>
                  <a:pt x="10857224" y="5039004"/>
                  <a:pt x="10856762" y="5035798"/>
                </a:cubicBezTo>
                <a:cubicBezTo>
                  <a:pt x="10806715" y="5042348"/>
                  <a:pt x="10741841" y="4983538"/>
                  <a:pt x="10727011" y="5064229"/>
                </a:cubicBezTo>
                <a:cubicBezTo>
                  <a:pt x="10713572" y="5050432"/>
                  <a:pt x="10712647" y="5037192"/>
                  <a:pt x="10718672" y="5020330"/>
                </a:cubicBezTo>
                <a:cubicBezTo>
                  <a:pt x="10664453" y="4987301"/>
                  <a:pt x="10581506" y="4975594"/>
                  <a:pt x="10522192" y="4983259"/>
                </a:cubicBezTo>
                <a:cubicBezTo>
                  <a:pt x="10528216" y="4994827"/>
                  <a:pt x="10528216" y="5016010"/>
                  <a:pt x="10540727" y="5016567"/>
                </a:cubicBezTo>
                <a:cubicBezTo>
                  <a:pt x="10531460" y="5035241"/>
                  <a:pt x="10543044" y="5046111"/>
                  <a:pt x="10544898" y="5071335"/>
                </a:cubicBezTo>
                <a:cubicBezTo>
                  <a:pt x="10537020" y="5061441"/>
                  <a:pt x="10524046" y="5056285"/>
                  <a:pt x="10509680" y="5054472"/>
                </a:cubicBezTo>
                <a:cubicBezTo>
                  <a:pt x="10512923" y="5048201"/>
                  <a:pt x="10518947" y="5034405"/>
                  <a:pt x="10505046" y="5039979"/>
                </a:cubicBezTo>
                <a:cubicBezTo>
                  <a:pt x="10506436" y="5032314"/>
                  <a:pt x="10511070" y="5027855"/>
                  <a:pt x="10516167" y="5024511"/>
                </a:cubicBezTo>
                <a:cubicBezTo>
                  <a:pt x="10506898" y="5019214"/>
                  <a:pt x="10503656" y="5022420"/>
                  <a:pt x="10490680" y="5016010"/>
                </a:cubicBezTo>
                <a:cubicBezTo>
                  <a:pt x="10483729" y="5018100"/>
                  <a:pt x="10490218" y="5032036"/>
                  <a:pt x="10483729" y="5037053"/>
                </a:cubicBezTo>
                <a:cubicBezTo>
                  <a:pt x="10473072" y="5034963"/>
                  <a:pt x="10468901" y="5026461"/>
                  <a:pt x="10469365" y="5008483"/>
                </a:cubicBezTo>
                <a:cubicBezTo>
                  <a:pt x="10455462" y="5017124"/>
                  <a:pt x="10461951" y="5007926"/>
                  <a:pt x="10452220" y="4999704"/>
                </a:cubicBezTo>
                <a:cubicBezTo>
                  <a:pt x="10444804" y="4997195"/>
                  <a:pt x="10447121" y="5023813"/>
                  <a:pt x="10453610" y="5020330"/>
                </a:cubicBezTo>
                <a:cubicBezTo>
                  <a:pt x="10442489" y="5012246"/>
                  <a:pt x="10409586" y="5022559"/>
                  <a:pt x="10392904" y="5035798"/>
                </a:cubicBezTo>
                <a:cubicBezTo>
                  <a:pt x="10409586" y="5021027"/>
                  <a:pt x="10356759" y="5026601"/>
                  <a:pt x="10382710" y="5015591"/>
                </a:cubicBezTo>
                <a:cubicBezTo>
                  <a:pt x="10327102" y="5008065"/>
                  <a:pt x="10300688" y="5012943"/>
                  <a:pt x="10256204" y="4992596"/>
                </a:cubicBezTo>
                <a:cubicBezTo>
                  <a:pt x="10247862" y="4996220"/>
                  <a:pt x="10262226" y="4999564"/>
                  <a:pt x="10253887" y="5007648"/>
                </a:cubicBezTo>
                <a:cubicBezTo>
                  <a:pt x="10234887" y="4992736"/>
                  <a:pt x="10201986" y="4998450"/>
                  <a:pt x="10195962" y="4964585"/>
                </a:cubicBezTo>
                <a:cubicBezTo>
                  <a:pt x="10169548" y="4966676"/>
                  <a:pt x="10157036" y="4967651"/>
                  <a:pt x="10139891" y="4973504"/>
                </a:cubicBezTo>
                <a:cubicBezTo>
                  <a:pt x="10138964" y="4982563"/>
                  <a:pt x="10143598" y="4982144"/>
                  <a:pt x="10147305" y="4983259"/>
                </a:cubicBezTo>
                <a:cubicBezTo>
                  <a:pt x="10138037" y="5000540"/>
                  <a:pt x="10130622" y="4972667"/>
                  <a:pt x="10126452" y="4965561"/>
                </a:cubicBezTo>
                <a:cubicBezTo>
                  <a:pt x="10097259" y="4975316"/>
                  <a:pt x="10071310" y="4962076"/>
                  <a:pt x="10048138" y="4981866"/>
                </a:cubicBezTo>
                <a:cubicBezTo>
                  <a:pt x="10049992" y="4962354"/>
                  <a:pt x="10037481" y="4965003"/>
                  <a:pt x="10033310" y="4953436"/>
                </a:cubicBezTo>
                <a:cubicBezTo>
                  <a:pt x="10030067" y="4958174"/>
                  <a:pt x="10023115" y="4957059"/>
                  <a:pt x="10021726" y="4964585"/>
                </a:cubicBezTo>
                <a:cubicBezTo>
                  <a:pt x="10028213" y="4977546"/>
                  <a:pt x="10033310" y="4956502"/>
                  <a:pt x="10039798" y="4967930"/>
                </a:cubicBezTo>
                <a:cubicBezTo>
                  <a:pt x="10006433" y="4975037"/>
                  <a:pt x="9952679" y="4970299"/>
                  <a:pt x="9930438" y="5003467"/>
                </a:cubicBezTo>
                <a:cubicBezTo>
                  <a:pt x="9917924" y="4999983"/>
                  <a:pt x="9924413" y="4996080"/>
                  <a:pt x="9923486" y="4982841"/>
                </a:cubicBezTo>
                <a:cubicBezTo>
                  <a:pt x="9904023" y="4985768"/>
                  <a:pt x="9904486" y="5008205"/>
                  <a:pt x="9881317" y="5007090"/>
                </a:cubicBezTo>
                <a:cubicBezTo>
                  <a:pt x="9887341" y="4994686"/>
                  <a:pt x="9903096" y="4990645"/>
                  <a:pt x="9907268" y="4975316"/>
                </a:cubicBezTo>
                <a:cubicBezTo>
                  <a:pt x="9889658" y="4975316"/>
                  <a:pt x="9885951" y="4954411"/>
                  <a:pt x="9865098" y="4959010"/>
                </a:cubicBezTo>
                <a:cubicBezTo>
                  <a:pt x="9856294" y="4961240"/>
                  <a:pt x="9871122" y="4972250"/>
                  <a:pt x="9853515" y="4970577"/>
                </a:cubicBezTo>
                <a:cubicBezTo>
                  <a:pt x="9853050" y="4985629"/>
                  <a:pt x="9865561" y="4985768"/>
                  <a:pt x="9863245" y="5003885"/>
                </a:cubicBezTo>
                <a:cubicBezTo>
                  <a:pt x="9855829" y="4996917"/>
                  <a:pt x="9840538" y="4983677"/>
                  <a:pt x="9848416" y="4971135"/>
                </a:cubicBezTo>
                <a:cubicBezTo>
                  <a:pt x="9841466" y="4973225"/>
                  <a:pt x="9835904" y="4970299"/>
                  <a:pt x="9834977" y="4961380"/>
                </a:cubicBezTo>
                <a:cubicBezTo>
                  <a:pt x="9827101" y="4970996"/>
                  <a:pt x="9817369" y="4979357"/>
                  <a:pt x="9805320" y="4984792"/>
                </a:cubicBezTo>
                <a:cubicBezTo>
                  <a:pt x="9809955" y="4997893"/>
                  <a:pt x="9817369" y="4980890"/>
                  <a:pt x="9824320" y="4983259"/>
                </a:cubicBezTo>
                <a:cubicBezTo>
                  <a:pt x="9820611" y="5004582"/>
                  <a:pt x="9790492" y="5002491"/>
                  <a:pt x="9773347" y="5012664"/>
                </a:cubicBezTo>
                <a:cubicBezTo>
                  <a:pt x="9779834" y="5001794"/>
                  <a:pt x="9787711" y="4990506"/>
                  <a:pt x="9799759" y="4985210"/>
                </a:cubicBezTo>
                <a:cubicBezTo>
                  <a:pt x="9791883" y="4975316"/>
                  <a:pt x="9781224" y="4976012"/>
                  <a:pt x="9771030" y="4982841"/>
                </a:cubicBezTo>
                <a:cubicBezTo>
                  <a:pt x="9772419" y="4978243"/>
                  <a:pt x="9773810" y="4973783"/>
                  <a:pt x="9773347" y="4967930"/>
                </a:cubicBezTo>
                <a:cubicBezTo>
                  <a:pt x="9749250" y="4974340"/>
                  <a:pt x="9738129" y="4973783"/>
                  <a:pt x="9712642" y="4983259"/>
                </a:cubicBezTo>
                <a:lnTo>
                  <a:pt x="9699204" y="4969184"/>
                </a:lnTo>
                <a:cubicBezTo>
                  <a:pt x="9687155" y="4977546"/>
                  <a:pt x="9685766" y="4983677"/>
                  <a:pt x="9674180" y="4971135"/>
                </a:cubicBezTo>
                <a:cubicBezTo>
                  <a:pt x="9670935" y="4974480"/>
                  <a:pt x="9667693" y="4976431"/>
                  <a:pt x="9668156" y="4982424"/>
                </a:cubicBezTo>
                <a:cubicBezTo>
                  <a:pt x="9669083" y="4992876"/>
                  <a:pt x="9685766" y="4982005"/>
                  <a:pt x="9688083" y="4989252"/>
                </a:cubicBezTo>
                <a:cubicBezTo>
                  <a:pt x="9687155" y="4998311"/>
                  <a:pt x="9665376" y="4991481"/>
                  <a:pt x="9659814" y="4987440"/>
                </a:cubicBezTo>
                <a:cubicBezTo>
                  <a:pt x="9662131" y="5000540"/>
                  <a:pt x="9641279" y="4992039"/>
                  <a:pt x="9631547" y="5005836"/>
                </a:cubicBezTo>
                <a:cubicBezTo>
                  <a:pt x="9579184" y="4994408"/>
                  <a:pt x="9510603" y="5054333"/>
                  <a:pt x="9455922" y="5031897"/>
                </a:cubicBezTo>
                <a:cubicBezTo>
                  <a:pt x="9447116" y="5035659"/>
                  <a:pt x="9440629" y="5043185"/>
                  <a:pt x="9428118" y="5042627"/>
                </a:cubicBezTo>
                <a:cubicBezTo>
                  <a:pt x="9424411" y="5039979"/>
                  <a:pt x="9421630" y="5033011"/>
                  <a:pt x="9423021" y="5023953"/>
                </a:cubicBezTo>
                <a:cubicBezTo>
                  <a:pt x="9415607" y="5024511"/>
                  <a:pt x="9407265" y="5027994"/>
                  <a:pt x="9404948" y="5020747"/>
                </a:cubicBezTo>
                <a:cubicBezTo>
                  <a:pt x="9399852" y="5022559"/>
                  <a:pt x="9386876" y="5038864"/>
                  <a:pt x="9399387" y="5040815"/>
                </a:cubicBezTo>
                <a:cubicBezTo>
                  <a:pt x="9397070" y="5052940"/>
                  <a:pt x="9378072" y="5036495"/>
                  <a:pt x="9389656" y="5028133"/>
                </a:cubicBezTo>
                <a:cubicBezTo>
                  <a:pt x="9386413" y="5011968"/>
                  <a:pt x="9367413" y="5020886"/>
                  <a:pt x="9354902" y="5020330"/>
                </a:cubicBezTo>
                <a:cubicBezTo>
                  <a:pt x="9352585" y="5036914"/>
                  <a:pt x="9370193" y="5026461"/>
                  <a:pt x="9372510" y="5033707"/>
                </a:cubicBezTo>
                <a:cubicBezTo>
                  <a:pt x="9344244" y="5037471"/>
                  <a:pt x="9333585" y="5037192"/>
                  <a:pt x="9305319" y="5055867"/>
                </a:cubicBezTo>
                <a:cubicBezTo>
                  <a:pt x="9290491" y="5049595"/>
                  <a:pt x="9320609" y="5050014"/>
                  <a:pt x="9320147" y="5044161"/>
                </a:cubicBezTo>
                <a:cubicBezTo>
                  <a:pt x="9309026" y="5019633"/>
                  <a:pt x="9289100" y="5010714"/>
                  <a:pt x="9267321" y="5003467"/>
                </a:cubicBezTo>
                <a:cubicBezTo>
                  <a:pt x="9284001" y="4991620"/>
                  <a:pt x="9302074" y="5023117"/>
                  <a:pt x="9322001" y="5023117"/>
                </a:cubicBezTo>
                <a:cubicBezTo>
                  <a:pt x="9323392" y="4997613"/>
                  <a:pt x="9370193" y="5011688"/>
                  <a:pt x="9395217" y="5012664"/>
                </a:cubicBezTo>
                <a:cubicBezTo>
                  <a:pt x="9398924" y="5010992"/>
                  <a:pt x="9400314" y="5006114"/>
                  <a:pt x="9404021" y="5005836"/>
                </a:cubicBezTo>
                <a:cubicBezTo>
                  <a:pt x="9404948" y="4998311"/>
                  <a:pt x="9399852" y="4997474"/>
                  <a:pt x="9394290" y="4997893"/>
                </a:cubicBezTo>
                <a:cubicBezTo>
                  <a:pt x="9410973" y="4983120"/>
                  <a:pt x="9449433" y="5021723"/>
                  <a:pt x="9454995" y="4981030"/>
                </a:cubicBezTo>
                <a:cubicBezTo>
                  <a:pt x="9443874" y="4969880"/>
                  <a:pt x="9435533" y="5002074"/>
                  <a:pt x="9429508" y="4969742"/>
                </a:cubicBezTo>
                <a:cubicBezTo>
                  <a:pt x="9428581" y="4969742"/>
                  <a:pt x="9427191" y="4970996"/>
                  <a:pt x="9426264" y="4971553"/>
                </a:cubicBezTo>
                <a:cubicBezTo>
                  <a:pt x="9426264" y="4978799"/>
                  <a:pt x="9426264" y="4987440"/>
                  <a:pt x="9416532" y="4987440"/>
                </a:cubicBezTo>
                <a:cubicBezTo>
                  <a:pt x="9414215" y="4983259"/>
                  <a:pt x="9416532" y="4979497"/>
                  <a:pt x="9417922" y="4976849"/>
                </a:cubicBezTo>
                <a:cubicBezTo>
                  <a:pt x="9412363" y="4980193"/>
                  <a:pt x="9407265" y="4982144"/>
                  <a:pt x="9404948" y="4975874"/>
                </a:cubicBezTo>
                <a:cubicBezTo>
                  <a:pt x="9407728" y="4973783"/>
                  <a:pt x="9410973" y="4973783"/>
                  <a:pt x="9414215" y="4972111"/>
                </a:cubicBezTo>
                <a:cubicBezTo>
                  <a:pt x="9409582" y="4969045"/>
                  <a:pt x="9412826" y="4969462"/>
                  <a:pt x="9417922" y="4970299"/>
                </a:cubicBezTo>
                <a:cubicBezTo>
                  <a:pt x="9428581" y="4964027"/>
                  <a:pt x="9439702" y="4958314"/>
                  <a:pt x="9451750" y="4956083"/>
                </a:cubicBezTo>
                <a:cubicBezTo>
                  <a:pt x="9450823" y="4955108"/>
                  <a:pt x="9450361" y="4954551"/>
                  <a:pt x="9448508" y="4953436"/>
                </a:cubicBezTo>
                <a:cubicBezTo>
                  <a:pt x="9462872" y="4937409"/>
                  <a:pt x="9475385" y="4941312"/>
                  <a:pt x="9488358" y="4926678"/>
                </a:cubicBezTo>
                <a:cubicBezTo>
                  <a:pt x="9484651" y="4928909"/>
                  <a:pt x="9482799" y="4923194"/>
                  <a:pt x="9483262" y="4919293"/>
                </a:cubicBezTo>
                <a:cubicBezTo>
                  <a:pt x="9480017" y="4918874"/>
                  <a:pt x="9477237" y="4918596"/>
                  <a:pt x="9473530" y="4918735"/>
                </a:cubicBezTo>
                <a:cubicBezTo>
                  <a:pt x="9473994" y="4919570"/>
                  <a:pt x="9473530" y="4920407"/>
                  <a:pt x="9475385" y="4921104"/>
                </a:cubicBezTo>
                <a:cubicBezTo>
                  <a:pt x="9461482" y="4919711"/>
                  <a:pt x="9433678" y="4910791"/>
                  <a:pt x="9407265" y="4907168"/>
                </a:cubicBezTo>
                <a:cubicBezTo>
                  <a:pt x="9410045" y="4908143"/>
                  <a:pt x="9412826" y="4909119"/>
                  <a:pt x="9414215" y="4912185"/>
                </a:cubicBezTo>
                <a:cubicBezTo>
                  <a:pt x="9410973" y="4926678"/>
                  <a:pt x="9403558" y="4914972"/>
                  <a:pt x="9395680" y="4922916"/>
                </a:cubicBezTo>
                <a:lnTo>
                  <a:pt x="9397070" y="4933229"/>
                </a:lnTo>
                <a:cubicBezTo>
                  <a:pt x="9389656" y="4933229"/>
                  <a:pt x="9394290" y="4915112"/>
                  <a:pt x="9392436" y="4907168"/>
                </a:cubicBezTo>
                <a:cubicBezTo>
                  <a:pt x="9394290" y="4906610"/>
                  <a:pt x="9395680" y="4906890"/>
                  <a:pt x="9397070" y="4906610"/>
                </a:cubicBezTo>
                <a:cubicBezTo>
                  <a:pt x="9382242" y="4905496"/>
                  <a:pt x="9368803" y="4907446"/>
                  <a:pt x="9359535" y="4914972"/>
                </a:cubicBezTo>
                <a:cubicBezTo>
                  <a:pt x="9368803" y="4914137"/>
                  <a:pt x="9377145" y="4914833"/>
                  <a:pt x="9387803" y="4911627"/>
                </a:cubicBezTo>
                <a:cubicBezTo>
                  <a:pt x="9389656" y="4918735"/>
                  <a:pt x="9384559" y="4919153"/>
                  <a:pt x="9384559" y="4924867"/>
                </a:cubicBezTo>
                <a:cubicBezTo>
                  <a:pt x="9369266" y="4924867"/>
                  <a:pt x="9356292" y="4926121"/>
                  <a:pt x="9343316" y="4926678"/>
                </a:cubicBezTo>
                <a:cubicBezTo>
                  <a:pt x="9342390" y="4928351"/>
                  <a:pt x="9341927" y="4930163"/>
                  <a:pt x="9340999" y="4931834"/>
                </a:cubicBezTo>
                <a:cubicBezTo>
                  <a:pt x="9318757" y="4939779"/>
                  <a:pt x="9272418" y="4937130"/>
                  <a:pt x="9251565" y="4951902"/>
                </a:cubicBezTo>
                <a:cubicBezTo>
                  <a:pt x="9246931" y="4949255"/>
                  <a:pt x="9244151" y="4945074"/>
                  <a:pt x="9242296" y="4939779"/>
                </a:cubicBezTo>
                <a:cubicBezTo>
                  <a:pt x="9183446" y="4970577"/>
                  <a:pt x="9138497" y="4933368"/>
                  <a:pt x="9084279" y="4945353"/>
                </a:cubicBezTo>
                <a:cubicBezTo>
                  <a:pt x="9078720" y="4934622"/>
                  <a:pt x="9071768" y="4934762"/>
                  <a:pt x="9062500" y="4935598"/>
                </a:cubicBezTo>
                <a:cubicBezTo>
                  <a:pt x="9062964" y="4938942"/>
                  <a:pt x="9064354" y="4940893"/>
                  <a:pt x="9066671" y="4941590"/>
                </a:cubicBezTo>
                <a:cubicBezTo>
                  <a:pt x="9048598" y="4943403"/>
                  <a:pt x="9027746" y="4942984"/>
                  <a:pt x="9008746" y="4942984"/>
                </a:cubicBezTo>
                <a:cubicBezTo>
                  <a:pt x="9018014" y="4914554"/>
                  <a:pt x="9018940" y="4939220"/>
                  <a:pt x="9029599" y="4923474"/>
                </a:cubicBezTo>
                <a:cubicBezTo>
                  <a:pt x="9023575" y="4923891"/>
                  <a:pt x="9017088" y="4924031"/>
                  <a:pt x="9011063" y="4922498"/>
                </a:cubicBezTo>
                <a:cubicBezTo>
                  <a:pt x="8993918" y="4924170"/>
                  <a:pt x="8977235" y="4924031"/>
                  <a:pt x="8957310" y="4929048"/>
                </a:cubicBezTo>
                <a:cubicBezTo>
                  <a:pt x="8959627" y="4918177"/>
                  <a:pt x="8966114" y="4912603"/>
                  <a:pt x="8977700" y="4911627"/>
                </a:cubicBezTo>
                <a:cubicBezTo>
                  <a:pt x="8968893" y="4908980"/>
                  <a:pt x="8960090" y="4906749"/>
                  <a:pt x="8950359" y="4907446"/>
                </a:cubicBezTo>
                <a:lnTo>
                  <a:pt x="8950359" y="4899502"/>
                </a:lnTo>
                <a:cubicBezTo>
                  <a:pt x="8947114" y="4899921"/>
                  <a:pt x="8944797" y="4899643"/>
                  <a:pt x="8941554" y="4900339"/>
                </a:cubicBezTo>
                <a:cubicBezTo>
                  <a:pt x="8939700" y="4900758"/>
                  <a:pt x="8937848" y="4901593"/>
                  <a:pt x="8936920" y="4901454"/>
                </a:cubicBezTo>
                <a:cubicBezTo>
                  <a:pt x="8923945" y="4905077"/>
                  <a:pt x="8910506" y="4910233"/>
                  <a:pt x="8899385" y="4909815"/>
                </a:cubicBezTo>
                <a:cubicBezTo>
                  <a:pt x="8891971" y="4908980"/>
                  <a:pt x="8885946" y="4895880"/>
                  <a:pt x="8880850" y="4896298"/>
                </a:cubicBezTo>
                <a:cubicBezTo>
                  <a:pt x="8875288" y="4895183"/>
                  <a:pt x="8874363" y="4911627"/>
                  <a:pt x="8874363" y="4911627"/>
                </a:cubicBezTo>
                <a:cubicBezTo>
                  <a:pt x="8862314" y="4912603"/>
                  <a:pt x="8825242" y="4915947"/>
                  <a:pt x="8818755" y="4901454"/>
                </a:cubicBezTo>
                <a:cubicBezTo>
                  <a:pt x="8834511" y="4898806"/>
                  <a:pt x="8856290" y="4903126"/>
                  <a:pt x="8864167" y="4893511"/>
                </a:cubicBezTo>
                <a:cubicBezTo>
                  <a:pt x="8855363" y="4880549"/>
                  <a:pt x="8838680" y="4877624"/>
                  <a:pt x="8826632" y="4870516"/>
                </a:cubicBezTo>
                <a:cubicBezTo>
                  <a:pt x="8820608" y="4873025"/>
                  <a:pt x="8813658" y="4876230"/>
                  <a:pt x="8809486" y="4876648"/>
                </a:cubicBezTo>
                <a:cubicBezTo>
                  <a:pt x="8796975" y="4876648"/>
                  <a:pt x="8780758" y="4854768"/>
                  <a:pt x="8769634" y="4879017"/>
                </a:cubicBezTo>
                <a:cubicBezTo>
                  <a:pt x="8753881" y="4852120"/>
                  <a:pt x="8733026" y="4877763"/>
                  <a:pt x="8705687" y="4880410"/>
                </a:cubicBezTo>
                <a:cubicBezTo>
                  <a:pt x="8702443" y="4881804"/>
                  <a:pt x="8702907" y="4888633"/>
                  <a:pt x="8702907" y="4892535"/>
                </a:cubicBezTo>
                <a:cubicBezTo>
                  <a:pt x="8666299" y="4881804"/>
                  <a:pt x="8641737" y="4900339"/>
                  <a:pt x="8616251" y="4908422"/>
                </a:cubicBezTo>
                <a:cubicBezTo>
                  <a:pt x="8605130" y="4908422"/>
                  <a:pt x="8600495" y="4900478"/>
                  <a:pt x="8595863" y="4889747"/>
                </a:cubicBezTo>
                <a:cubicBezTo>
                  <a:pt x="8579643" y="4886961"/>
                  <a:pt x="8580108" y="4902012"/>
                  <a:pt x="8567132" y="4904799"/>
                </a:cubicBezTo>
                <a:cubicBezTo>
                  <a:pt x="8568522" y="4885985"/>
                  <a:pt x="8539792" y="4908422"/>
                  <a:pt x="8541182" y="4889747"/>
                </a:cubicBezTo>
                <a:cubicBezTo>
                  <a:pt x="8530062" y="4905775"/>
                  <a:pt x="8509672" y="4900897"/>
                  <a:pt x="8496696" y="4898249"/>
                </a:cubicBezTo>
                <a:cubicBezTo>
                  <a:pt x="8505037" y="4899502"/>
                  <a:pt x="8480478" y="4888215"/>
                  <a:pt x="8472599" y="4888215"/>
                </a:cubicBezTo>
                <a:cubicBezTo>
                  <a:pt x="8462868" y="4888215"/>
                  <a:pt x="8456843" y="4896855"/>
                  <a:pt x="8447577" y="4898249"/>
                </a:cubicBezTo>
                <a:cubicBezTo>
                  <a:pt x="8437845" y="4899502"/>
                  <a:pt x="8425333" y="4885985"/>
                  <a:pt x="8415601" y="4884591"/>
                </a:cubicBezTo>
                <a:cubicBezTo>
                  <a:pt x="8399848" y="4883337"/>
                  <a:pt x="8367409" y="4879296"/>
                  <a:pt x="8340069" y="4887379"/>
                </a:cubicBezTo>
                <a:cubicBezTo>
                  <a:pt x="8335436" y="4877902"/>
                  <a:pt x="8334044" y="4880690"/>
                  <a:pt x="8335436" y="4867172"/>
                </a:cubicBezTo>
                <a:cubicBezTo>
                  <a:pt x="8313192" y="4899364"/>
                  <a:pt x="8296047" y="4865778"/>
                  <a:pt x="8271949" y="4872467"/>
                </a:cubicBezTo>
                <a:cubicBezTo>
                  <a:pt x="8275194" y="4883198"/>
                  <a:pt x="8285852" y="4881943"/>
                  <a:pt x="8285852" y="4895322"/>
                </a:cubicBezTo>
                <a:cubicBezTo>
                  <a:pt x="8274732" y="4864384"/>
                  <a:pt x="8227000" y="4891420"/>
                  <a:pt x="8201513" y="4886125"/>
                </a:cubicBezTo>
                <a:cubicBezTo>
                  <a:pt x="8203368" y="4904799"/>
                  <a:pt x="8230245" y="4888354"/>
                  <a:pt x="8228855" y="4912603"/>
                </a:cubicBezTo>
                <a:cubicBezTo>
                  <a:pt x="8239976" y="4888354"/>
                  <a:pt x="8260829" y="4908562"/>
                  <a:pt x="8279828" y="4899085"/>
                </a:cubicBezTo>
                <a:cubicBezTo>
                  <a:pt x="8230245" y="4927375"/>
                  <a:pt x="8158882" y="4931277"/>
                  <a:pt x="8120421" y="4940754"/>
                </a:cubicBezTo>
                <a:cubicBezTo>
                  <a:pt x="8136177" y="4975594"/>
                  <a:pt x="8198271" y="4926121"/>
                  <a:pt x="8214489" y="4965003"/>
                </a:cubicBezTo>
                <a:cubicBezTo>
                  <a:pt x="8234879" y="4954272"/>
                  <a:pt x="8238586" y="4957059"/>
                  <a:pt x="8252951" y="4946328"/>
                </a:cubicBezTo>
                <a:cubicBezTo>
                  <a:pt x="8249707" y="4957059"/>
                  <a:pt x="8251097" y="4964864"/>
                  <a:pt x="8260829" y="4970299"/>
                </a:cubicBezTo>
                <a:cubicBezTo>
                  <a:pt x="8277974" y="4938106"/>
                  <a:pt x="8324778" y="4971413"/>
                  <a:pt x="8334044" y="4939220"/>
                </a:cubicBezTo>
                <a:cubicBezTo>
                  <a:pt x="8341923" y="4960683"/>
                  <a:pt x="8356288" y="4940893"/>
                  <a:pt x="8366020" y="4944796"/>
                </a:cubicBezTo>
                <a:cubicBezTo>
                  <a:pt x="8366020" y="4951624"/>
                  <a:pt x="8356288" y="4947583"/>
                  <a:pt x="8356288" y="4954272"/>
                </a:cubicBezTo>
                <a:cubicBezTo>
                  <a:pt x="8359068" y="4975733"/>
                  <a:pt x="8402627" y="4955666"/>
                  <a:pt x="8397993" y="4946328"/>
                </a:cubicBezTo>
                <a:cubicBezTo>
                  <a:pt x="8413749" y="4967790"/>
                  <a:pt x="8435991" y="4947722"/>
                  <a:pt x="8460088" y="4938385"/>
                </a:cubicBezTo>
                <a:cubicBezTo>
                  <a:pt x="8474454" y="4951764"/>
                  <a:pt x="8533304" y="4960961"/>
                  <a:pt x="8546279" y="4934204"/>
                </a:cubicBezTo>
                <a:cubicBezTo>
                  <a:pt x="8552303" y="4935459"/>
                  <a:pt x="8554156" y="4940754"/>
                  <a:pt x="8554156" y="4950091"/>
                </a:cubicBezTo>
                <a:cubicBezTo>
                  <a:pt x="8587521" y="4944796"/>
                  <a:pt x="8608837" y="4936712"/>
                  <a:pt x="8645445" y="4950091"/>
                </a:cubicBezTo>
                <a:cubicBezTo>
                  <a:pt x="8614861" y="4963609"/>
                  <a:pt x="8589374" y="4947443"/>
                  <a:pt x="8571766" y="4972946"/>
                </a:cubicBezTo>
                <a:cubicBezTo>
                  <a:pt x="8573619" y="4976988"/>
                  <a:pt x="8578253" y="4975594"/>
                  <a:pt x="8578253" y="4983677"/>
                </a:cubicBezTo>
                <a:cubicBezTo>
                  <a:pt x="8591229" y="4981030"/>
                  <a:pt x="8590765" y="4979914"/>
                  <a:pt x="8600495" y="4986604"/>
                </a:cubicBezTo>
                <a:cubicBezTo>
                  <a:pt x="8611618" y="4975874"/>
                  <a:pt x="8631081" y="4966536"/>
                  <a:pt x="8642202" y="4978660"/>
                </a:cubicBezTo>
                <a:cubicBezTo>
                  <a:pt x="8651469" y="4958453"/>
                  <a:pt x="8670932" y="4967930"/>
                  <a:pt x="8683445" y="4947722"/>
                </a:cubicBezTo>
                <a:cubicBezTo>
                  <a:pt x="8669079" y="4963888"/>
                  <a:pt x="8689932" y="4959568"/>
                  <a:pt x="8699663" y="4962215"/>
                </a:cubicBezTo>
                <a:cubicBezTo>
                  <a:pt x="8648689" y="4991761"/>
                  <a:pt x="8590765" y="4985071"/>
                  <a:pt x="8549524" y="5002631"/>
                </a:cubicBezTo>
                <a:cubicBezTo>
                  <a:pt x="8543035" y="4998589"/>
                  <a:pt x="8528670" y="4981030"/>
                  <a:pt x="8524037" y="5001098"/>
                </a:cubicBezTo>
                <a:cubicBezTo>
                  <a:pt x="8516159" y="4997056"/>
                  <a:pt x="8512451" y="4985071"/>
                  <a:pt x="8503183" y="4982424"/>
                </a:cubicBezTo>
                <a:cubicBezTo>
                  <a:pt x="8507817" y="4989112"/>
                  <a:pt x="8499940" y="4989530"/>
                  <a:pt x="8491599" y="5000261"/>
                </a:cubicBezTo>
                <a:cubicBezTo>
                  <a:pt x="8485575" y="5000261"/>
                  <a:pt x="8489282" y="4986743"/>
                  <a:pt x="8480941" y="4987998"/>
                </a:cubicBezTo>
                <a:cubicBezTo>
                  <a:pt x="8468429" y="4986743"/>
                  <a:pt x="8476306" y="5007926"/>
                  <a:pt x="8463332" y="5005278"/>
                </a:cubicBezTo>
                <a:cubicBezTo>
                  <a:pt x="8463332" y="4998589"/>
                  <a:pt x="8460088" y="4998728"/>
                  <a:pt x="8455454" y="4998728"/>
                </a:cubicBezTo>
                <a:cubicBezTo>
                  <a:pt x="8429967" y="5028274"/>
                  <a:pt x="8370654" y="4999983"/>
                  <a:pt x="8347020" y="5014754"/>
                </a:cubicBezTo>
                <a:cubicBezTo>
                  <a:pt x="8319680" y="4997335"/>
                  <a:pt x="8292804" y="5026740"/>
                  <a:pt x="8252951" y="5014754"/>
                </a:cubicBezTo>
                <a:cubicBezTo>
                  <a:pt x="8238586" y="5025485"/>
                  <a:pt x="8212637" y="5034963"/>
                  <a:pt x="8208002" y="5018935"/>
                </a:cubicBezTo>
                <a:cubicBezTo>
                  <a:pt x="8201513" y="5021584"/>
                  <a:pt x="8198271" y="5027994"/>
                  <a:pt x="8191782" y="5031897"/>
                </a:cubicBezTo>
                <a:cubicBezTo>
                  <a:pt x="8193637" y="5035938"/>
                  <a:pt x="8200124" y="5034545"/>
                  <a:pt x="8198271" y="5042627"/>
                </a:cubicBezTo>
                <a:cubicBezTo>
                  <a:pt x="8193637" y="5027855"/>
                  <a:pt x="8185760" y="5041791"/>
                  <a:pt x="8176029" y="5041791"/>
                </a:cubicBezTo>
                <a:cubicBezTo>
                  <a:pt x="8139419" y="5040398"/>
                  <a:pt x="8083348" y="5041651"/>
                  <a:pt x="8040253" y="5040258"/>
                </a:cubicBezTo>
                <a:cubicBezTo>
                  <a:pt x="8040253" y="5025485"/>
                  <a:pt x="8045351" y="5029667"/>
                  <a:pt x="8053229" y="5031060"/>
                </a:cubicBezTo>
                <a:cubicBezTo>
                  <a:pt x="8051838" y="5027019"/>
                  <a:pt x="8053229" y="5023813"/>
                  <a:pt x="8056471" y="5022559"/>
                </a:cubicBezTo>
                <a:cubicBezTo>
                  <a:pt x="8054619" y="5017124"/>
                  <a:pt x="8049985" y="5019911"/>
                  <a:pt x="8049985" y="5023953"/>
                </a:cubicBezTo>
                <a:cubicBezTo>
                  <a:pt x="8040716" y="5019911"/>
                  <a:pt x="8053229" y="5012246"/>
                  <a:pt x="8044888" y="5008205"/>
                </a:cubicBezTo>
                <a:cubicBezTo>
                  <a:pt x="8025888" y="5047086"/>
                  <a:pt x="7990670" y="5011968"/>
                  <a:pt x="7961941" y="5014754"/>
                </a:cubicBezTo>
                <a:cubicBezTo>
                  <a:pt x="7960549" y="5017403"/>
                  <a:pt x="7967037" y="5018796"/>
                  <a:pt x="7968890" y="5017403"/>
                </a:cubicBezTo>
                <a:cubicBezTo>
                  <a:pt x="7967963" y="5017961"/>
                  <a:pt x="7967037" y="5017820"/>
                  <a:pt x="7966111" y="5018378"/>
                </a:cubicBezTo>
                <a:cubicBezTo>
                  <a:pt x="7966111" y="5031199"/>
                  <a:pt x="7960549" y="5037053"/>
                  <a:pt x="7947575" y="5037053"/>
                </a:cubicBezTo>
                <a:cubicBezTo>
                  <a:pt x="7946648" y="5034963"/>
                  <a:pt x="7946648" y="5030224"/>
                  <a:pt x="7945721" y="5026879"/>
                </a:cubicBezTo>
                <a:cubicBezTo>
                  <a:pt x="7916991" y="5039561"/>
                  <a:pt x="7885017" y="5044439"/>
                  <a:pt x="7871579" y="5029667"/>
                </a:cubicBezTo>
                <a:cubicBezTo>
                  <a:pt x="7861847" y="5029667"/>
                  <a:pt x="7871115" y="5049735"/>
                  <a:pt x="7859994" y="5047086"/>
                </a:cubicBezTo>
                <a:cubicBezTo>
                  <a:pt x="7869725" y="5033569"/>
                  <a:pt x="7847482" y="5040119"/>
                  <a:pt x="7848872" y="5023953"/>
                </a:cubicBezTo>
                <a:cubicBezTo>
                  <a:pt x="7841458" y="5031339"/>
                  <a:pt x="7833117" y="5029388"/>
                  <a:pt x="7827093" y="5020330"/>
                </a:cubicBezTo>
                <a:cubicBezTo>
                  <a:pt x="7834044" y="5011549"/>
                  <a:pt x="7818288" y="5005140"/>
                  <a:pt x="7815508" y="5002631"/>
                </a:cubicBezTo>
                <a:cubicBezTo>
                  <a:pt x="7807167" y="5017264"/>
                  <a:pt x="7796045" y="5018518"/>
                  <a:pt x="7783534" y="5021305"/>
                </a:cubicBezTo>
                <a:cubicBezTo>
                  <a:pt x="7784924" y="5011829"/>
                  <a:pt x="7791411" y="5010574"/>
                  <a:pt x="7796045" y="5016010"/>
                </a:cubicBezTo>
                <a:cubicBezTo>
                  <a:pt x="7797899" y="5003885"/>
                  <a:pt x="7802532" y="4999843"/>
                  <a:pt x="7794656" y="4983677"/>
                </a:cubicBezTo>
                <a:cubicBezTo>
                  <a:pt x="7788168" y="5001098"/>
                  <a:pt x="7784924" y="4977267"/>
                  <a:pt x="7771949" y="4989252"/>
                </a:cubicBezTo>
                <a:cubicBezTo>
                  <a:pt x="7771949" y="4985349"/>
                  <a:pt x="7772412" y="4982424"/>
                  <a:pt x="7769631" y="4982424"/>
                </a:cubicBezTo>
                <a:cubicBezTo>
                  <a:pt x="7775655" y="4963609"/>
                  <a:pt x="7775655" y="4947583"/>
                  <a:pt x="7786777" y="4943542"/>
                </a:cubicBezTo>
                <a:cubicBezTo>
                  <a:pt x="7783534" y="4940893"/>
                  <a:pt x="7783534" y="4935737"/>
                  <a:pt x="7783534" y="4929048"/>
                </a:cubicBezTo>
                <a:cubicBezTo>
                  <a:pt x="7777047" y="4929048"/>
                  <a:pt x="7775655" y="4934204"/>
                  <a:pt x="7771023" y="4934204"/>
                </a:cubicBezTo>
                <a:cubicBezTo>
                  <a:pt x="7771023" y="4923474"/>
                  <a:pt x="7764535" y="4920686"/>
                  <a:pt x="7756193" y="4921940"/>
                </a:cubicBezTo>
                <a:cubicBezTo>
                  <a:pt x="7765925" y="4912603"/>
                  <a:pt x="7761291" y="4899085"/>
                  <a:pt x="7754803" y="4889747"/>
                </a:cubicBezTo>
                <a:cubicBezTo>
                  <a:pt x="7759900" y="4895043"/>
                  <a:pt x="7762681" y="4893789"/>
                  <a:pt x="7767778" y="4889747"/>
                </a:cubicBezTo>
                <a:cubicBezTo>
                  <a:pt x="7759438" y="4879017"/>
                  <a:pt x="7765925" y="4861875"/>
                  <a:pt x="7775193" y="4856441"/>
                </a:cubicBezTo>
                <a:cubicBezTo>
                  <a:pt x="7772412" y="4845709"/>
                  <a:pt x="7769168" y="4861457"/>
                  <a:pt x="7759438" y="4857415"/>
                </a:cubicBezTo>
                <a:lnTo>
                  <a:pt x="7759438" y="4829404"/>
                </a:lnTo>
                <a:cubicBezTo>
                  <a:pt x="7772412" y="4834839"/>
                  <a:pt x="7770559" y="4819788"/>
                  <a:pt x="7788168" y="4826617"/>
                </a:cubicBezTo>
                <a:cubicBezTo>
                  <a:pt x="7791411" y="4818535"/>
                  <a:pt x="7794656" y="4809475"/>
                  <a:pt x="7799289" y="4802786"/>
                </a:cubicBezTo>
                <a:cubicBezTo>
                  <a:pt x="7805777" y="4809475"/>
                  <a:pt x="7807167" y="4802647"/>
                  <a:pt x="7815508" y="4801393"/>
                </a:cubicBezTo>
                <a:cubicBezTo>
                  <a:pt x="7816898" y="4813378"/>
                  <a:pt x="7837750" y="4810451"/>
                  <a:pt x="7842385" y="4806409"/>
                </a:cubicBezTo>
                <a:cubicBezTo>
                  <a:pt x="7839142" y="4800975"/>
                  <a:pt x="7836361" y="4794425"/>
                  <a:pt x="7828482" y="4795678"/>
                </a:cubicBezTo>
                <a:cubicBezTo>
                  <a:pt x="7837750" y="4775610"/>
                  <a:pt x="7826629" y="4770175"/>
                  <a:pt x="7810410" y="4764880"/>
                </a:cubicBezTo>
                <a:cubicBezTo>
                  <a:pt x="7805777" y="4768921"/>
                  <a:pt x="7804386" y="4775890"/>
                  <a:pt x="7802532" y="4782579"/>
                </a:cubicBezTo>
                <a:cubicBezTo>
                  <a:pt x="7794656" y="4751780"/>
                  <a:pt x="7767778" y="4773241"/>
                  <a:pt x="7758046" y="4753034"/>
                </a:cubicBezTo>
                <a:cubicBezTo>
                  <a:pt x="7750169" y="4762511"/>
                  <a:pt x="7737194" y="4789128"/>
                  <a:pt x="7752950" y="4789128"/>
                </a:cubicBezTo>
                <a:cubicBezTo>
                  <a:pt x="7752950" y="4803901"/>
                  <a:pt x="7733950" y="4795958"/>
                  <a:pt x="7727464" y="4791916"/>
                </a:cubicBezTo>
                <a:cubicBezTo>
                  <a:pt x="7724683" y="4779791"/>
                  <a:pt x="7738584" y="4784948"/>
                  <a:pt x="7740437" y="4778259"/>
                </a:cubicBezTo>
                <a:cubicBezTo>
                  <a:pt x="7738584" y="4767528"/>
                  <a:pt x="7722830" y="4765020"/>
                  <a:pt x="7735805" y="4759584"/>
                </a:cubicBezTo>
                <a:cubicBezTo>
                  <a:pt x="7730707" y="4755542"/>
                  <a:pt x="7726073" y="4748854"/>
                  <a:pt x="7720049" y="4748854"/>
                </a:cubicBezTo>
                <a:cubicBezTo>
                  <a:pt x="7721439" y="4744812"/>
                  <a:pt x="7723293" y="4740910"/>
                  <a:pt x="7720049" y="4740910"/>
                </a:cubicBezTo>
                <a:cubicBezTo>
                  <a:pt x="7723293" y="4734220"/>
                  <a:pt x="7740437" y="4724883"/>
                  <a:pt x="7733950" y="4719448"/>
                </a:cubicBezTo>
                <a:cubicBezTo>
                  <a:pt x="7748316" y="4708717"/>
                  <a:pt x="7761291" y="4719588"/>
                  <a:pt x="7778900" y="4711504"/>
                </a:cubicBezTo>
                <a:cubicBezTo>
                  <a:pt x="7777047" y="4698126"/>
                  <a:pt x="7765925" y="4705930"/>
                  <a:pt x="7759438" y="4708578"/>
                </a:cubicBezTo>
                <a:cubicBezTo>
                  <a:pt x="7761291" y="4700355"/>
                  <a:pt x="7758974" y="4697429"/>
                  <a:pt x="7756193" y="4694642"/>
                </a:cubicBezTo>
                <a:cubicBezTo>
                  <a:pt x="7738122" y="4697289"/>
                  <a:pt x="7719585" y="4698683"/>
                  <a:pt x="7701512" y="4701192"/>
                </a:cubicBezTo>
                <a:cubicBezTo>
                  <a:pt x="7701049" y="4702167"/>
                  <a:pt x="7699660" y="4701610"/>
                  <a:pt x="7699660" y="4703003"/>
                </a:cubicBezTo>
                <a:cubicBezTo>
                  <a:pt x="7696879" y="4702864"/>
                  <a:pt x="7694562" y="4701889"/>
                  <a:pt x="7692246" y="4701749"/>
                </a:cubicBezTo>
                <a:cubicBezTo>
                  <a:pt x="7667686" y="4704676"/>
                  <a:pt x="7643125" y="4707742"/>
                  <a:pt x="7615785" y="4706209"/>
                </a:cubicBezTo>
                <a:cubicBezTo>
                  <a:pt x="7610688" y="4709692"/>
                  <a:pt x="7616713" y="4715546"/>
                  <a:pt x="7622272" y="4716521"/>
                </a:cubicBezTo>
                <a:cubicBezTo>
                  <a:pt x="7607908" y="4716243"/>
                  <a:pt x="7555543" y="4681263"/>
                  <a:pt x="7538862" y="4718333"/>
                </a:cubicBezTo>
                <a:cubicBezTo>
                  <a:pt x="7540252" y="4712341"/>
                  <a:pt x="7545350" y="4710389"/>
                  <a:pt x="7544886" y="4703003"/>
                </a:cubicBezTo>
                <a:cubicBezTo>
                  <a:pt x="7530985" y="4707045"/>
                  <a:pt x="7534228" y="4727810"/>
                  <a:pt x="7518472" y="4730597"/>
                </a:cubicBezTo>
                <a:cubicBezTo>
                  <a:pt x="7516155" y="4720285"/>
                  <a:pt x="7520789" y="4716939"/>
                  <a:pt x="7520327" y="4710947"/>
                </a:cubicBezTo>
                <a:cubicBezTo>
                  <a:pt x="7490669" y="4695339"/>
                  <a:pt x="7468426" y="4728367"/>
                  <a:pt x="7451281" y="4711923"/>
                </a:cubicBezTo>
                <a:cubicBezTo>
                  <a:pt x="7442940" y="4715546"/>
                  <a:pt x="7442013" y="4724744"/>
                  <a:pt x="7431354" y="4724047"/>
                </a:cubicBezTo>
                <a:cubicBezTo>
                  <a:pt x="7427648" y="4743697"/>
                  <a:pt x="7444330" y="4731712"/>
                  <a:pt x="7442013" y="4748296"/>
                </a:cubicBezTo>
                <a:cubicBezTo>
                  <a:pt x="7436453" y="4744254"/>
                  <a:pt x="7430427" y="4741885"/>
                  <a:pt x="7420233" y="4745648"/>
                </a:cubicBezTo>
                <a:cubicBezTo>
                  <a:pt x="7423476" y="4740910"/>
                  <a:pt x="7422550" y="4730597"/>
                  <a:pt x="7428110" y="4730179"/>
                </a:cubicBezTo>
                <a:cubicBezTo>
                  <a:pt x="7425331" y="4720005"/>
                  <a:pt x="7417916" y="4738401"/>
                  <a:pt x="7414673" y="4720702"/>
                </a:cubicBezTo>
                <a:cubicBezTo>
                  <a:pt x="7408184" y="4728786"/>
                  <a:pt x="7397989" y="4731154"/>
                  <a:pt x="7395209" y="4741746"/>
                </a:cubicBezTo>
                <a:cubicBezTo>
                  <a:pt x="7389649" y="4740770"/>
                  <a:pt x="7390577" y="4730179"/>
                  <a:pt x="7390113" y="4722793"/>
                </a:cubicBezTo>
                <a:cubicBezTo>
                  <a:pt x="7338212" y="4717915"/>
                  <a:pt x="7300677" y="4735754"/>
                  <a:pt x="7250632" y="4751641"/>
                </a:cubicBezTo>
                <a:cubicBezTo>
                  <a:pt x="7237656" y="4724186"/>
                  <a:pt x="7191316" y="4723629"/>
                  <a:pt x="7162122" y="4734917"/>
                </a:cubicBezTo>
                <a:cubicBezTo>
                  <a:pt x="7172782" y="4714710"/>
                  <a:pt x="7134783" y="4726276"/>
                  <a:pt x="7128295" y="4713316"/>
                </a:cubicBezTo>
                <a:cubicBezTo>
                  <a:pt x="7125051" y="4715128"/>
                  <a:pt x="7123661" y="4718612"/>
                  <a:pt x="7119953" y="4718890"/>
                </a:cubicBezTo>
                <a:cubicBezTo>
                  <a:pt x="7116247" y="4738680"/>
                  <a:pt x="7131076" y="4728228"/>
                  <a:pt x="7130612" y="4743279"/>
                </a:cubicBezTo>
                <a:cubicBezTo>
                  <a:pt x="7114393" y="4738541"/>
                  <a:pt x="7102808" y="4726137"/>
                  <a:pt x="7094930" y="4711923"/>
                </a:cubicBezTo>
                <a:cubicBezTo>
                  <a:pt x="7108369" y="4728646"/>
                  <a:pt x="7101418" y="4708160"/>
                  <a:pt x="7122734" y="4709554"/>
                </a:cubicBezTo>
                <a:cubicBezTo>
                  <a:pt x="7111150" y="4697010"/>
                  <a:pt x="7091224" y="4712201"/>
                  <a:pt x="7076858" y="4713316"/>
                </a:cubicBezTo>
                <a:cubicBezTo>
                  <a:pt x="7078249" y="4726694"/>
                  <a:pt x="7086589" y="4725580"/>
                  <a:pt x="7095858" y="4726417"/>
                </a:cubicBezTo>
                <a:cubicBezTo>
                  <a:pt x="7077785" y="4721817"/>
                  <a:pt x="7013837" y="4746485"/>
                  <a:pt x="6999472" y="4720702"/>
                </a:cubicBezTo>
                <a:cubicBezTo>
                  <a:pt x="6984643" y="4735335"/>
                  <a:pt x="7007812" y="4736450"/>
                  <a:pt x="6994837" y="4755403"/>
                </a:cubicBezTo>
                <a:cubicBezTo>
                  <a:pt x="7020787" y="4747460"/>
                  <a:pt x="7059248" y="4735614"/>
                  <a:pt x="7082881" y="4768085"/>
                </a:cubicBezTo>
                <a:cubicBezTo>
                  <a:pt x="7063420" y="4765158"/>
                  <a:pt x="7056932" y="4776028"/>
                  <a:pt x="7056469" y="4789547"/>
                </a:cubicBezTo>
                <a:cubicBezTo>
                  <a:pt x="7037006" y="4791080"/>
                  <a:pt x="7014300" y="4797072"/>
                  <a:pt x="7004569" y="4784391"/>
                </a:cubicBezTo>
                <a:cubicBezTo>
                  <a:pt x="6997618" y="4789407"/>
                  <a:pt x="6987423" y="4793449"/>
                  <a:pt x="6982790" y="4801393"/>
                </a:cubicBezTo>
                <a:cubicBezTo>
                  <a:pt x="6937840" y="4794425"/>
                  <a:pt x="6893818" y="4826059"/>
                  <a:pt x="6861380" y="4792752"/>
                </a:cubicBezTo>
                <a:cubicBezTo>
                  <a:pt x="6873428" y="4790383"/>
                  <a:pt x="6873428" y="4809754"/>
                  <a:pt x="6881307" y="4795678"/>
                </a:cubicBezTo>
                <a:cubicBezTo>
                  <a:pt x="6871575" y="4784530"/>
                  <a:pt x="6863234" y="4791359"/>
                  <a:pt x="6848869" y="4793867"/>
                </a:cubicBezTo>
                <a:cubicBezTo>
                  <a:pt x="6847942" y="4799999"/>
                  <a:pt x="6849797" y="4802786"/>
                  <a:pt x="6853039" y="4804041"/>
                </a:cubicBezTo>
                <a:cubicBezTo>
                  <a:pt x="6824772" y="4803344"/>
                  <a:pt x="6771018" y="4841947"/>
                  <a:pt x="6742288" y="4814354"/>
                </a:cubicBezTo>
                <a:cubicBezTo>
                  <a:pt x="6721436" y="4839996"/>
                  <a:pt x="6667682" y="4808082"/>
                  <a:pt x="6654243" y="4843480"/>
                </a:cubicBezTo>
                <a:cubicBezTo>
                  <a:pt x="6646366" y="4832052"/>
                  <a:pt x="6641731" y="4822158"/>
                  <a:pt x="6621805" y="4816165"/>
                </a:cubicBezTo>
                <a:cubicBezTo>
                  <a:pt x="6624586" y="4827871"/>
                  <a:pt x="6611611" y="4842644"/>
                  <a:pt x="6606049" y="4817697"/>
                </a:cubicBezTo>
                <a:cubicBezTo>
                  <a:pt x="6541176" y="4849612"/>
                  <a:pt x="6447569" y="4812262"/>
                  <a:pt x="6395207" y="4868704"/>
                </a:cubicBezTo>
                <a:cubicBezTo>
                  <a:pt x="6386401" y="4867869"/>
                  <a:pt x="6385475" y="4856022"/>
                  <a:pt x="6378523" y="4855046"/>
                </a:cubicBezTo>
                <a:cubicBezTo>
                  <a:pt x="6377134" y="4864106"/>
                  <a:pt x="6382231" y="4864803"/>
                  <a:pt x="6383157" y="4873721"/>
                </a:cubicBezTo>
                <a:cubicBezTo>
                  <a:pt x="6369255" y="4855465"/>
                  <a:pt x="6358135" y="4869819"/>
                  <a:pt x="6348403" y="4861596"/>
                </a:cubicBezTo>
                <a:cubicBezTo>
                  <a:pt x="6348403" y="4861596"/>
                  <a:pt x="6372036" y="4843480"/>
                  <a:pt x="6347013" y="4842504"/>
                </a:cubicBezTo>
                <a:cubicBezTo>
                  <a:pt x="6355354" y="4834422"/>
                  <a:pt x="6371573" y="4858252"/>
                  <a:pt x="6393814" y="4847660"/>
                </a:cubicBezTo>
                <a:cubicBezTo>
                  <a:pt x="6387791" y="4840553"/>
                  <a:pt x="6375281" y="4844455"/>
                  <a:pt x="6367865" y="4840553"/>
                </a:cubicBezTo>
                <a:cubicBezTo>
                  <a:pt x="6370646" y="4826895"/>
                  <a:pt x="6385938" y="4840693"/>
                  <a:pt x="6392888" y="4838741"/>
                </a:cubicBezTo>
                <a:cubicBezTo>
                  <a:pt x="6380841" y="4823272"/>
                  <a:pt x="6354429" y="4827035"/>
                  <a:pt x="6333112" y="4824248"/>
                </a:cubicBezTo>
                <a:cubicBezTo>
                  <a:pt x="6423474" y="4803622"/>
                  <a:pt x="6534689" y="4838045"/>
                  <a:pt x="6625050" y="4790662"/>
                </a:cubicBezTo>
                <a:cubicBezTo>
                  <a:pt x="6637561" y="4792613"/>
                  <a:pt x="6644048" y="4804180"/>
                  <a:pt x="6654707" y="4807803"/>
                </a:cubicBezTo>
                <a:cubicBezTo>
                  <a:pt x="6663511" y="4805713"/>
                  <a:pt x="6656560" y="4788014"/>
                  <a:pt x="6669535" y="4791497"/>
                </a:cubicBezTo>
                <a:cubicBezTo>
                  <a:pt x="6676949" y="4822297"/>
                  <a:pt x="6699656" y="4768225"/>
                  <a:pt x="6701045" y="4804041"/>
                </a:cubicBezTo>
                <a:cubicBezTo>
                  <a:pt x="6708461" y="4788572"/>
                  <a:pt x="6721898" y="4780070"/>
                  <a:pt x="6726532" y="4772266"/>
                </a:cubicBezTo>
                <a:cubicBezTo>
                  <a:pt x="6736728" y="4770036"/>
                  <a:pt x="6739970" y="4778817"/>
                  <a:pt x="6743679" y="4784391"/>
                </a:cubicBezTo>
                <a:cubicBezTo>
                  <a:pt x="6734410" y="4756798"/>
                  <a:pt x="6817358" y="4773938"/>
                  <a:pt x="6821528" y="4757215"/>
                </a:cubicBezTo>
                <a:cubicBezTo>
                  <a:pt x="6838210" y="4766413"/>
                  <a:pt x="6861844" y="4758469"/>
                  <a:pt x="6889647" y="4750386"/>
                </a:cubicBezTo>
                <a:cubicBezTo>
                  <a:pt x="6881769" y="4719588"/>
                  <a:pt x="6834039" y="4736730"/>
                  <a:pt x="6824309" y="4748017"/>
                </a:cubicBezTo>
                <a:cubicBezTo>
                  <a:pt x="6797895" y="4727670"/>
                  <a:pt x="6761288" y="4739516"/>
                  <a:pt x="6743679" y="4740910"/>
                </a:cubicBezTo>
                <a:cubicBezTo>
                  <a:pt x="6739044" y="4724883"/>
                  <a:pt x="6757117" y="4732130"/>
                  <a:pt x="6754336" y="4718890"/>
                </a:cubicBezTo>
                <a:cubicBezTo>
                  <a:pt x="6752482" y="4716104"/>
                  <a:pt x="6750166" y="4711783"/>
                  <a:pt x="6749701" y="4704397"/>
                </a:cubicBezTo>
                <a:cubicBezTo>
                  <a:pt x="6730703" y="4708996"/>
                  <a:pt x="6705680" y="4706906"/>
                  <a:pt x="6701510" y="4725162"/>
                </a:cubicBezTo>
                <a:cubicBezTo>
                  <a:pt x="6657023" y="4718194"/>
                  <a:pt x="6627829" y="4731991"/>
                  <a:pt x="6582880" y="4701192"/>
                </a:cubicBezTo>
                <a:cubicBezTo>
                  <a:pt x="6570832" y="4705094"/>
                  <a:pt x="6566198" y="4717636"/>
                  <a:pt x="6546272" y="4714710"/>
                </a:cubicBezTo>
                <a:cubicBezTo>
                  <a:pt x="6533761" y="4709833"/>
                  <a:pt x="6558320" y="4707742"/>
                  <a:pt x="6563418" y="4707323"/>
                </a:cubicBezTo>
                <a:cubicBezTo>
                  <a:pt x="6543492" y="4697010"/>
                  <a:pt x="6521713" y="4694085"/>
                  <a:pt x="6492519" y="4705373"/>
                </a:cubicBezTo>
                <a:cubicBezTo>
                  <a:pt x="6495298" y="4715546"/>
                  <a:pt x="6511981" y="4705373"/>
                  <a:pt x="6520785" y="4707742"/>
                </a:cubicBezTo>
                <a:cubicBezTo>
                  <a:pt x="6519859" y="4736172"/>
                  <a:pt x="6491592" y="4713038"/>
                  <a:pt x="6468885" y="4722236"/>
                </a:cubicBezTo>
                <a:cubicBezTo>
                  <a:pt x="6472129" y="4714570"/>
                  <a:pt x="6477227" y="4711087"/>
                  <a:pt x="6484177" y="4710529"/>
                </a:cubicBezTo>
                <a:cubicBezTo>
                  <a:pt x="6456374" y="4697847"/>
                  <a:pt x="6422546" y="4692830"/>
                  <a:pt x="6396596" y="4703840"/>
                </a:cubicBezTo>
                <a:cubicBezTo>
                  <a:pt x="6392888" y="4720563"/>
                  <a:pt x="6410961" y="4706069"/>
                  <a:pt x="6406791" y="4722793"/>
                </a:cubicBezTo>
                <a:cubicBezTo>
                  <a:pt x="6403083" y="4720005"/>
                  <a:pt x="6384085" y="4703840"/>
                  <a:pt x="6385938" y="4724604"/>
                </a:cubicBezTo>
                <a:cubicBezTo>
                  <a:pt x="6368792" y="4712480"/>
                  <a:pt x="6349331" y="4712480"/>
                  <a:pt x="6333112" y="4730179"/>
                </a:cubicBezTo>
                <a:cubicBezTo>
                  <a:pt x="6328476" y="4720144"/>
                  <a:pt x="6315965" y="4720702"/>
                  <a:pt x="6303917" y="4723071"/>
                </a:cubicBezTo>
                <a:cubicBezTo>
                  <a:pt x="6324306" y="4709554"/>
                  <a:pt x="6349794" y="4716800"/>
                  <a:pt x="6384085" y="4700634"/>
                </a:cubicBezTo>
                <a:cubicBezTo>
                  <a:pt x="6368329" y="4682378"/>
                  <a:pt x="6343305" y="4683075"/>
                  <a:pt x="6329868" y="4696036"/>
                </a:cubicBezTo>
                <a:cubicBezTo>
                  <a:pt x="6333112" y="4668999"/>
                  <a:pt x="6258968" y="4716382"/>
                  <a:pt x="6244603" y="4669836"/>
                </a:cubicBezTo>
                <a:cubicBezTo>
                  <a:pt x="6189460" y="4689067"/>
                  <a:pt x="6167216" y="4653391"/>
                  <a:pt x="6105122" y="4677779"/>
                </a:cubicBezTo>
                <a:cubicBezTo>
                  <a:pt x="6135243" y="4654506"/>
                  <a:pt x="6070368" y="4667188"/>
                  <a:pt x="6049515" y="4668860"/>
                </a:cubicBezTo>
                <a:cubicBezTo>
                  <a:pt x="6045808" y="4688510"/>
                  <a:pt x="6062954" y="4679591"/>
                  <a:pt x="6068514" y="4686699"/>
                </a:cubicBezTo>
                <a:cubicBezTo>
                  <a:pt x="6071293" y="4677501"/>
                  <a:pt x="6078244" y="4672623"/>
                  <a:pt x="6092609" y="4674434"/>
                </a:cubicBezTo>
                <a:cubicBezTo>
                  <a:pt x="6094464" y="4698265"/>
                  <a:pt x="6048588" y="4701610"/>
                  <a:pt x="6043491" y="4679591"/>
                </a:cubicBezTo>
                <a:cubicBezTo>
                  <a:pt x="5980005" y="4686002"/>
                  <a:pt x="5942934" y="4690322"/>
                  <a:pt x="5896594" y="4664122"/>
                </a:cubicBezTo>
                <a:cubicBezTo>
                  <a:pt x="5884546" y="4669557"/>
                  <a:pt x="5906325" y="4674155"/>
                  <a:pt x="5910033" y="4676803"/>
                </a:cubicBezTo>
                <a:cubicBezTo>
                  <a:pt x="5886862" y="4677221"/>
                  <a:pt x="5811793" y="4690182"/>
                  <a:pt x="5768698" y="4686141"/>
                </a:cubicBezTo>
                <a:cubicBezTo>
                  <a:pt x="5723749" y="4700076"/>
                  <a:pt x="5699652" y="4688649"/>
                  <a:pt x="5644508" y="4688510"/>
                </a:cubicBezTo>
                <a:cubicBezTo>
                  <a:pt x="5644971" y="4692970"/>
                  <a:pt x="5650069" y="4691019"/>
                  <a:pt x="5653776" y="4692273"/>
                </a:cubicBezTo>
                <a:cubicBezTo>
                  <a:pt x="5537464" y="4705930"/>
                  <a:pt x="5427639" y="4705791"/>
                  <a:pt x="5329864" y="4724047"/>
                </a:cubicBezTo>
                <a:cubicBezTo>
                  <a:pt x="5329401" y="4715128"/>
                  <a:pt x="5339595" y="4716939"/>
                  <a:pt x="5334960" y="4703840"/>
                </a:cubicBezTo>
                <a:cubicBezTo>
                  <a:pt x="5319669" y="4688649"/>
                  <a:pt x="5296499" y="4711783"/>
                  <a:pt x="5304377" y="4721678"/>
                </a:cubicBezTo>
                <a:cubicBezTo>
                  <a:pt x="5272403" y="4695896"/>
                  <a:pt x="5151457" y="4755822"/>
                  <a:pt x="5086118" y="4738541"/>
                </a:cubicBezTo>
                <a:cubicBezTo>
                  <a:pt x="5086118" y="4738541"/>
                  <a:pt x="5087045" y="4728228"/>
                  <a:pt x="5085192" y="4728367"/>
                </a:cubicBezTo>
                <a:cubicBezTo>
                  <a:pt x="5083338" y="4728507"/>
                  <a:pt x="5061558" y="4745370"/>
                  <a:pt x="5072216" y="4725162"/>
                </a:cubicBezTo>
                <a:cubicBezTo>
                  <a:pt x="5042096" y="4748435"/>
                  <a:pt x="4997147" y="4739934"/>
                  <a:pt x="4962392" y="4751641"/>
                </a:cubicBezTo>
                <a:cubicBezTo>
                  <a:pt x="4953588" y="4750804"/>
                  <a:pt x="4952661" y="4738958"/>
                  <a:pt x="4957295" y="4731154"/>
                </a:cubicBezTo>
                <a:lnTo>
                  <a:pt x="4933198" y="4734360"/>
                </a:lnTo>
                <a:cubicBezTo>
                  <a:pt x="4922541" y="4736730"/>
                  <a:pt x="4938759" y="4741328"/>
                  <a:pt x="4934588" y="4753591"/>
                </a:cubicBezTo>
                <a:cubicBezTo>
                  <a:pt x="4900298" y="4747320"/>
                  <a:pt x="4872493" y="4728507"/>
                  <a:pt x="4843299" y="4742721"/>
                </a:cubicBezTo>
                <a:cubicBezTo>
                  <a:pt x="4844226" y="4732130"/>
                  <a:pt x="4838202" y="4729760"/>
                  <a:pt x="4836350" y="4724047"/>
                </a:cubicBezTo>
                <a:cubicBezTo>
                  <a:pt x="4821058" y="4732688"/>
                  <a:pt x="4791864" y="4727531"/>
                  <a:pt x="4777961" y="4730179"/>
                </a:cubicBezTo>
                <a:cubicBezTo>
                  <a:pt x="4775645" y="4717497"/>
                  <a:pt x="4787693" y="4718054"/>
                  <a:pt x="4791864" y="4710947"/>
                </a:cubicBezTo>
                <a:cubicBezTo>
                  <a:pt x="4789546" y="4709972"/>
                  <a:pt x="4787229" y="4709414"/>
                  <a:pt x="4785839" y="4707742"/>
                </a:cubicBezTo>
                <a:cubicBezTo>
                  <a:pt x="4768694" y="4708020"/>
                  <a:pt x="4750621" y="4704536"/>
                  <a:pt x="4731621" y="4700634"/>
                </a:cubicBezTo>
                <a:cubicBezTo>
                  <a:pt x="4726525" y="4702167"/>
                  <a:pt x="4721427" y="4705651"/>
                  <a:pt x="4718184" y="4715128"/>
                </a:cubicBezTo>
                <a:cubicBezTo>
                  <a:pt x="4712623" y="4700217"/>
                  <a:pt x="4697331" y="4704397"/>
                  <a:pt x="4688063" y="4695060"/>
                </a:cubicBezTo>
                <a:cubicBezTo>
                  <a:pt x="4683429" y="4694920"/>
                  <a:pt x="4678795" y="4695756"/>
                  <a:pt x="4674161" y="4696036"/>
                </a:cubicBezTo>
                <a:cubicBezTo>
                  <a:pt x="4678332" y="4702725"/>
                  <a:pt x="4684819" y="4705512"/>
                  <a:pt x="4693624" y="4703003"/>
                </a:cubicBezTo>
                <a:cubicBezTo>
                  <a:pt x="4684357" y="4731573"/>
                  <a:pt x="4647748" y="4695060"/>
                  <a:pt x="4651919" y="4731154"/>
                </a:cubicBezTo>
                <a:cubicBezTo>
                  <a:pt x="4632457" y="4727252"/>
                  <a:pt x="4590750" y="4712897"/>
                  <a:pt x="4597700" y="4739097"/>
                </a:cubicBezTo>
                <a:cubicBezTo>
                  <a:pt x="4587507" y="4736589"/>
                  <a:pt x="4578239" y="4717915"/>
                  <a:pt x="4581947" y="4709135"/>
                </a:cubicBezTo>
                <a:cubicBezTo>
                  <a:pt x="4601872" y="4707184"/>
                  <a:pt x="4633847" y="4716521"/>
                  <a:pt x="4641723" y="4703560"/>
                </a:cubicBezTo>
                <a:cubicBezTo>
                  <a:pt x="4640796" y="4703840"/>
                  <a:pt x="4639869" y="4703560"/>
                  <a:pt x="4639406" y="4703840"/>
                </a:cubicBezTo>
                <a:cubicBezTo>
                  <a:pt x="4637552" y="4701052"/>
                  <a:pt x="4638479" y="4700495"/>
                  <a:pt x="4638017" y="4698823"/>
                </a:cubicBezTo>
                <a:cubicBezTo>
                  <a:pt x="4631065" y="4702307"/>
                  <a:pt x="4624114" y="4696732"/>
                  <a:pt x="4617627" y="4689067"/>
                </a:cubicBezTo>
                <a:cubicBezTo>
                  <a:pt x="4591214" y="4698404"/>
                  <a:pt x="4564800" y="4710807"/>
                  <a:pt x="4542558" y="4695060"/>
                </a:cubicBezTo>
                <a:cubicBezTo>
                  <a:pt x="4533752" y="4694223"/>
                  <a:pt x="4540241" y="4708578"/>
                  <a:pt x="4533291" y="4710529"/>
                </a:cubicBezTo>
                <a:cubicBezTo>
                  <a:pt x="4498071" y="4691019"/>
                  <a:pt x="4465171" y="4696593"/>
                  <a:pt x="4434122" y="4710947"/>
                </a:cubicBezTo>
                <a:cubicBezTo>
                  <a:pt x="4420221" y="4644889"/>
                  <a:pt x="4346541" y="4705930"/>
                  <a:pt x="4304835" y="4668860"/>
                </a:cubicBezTo>
                <a:cubicBezTo>
                  <a:pt x="4279349" y="4684329"/>
                  <a:pt x="4238108" y="4681681"/>
                  <a:pt x="4210767" y="4668860"/>
                </a:cubicBezTo>
                <a:cubicBezTo>
                  <a:pt x="4201962" y="4671089"/>
                  <a:pt x="4199182" y="4680287"/>
                  <a:pt x="4194085" y="4685165"/>
                </a:cubicBezTo>
                <a:cubicBezTo>
                  <a:pt x="4180183" y="4687813"/>
                  <a:pt x="4194085" y="4682239"/>
                  <a:pt x="4189450" y="4670671"/>
                </a:cubicBezTo>
                <a:cubicBezTo>
                  <a:pt x="4177402" y="4671647"/>
                  <a:pt x="4178329" y="4683354"/>
                  <a:pt x="4165817" y="4682796"/>
                </a:cubicBezTo>
                <a:cubicBezTo>
                  <a:pt x="4167671" y="4688649"/>
                  <a:pt x="4172768" y="4686977"/>
                  <a:pt x="4178329" y="4688092"/>
                </a:cubicBezTo>
                <a:cubicBezTo>
                  <a:pt x="4152842" y="4702028"/>
                  <a:pt x="4113454" y="4694781"/>
                  <a:pt x="4085187" y="4697010"/>
                </a:cubicBezTo>
                <a:cubicBezTo>
                  <a:pt x="4100015" y="4683911"/>
                  <a:pt x="4140331" y="4674434"/>
                  <a:pt x="4157476" y="4689486"/>
                </a:cubicBezTo>
                <a:cubicBezTo>
                  <a:pt x="4162574" y="4687673"/>
                  <a:pt x="4159793" y="4679033"/>
                  <a:pt x="4165354" y="4678615"/>
                </a:cubicBezTo>
                <a:cubicBezTo>
                  <a:pt x="4158404" y="4661334"/>
                  <a:pt x="4133380" y="4655481"/>
                  <a:pt x="4124112" y="4672623"/>
                </a:cubicBezTo>
                <a:cubicBezTo>
                  <a:pt x="4107893" y="4668023"/>
                  <a:pt x="4098162" y="4658268"/>
                  <a:pt x="4083333" y="4651997"/>
                </a:cubicBezTo>
                <a:cubicBezTo>
                  <a:pt x="4065261" y="4650464"/>
                  <a:pt x="4078235" y="4679452"/>
                  <a:pt x="4062018" y="4679173"/>
                </a:cubicBezTo>
                <a:cubicBezTo>
                  <a:pt x="4049043" y="4626494"/>
                  <a:pt x="3984167" y="4679591"/>
                  <a:pt x="3967485" y="4645029"/>
                </a:cubicBezTo>
                <a:cubicBezTo>
                  <a:pt x="3941534" y="4654645"/>
                  <a:pt x="3893341" y="4651997"/>
                  <a:pt x="3855344" y="4646005"/>
                </a:cubicBezTo>
                <a:cubicBezTo>
                  <a:pt x="3866928" y="4633183"/>
                  <a:pt x="3859514" y="4624821"/>
                  <a:pt x="3845148" y="4623010"/>
                </a:cubicBezTo>
                <a:cubicBezTo>
                  <a:pt x="3871099" y="4613394"/>
                  <a:pt x="3866466" y="4643915"/>
                  <a:pt x="3894269" y="4617854"/>
                </a:cubicBezTo>
                <a:cubicBezTo>
                  <a:pt x="3886390" y="4609492"/>
                  <a:pt x="3881757" y="4596531"/>
                  <a:pt x="3867855" y="4600573"/>
                </a:cubicBezTo>
                <a:cubicBezTo>
                  <a:pt x="3890098" y="4609352"/>
                  <a:pt x="3870636" y="4610468"/>
                  <a:pt x="3853027" y="4611861"/>
                </a:cubicBezTo>
                <a:cubicBezTo>
                  <a:pt x="3858123" y="4606983"/>
                  <a:pt x="3859051" y="4596810"/>
                  <a:pt x="3861368" y="4586080"/>
                </a:cubicBezTo>
                <a:cubicBezTo>
                  <a:pt x="3895195" y="4586497"/>
                  <a:pt x="3964241" y="4581062"/>
                  <a:pt x="3989729" y="4547615"/>
                </a:cubicBezTo>
                <a:cubicBezTo>
                  <a:pt x="3973973" y="4547476"/>
                  <a:pt x="3950339" y="4545804"/>
                  <a:pt x="3940144" y="4548173"/>
                </a:cubicBezTo>
                <a:cubicBezTo>
                  <a:pt x="3941072" y="4558625"/>
                  <a:pt x="3944779" y="4562805"/>
                  <a:pt x="3953583" y="4562108"/>
                </a:cubicBezTo>
                <a:cubicBezTo>
                  <a:pt x="3956363" y="4572421"/>
                  <a:pt x="3939680" y="4564896"/>
                  <a:pt x="3934584" y="4568381"/>
                </a:cubicBezTo>
                <a:cubicBezTo>
                  <a:pt x="3945706" y="4552494"/>
                  <a:pt x="3924852" y="4555558"/>
                  <a:pt x="3923926" y="4540787"/>
                </a:cubicBezTo>
                <a:lnTo>
                  <a:pt x="3948022" y="4537442"/>
                </a:lnTo>
                <a:cubicBezTo>
                  <a:pt x="3944315" y="4510963"/>
                  <a:pt x="3905390" y="4536327"/>
                  <a:pt x="3891951" y="4523924"/>
                </a:cubicBezTo>
                <a:cubicBezTo>
                  <a:pt x="3892415" y="4504413"/>
                  <a:pt x="3906780" y="4529916"/>
                  <a:pt x="3921609" y="4515284"/>
                </a:cubicBezTo>
                <a:cubicBezTo>
                  <a:pt x="3912341" y="4489223"/>
                  <a:pt x="3894733" y="4509988"/>
                  <a:pt x="3878049" y="4500790"/>
                </a:cubicBezTo>
                <a:cubicBezTo>
                  <a:pt x="3884537" y="4471942"/>
                  <a:pt x="3920682" y="4485600"/>
                  <a:pt x="3941534" y="4477934"/>
                </a:cubicBezTo>
                <a:cubicBezTo>
                  <a:pt x="3955436" y="4473894"/>
                  <a:pt x="3949412" y="4461073"/>
                  <a:pt x="3969803" y="4471384"/>
                </a:cubicBezTo>
                <a:cubicBezTo>
                  <a:pt x="3972583" y="4462187"/>
                  <a:pt x="3995752" y="4445603"/>
                  <a:pt x="4017068" y="4441004"/>
                </a:cubicBezTo>
                <a:cubicBezTo>
                  <a:pt x="4015678" y="4448529"/>
                  <a:pt x="4010580" y="4450063"/>
                  <a:pt x="4011044" y="4456055"/>
                </a:cubicBezTo>
                <a:cubicBezTo>
                  <a:pt x="4039774" y="4456752"/>
                  <a:pt x="4044409" y="4432782"/>
                  <a:pt x="4051359" y="4408254"/>
                </a:cubicBezTo>
                <a:cubicBezTo>
                  <a:pt x="4043481" y="4398498"/>
                  <a:pt x="4037921" y="4413410"/>
                  <a:pt x="4026800" y="4405327"/>
                </a:cubicBezTo>
                <a:cubicBezTo>
                  <a:pt x="4052287" y="4397245"/>
                  <a:pt x="4045799" y="4388465"/>
                  <a:pt x="4052287" y="4372717"/>
                </a:cubicBezTo>
                <a:cubicBezTo>
                  <a:pt x="4036067" y="4372160"/>
                  <a:pt x="4020312" y="4371602"/>
                  <a:pt x="4009191" y="4360592"/>
                </a:cubicBezTo>
                <a:cubicBezTo>
                  <a:pt x="4003166" y="4361847"/>
                  <a:pt x="4003166" y="4376479"/>
                  <a:pt x="4009191" y="4376479"/>
                </a:cubicBezTo>
                <a:cubicBezTo>
                  <a:pt x="3998069" y="4383308"/>
                  <a:pt x="3967949" y="4367003"/>
                  <a:pt x="3948485" y="4365609"/>
                </a:cubicBezTo>
                <a:cubicBezTo>
                  <a:pt x="3948485" y="4357526"/>
                  <a:pt x="3967949" y="4349861"/>
                  <a:pt x="3948485" y="4349861"/>
                </a:cubicBezTo>
                <a:cubicBezTo>
                  <a:pt x="4002703" y="4336482"/>
                  <a:pt x="4031896" y="4368397"/>
                  <a:pt x="4063872" y="4354879"/>
                </a:cubicBezTo>
                <a:cubicBezTo>
                  <a:pt x="4078235" y="4349583"/>
                  <a:pt x="4065261" y="4332162"/>
                  <a:pt x="4082870" y="4324079"/>
                </a:cubicBezTo>
                <a:cubicBezTo>
                  <a:pt x="4078235" y="4308053"/>
                  <a:pt x="4066650" y="4326727"/>
                  <a:pt x="4058774" y="4324079"/>
                </a:cubicBezTo>
                <a:cubicBezTo>
                  <a:pt x="4058774" y="4329515"/>
                  <a:pt x="4060628" y="4333417"/>
                  <a:pt x="4063872" y="4334811"/>
                </a:cubicBezTo>
                <a:cubicBezTo>
                  <a:pt x="4063872" y="4338852"/>
                  <a:pt x="4058774" y="4338992"/>
                  <a:pt x="4053676" y="4338992"/>
                </a:cubicBezTo>
                <a:lnTo>
                  <a:pt x="4045799" y="4338992"/>
                </a:lnTo>
                <a:cubicBezTo>
                  <a:pt x="4042555" y="4328261"/>
                  <a:pt x="4049043" y="4325473"/>
                  <a:pt x="4049043" y="4318784"/>
                </a:cubicBezTo>
                <a:cubicBezTo>
                  <a:pt x="4041164" y="4330908"/>
                  <a:pt x="4026800" y="4330908"/>
                  <a:pt x="4017532" y="4318784"/>
                </a:cubicBezTo>
                <a:cubicBezTo>
                  <a:pt x="4007802" y="4320178"/>
                  <a:pt x="4009191" y="4336204"/>
                  <a:pt x="3994824" y="4334811"/>
                </a:cubicBezTo>
                <a:cubicBezTo>
                  <a:pt x="3988338" y="4309307"/>
                  <a:pt x="3967485" y="4334950"/>
                  <a:pt x="3967485" y="4308192"/>
                </a:cubicBezTo>
                <a:cubicBezTo>
                  <a:pt x="3981850" y="4302757"/>
                  <a:pt x="3977216" y="4308192"/>
                  <a:pt x="3994824" y="4308192"/>
                </a:cubicBezTo>
                <a:cubicBezTo>
                  <a:pt x="3991582" y="4300110"/>
                  <a:pt x="3982314" y="4298437"/>
                  <a:pt x="3977679" y="4290354"/>
                </a:cubicBezTo>
                <a:cubicBezTo>
                  <a:pt x="3973045" y="4290354"/>
                  <a:pt x="3967949" y="4290354"/>
                  <a:pt x="3963313" y="4290354"/>
                </a:cubicBezTo>
                <a:cubicBezTo>
                  <a:pt x="3950339" y="4295650"/>
                  <a:pt x="3935974" y="4297044"/>
                  <a:pt x="3924852" y="4290354"/>
                </a:cubicBezTo>
                <a:cubicBezTo>
                  <a:pt x="3908633" y="4290354"/>
                  <a:pt x="3894269" y="4291887"/>
                  <a:pt x="3881757" y="4293280"/>
                </a:cubicBezTo>
                <a:cubicBezTo>
                  <a:pt x="3868782" y="4294534"/>
                  <a:pt x="3854416" y="4297183"/>
                  <a:pt x="3838661" y="4302478"/>
                </a:cubicBezTo>
                <a:cubicBezTo>
                  <a:pt x="3845148" y="4293141"/>
                  <a:pt x="3843296" y="4290493"/>
                  <a:pt x="3830784" y="4291747"/>
                </a:cubicBezTo>
                <a:cubicBezTo>
                  <a:pt x="3834027" y="4281016"/>
                  <a:pt x="3854416" y="4277115"/>
                  <a:pt x="3862294" y="4286590"/>
                </a:cubicBezTo>
                <a:cubicBezTo>
                  <a:pt x="3864148" y="4285197"/>
                  <a:pt x="3865539" y="4282689"/>
                  <a:pt x="3866928" y="4280041"/>
                </a:cubicBezTo>
                <a:cubicBezTo>
                  <a:pt x="3865539" y="4273352"/>
                  <a:pt x="3859051" y="4269171"/>
                  <a:pt x="3851172" y="4267778"/>
                </a:cubicBezTo>
                <a:cubicBezTo>
                  <a:pt x="3864148" y="4289378"/>
                  <a:pt x="3827076" y="4273352"/>
                  <a:pt x="3804833" y="4289378"/>
                </a:cubicBezTo>
                <a:cubicBezTo>
                  <a:pt x="3803443" y="4284082"/>
                  <a:pt x="3805297" y="4279901"/>
                  <a:pt x="3806687" y="4277253"/>
                </a:cubicBezTo>
                <a:cubicBezTo>
                  <a:pt x="3806687" y="4277253"/>
                  <a:pt x="3806687" y="4277115"/>
                  <a:pt x="3806687" y="4275860"/>
                </a:cubicBezTo>
                <a:cubicBezTo>
                  <a:pt x="3803443" y="4281157"/>
                  <a:pt x="3796956" y="4282410"/>
                  <a:pt x="3789078" y="4281016"/>
                </a:cubicBezTo>
                <a:cubicBezTo>
                  <a:pt x="3792321" y="4277115"/>
                  <a:pt x="3795567" y="4271819"/>
                  <a:pt x="3795567" y="4267778"/>
                </a:cubicBezTo>
                <a:cubicBezTo>
                  <a:pt x="3781200" y="4266523"/>
                  <a:pt x="3766835" y="4266523"/>
                  <a:pt x="3752471" y="4266523"/>
                </a:cubicBezTo>
                <a:cubicBezTo>
                  <a:pt x="3747836" y="4267917"/>
                  <a:pt x="3742739" y="4269031"/>
                  <a:pt x="3738105" y="4271679"/>
                </a:cubicBezTo>
                <a:cubicBezTo>
                  <a:pt x="3739494" y="4269031"/>
                  <a:pt x="3739494" y="4267917"/>
                  <a:pt x="3741348" y="4266523"/>
                </a:cubicBezTo>
                <a:cubicBezTo>
                  <a:pt x="3736251" y="4266523"/>
                  <a:pt x="3733471" y="4266523"/>
                  <a:pt x="3728837" y="4267778"/>
                </a:cubicBezTo>
                <a:cubicBezTo>
                  <a:pt x="3728837" y="4269171"/>
                  <a:pt x="3728837" y="4270286"/>
                  <a:pt x="3728837" y="4271679"/>
                </a:cubicBezTo>
                <a:cubicBezTo>
                  <a:pt x="3726983" y="4270286"/>
                  <a:pt x="3725594" y="4269171"/>
                  <a:pt x="3724203" y="4267778"/>
                </a:cubicBezTo>
                <a:cubicBezTo>
                  <a:pt x="3717716" y="4267778"/>
                  <a:pt x="3711228" y="4267917"/>
                  <a:pt x="3704740" y="4269310"/>
                </a:cubicBezTo>
                <a:cubicBezTo>
                  <a:pt x="3726983" y="4284082"/>
                  <a:pt x="3766835" y="4286731"/>
                  <a:pt x="3752471" y="4329654"/>
                </a:cubicBezTo>
                <a:cubicBezTo>
                  <a:pt x="3738105" y="4328400"/>
                  <a:pt x="3733471" y="4320178"/>
                  <a:pt x="3728837" y="4308192"/>
                </a:cubicBezTo>
                <a:cubicBezTo>
                  <a:pt x="3703350" y="4322826"/>
                  <a:pt x="3674156" y="4287985"/>
                  <a:pt x="3655158" y="4318784"/>
                </a:cubicBezTo>
                <a:cubicBezTo>
                  <a:pt x="3650523" y="4298715"/>
                  <a:pt x="3618549" y="4307913"/>
                  <a:pt x="3618549" y="4281016"/>
                </a:cubicBezTo>
                <a:cubicBezTo>
                  <a:pt x="3610672" y="4281016"/>
                  <a:pt x="3607427" y="4285058"/>
                  <a:pt x="3605574" y="4291747"/>
                </a:cubicBezTo>
                <a:cubicBezTo>
                  <a:pt x="3608819" y="4299830"/>
                  <a:pt x="3616696" y="4303872"/>
                  <a:pt x="3627817" y="4302478"/>
                </a:cubicBezTo>
                <a:cubicBezTo>
                  <a:pt x="3612061" y="4329376"/>
                  <a:pt x="3575454" y="4287846"/>
                  <a:pt x="3573600" y="4324079"/>
                </a:cubicBezTo>
                <a:cubicBezTo>
                  <a:pt x="3551357" y="4317390"/>
                  <a:pt x="3505018" y="4297183"/>
                  <a:pt x="3508261" y="4324079"/>
                </a:cubicBezTo>
                <a:cubicBezTo>
                  <a:pt x="3502701" y="4322129"/>
                  <a:pt x="3498530" y="4316275"/>
                  <a:pt x="3496213" y="4310004"/>
                </a:cubicBezTo>
                <a:cubicBezTo>
                  <a:pt x="3494824" y="4315021"/>
                  <a:pt x="3492969" y="4319062"/>
                  <a:pt x="3486945" y="4318505"/>
                </a:cubicBezTo>
                <a:cubicBezTo>
                  <a:pt x="3492969" y="4296347"/>
                  <a:pt x="3469336" y="4308331"/>
                  <a:pt x="3472579" y="4288821"/>
                </a:cubicBezTo>
                <a:cubicBezTo>
                  <a:pt x="3480457" y="4290214"/>
                  <a:pt x="3480457" y="4283385"/>
                  <a:pt x="3482311" y="4278229"/>
                </a:cubicBezTo>
                <a:cubicBezTo>
                  <a:pt x="3489262" y="4279344"/>
                  <a:pt x="3484628" y="4296347"/>
                  <a:pt x="3495750" y="4293559"/>
                </a:cubicBezTo>
                <a:cubicBezTo>
                  <a:pt x="3495750" y="4293141"/>
                  <a:pt x="3495286" y="4292165"/>
                  <a:pt x="3495750" y="4291747"/>
                </a:cubicBezTo>
                <a:cubicBezTo>
                  <a:pt x="3524480" y="4293141"/>
                  <a:pt x="3572673" y="4315997"/>
                  <a:pt x="3572673" y="4286590"/>
                </a:cubicBezTo>
                <a:cubicBezTo>
                  <a:pt x="3551821" y="4302618"/>
                  <a:pt x="3543480" y="4278368"/>
                  <a:pt x="3530504" y="4263597"/>
                </a:cubicBezTo>
                <a:cubicBezTo>
                  <a:pt x="3527724" y="4263597"/>
                  <a:pt x="3524480" y="4263597"/>
                  <a:pt x="3521699" y="4263597"/>
                </a:cubicBezTo>
                <a:cubicBezTo>
                  <a:pt x="3523089" y="4262342"/>
                  <a:pt x="3524480" y="4261227"/>
                  <a:pt x="3525870" y="4259834"/>
                </a:cubicBezTo>
                <a:cubicBezTo>
                  <a:pt x="3524480" y="4257185"/>
                  <a:pt x="3521236" y="4255653"/>
                  <a:pt x="3517992" y="4255653"/>
                </a:cubicBezTo>
                <a:cubicBezTo>
                  <a:pt x="3532358" y="4235584"/>
                  <a:pt x="3548577" y="4233913"/>
                  <a:pt x="3565723" y="4239347"/>
                </a:cubicBezTo>
                <a:cubicBezTo>
                  <a:pt x="3572209" y="4237954"/>
                  <a:pt x="3580087" y="4238512"/>
                  <a:pt x="3589818" y="4238512"/>
                </a:cubicBezTo>
                <a:cubicBezTo>
                  <a:pt x="3586575" y="4241159"/>
                  <a:pt x="3586575" y="4243668"/>
                  <a:pt x="3586575" y="4244922"/>
                </a:cubicBezTo>
                <a:cubicBezTo>
                  <a:pt x="3592599" y="4247710"/>
                  <a:pt x="3599550" y="4250218"/>
                  <a:pt x="3607427" y="4251472"/>
                </a:cubicBezTo>
                <a:cubicBezTo>
                  <a:pt x="3639402" y="4250218"/>
                  <a:pt x="3658401" y="4263736"/>
                  <a:pt x="3699643" y="4253005"/>
                </a:cubicBezTo>
                <a:cubicBezTo>
                  <a:pt x="3699643" y="4253005"/>
                  <a:pt x="3699643" y="4252866"/>
                  <a:pt x="3698253" y="4251472"/>
                </a:cubicBezTo>
                <a:cubicBezTo>
                  <a:pt x="3698253" y="4251472"/>
                  <a:pt x="3698716" y="4250079"/>
                  <a:pt x="3696862" y="4250079"/>
                </a:cubicBezTo>
                <a:cubicBezTo>
                  <a:pt x="3694546" y="4248406"/>
                  <a:pt x="3689912" y="4248963"/>
                  <a:pt x="3685741" y="4247710"/>
                </a:cubicBezTo>
                <a:cubicBezTo>
                  <a:pt x="3685741" y="4234331"/>
                  <a:pt x="3701497" y="4236979"/>
                  <a:pt x="3712618" y="4236979"/>
                </a:cubicBezTo>
                <a:cubicBezTo>
                  <a:pt x="3714472" y="4243668"/>
                  <a:pt x="3711228" y="4247430"/>
                  <a:pt x="3709374" y="4250079"/>
                </a:cubicBezTo>
                <a:cubicBezTo>
                  <a:pt x="3715862" y="4247430"/>
                  <a:pt x="3724203" y="4245061"/>
                  <a:pt x="3732080" y="4246455"/>
                </a:cubicBezTo>
                <a:cubicBezTo>
                  <a:pt x="3738568" y="4243807"/>
                  <a:pt x="3744592" y="4242413"/>
                  <a:pt x="3749227" y="4236979"/>
                </a:cubicBezTo>
                <a:cubicBezTo>
                  <a:pt x="3753860" y="4239626"/>
                  <a:pt x="3758957" y="4240741"/>
                  <a:pt x="3764982" y="4242134"/>
                </a:cubicBezTo>
                <a:cubicBezTo>
                  <a:pt x="3766835" y="4242134"/>
                  <a:pt x="3770079" y="4242274"/>
                  <a:pt x="3775176" y="4244922"/>
                </a:cubicBezTo>
                <a:cubicBezTo>
                  <a:pt x="3783054" y="4246316"/>
                  <a:pt x="3789078" y="4247710"/>
                  <a:pt x="3796956" y="4247710"/>
                </a:cubicBezTo>
                <a:cubicBezTo>
                  <a:pt x="3800200" y="4246316"/>
                  <a:pt x="3802053" y="4243389"/>
                  <a:pt x="3802053" y="4239347"/>
                </a:cubicBezTo>
                <a:cubicBezTo>
                  <a:pt x="3805297" y="4240741"/>
                  <a:pt x="3806687" y="4245061"/>
                  <a:pt x="3808077" y="4247710"/>
                </a:cubicBezTo>
                <a:cubicBezTo>
                  <a:pt x="3815955" y="4247710"/>
                  <a:pt x="3822907" y="4246316"/>
                  <a:pt x="3830784" y="4244922"/>
                </a:cubicBezTo>
                <a:cubicBezTo>
                  <a:pt x="3828930" y="4240881"/>
                  <a:pt x="3826150" y="4237954"/>
                  <a:pt x="3821052" y="4239347"/>
                </a:cubicBezTo>
                <a:cubicBezTo>
                  <a:pt x="3829393" y="4234888"/>
                  <a:pt x="3835881" y="4236142"/>
                  <a:pt x="3842831" y="4235166"/>
                </a:cubicBezTo>
                <a:cubicBezTo>
                  <a:pt x="3839125" y="4237397"/>
                  <a:pt x="3840052" y="4244922"/>
                  <a:pt x="3834027" y="4244922"/>
                </a:cubicBezTo>
                <a:cubicBezTo>
                  <a:pt x="3841905" y="4243668"/>
                  <a:pt x="3850246" y="4242134"/>
                  <a:pt x="3856270" y="4240741"/>
                </a:cubicBezTo>
                <a:cubicBezTo>
                  <a:pt x="3853490" y="4239487"/>
                  <a:pt x="3848855" y="4237117"/>
                  <a:pt x="3844222" y="4234609"/>
                </a:cubicBezTo>
                <a:cubicBezTo>
                  <a:pt x="3861831" y="4232519"/>
                  <a:pt x="3878513" y="4234609"/>
                  <a:pt x="3904000" y="4229035"/>
                </a:cubicBezTo>
                <a:cubicBezTo>
                  <a:pt x="3902610" y="4230289"/>
                  <a:pt x="3900756" y="4231404"/>
                  <a:pt x="3900756" y="4231404"/>
                </a:cubicBezTo>
                <a:cubicBezTo>
                  <a:pt x="3905854" y="4231404"/>
                  <a:pt x="3910486" y="4231404"/>
                  <a:pt x="3915584" y="4231404"/>
                </a:cubicBezTo>
                <a:cubicBezTo>
                  <a:pt x="3915584" y="4234051"/>
                  <a:pt x="3916511" y="4235584"/>
                  <a:pt x="3918365" y="4236979"/>
                </a:cubicBezTo>
                <a:cubicBezTo>
                  <a:pt x="3924389" y="4238373"/>
                  <a:pt x="3929950" y="4243389"/>
                  <a:pt x="3926707" y="4239347"/>
                </a:cubicBezTo>
                <a:cubicBezTo>
                  <a:pt x="3929950" y="4230010"/>
                  <a:pt x="3939218" y="4236979"/>
                  <a:pt x="3943851" y="4246455"/>
                </a:cubicBezTo>
                <a:cubicBezTo>
                  <a:pt x="3948485" y="4245061"/>
                  <a:pt x="3955436" y="4243807"/>
                  <a:pt x="3961924" y="4246455"/>
                </a:cubicBezTo>
                <a:cubicBezTo>
                  <a:pt x="3966558" y="4242413"/>
                  <a:pt x="3975362" y="4242413"/>
                  <a:pt x="3972583" y="4229035"/>
                </a:cubicBezTo>
                <a:cubicBezTo>
                  <a:pt x="3978607" y="4231682"/>
                  <a:pt x="3983703" y="4236700"/>
                  <a:pt x="3990191" y="4239347"/>
                </a:cubicBezTo>
                <a:cubicBezTo>
                  <a:pt x="3985557" y="4247430"/>
                  <a:pt x="3972583" y="4232797"/>
                  <a:pt x="3980460" y="4253005"/>
                </a:cubicBezTo>
                <a:cubicBezTo>
                  <a:pt x="3981850" y="4251611"/>
                  <a:pt x="3981850" y="4249103"/>
                  <a:pt x="3983703" y="4246455"/>
                </a:cubicBezTo>
                <a:cubicBezTo>
                  <a:pt x="3993435" y="4250496"/>
                  <a:pt x="4004556" y="4253005"/>
                  <a:pt x="4014288" y="4255653"/>
                </a:cubicBezTo>
                <a:cubicBezTo>
                  <a:pt x="4020312" y="4255653"/>
                  <a:pt x="4026800" y="4254399"/>
                  <a:pt x="4034677" y="4254399"/>
                </a:cubicBezTo>
                <a:cubicBezTo>
                  <a:pt x="4030043" y="4250357"/>
                  <a:pt x="4018921" y="4254399"/>
                  <a:pt x="4017532" y="4244922"/>
                </a:cubicBezTo>
                <a:cubicBezTo>
                  <a:pt x="4009653" y="4242274"/>
                  <a:pt x="4031432" y="4242274"/>
                  <a:pt x="4041164" y="4234331"/>
                </a:cubicBezTo>
                <a:cubicBezTo>
                  <a:pt x="4033287" y="4245061"/>
                  <a:pt x="4043017" y="4245061"/>
                  <a:pt x="4036531" y="4254399"/>
                </a:cubicBezTo>
                <a:cubicBezTo>
                  <a:pt x="4044409" y="4254399"/>
                  <a:pt x="4050433" y="4254399"/>
                  <a:pt x="4058774" y="4255653"/>
                </a:cubicBezTo>
                <a:cubicBezTo>
                  <a:pt x="4060163" y="4242274"/>
                  <a:pt x="4052287" y="4239626"/>
                  <a:pt x="4045799" y="4234331"/>
                </a:cubicBezTo>
                <a:cubicBezTo>
                  <a:pt x="4084261" y="4218164"/>
                  <a:pt x="4106502" y="4244922"/>
                  <a:pt x="4150989" y="4244922"/>
                </a:cubicBezTo>
                <a:cubicBezTo>
                  <a:pt x="4144965" y="4235584"/>
                  <a:pt x="4127356" y="4241020"/>
                  <a:pt x="4119480" y="4234331"/>
                </a:cubicBezTo>
                <a:cubicBezTo>
                  <a:pt x="4120869" y="4230289"/>
                  <a:pt x="4124112" y="4227502"/>
                  <a:pt x="4127356" y="4224853"/>
                </a:cubicBezTo>
                <a:cubicBezTo>
                  <a:pt x="4124112" y="4224853"/>
                  <a:pt x="4122258" y="4224853"/>
                  <a:pt x="4120869" y="4224853"/>
                </a:cubicBezTo>
                <a:cubicBezTo>
                  <a:pt x="4122258" y="4218164"/>
                  <a:pt x="4127356" y="4214123"/>
                  <a:pt x="4135233" y="4214123"/>
                </a:cubicBezTo>
                <a:cubicBezTo>
                  <a:pt x="4140331" y="4214123"/>
                  <a:pt x="4138478" y="4204368"/>
                  <a:pt x="4138478" y="4199072"/>
                </a:cubicBezTo>
                <a:cubicBezTo>
                  <a:pt x="4144965" y="4199072"/>
                  <a:pt x="4146355" y="4200605"/>
                  <a:pt x="4146355" y="4203253"/>
                </a:cubicBezTo>
                <a:cubicBezTo>
                  <a:pt x="4150989" y="4201860"/>
                  <a:pt x="4157939" y="4201860"/>
                  <a:pt x="4160720" y="4203253"/>
                </a:cubicBezTo>
                <a:cubicBezTo>
                  <a:pt x="4146355" y="4188481"/>
                  <a:pt x="4141721" y="4195310"/>
                  <a:pt x="4131990" y="4181792"/>
                </a:cubicBezTo>
                <a:cubicBezTo>
                  <a:pt x="4120869" y="4191267"/>
                  <a:pt x="4141721" y="4196842"/>
                  <a:pt x="4131990" y="4208827"/>
                </a:cubicBezTo>
                <a:cubicBezTo>
                  <a:pt x="4112991" y="4207573"/>
                  <a:pt x="4124112" y="4199211"/>
                  <a:pt x="4124112" y="4181792"/>
                </a:cubicBezTo>
                <a:cubicBezTo>
                  <a:pt x="4116234" y="4180537"/>
                  <a:pt x="4116234" y="4187505"/>
                  <a:pt x="4109747" y="4187505"/>
                </a:cubicBezTo>
                <a:cubicBezTo>
                  <a:pt x="4098625" y="4176774"/>
                  <a:pt x="4135233" y="4175241"/>
                  <a:pt x="4150989" y="4176635"/>
                </a:cubicBezTo>
                <a:cubicBezTo>
                  <a:pt x="4128745" y="4172594"/>
                  <a:pt x="4112991" y="4160329"/>
                  <a:pt x="4087504" y="4161723"/>
                </a:cubicBezTo>
                <a:cubicBezTo>
                  <a:pt x="4087504" y="4169806"/>
                  <a:pt x="4095383" y="4172454"/>
                  <a:pt x="4104649" y="4171060"/>
                </a:cubicBezTo>
                <a:cubicBezTo>
                  <a:pt x="4098625" y="4191267"/>
                  <a:pt x="4060628" y="4149877"/>
                  <a:pt x="4063872" y="4187505"/>
                </a:cubicBezTo>
                <a:cubicBezTo>
                  <a:pt x="4037921" y="4182069"/>
                  <a:pt x="4022165" y="4169806"/>
                  <a:pt x="4004556" y="4181792"/>
                </a:cubicBezTo>
                <a:cubicBezTo>
                  <a:pt x="4006410" y="4177750"/>
                  <a:pt x="4009191" y="4173848"/>
                  <a:pt x="4009191" y="4165905"/>
                </a:cubicBezTo>
                <a:cubicBezTo>
                  <a:pt x="4028653" y="4165905"/>
                  <a:pt x="4037921" y="4175102"/>
                  <a:pt x="4058774" y="4171060"/>
                </a:cubicBezTo>
                <a:cubicBezTo>
                  <a:pt x="4049043" y="4160329"/>
                  <a:pt x="4044872" y="4143048"/>
                  <a:pt x="4031896" y="4134966"/>
                </a:cubicBezTo>
                <a:cubicBezTo>
                  <a:pt x="4052749" y="4113504"/>
                  <a:pt x="4074529" y="4134826"/>
                  <a:pt x="4095383" y="4118661"/>
                </a:cubicBezTo>
                <a:lnTo>
                  <a:pt x="4095383" y="4134966"/>
                </a:lnTo>
                <a:cubicBezTo>
                  <a:pt x="4112991" y="4137753"/>
                  <a:pt x="4109747" y="4118661"/>
                  <a:pt x="4124112" y="4118661"/>
                </a:cubicBezTo>
                <a:cubicBezTo>
                  <a:pt x="4109747" y="4093157"/>
                  <a:pt x="4092138" y="4134966"/>
                  <a:pt x="4092138" y="4104167"/>
                </a:cubicBezTo>
                <a:cubicBezTo>
                  <a:pt x="4082407" y="4124235"/>
                  <a:pt x="4063407" y="4102634"/>
                  <a:pt x="4050433" y="4113364"/>
                </a:cubicBezTo>
                <a:cubicBezTo>
                  <a:pt x="4045799" y="4094690"/>
                  <a:pt x="4065261" y="4104167"/>
                  <a:pt x="4068505" y="4093436"/>
                </a:cubicBezTo>
                <a:cubicBezTo>
                  <a:pt x="4044409" y="4089395"/>
                  <a:pt x="4022165" y="4074622"/>
                  <a:pt x="3999459" y="4055948"/>
                </a:cubicBezTo>
                <a:cubicBezTo>
                  <a:pt x="4015678" y="4050512"/>
                  <a:pt x="4034677" y="4047726"/>
                  <a:pt x="4050433" y="4041036"/>
                </a:cubicBezTo>
                <a:cubicBezTo>
                  <a:pt x="4026800" y="4030305"/>
                  <a:pt x="3990191" y="4037133"/>
                  <a:pt x="3967485" y="4025010"/>
                </a:cubicBezTo>
                <a:cubicBezTo>
                  <a:pt x="3994824" y="4004942"/>
                  <a:pt x="4031432" y="4039782"/>
                  <a:pt x="4045799" y="4014279"/>
                </a:cubicBezTo>
                <a:cubicBezTo>
                  <a:pt x="4068042" y="4022361"/>
                  <a:pt x="4055530" y="4049119"/>
                  <a:pt x="4041164" y="4055948"/>
                </a:cubicBezTo>
                <a:cubicBezTo>
                  <a:pt x="4050896" y="4070721"/>
                  <a:pt x="4053676" y="4032674"/>
                  <a:pt x="4077773" y="4046053"/>
                </a:cubicBezTo>
                <a:cubicBezTo>
                  <a:pt x="4085651" y="4062219"/>
                  <a:pt x="4084261" y="4071556"/>
                  <a:pt x="4109747" y="4076992"/>
                </a:cubicBezTo>
                <a:cubicBezTo>
                  <a:pt x="4108357" y="4087722"/>
                  <a:pt x="4088894" y="4078664"/>
                  <a:pt x="4092138" y="4093436"/>
                </a:cubicBezTo>
                <a:cubicBezTo>
                  <a:pt x="4092138" y="4097477"/>
                  <a:pt x="4095383" y="4098731"/>
                  <a:pt x="4095383" y="4104167"/>
                </a:cubicBezTo>
                <a:cubicBezTo>
                  <a:pt x="4100015" y="4078664"/>
                  <a:pt x="4120869" y="4108069"/>
                  <a:pt x="4124112" y="4071835"/>
                </a:cubicBezTo>
                <a:cubicBezTo>
                  <a:pt x="4137086" y="4075877"/>
                  <a:pt x="4136624" y="4062219"/>
                  <a:pt x="4150989" y="4066260"/>
                </a:cubicBezTo>
                <a:cubicBezTo>
                  <a:pt x="4156086" y="4072950"/>
                  <a:pt x="4163963" y="4077130"/>
                  <a:pt x="4165817" y="4087861"/>
                </a:cubicBezTo>
                <a:cubicBezTo>
                  <a:pt x="4169061" y="4069048"/>
                  <a:pt x="4199182" y="4054415"/>
                  <a:pt x="4192694" y="4041036"/>
                </a:cubicBezTo>
                <a:cubicBezTo>
                  <a:pt x="4205669" y="4024870"/>
                  <a:pt x="4245521" y="4043684"/>
                  <a:pt x="4229303" y="4061104"/>
                </a:cubicBezTo>
                <a:cubicBezTo>
                  <a:pt x="4256643" y="4053161"/>
                  <a:pt x="4256643" y="4075877"/>
                  <a:pt x="4271009" y="4082566"/>
                </a:cubicBezTo>
                <a:cubicBezTo>
                  <a:pt x="4278885" y="4075877"/>
                  <a:pt x="4277032" y="4055530"/>
                  <a:pt x="4283520" y="4046053"/>
                </a:cubicBezTo>
                <a:cubicBezTo>
                  <a:pt x="4288617" y="4047446"/>
                  <a:pt x="4299739" y="4066540"/>
                  <a:pt x="4283520" y="4061104"/>
                </a:cubicBezTo>
                <a:cubicBezTo>
                  <a:pt x="4288617" y="4069187"/>
                  <a:pt x="4299275" y="4069187"/>
                  <a:pt x="4307153" y="4071835"/>
                </a:cubicBezTo>
                <a:cubicBezTo>
                  <a:pt x="4318738" y="4051767"/>
                  <a:pt x="4390564" y="4064867"/>
                  <a:pt x="4417904" y="4056784"/>
                </a:cubicBezTo>
                <a:cubicBezTo>
                  <a:pt x="4414661" y="4063474"/>
                  <a:pt x="4409563" y="4069187"/>
                  <a:pt x="4403538" y="4071835"/>
                </a:cubicBezTo>
                <a:cubicBezTo>
                  <a:pt x="4408172" y="4082566"/>
                  <a:pt x="4420685" y="4083959"/>
                  <a:pt x="4435049" y="4082566"/>
                </a:cubicBezTo>
                <a:cubicBezTo>
                  <a:pt x="4423929" y="4073229"/>
                  <a:pt x="4425318" y="4070580"/>
                  <a:pt x="4444782" y="4071835"/>
                </a:cubicBezTo>
                <a:cubicBezTo>
                  <a:pt x="4439684" y="4065145"/>
                  <a:pt x="4432270" y="4060825"/>
                  <a:pt x="4427172" y="4056784"/>
                </a:cubicBezTo>
                <a:cubicBezTo>
                  <a:pt x="4430415" y="4039364"/>
                  <a:pt x="4435049" y="4062498"/>
                  <a:pt x="4439684" y="4061104"/>
                </a:cubicBezTo>
                <a:cubicBezTo>
                  <a:pt x="4448025" y="4042430"/>
                  <a:pt x="4419294" y="4019714"/>
                  <a:pt x="4390564" y="4025010"/>
                </a:cubicBezTo>
                <a:cubicBezTo>
                  <a:pt x="4416050" y="4043823"/>
                  <a:pt x="4366467" y="4027658"/>
                  <a:pt x="4361834" y="4041036"/>
                </a:cubicBezTo>
                <a:cubicBezTo>
                  <a:pt x="4352102" y="4039643"/>
                  <a:pt x="4369712" y="4026403"/>
                  <a:pt x="4353956" y="4025010"/>
                </a:cubicBezTo>
                <a:cubicBezTo>
                  <a:pt x="4353956" y="4013024"/>
                  <a:pt x="4372954" y="4022083"/>
                  <a:pt x="4380833" y="4019435"/>
                </a:cubicBezTo>
                <a:cubicBezTo>
                  <a:pt x="4326616" y="3995325"/>
                  <a:pt x="4277032" y="3999367"/>
                  <a:pt x="4229303" y="3997973"/>
                </a:cubicBezTo>
                <a:lnTo>
                  <a:pt x="4229303" y="3983480"/>
                </a:lnTo>
                <a:cubicBezTo>
                  <a:pt x="4218181" y="3986127"/>
                  <a:pt x="4205669" y="3987382"/>
                  <a:pt x="4197792" y="4003409"/>
                </a:cubicBezTo>
                <a:cubicBezTo>
                  <a:pt x="4194549" y="4015533"/>
                  <a:pt x="4203816" y="4014279"/>
                  <a:pt x="4210303" y="4014279"/>
                </a:cubicBezTo>
                <a:cubicBezTo>
                  <a:pt x="4205206" y="4022361"/>
                  <a:pt x="4190841" y="4027518"/>
                  <a:pt x="4182964" y="4019435"/>
                </a:cubicBezTo>
                <a:cubicBezTo>
                  <a:pt x="4184817" y="4013999"/>
                  <a:pt x="4192694" y="4015393"/>
                  <a:pt x="4192694" y="4008704"/>
                </a:cubicBezTo>
                <a:cubicBezTo>
                  <a:pt x="4173696" y="3999367"/>
                  <a:pt x="4162574" y="3999646"/>
                  <a:pt x="4141721" y="3983480"/>
                </a:cubicBezTo>
                <a:cubicBezTo>
                  <a:pt x="4141721" y="4002293"/>
                  <a:pt x="4130599" y="3981947"/>
                  <a:pt x="4119480" y="3972610"/>
                </a:cubicBezTo>
                <a:cubicBezTo>
                  <a:pt x="4127356" y="3972610"/>
                  <a:pt x="4144965" y="3946967"/>
                  <a:pt x="4124112" y="3945573"/>
                </a:cubicBezTo>
                <a:cubicBezTo>
                  <a:pt x="4152380" y="3937212"/>
                  <a:pt x="4197329" y="3941949"/>
                  <a:pt x="4229765" y="3933450"/>
                </a:cubicBezTo>
                <a:cubicBezTo>
                  <a:pt x="4225132" y="3929686"/>
                  <a:pt x="4220961" y="3926899"/>
                  <a:pt x="4216790" y="3923137"/>
                </a:cubicBezTo>
                <a:cubicBezTo>
                  <a:pt x="4223279" y="3917701"/>
                  <a:pt x="4231156" y="3917004"/>
                  <a:pt x="4239497" y="3917422"/>
                </a:cubicBezTo>
                <a:cubicBezTo>
                  <a:pt x="4246449" y="3913799"/>
                  <a:pt x="4253399" y="3910175"/>
                  <a:pt x="4248765" y="3893173"/>
                </a:cubicBezTo>
                <a:cubicBezTo>
                  <a:pt x="4267764" y="3895822"/>
                  <a:pt x="4271009" y="3886485"/>
                  <a:pt x="4285373" y="3893173"/>
                </a:cubicBezTo>
                <a:cubicBezTo>
                  <a:pt x="4269617" y="3878401"/>
                  <a:pt x="4246912" y="3885369"/>
                  <a:pt x="4224669" y="3888017"/>
                </a:cubicBezTo>
                <a:cubicBezTo>
                  <a:pt x="4224669" y="3874638"/>
                  <a:pt x="4210303" y="3877008"/>
                  <a:pt x="4210303" y="3862235"/>
                </a:cubicBezTo>
                <a:cubicBezTo>
                  <a:pt x="4180646" y="3860214"/>
                  <a:pt x="4156665" y="3860284"/>
                  <a:pt x="4134943" y="3864047"/>
                </a:cubicBezTo>
                <a:lnTo>
                  <a:pt x="4131981" y="3864862"/>
                </a:lnTo>
                <a:lnTo>
                  <a:pt x="4138641" y="3870670"/>
                </a:lnTo>
                <a:cubicBezTo>
                  <a:pt x="4142753" y="3873196"/>
                  <a:pt x="4147851" y="3873580"/>
                  <a:pt x="4157349" y="3868981"/>
                </a:cubicBezTo>
                <a:cubicBezTo>
                  <a:pt x="4160593" y="3872883"/>
                  <a:pt x="4159203" y="3883196"/>
                  <a:pt x="4167544" y="3880548"/>
                </a:cubicBezTo>
                <a:lnTo>
                  <a:pt x="4165892" y="3888800"/>
                </a:lnTo>
                <a:lnTo>
                  <a:pt x="4200862" y="3887253"/>
                </a:lnTo>
                <a:cubicBezTo>
                  <a:pt x="4212968" y="3887547"/>
                  <a:pt x="4222931" y="3889132"/>
                  <a:pt x="4229303" y="3893173"/>
                </a:cubicBezTo>
                <a:cubicBezTo>
                  <a:pt x="4216790" y="3952123"/>
                  <a:pt x="4116234" y="3905159"/>
                  <a:pt x="4087504" y="3934703"/>
                </a:cubicBezTo>
                <a:cubicBezTo>
                  <a:pt x="4087504" y="3939999"/>
                  <a:pt x="4092138" y="3940278"/>
                  <a:pt x="4095383" y="3940278"/>
                </a:cubicBezTo>
                <a:cubicBezTo>
                  <a:pt x="4093991" y="3945714"/>
                  <a:pt x="4092601" y="3949894"/>
                  <a:pt x="4087504" y="3951149"/>
                </a:cubicBezTo>
                <a:lnTo>
                  <a:pt x="4077773" y="3951149"/>
                </a:lnTo>
                <a:cubicBezTo>
                  <a:pt x="4077773" y="3941811"/>
                  <a:pt x="4081016" y="3930801"/>
                  <a:pt x="4068505" y="3925366"/>
                </a:cubicBezTo>
                <a:cubicBezTo>
                  <a:pt x="4075687" y="3919373"/>
                  <a:pt x="4083565" y="3915367"/>
                  <a:pt x="4092080" y="3913538"/>
                </a:cubicBezTo>
                <a:lnTo>
                  <a:pt x="4117935" y="3914705"/>
                </a:lnTo>
                <a:lnTo>
                  <a:pt x="4116142" y="3912311"/>
                </a:lnTo>
                <a:lnTo>
                  <a:pt x="4111101" y="3908587"/>
                </a:lnTo>
                <a:lnTo>
                  <a:pt x="4098498" y="3909256"/>
                </a:lnTo>
                <a:lnTo>
                  <a:pt x="4099671" y="3905904"/>
                </a:lnTo>
                <a:lnTo>
                  <a:pt x="4088663" y="3905245"/>
                </a:lnTo>
                <a:cubicBezTo>
                  <a:pt x="4073834" y="3905437"/>
                  <a:pt x="4056224" y="3906134"/>
                  <a:pt x="4041164" y="3898748"/>
                </a:cubicBezTo>
                <a:cubicBezTo>
                  <a:pt x="4041164" y="3885369"/>
                  <a:pt x="4054139" y="3885230"/>
                  <a:pt x="4060628" y="3877147"/>
                </a:cubicBezTo>
                <a:cubicBezTo>
                  <a:pt x="4031896" y="3875753"/>
                  <a:pt x="4004556" y="3875753"/>
                  <a:pt x="3974436" y="3874499"/>
                </a:cubicBezTo>
                <a:cubicBezTo>
                  <a:pt x="3977679" y="3878401"/>
                  <a:pt x="3979069" y="3883697"/>
                  <a:pt x="3982314" y="3882443"/>
                </a:cubicBezTo>
                <a:cubicBezTo>
                  <a:pt x="3975826" y="3901256"/>
                  <a:pt x="3953583" y="3909478"/>
                  <a:pt x="3935974" y="3898748"/>
                </a:cubicBezTo>
                <a:cubicBezTo>
                  <a:pt x="3931340" y="3878680"/>
                  <a:pt x="3986947" y="3898609"/>
                  <a:pt x="3967485" y="3877147"/>
                </a:cubicBezTo>
                <a:cubicBezTo>
                  <a:pt x="3967485" y="3875753"/>
                  <a:pt x="3967949" y="3875753"/>
                  <a:pt x="3969803" y="3874499"/>
                </a:cubicBezTo>
                <a:cubicBezTo>
                  <a:pt x="3907243" y="3874499"/>
                  <a:pt x="3846538" y="3874778"/>
                  <a:pt x="3789078" y="3872130"/>
                </a:cubicBezTo>
                <a:cubicBezTo>
                  <a:pt x="3822443" y="3835896"/>
                  <a:pt x="3912341" y="3873384"/>
                  <a:pt x="3926707" y="3851922"/>
                </a:cubicBezTo>
                <a:cubicBezTo>
                  <a:pt x="3926707" y="3839798"/>
                  <a:pt x="3945242" y="3848996"/>
                  <a:pt x="3953120" y="3846348"/>
                </a:cubicBezTo>
                <a:cubicBezTo>
                  <a:pt x="3958218" y="3842307"/>
                  <a:pt x="3961460" y="3837010"/>
                  <a:pt x="3963313" y="3830321"/>
                </a:cubicBezTo>
                <a:cubicBezTo>
                  <a:pt x="3953120" y="3812762"/>
                  <a:pt x="3900756" y="3788653"/>
                  <a:pt x="3870636" y="3793531"/>
                </a:cubicBezTo>
                <a:cubicBezTo>
                  <a:pt x="3872025" y="3794227"/>
                  <a:pt x="3873878" y="3795760"/>
                  <a:pt x="3873878" y="3797712"/>
                </a:cubicBezTo>
                <a:lnTo>
                  <a:pt x="3883148" y="3797712"/>
                </a:lnTo>
                <a:cubicBezTo>
                  <a:pt x="3866928" y="3811090"/>
                  <a:pt x="3887781" y="3803704"/>
                  <a:pt x="3902146" y="3812205"/>
                </a:cubicBezTo>
                <a:cubicBezTo>
                  <a:pt x="3910486" y="3812762"/>
                  <a:pt x="3919755" y="3814852"/>
                  <a:pt x="3931340" y="3815410"/>
                </a:cubicBezTo>
                <a:cubicBezTo>
                  <a:pt x="3931340" y="3823493"/>
                  <a:pt x="3929486" y="3834224"/>
                  <a:pt x="3935974" y="3835617"/>
                </a:cubicBezTo>
                <a:cubicBezTo>
                  <a:pt x="3919755" y="3851644"/>
                  <a:pt x="3885001" y="3810394"/>
                  <a:pt x="3880366" y="3851922"/>
                </a:cubicBezTo>
                <a:cubicBezTo>
                  <a:pt x="3860904" y="3835896"/>
                  <a:pt x="3846538" y="3858333"/>
                  <a:pt x="3815955" y="3846348"/>
                </a:cubicBezTo>
                <a:lnTo>
                  <a:pt x="3815955" y="3827674"/>
                </a:lnTo>
                <a:cubicBezTo>
                  <a:pt x="3811322" y="3827535"/>
                  <a:pt x="3807152" y="3827394"/>
                  <a:pt x="3801126" y="3828510"/>
                </a:cubicBezTo>
                <a:cubicBezTo>
                  <a:pt x="3801126" y="3822099"/>
                  <a:pt x="3799736" y="3819452"/>
                  <a:pt x="3796492" y="3818198"/>
                </a:cubicBezTo>
                <a:cubicBezTo>
                  <a:pt x="3802980" y="3806631"/>
                  <a:pt x="3818272" y="3809557"/>
                  <a:pt x="3833564" y="3809836"/>
                </a:cubicBezTo>
                <a:cubicBezTo>
                  <a:pt x="3830784" y="3799244"/>
                  <a:pt x="3808540" y="3812344"/>
                  <a:pt x="3815955" y="3788792"/>
                </a:cubicBezTo>
                <a:cubicBezTo>
                  <a:pt x="3808077" y="3787399"/>
                  <a:pt x="3806687" y="3795203"/>
                  <a:pt x="3796956" y="3793808"/>
                </a:cubicBezTo>
                <a:cubicBezTo>
                  <a:pt x="3802516" y="3775692"/>
                  <a:pt x="3791859" y="3777365"/>
                  <a:pt x="3780736" y="3778062"/>
                </a:cubicBezTo>
                <a:cubicBezTo>
                  <a:pt x="3784908" y="3782381"/>
                  <a:pt x="3790004" y="3786284"/>
                  <a:pt x="3791859" y="3792973"/>
                </a:cubicBezTo>
                <a:cubicBezTo>
                  <a:pt x="3782128" y="3805237"/>
                  <a:pt x="3752934" y="3795342"/>
                  <a:pt x="3737178" y="3797991"/>
                </a:cubicBezTo>
                <a:cubicBezTo>
                  <a:pt x="3728837" y="3800778"/>
                  <a:pt x="3738568" y="3805097"/>
                  <a:pt x="3737178" y="3814573"/>
                </a:cubicBezTo>
                <a:cubicBezTo>
                  <a:pt x="3728837" y="3817222"/>
                  <a:pt x="3712618" y="3807885"/>
                  <a:pt x="3712618" y="3820149"/>
                </a:cubicBezTo>
                <a:cubicBezTo>
                  <a:pt x="3720959" y="3802449"/>
                  <a:pt x="3690376" y="3788653"/>
                  <a:pt x="3671376" y="3803704"/>
                </a:cubicBezTo>
                <a:cubicBezTo>
                  <a:pt x="3669522" y="3772347"/>
                  <a:pt x="3632451" y="3797015"/>
                  <a:pt x="3631061" y="3776668"/>
                </a:cubicBezTo>
                <a:cubicBezTo>
                  <a:pt x="3621329" y="3787538"/>
                  <a:pt x="3614842" y="3813320"/>
                  <a:pt x="3593989" y="3792973"/>
                </a:cubicBezTo>
                <a:cubicBezTo>
                  <a:pt x="3609744" y="3782104"/>
                  <a:pt x="3618085" y="3791300"/>
                  <a:pt x="3616232" y="3766773"/>
                </a:cubicBezTo>
                <a:cubicBezTo>
                  <a:pt x="3621329" y="3770954"/>
                  <a:pt x="3629208" y="3773741"/>
                  <a:pt x="3638938" y="3770954"/>
                </a:cubicBezTo>
                <a:cubicBezTo>
                  <a:pt x="3641256" y="3765519"/>
                  <a:pt x="3642066" y="3759770"/>
                  <a:pt x="3644905" y="3755032"/>
                </a:cubicBezTo>
                <a:lnTo>
                  <a:pt x="3650885" y="3751780"/>
                </a:lnTo>
                <a:lnTo>
                  <a:pt x="3643251" y="3745289"/>
                </a:lnTo>
                <a:cubicBezTo>
                  <a:pt x="3633801" y="3741239"/>
                  <a:pt x="3625721" y="3747770"/>
                  <a:pt x="3618422" y="3741604"/>
                </a:cubicBezTo>
                <a:cubicBezTo>
                  <a:pt x="3618422" y="3741604"/>
                  <a:pt x="3642056" y="3723488"/>
                  <a:pt x="3617032" y="3722512"/>
                </a:cubicBezTo>
                <a:cubicBezTo>
                  <a:pt x="3625373" y="3714429"/>
                  <a:pt x="3641592" y="3738260"/>
                  <a:pt x="3663834" y="3727668"/>
                </a:cubicBezTo>
                <a:cubicBezTo>
                  <a:pt x="3657811" y="3720561"/>
                  <a:pt x="3645299" y="3724463"/>
                  <a:pt x="3637885" y="3720561"/>
                </a:cubicBezTo>
                <a:cubicBezTo>
                  <a:pt x="3640665" y="3706903"/>
                  <a:pt x="3655957" y="3720700"/>
                  <a:pt x="3662908" y="3718749"/>
                </a:cubicBezTo>
                <a:cubicBezTo>
                  <a:pt x="3650859" y="3703279"/>
                  <a:pt x="3624447" y="3707043"/>
                  <a:pt x="3603130" y="3704255"/>
                </a:cubicBezTo>
                <a:cubicBezTo>
                  <a:pt x="3693492" y="3683630"/>
                  <a:pt x="3804707" y="3718052"/>
                  <a:pt x="3895069" y="3670670"/>
                </a:cubicBezTo>
                <a:lnTo>
                  <a:pt x="3895775" y="3671031"/>
                </a:lnTo>
                <a:lnTo>
                  <a:pt x="3899829" y="3668105"/>
                </a:lnTo>
                <a:cubicBezTo>
                  <a:pt x="3902610" y="3667687"/>
                  <a:pt x="3906780" y="3668105"/>
                  <a:pt x="3910024" y="3669080"/>
                </a:cubicBezTo>
                <a:cubicBezTo>
                  <a:pt x="3917438" y="3671032"/>
                  <a:pt x="3924389" y="3675770"/>
                  <a:pt x="3923463" y="3683017"/>
                </a:cubicBezTo>
                <a:lnTo>
                  <a:pt x="3915392" y="3681737"/>
                </a:lnTo>
                <a:lnTo>
                  <a:pt x="3924725" y="3687811"/>
                </a:lnTo>
                <a:cubicBezTo>
                  <a:pt x="3933530" y="3685720"/>
                  <a:pt x="3926579" y="3668022"/>
                  <a:pt x="3939554" y="3671505"/>
                </a:cubicBezTo>
                <a:cubicBezTo>
                  <a:pt x="3946969" y="3702305"/>
                  <a:pt x="3969676" y="3648232"/>
                  <a:pt x="3971065" y="3684048"/>
                </a:cubicBezTo>
                <a:cubicBezTo>
                  <a:pt x="3978480" y="3668580"/>
                  <a:pt x="3991917" y="3660078"/>
                  <a:pt x="3996552" y="3652274"/>
                </a:cubicBezTo>
                <a:cubicBezTo>
                  <a:pt x="4006747" y="3650044"/>
                  <a:pt x="4009989" y="3658824"/>
                  <a:pt x="4013698" y="3664399"/>
                </a:cubicBezTo>
                <a:cubicBezTo>
                  <a:pt x="4006746" y="3643703"/>
                  <a:pt x="4051666" y="3648171"/>
                  <a:pt x="4076321" y="3644644"/>
                </a:cubicBezTo>
                <a:lnTo>
                  <a:pt x="4088860" y="3638533"/>
                </a:lnTo>
                <a:lnTo>
                  <a:pt x="4078235" y="3637028"/>
                </a:lnTo>
                <a:cubicBezTo>
                  <a:pt x="4084723" y="3626018"/>
                  <a:pt x="4110210" y="3634659"/>
                  <a:pt x="4115307" y="3620722"/>
                </a:cubicBezTo>
                <a:cubicBezTo>
                  <a:pt x="4118551" y="3630478"/>
                  <a:pt x="4127819" y="3634379"/>
                  <a:pt x="4142184" y="3631593"/>
                </a:cubicBezTo>
                <a:lnTo>
                  <a:pt x="4118915" y="3640428"/>
                </a:lnTo>
                <a:lnTo>
                  <a:pt x="4121437" y="3640289"/>
                </a:lnTo>
                <a:cubicBezTo>
                  <a:pt x="4132906" y="3638443"/>
                  <a:pt x="4145765" y="3634436"/>
                  <a:pt x="4159666" y="3630394"/>
                </a:cubicBezTo>
                <a:cubicBezTo>
                  <a:pt x="4151789" y="3599596"/>
                  <a:pt x="4104058" y="3616737"/>
                  <a:pt x="4094328" y="3628025"/>
                </a:cubicBezTo>
                <a:cubicBezTo>
                  <a:pt x="4067914" y="3607678"/>
                  <a:pt x="4031307" y="3619524"/>
                  <a:pt x="4013698" y="3620918"/>
                </a:cubicBezTo>
                <a:cubicBezTo>
                  <a:pt x="4009064" y="3604891"/>
                  <a:pt x="4027135" y="3612137"/>
                  <a:pt x="4024355" y="3598898"/>
                </a:cubicBezTo>
                <a:cubicBezTo>
                  <a:pt x="4022501" y="3596111"/>
                  <a:pt x="4020185" y="3591791"/>
                  <a:pt x="4019721" y="3584405"/>
                </a:cubicBezTo>
                <a:cubicBezTo>
                  <a:pt x="4000722" y="3589003"/>
                  <a:pt x="3975699" y="3586913"/>
                  <a:pt x="3971529" y="3605170"/>
                </a:cubicBezTo>
                <a:cubicBezTo>
                  <a:pt x="3927042" y="3598202"/>
                  <a:pt x="3897848" y="3611999"/>
                  <a:pt x="3852899" y="3581200"/>
                </a:cubicBezTo>
                <a:cubicBezTo>
                  <a:pt x="3840850" y="3585102"/>
                  <a:pt x="3836217" y="3597644"/>
                  <a:pt x="3816291" y="3594718"/>
                </a:cubicBezTo>
                <a:cubicBezTo>
                  <a:pt x="3810036" y="3592279"/>
                  <a:pt x="3813048" y="3590537"/>
                  <a:pt x="3818262" y="3589353"/>
                </a:cubicBezTo>
                <a:lnTo>
                  <a:pt x="3831517" y="3587587"/>
                </a:lnTo>
                <a:lnTo>
                  <a:pt x="3827193" y="3586212"/>
                </a:lnTo>
                <a:lnTo>
                  <a:pt x="3825171" y="3584984"/>
                </a:lnTo>
                <a:lnTo>
                  <a:pt x="3814589" y="3581981"/>
                </a:lnTo>
                <a:lnTo>
                  <a:pt x="3814565" y="3581979"/>
                </a:lnTo>
                <a:cubicBezTo>
                  <a:pt x="3808540" y="3583374"/>
                  <a:pt x="3813175" y="3597866"/>
                  <a:pt x="3805297" y="3599399"/>
                </a:cubicBezTo>
                <a:cubicBezTo>
                  <a:pt x="3816418" y="3623509"/>
                  <a:pt x="3817808" y="3607622"/>
                  <a:pt x="3827076" y="3626018"/>
                </a:cubicBezTo>
                <a:cubicBezTo>
                  <a:pt x="3806687" y="3628805"/>
                  <a:pt x="3794175" y="3621837"/>
                  <a:pt x="3782128" y="3614729"/>
                </a:cubicBezTo>
                <a:cubicBezTo>
                  <a:pt x="3786761" y="3604835"/>
                  <a:pt x="3793249" y="3593547"/>
                  <a:pt x="3800663" y="3603581"/>
                </a:cubicBezTo>
                <a:cubicBezTo>
                  <a:pt x="3802980" y="3593616"/>
                  <a:pt x="3799157" y="3591038"/>
                  <a:pt x="3794582" y="3589540"/>
                </a:cubicBezTo>
                <a:lnTo>
                  <a:pt x="3790608" y="3588231"/>
                </a:lnTo>
                <a:lnTo>
                  <a:pt x="3785498" y="3600715"/>
                </a:lnTo>
                <a:lnTo>
                  <a:pt x="3778396" y="3601565"/>
                </a:lnTo>
                <a:lnTo>
                  <a:pt x="3779347" y="3620443"/>
                </a:lnTo>
                <a:cubicBezTo>
                  <a:pt x="3772859" y="3628945"/>
                  <a:pt x="3752934" y="3628945"/>
                  <a:pt x="3746910" y="3620443"/>
                </a:cubicBezTo>
                <a:cubicBezTo>
                  <a:pt x="3744592" y="3614033"/>
                  <a:pt x="3747604" y="3608772"/>
                  <a:pt x="3749863" y="3605113"/>
                </a:cubicBezTo>
                <a:lnTo>
                  <a:pt x="3748748" y="3601040"/>
                </a:lnTo>
                <a:lnTo>
                  <a:pt x="3738904" y="3602243"/>
                </a:lnTo>
                <a:cubicBezTo>
                  <a:pt x="3742150" y="3594578"/>
                  <a:pt x="3747247" y="3591094"/>
                  <a:pt x="3754196" y="3590537"/>
                </a:cubicBezTo>
                <a:lnTo>
                  <a:pt x="3727197" y="3583115"/>
                </a:lnTo>
                <a:lnTo>
                  <a:pt x="3737178" y="3588948"/>
                </a:lnTo>
                <a:cubicBezTo>
                  <a:pt x="3735325" y="3607064"/>
                  <a:pt x="3737178" y="3616542"/>
                  <a:pt x="3732544" y="3620722"/>
                </a:cubicBezTo>
                <a:cubicBezTo>
                  <a:pt x="3722813" y="3608318"/>
                  <a:pt x="3722349" y="3613892"/>
                  <a:pt x="3712618" y="3588948"/>
                </a:cubicBezTo>
                <a:cubicBezTo>
                  <a:pt x="3702191" y="3596613"/>
                  <a:pt x="3694662" y="3597240"/>
                  <a:pt x="3686668" y="3596978"/>
                </a:cubicBezTo>
                <a:lnTo>
                  <a:pt x="3676530" y="3596748"/>
                </a:lnTo>
                <a:lnTo>
                  <a:pt x="3676810" y="3602801"/>
                </a:lnTo>
                <a:lnTo>
                  <a:pt x="3668701" y="3597664"/>
                </a:lnTo>
                <a:lnTo>
                  <a:pt x="3657937" y="3599678"/>
                </a:lnTo>
                <a:lnTo>
                  <a:pt x="3657376" y="3597766"/>
                </a:lnTo>
                <a:lnTo>
                  <a:pt x="3655957" y="3604612"/>
                </a:lnTo>
                <a:lnTo>
                  <a:pt x="3648051" y="3601354"/>
                </a:lnTo>
                <a:lnTo>
                  <a:pt x="3648206" y="3601212"/>
                </a:lnTo>
                <a:lnTo>
                  <a:pt x="3647676" y="3601199"/>
                </a:lnTo>
                <a:lnTo>
                  <a:pt x="3635985" y="3596381"/>
                </a:lnTo>
                <a:cubicBezTo>
                  <a:pt x="3629196" y="3595538"/>
                  <a:pt x="3622376" y="3596695"/>
                  <a:pt x="3615817" y="3600144"/>
                </a:cubicBezTo>
                <a:lnTo>
                  <a:pt x="3612240" y="3602975"/>
                </a:lnTo>
                <a:lnTo>
                  <a:pt x="3627447" y="3600730"/>
                </a:lnTo>
                <a:lnTo>
                  <a:pt x="3647676" y="3601199"/>
                </a:lnTo>
                <a:lnTo>
                  <a:pt x="3648051" y="3601354"/>
                </a:lnTo>
                <a:lnTo>
                  <a:pt x="3640133" y="3608598"/>
                </a:lnTo>
                <a:cubicBezTo>
                  <a:pt x="3629555" y="3612831"/>
                  <a:pt x="3613568" y="3610166"/>
                  <a:pt x="3611135" y="3623649"/>
                </a:cubicBezTo>
                <a:cubicBezTo>
                  <a:pt x="3614379" y="3640233"/>
                  <a:pt x="3620866" y="3618074"/>
                  <a:pt x="3630134" y="3623649"/>
                </a:cubicBezTo>
                <a:cubicBezTo>
                  <a:pt x="3617623" y="3645807"/>
                  <a:pt x="3598159" y="3619468"/>
                  <a:pt x="3579161" y="3618074"/>
                </a:cubicBezTo>
                <a:lnTo>
                  <a:pt x="3598218" y="3606776"/>
                </a:lnTo>
                <a:lnTo>
                  <a:pt x="3591314" y="3601982"/>
                </a:lnTo>
                <a:cubicBezTo>
                  <a:pt x="3586101" y="3601163"/>
                  <a:pt x="3579960" y="3601894"/>
                  <a:pt x="3573937" y="3603079"/>
                </a:cubicBezTo>
                <a:cubicBezTo>
                  <a:pt x="3589229" y="3592941"/>
                  <a:pt x="3607388" y="3594482"/>
                  <a:pt x="3629978" y="3589067"/>
                </a:cubicBezTo>
                <a:lnTo>
                  <a:pt x="3648103" y="3582737"/>
                </a:lnTo>
                <a:lnTo>
                  <a:pt x="3646858" y="3575032"/>
                </a:lnTo>
                <a:lnTo>
                  <a:pt x="3640875" y="3570399"/>
                </a:lnTo>
                <a:cubicBezTo>
                  <a:pt x="3636103" y="3568099"/>
                  <a:pt x="3631079" y="3566880"/>
                  <a:pt x="3626126" y="3566636"/>
                </a:cubicBezTo>
                <a:lnTo>
                  <a:pt x="3613514" y="3568478"/>
                </a:lnTo>
                <a:lnTo>
                  <a:pt x="3612525" y="3570692"/>
                </a:lnTo>
                <a:lnTo>
                  <a:pt x="3610697" y="3569410"/>
                </a:lnTo>
                <a:lnTo>
                  <a:pt x="3599886" y="3576043"/>
                </a:lnTo>
                <a:cubicBezTo>
                  <a:pt x="3603130" y="3549007"/>
                  <a:pt x="3528988" y="3596390"/>
                  <a:pt x="3514621" y="3549843"/>
                </a:cubicBezTo>
                <a:cubicBezTo>
                  <a:pt x="3459479" y="3569074"/>
                  <a:pt x="3437235" y="3533399"/>
                  <a:pt x="3375141" y="3557787"/>
                </a:cubicBezTo>
                <a:cubicBezTo>
                  <a:pt x="3405261" y="3534513"/>
                  <a:pt x="3340386" y="3547196"/>
                  <a:pt x="3319533" y="3548867"/>
                </a:cubicBezTo>
                <a:cubicBezTo>
                  <a:pt x="3315827" y="3568518"/>
                  <a:pt x="3332972" y="3559599"/>
                  <a:pt x="3338533" y="3566707"/>
                </a:cubicBezTo>
                <a:cubicBezTo>
                  <a:pt x="3341312" y="3557508"/>
                  <a:pt x="3348264" y="3552631"/>
                  <a:pt x="3362628" y="3554442"/>
                </a:cubicBezTo>
                <a:cubicBezTo>
                  <a:pt x="3364483" y="3578273"/>
                  <a:pt x="3318607" y="3581618"/>
                  <a:pt x="3313509" y="3559599"/>
                </a:cubicBezTo>
                <a:cubicBezTo>
                  <a:pt x="3250024" y="3566010"/>
                  <a:pt x="3212953" y="3570330"/>
                  <a:pt x="3166613" y="3544130"/>
                </a:cubicBezTo>
                <a:cubicBezTo>
                  <a:pt x="3154565" y="3549565"/>
                  <a:pt x="3176344" y="3554163"/>
                  <a:pt x="3180051" y="3556811"/>
                </a:cubicBezTo>
                <a:cubicBezTo>
                  <a:pt x="3156882" y="3557229"/>
                  <a:pt x="3081812" y="3570190"/>
                  <a:pt x="3038717" y="3566149"/>
                </a:cubicBezTo>
                <a:cubicBezTo>
                  <a:pt x="2993767" y="3580084"/>
                  <a:pt x="2969670" y="3568657"/>
                  <a:pt x="2914527" y="3568518"/>
                </a:cubicBezTo>
                <a:cubicBezTo>
                  <a:pt x="2914991" y="3572977"/>
                  <a:pt x="2920088" y="3571026"/>
                  <a:pt x="2923795" y="3572281"/>
                </a:cubicBezTo>
                <a:cubicBezTo>
                  <a:pt x="2807483" y="3585937"/>
                  <a:pt x="2697659" y="3585799"/>
                  <a:pt x="2599882" y="3604055"/>
                </a:cubicBezTo>
                <a:cubicBezTo>
                  <a:pt x="2599420" y="3595136"/>
                  <a:pt x="2609613" y="3596947"/>
                  <a:pt x="2604980" y="3583847"/>
                </a:cubicBezTo>
                <a:cubicBezTo>
                  <a:pt x="2589689" y="3568657"/>
                  <a:pt x="2566517" y="3591791"/>
                  <a:pt x="2574396" y="3601686"/>
                </a:cubicBezTo>
                <a:cubicBezTo>
                  <a:pt x="2542422" y="3575904"/>
                  <a:pt x="2421475" y="3635829"/>
                  <a:pt x="2356137" y="3618549"/>
                </a:cubicBezTo>
                <a:cubicBezTo>
                  <a:pt x="2356137" y="3618549"/>
                  <a:pt x="2357064" y="3608236"/>
                  <a:pt x="2355211" y="3608375"/>
                </a:cubicBezTo>
                <a:cubicBezTo>
                  <a:pt x="2353357" y="3608514"/>
                  <a:pt x="2331578" y="3625377"/>
                  <a:pt x="2342235" y="3605170"/>
                </a:cubicBezTo>
                <a:cubicBezTo>
                  <a:pt x="2312114" y="3628443"/>
                  <a:pt x="2267166" y="3619942"/>
                  <a:pt x="2232411" y="3631648"/>
                </a:cubicBezTo>
                <a:cubicBezTo>
                  <a:pt x="2223608" y="3630812"/>
                  <a:pt x="2222680" y="3618966"/>
                  <a:pt x="2227315" y="3611162"/>
                </a:cubicBezTo>
                <a:lnTo>
                  <a:pt x="2203217" y="3614368"/>
                </a:lnTo>
                <a:cubicBezTo>
                  <a:pt x="2192560" y="3616737"/>
                  <a:pt x="2208778" y="3621336"/>
                  <a:pt x="2204607" y="3633599"/>
                </a:cubicBezTo>
                <a:cubicBezTo>
                  <a:pt x="2170316" y="3627328"/>
                  <a:pt x="2142513" y="3608514"/>
                  <a:pt x="2113318" y="3622729"/>
                </a:cubicBezTo>
                <a:cubicBezTo>
                  <a:pt x="2114246" y="3612137"/>
                  <a:pt x="2108222" y="3609768"/>
                  <a:pt x="2106369" y="3604055"/>
                </a:cubicBezTo>
                <a:cubicBezTo>
                  <a:pt x="2091075" y="3612695"/>
                  <a:pt x="2061882" y="3607539"/>
                  <a:pt x="2047980" y="3610187"/>
                </a:cubicBezTo>
                <a:cubicBezTo>
                  <a:pt x="2045663" y="3597505"/>
                  <a:pt x="2057712" y="3598062"/>
                  <a:pt x="2061882" y="3590955"/>
                </a:cubicBezTo>
                <a:cubicBezTo>
                  <a:pt x="2059565" y="3589979"/>
                  <a:pt x="2057248" y="3589422"/>
                  <a:pt x="2055858" y="3587750"/>
                </a:cubicBezTo>
                <a:cubicBezTo>
                  <a:pt x="2038714" y="3588028"/>
                  <a:pt x="2020639" y="3584544"/>
                  <a:pt x="2001641" y="3580642"/>
                </a:cubicBezTo>
                <a:cubicBezTo>
                  <a:pt x="1996544" y="3582175"/>
                  <a:pt x="1991447" y="3585659"/>
                  <a:pt x="1988203" y="3595136"/>
                </a:cubicBezTo>
                <a:cubicBezTo>
                  <a:pt x="1982642" y="3580224"/>
                  <a:pt x="1967350" y="3584405"/>
                  <a:pt x="1958082" y="3575068"/>
                </a:cubicBezTo>
                <a:cubicBezTo>
                  <a:pt x="1953448" y="3574928"/>
                  <a:pt x="1948814" y="3575764"/>
                  <a:pt x="1944179" y="3576043"/>
                </a:cubicBezTo>
                <a:cubicBezTo>
                  <a:pt x="1948351" y="3582733"/>
                  <a:pt x="1954838" y="3585519"/>
                  <a:pt x="1963643" y="3583011"/>
                </a:cubicBezTo>
                <a:cubicBezTo>
                  <a:pt x="1954375" y="3611580"/>
                  <a:pt x="1917766" y="3575068"/>
                  <a:pt x="1921937" y="3611162"/>
                </a:cubicBezTo>
                <a:cubicBezTo>
                  <a:pt x="1902475" y="3607260"/>
                  <a:pt x="1860769" y="3592905"/>
                  <a:pt x="1867720" y="3619105"/>
                </a:cubicBezTo>
                <a:cubicBezTo>
                  <a:pt x="1857526" y="3616597"/>
                  <a:pt x="1848258" y="3597923"/>
                  <a:pt x="1851965" y="3589143"/>
                </a:cubicBezTo>
                <a:cubicBezTo>
                  <a:pt x="1871891" y="3587192"/>
                  <a:pt x="1903866" y="3596529"/>
                  <a:pt x="1911742" y="3583568"/>
                </a:cubicBezTo>
                <a:cubicBezTo>
                  <a:pt x="1910815" y="3583847"/>
                  <a:pt x="1909890" y="3583568"/>
                  <a:pt x="1909425" y="3583847"/>
                </a:cubicBezTo>
                <a:cubicBezTo>
                  <a:pt x="1907572" y="3581060"/>
                  <a:pt x="1908498" y="3580503"/>
                  <a:pt x="1908036" y="3578831"/>
                </a:cubicBezTo>
                <a:cubicBezTo>
                  <a:pt x="1901084" y="3582314"/>
                  <a:pt x="1894134" y="3576740"/>
                  <a:pt x="1887646" y="3569074"/>
                </a:cubicBezTo>
                <a:cubicBezTo>
                  <a:pt x="1861232" y="3578412"/>
                  <a:pt x="1834820" y="3590815"/>
                  <a:pt x="1812576" y="3575068"/>
                </a:cubicBezTo>
                <a:cubicBezTo>
                  <a:pt x="1803771" y="3574231"/>
                  <a:pt x="1810259" y="3588585"/>
                  <a:pt x="1803309" y="3590537"/>
                </a:cubicBezTo>
                <a:cubicBezTo>
                  <a:pt x="1768090" y="3571026"/>
                  <a:pt x="1735189" y="3576601"/>
                  <a:pt x="1704141" y="3590955"/>
                </a:cubicBezTo>
                <a:cubicBezTo>
                  <a:pt x="1690240" y="3524897"/>
                  <a:pt x="1616560" y="3585937"/>
                  <a:pt x="1574855" y="3548867"/>
                </a:cubicBezTo>
                <a:cubicBezTo>
                  <a:pt x="1549368" y="3564337"/>
                  <a:pt x="1508125" y="3561689"/>
                  <a:pt x="1480786" y="3548867"/>
                </a:cubicBezTo>
                <a:cubicBezTo>
                  <a:pt x="1471982" y="3551097"/>
                  <a:pt x="1469200" y="3560295"/>
                  <a:pt x="1464104" y="3565173"/>
                </a:cubicBezTo>
                <a:cubicBezTo>
                  <a:pt x="1450202" y="3567821"/>
                  <a:pt x="1464104" y="3562246"/>
                  <a:pt x="1459470" y="3550679"/>
                </a:cubicBezTo>
                <a:cubicBezTo>
                  <a:pt x="1447421" y="3551655"/>
                  <a:pt x="1448348" y="3563361"/>
                  <a:pt x="1435836" y="3562803"/>
                </a:cubicBezTo>
                <a:cubicBezTo>
                  <a:pt x="1437689" y="3568657"/>
                  <a:pt x="1442787" y="3566984"/>
                  <a:pt x="1448348" y="3568100"/>
                </a:cubicBezTo>
                <a:cubicBezTo>
                  <a:pt x="1422861" y="3582036"/>
                  <a:pt x="1383473" y="3574789"/>
                  <a:pt x="1355206" y="3577018"/>
                </a:cubicBezTo>
                <a:cubicBezTo>
                  <a:pt x="1370034" y="3563918"/>
                  <a:pt x="1410350" y="3554442"/>
                  <a:pt x="1427496" y="3569493"/>
                </a:cubicBezTo>
                <a:cubicBezTo>
                  <a:pt x="1432593" y="3567681"/>
                  <a:pt x="1429812" y="3559041"/>
                  <a:pt x="1435374" y="3558623"/>
                </a:cubicBezTo>
                <a:cubicBezTo>
                  <a:pt x="1428423" y="3541342"/>
                  <a:pt x="1403399" y="3535489"/>
                  <a:pt x="1394131" y="3552631"/>
                </a:cubicBezTo>
                <a:cubicBezTo>
                  <a:pt x="1377912" y="3548031"/>
                  <a:pt x="1368181" y="3538276"/>
                  <a:pt x="1353353" y="3532005"/>
                </a:cubicBezTo>
                <a:cubicBezTo>
                  <a:pt x="1335280" y="3530471"/>
                  <a:pt x="1348255" y="3559460"/>
                  <a:pt x="1332037" y="3559180"/>
                </a:cubicBezTo>
                <a:cubicBezTo>
                  <a:pt x="1319061" y="3506502"/>
                  <a:pt x="1254186" y="3559599"/>
                  <a:pt x="1237503" y="3525037"/>
                </a:cubicBezTo>
                <a:cubicBezTo>
                  <a:pt x="1211553" y="3534653"/>
                  <a:pt x="1163360" y="3532005"/>
                  <a:pt x="1125362" y="3526013"/>
                </a:cubicBezTo>
                <a:cubicBezTo>
                  <a:pt x="1136947" y="3513191"/>
                  <a:pt x="1129534" y="3504829"/>
                  <a:pt x="1115168" y="3503018"/>
                </a:cubicBezTo>
                <a:cubicBezTo>
                  <a:pt x="1141118" y="3493401"/>
                  <a:pt x="1136484" y="3523923"/>
                  <a:pt x="1164288" y="3497862"/>
                </a:cubicBezTo>
                <a:cubicBezTo>
                  <a:pt x="1156410" y="3489500"/>
                  <a:pt x="1151775" y="3476539"/>
                  <a:pt x="1137874" y="3480580"/>
                </a:cubicBezTo>
                <a:cubicBezTo>
                  <a:pt x="1160117" y="3489360"/>
                  <a:pt x="1140655" y="3490476"/>
                  <a:pt x="1123046" y="3491869"/>
                </a:cubicBezTo>
                <a:cubicBezTo>
                  <a:pt x="1128142" y="3486991"/>
                  <a:pt x="1129070" y="3476818"/>
                  <a:pt x="1131387" y="3466087"/>
                </a:cubicBezTo>
                <a:cubicBezTo>
                  <a:pt x="1165214" y="3466505"/>
                  <a:pt x="1234260" y="3461069"/>
                  <a:pt x="1259747" y="3427622"/>
                </a:cubicBezTo>
                <a:cubicBezTo>
                  <a:pt x="1243992" y="3427484"/>
                  <a:pt x="1220358" y="3425812"/>
                  <a:pt x="1210163" y="3428180"/>
                </a:cubicBezTo>
                <a:cubicBezTo>
                  <a:pt x="1211091" y="3438633"/>
                  <a:pt x="1214798" y="3442813"/>
                  <a:pt x="1223602" y="3442116"/>
                </a:cubicBezTo>
                <a:cubicBezTo>
                  <a:pt x="1226383" y="3452429"/>
                  <a:pt x="1209700" y="3444904"/>
                  <a:pt x="1204602" y="3448389"/>
                </a:cubicBezTo>
                <a:cubicBezTo>
                  <a:pt x="1215724" y="3432501"/>
                  <a:pt x="1194872" y="3435566"/>
                  <a:pt x="1193945" y="3420794"/>
                </a:cubicBezTo>
                <a:lnTo>
                  <a:pt x="1218041" y="3417450"/>
                </a:lnTo>
                <a:cubicBezTo>
                  <a:pt x="1214334" y="3390971"/>
                  <a:pt x="1175409" y="3416335"/>
                  <a:pt x="1161971" y="3403932"/>
                </a:cubicBezTo>
                <a:cubicBezTo>
                  <a:pt x="1162434" y="3384421"/>
                  <a:pt x="1176799" y="3409924"/>
                  <a:pt x="1191628" y="3395292"/>
                </a:cubicBezTo>
                <a:cubicBezTo>
                  <a:pt x="1182359" y="3369231"/>
                  <a:pt x="1164752" y="3389995"/>
                  <a:pt x="1148069" y="3380798"/>
                </a:cubicBezTo>
                <a:cubicBezTo>
                  <a:pt x="1154556" y="3351949"/>
                  <a:pt x="1190701" y="3365608"/>
                  <a:pt x="1211553" y="3357942"/>
                </a:cubicBezTo>
                <a:cubicBezTo>
                  <a:pt x="1225455" y="3353901"/>
                  <a:pt x="1219431" y="3341080"/>
                  <a:pt x="1239821" y="3351392"/>
                </a:cubicBezTo>
                <a:cubicBezTo>
                  <a:pt x="1242601" y="3342195"/>
                  <a:pt x="1265771" y="3325611"/>
                  <a:pt x="1287087" y="3321012"/>
                </a:cubicBezTo>
                <a:cubicBezTo>
                  <a:pt x="1285698" y="3328537"/>
                  <a:pt x="1280600" y="3330071"/>
                  <a:pt x="1281063" y="3336062"/>
                </a:cubicBezTo>
                <a:cubicBezTo>
                  <a:pt x="1309793" y="3336760"/>
                  <a:pt x="1314428" y="3312789"/>
                  <a:pt x="1321378" y="3288261"/>
                </a:cubicBezTo>
                <a:cubicBezTo>
                  <a:pt x="1313500" y="3278506"/>
                  <a:pt x="1307939" y="3293417"/>
                  <a:pt x="1296819" y="3285335"/>
                </a:cubicBezTo>
                <a:cubicBezTo>
                  <a:pt x="1322305" y="3277252"/>
                  <a:pt x="1315818" y="3268473"/>
                  <a:pt x="1322305" y="3252724"/>
                </a:cubicBezTo>
                <a:cubicBezTo>
                  <a:pt x="1306086" y="3252167"/>
                  <a:pt x="1290330" y="3251610"/>
                  <a:pt x="1279210" y="3240600"/>
                </a:cubicBezTo>
                <a:cubicBezTo>
                  <a:pt x="1273185" y="3241854"/>
                  <a:pt x="1273185" y="3256487"/>
                  <a:pt x="1279210" y="3256487"/>
                </a:cubicBezTo>
                <a:cubicBezTo>
                  <a:pt x="1268089" y="3263316"/>
                  <a:pt x="1237967" y="3247010"/>
                  <a:pt x="1218505" y="3245617"/>
                </a:cubicBezTo>
                <a:cubicBezTo>
                  <a:pt x="1218505" y="3237534"/>
                  <a:pt x="1237967" y="3229869"/>
                  <a:pt x="1218505" y="3229869"/>
                </a:cubicBezTo>
                <a:cubicBezTo>
                  <a:pt x="1272721" y="3216490"/>
                  <a:pt x="1301915" y="3248405"/>
                  <a:pt x="1333890" y="3234887"/>
                </a:cubicBezTo>
                <a:cubicBezTo>
                  <a:pt x="1348255" y="3229590"/>
                  <a:pt x="1335280" y="3212170"/>
                  <a:pt x="1352889" y="3204087"/>
                </a:cubicBezTo>
                <a:cubicBezTo>
                  <a:pt x="1348255" y="3188061"/>
                  <a:pt x="1336670" y="3206735"/>
                  <a:pt x="1328793" y="3204087"/>
                </a:cubicBezTo>
                <a:cubicBezTo>
                  <a:pt x="1328793" y="3209522"/>
                  <a:pt x="1330646" y="3213425"/>
                  <a:pt x="1333890" y="3214819"/>
                </a:cubicBezTo>
                <a:cubicBezTo>
                  <a:pt x="1333890" y="3218859"/>
                  <a:pt x="1328793" y="3219000"/>
                  <a:pt x="1323695" y="3219000"/>
                </a:cubicBezTo>
                <a:lnTo>
                  <a:pt x="1315818" y="3219000"/>
                </a:lnTo>
                <a:cubicBezTo>
                  <a:pt x="1312574" y="3208269"/>
                  <a:pt x="1319061" y="3205481"/>
                  <a:pt x="1319061" y="3198791"/>
                </a:cubicBezTo>
                <a:cubicBezTo>
                  <a:pt x="1311183" y="3210916"/>
                  <a:pt x="1296819" y="3210916"/>
                  <a:pt x="1287551" y="3198791"/>
                </a:cubicBezTo>
                <a:cubicBezTo>
                  <a:pt x="1277819" y="3200185"/>
                  <a:pt x="1279210" y="3216212"/>
                  <a:pt x="1264844" y="3214819"/>
                </a:cubicBezTo>
                <a:cubicBezTo>
                  <a:pt x="1258357" y="3189315"/>
                  <a:pt x="1237503" y="3214958"/>
                  <a:pt x="1237503" y="3188200"/>
                </a:cubicBezTo>
                <a:cubicBezTo>
                  <a:pt x="1251869" y="3182765"/>
                  <a:pt x="1247235" y="3188200"/>
                  <a:pt x="1264844" y="3188200"/>
                </a:cubicBezTo>
                <a:cubicBezTo>
                  <a:pt x="1261601" y="3180117"/>
                  <a:pt x="1252333" y="3178445"/>
                  <a:pt x="1247699" y="3170362"/>
                </a:cubicBezTo>
                <a:cubicBezTo>
                  <a:pt x="1243064" y="3170362"/>
                  <a:pt x="1237967" y="3170362"/>
                  <a:pt x="1233333" y="3170362"/>
                </a:cubicBezTo>
                <a:cubicBezTo>
                  <a:pt x="1220358" y="3175657"/>
                  <a:pt x="1205993" y="3177051"/>
                  <a:pt x="1194872" y="3170362"/>
                </a:cubicBezTo>
                <a:cubicBezTo>
                  <a:pt x="1178652" y="3170362"/>
                  <a:pt x="1164288" y="3171895"/>
                  <a:pt x="1151775" y="3173288"/>
                </a:cubicBezTo>
                <a:cubicBezTo>
                  <a:pt x="1138801" y="3174542"/>
                  <a:pt x="1124436" y="3177190"/>
                  <a:pt x="1108680" y="3182485"/>
                </a:cubicBezTo>
                <a:cubicBezTo>
                  <a:pt x="1115168" y="3173148"/>
                  <a:pt x="1113314" y="3170501"/>
                  <a:pt x="1100803" y="3171755"/>
                </a:cubicBezTo>
                <a:cubicBezTo>
                  <a:pt x="1104046" y="3161024"/>
                  <a:pt x="1124436" y="3157122"/>
                  <a:pt x="1132313" y="3166598"/>
                </a:cubicBezTo>
                <a:cubicBezTo>
                  <a:pt x="1134166" y="3165205"/>
                  <a:pt x="1135558" y="3162697"/>
                  <a:pt x="1136947" y="3160049"/>
                </a:cubicBezTo>
                <a:cubicBezTo>
                  <a:pt x="1135558" y="3153360"/>
                  <a:pt x="1129070" y="3149179"/>
                  <a:pt x="1121192" y="3147785"/>
                </a:cubicBezTo>
                <a:cubicBezTo>
                  <a:pt x="1134166" y="3169386"/>
                  <a:pt x="1097095" y="3153360"/>
                  <a:pt x="1074853" y="3169386"/>
                </a:cubicBezTo>
                <a:cubicBezTo>
                  <a:pt x="1073463" y="3164090"/>
                  <a:pt x="1075316" y="3159909"/>
                  <a:pt x="1076707" y="3157261"/>
                </a:cubicBezTo>
                <a:cubicBezTo>
                  <a:pt x="1076707" y="3157261"/>
                  <a:pt x="1076707" y="3157122"/>
                  <a:pt x="1076707" y="3155868"/>
                </a:cubicBezTo>
                <a:cubicBezTo>
                  <a:pt x="1073463" y="3161164"/>
                  <a:pt x="1066975" y="3162418"/>
                  <a:pt x="1059098" y="3161024"/>
                </a:cubicBezTo>
                <a:cubicBezTo>
                  <a:pt x="1062341" y="3157122"/>
                  <a:pt x="1065585" y="3151827"/>
                  <a:pt x="1065585" y="3147785"/>
                </a:cubicBezTo>
                <a:cubicBezTo>
                  <a:pt x="1051219" y="3146531"/>
                  <a:pt x="1036854" y="3146531"/>
                  <a:pt x="1022489" y="3146531"/>
                </a:cubicBezTo>
                <a:cubicBezTo>
                  <a:pt x="1017855" y="3147924"/>
                  <a:pt x="1012758" y="3149039"/>
                  <a:pt x="1008124" y="3151687"/>
                </a:cubicBezTo>
                <a:cubicBezTo>
                  <a:pt x="1009514" y="3149039"/>
                  <a:pt x="1009514" y="3147924"/>
                  <a:pt x="1011367" y="3146531"/>
                </a:cubicBezTo>
                <a:cubicBezTo>
                  <a:pt x="1006271" y="3146531"/>
                  <a:pt x="1003490" y="3146531"/>
                  <a:pt x="998856" y="3147785"/>
                </a:cubicBezTo>
                <a:cubicBezTo>
                  <a:pt x="998856" y="3149179"/>
                  <a:pt x="998856" y="3150294"/>
                  <a:pt x="998856" y="3151687"/>
                </a:cubicBezTo>
                <a:cubicBezTo>
                  <a:pt x="997003" y="3150294"/>
                  <a:pt x="995614" y="3149179"/>
                  <a:pt x="994222" y="3147785"/>
                </a:cubicBezTo>
                <a:cubicBezTo>
                  <a:pt x="987735" y="3147785"/>
                  <a:pt x="981247" y="3147924"/>
                  <a:pt x="974759" y="3149318"/>
                </a:cubicBezTo>
                <a:cubicBezTo>
                  <a:pt x="997003" y="3164090"/>
                  <a:pt x="1036854" y="3166739"/>
                  <a:pt x="1022489" y="3209662"/>
                </a:cubicBezTo>
                <a:cubicBezTo>
                  <a:pt x="1008124" y="3208408"/>
                  <a:pt x="1003490" y="3200185"/>
                  <a:pt x="998856" y="3188200"/>
                </a:cubicBezTo>
                <a:cubicBezTo>
                  <a:pt x="973370" y="3202833"/>
                  <a:pt x="944176" y="3167992"/>
                  <a:pt x="925177" y="3198791"/>
                </a:cubicBezTo>
                <a:cubicBezTo>
                  <a:pt x="920543" y="3178723"/>
                  <a:pt x="888569" y="3187921"/>
                  <a:pt x="888569" y="3161024"/>
                </a:cubicBezTo>
                <a:cubicBezTo>
                  <a:pt x="880691" y="3161024"/>
                  <a:pt x="877446" y="3165066"/>
                  <a:pt x="875593" y="3171755"/>
                </a:cubicBezTo>
                <a:cubicBezTo>
                  <a:pt x="878838" y="3179838"/>
                  <a:pt x="886715" y="3183879"/>
                  <a:pt x="897836" y="3182485"/>
                </a:cubicBezTo>
                <a:cubicBezTo>
                  <a:pt x="882081" y="3209383"/>
                  <a:pt x="845473" y="3167853"/>
                  <a:pt x="843620" y="3204087"/>
                </a:cubicBezTo>
                <a:cubicBezTo>
                  <a:pt x="821376" y="3197398"/>
                  <a:pt x="775037" y="3177190"/>
                  <a:pt x="778280" y="3204087"/>
                </a:cubicBezTo>
                <a:cubicBezTo>
                  <a:pt x="772720" y="3202137"/>
                  <a:pt x="768549" y="3196282"/>
                  <a:pt x="766232" y="3190011"/>
                </a:cubicBezTo>
                <a:cubicBezTo>
                  <a:pt x="764842" y="3195029"/>
                  <a:pt x="762988" y="3199070"/>
                  <a:pt x="756964" y="3198513"/>
                </a:cubicBezTo>
                <a:cubicBezTo>
                  <a:pt x="762988" y="3176355"/>
                  <a:pt x="739355" y="3188339"/>
                  <a:pt x="742598" y="3168829"/>
                </a:cubicBezTo>
                <a:cubicBezTo>
                  <a:pt x="750476" y="3170222"/>
                  <a:pt x="750476" y="3163393"/>
                  <a:pt x="752330" y="3158237"/>
                </a:cubicBezTo>
                <a:cubicBezTo>
                  <a:pt x="759281" y="3159351"/>
                  <a:pt x="754647" y="3176355"/>
                  <a:pt x="765769" y="3173567"/>
                </a:cubicBezTo>
                <a:cubicBezTo>
                  <a:pt x="765769" y="3173148"/>
                  <a:pt x="765305" y="3172172"/>
                  <a:pt x="765769" y="3171755"/>
                </a:cubicBezTo>
                <a:cubicBezTo>
                  <a:pt x="794499" y="3173148"/>
                  <a:pt x="842693" y="3196005"/>
                  <a:pt x="842693" y="3166598"/>
                </a:cubicBezTo>
                <a:cubicBezTo>
                  <a:pt x="821839" y="3182626"/>
                  <a:pt x="813498" y="3158376"/>
                  <a:pt x="800523" y="3143604"/>
                </a:cubicBezTo>
                <a:cubicBezTo>
                  <a:pt x="797743" y="3143604"/>
                  <a:pt x="794499" y="3143604"/>
                  <a:pt x="791718" y="3143604"/>
                </a:cubicBezTo>
                <a:cubicBezTo>
                  <a:pt x="793108" y="3142350"/>
                  <a:pt x="794499" y="3141235"/>
                  <a:pt x="795889" y="3139842"/>
                </a:cubicBezTo>
                <a:cubicBezTo>
                  <a:pt x="794499" y="3137193"/>
                  <a:pt x="791255" y="3135661"/>
                  <a:pt x="788012" y="3135661"/>
                </a:cubicBezTo>
                <a:cubicBezTo>
                  <a:pt x="802377" y="3115592"/>
                  <a:pt x="818596" y="3113920"/>
                  <a:pt x="835742" y="3119355"/>
                </a:cubicBezTo>
                <a:cubicBezTo>
                  <a:pt x="842228" y="3117962"/>
                  <a:pt x="850107" y="3118519"/>
                  <a:pt x="859837" y="3118519"/>
                </a:cubicBezTo>
                <a:cubicBezTo>
                  <a:pt x="856594" y="3121167"/>
                  <a:pt x="856594" y="3123675"/>
                  <a:pt x="856594" y="3124930"/>
                </a:cubicBezTo>
                <a:cubicBezTo>
                  <a:pt x="862618" y="3127717"/>
                  <a:pt x="869569" y="3130226"/>
                  <a:pt x="877446" y="3131480"/>
                </a:cubicBezTo>
                <a:cubicBezTo>
                  <a:pt x="909421" y="3130226"/>
                  <a:pt x="928420" y="3143743"/>
                  <a:pt x="969662" y="3133012"/>
                </a:cubicBezTo>
                <a:cubicBezTo>
                  <a:pt x="969662" y="3133012"/>
                  <a:pt x="969662" y="3132873"/>
                  <a:pt x="968272" y="3131480"/>
                </a:cubicBezTo>
                <a:cubicBezTo>
                  <a:pt x="968272" y="3131480"/>
                  <a:pt x="968735" y="3130087"/>
                  <a:pt x="966881" y="3130087"/>
                </a:cubicBezTo>
                <a:cubicBezTo>
                  <a:pt x="964566" y="3128414"/>
                  <a:pt x="959931" y="3128971"/>
                  <a:pt x="955761" y="3127717"/>
                </a:cubicBezTo>
                <a:cubicBezTo>
                  <a:pt x="955761" y="3114338"/>
                  <a:pt x="971515" y="3116986"/>
                  <a:pt x="982637" y="3116986"/>
                </a:cubicBezTo>
                <a:cubicBezTo>
                  <a:pt x="984490" y="3123675"/>
                  <a:pt x="981247" y="3127438"/>
                  <a:pt x="979394" y="3130087"/>
                </a:cubicBezTo>
                <a:cubicBezTo>
                  <a:pt x="985881" y="3127438"/>
                  <a:pt x="994222" y="3125069"/>
                  <a:pt x="1002099" y="3126463"/>
                </a:cubicBezTo>
                <a:cubicBezTo>
                  <a:pt x="1008588" y="3123814"/>
                  <a:pt x="1014612" y="3122421"/>
                  <a:pt x="1019245" y="3116986"/>
                </a:cubicBezTo>
                <a:cubicBezTo>
                  <a:pt x="1023880" y="3119633"/>
                  <a:pt x="1028976" y="3120748"/>
                  <a:pt x="1035000" y="3122142"/>
                </a:cubicBezTo>
                <a:cubicBezTo>
                  <a:pt x="1036854" y="3122142"/>
                  <a:pt x="1040098" y="3122282"/>
                  <a:pt x="1045195" y="3124930"/>
                </a:cubicBezTo>
                <a:cubicBezTo>
                  <a:pt x="1053073" y="3126324"/>
                  <a:pt x="1059098" y="3127717"/>
                  <a:pt x="1066975" y="3127717"/>
                </a:cubicBezTo>
                <a:cubicBezTo>
                  <a:pt x="1070218" y="3126324"/>
                  <a:pt x="1072072" y="3123397"/>
                  <a:pt x="1072072" y="3119355"/>
                </a:cubicBezTo>
                <a:cubicBezTo>
                  <a:pt x="1075316" y="3120748"/>
                  <a:pt x="1076707" y="3125069"/>
                  <a:pt x="1078096" y="3127717"/>
                </a:cubicBezTo>
                <a:cubicBezTo>
                  <a:pt x="1085974" y="3127717"/>
                  <a:pt x="1092925" y="3126324"/>
                  <a:pt x="1100803" y="3124930"/>
                </a:cubicBezTo>
                <a:cubicBezTo>
                  <a:pt x="1098948" y="3120889"/>
                  <a:pt x="1096169" y="3117962"/>
                  <a:pt x="1091071" y="3119355"/>
                </a:cubicBezTo>
                <a:cubicBezTo>
                  <a:pt x="1099412" y="3114896"/>
                  <a:pt x="1105900" y="3116150"/>
                  <a:pt x="1112851" y="3115174"/>
                </a:cubicBezTo>
                <a:cubicBezTo>
                  <a:pt x="1109144" y="3117404"/>
                  <a:pt x="1110071" y="3124930"/>
                  <a:pt x="1104046" y="3124930"/>
                </a:cubicBezTo>
                <a:cubicBezTo>
                  <a:pt x="1111925" y="3123675"/>
                  <a:pt x="1120265" y="3122142"/>
                  <a:pt x="1126289" y="3120748"/>
                </a:cubicBezTo>
                <a:cubicBezTo>
                  <a:pt x="1123509" y="3119495"/>
                  <a:pt x="1118875" y="3117125"/>
                  <a:pt x="1114242" y="3114617"/>
                </a:cubicBezTo>
                <a:cubicBezTo>
                  <a:pt x="1131849" y="3112527"/>
                  <a:pt x="1148532" y="3114617"/>
                  <a:pt x="1174019" y="3109043"/>
                </a:cubicBezTo>
                <a:cubicBezTo>
                  <a:pt x="1172628" y="3110296"/>
                  <a:pt x="1170775" y="3111411"/>
                  <a:pt x="1170775" y="3111411"/>
                </a:cubicBezTo>
                <a:cubicBezTo>
                  <a:pt x="1175873" y="3111411"/>
                  <a:pt x="1180506" y="3111411"/>
                  <a:pt x="1185604" y="3111411"/>
                </a:cubicBezTo>
                <a:cubicBezTo>
                  <a:pt x="1185604" y="3114059"/>
                  <a:pt x="1186531" y="3115592"/>
                  <a:pt x="1188384" y="3116986"/>
                </a:cubicBezTo>
                <a:cubicBezTo>
                  <a:pt x="1194408" y="3118380"/>
                  <a:pt x="1199968" y="3123397"/>
                  <a:pt x="1196725" y="3119355"/>
                </a:cubicBezTo>
                <a:cubicBezTo>
                  <a:pt x="1199968" y="3110018"/>
                  <a:pt x="1209237" y="3116986"/>
                  <a:pt x="1213870" y="3126463"/>
                </a:cubicBezTo>
                <a:cubicBezTo>
                  <a:pt x="1218505" y="3125069"/>
                  <a:pt x="1225455" y="3123814"/>
                  <a:pt x="1231943" y="3126463"/>
                </a:cubicBezTo>
                <a:cubicBezTo>
                  <a:pt x="1236577" y="3122421"/>
                  <a:pt x="1245382" y="3122421"/>
                  <a:pt x="1242601" y="3109043"/>
                </a:cubicBezTo>
                <a:cubicBezTo>
                  <a:pt x="1248626" y="3111690"/>
                  <a:pt x="1253723" y="3116708"/>
                  <a:pt x="1260210" y="3119355"/>
                </a:cubicBezTo>
                <a:cubicBezTo>
                  <a:pt x="1255576" y="3127438"/>
                  <a:pt x="1242601" y="3112805"/>
                  <a:pt x="1250478" y="3133012"/>
                </a:cubicBezTo>
                <a:cubicBezTo>
                  <a:pt x="1251869" y="3131619"/>
                  <a:pt x="1251869" y="3129111"/>
                  <a:pt x="1253723" y="3126463"/>
                </a:cubicBezTo>
                <a:cubicBezTo>
                  <a:pt x="1263454" y="3130504"/>
                  <a:pt x="1274575" y="3133012"/>
                  <a:pt x="1284306" y="3135661"/>
                </a:cubicBezTo>
                <a:cubicBezTo>
                  <a:pt x="1290330" y="3135661"/>
                  <a:pt x="1296819" y="3134406"/>
                  <a:pt x="1304696" y="3134406"/>
                </a:cubicBezTo>
                <a:cubicBezTo>
                  <a:pt x="1300062" y="3130364"/>
                  <a:pt x="1288941" y="3134406"/>
                  <a:pt x="1287551" y="3124930"/>
                </a:cubicBezTo>
                <a:cubicBezTo>
                  <a:pt x="1279672" y="3122282"/>
                  <a:pt x="1301452" y="3122282"/>
                  <a:pt x="1311183" y="3114338"/>
                </a:cubicBezTo>
                <a:cubicBezTo>
                  <a:pt x="1303306" y="3125069"/>
                  <a:pt x="1313037" y="3125069"/>
                  <a:pt x="1306550" y="3134406"/>
                </a:cubicBezTo>
                <a:cubicBezTo>
                  <a:pt x="1314428" y="3134406"/>
                  <a:pt x="1320452" y="3134406"/>
                  <a:pt x="1328793" y="3135661"/>
                </a:cubicBezTo>
                <a:cubicBezTo>
                  <a:pt x="1330183" y="3122282"/>
                  <a:pt x="1322305" y="3119633"/>
                  <a:pt x="1315818" y="3114338"/>
                </a:cubicBezTo>
                <a:cubicBezTo>
                  <a:pt x="1354280" y="3098172"/>
                  <a:pt x="1376522" y="3124930"/>
                  <a:pt x="1421008" y="3124930"/>
                </a:cubicBezTo>
                <a:cubicBezTo>
                  <a:pt x="1414984" y="3115592"/>
                  <a:pt x="1397375" y="3121028"/>
                  <a:pt x="1389498" y="3114338"/>
                </a:cubicBezTo>
                <a:cubicBezTo>
                  <a:pt x="1390887" y="3110296"/>
                  <a:pt x="1394131" y="3107510"/>
                  <a:pt x="1397375" y="3104861"/>
                </a:cubicBezTo>
                <a:cubicBezTo>
                  <a:pt x="1394131" y="3104861"/>
                  <a:pt x="1392278" y="3104861"/>
                  <a:pt x="1390887" y="3104861"/>
                </a:cubicBezTo>
                <a:cubicBezTo>
                  <a:pt x="1392278" y="3098172"/>
                  <a:pt x="1397375" y="3094131"/>
                  <a:pt x="1405252" y="3094131"/>
                </a:cubicBezTo>
                <a:cubicBezTo>
                  <a:pt x="1410350" y="3094131"/>
                  <a:pt x="1408497" y="3084376"/>
                  <a:pt x="1408497" y="3079080"/>
                </a:cubicBezTo>
                <a:cubicBezTo>
                  <a:pt x="1414984" y="3079080"/>
                  <a:pt x="1416374" y="3080612"/>
                  <a:pt x="1416374" y="3083261"/>
                </a:cubicBezTo>
                <a:cubicBezTo>
                  <a:pt x="1421008" y="3081867"/>
                  <a:pt x="1427958" y="3081867"/>
                  <a:pt x="1430739" y="3083261"/>
                </a:cubicBezTo>
                <a:cubicBezTo>
                  <a:pt x="1416374" y="3068489"/>
                  <a:pt x="1411740" y="3075317"/>
                  <a:pt x="1402009" y="3061800"/>
                </a:cubicBezTo>
                <a:cubicBezTo>
                  <a:pt x="1390887" y="3071275"/>
                  <a:pt x="1411740" y="3076850"/>
                  <a:pt x="1402009" y="3088835"/>
                </a:cubicBezTo>
                <a:cubicBezTo>
                  <a:pt x="1383010" y="3087581"/>
                  <a:pt x="1394131" y="3079219"/>
                  <a:pt x="1394131" y="3061800"/>
                </a:cubicBezTo>
                <a:cubicBezTo>
                  <a:pt x="1386253" y="3060545"/>
                  <a:pt x="1386253" y="3067513"/>
                  <a:pt x="1379766" y="3067513"/>
                </a:cubicBezTo>
                <a:cubicBezTo>
                  <a:pt x="1368644" y="3056782"/>
                  <a:pt x="1405252" y="3055249"/>
                  <a:pt x="1421008" y="3056643"/>
                </a:cubicBezTo>
                <a:cubicBezTo>
                  <a:pt x="1398765" y="3052601"/>
                  <a:pt x="1383010" y="3040337"/>
                  <a:pt x="1357523" y="3041731"/>
                </a:cubicBezTo>
                <a:cubicBezTo>
                  <a:pt x="1357523" y="3049814"/>
                  <a:pt x="1365401" y="3052462"/>
                  <a:pt x="1374669" y="3051068"/>
                </a:cubicBezTo>
                <a:cubicBezTo>
                  <a:pt x="1368644" y="3071275"/>
                  <a:pt x="1330646" y="3029885"/>
                  <a:pt x="1333890" y="3067513"/>
                </a:cubicBezTo>
                <a:cubicBezTo>
                  <a:pt x="1307939" y="3062077"/>
                  <a:pt x="1292184" y="3049814"/>
                  <a:pt x="1274575" y="3061800"/>
                </a:cubicBezTo>
                <a:cubicBezTo>
                  <a:pt x="1276429" y="3057758"/>
                  <a:pt x="1279210" y="3053856"/>
                  <a:pt x="1279210" y="3045912"/>
                </a:cubicBezTo>
                <a:cubicBezTo>
                  <a:pt x="1298672" y="3045912"/>
                  <a:pt x="1307939" y="3055110"/>
                  <a:pt x="1328793" y="3051068"/>
                </a:cubicBezTo>
                <a:cubicBezTo>
                  <a:pt x="1319061" y="3040337"/>
                  <a:pt x="1314891" y="3023056"/>
                  <a:pt x="1301915" y="3014974"/>
                </a:cubicBezTo>
                <a:cubicBezTo>
                  <a:pt x="1322768" y="2993512"/>
                  <a:pt x="1344548" y="3014834"/>
                  <a:pt x="1365401" y="2998668"/>
                </a:cubicBezTo>
                <a:lnTo>
                  <a:pt x="1365401" y="3014974"/>
                </a:lnTo>
                <a:cubicBezTo>
                  <a:pt x="1383010" y="3017760"/>
                  <a:pt x="1379766" y="2998668"/>
                  <a:pt x="1394131" y="2998668"/>
                </a:cubicBezTo>
                <a:cubicBezTo>
                  <a:pt x="1379766" y="2973165"/>
                  <a:pt x="1362157" y="3014974"/>
                  <a:pt x="1362157" y="2984175"/>
                </a:cubicBezTo>
                <a:cubicBezTo>
                  <a:pt x="1352426" y="3004243"/>
                  <a:pt x="1333427" y="2982642"/>
                  <a:pt x="1320452" y="2993372"/>
                </a:cubicBezTo>
                <a:cubicBezTo>
                  <a:pt x="1315818" y="2974698"/>
                  <a:pt x="1335280" y="2984175"/>
                  <a:pt x="1338523" y="2973444"/>
                </a:cubicBezTo>
                <a:cubicBezTo>
                  <a:pt x="1314428" y="2969402"/>
                  <a:pt x="1292184" y="2954630"/>
                  <a:pt x="1269478" y="2935955"/>
                </a:cubicBezTo>
                <a:cubicBezTo>
                  <a:pt x="1285698" y="2930520"/>
                  <a:pt x="1304696" y="2927733"/>
                  <a:pt x="1320452" y="2921044"/>
                </a:cubicBezTo>
                <a:cubicBezTo>
                  <a:pt x="1296819" y="2910312"/>
                  <a:pt x="1260210" y="2917141"/>
                  <a:pt x="1237503" y="2905018"/>
                </a:cubicBezTo>
                <a:cubicBezTo>
                  <a:pt x="1264844" y="2884950"/>
                  <a:pt x="1301452" y="2919790"/>
                  <a:pt x="1315818" y="2894286"/>
                </a:cubicBezTo>
                <a:cubicBezTo>
                  <a:pt x="1338061" y="2902369"/>
                  <a:pt x="1325548" y="2929127"/>
                  <a:pt x="1311183" y="2935955"/>
                </a:cubicBezTo>
                <a:cubicBezTo>
                  <a:pt x="1320914" y="2950728"/>
                  <a:pt x="1323695" y="2912682"/>
                  <a:pt x="1347792" y="2926061"/>
                </a:cubicBezTo>
                <a:cubicBezTo>
                  <a:pt x="1355670" y="2942227"/>
                  <a:pt x="1354280" y="2951564"/>
                  <a:pt x="1379766" y="2956999"/>
                </a:cubicBezTo>
                <a:cubicBezTo>
                  <a:pt x="1378375" y="2967730"/>
                  <a:pt x="1358913" y="2958672"/>
                  <a:pt x="1362157" y="2973444"/>
                </a:cubicBezTo>
                <a:cubicBezTo>
                  <a:pt x="1362157" y="2977485"/>
                  <a:pt x="1365401" y="2978739"/>
                  <a:pt x="1365401" y="2984175"/>
                </a:cubicBezTo>
                <a:cubicBezTo>
                  <a:pt x="1370034" y="2958672"/>
                  <a:pt x="1390887" y="2988077"/>
                  <a:pt x="1394131" y="2951843"/>
                </a:cubicBezTo>
                <a:cubicBezTo>
                  <a:pt x="1407106" y="2955885"/>
                  <a:pt x="1406644" y="2942227"/>
                  <a:pt x="1421008" y="2946268"/>
                </a:cubicBezTo>
                <a:cubicBezTo>
                  <a:pt x="1426105" y="2952957"/>
                  <a:pt x="1433982" y="2957138"/>
                  <a:pt x="1435836" y="2967869"/>
                </a:cubicBezTo>
                <a:cubicBezTo>
                  <a:pt x="1439080" y="2949056"/>
                  <a:pt x="1469200" y="2934422"/>
                  <a:pt x="1462714" y="2921044"/>
                </a:cubicBezTo>
                <a:cubicBezTo>
                  <a:pt x="1475688" y="2904878"/>
                  <a:pt x="1515540" y="2923691"/>
                  <a:pt x="1499322" y="2941112"/>
                </a:cubicBezTo>
                <a:cubicBezTo>
                  <a:pt x="1526662" y="2933169"/>
                  <a:pt x="1526662" y="2955885"/>
                  <a:pt x="1541028" y="2962574"/>
                </a:cubicBezTo>
                <a:cubicBezTo>
                  <a:pt x="1548904" y="2955885"/>
                  <a:pt x="1547051" y="2935538"/>
                  <a:pt x="1553539" y="2926061"/>
                </a:cubicBezTo>
                <a:cubicBezTo>
                  <a:pt x="1558636" y="2927454"/>
                  <a:pt x="1569759" y="2946548"/>
                  <a:pt x="1553539" y="2941112"/>
                </a:cubicBezTo>
                <a:cubicBezTo>
                  <a:pt x="1558636" y="2949195"/>
                  <a:pt x="1569294" y="2949195"/>
                  <a:pt x="1577172" y="2951843"/>
                </a:cubicBezTo>
                <a:cubicBezTo>
                  <a:pt x="1588757" y="2931775"/>
                  <a:pt x="1660582" y="2944875"/>
                  <a:pt x="1687923" y="2936792"/>
                </a:cubicBezTo>
                <a:cubicBezTo>
                  <a:pt x="1684679" y="2943482"/>
                  <a:pt x="1679581" y="2949195"/>
                  <a:pt x="1673558" y="2951843"/>
                </a:cubicBezTo>
                <a:cubicBezTo>
                  <a:pt x="1678191" y="2962574"/>
                  <a:pt x="1690702" y="2963967"/>
                  <a:pt x="1705069" y="2962574"/>
                </a:cubicBezTo>
                <a:cubicBezTo>
                  <a:pt x="1693947" y="2953237"/>
                  <a:pt x="1695337" y="2950588"/>
                  <a:pt x="1714799" y="2951843"/>
                </a:cubicBezTo>
                <a:cubicBezTo>
                  <a:pt x="1709703" y="2945153"/>
                  <a:pt x="1702288" y="2940833"/>
                  <a:pt x="1697190" y="2936792"/>
                </a:cubicBezTo>
                <a:cubicBezTo>
                  <a:pt x="1700434" y="2919372"/>
                  <a:pt x="1705069" y="2942506"/>
                  <a:pt x="1709703" y="2941112"/>
                </a:cubicBezTo>
                <a:cubicBezTo>
                  <a:pt x="1718044" y="2922438"/>
                  <a:pt x="1689313" y="2899722"/>
                  <a:pt x="1660582" y="2905018"/>
                </a:cubicBezTo>
                <a:cubicBezTo>
                  <a:pt x="1686070" y="2923831"/>
                  <a:pt x="1636486" y="2907665"/>
                  <a:pt x="1631852" y="2921044"/>
                </a:cubicBezTo>
                <a:cubicBezTo>
                  <a:pt x="1622121" y="2919651"/>
                  <a:pt x="1639731" y="2906411"/>
                  <a:pt x="1623975" y="2905018"/>
                </a:cubicBezTo>
                <a:cubicBezTo>
                  <a:pt x="1623975" y="2893032"/>
                  <a:pt x="1642973" y="2902091"/>
                  <a:pt x="1650852" y="2899443"/>
                </a:cubicBezTo>
                <a:cubicBezTo>
                  <a:pt x="1596635" y="2875333"/>
                  <a:pt x="1547051" y="2879375"/>
                  <a:pt x="1499322" y="2877981"/>
                </a:cubicBezTo>
                <a:lnTo>
                  <a:pt x="1499322" y="2863488"/>
                </a:lnTo>
                <a:cubicBezTo>
                  <a:pt x="1488199" y="2866135"/>
                  <a:pt x="1475688" y="2867390"/>
                  <a:pt x="1467811" y="2883417"/>
                </a:cubicBezTo>
                <a:cubicBezTo>
                  <a:pt x="1464567" y="2895541"/>
                  <a:pt x="1473835" y="2894286"/>
                  <a:pt x="1480322" y="2894286"/>
                </a:cubicBezTo>
                <a:cubicBezTo>
                  <a:pt x="1475225" y="2902369"/>
                  <a:pt x="1460860" y="2907526"/>
                  <a:pt x="1452983" y="2899443"/>
                </a:cubicBezTo>
                <a:cubicBezTo>
                  <a:pt x="1454836" y="2894007"/>
                  <a:pt x="1462714" y="2895401"/>
                  <a:pt x="1462714" y="2888712"/>
                </a:cubicBezTo>
                <a:cubicBezTo>
                  <a:pt x="1443715" y="2879375"/>
                  <a:pt x="1432593" y="2879654"/>
                  <a:pt x="1411740" y="2863488"/>
                </a:cubicBezTo>
                <a:cubicBezTo>
                  <a:pt x="1411740" y="2882301"/>
                  <a:pt x="1400618" y="2861954"/>
                  <a:pt x="1389498" y="2852618"/>
                </a:cubicBezTo>
                <a:cubicBezTo>
                  <a:pt x="1397375" y="2852618"/>
                  <a:pt x="1414984" y="2826975"/>
                  <a:pt x="1394131" y="2825581"/>
                </a:cubicBezTo>
                <a:cubicBezTo>
                  <a:pt x="1422398" y="2817220"/>
                  <a:pt x="1467348" y="2821957"/>
                  <a:pt x="1499784" y="2813457"/>
                </a:cubicBezTo>
                <a:cubicBezTo>
                  <a:pt x="1495151" y="2809694"/>
                  <a:pt x="1490980" y="2806907"/>
                  <a:pt x="1486809" y="2803145"/>
                </a:cubicBezTo>
                <a:cubicBezTo>
                  <a:pt x="1493297" y="2797709"/>
                  <a:pt x="1501175" y="2797012"/>
                  <a:pt x="1509517" y="2797430"/>
                </a:cubicBezTo>
                <a:cubicBezTo>
                  <a:pt x="1516467" y="2793807"/>
                  <a:pt x="1523418" y="2790183"/>
                  <a:pt x="1518784" y="2773181"/>
                </a:cubicBezTo>
                <a:cubicBezTo>
                  <a:pt x="1537783" y="2775830"/>
                  <a:pt x="1541028" y="2766493"/>
                  <a:pt x="1555392" y="2773181"/>
                </a:cubicBezTo>
                <a:cubicBezTo>
                  <a:pt x="1539637" y="2758409"/>
                  <a:pt x="1516931" y="2765377"/>
                  <a:pt x="1494688" y="2768025"/>
                </a:cubicBezTo>
                <a:cubicBezTo>
                  <a:pt x="1494688" y="2754646"/>
                  <a:pt x="1480322" y="2757015"/>
                  <a:pt x="1480322" y="2742243"/>
                </a:cubicBezTo>
                <a:cubicBezTo>
                  <a:pt x="1421008" y="2738202"/>
                  <a:pt x="1384400" y="2742522"/>
                  <a:pt x="1343157" y="2768025"/>
                </a:cubicBezTo>
                <a:cubicBezTo>
                  <a:pt x="1390887" y="2780149"/>
                  <a:pt x="1473835" y="2757015"/>
                  <a:pt x="1499322" y="2773181"/>
                </a:cubicBezTo>
                <a:cubicBezTo>
                  <a:pt x="1486809" y="2832131"/>
                  <a:pt x="1386253" y="2785167"/>
                  <a:pt x="1357523" y="2814710"/>
                </a:cubicBezTo>
                <a:cubicBezTo>
                  <a:pt x="1357523" y="2820007"/>
                  <a:pt x="1362157" y="2820285"/>
                  <a:pt x="1365401" y="2820285"/>
                </a:cubicBezTo>
                <a:cubicBezTo>
                  <a:pt x="1364010" y="2825721"/>
                  <a:pt x="1362620" y="2829902"/>
                  <a:pt x="1357523" y="2831157"/>
                </a:cubicBezTo>
                <a:lnTo>
                  <a:pt x="1347792" y="2831157"/>
                </a:lnTo>
                <a:cubicBezTo>
                  <a:pt x="1347792" y="2821818"/>
                  <a:pt x="1351036" y="2810809"/>
                  <a:pt x="1338523" y="2805373"/>
                </a:cubicBezTo>
                <a:cubicBezTo>
                  <a:pt x="1352889" y="2793389"/>
                  <a:pt x="1370034" y="2789347"/>
                  <a:pt x="1389498" y="2794783"/>
                </a:cubicBezTo>
                <a:cubicBezTo>
                  <a:pt x="1381619" y="2775969"/>
                  <a:pt x="1341304" y="2793528"/>
                  <a:pt x="1311183" y="2778756"/>
                </a:cubicBezTo>
                <a:cubicBezTo>
                  <a:pt x="1311183" y="2765377"/>
                  <a:pt x="1324159" y="2765237"/>
                  <a:pt x="1330646" y="2757155"/>
                </a:cubicBezTo>
                <a:cubicBezTo>
                  <a:pt x="1301915" y="2755761"/>
                  <a:pt x="1274575" y="2755761"/>
                  <a:pt x="1244455" y="2754507"/>
                </a:cubicBezTo>
                <a:cubicBezTo>
                  <a:pt x="1247699" y="2758409"/>
                  <a:pt x="1249088" y="2763704"/>
                  <a:pt x="1252333" y="2762451"/>
                </a:cubicBezTo>
                <a:cubicBezTo>
                  <a:pt x="1245845" y="2781264"/>
                  <a:pt x="1223602" y="2789486"/>
                  <a:pt x="1205993" y="2778756"/>
                </a:cubicBezTo>
                <a:cubicBezTo>
                  <a:pt x="1201359" y="2758688"/>
                  <a:pt x="1256966" y="2778616"/>
                  <a:pt x="1237503" y="2757155"/>
                </a:cubicBezTo>
                <a:cubicBezTo>
                  <a:pt x="1237503" y="2755761"/>
                  <a:pt x="1237967" y="2755761"/>
                  <a:pt x="1239821" y="2754507"/>
                </a:cubicBezTo>
                <a:cubicBezTo>
                  <a:pt x="1177263" y="2754507"/>
                  <a:pt x="1116557" y="2754786"/>
                  <a:pt x="1059098" y="2752138"/>
                </a:cubicBezTo>
                <a:cubicBezTo>
                  <a:pt x="1092462" y="2715904"/>
                  <a:pt x="1182359" y="2753392"/>
                  <a:pt x="1196725" y="2731930"/>
                </a:cubicBezTo>
                <a:cubicBezTo>
                  <a:pt x="1196725" y="2719806"/>
                  <a:pt x="1215262" y="2729004"/>
                  <a:pt x="1223139" y="2726356"/>
                </a:cubicBezTo>
                <a:cubicBezTo>
                  <a:pt x="1228236" y="2722315"/>
                  <a:pt x="1231479" y="2717018"/>
                  <a:pt x="1233333" y="2710329"/>
                </a:cubicBezTo>
                <a:cubicBezTo>
                  <a:pt x="1223139" y="2692770"/>
                  <a:pt x="1170775" y="2668661"/>
                  <a:pt x="1140655" y="2673538"/>
                </a:cubicBezTo>
                <a:cubicBezTo>
                  <a:pt x="1142045" y="2674235"/>
                  <a:pt x="1143898" y="2675768"/>
                  <a:pt x="1143898" y="2677719"/>
                </a:cubicBezTo>
                <a:lnTo>
                  <a:pt x="1153167" y="2677719"/>
                </a:lnTo>
                <a:cubicBezTo>
                  <a:pt x="1136947" y="2691098"/>
                  <a:pt x="1157800" y="2683712"/>
                  <a:pt x="1172165" y="2692212"/>
                </a:cubicBezTo>
                <a:cubicBezTo>
                  <a:pt x="1180506" y="2692770"/>
                  <a:pt x="1189774" y="2694860"/>
                  <a:pt x="1201359" y="2695418"/>
                </a:cubicBezTo>
                <a:cubicBezTo>
                  <a:pt x="1201359" y="2703500"/>
                  <a:pt x="1199506" y="2714232"/>
                  <a:pt x="1205993" y="2715625"/>
                </a:cubicBezTo>
                <a:cubicBezTo>
                  <a:pt x="1189774" y="2731652"/>
                  <a:pt x="1155020" y="2690402"/>
                  <a:pt x="1150386" y="2731930"/>
                </a:cubicBezTo>
                <a:cubicBezTo>
                  <a:pt x="1130923" y="2715904"/>
                  <a:pt x="1116557" y="2738341"/>
                  <a:pt x="1085974" y="2726356"/>
                </a:cubicBezTo>
                <a:lnTo>
                  <a:pt x="1085974" y="2707681"/>
                </a:lnTo>
                <a:cubicBezTo>
                  <a:pt x="1081341" y="2707542"/>
                  <a:pt x="1077169" y="2707402"/>
                  <a:pt x="1071146" y="2708518"/>
                </a:cubicBezTo>
                <a:cubicBezTo>
                  <a:pt x="1071146" y="2702107"/>
                  <a:pt x="1069755" y="2699460"/>
                  <a:pt x="1066511" y="2698206"/>
                </a:cubicBezTo>
                <a:cubicBezTo>
                  <a:pt x="1072999" y="2686639"/>
                  <a:pt x="1088291" y="2689565"/>
                  <a:pt x="1103583" y="2689844"/>
                </a:cubicBezTo>
                <a:cubicBezTo>
                  <a:pt x="1100803" y="2679252"/>
                  <a:pt x="1078560" y="2692352"/>
                  <a:pt x="1085974" y="2668800"/>
                </a:cubicBezTo>
                <a:cubicBezTo>
                  <a:pt x="1078096" y="2667406"/>
                  <a:pt x="1076707" y="2675211"/>
                  <a:pt x="1066975" y="2673816"/>
                </a:cubicBezTo>
                <a:cubicBezTo>
                  <a:pt x="1072535" y="2655700"/>
                  <a:pt x="1061878" y="2657373"/>
                  <a:pt x="1050756" y="2658070"/>
                </a:cubicBezTo>
                <a:cubicBezTo>
                  <a:pt x="1054926" y="2662389"/>
                  <a:pt x="1060024" y="2666292"/>
                  <a:pt x="1061878" y="2672981"/>
                </a:cubicBezTo>
                <a:cubicBezTo>
                  <a:pt x="1052147" y="2685245"/>
                  <a:pt x="1022953" y="2675350"/>
                  <a:pt x="1007197" y="2677999"/>
                </a:cubicBezTo>
                <a:cubicBezTo>
                  <a:pt x="998856" y="2680785"/>
                  <a:pt x="1008588" y="2685105"/>
                  <a:pt x="1007197" y="2694581"/>
                </a:cubicBezTo>
                <a:cubicBezTo>
                  <a:pt x="998856" y="2697230"/>
                  <a:pt x="982637" y="2687893"/>
                  <a:pt x="982637" y="2700157"/>
                </a:cubicBezTo>
                <a:cubicBezTo>
                  <a:pt x="990979" y="2682457"/>
                  <a:pt x="960395" y="2668661"/>
                  <a:pt x="941395" y="2683712"/>
                </a:cubicBezTo>
                <a:cubicBezTo>
                  <a:pt x="939541" y="2652355"/>
                  <a:pt x="902470" y="2677023"/>
                  <a:pt x="901080" y="2656676"/>
                </a:cubicBezTo>
                <a:cubicBezTo>
                  <a:pt x="891349" y="2667545"/>
                  <a:pt x="884862" y="2693328"/>
                  <a:pt x="864008" y="2672981"/>
                </a:cubicBezTo>
                <a:cubicBezTo>
                  <a:pt x="879764" y="2662111"/>
                  <a:pt x="888105" y="2671308"/>
                  <a:pt x="886251" y="2646781"/>
                </a:cubicBezTo>
                <a:cubicBezTo>
                  <a:pt x="891349" y="2650962"/>
                  <a:pt x="899226" y="2653749"/>
                  <a:pt x="908958" y="2650962"/>
                </a:cubicBezTo>
                <a:cubicBezTo>
                  <a:pt x="913592" y="2640092"/>
                  <a:pt x="912201" y="2627966"/>
                  <a:pt x="933054" y="2625180"/>
                </a:cubicBezTo>
                <a:cubicBezTo>
                  <a:pt x="928420" y="2629361"/>
                  <a:pt x="929810" y="2640231"/>
                  <a:pt x="923323" y="2641625"/>
                </a:cubicBezTo>
                <a:cubicBezTo>
                  <a:pt x="937689" y="2661971"/>
                  <a:pt x="981247" y="2645666"/>
                  <a:pt x="1002099" y="2641625"/>
                </a:cubicBezTo>
                <a:cubicBezTo>
                  <a:pt x="1017855" y="2657929"/>
                  <a:pt x="976150" y="2650962"/>
                  <a:pt x="965028" y="2650962"/>
                </a:cubicBezTo>
                <a:cubicBezTo>
                  <a:pt x="965028" y="2670054"/>
                  <a:pt x="1021562" y="2669915"/>
                  <a:pt x="1015075" y="2646781"/>
                </a:cubicBezTo>
                <a:cubicBezTo>
                  <a:pt x="1029440" y="2645248"/>
                  <a:pt x="1039634" y="2649010"/>
                  <a:pt x="1047976" y="2654865"/>
                </a:cubicBezTo>
                <a:cubicBezTo>
                  <a:pt x="1058634" y="2634098"/>
                  <a:pt x="1098486" y="2665176"/>
                  <a:pt x="1091071" y="2673816"/>
                </a:cubicBezTo>
                <a:cubicBezTo>
                  <a:pt x="1159654" y="2661832"/>
                  <a:pt x="1204140" y="2641625"/>
                  <a:pt x="1237503" y="2610686"/>
                </a:cubicBezTo>
                <a:cubicBezTo>
                  <a:pt x="1243992" y="2613474"/>
                  <a:pt x="1236114" y="2617655"/>
                  <a:pt x="1237503" y="2627131"/>
                </a:cubicBezTo>
                <a:cubicBezTo>
                  <a:pt x="1269478" y="2616260"/>
                  <a:pt x="1284306" y="2629779"/>
                  <a:pt x="1325548" y="2627131"/>
                </a:cubicBezTo>
                <a:cubicBezTo>
                  <a:pt x="1305160" y="2653889"/>
                  <a:pt x="1240747" y="2632287"/>
                  <a:pt x="1215262" y="2652495"/>
                </a:cubicBezTo>
                <a:cubicBezTo>
                  <a:pt x="1220358" y="2672563"/>
                  <a:pt x="1236114" y="2681063"/>
                  <a:pt x="1252333" y="2690402"/>
                </a:cubicBezTo>
                <a:cubicBezTo>
                  <a:pt x="1245845" y="2698484"/>
                  <a:pt x="1253723" y="2722593"/>
                  <a:pt x="1237503" y="2721199"/>
                </a:cubicBezTo>
                <a:cubicBezTo>
                  <a:pt x="1236114" y="2729282"/>
                  <a:pt x="1242601" y="2730258"/>
                  <a:pt x="1242601" y="2737086"/>
                </a:cubicBezTo>
                <a:cubicBezTo>
                  <a:pt x="1255112" y="2740989"/>
                  <a:pt x="1252333" y="2726356"/>
                  <a:pt x="1260210" y="2726356"/>
                </a:cubicBezTo>
                <a:cubicBezTo>
                  <a:pt x="1258820" y="2720921"/>
                  <a:pt x="1256966" y="2717018"/>
                  <a:pt x="1252333" y="2715625"/>
                </a:cubicBezTo>
                <a:cubicBezTo>
                  <a:pt x="1268089" y="2702246"/>
                  <a:pt x="1287551" y="2710051"/>
                  <a:pt x="1301915" y="2704755"/>
                </a:cubicBezTo>
                <a:cubicBezTo>
                  <a:pt x="1303306" y="2692630"/>
                  <a:pt x="1295428" y="2688729"/>
                  <a:pt x="1288941" y="2684827"/>
                </a:cubicBezTo>
                <a:cubicBezTo>
                  <a:pt x="1277819" y="2683432"/>
                  <a:pt x="1273185" y="2688868"/>
                  <a:pt x="1274575" y="2699599"/>
                </a:cubicBezTo>
                <a:cubicBezTo>
                  <a:pt x="1250942" y="2687613"/>
                  <a:pt x="1260210" y="2671168"/>
                  <a:pt x="1233333" y="2663226"/>
                </a:cubicBezTo>
                <a:cubicBezTo>
                  <a:pt x="1268089" y="2625597"/>
                  <a:pt x="1303306" y="2692630"/>
                  <a:pt x="1333890" y="2663226"/>
                </a:cubicBezTo>
                <a:cubicBezTo>
                  <a:pt x="1332037" y="2659184"/>
                  <a:pt x="1328793" y="2655282"/>
                  <a:pt x="1330646" y="2647199"/>
                </a:cubicBezTo>
                <a:cubicBezTo>
                  <a:pt x="1322305" y="2653889"/>
                  <a:pt x="1311647" y="2664479"/>
                  <a:pt x="1301915" y="2652495"/>
                </a:cubicBezTo>
                <a:cubicBezTo>
                  <a:pt x="1309793" y="2643018"/>
                  <a:pt x="1325548" y="2641625"/>
                  <a:pt x="1343157" y="2641625"/>
                </a:cubicBezTo>
                <a:cubicBezTo>
                  <a:pt x="1333427" y="2629500"/>
                  <a:pt x="1327402" y="2628246"/>
                  <a:pt x="1338523" y="2610686"/>
                </a:cubicBezTo>
                <a:cubicBezTo>
                  <a:pt x="1307939" y="2616121"/>
                  <a:pt x="1249088" y="2624483"/>
                  <a:pt x="1256966" y="2594938"/>
                </a:cubicBezTo>
                <a:cubicBezTo>
                  <a:pt x="1250478" y="2601628"/>
                  <a:pt x="1239821" y="2601349"/>
                  <a:pt x="1228236" y="2600095"/>
                </a:cubicBezTo>
                <a:cubicBezTo>
                  <a:pt x="1226846" y="2624204"/>
                  <a:pt x="1193018" y="2623089"/>
                  <a:pt x="1164288" y="2616400"/>
                </a:cubicBezTo>
                <a:cubicBezTo>
                  <a:pt x="1172165" y="2612359"/>
                  <a:pt x="1183287" y="2603021"/>
                  <a:pt x="1172165" y="2597726"/>
                </a:cubicBezTo>
                <a:cubicBezTo>
                  <a:pt x="1164288" y="2597726"/>
                  <a:pt x="1153167" y="2596333"/>
                  <a:pt x="1145288" y="2597726"/>
                </a:cubicBezTo>
                <a:cubicBezTo>
                  <a:pt x="1143435" y="2576124"/>
                  <a:pt x="1174019" y="2591037"/>
                  <a:pt x="1186531" y="2586995"/>
                </a:cubicBezTo>
                <a:cubicBezTo>
                  <a:pt x="1186531" y="2586995"/>
                  <a:pt x="1186531" y="2586855"/>
                  <a:pt x="1186531" y="2588249"/>
                </a:cubicBezTo>
                <a:cubicBezTo>
                  <a:pt x="1243992" y="2566787"/>
                  <a:pt x="1277819" y="2604275"/>
                  <a:pt x="1325548" y="2605669"/>
                </a:cubicBezTo>
                <a:cubicBezTo>
                  <a:pt x="1345011" y="2598980"/>
                  <a:pt x="1386253" y="2577240"/>
                  <a:pt x="1403862" y="2610686"/>
                </a:cubicBezTo>
                <a:cubicBezTo>
                  <a:pt x="1388107" y="2620163"/>
                  <a:pt x="1379766" y="2606645"/>
                  <a:pt x="1357523" y="2610686"/>
                </a:cubicBezTo>
                <a:cubicBezTo>
                  <a:pt x="1371888" y="2622811"/>
                  <a:pt x="1379766" y="2614728"/>
                  <a:pt x="1394131" y="2621418"/>
                </a:cubicBezTo>
                <a:cubicBezTo>
                  <a:pt x="1389498" y="2645526"/>
                  <a:pt x="1360304" y="2613474"/>
                  <a:pt x="1347792" y="2632287"/>
                </a:cubicBezTo>
                <a:cubicBezTo>
                  <a:pt x="1344548" y="2645805"/>
                  <a:pt x="1357523" y="2643018"/>
                  <a:pt x="1357523" y="2652495"/>
                </a:cubicBezTo>
                <a:cubicBezTo>
                  <a:pt x="1375132" y="2655142"/>
                  <a:pt x="1368644" y="2631173"/>
                  <a:pt x="1389498" y="2638001"/>
                </a:cubicBezTo>
                <a:cubicBezTo>
                  <a:pt x="1384400" y="2644691"/>
                  <a:pt x="1376522" y="2647338"/>
                  <a:pt x="1374669" y="2658070"/>
                </a:cubicBezTo>
                <a:cubicBezTo>
                  <a:pt x="1386253" y="2662111"/>
                  <a:pt x="1395984" y="2666152"/>
                  <a:pt x="1407106" y="2679531"/>
                </a:cubicBezTo>
                <a:cubicBezTo>
                  <a:pt x="1413594" y="2676883"/>
                  <a:pt x="1406644" y="2656536"/>
                  <a:pt x="1421008" y="2652495"/>
                </a:cubicBezTo>
                <a:cubicBezTo>
                  <a:pt x="1432129" y="2645805"/>
                  <a:pt x="1432593" y="2678276"/>
                  <a:pt x="1440470" y="2658070"/>
                </a:cubicBezTo>
                <a:cubicBezTo>
                  <a:pt x="1437227" y="2670192"/>
                  <a:pt x="1450202" y="2679531"/>
                  <a:pt x="1467811" y="2668800"/>
                </a:cubicBezTo>
                <a:cubicBezTo>
                  <a:pt x="1459470" y="2679531"/>
                  <a:pt x="1467811" y="2675629"/>
                  <a:pt x="1467811" y="2690402"/>
                </a:cubicBezTo>
                <a:cubicBezTo>
                  <a:pt x="1450202" y="2691795"/>
                  <a:pt x="1445105" y="2679252"/>
                  <a:pt x="1435836" y="2673816"/>
                </a:cubicBezTo>
                <a:cubicBezTo>
                  <a:pt x="1426105" y="2673816"/>
                  <a:pt x="1440470" y="2691237"/>
                  <a:pt x="1435836" y="2704755"/>
                </a:cubicBezTo>
                <a:lnTo>
                  <a:pt x="1416374" y="2704755"/>
                </a:lnTo>
                <a:cubicBezTo>
                  <a:pt x="1418228" y="2698066"/>
                  <a:pt x="1424252" y="2697091"/>
                  <a:pt x="1426105" y="2690402"/>
                </a:cubicBezTo>
                <a:cubicBezTo>
                  <a:pt x="1379766" y="2689007"/>
                  <a:pt x="1351036" y="2687474"/>
                  <a:pt x="1315818" y="2715625"/>
                </a:cubicBezTo>
                <a:cubicBezTo>
                  <a:pt x="1314428" y="2707542"/>
                  <a:pt x="1319524" y="2706009"/>
                  <a:pt x="1325548" y="2704755"/>
                </a:cubicBezTo>
                <a:cubicBezTo>
                  <a:pt x="1324159" y="2692630"/>
                  <a:pt x="1303306" y="2700853"/>
                  <a:pt x="1311183" y="2715625"/>
                </a:cubicBezTo>
                <a:cubicBezTo>
                  <a:pt x="1309793" y="2729004"/>
                  <a:pt x="1332037" y="2713117"/>
                  <a:pt x="1325548" y="2731930"/>
                </a:cubicBezTo>
                <a:cubicBezTo>
                  <a:pt x="1316281" y="2719806"/>
                  <a:pt x="1309793" y="2731652"/>
                  <a:pt x="1301915" y="2737086"/>
                </a:cubicBezTo>
                <a:cubicBezTo>
                  <a:pt x="1308403" y="2753114"/>
                  <a:pt x="1317671" y="2731652"/>
                  <a:pt x="1330646" y="2737086"/>
                </a:cubicBezTo>
                <a:cubicBezTo>
                  <a:pt x="1327402" y="2729004"/>
                  <a:pt x="1347792" y="2712837"/>
                  <a:pt x="1362157" y="2726356"/>
                </a:cubicBezTo>
                <a:cubicBezTo>
                  <a:pt x="1360766" y="2738341"/>
                  <a:pt x="1349646" y="2737086"/>
                  <a:pt x="1338523" y="2737086"/>
                </a:cubicBezTo>
                <a:cubicBezTo>
                  <a:pt x="1349646" y="2763844"/>
                  <a:pt x="1373279" y="2726216"/>
                  <a:pt x="1374669" y="2742243"/>
                </a:cubicBezTo>
                <a:cubicBezTo>
                  <a:pt x="1389034" y="2734300"/>
                  <a:pt x="1362157" y="2719806"/>
                  <a:pt x="1374669" y="2710329"/>
                </a:cubicBezTo>
                <a:cubicBezTo>
                  <a:pt x="1365401" y="2709075"/>
                  <a:pt x="1364010" y="2714232"/>
                  <a:pt x="1357523" y="2715625"/>
                </a:cubicBezTo>
                <a:cubicBezTo>
                  <a:pt x="1351499" y="2710329"/>
                  <a:pt x="1367718" y="2704615"/>
                  <a:pt x="1379766" y="2699599"/>
                </a:cubicBezTo>
                <a:cubicBezTo>
                  <a:pt x="1392740" y="2707681"/>
                  <a:pt x="1386253" y="2712837"/>
                  <a:pt x="1379766" y="2726356"/>
                </a:cubicBezTo>
                <a:cubicBezTo>
                  <a:pt x="1426105" y="2708936"/>
                  <a:pt x="1427496" y="2727610"/>
                  <a:pt x="1482177" y="2704755"/>
                </a:cubicBezTo>
                <a:cubicBezTo>
                  <a:pt x="1469200" y="2757015"/>
                  <a:pt x="1504419" y="2757294"/>
                  <a:pt x="1555392" y="2747957"/>
                </a:cubicBezTo>
                <a:cubicBezTo>
                  <a:pt x="1566514" y="2746564"/>
                  <a:pt x="1548904" y="2738341"/>
                  <a:pt x="1555392" y="2726356"/>
                </a:cubicBezTo>
                <a:cubicBezTo>
                  <a:pt x="1568368" y="2734439"/>
                  <a:pt x="1582733" y="2739874"/>
                  <a:pt x="1587366" y="2758688"/>
                </a:cubicBezTo>
                <a:cubicBezTo>
                  <a:pt x="1577635" y="2768025"/>
                  <a:pt x="1574392" y="2758688"/>
                  <a:pt x="1563270" y="2758688"/>
                </a:cubicBezTo>
                <a:cubicBezTo>
                  <a:pt x="1569759" y="2782797"/>
                  <a:pt x="1569294" y="2792135"/>
                  <a:pt x="1604512" y="2789486"/>
                </a:cubicBezTo>
                <a:cubicBezTo>
                  <a:pt x="1609609" y="2785446"/>
                  <a:pt x="1601732" y="2765377"/>
                  <a:pt x="1614244" y="2758688"/>
                </a:cubicBezTo>
                <a:cubicBezTo>
                  <a:pt x="1616097" y="2743915"/>
                  <a:pt x="1588757" y="2762451"/>
                  <a:pt x="1595244" y="2742243"/>
                </a:cubicBezTo>
                <a:cubicBezTo>
                  <a:pt x="1612853" y="2738202"/>
                  <a:pt x="1617488" y="2749211"/>
                  <a:pt x="1631852" y="2747957"/>
                </a:cubicBezTo>
                <a:cubicBezTo>
                  <a:pt x="1630000" y="2757155"/>
                  <a:pt x="1631389" y="2759524"/>
                  <a:pt x="1631852" y="2762451"/>
                </a:cubicBezTo>
                <a:cubicBezTo>
                  <a:pt x="1631852" y="2764541"/>
                  <a:pt x="1630462" y="2766213"/>
                  <a:pt x="1631852" y="2773181"/>
                </a:cubicBezTo>
                <a:cubicBezTo>
                  <a:pt x="1623975" y="2762451"/>
                  <a:pt x="1620732" y="2772067"/>
                  <a:pt x="1614244" y="2778756"/>
                </a:cubicBezTo>
                <a:cubicBezTo>
                  <a:pt x="1628608" y="2788093"/>
                  <a:pt x="1649461" y="2790880"/>
                  <a:pt x="1660582" y="2778756"/>
                </a:cubicBezTo>
                <a:cubicBezTo>
                  <a:pt x="1655949" y="2769418"/>
                  <a:pt x="1633243" y="2777223"/>
                  <a:pt x="1631852" y="2762451"/>
                </a:cubicBezTo>
                <a:cubicBezTo>
                  <a:pt x="1655949" y="2746284"/>
                  <a:pt x="1705069" y="2738480"/>
                  <a:pt x="1741677" y="2761336"/>
                </a:cubicBezTo>
                <a:cubicBezTo>
                  <a:pt x="1740286" y="2758688"/>
                  <a:pt x="1738897" y="2755622"/>
                  <a:pt x="1738897" y="2752973"/>
                </a:cubicBezTo>
                <a:cubicBezTo>
                  <a:pt x="1764383" y="2739595"/>
                  <a:pt x="1794503" y="2747678"/>
                  <a:pt x="1834355" y="2752973"/>
                </a:cubicBezTo>
                <a:cubicBezTo>
                  <a:pt x="1832967" y="2738202"/>
                  <a:pt x="1816746" y="2738620"/>
                  <a:pt x="1807479" y="2731930"/>
                </a:cubicBezTo>
                <a:cubicBezTo>
                  <a:pt x="1808870" y="2727889"/>
                  <a:pt x="1810259" y="2724962"/>
                  <a:pt x="1811648" y="2723568"/>
                </a:cubicBezTo>
                <a:cubicBezTo>
                  <a:pt x="1814894" y="2704755"/>
                  <a:pt x="1834355" y="2733046"/>
                  <a:pt x="1848721" y="2726356"/>
                </a:cubicBezTo>
                <a:cubicBezTo>
                  <a:pt x="1845477" y="2730397"/>
                  <a:pt x="1840842" y="2731930"/>
                  <a:pt x="1834355" y="2731930"/>
                </a:cubicBezTo>
                <a:cubicBezTo>
                  <a:pt x="1832967" y="2733324"/>
                  <a:pt x="1829721" y="2733046"/>
                  <a:pt x="1829721" y="2737086"/>
                </a:cubicBezTo>
                <a:cubicBezTo>
                  <a:pt x="1832967" y="2751859"/>
                  <a:pt x="1853819" y="2722175"/>
                  <a:pt x="1848721" y="2752973"/>
                </a:cubicBezTo>
                <a:cubicBezTo>
                  <a:pt x="1861696" y="2752973"/>
                  <a:pt x="1876061" y="2753114"/>
                  <a:pt x="1876061" y="2737086"/>
                </a:cubicBezTo>
                <a:cubicBezTo>
                  <a:pt x="1896914" y="2743776"/>
                  <a:pt x="1912668" y="2757294"/>
                  <a:pt x="1934912" y="2747957"/>
                </a:cubicBezTo>
                <a:cubicBezTo>
                  <a:pt x="1934912" y="2757294"/>
                  <a:pt x="1939546" y="2761057"/>
                  <a:pt x="1944179" y="2763704"/>
                </a:cubicBezTo>
                <a:cubicBezTo>
                  <a:pt x="1946034" y="2774436"/>
                  <a:pt x="1928888" y="2766632"/>
                  <a:pt x="1922401" y="2769279"/>
                </a:cubicBezTo>
                <a:cubicBezTo>
                  <a:pt x="1923792" y="2796176"/>
                  <a:pt x="1949277" y="2773181"/>
                  <a:pt x="1963643" y="2774575"/>
                </a:cubicBezTo>
                <a:cubicBezTo>
                  <a:pt x="2006738" y="2775969"/>
                  <a:pt x="2070687" y="2778616"/>
                  <a:pt x="2105904" y="2796037"/>
                </a:cubicBezTo>
                <a:cubicBezTo>
                  <a:pt x="2109148" y="2775830"/>
                  <a:pt x="2083199" y="2789486"/>
                  <a:pt x="2086443" y="2769279"/>
                </a:cubicBezTo>
                <a:cubicBezTo>
                  <a:pt x="2104052" y="2785446"/>
                  <a:pt x="2118416" y="2772067"/>
                  <a:pt x="2132783" y="2790880"/>
                </a:cubicBezTo>
                <a:cubicBezTo>
                  <a:pt x="2130928" y="2801889"/>
                  <a:pt x="2122123" y="2801193"/>
                  <a:pt x="2117952" y="2803980"/>
                </a:cubicBezTo>
                <a:lnTo>
                  <a:pt x="2118879" y="2803980"/>
                </a:lnTo>
                <a:cubicBezTo>
                  <a:pt x="2119343" y="2807325"/>
                  <a:pt x="2117952" y="2809136"/>
                  <a:pt x="2117026" y="2811367"/>
                </a:cubicBezTo>
                <a:cubicBezTo>
                  <a:pt x="2117489" y="2813039"/>
                  <a:pt x="2117026" y="2813736"/>
                  <a:pt x="2118416" y="2816105"/>
                </a:cubicBezTo>
                <a:cubicBezTo>
                  <a:pt x="2117952" y="2815268"/>
                  <a:pt x="2117026" y="2815268"/>
                  <a:pt x="2116563" y="2814710"/>
                </a:cubicBezTo>
                <a:cubicBezTo>
                  <a:pt x="2114710" y="2818195"/>
                  <a:pt x="2113782" y="2820983"/>
                  <a:pt x="2118879" y="2822654"/>
                </a:cubicBezTo>
                <a:cubicBezTo>
                  <a:pt x="2120733" y="2827394"/>
                  <a:pt x="2117026" y="2828787"/>
                  <a:pt x="2113318" y="2828787"/>
                </a:cubicBezTo>
                <a:lnTo>
                  <a:pt x="2104514" y="2828787"/>
                </a:lnTo>
                <a:cubicBezTo>
                  <a:pt x="2111002" y="2819310"/>
                  <a:pt x="2107758" y="2817498"/>
                  <a:pt x="2105904" y="2810530"/>
                </a:cubicBezTo>
                <a:cubicBezTo>
                  <a:pt x="2098954" y="2811506"/>
                  <a:pt x="2092930" y="2816941"/>
                  <a:pt x="2095710" y="2821818"/>
                </a:cubicBezTo>
                <a:cubicBezTo>
                  <a:pt x="2091075" y="2827115"/>
                  <a:pt x="2083199" y="2822794"/>
                  <a:pt x="2068833" y="2826836"/>
                </a:cubicBezTo>
                <a:cubicBezTo>
                  <a:pt x="2065589" y="2812063"/>
                  <a:pt x="2078564" y="2816105"/>
                  <a:pt x="2078564" y="2805373"/>
                </a:cubicBezTo>
                <a:cubicBezTo>
                  <a:pt x="2077174" y="2794643"/>
                  <a:pt x="2058175" y="2804120"/>
                  <a:pt x="2054931" y="2796037"/>
                </a:cubicBezTo>
                <a:cubicBezTo>
                  <a:pt x="2045201" y="2797291"/>
                  <a:pt x="2059102" y="2813736"/>
                  <a:pt x="2068833" y="2811088"/>
                </a:cubicBezTo>
                <a:cubicBezTo>
                  <a:pt x="2060955" y="2828508"/>
                  <a:pt x="2048444" y="2824467"/>
                  <a:pt x="2032224" y="2821818"/>
                </a:cubicBezTo>
                <a:cubicBezTo>
                  <a:pt x="2019714" y="2776107"/>
                  <a:pt x="1934912" y="2812341"/>
                  <a:pt x="1902937" y="2789486"/>
                </a:cubicBezTo>
                <a:cubicBezTo>
                  <a:pt x="1902937" y="2804259"/>
                  <a:pt x="1914522" y="2805373"/>
                  <a:pt x="1927034" y="2805373"/>
                </a:cubicBezTo>
                <a:cubicBezTo>
                  <a:pt x="1920548" y="2836312"/>
                  <a:pt x="1893670" y="2824467"/>
                  <a:pt x="1876061" y="2832411"/>
                </a:cubicBezTo>
                <a:cubicBezTo>
                  <a:pt x="1876061" y="2837288"/>
                  <a:pt x="1898305" y="2829205"/>
                  <a:pt x="1891817" y="2842862"/>
                </a:cubicBezTo>
                <a:cubicBezTo>
                  <a:pt x="1894134" y="2842584"/>
                  <a:pt x="1895987" y="2842166"/>
                  <a:pt x="1898305" y="2841887"/>
                </a:cubicBezTo>
                <a:cubicBezTo>
                  <a:pt x="1920083" y="2828787"/>
                  <a:pt x="1939083" y="2812202"/>
                  <a:pt x="1971520" y="2811088"/>
                </a:cubicBezTo>
                <a:cubicBezTo>
                  <a:pt x="1972910" y="2820425"/>
                  <a:pt x="1966886" y="2837846"/>
                  <a:pt x="1981251" y="2832411"/>
                </a:cubicBezTo>
                <a:cubicBezTo>
                  <a:pt x="1981251" y="2834501"/>
                  <a:pt x="1979862" y="2834082"/>
                  <a:pt x="1979397" y="2835338"/>
                </a:cubicBezTo>
                <a:cubicBezTo>
                  <a:pt x="2047980" y="2830181"/>
                  <a:pt x="2114710" y="2827254"/>
                  <a:pt x="2173097" y="2829762"/>
                </a:cubicBezTo>
                <a:cubicBezTo>
                  <a:pt x="2176804" y="2826697"/>
                  <a:pt x="2174487" y="2821261"/>
                  <a:pt x="2173097" y="2815826"/>
                </a:cubicBezTo>
                <a:cubicBezTo>
                  <a:pt x="2166610" y="2811785"/>
                  <a:pt x="2160586" y="2806907"/>
                  <a:pt x="2160122" y="2796037"/>
                </a:cubicBezTo>
                <a:cubicBezTo>
                  <a:pt x="2179120" y="2793807"/>
                  <a:pt x="2168463" y="2806907"/>
                  <a:pt x="2172634" y="2811088"/>
                </a:cubicBezTo>
                <a:cubicBezTo>
                  <a:pt x="2171707" y="2806489"/>
                  <a:pt x="2172634" y="2802447"/>
                  <a:pt x="2177730" y="2800217"/>
                </a:cubicBezTo>
                <a:cubicBezTo>
                  <a:pt x="2176341" y="2795618"/>
                  <a:pt x="2175877" y="2790601"/>
                  <a:pt x="2183756" y="2785305"/>
                </a:cubicBezTo>
                <a:cubicBezTo>
                  <a:pt x="2180512" y="2786700"/>
                  <a:pt x="2142049" y="2793389"/>
                  <a:pt x="2142049" y="2774575"/>
                </a:cubicBezTo>
                <a:cubicBezTo>
                  <a:pt x="2174024" y="2789347"/>
                  <a:pt x="2161512" y="2761336"/>
                  <a:pt x="2188389" y="2758688"/>
                </a:cubicBezTo>
                <a:cubicBezTo>
                  <a:pt x="2185145" y="2753253"/>
                  <a:pt x="2177730" y="2752973"/>
                  <a:pt x="2179120" y="2743498"/>
                </a:cubicBezTo>
                <a:cubicBezTo>
                  <a:pt x="2171243" y="2747539"/>
                  <a:pt x="2163366" y="2751720"/>
                  <a:pt x="2152244" y="2752973"/>
                </a:cubicBezTo>
                <a:cubicBezTo>
                  <a:pt x="2156878" y="2726216"/>
                  <a:pt x="2108685" y="2738341"/>
                  <a:pt x="2127684" y="2711444"/>
                </a:cubicBezTo>
                <a:cubicBezTo>
                  <a:pt x="2135561" y="2719527"/>
                  <a:pt x="2147146" y="2736947"/>
                  <a:pt x="2161512" y="2722175"/>
                </a:cubicBezTo>
                <a:cubicBezTo>
                  <a:pt x="2153170" y="2703362"/>
                  <a:pt x="2124440" y="2706149"/>
                  <a:pt x="2100343" y="2706149"/>
                </a:cubicBezTo>
                <a:cubicBezTo>
                  <a:pt x="2103587" y="2702107"/>
                  <a:pt x="2105904" y="2694025"/>
                  <a:pt x="2105904" y="2686081"/>
                </a:cubicBezTo>
                <a:cubicBezTo>
                  <a:pt x="2089685" y="2680646"/>
                  <a:pt x="2100808" y="2707402"/>
                  <a:pt x="2091075" y="2711444"/>
                </a:cubicBezTo>
                <a:cubicBezTo>
                  <a:pt x="2083199" y="2704755"/>
                  <a:pt x="2073931" y="2698206"/>
                  <a:pt x="2059565" y="2695418"/>
                </a:cubicBezTo>
                <a:cubicBezTo>
                  <a:pt x="2076711" y="2706149"/>
                  <a:pt x="2059565" y="2707402"/>
                  <a:pt x="2047055" y="2711444"/>
                </a:cubicBezTo>
                <a:cubicBezTo>
                  <a:pt x="2047055" y="2718133"/>
                  <a:pt x="2054468" y="2715486"/>
                  <a:pt x="2059565" y="2716879"/>
                </a:cubicBezTo>
                <a:cubicBezTo>
                  <a:pt x="2049833" y="2727610"/>
                  <a:pt x="2049833" y="2747957"/>
                  <a:pt x="2032224" y="2747957"/>
                </a:cubicBezTo>
                <a:cubicBezTo>
                  <a:pt x="2030835" y="2735833"/>
                  <a:pt x="2032224" y="2727470"/>
                  <a:pt x="2036859" y="2722175"/>
                </a:cubicBezTo>
                <a:cubicBezTo>
                  <a:pt x="2016469" y="2714093"/>
                  <a:pt x="2024347" y="2739874"/>
                  <a:pt x="2009983" y="2738480"/>
                </a:cubicBezTo>
                <a:cubicBezTo>
                  <a:pt x="2014615" y="2723708"/>
                  <a:pt x="2011373" y="2724962"/>
                  <a:pt x="2009983" y="2706149"/>
                </a:cubicBezTo>
                <a:cubicBezTo>
                  <a:pt x="1992372" y="2707542"/>
                  <a:pt x="1981251" y="2716740"/>
                  <a:pt x="1968740" y="2722175"/>
                </a:cubicBezTo>
                <a:cubicBezTo>
                  <a:pt x="1971984" y="2700714"/>
                  <a:pt x="1937692" y="2720921"/>
                  <a:pt x="1944179" y="2695418"/>
                </a:cubicBezTo>
                <a:cubicBezTo>
                  <a:pt x="1955301" y="2699460"/>
                  <a:pt x="1965495" y="2703780"/>
                  <a:pt x="1981251" y="2701132"/>
                </a:cubicBezTo>
                <a:cubicBezTo>
                  <a:pt x="1983104" y="2691655"/>
                  <a:pt x="1978008" y="2691795"/>
                  <a:pt x="1973374" y="2690402"/>
                </a:cubicBezTo>
                <a:cubicBezTo>
                  <a:pt x="1973374" y="2686360"/>
                  <a:pt x="1978008" y="2686081"/>
                  <a:pt x="1981251" y="2684827"/>
                </a:cubicBezTo>
                <a:cubicBezTo>
                  <a:pt x="1970130" y="2676743"/>
                  <a:pt x="1952521" y="2675489"/>
                  <a:pt x="1949277" y="2659323"/>
                </a:cubicBezTo>
                <a:cubicBezTo>
                  <a:pt x="1940009" y="2660717"/>
                  <a:pt x="1931668" y="2667267"/>
                  <a:pt x="1917303" y="2664620"/>
                </a:cubicBezTo>
                <a:cubicBezTo>
                  <a:pt x="1923327" y="2651241"/>
                  <a:pt x="1927034" y="2654028"/>
                  <a:pt x="1922401" y="2638001"/>
                </a:cubicBezTo>
                <a:cubicBezTo>
                  <a:pt x="1911279" y="2636607"/>
                  <a:pt x="1912668" y="2647060"/>
                  <a:pt x="1899694" y="2643018"/>
                </a:cubicBezTo>
                <a:cubicBezTo>
                  <a:pt x="1901548" y="2618909"/>
                  <a:pt x="1928425" y="2624065"/>
                  <a:pt x="1949277" y="2621418"/>
                </a:cubicBezTo>
                <a:cubicBezTo>
                  <a:pt x="1957155" y="2632148"/>
                  <a:pt x="1946034" y="2632287"/>
                  <a:pt x="1953911" y="2643018"/>
                </a:cubicBezTo>
                <a:cubicBezTo>
                  <a:pt x="1962252" y="2644411"/>
                  <a:pt x="1963643" y="2636607"/>
                  <a:pt x="1973374" y="2638001"/>
                </a:cubicBezTo>
                <a:cubicBezTo>
                  <a:pt x="1971520" y="2624483"/>
                  <a:pt x="1959009" y="2621835"/>
                  <a:pt x="1959009" y="2607063"/>
                </a:cubicBezTo>
                <a:cubicBezTo>
                  <a:pt x="1927034" y="2620581"/>
                  <a:pt x="1927034" y="2589503"/>
                  <a:pt x="1908036" y="2596192"/>
                </a:cubicBezTo>
                <a:cubicBezTo>
                  <a:pt x="1895061" y="2600234"/>
                  <a:pt x="1919157" y="2604415"/>
                  <a:pt x="1912668" y="2617794"/>
                </a:cubicBezTo>
                <a:cubicBezTo>
                  <a:pt x="1890426" y="2620442"/>
                  <a:pt x="1878841" y="2603997"/>
                  <a:pt x="1865867" y="2621418"/>
                </a:cubicBezTo>
                <a:cubicBezTo>
                  <a:pt x="1867720" y="2626852"/>
                  <a:pt x="1883939" y="2639116"/>
                  <a:pt x="1885329" y="2627131"/>
                </a:cubicBezTo>
                <a:cubicBezTo>
                  <a:pt x="1896451" y="2628385"/>
                  <a:pt x="1883939" y="2641903"/>
                  <a:pt x="1883939" y="2648592"/>
                </a:cubicBezTo>
                <a:cubicBezTo>
                  <a:pt x="1891817" y="2649986"/>
                  <a:pt x="1898305" y="2651101"/>
                  <a:pt x="1902937" y="2652495"/>
                </a:cubicBezTo>
                <a:cubicBezTo>
                  <a:pt x="1902937" y="2673957"/>
                  <a:pt x="1866793" y="2652634"/>
                  <a:pt x="1871427" y="2679531"/>
                </a:cubicBezTo>
                <a:cubicBezTo>
                  <a:pt x="1847330" y="2678138"/>
                  <a:pt x="1863086" y="2663505"/>
                  <a:pt x="1844087" y="2658070"/>
                </a:cubicBezTo>
                <a:cubicBezTo>
                  <a:pt x="1845941" y="2654028"/>
                  <a:pt x="1850574" y="2652773"/>
                  <a:pt x="1857062" y="2650125"/>
                </a:cubicBezTo>
                <a:cubicBezTo>
                  <a:pt x="1876061" y="2604415"/>
                  <a:pt x="1815356" y="2609571"/>
                  <a:pt x="1793113" y="2627131"/>
                </a:cubicBezTo>
                <a:cubicBezTo>
                  <a:pt x="1778750" y="2610964"/>
                  <a:pt x="1743066" y="2622811"/>
                  <a:pt x="1714799" y="2610686"/>
                </a:cubicBezTo>
                <a:cubicBezTo>
                  <a:pt x="1711557" y="2634936"/>
                  <a:pt x="1686070" y="2616121"/>
                  <a:pt x="1650852" y="2621418"/>
                </a:cubicBezTo>
                <a:cubicBezTo>
                  <a:pt x="1657340" y="2590618"/>
                  <a:pt x="1674948" y="2601349"/>
                  <a:pt x="1692556" y="2590618"/>
                </a:cubicBezTo>
                <a:cubicBezTo>
                  <a:pt x="1692556" y="2594660"/>
                  <a:pt x="1687923" y="2594660"/>
                  <a:pt x="1687923" y="2600095"/>
                </a:cubicBezTo>
                <a:cubicBezTo>
                  <a:pt x="1712019" y="2594660"/>
                  <a:pt x="1708313" y="2591872"/>
                  <a:pt x="1733799" y="2590618"/>
                </a:cubicBezTo>
                <a:cubicBezTo>
                  <a:pt x="1732408" y="2594660"/>
                  <a:pt x="1729165" y="2598980"/>
                  <a:pt x="1729165" y="2605669"/>
                </a:cubicBezTo>
                <a:cubicBezTo>
                  <a:pt x="1743531" y="2610964"/>
                  <a:pt x="1737506" y="2594938"/>
                  <a:pt x="1738897" y="2585462"/>
                </a:cubicBezTo>
                <a:cubicBezTo>
                  <a:pt x="1750017" y="2582813"/>
                  <a:pt x="1748164" y="2594660"/>
                  <a:pt x="1760676" y="2590618"/>
                </a:cubicBezTo>
                <a:cubicBezTo>
                  <a:pt x="1773651" y="2585184"/>
                  <a:pt x="1748164" y="2578634"/>
                  <a:pt x="1760676" y="2569157"/>
                </a:cubicBezTo>
                <a:cubicBezTo>
                  <a:pt x="1771798" y="2567902"/>
                  <a:pt x="1775504" y="2573477"/>
                  <a:pt x="1775504" y="2585462"/>
                </a:cubicBezTo>
                <a:cubicBezTo>
                  <a:pt x="1788015" y="2586855"/>
                  <a:pt x="1778750" y="2565115"/>
                  <a:pt x="1793113" y="2569157"/>
                </a:cubicBezTo>
                <a:cubicBezTo>
                  <a:pt x="1789869" y="2574592"/>
                  <a:pt x="1788480" y="2581141"/>
                  <a:pt x="1789869" y="2590618"/>
                </a:cubicBezTo>
                <a:cubicBezTo>
                  <a:pt x="1799601" y="2591872"/>
                  <a:pt x="1800991" y="2586855"/>
                  <a:pt x="1807479" y="2585462"/>
                </a:cubicBezTo>
                <a:cubicBezTo>
                  <a:pt x="1818600" y="2590897"/>
                  <a:pt x="1792650" y="2598841"/>
                  <a:pt x="1780139" y="2596192"/>
                </a:cubicBezTo>
                <a:cubicBezTo>
                  <a:pt x="1794503" y="2606924"/>
                  <a:pt x="1831112" y="2598980"/>
                  <a:pt x="1831112" y="2574870"/>
                </a:cubicBezTo>
                <a:cubicBezTo>
                  <a:pt x="1835747" y="2576124"/>
                  <a:pt x="1834355" y="2588110"/>
                  <a:pt x="1834355" y="2596192"/>
                </a:cubicBezTo>
                <a:cubicBezTo>
                  <a:pt x="1866331" y="2586855"/>
                  <a:pt x="1861696" y="2567902"/>
                  <a:pt x="1868184" y="2543792"/>
                </a:cubicBezTo>
                <a:cubicBezTo>
                  <a:pt x="1855208" y="2547834"/>
                  <a:pt x="1846867" y="2558426"/>
                  <a:pt x="1838989" y="2569157"/>
                </a:cubicBezTo>
                <a:cubicBezTo>
                  <a:pt x="1818138" y="2569157"/>
                  <a:pt x="1813966" y="2567902"/>
                  <a:pt x="1802382" y="2563861"/>
                </a:cubicBezTo>
                <a:cubicBezTo>
                  <a:pt x="1813966" y="2549088"/>
                  <a:pt x="1823233" y="2569018"/>
                  <a:pt x="1834355" y="2558286"/>
                </a:cubicBezTo>
                <a:cubicBezTo>
                  <a:pt x="1840842" y="2554245"/>
                  <a:pt x="1840842" y="2541006"/>
                  <a:pt x="1848721" y="2538357"/>
                </a:cubicBezTo>
                <a:cubicBezTo>
                  <a:pt x="1840842" y="2543653"/>
                  <a:pt x="1800991" y="2522052"/>
                  <a:pt x="1794503" y="2558286"/>
                </a:cubicBezTo>
                <a:cubicBezTo>
                  <a:pt x="1778750" y="2552990"/>
                  <a:pt x="1783846" y="2558286"/>
                  <a:pt x="1766237" y="2558286"/>
                </a:cubicBezTo>
                <a:cubicBezTo>
                  <a:pt x="1764383" y="2538218"/>
                  <a:pt x="1775041" y="2531808"/>
                  <a:pt x="1760676" y="2522331"/>
                </a:cubicBezTo>
                <a:cubicBezTo>
                  <a:pt x="1748164" y="2524979"/>
                  <a:pt x="1765773" y="2533062"/>
                  <a:pt x="1760676" y="2543792"/>
                </a:cubicBezTo>
                <a:cubicBezTo>
                  <a:pt x="1751408" y="2545047"/>
                  <a:pt x="1743531" y="2542399"/>
                  <a:pt x="1738897" y="2538357"/>
                </a:cubicBezTo>
                <a:cubicBezTo>
                  <a:pt x="1738897" y="2543653"/>
                  <a:pt x="1740286" y="2548113"/>
                  <a:pt x="1743531" y="2548113"/>
                </a:cubicBezTo>
                <a:cubicBezTo>
                  <a:pt x="1727774" y="2566927"/>
                  <a:pt x="1725920" y="2520798"/>
                  <a:pt x="1748164" y="2527488"/>
                </a:cubicBezTo>
                <a:cubicBezTo>
                  <a:pt x="1746774" y="2513969"/>
                  <a:pt x="1729165" y="2507420"/>
                  <a:pt x="1748164" y="2500730"/>
                </a:cubicBezTo>
                <a:cubicBezTo>
                  <a:pt x="1746774" y="2495434"/>
                  <a:pt x="1740286" y="2496968"/>
                  <a:pt x="1733799" y="2495713"/>
                </a:cubicBezTo>
                <a:cubicBezTo>
                  <a:pt x="1735189" y="2482334"/>
                  <a:pt x="1740286" y="2475506"/>
                  <a:pt x="1752798" y="2475506"/>
                </a:cubicBezTo>
                <a:cubicBezTo>
                  <a:pt x="1743066" y="2456692"/>
                  <a:pt x="1729628" y="2471325"/>
                  <a:pt x="1712019" y="2469931"/>
                </a:cubicBezTo>
                <a:cubicBezTo>
                  <a:pt x="1735652" y="2440387"/>
                  <a:pt x="1789869" y="2470210"/>
                  <a:pt x="1821844" y="2464776"/>
                </a:cubicBezTo>
                <a:cubicBezTo>
                  <a:pt x="1826479" y="2463521"/>
                  <a:pt x="1824625" y="2459201"/>
                  <a:pt x="1821844" y="2459201"/>
                </a:cubicBezTo>
                <a:cubicBezTo>
                  <a:pt x="1866331" y="2452512"/>
                  <a:pt x="1895061" y="2451397"/>
                  <a:pt x="1936302" y="2444707"/>
                </a:cubicBezTo>
                <a:cubicBezTo>
                  <a:pt x="1931668" y="2452790"/>
                  <a:pt x="1925645" y="2459201"/>
                  <a:pt x="1922401" y="2469931"/>
                </a:cubicBezTo>
                <a:cubicBezTo>
                  <a:pt x="1912668" y="2472580"/>
                  <a:pt x="1910815" y="2466168"/>
                  <a:pt x="1904791" y="2464776"/>
                </a:cubicBezTo>
                <a:cubicBezTo>
                  <a:pt x="1899694" y="2468816"/>
                  <a:pt x="1899694" y="2476899"/>
                  <a:pt x="1889963" y="2475506"/>
                </a:cubicBezTo>
                <a:cubicBezTo>
                  <a:pt x="1886719" y="2498361"/>
                  <a:pt x="1911279" y="2488884"/>
                  <a:pt x="1927034" y="2491532"/>
                </a:cubicBezTo>
                <a:cubicBezTo>
                  <a:pt x="1925645" y="2498222"/>
                  <a:pt x="1918694" y="2499615"/>
                  <a:pt x="1917303" y="2506444"/>
                </a:cubicBezTo>
                <a:cubicBezTo>
                  <a:pt x="1940936" y="2503657"/>
                  <a:pt x="1939546" y="2500869"/>
                  <a:pt x="1946034" y="2522331"/>
                </a:cubicBezTo>
                <a:cubicBezTo>
                  <a:pt x="1985886" y="2527766"/>
                  <a:pt x="1974764" y="2501984"/>
                  <a:pt x="2009983" y="2507281"/>
                </a:cubicBezTo>
                <a:cubicBezTo>
                  <a:pt x="2016006" y="2520660"/>
                  <a:pt x="2019250" y="2537103"/>
                  <a:pt x="2041492" y="2533062"/>
                </a:cubicBezTo>
                <a:cubicBezTo>
                  <a:pt x="2046126" y="2531668"/>
                  <a:pt x="2045201" y="2522331"/>
                  <a:pt x="2051688" y="2522331"/>
                </a:cubicBezTo>
                <a:cubicBezTo>
                  <a:pt x="2051688" y="2508953"/>
                  <a:pt x="2034078" y="2513969"/>
                  <a:pt x="2027590" y="2507281"/>
                </a:cubicBezTo>
                <a:cubicBezTo>
                  <a:pt x="2043346" y="2496550"/>
                  <a:pt x="2060955" y="2492786"/>
                  <a:pt x="2078564" y="2502263"/>
                </a:cubicBezTo>
                <a:cubicBezTo>
                  <a:pt x="2078564" y="2517036"/>
                  <a:pt x="2065589" y="2509928"/>
                  <a:pt x="2055858" y="2507281"/>
                </a:cubicBezTo>
                <a:cubicBezTo>
                  <a:pt x="2057712" y="2511321"/>
                  <a:pt x="2060955" y="2515641"/>
                  <a:pt x="2060955" y="2522331"/>
                </a:cubicBezTo>
                <a:cubicBezTo>
                  <a:pt x="2076711" y="2521076"/>
                  <a:pt x="2087832" y="2521076"/>
                  <a:pt x="2092467" y="2517036"/>
                </a:cubicBezTo>
                <a:cubicBezTo>
                  <a:pt x="2100343" y="2535849"/>
                  <a:pt x="2072077" y="2524839"/>
                  <a:pt x="2078564" y="2549088"/>
                </a:cubicBezTo>
                <a:cubicBezTo>
                  <a:pt x="2062808" y="2530274"/>
                  <a:pt x="1997006" y="2580166"/>
                  <a:pt x="2004885" y="2554663"/>
                </a:cubicBezTo>
                <a:cubicBezTo>
                  <a:pt x="1995617" y="2539891"/>
                  <a:pt x="1983104" y="2566509"/>
                  <a:pt x="1973374" y="2569157"/>
                </a:cubicBezTo>
                <a:cubicBezTo>
                  <a:pt x="1973374" y="2581281"/>
                  <a:pt x="1992372" y="2572083"/>
                  <a:pt x="2000250" y="2574870"/>
                </a:cubicBezTo>
                <a:cubicBezTo>
                  <a:pt x="1987739" y="2590897"/>
                  <a:pt x="1971520" y="2583929"/>
                  <a:pt x="1963643" y="2569157"/>
                </a:cubicBezTo>
                <a:cubicBezTo>
                  <a:pt x="1955764" y="2570550"/>
                  <a:pt x="1960399" y="2586855"/>
                  <a:pt x="1949277" y="2585462"/>
                </a:cubicBezTo>
                <a:cubicBezTo>
                  <a:pt x="1962252" y="2590897"/>
                  <a:pt x="1971520" y="2599119"/>
                  <a:pt x="1982642" y="2607063"/>
                </a:cubicBezTo>
                <a:cubicBezTo>
                  <a:pt x="1978008" y="2611105"/>
                  <a:pt x="1973374" y="2615145"/>
                  <a:pt x="1968740" y="2617794"/>
                </a:cubicBezTo>
                <a:cubicBezTo>
                  <a:pt x="1971984" y="2623229"/>
                  <a:pt x="1978008" y="2622950"/>
                  <a:pt x="1978008" y="2632287"/>
                </a:cubicBezTo>
                <a:cubicBezTo>
                  <a:pt x="1990982" y="2633681"/>
                  <a:pt x="1992372" y="2613613"/>
                  <a:pt x="2004885" y="2627131"/>
                </a:cubicBezTo>
                <a:cubicBezTo>
                  <a:pt x="2002104" y="2615006"/>
                  <a:pt x="2008129" y="2597308"/>
                  <a:pt x="2004885" y="2590618"/>
                </a:cubicBezTo>
                <a:cubicBezTo>
                  <a:pt x="2022493" y="2582535"/>
                  <a:pt x="2004885" y="2615145"/>
                  <a:pt x="2022493" y="2607063"/>
                </a:cubicBezTo>
                <a:cubicBezTo>
                  <a:pt x="2021103" y="2615145"/>
                  <a:pt x="2016006" y="2620302"/>
                  <a:pt x="2014615" y="2627131"/>
                </a:cubicBezTo>
                <a:cubicBezTo>
                  <a:pt x="2028982" y="2641764"/>
                  <a:pt x="2038714" y="2633821"/>
                  <a:pt x="2055858" y="2628524"/>
                </a:cubicBezTo>
                <a:cubicBezTo>
                  <a:pt x="2054468" y="2604415"/>
                  <a:pt x="2040567" y="2596192"/>
                  <a:pt x="2027590" y="2585462"/>
                </a:cubicBezTo>
                <a:cubicBezTo>
                  <a:pt x="2034542" y="2581281"/>
                  <a:pt x="2038248" y="2576961"/>
                  <a:pt x="2038714" y="2572780"/>
                </a:cubicBezTo>
                <a:cubicBezTo>
                  <a:pt x="2035468" y="2571665"/>
                  <a:pt x="2030835" y="2570828"/>
                  <a:pt x="2029907" y="2568321"/>
                </a:cubicBezTo>
                <a:cubicBezTo>
                  <a:pt x="2033151" y="2552712"/>
                  <a:pt x="2039175" y="2563164"/>
                  <a:pt x="2046126" y="2565952"/>
                </a:cubicBezTo>
                <a:cubicBezTo>
                  <a:pt x="2047055" y="2565952"/>
                  <a:pt x="2047517" y="2565533"/>
                  <a:pt x="2048444" y="2565952"/>
                </a:cubicBezTo>
                <a:cubicBezTo>
                  <a:pt x="2050760" y="2565952"/>
                  <a:pt x="2052614" y="2565811"/>
                  <a:pt x="2054931" y="2563582"/>
                </a:cubicBezTo>
                <a:cubicBezTo>
                  <a:pt x="2054468" y="2564697"/>
                  <a:pt x="2053541" y="2564976"/>
                  <a:pt x="2053541" y="2565952"/>
                </a:cubicBezTo>
                <a:cubicBezTo>
                  <a:pt x="2060029" y="2569714"/>
                  <a:pt x="2065589" y="2576822"/>
                  <a:pt x="2064199" y="2585462"/>
                </a:cubicBezTo>
                <a:cubicBezTo>
                  <a:pt x="2075321" y="2585462"/>
                  <a:pt x="2078100" y="2577240"/>
                  <a:pt x="2092467" y="2579888"/>
                </a:cubicBezTo>
                <a:cubicBezTo>
                  <a:pt x="2092467" y="2585184"/>
                  <a:pt x="2086443" y="2584208"/>
                  <a:pt x="2083199" y="2585462"/>
                </a:cubicBezTo>
                <a:cubicBezTo>
                  <a:pt x="2088296" y="2601628"/>
                  <a:pt x="2098954" y="2580166"/>
                  <a:pt x="2110539" y="2585462"/>
                </a:cubicBezTo>
                <a:cubicBezTo>
                  <a:pt x="2107296" y="2578773"/>
                  <a:pt x="2106831" y="2565115"/>
                  <a:pt x="2092467" y="2570411"/>
                </a:cubicBezTo>
                <a:cubicBezTo>
                  <a:pt x="2105209" y="2555011"/>
                  <a:pt x="2124093" y="2554733"/>
                  <a:pt x="2142339" y="2559158"/>
                </a:cubicBezTo>
                <a:lnTo>
                  <a:pt x="2162663" y="2566074"/>
                </a:lnTo>
                <a:lnTo>
                  <a:pt x="2151160" y="2560358"/>
                </a:lnTo>
                <a:cubicBezTo>
                  <a:pt x="2177111" y="2550741"/>
                  <a:pt x="2172477" y="2581263"/>
                  <a:pt x="2200281" y="2555201"/>
                </a:cubicBezTo>
                <a:cubicBezTo>
                  <a:pt x="2192403" y="2546840"/>
                  <a:pt x="2187768" y="2533879"/>
                  <a:pt x="2173867" y="2537920"/>
                </a:cubicBezTo>
                <a:cubicBezTo>
                  <a:pt x="2196111" y="2546700"/>
                  <a:pt x="2176648" y="2547816"/>
                  <a:pt x="2159039" y="2549209"/>
                </a:cubicBezTo>
                <a:cubicBezTo>
                  <a:pt x="2164136" y="2544331"/>
                  <a:pt x="2165063" y="2534158"/>
                  <a:pt x="2167380" y="2523427"/>
                </a:cubicBezTo>
                <a:cubicBezTo>
                  <a:pt x="2201207" y="2523845"/>
                  <a:pt x="2270253" y="2518410"/>
                  <a:pt x="2295739" y="2484962"/>
                </a:cubicBezTo>
                <a:cubicBezTo>
                  <a:pt x="2279985" y="2484823"/>
                  <a:pt x="2256352" y="2483152"/>
                  <a:pt x="2246156" y="2485520"/>
                </a:cubicBezTo>
                <a:cubicBezTo>
                  <a:pt x="2247084" y="2495973"/>
                  <a:pt x="2250791" y="2500153"/>
                  <a:pt x="2259595" y="2499456"/>
                </a:cubicBezTo>
                <a:cubicBezTo>
                  <a:pt x="2262376" y="2509769"/>
                  <a:pt x="2245693" y="2502244"/>
                  <a:pt x="2240596" y="2505729"/>
                </a:cubicBezTo>
                <a:cubicBezTo>
                  <a:pt x="2251717" y="2489842"/>
                  <a:pt x="2230864" y="2492906"/>
                  <a:pt x="2229938" y="2478134"/>
                </a:cubicBezTo>
                <a:lnTo>
                  <a:pt x="2254034" y="2474790"/>
                </a:lnTo>
                <a:lnTo>
                  <a:pt x="2246463" y="2464434"/>
                </a:lnTo>
                <a:lnTo>
                  <a:pt x="2234728" y="2465194"/>
                </a:lnTo>
                <a:cubicBezTo>
                  <a:pt x="2228704" y="2476620"/>
                  <a:pt x="2215265" y="2467841"/>
                  <a:pt x="2207851" y="2464776"/>
                </a:cubicBezTo>
                <a:lnTo>
                  <a:pt x="2208344" y="2463975"/>
                </a:lnTo>
                <a:lnTo>
                  <a:pt x="2197964" y="2461272"/>
                </a:lnTo>
                <a:lnTo>
                  <a:pt x="2199289" y="2457640"/>
                </a:lnTo>
                <a:lnTo>
                  <a:pt x="2194877" y="2456273"/>
                </a:lnTo>
                <a:cubicBezTo>
                  <a:pt x="2181900" y="2466308"/>
                  <a:pt x="2166610" y="2459897"/>
                  <a:pt x="2165219" y="2439133"/>
                </a:cubicBezTo>
                <a:cubicBezTo>
                  <a:pt x="2177730" y="2420179"/>
                  <a:pt x="2213412" y="2420598"/>
                  <a:pt x="2224070" y="2398857"/>
                </a:cubicBezTo>
                <a:cubicBezTo>
                  <a:pt x="2219436" y="2384224"/>
                  <a:pt x="2214802" y="2370984"/>
                  <a:pt x="2200900" y="2370705"/>
                </a:cubicBezTo>
                <a:cubicBezTo>
                  <a:pt x="2191633" y="2390774"/>
                  <a:pt x="2166610" y="2366107"/>
                  <a:pt x="2172634" y="2398439"/>
                </a:cubicBezTo>
                <a:cubicBezTo>
                  <a:pt x="2168463" y="2415162"/>
                  <a:pt x="2165681" y="2374887"/>
                  <a:pt x="2170780" y="2374469"/>
                </a:cubicBezTo>
                <a:cubicBezTo>
                  <a:pt x="2130463" y="2380600"/>
                  <a:pt x="2106369" y="2345342"/>
                  <a:pt x="2081808" y="2348686"/>
                </a:cubicBezTo>
                <a:cubicBezTo>
                  <a:pt x="2103125" y="2324577"/>
                  <a:pt x="2136025" y="2362066"/>
                  <a:pt x="2184682" y="2347850"/>
                </a:cubicBezTo>
                <a:cubicBezTo>
                  <a:pt x="2193486" y="2345620"/>
                  <a:pt x="2184682" y="2326946"/>
                  <a:pt x="2185608" y="2317888"/>
                </a:cubicBezTo>
                <a:cubicBezTo>
                  <a:pt x="2182365" y="2297263"/>
                  <a:pt x="2155025" y="2312871"/>
                  <a:pt x="2143439" y="2301861"/>
                </a:cubicBezTo>
                <a:cubicBezTo>
                  <a:pt x="2145293" y="2279284"/>
                  <a:pt x="2174487" y="2307157"/>
                  <a:pt x="2182828" y="2279563"/>
                </a:cubicBezTo>
                <a:cubicBezTo>
                  <a:pt x="2205071" y="2288344"/>
                  <a:pt x="2269482" y="2299492"/>
                  <a:pt x="2264385" y="2256569"/>
                </a:cubicBezTo>
                <a:lnTo>
                  <a:pt x="2276353" y="2255626"/>
                </a:lnTo>
                <a:lnTo>
                  <a:pt x="2273496" y="2245540"/>
                </a:lnTo>
                <a:cubicBezTo>
                  <a:pt x="2287863" y="2240104"/>
                  <a:pt x="2283228" y="2245540"/>
                  <a:pt x="2300837" y="2245540"/>
                </a:cubicBezTo>
                <a:cubicBezTo>
                  <a:pt x="2297594" y="2237458"/>
                  <a:pt x="2288326" y="2235785"/>
                  <a:pt x="2283692" y="2227702"/>
                </a:cubicBezTo>
                <a:cubicBezTo>
                  <a:pt x="2279058" y="2227702"/>
                  <a:pt x="2273961" y="2227702"/>
                  <a:pt x="2269325" y="2227702"/>
                </a:cubicBezTo>
                <a:cubicBezTo>
                  <a:pt x="2256352" y="2232997"/>
                  <a:pt x="2241986" y="2234391"/>
                  <a:pt x="2230864" y="2227702"/>
                </a:cubicBezTo>
                <a:cubicBezTo>
                  <a:pt x="2214645" y="2227702"/>
                  <a:pt x="2200281" y="2229235"/>
                  <a:pt x="2187768" y="2230628"/>
                </a:cubicBezTo>
                <a:cubicBezTo>
                  <a:pt x="2174794" y="2231882"/>
                  <a:pt x="2160429" y="2234530"/>
                  <a:pt x="2144673" y="2239825"/>
                </a:cubicBezTo>
                <a:cubicBezTo>
                  <a:pt x="2151160" y="2230489"/>
                  <a:pt x="2149307" y="2227841"/>
                  <a:pt x="2136795" y="2229095"/>
                </a:cubicBezTo>
                <a:cubicBezTo>
                  <a:pt x="2140039" y="2218364"/>
                  <a:pt x="2160429" y="2214462"/>
                  <a:pt x="2168306" y="2223938"/>
                </a:cubicBezTo>
                <a:cubicBezTo>
                  <a:pt x="2170159" y="2222545"/>
                  <a:pt x="2171550" y="2220037"/>
                  <a:pt x="2172941" y="2217389"/>
                </a:cubicBezTo>
                <a:cubicBezTo>
                  <a:pt x="2171550" y="2210700"/>
                  <a:pt x="2165063" y="2206519"/>
                  <a:pt x="2157185" y="2205125"/>
                </a:cubicBezTo>
                <a:cubicBezTo>
                  <a:pt x="2170159" y="2226726"/>
                  <a:pt x="2133088" y="2210700"/>
                  <a:pt x="2110845" y="2226726"/>
                </a:cubicBezTo>
                <a:cubicBezTo>
                  <a:pt x="2109455" y="2221430"/>
                  <a:pt x="2111310" y="2217249"/>
                  <a:pt x="2112699" y="2214601"/>
                </a:cubicBezTo>
                <a:cubicBezTo>
                  <a:pt x="2112699" y="2214601"/>
                  <a:pt x="2112699" y="2214462"/>
                  <a:pt x="2112699" y="2213208"/>
                </a:cubicBezTo>
                <a:cubicBezTo>
                  <a:pt x="2109455" y="2218504"/>
                  <a:pt x="2102968" y="2219758"/>
                  <a:pt x="2095090" y="2218364"/>
                </a:cubicBezTo>
                <a:cubicBezTo>
                  <a:pt x="2098333" y="2214462"/>
                  <a:pt x="2101578" y="2209167"/>
                  <a:pt x="2101578" y="2205125"/>
                </a:cubicBezTo>
                <a:cubicBezTo>
                  <a:pt x="2087213" y="2203871"/>
                  <a:pt x="2072847" y="2203871"/>
                  <a:pt x="2058482" y="2203871"/>
                </a:cubicBezTo>
                <a:cubicBezTo>
                  <a:pt x="2053847" y="2205264"/>
                  <a:pt x="2048752" y="2206379"/>
                  <a:pt x="2044117" y="2209027"/>
                </a:cubicBezTo>
                <a:cubicBezTo>
                  <a:pt x="2045506" y="2206379"/>
                  <a:pt x="2045506" y="2205264"/>
                  <a:pt x="2047360" y="2203871"/>
                </a:cubicBezTo>
                <a:cubicBezTo>
                  <a:pt x="2042263" y="2203871"/>
                  <a:pt x="2039484" y="2203871"/>
                  <a:pt x="2034849" y="2205125"/>
                </a:cubicBezTo>
                <a:cubicBezTo>
                  <a:pt x="2034849" y="2206519"/>
                  <a:pt x="2034849" y="2207634"/>
                  <a:pt x="2034849" y="2209027"/>
                </a:cubicBezTo>
                <a:cubicBezTo>
                  <a:pt x="2032996" y="2207634"/>
                  <a:pt x="2031606" y="2206519"/>
                  <a:pt x="2030214" y="2205125"/>
                </a:cubicBezTo>
                <a:cubicBezTo>
                  <a:pt x="2023728" y="2205125"/>
                  <a:pt x="2017240" y="2205264"/>
                  <a:pt x="2010752" y="2206658"/>
                </a:cubicBezTo>
                <a:cubicBezTo>
                  <a:pt x="2032996" y="2221430"/>
                  <a:pt x="2072847" y="2224079"/>
                  <a:pt x="2058482" y="2267002"/>
                </a:cubicBezTo>
                <a:cubicBezTo>
                  <a:pt x="2044117" y="2265747"/>
                  <a:pt x="2039484" y="2257526"/>
                  <a:pt x="2034849" y="2245540"/>
                </a:cubicBezTo>
                <a:cubicBezTo>
                  <a:pt x="2009362" y="2260173"/>
                  <a:pt x="1980168" y="2225332"/>
                  <a:pt x="1961170" y="2256131"/>
                </a:cubicBezTo>
                <a:cubicBezTo>
                  <a:pt x="1956535" y="2236063"/>
                  <a:pt x="1924562" y="2245261"/>
                  <a:pt x="1924562" y="2218364"/>
                </a:cubicBezTo>
                <a:cubicBezTo>
                  <a:pt x="1916684" y="2218364"/>
                  <a:pt x="1913439" y="2222406"/>
                  <a:pt x="1911586" y="2229095"/>
                </a:cubicBezTo>
                <a:cubicBezTo>
                  <a:pt x="1914830" y="2237178"/>
                  <a:pt x="1922708" y="2241220"/>
                  <a:pt x="1933830" y="2239825"/>
                </a:cubicBezTo>
                <a:cubicBezTo>
                  <a:pt x="1918074" y="2266724"/>
                  <a:pt x="1881466" y="2225193"/>
                  <a:pt x="1879612" y="2261427"/>
                </a:cubicBezTo>
                <a:cubicBezTo>
                  <a:pt x="1857369" y="2254738"/>
                  <a:pt x="1811030" y="2234530"/>
                  <a:pt x="1814273" y="2261427"/>
                </a:cubicBezTo>
                <a:cubicBezTo>
                  <a:pt x="1808713" y="2259477"/>
                  <a:pt x="1804542" y="2253622"/>
                  <a:pt x="1802225" y="2247351"/>
                </a:cubicBezTo>
                <a:cubicBezTo>
                  <a:pt x="1800835" y="2252369"/>
                  <a:pt x="1798982" y="2256410"/>
                  <a:pt x="1792957" y="2255853"/>
                </a:cubicBezTo>
                <a:cubicBezTo>
                  <a:pt x="1798982" y="2233695"/>
                  <a:pt x="1775348" y="2245679"/>
                  <a:pt x="1778591" y="2226169"/>
                </a:cubicBezTo>
                <a:cubicBezTo>
                  <a:pt x="1786470" y="2227562"/>
                  <a:pt x="1786470" y="2220733"/>
                  <a:pt x="1788323" y="2215577"/>
                </a:cubicBezTo>
                <a:cubicBezTo>
                  <a:pt x="1795274" y="2216691"/>
                  <a:pt x="1790641" y="2233695"/>
                  <a:pt x="1801762" y="2230907"/>
                </a:cubicBezTo>
                <a:cubicBezTo>
                  <a:pt x="1801762" y="2230489"/>
                  <a:pt x="1801299" y="2229512"/>
                  <a:pt x="1801762" y="2229095"/>
                </a:cubicBezTo>
                <a:cubicBezTo>
                  <a:pt x="1830493" y="2230489"/>
                  <a:pt x="1878685" y="2253345"/>
                  <a:pt x="1878685" y="2223938"/>
                </a:cubicBezTo>
                <a:cubicBezTo>
                  <a:pt x="1857832" y="2239966"/>
                  <a:pt x="1849491" y="2215716"/>
                  <a:pt x="1836516" y="2200944"/>
                </a:cubicBezTo>
                <a:cubicBezTo>
                  <a:pt x="1833735" y="2200944"/>
                  <a:pt x="1830493" y="2200944"/>
                  <a:pt x="1827711" y="2200944"/>
                </a:cubicBezTo>
                <a:cubicBezTo>
                  <a:pt x="1829101" y="2199690"/>
                  <a:pt x="1830493" y="2198575"/>
                  <a:pt x="1831882" y="2197182"/>
                </a:cubicBezTo>
                <a:cubicBezTo>
                  <a:pt x="1830493" y="2194533"/>
                  <a:pt x="1827247" y="2193001"/>
                  <a:pt x="1824005" y="2193001"/>
                </a:cubicBezTo>
                <a:cubicBezTo>
                  <a:pt x="1838370" y="2172932"/>
                  <a:pt x="1854589" y="2171260"/>
                  <a:pt x="1871734" y="2176695"/>
                </a:cubicBezTo>
                <a:cubicBezTo>
                  <a:pt x="1878222" y="2175301"/>
                  <a:pt x="1886099" y="2175859"/>
                  <a:pt x="1895831" y="2175859"/>
                </a:cubicBezTo>
                <a:cubicBezTo>
                  <a:pt x="1892587" y="2178507"/>
                  <a:pt x="1892587" y="2181015"/>
                  <a:pt x="1892587" y="2182270"/>
                </a:cubicBezTo>
                <a:cubicBezTo>
                  <a:pt x="1898611" y="2185057"/>
                  <a:pt x="1905562" y="2187566"/>
                  <a:pt x="1913439" y="2188820"/>
                </a:cubicBezTo>
                <a:cubicBezTo>
                  <a:pt x="1945415" y="2187566"/>
                  <a:pt x="1964413" y="2201083"/>
                  <a:pt x="2005656" y="2190352"/>
                </a:cubicBezTo>
                <a:cubicBezTo>
                  <a:pt x="2005656" y="2190352"/>
                  <a:pt x="2005656" y="2190213"/>
                  <a:pt x="2004265" y="2188820"/>
                </a:cubicBezTo>
                <a:cubicBezTo>
                  <a:pt x="2004265" y="2188820"/>
                  <a:pt x="2004729" y="2187427"/>
                  <a:pt x="2002874" y="2187427"/>
                </a:cubicBezTo>
                <a:cubicBezTo>
                  <a:pt x="2000558" y="2185754"/>
                  <a:pt x="1995924" y="2186311"/>
                  <a:pt x="1991753" y="2185057"/>
                </a:cubicBezTo>
                <a:cubicBezTo>
                  <a:pt x="1991753" y="2171678"/>
                  <a:pt x="2007508" y="2174326"/>
                  <a:pt x="2018629" y="2174326"/>
                </a:cubicBezTo>
                <a:cubicBezTo>
                  <a:pt x="2020483" y="2181015"/>
                  <a:pt x="2017240" y="2184778"/>
                  <a:pt x="2015387" y="2187427"/>
                </a:cubicBezTo>
                <a:cubicBezTo>
                  <a:pt x="2021874" y="2184778"/>
                  <a:pt x="2030214" y="2182409"/>
                  <a:pt x="2038092" y="2183803"/>
                </a:cubicBezTo>
                <a:cubicBezTo>
                  <a:pt x="2044581" y="2181154"/>
                  <a:pt x="2050604" y="2179761"/>
                  <a:pt x="2055238" y="2174326"/>
                </a:cubicBezTo>
                <a:cubicBezTo>
                  <a:pt x="2059872" y="2176973"/>
                  <a:pt x="2064969" y="2178088"/>
                  <a:pt x="2070993" y="2179482"/>
                </a:cubicBezTo>
                <a:cubicBezTo>
                  <a:pt x="2072847" y="2179482"/>
                  <a:pt x="2076091" y="2179622"/>
                  <a:pt x="2081188" y="2182270"/>
                </a:cubicBezTo>
                <a:cubicBezTo>
                  <a:pt x="2089066" y="2183664"/>
                  <a:pt x="2095090" y="2185057"/>
                  <a:pt x="2102968" y="2185057"/>
                </a:cubicBezTo>
                <a:cubicBezTo>
                  <a:pt x="2106211" y="2183664"/>
                  <a:pt x="2108066" y="2180737"/>
                  <a:pt x="2108066" y="2176695"/>
                </a:cubicBezTo>
                <a:cubicBezTo>
                  <a:pt x="2111310" y="2178088"/>
                  <a:pt x="2112699" y="2182409"/>
                  <a:pt x="2114089" y="2185057"/>
                </a:cubicBezTo>
                <a:cubicBezTo>
                  <a:pt x="2121966" y="2185057"/>
                  <a:pt x="2128918" y="2183664"/>
                  <a:pt x="2136795" y="2182270"/>
                </a:cubicBezTo>
                <a:cubicBezTo>
                  <a:pt x="2134942" y="2178229"/>
                  <a:pt x="2132162" y="2175301"/>
                  <a:pt x="2127064" y="2176695"/>
                </a:cubicBezTo>
                <a:cubicBezTo>
                  <a:pt x="2135405" y="2172236"/>
                  <a:pt x="2141893" y="2173490"/>
                  <a:pt x="2148843" y="2172514"/>
                </a:cubicBezTo>
                <a:cubicBezTo>
                  <a:pt x="2145136" y="2174744"/>
                  <a:pt x="2146063" y="2182270"/>
                  <a:pt x="2140039" y="2182270"/>
                </a:cubicBezTo>
                <a:cubicBezTo>
                  <a:pt x="2147918" y="2181015"/>
                  <a:pt x="2156257" y="2179482"/>
                  <a:pt x="2162282" y="2178088"/>
                </a:cubicBezTo>
                <a:cubicBezTo>
                  <a:pt x="2159502" y="2176834"/>
                  <a:pt x="2154868" y="2174465"/>
                  <a:pt x="2150235" y="2171957"/>
                </a:cubicBezTo>
                <a:cubicBezTo>
                  <a:pt x="2167842" y="2169867"/>
                  <a:pt x="2184526" y="2171957"/>
                  <a:pt x="2210011" y="2166383"/>
                </a:cubicBezTo>
                <a:cubicBezTo>
                  <a:pt x="2208621" y="2167636"/>
                  <a:pt x="2206768" y="2168751"/>
                  <a:pt x="2206768" y="2168751"/>
                </a:cubicBezTo>
                <a:cubicBezTo>
                  <a:pt x="2211866" y="2168751"/>
                  <a:pt x="2216498" y="2168751"/>
                  <a:pt x="2221596" y="2168751"/>
                </a:cubicBezTo>
                <a:cubicBezTo>
                  <a:pt x="2221596" y="2171399"/>
                  <a:pt x="2222523" y="2172932"/>
                  <a:pt x="2224377" y="2174326"/>
                </a:cubicBezTo>
                <a:cubicBezTo>
                  <a:pt x="2230401" y="2175720"/>
                  <a:pt x="2235962" y="2180737"/>
                  <a:pt x="2232718" y="2176695"/>
                </a:cubicBezTo>
                <a:cubicBezTo>
                  <a:pt x="2235962" y="2167358"/>
                  <a:pt x="2245230" y="2174326"/>
                  <a:pt x="2249864" y="2183803"/>
                </a:cubicBezTo>
                <a:cubicBezTo>
                  <a:pt x="2254497" y="2182409"/>
                  <a:pt x="2261449" y="2181154"/>
                  <a:pt x="2267937" y="2183803"/>
                </a:cubicBezTo>
                <a:cubicBezTo>
                  <a:pt x="2272570" y="2179761"/>
                  <a:pt x="2281375" y="2179761"/>
                  <a:pt x="2278594" y="2166383"/>
                </a:cubicBezTo>
                <a:cubicBezTo>
                  <a:pt x="2284619" y="2169030"/>
                  <a:pt x="2289716" y="2174048"/>
                  <a:pt x="2296202" y="2176695"/>
                </a:cubicBezTo>
                <a:cubicBezTo>
                  <a:pt x="2291570" y="2184778"/>
                  <a:pt x="2278594" y="2170145"/>
                  <a:pt x="2286471" y="2190352"/>
                </a:cubicBezTo>
                <a:cubicBezTo>
                  <a:pt x="2287863" y="2188959"/>
                  <a:pt x="2287863" y="2186451"/>
                  <a:pt x="2289716" y="2183803"/>
                </a:cubicBezTo>
                <a:cubicBezTo>
                  <a:pt x="2299448" y="2187844"/>
                  <a:pt x="2310569" y="2190352"/>
                  <a:pt x="2320299" y="2193001"/>
                </a:cubicBezTo>
                <a:cubicBezTo>
                  <a:pt x="2326323" y="2193001"/>
                  <a:pt x="2332812" y="2191746"/>
                  <a:pt x="2340689" y="2191746"/>
                </a:cubicBezTo>
                <a:cubicBezTo>
                  <a:pt x="2336055" y="2187704"/>
                  <a:pt x="2324933" y="2191746"/>
                  <a:pt x="2323544" y="2182270"/>
                </a:cubicBezTo>
                <a:cubicBezTo>
                  <a:pt x="2315666" y="2179622"/>
                  <a:pt x="2337445" y="2179622"/>
                  <a:pt x="2347177" y="2171678"/>
                </a:cubicBezTo>
                <a:cubicBezTo>
                  <a:pt x="2339299" y="2182409"/>
                  <a:pt x="2349030" y="2182409"/>
                  <a:pt x="2342542" y="2191746"/>
                </a:cubicBezTo>
                <a:cubicBezTo>
                  <a:pt x="2350420" y="2191746"/>
                  <a:pt x="2356445" y="2191746"/>
                  <a:pt x="2364786" y="2193001"/>
                </a:cubicBezTo>
                <a:cubicBezTo>
                  <a:pt x="2366176" y="2179622"/>
                  <a:pt x="2358298" y="2176973"/>
                  <a:pt x="2351810" y="2171678"/>
                </a:cubicBezTo>
                <a:cubicBezTo>
                  <a:pt x="2390273" y="2155512"/>
                  <a:pt x="2412515" y="2182270"/>
                  <a:pt x="2457001" y="2182270"/>
                </a:cubicBezTo>
                <a:cubicBezTo>
                  <a:pt x="2450977" y="2172932"/>
                  <a:pt x="2433368" y="2178367"/>
                  <a:pt x="2425491" y="2171678"/>
                </a:cubicBezTo>
                <a:cubicBezTo>
                  <a:pt x="2426880" y="2167636"/>
                  <a:pt x="2430124" y="2164850"/>
                  <a:pt x="2433368" y="2162201"/>
                </a:cubicBezTo>
                <a:cubicBezTo>
                  <a:pt x="2430124" y="2162201"/>
                  <a:pt x="2428270" y="2162201"/>
                  <a:pt x="2426880" y="2162201"/>
                </a:cubicBezTo>
                <a:cubicBezTo>
                  <a:pt x="2428270" y="2155512"/>
                  <a:pt x="2433368" y="2151471"/>
                  <a:pt x="2441245" y="2151471"/>
                </a:cubicBezTo>
                <a:cubicBezTo>
                  <a:pt x="2446343" y="2151471"/>
                  <a:pt x="2444490" y="2141716"/>
                  <a:pt x="2444490" y="2136420"/>
                </a:cubicBezTo>
                <a:cubicBezTo>
                  <a:pt x="2450977" y="2136420"/>
                  <a:pt x="2452367" y="2137952"/>
                  <a:pt x="2452367" y="2140601"/>
                </a:cubicBezTo>
                <a:cubicBezTo>
                  <a:pt x="2457001" y="2139208"/>
                  <a:pt x="2463952" y="2139208"/>
                  <a:pt x="2466732" y="2140601"/>
                </a:cubicBezTo>
                <a:cubicBezTo>
                  <a:pt x="2452367" y="2125829"/>
                  <a:pt x="2447733" y="2132657"/>
                  <a:pt x="2438002" y="2119139"/>
                </a:cubicBezTo>
                <a:cubicBezTo>
                  <a:pt x="2426880" y="2128616"/>
                  <a:pt x="2447733" y="2134190"/>
                  <a:pt x="2438002" y="2146175"/>
                </a:cubicBezTo>
                <a:cubicBezTo>
                  <a:pt x="2419002" y="2144921"/>
                  <a:pt x="2430124" y="2136559"/>
                  <a:pt x="2430124" y="2119139"/>
                </a:cubicBezTo>
                <a:cubicBezTo>
                  <a:pt x="2422246" y="2117885"/>
                  <a:pt x="2422246" y="2124853"/>
                  <a:pt x="2415759" y="2124853"/>
                </a:cubicBezTo>
                <a:cubicBezTo>
                  <a:pt x="2404638" y="2114122"/>
                  <a:pt x="2441245" y="2112590"/>
                  <a:pt x="2457001" y="2113983"/>
                </a:cubicBezTo>
                <a:cubicBezTo>
                  <a:pt x="2434758" y="2109942"/>
                  <a:pt x="2419002" y="2097677"/>
                  <a:pt x="2393517" y="2099071"/>
                </a:cubicBezTo>
                <a:cubicBezTo>
                  <a:pt x="2393517" y="2107154"/>
                  <a:pt x="2401394" y="2109802"/>
                  <a:pt x="2410661" y="2108408"/>
                </a:cubicBezTo>
                <a:cubicBezTo>
                  <a:pt x="2404638" y="2128616"/>
                  <a:pt x="2366639" y="2087225"/>
                  <a:pt x="2369883" y="2124853"/>
                </a:cubicBezTo>
                <a:cubicBezTo>
                  <a:pt x="2343933" y="2119417"/>
                  <a:pt x="2328177" y="2107154"/>
                  <a:pt x="2310569" y="2119139"/>
                </a:cubicBezTo>
                <a:cubicBezTo>
                  <a:pt x="2312422" y="2115098"/>
                  <a:pt x="2315203" y="2111196"/>
                  <a:pt x="2315203" y="2103252"/>
                </a:cubicBezTo>
                <a:cubicBezTo>
                  <a:pt x="2334665" y="2103252"/>
                  <a:pt x="2343933" y="2112450"/>
                  <a:pt x="2364786" y="2108408"/>
                </a:cubicBezTo>
                <a:cubicBezTo>
                  <a:pt x="2355054" y="2097677"/>
                  <a:pt x="2350884" y="2080396"/>
                  <a:pt x="2337908" y="2072314"/>
                </a:cubicBezTo>
                <a:cubicBezTo>
                  <a:pt x="2358762" y="2050852"/>
                  <a:pt x="2380541" y="2072174"/>
                  <a:pt x="2401394" y="2056008"/>
                </a:cubicBezTo>
                <a:lnTo>
                  <a:pt x="2401394" y="2072314"/>
                </a:lnTo>
                <a:cubicBezTo>
                  <a:pt x="2419002" y="2075100"/>
                  <a:pt x="2415759" y="2056008"/>
                  <a:pt x="2430124" y="2056008"/>
                </a:cubicBezTo>
                <a:cubicBezTo>
                  <a:pt x="2415759" y="2030505"/>
                  <a:pt x="2398150" y="2072314"/>
                  <a:pt x="2398150" y="2041515"/>
                </a:cubicBezTo>
                <a:cubicBezTo>
                  <a:pt x="2388419" y="2061583"/>
                  <a:pt x="2369419" y="2039982"/>
                  <a:pt x="2356445" y="2050712"/>
                </a:cubicBezTo>
                <a:cubicBezTo>
                  <a:pt x="2351810" y="2032038"/>
                  <a:pt x="2371273" y="2041515"/>
                  <a:pt x="2374516" y="2030784"/>
                </a:cubicBezTo>
                <a:cubicBezTo>
                  <a:pt x="2350420" y="2026742"/>
                  <a:pt x="2328177" y="2011970"/>
                  <a:pt x="2305472" y="1993296"/>
                </a:cubicBezTo>
                <a:cubicBezTo>
                  <a:pt x="2321691" y="1987860"/>
                  <a:pt x="2340689" y="1985073"/>
                  <a:pt x="2356445" y="1978384"/>
                </a:cubicBezTo>
                <a:cubicBezTo>
                  <a:pt x="2332812" y="1967653"/>
                  <a:pt x="2296202" y="1974481"/>
                  <a:pt x="2273496" y="1962358"/>
                </a:cubicBezTo>
                <a:cubicBezTo>
                  <a:pt x="2300837" y="1942290"/>
                  <a:pt x="2337445" y="1977130"/>
                  <a:pt x="2351810" y="1951626"/>
                </a:cubicBezTo>
                <a:cubicBezTo>
                  <a:pt x="2374054" y="1959709"/>
                  <a:pt x="2361542" y="1986467"/>
                  <a:pt x="2347177" y="1993296"/>
                </a:cubicBezTo>
                <a:cubicBezTo>
                  <a:pt x="2356907" y="2008069"/>
                  <a:pt x="2359688" y="1970022"/>
                  <a:pt x="2383785" y="1983401"/>
                </a:cubicBezTo>
                <a:cubicBezTo>
                  <a:pt x="2391663" y="1999567"/>
                  <a:pt x="2390273" y="2008904"/>
                  <a:pt x="2415759" y="2014340"/>
                </a:cubicBezTo>
                <a:cubicBezTo>
                  <a:pt x="2414368" y="2025070"/>
                  <a:pt x="2394906" y="2016012"/>
                  <a:pt x="2398150" y="2030784"/>
                </a:cubicBezTo>
                <a:cubicBezTo>
                  <a:pt x="2398150" y="2034825"/>
                  <a:pt x="2401394" y="2036079"/>
                  <a:pt x="2401394" y="2041515"/>
                </a:cubicBezTo>
                <a:cubicBezTo>
                  <a:pt x="2406027" y="2016012"/>
                  <a:pt x="2426880" y="2045417"/>
                  <a:pt x="2430124" y="2009183"/>
                </a:cubicBezTo>
                <a:cubicBezTo>
                  <a:pt x="2443099" y="2013225"/>
                  <a:pt x="2442637" y="1999567"/>
                  <a:pt x="2457001" y="2003608"/>
                </a:cubicBezTo>
                <a:cubicBezTo>
                  <a:pt x="2462098" y="2010298"/>
                  <a:pt x="2469976" y="2014478"/>
                  <a:pt x="2471829" y="2025209"/>
                </a:cubicBezTo>
                <a:cubicBezTo>
                  <a:pt x="2475073" y="2006396"/>
                  <a:pt x="2505193" y="1991763"/>
                  <a:pt x="2498707" y="1978384"/>
                </a:cubicBezTo>
                <a:cubicBezTo>
                  <a:pt x="2511681" y="1962218"/>
                  <a:pt x="2551533" y="1981032"/>
                  <a:pt x="2535316" y="1998452"/>
                </a:cubicBezTo>
                <a:cubicBezTo>
                  <a:pt x="2562655" y="1990509"/>
                  <a:pt x="2562655" y="2013225"/>
                  <a:pt x="2577021" y="2019914"/>
                </a:cubicBezTo>
                <a:cubicBezTo>
                  <a:pt x="2584897" y="2013225"/>
                  <a:pt x="2583044" y="1992878"/>
                  <a:pt x="2589532" y="1983401"/>
                </a:cubicBezTo>
                <a:cubicBezTo>
                  <a:pt x="2594628" y="1984794"/>
                  <a:pt x="2605751" y="2003888"/>
                  <a:pt x="2589532" y="1998452"/>
                </a:cubicBezTo>
                <a:cubicBezTo>
                  <a:pt x="2594628" y="2006535"/>
                  <a:pt x="2605288" y="2006535"/>
                  <a:pt x="2613165" y="2009183"/>
                </a:cubicBezTo>
                <a:cubicBezTo>
                  <a:pt x="2624750" y="1989115"/>
                  <a:pt x="2696575" y="2002215"/>
                  <a:pt x="2723916" y="1994132"/>
                </a:cubicBezTo>
                <a:cubicBezTo>
                  <a:pt x="2720672" y="2000822"/>
                  <a:pt x="2715575" y="2006535"/>
                  <a:pt x="2709550" y="2009183"/>
                </a:cubicBezTo>
                <a:cubicBezTo>
                  <a:pt x="2714184" y="2019914"/>
                  <a:pt x="2726696" y="2021307"/>
                  <a:pt x="2741061" y="2019914"/>
                </a:cubicBezTo>
                <a:cubicBezTo>
                  <a:pt x="2729940" y="2010577"/>
                  <a:pt x="2731330" y="2007928"/>
                  <a:pt x="2750793" y="2009183"/>
                </a:cubicBezTo>
                <a:lnTo>
                  <a:pt x="2735444" y="1996065"/>
                </a:lnTo>
                <a:lnTo>
                  <a:pt x="2726390" y="1997774"/>
                </a:lnTo>
                <a:lnTo>
                  <a:pt x="2739386" y="1982448"/>
                </a:lnTo>
                <a:lnTo>
                  <a:pt x="2735037" y="1971416"/>
                </a:lnTo>
                <a:lnTo>
                  <a:pt x="2717597" y="1963162"/>
                </a:lnTo>
                <a:lnTo>
                  <a:pt x="2717471" y="1963134"/>
                </a:lnTo>
                <a:lnTo>
                  <a:pt x="2696575" y="1962358"/>
                </a:lnTo>
                <a:cubicBezTo>
                  <a:pt x="2722063" y="1981171"/>
                  <a:pt x="2672479" y="1965005"/>
                  <a:pt x="2667846" y="1978384"/>
                </a:cubicBezTo>
                <a:cubicBezTo>
                  <a:pt x="2658114" y="1976991"/>
                  <a:pt x="2675723" y="1963751"/>
                  <a:pt x="2659968" y="1962358"/>
                </a:cubicBezTo>
                <a:cubicBezTo>
                  <a:pt x="2659968" y="1956365"/>
                  <a:pt x="2664717" y="1955633"/>
                  <a:pt x="2670452" y="1956069"/>
                </a:cubicBezTo>
                <a:lnTo>
                  <a:pt x="2673513" y="1956202"/>
                </a:lnTo>
                <a:lnTo>
                  <a:pt x="2673289" y="1952247"/>
                </a:lnTo>
                <a:lnTo>
                  <a:pt x="2647008" y="1943454"/>
                </a:lnTo>
                <a:lnTo>
                  <a:pt x="2635293" y="1941646"/>
                </a:lnTo>
                <a:lnTo>
                  <a:pt x="2635115" y="1941657"/>
                </a:lnTo>
                <a:lnTo>
                  <a:pt x="2634960" y="1941595"/>
                </a:lnTo>
                <a:lnTo>
                  <a:pt x="2608647" y="1937534"/>
                </a:lnTo>
                <a:cubicBezTo>
                  <a:pt x="2583508" y="1935356"/>
                  <a:pt x="2559180" y="1936019"/>
                  <a:pt x="2535316" y="1935321"/>
                </a:cubicBezTo>
                <a:lnTo>
                  <a:pt x="2535316" y="1920828"/>
                </a:lnTo>
                <a:cubicBezTo>
                  <a:pt x="2524193" y="1923475"/>
                  <a:pt x="2511681" y="1924730"/>
                  <a:pt x="2503804" y="1940757"/>
                </a:cubicBezTo>
                <a:cubicBezTo>
                  <a:pt x="2500560" y="1952881"/>
                  <a:pt x="2509827" y="1951626"/>
                  <a:pt x="2516315" y="1951626"/>
                </a:cubicBezTo>
                <a:cubicBezTo>
                  <a:pt x="2511217" y="1959709"/>
                  <a:pt x="2496854" y="1964866"/>
                  <a:pt x="2488975" y="1956783"/>
                </a:cubicBezTo>
                <a:cubicBezTo>
                  <a:pt x="2490829" y="1951347"/>
                  <a:pt x="2498707" y="1952741"/>
                  <a:pt x="2498707" y="1946052"/>
                </a:cubicBezTo>
                <a:cubicBezTo>
                  <a:pt x="2479708" y="1936715"/>
                  <a:pt x="2468586" y="1936994"/>
                  <a:pt x="2447733" y="1920828"/>
                </a:cubicBezTo>
                <a:cubicBezTo>
                  <a:pt x="2447733" y="1939641"/>
                  <a:pt x="2436611" y="1919294"/>
                  <a:pt x="2425491" y="1909958"/>
                </a:cubicBezTo>
                <a:cubicBezTo>
                  <a:pt x="2433368" y="1909958"/>
                  <a:pt x="2450977" y="1884315"/>
                  <a:pt x="2430124" y="1882921"/>
                </a:cubicBezTo>
                <a:cubicBezTo>
                  <a:pt x="2458390" y="1874560"/>
                  <a:pt x="2503341" y="1879297"/>
                  <a:pt x="2535778" y="1870797"/>
                </a:cubicBezTo>
                <a:cubicBezTo>
                  <a:pt x="2531143" y="1867034"/>
                  <a:pt x="2526973" y="1864247"/>
                  <a:pt x="2522802" y="1860485"/>
                </a:cubicBezTo>
                <a:cubicBezTo>
                  <a:pt x="2529290" y="1855049"/>
                  <a:pt x="2537168" y="1854352"/>
                  <a:pt x="2545509" y="1854770"/>
                </a:cubicBezTo>
                <a:cubicBezTo>
                  <a:pt x="2552460" y="1851147"/>
                  <a:pt x="2559411" y="1847523"/>
                  <a:pt x="2554777" y="1830521"/>
                </a:cubicBezTo>
                <a:cubicBezTo>
                  <a:pt x="2573776" y="1833170"/>
                  <a:pt x="2577021" y="1823833"/>
                  <a:pt x="2591386" y="1830521"/>
                </a:cubicBezTo>
                <a:cubicBezTo>
                  <a:pt x="2575630" y="1815749"/>
                  <a:pt x="2552924" y="1822717"/>
                  <a:pt x="2530680" y="1825365"/>
                </a:cubicBezTo>
                <a:cubicBezTo>
                  <a:pt x="2530680" y="1822021"/>
                  <a:pt x="2529783" y="1819660"/>
                  <a:pt x="2528436" y="1817770"/>
                </a:cubicBezTo>
                <a:lnTo>
                  <a:pt x="2525523" y="1814954"/>
                </a:lnTo>
                <a:lnTo>
                  <a:pt x="2510477" y="1825351"/>
                </a:lnTo>
                <a:lnTo>
                  <a:pt x="2535316" y="1830521"/>
                </a:lnTo>
                <a:cubicBezTo>
                  <a:pt x="2522802" y="1889471"/>
                  <a:pt x="2422246" y="1842507"/>
                  <a:pt x="2393517" y="1872050"/>
                </a:cubicBezTo>
                <a:cubicBezTo>
                  <a:pt x="2393517" y="1877347"/>
                  <a:pt x="2398150" y="1877626"/>
                  <a:pt x="2401394" y="1877626"/>
                </a:cubicBezTo>
                <a:cubicBezTo>
                  <a:pt x="2400003" y="1883061"/>
                  <a:pt x="2398614" y="1887242"/>
                  <a:pt x="2393517" y="1888497"/>
                </a:cubicBezTo>
                <a:lnTo>
                  <a:pt x="2383785" y="1888497"/>
                </a:lnTo>
                <a:cubicBezTo>
                  <a:pt x="2383785" y="1879159"/>
                  <a:pt x="2387029" y="1868149"/>
                  <a:pt x="2374516" y="1862713"/>
                </a:cubicBezTo>
                <a:cubicBezTo>
                  <a:pt x="2388882" y="1850729"/>
                  <a:pt x="2406027" y="1846687"/>
                  <a:pt x="2425491" y="1852123"/>
                </a:cubicBezTo>
                <a:cubicBezTo>
                  <a:pt x="2417612" y="1833309"/>
                  <a:pt x="2377297" y="1850868"/>
                  <a:pt x="2347177" y="1836096"/>
                </a:cubicBezTo>
                <a:cubicBezTo>
                  <a:pt x="2347177" y="1822717"/>
                  <a:pt x="2360151" y="1822577"/>
                  <a:pt x="2366639" y="1814495"/>
                </a:cubicBezTo>
                <a:cubicBezTo>
                  <a:pt x="2337908" y="1813101"/>
                  <a:pt x="2310569" y="1813101"/>
                  <a:pt x="2280448" y="1811847"/>
                </a:cubicBezTo>
                <a:cubicBezTo>
                  <a:pt x="2283692" y="1815749"/>
                  <a:pt x="2285081" y="1821044"/>
                  <a:pt x="2288326" y="1819791"/>
                </a:cubicBezTo>
                <a:cubicBezTo>
                  <a:pt x="2281838" y="1838604"/>
                  <a:pt x="2259595" y="1846826"/>
                  <a:pt x="2241986" y="1836096"/>
                </a:cubicBezTo>
                <a:cubicBezTo>
                  <a:pt x="2237352" y="1816028"/>
                  <a:pt x="2292960" y="1835956"/>
                  <a:pt x="2273496" y="1814495"/>
                </a:cubicBezTo>
                <a:cubicBezTo>
                  <a:pt x="2273496" y="1813101"/>
                  <a:pt x="2273961" y="1813101"/>
                  <a:pt x="2275814" y="1811847"/>
                </a:cubicBezTo>
                <a:lnTo>
                  <a:pt x="2114064" y="1809727"/>
                </a:lnTo>
                <a:lnTo>
                  <a:pt x="2114246" y="1811588"/>
                </a:lnTo>
                <a:lnTo>
                  <a:pt x="2103552" y="1809589"/>
                </a:lnTo>
                <a:lnTo>
                  <a:pt x="2095090" y="1809478"/>
                </a:lnTo>
                <a:lnTo>
                  <a:pt x="2097193" y="1808013"/>
                </a:lnTo>
                <a:lnTo>
                  <a:pt x="2099128" y="1800230"/>
                </a:lnTo>
                <a:cubicBezTo>
                  <a:pt x="2100923" y="1798174"/>
                  <a:pt x="2103588" y="1796885"/>
                  <a:pt x="2106369" y="1796676"/>
                </a:cubicBezTo>
                <a:lnTo>
                  <a:pt x="2111036" y="1798806"/>
                </a:lnTo>
                <a:lnTo>
                  <a:pt x="2128650" y="1794052"/>
                </a:lnTo>
                <a:cubicBezTo>
                  <a:pt x="2155338" y="1790220"/>
                  <a:pt x="2187906" y="1796526"/>
                  <a:pt x="2209845" y="1796387"/>
                </a:cubicBezTo>
                <a:lnTo>
                  <a:pt x="2212161" y="1796131"/>
                </a:lnTo>
                <a:lnTo>
                  <a:pt x="2212833" y="1794742"/>
                </a:lnTo>
                <a:cubicBezTo>
                  <a:pt x="2215266" y="1792286"/>
                  <a:pt x="2218278" y="1790753"/>
                  <a:pt x="2221291" y="1789986"/>
                </a:cubicBezTo>
                <a:lnTo>
                  <a:pt x="2228301" y="1792095"/>
                </a:lnTo>
                <a:lnTo>
                  <a:pt x="2232718" y="1789270"/>
                </a:lnTo>
                <a:cubicBezTo>
                  <a:pt x="2232718" y="1777146"/>
                  <a:pt x="2251254" y="1786344"/>
                  <a:pt x="2259132" y="1783696"/>
                </a:cubicBezTo>
                <a:cubicBezTo>
                  <a:pt x="2264229" y="1779655"/>
                  <a:pt x="2267473" y="1774358"/>
                  <a:pt x="2269325" y="1767669"/>
                </a:cubicBezTo>
                <a:cubicBezTo>
                  <a:pt x="2259132" y="1750110"/>
                  <a:pt x="2206768" y="1726001"/>
                  <a:pt x="2176648" y="1730879"/>
                </a:cubicBezTo>
                <a:cubicBezTo>
                  <a:pt x="2178038" y="1731575"/>
                  <a:pt x="2179891" y="1733108"/>
                  <a:pt x="2179891" y="1735059"/>
                </a:cubicBezTo>
                <a:lnTo>
                  <a:pt x="2189159" y="1735059"/>
                </a:lnTo>
                <a:cubicBezTo>
                  <a:pt x="2172941" y="1748438"/>
                  <a:pt x="2193794" y="1741052"/>
                  <a:pt x="2208159" y="1749552"/>
                </a:cubicBezTo>
                <a:cubicBezTo>
                  <a:pt x="2216498" y="1750110"/>
                  <a:pt x="2225767" y="1752200"/>
                  <a:pt x="2237352" y="1752758"/>
                </a:cubicBezTo>
                <a:cubicBezTo>
                  <a:pt x="2237352" y="1760841"/>
                  <a:pt x="2235499" y="1771572"/>
                  <a:pt x="2241986" y="1772965"/>
                </a:cubicBezTo>
                <a:cubicBezTo>
                  <a:pt x="2225767" y="1788992"/>
                  <a:pt x="2191013" y="1747742"/>
                  <a:pt x="2186379" y="1789270"/>
                </a:cubicBezTo>
                <a:cubicBezTo>
                  <a:pt x="2166916" y="1773244"/>
                  <a:pt x="2152551" y="1795681"/>
                  <a:pt x="2121966" y="1783696"/>
                </a:cubicBezTo>
                <a:lnTo>
                  <a:pt x="2121966" y="1765021"/>
                </a:lnTo>
                <a:cubicBezTo>
                  <a:pt x="2117334" y="1764883"/>
                  <a:pt x="2113163" y="1764742"/>
                  <a:pt x="2107139" y="1765858"/>
                </a:cubicBezTo>
                <a:cubicBezTo>
                  <a:pt x="2107139" y="1759447"/>
                  <a:pt x="2105748" y="1756800"/>
                  <a:pt x="2102504" y="1755546"/>
                </a:cubicBezTo>
                <a:cubicBezTo>
                  <a:pt x="2108992" y="1743979"/>
                  <a:pt x="2124284" y="1746905"/>
                  <a:pt x="2139575" y="1747184"/>
                </a:cubicBezTo>
                <a:cubicBezTo>
                  <a:pt x="2136795" y="1736592"/>
                  <a:pt x="2114553" y="1749692"/>
                  <a:pt x="2121966" y="1726140"/>
                </a:cubicBezTo>
                <a:cubicBezTo>
                  <a:pt x="2114089" y="1724746"/>
                  <a:pt x="2112699" y="1732551"/>
                  <a:pt x="2102968" y="1731156"/>
                </a:cubicBezTo>
                <a:cubicBezTo>
                  <a:pt x="2108528" y="1713040"/>
                  <a:pt x="2097870" y="1714713"/>
                  <a:pt x="2086748" y="1715410"/>
                </a:cubicBezTo>
                <a:cubicBezTo>
                  <a:pt x="2090919" y="1719729"/>
                  <a:pt x="2096016" y="1723632"/>
                  <a:pt x="2097870" y="1730321"/>
                </a:cubicBezTo>
                <a:cubicBezTo>
                  <a:pt x="2088140" y="1742585"/>
                  <a:pt x="2058946" y="1732690"/>
                  <a:pt x="2043190" y="1735339"/>
                </a:cubicBezTo>
                <a:cubicBezTo>
                  <a:pt x="2034849" y="1738125"/>
                  <a:pt x="2044581" y="1742445"/>
                  <a:pt x="2043190" y="1751921"/>
                </a:cubicBezTo>
                <a:cubicBezTo>
                  <a:pt x="2034849" y="1754570"/>
                  <a:pt x="2018629" y="1745233"/>
                  <a:pt x="2018629" y="1757497"/>
                </a:cubicBezTo>
                <a:cubicBezTo>
                  <a:pt x="2026972" y="1739797"/>
                  <a:pt x="1996388" y="1726001"/>
                  <a:pt x="1977388" y="1741052"/>
                </a:cubicBezTo>
                <a:cubicBezTo>
                  <a:pt x="1975534" y="1709695"/>
                  <a:pt x="1938463" y="1734363"/>
                  <a:pt x="1937072" y="1714016"/>
                </a:cubicBezTo>
                <a:cubicBezTo>
                  <a:pt x="1927341" y="1724885"/>
                  <a:pt x="1920854" y="1750668"/>
                  <a:pt x="1900001" y="1730321"/>
                </a:cubicBezTo>
                <a:cubicBezTo>
                  <a:pt x="1915756" y="1719451"/>
                  <a:pt x="1924098" y="1728648"/>
                  <a:pt x="1922245" y="1704121"/>
                </a:cubicBezTo>
                <a:cubicBezTo>
                  <a:pt x="1927341" y="1708302"/>
                  <a:pt x="1935219" y="1711089"/>
                  <a:pt x="1944950" y="1708302"/>
                </a:cubicBezTo>
                <a:cubicBezTo>
                  <a:pt x="1949585" y="1697432"/>
                  <a:pt x="1948193" y="1685307"/>
                  <a:pt x="1969047" y="1682520"/>
                </a:cubicBezTo>
                <a:cubicBezTo>
                  <a:pt x="1964413" y="1686701"/>
                  <a:pt x="1965803" y="1697571"/>
                  <a:pt x="1959316" y="1698965"/>
                </a:cubicBezTo>
                <a:cubicBezTo>
                  <a:pt x="1973681" y="1719311"/>
                  <a:pt x="2017240" y="1703006"/>
                  <a:pt x="2038092" y="1698965"/>
                </a:cubicBezTo>
                <a:cubicBezTo>
                  <a:pt x="2053847" y="1715269"/>
                  <a:pt x="2012143" y="1708302"/>
                  <a:pt x="2001020" y="1708302"/>
                </a:cubicBezTo>
                <a:cubicBezTo>
                  <a:pt x="2001020" y="1727394"/>
                  <a:pt x="2057555" y="1727255"/>
                  <a:pt x="2051069" y="1704121"/>
                </a:cubicBezTo>
                <a:cubicBezTo>
                  <a:pt x="2065432" y="1702588"/>
                  <a:pt x="2075628" y="1706350"/>
                  <a:pt x="2083969" y="1712205"/>
                </a:cubicBezTo>
                <a:cubicBezTo>
                  <a:pt x="2094627" y="1691438"/>
                  <a:pt x="2134480" y="1722516"/>
                  <a:pt x="2127064" y="1731156"/>
                </a:cubicBezTo>
                <a:cubicBezTo>
                  <a:pt x="2195647" y="1719172"/>
                  <a:pt x="2240132" y="1698965"/>
                  <a:pt x="2273496" y="1668026"/>
                </a:cubicBezTo>
                <a:cubicBezTo>
                  <a:pt x="2279985" y="1670814"/>
                  <a:pt x="2272107" y="1674995"/>
                  <a:pt x="2273496" y="1684471"/>
                </a:cubicBezTo>
                <a:cubicBezTo>
                  <a:pt x="2305472" y="1673600"/>
                  <a:pt x="2320299" y="1687119"/>
                  <a:pt x="2361542" y="1684471"/>
                </a:cubicBezTo>
                <a:cubicBezTo>
                  <a:pt x="2341153" y="1711229"/>
                  <a:pt x="2276740" y="1689627"/>
                  <a:pt x="2251254" y="1709835"/>
                </a:cubicBezTo>
                <a:cubicBezTo>
                  <a:pt x="2256352" y="1729903"/>
                  <a:pt x="2272107" y="1738403"/>
                  <a:pt x="2288326" y="1747742"/>
                </a:cubicBezTo>
                <a:cubicBezTo>
                  <a:pt x="2281838" y="1755824"/>
                  <a:pt x="2289716" y="1779933"/>
                  <a:pt x="2273496" y="1778539"/>
                </a:cubicBezTo>
                <a:cubicBezTo>
                  <a:pt x="2272802" y="1782581"/>
                  <a:pt x="2274076" y="1784845"/>
                  <a:pt x="2275524" y="1786954"/>
                </a:cubicBezTo>
                <a:lnTo>
                  <a:pt x="2277733" y="1792329"/>
                </a:lnTo>
                <a:lnTo>
                  <a:pt x="2286617" y="1793219"/>
                </a:lnTo>
                <a:lnTo>
                  <a:pt x="2289136" y="1790525"/>
                </a:lnTo>
                <a:cubicBezTo>
                  <a:pt x="2290990" y="1787354"/>
                  <a:pt x="2292264" y="1783696"/>
                  <a:pt x="2296202" y="1783696"/>
                </a:cubicBezTo>
                <a:cubicBezTo>
                  <a:pt x="2294813" y="1778261"/>
                  <a:pt x="2292960" y="1774358"/>
                  <a:pt x="2288326" y="1772965"/>
                </a:cubicBezTo>
                <a:cubicBezTo>
                  <a:pt x="2304081" y="1759586"/>
                  <a:pt x="2323544" y="1767391"/>
                  <a:pt x="2337908" y="1762095"/>
                </a:cubicBezTo>
                <a:cubicBezTo>
                  <a:pt x="2339299" y="1749970"/>
                  <a:pt x="2331421" y="1746069"/>
                  <a:pt x="2324933" y="1742167"/>
                </a:cubicBezTo>
                <a:cubicBezTo>
                  <a:pt x="2313813" y="1740773"/>
                  <a:pt x="2309178" y="1746208"/>
                  <a:pt x="2310569" y="1756939"/>
                </a:cubicBezTo>
                <a:cubicBezTo>
                  <a:pt x="2286935" y="1744953"/>
                  <a:pt x="2296202" y="1728508"/>
                  <a:pt x="2269325" y="1720566"/>
                </a:cubicBezTo>
                <a:cubicBezTo>
                  <a:pt x="2304081" y="1682937"/>
                  <a:pt x="2339299" y="1749970"/>
                  <a:pt x="2369883" y="1720566"/>
                </a:cubicBezTo>
                <a:cubicBezTo>
                  <a:pt x="2368030" y="1716524"/>
                  <a:pt x="2364786" y="1712622"/>
                  <a:pt x="2366639" y="1704539"/>
                </a:cubicBezTo>
                <a:cubicBezTo>
                  <a:pt x="2358298" y="1711229"/>
                  <a:pt x="2347640" y="1721819"/>
                  <a:pt x="2337908" y="1709835"/>
                </a:cubicBezTo>
                <a:cubicBezTo>
                  <a:pt x="2345786" y="1700358"/>
                  <a:pt x="2361542" y="1698965"/>
                  <a:pt x="2379150" y="1698965"/>
                </a:cubicBezTo>
                <a:cubicBezTo>
                  <a:pt x="2369419" y="1686840"/>
                  <a:pt x="2363395" y="1685586"/>
                  <a:pt x="2374516" y="1668026"/>
                </a:cubicBezTo>
                <a:cubicBezTo>
                  <a:pt x="2343933" y="1673461"/>
                  <a:pt x="2285081" y="1681823"/>
                  <a:pt x="2292960" y="1652279"/>
                </a:cubicBezTo>
                <a:cubicBezTo>
                  <a:pt x="2286471" y="1658968"/>
                  <a:pt x="2275814" y="1658689"/>
                  <a:pt x="2264229" y="1657435"/>
                </a:cubicBezTo>
                <a:cubicBezTo>
                  <a:pt x="2262839" y="1681545"/>
                  <a:pt x="2229011" y="1680429"/>
                  <a:pt x="2200281" y="1673740"/>
                </a:cubicBezTo>
                <a:cubicBezTo>
                  <a:pt x="2208159" y="1669699"/>
                  <a:pt x="2219279" y="1660361"/>
                  <a:pt x="2208159" y="1655066"/>
                </a:cubicBezTo>
                <a:cubicBezTo>
                  <a:pt x="2200281" y="1655066"/>
                  <a:pt x="2189159" y="1653673"/>
                  <a:pt x="2181282" y="1655066"/>
                </a:cubicBezTo>
                <a:cubicBezTo>
                  <a:pt x="2179428" y="1633464"/>
                  <a:pt x="2210011" y="1648377"/>
                  <a:pt x="2222523" y="1644335"/>
                </a:cubicBezTo>
                <a:cubicBezTo>
                  <a:pt x="2222523" y="1644335"/>
                  <a:pt x="2222523" y="1644195"/>
                  <a:pt x="2222523" y="1645589"/>
                </a:cubicBezTo>
                <a:cubicBezTo>
                  <a:pt x="2279985" y="1624127"/>
                  <a:pt x="2313813" y="1661615"/>
                  <a:pt x="2361542" y="1663009"/>
                </a:cubicBezTo>
                <a:cubicBezTo>
                  <a:pt x="2381004" y="1656321"/>
                  <a:pt x="2422246" y="1634580"/>
                  <a:pt x="2439855" y="1668026"/>
                </a:cubicBezTo>
                <a:cubicBezTo>
                  <a:pt x="2424100" y="1677503"/>
                  <a:pt x="2415759" y="1663985"/>
                  <a:pt x="2393517" y="1668026"/>
                </a:cubicBezTo>
                <a:cubicBezTo>
                  <a:pt x="2407880" y="1680151"/>
                  <a:pt x="2415759" y="1672068"/>
                  <a:pt x="2430124" y="1678758"/>
                </a:cubicBezTo>
                <a:cubicBezTo>
                  <a:pt x="2425491" y="1702866"/>
                  <a:pt x="2396297" y="1670814"/>
                  <a:pt x="2383785" y="1689627"/>
                </a:cubicBezTo>
                <a:cubicBezTo>
                  <a:pt x="2380541" y="1703145"/>
                  <a:pt x="2393517" y="1700358"/>
                  <a:pt x="2393517" y="1709835"/>
                </a:cubicBezTo>
                <a:cubicBezTo>
                  <a:pt x="2411126" y="1712482"/>
                  <a:pt x="2404638" y="1688513"/>
                  <a:pt x="2425491" y="1695341"/>
                </a:cubicBezTo>
                <a:cubicBezTo>
                  <a:pt x="2420394" y="1702031"/>
                  <a:pt x="2412515" y="1704678"/>
                  <a:pt x="2410661" y="1715410"/>
                </a:cubicBezTo>
                <a:cubicBezTo>
                  <a:pt x="2422246" y="1719451"/>
                  <a:pt x="2431977" y="1723492"/>
                  <a:pt x="2443099" y="1736871"/>
                </a:cubicBezTo>
                <a:cubicBezTo>
                  <a:pt x="2449587" y="1734223"/>
                  <a:pt x="2442637" y="1713876"/>
                  <a:pt x="2457001" y="1709835"/>
                </a:cubicBezTo>
                <a:cubicBezTo>
                  <a:pt x="2468123" y="1703145"/>
                  <a:pt x="2468586" y="1735616"/>
                  <a:pt x="2476464" y="1715410"/>
                </a:cubicBezTo>
                <a:cubicBezTo>
                  <a:pt x="2473220" y="1727533"/>
                  <a:pt x="2486195" y="1736871"/>
                  <a:pt x="2503804" y="1726140"/>
                </a:cubicBezTo>
                <a:cubicBezTo>
                  <a:pt x="2495463" y="1736871"/>
                  <a:pt x="2503804" y="1732969"/>
                  <a:pt x="2503804" y="1747742"/>
                </a:cubicBezTo>
                <a:cubicBezTo>
                  <a:pt x="2486195" y="1749135"/>
                  <a:pt x="2481098" y="1736592"/>
                  <a:pt x="2471829" y="1731156"/>
                </a:cubicBezTo>
                <a:cubicBezTo>
                  <a:pt x="2462098" y="1731156"/>
                  <a:pt x="2476464" y="1748577"/>
                  <a:pt x="2471829" y="1762095"/>
                </a:cubicBezTo>
                <a:lnTo>
                  <a:pt x="2452367" y="1762095"/>
                </a:lnTo>
                <a:cubicBezTo>
                  <a:pt x="2454220" y="1755406"/>
                  <a:pt x="2460244" y="1754431"/>
                  <a:pt x="2462098" y="1747742"/>
                </a:cubicBezTo>
                <a:cubicBezTo>
                  <a:pt x="2415759" y="1746347"/>
                  <a:pt x="2387029" y="1744814"/>
                  <a:pt x="2351810" y="1772965"/>
                </a:cubicBezTo>
                <a:cubicBezTo>
                  <a:pt x="2350420" y="1764883"/>
                  <a:pt x="2355518" y="1763349"/>
                  <a:pt x="2361542" y="1762095"/>
                </a:cubicBezTo>
                <a:cubicBezTo>
                  <a:pt x="2360151" y="1749970"/>
                  <a:pt x="2339299" y="1758193"/>
                  <a:pt x="2347177" y="1772965"/>
                </a:cubicBezTo>
                <a:cubicBezTo>
                  <a:pt x="2345786" y="1786344"/>
                  <a:pt x="2368030" y="1770457"/>
                  <a:pt x="2361542" y="1789270"/>
                </a:cubicBezTo>
                <a:cubicBezTo>
                  <a:pt x="2352274" y="1777146"/>
                  <a:pt x="2345786" y="1788992"/>
                  <a:pt x="2337908" y="1794426"/>
                </a:cubicBezTo>
                <a:cubicBezTo>
                  <a:pt x="2344396" y="1810454"/>
                  <a:pt x="2353664" y="1788992"/>
                  <a:pt x="2366639" y="1794426"/>
                </a:cubicBezTo>
                <a:cubicBezTo>
                  <a:pt x="2363395" y="1786344"/>
                  <a:pt x="2383785" y="1770178"/>
                  <a:pt x="2398150" y="1783696"/>
                </a:cubicBezTo>
                <a:cubicBezTo>
                  <a:pt x="2396759" y="1795681"/>
                  <a:pt x="2385639" y="1794426"/>
                  <a:pt x="2374516" y="1794426"/>
                </a:cubicBezTo>
                <a:lnTo>
                  <a:pt x="2375109" y="1795342"/>
                </a:lnTo>
                <a:lnTo>
                  <a:pt x="2413763" y="1794531"/>
                </a:lnTo>
                <a:lnTo>
                  <a:pt x="2414963" y="1792578"/>
                </a:lnTo>
                <a:cubicBezTo>
                  <a:pt x="2414050" y="1784706"/>
                  <a:pt x="2401278" y="1774776"/>
                  <a:pt x="2410661" y="1767669"/>
                </a:cubicBezTo>
                <a:cubicBezTo>
                  <a:pt x="2401394" y="1766415"/>
                  <a:pt x="2400003" y="1771572"/>
                  <a:pt x="2393517" y="1772965"/>
                </a:cubicBezTo>
                <a:cubicBezTo>
                  <a:pt x="2387492" y="1767669"/>
                  <a:pt x="2403711" y="1761955"/>
                  <a:pt x="2415759" y="1756939"/>
                </a:cubicBezTo>
                <a:cubicBezTo>
                  <a:pt x="2428733" y="1765021"/>
                  <a:pt x="2422246" y="1770178"/>
                  <a:pt x="2415759" y="1783696"/>
                </a:cubicBezTo>
                <a:cubicBezTo>
                  <a:pt x="2462098" y="1766276"/>
                  <a:pt x="2463488" y="1784951"/>
                  <a:pt x="2518170" y="1762095"/>
                </a:cubicBezTo>
                <a:cubicBezTo>
                  <a:pt x="2505193" y="1814355"/>
                  <a:pt x="2540411" y="1814634"/>
                  <a:pt x="2591386" y="1805297"/>
                </a:cubicBezTo>
                <a:cubicBezTo>
                  <a:pt x="2602507" y="1803904"/>
                  <a:pt x="2584897" y="1795681"/>
                  <a:pt x="2591386" y="1783696"/>
                </a:cubicBezTo>
                <a:cubicBezTo>
                  <a:pt x="2604361" y="1791779"/>
                  <a:pt x="2618726" y="1797214"/>
                  <a:pt x="2623359" y="1816028"/>
                </a:cubicBezTo>
                <a:cubicBezTo>
                  <a:pt x="2613628" y="1825365"/>
                  <a:pt x="2610384" y="1816028"/>
                  <a:pt x="2599262" y="1816028"/>
                </a:cubicBezTo>
                <a:cubicBezTo>
                  <a:pt x="2605751" y="1840137"/>
                  <a:pt x="2605288" y="1849475"/>
                  <a:pt x="2640505" y="1846826"/>
                </a:cubicBezTo>
                <a:cubicBezTo>
                  <a:pt x="2645602" y="1842786"/>
                  <a:pt x="2637724" y="1822717"/>
                  <a:pt x="2650236" y="1816028"/>
                </a:cubicBezTo>
                <a:cubicBezTo>
                  <a:pt x="2652090" y="1801255"/>
                  <a:pt x="2624750" y="1819791"/>
                  <a:pt x="2631237" y="1799583"/>
                </a:cubicBezTo>
                <a:cubicBezTo>
                  <a:pt x="2648846" y="1795542"/>
                  <a:pt x="2653480" y="1806551"/>
                  <a:pt x="2667846" y="1805297"/>
                </a:cubicBezTo>
                <a:cubicBezTo>
                  <a:pt x="2665992" y="1814495"/>
                  <a:pt x="2667382" y="1816864"/>
                  <a:pt x="2667846" y="1819791"/>
                </a:cubicBezTo>
                <a:cubicBezTo>
                  <a:pt x="2667846" y="1821881"/>
                  <a:pt x="2666455" y="1823554"/>
                  <a:pt x="2667846" y="1830521"/>
                </a:cubicBezTo>
                <a:cubicBezTo>
                  <a:pt x="2659968" y="1819791"/>
                  <a:pt x="2656724" y="1829407"/>
                  <a:pt x="2650236" y="1836096"/>
                </a:cubicBezTo>
                <a:cubicBezTo>
                  <a:pt x="2664602" y="1845433"/>
                  <a:pt x="2685454" y="1848220"/>
                  <a:pt x="2696575" y="1836096"/>
                </a:cubicBezTo>
                <a:cubicBezTo>
                  <a:pt x="2691942" y="1826758"/>
                  <a:pt x="2669235" y="1834563"/>
                  <a:pt x="2667846" y="1819791"/>
                </a:cubicBezTo>
                <a:cubicBezTo>
                  <a:pt x="2691942" y="1803624"/>
                  <a:pt x="2741061" y="1795820"/>
                  <a:pt x="2777670" y="1818676"/>
                </a:cubicBezTo>
                <a:cubicBezTo>
                  <a:pt x="2776280" y="1816028"/>
                  <a:pt x="2774889" y="1812962"/>
                  <a:pt x="2774889" y="1810313"/>
                </a:cubicBezTo>
                <a:cubicBezTo>
                  <a:pt x="2800377" y="1796935"/>
                  <a:pt x="2830497" y="1805018"/>
                  <a:pt x="2870349" y="1810313"/>
                </a:cubicBezTo>
                <a:cubicBezTo>
                  <a:pt x="2868959" y="1795542"/>
                  <a:pt x="2852740" y="1795960"/>
                  <a:pt x="2843471" y="1789270"/>
                </a:cubicBezTo>
                <a:cubicBezTo>
                  <a:pt x="2844862" y="1785229"/>
                  <a:pt x="2846252" y="1782302"/>
                  <a:pt x="2847641" y="1780909"/>
                </a:cubicBezTo>
                <a:cubicBezTo>
                  <a:pt x="2850886" y="1762095"/>
                  <a:pt x="2870349" y="1790386"/>
                  <a:pt x="2884714" y="1783696"/>
                </a:cubicBezTo>
                <a:cubicBezTo>
                  <a:pt x="2881470" y="1787737"/>
                  <a:pt x="2876835" y="1789270"/>
                  <a:pt x="2870349" y="1789270"/>
                </a:cubicBezTo>
                <a:cubicBezTo>
                  <a:pt x="2868959" y="1790664"/>
                  <a:pt x="2865714" y="1790386"/>
                  <a:pt x="2865714" y="1794426"/>
                </a:cubicBezTo>
                <a:cubicBezTo>
                  <a:pt x="2868959" y="1809199"/>
                  <a:pt x="2889811" y="1779515"/>
                  <a:pt x="2884714" y="1810313"/>
                </a:cubicBezTo>
                <a:cubicBezTo>
                  <a:pt x="2897690" y="1810313"/>
                  <a:pt x="2912053" y="1810454"/>
                  <a:pt x="2912053" y="1794426"/>
                </a:cubicBezTo>
                <a:cubicBezTo>
                  <a:pt x="2932907" y="1801116"/>
                  <a:pt x="2948661" y="1814634"/>
                  <a:pt x="2970905" y="1805297"/>
                </a:cubicBezTo>
                <a:cubicBezTo>
                  <a:pt x="2970905" y="1814634"/>
                  <a:pt x="2975539" y="1818397"/>
                  <a:pt x="2980172" y="1821044"/>
                </a:cubicBezTo>
                <a:cubicBezTo>
                  <a:pt x="2982026" y="1831776"/>
                  <a:pt x="2964880" y="1823972"/>
                  <a:pt x="2958395" y="1826619"/>
                </a:cubicBezTo>
                <a:cubicBezTo>
                  <a:pt x="2959784" y="1853516"/>
                  <a:pt x="2985270" y="1830521"/>
                  <a:pt x="2999635" y="1831915"/>
                </a:cubicBezTo>
                <a:cubicBezTo>
                  <a:pt x="3042731" y="1833309"/>
                  <a:pt x="3106679" y="1835956"/>
                  <a:pt x="3141897" y="1853377"/>
                </a:cubicBezTo>
                <a:cubicBezTo>
                  <a:pt x="3145141" y="1833170"/>
                  <a:pt x="3119191" y="1846826"/>
                  <a:pt x="3122435" y="1826619"/>
                </a:cubicBezTo>
                <a:cubicBezTo>
                  <a:pt x="3140044" y="1842786"/>
                  <a:pt x="3154409" y="1829407"/>
                  <a:pt x="3168775" y="1848220"/>
                </a:cubicBezTo>
                <a:cubicBezTo>
                  <a:pt x="3166920" y="1859229"/>
                  <a:pt x="3158116" y="1858533"/>
                  <a:pt x="3153946" y="1861320"/>
                </a:cubicBezTo>
                <a:lnTo>
                  <a:pt x="3154872" y="1861320"/>
                </a:lnTo>
                <a:cubicBezTo>
                  <a:pt x="3155335" y="1864665"/>
                  <a:pt x="3153946" y="1866476"/>
                  <a:pt x="3153019" y="1868707"/>
                </a:cubicBezTo>
                <a:cubicBezTo>
                  <a:pt x="3153482" y="1870379"/>
                  <a:pt x="3153019" y="1871076"/>
                  <a:pt x="3154409" y="1873445"/>
                </a:cubicBezTo>
                <a:cubicBezTo>
                  <a:pt x="3153946" y="1872608"/>
                  <a:pt x="3153019" y="1872608"/>
                  <a:pt x="3152555" y="1872050"/>
                </a:cubicBezTo>
                <a:lnTo>
                  <a:pt x="3153290" y="1874570"/>
                </a:lnTo>
                <a:lnTo>
                  <a:pt x="3158772" y="1874346"/>
                </a:lnTo>
                <a:lnTo>
                  <a:pt x="3209089" y="1879313"/>
                </a:lnTo>
                <a:lnTo>
                  <a:pt x="3209089" y="1873166"/>
                </a:lnTo>
                <a:cubicBezTo>
                  <a:pt x="3202602" y="1869125"/>
                  <a:pt x="3196578" y="1864247"/>
                  <a:pt x="3196114" y="1853377"/>
                </a:cubicBezTo>
                <a:cubicBezTo>
                  <a:pt x="3215112" y="1851147"/>
                  <a:pt x="3204455" y="1864247"/>
                  <a:pt x="3208626" y="1868428"/>
                </a:cubicBezTo>
                <a:cubicBezTo>
                  <a:pt x="3207700" y="1863829"/>
                  <a:pt x="3208626" y="1859787"/>
                  <a:pt x="3213723" y="1857557"/>
                </a:cubicBezTo>
                <a:cubicBezTo>
                  <a:pt x="3212333" y="1852958"/>
                  <a:pt x="3211869" y="1847941"/>
                  <a:pt x="3219748" y="1842645"/>
                </a:cubicBezTo>
                <a:cubicBezTo>
                  <a:pt x="3216504" y="1844040"/>
                  <a:pt x="3178042" y="1850729"/>
                  <a:pt x="3178042" y="1831915"/>
                </a:cubicBezTo>
                <a:cubicBezTo>
                  <a:pt x="3210016" y="1846687"/>
                  <a:pt x="3197505" y="1818676"/>
                  <a:pt x="3224383" y="1816028"/>
                </a:cubicBezTo>
                <a:cubicBezTo>
                  <a:pt x="3221138" y="1810593"/>
                  <a:pt x="3213723" y="1810313"/>
                  <a:pt x="3215112" y="1800838"/>
                </a:cubicBezTo>
                <a:cubicBezTo>
                  <a:pt x="3207236" y="1804879"/>
                  <a:pt x="3199359" y="1809060"/>
                  <a:pt x="3188236" y="1810313"/>
                </a:cubicBezTo>
                <a:cubicBezTo>
                  <a:pt x="3192871" y="1783556"/>
                  <a:pt x="3144678" y="1795681"/>
                  <a:pt x="3163677" y="1768784"/>
                </a:cubicBezTo>
                <a:cubicBezTo>
                  <a:pt x="3171554" y="1776867"/>
                  <a:pt x="3183139" y="1794288"/>
                  <a:pt x="3197505" y="1779515"/>
                </a:cubicBezTo>
                <a:cubicBezTo>
                  <a:pt x="3189163" y="1760702"/>
                  <a:pt x="3160434" y="1763489"/>
                  <a:pt x="3136336" y="1763489"/>
                </a:cubicBezTo>
                <a:cubicBezTo>
                  <a:pt x="3139580" y="1759447"/>
                  <a:pt x="3141897" y="1751365"/>
                  <a:pt x="3141897" y="1743421"/>
                </a:cubicBezTo>
                <a:cubicBezTo>
                  <a:pt x="3125678" y="1737986"/>
                  <a:pt x="3136800" y="1764742"/>
                  <a:pt x="3127068" y="1768784"/>
                </a:cubicBezTo>
                <a:cubicBezTo>
                  <a:pt x="3119191" y="1762095"/>
                  <a:pt x="3109924" y="1755546"/>
                  <a:pt x="3095558" y="1752758"/>
                </a:cubicBezTo>
                <a:cubicBezTo>
                  <a:pt x="3112703" y="1763489"/>
                  <a:pt x="3095558" y="1764742"/>
                  <a:pt x="3083047" y="1768784"/>
                </a:cubicBezTo>
                <a:cubicBezTo>
                  <a:pt x="3083047" y="1775473"/>
                  <a:pt x="3090461" y="1772826"/>
                  <a:pt x="3095558" y="1774220"/>
                </a:cubicBezTo>
                <a:cubicBezTo>
                  <a:pt x="3085826" y="1784951"/>
                  <a:pt x="3085826" y="1805297"/>
                  <a:pt x="3068217" y="1805297"/>
                </a:cubicBezTo>
                <a:cubicBezTo>
                  <a:pt x="3066827" y="1793173"/>
                  <a:pt x="3068217" y="1784810"/>
                  <a:pt x="3072851" y="1779515"/>
                </a:cubicBezTo>
                <a:cubicBezTo>
                  <a:pt x="3052462" y="1771433"/>
                  <a:pt x="3060340" y="1797214"/>
                  <a:pt x="3045976" y="1795820"/>
                </a:cubicBezTo>
                <a:cubicBezTo>
                  <a:pt x="3050609" y="1781048"/>
                  <a:pt x="3047365" y="1782302"/>
                  <a:pt x="3045976" y="1763489"/>
                </a:cubicBezTo>
                <a:cubicBezTo>
                  <a:pt x="3028366" y="1764883"/>
                  <a:pt x="3017244" y="1774080"/>
                  <a:pt x="3004733" y="1779515"/>
                </a:cubicBezTo>
                <a:cubicBezTo>
                  <a:pt x="3007976" y="1758054"/>
                  <a:pt x="2973685" y="1778261"/>
                  <a:pt x="2980172" y="1752758"/>
                </a:cubicBezTo>
                <a:cubicBezTo>
                  <a:pt x="2991293" y="1756800"/>
                  <a:pt x="3001488" y="1761120"/>
                  <a:pt x="3017244" y="1758472"/>
                </a:cubicBezTo>
                <a:cubicBezTo>
                  <a:pt x="3019098" y="1748995"/>
                  <a:pt x="3014000" y="1749135"/>
                  <a:pt x="3009366" y="1747742"/>
                </a:cubicBezTo>
                <a:cubicBezTo>
                  <a:pt x="3009366" y="1743700"/>
                  <a:pt x="3014000" y="1743421"/>
                  <a:pt x="3017244" y="1742167"/>
                </a:cubicBezTo>
                <a:cubicBezTo>
                  <a:pt x="3006124" y="1734083"/>
                  <a:pt x="2988513" y="1732829"/>
                  <a:pt x="2985270" y="1716663"/>
                </a:cubicBezTo>
                <a:cubicBezTo>
                  <a:pt x="2976002" y="1718057"/>
                  <a:pt x="2967661" y="1724607"/>
                  <a:pt x="2953295" y="1721960"/>
                </a:cubicBezTo>
                <a:cubicBezTo>
                  <a:pt x="2959320" y="1708581"/>
                  <a:pt x="2963028" y="1711368"/>
                  <a:pt x="2958395" y="1695341"/>
                </a:cubicBezTo>
                <a:cubicBezTo>
                  <a:pt x="2947272" y="1693947"/>
                  <a:pt x="2948661" y="1704400"/>
                  <a:pt x="2935687" y="1700358"/>
                </a:cubicBezTo>
                <a:cubicBezTo>
                  <a:pt x="2937540" y="1676249"/>
                  <a:pt x="2964417" y="1681405"/>
                  <a:pt x="2985270" y="1678758"/>
                </a:cubicBezTo>
                <a:cubicBezTo>
                  <a:pt x="2993148" y="1689488"/>
                  <a:pt x="2982026" y="1689627"/>
                  <a:pt x="2989904" y="1700358"/>
                </a:cubicBezTo>
                <a:cubicBezTo>
                  <a:pt x="2998245" y="1701751"/>
                  <a:pt x="2999635" y="1693947"/>
                  <a:pt x="3009366" y="1695341"/>
                </a:cubicBezTo>
                <a:cubicBezTo>
                  <a:pt x="3007513" y="1681823"/>
                  <a:pt x="2995002" y="1679175"/>
                  <a:pt x="2995002" y="1664403"/>
                </a:cubicBezTo>
                <a:cubicBezTo>
                  <a:pt x="2963028" y="1677921"/>
                  <a:pt x="2963028" y="1646843"/>
                  <a:pt x="2944028" y="1653532"/>
                </a:cubicBezTo>
                <a:cubicBezTo>
                  <a:pt x="2931054" y="1657574"/>
                  <a:pt x="2955149" y="1661755"/>
                  <a:pt x="2948661" y="1675134"/>
                </a:cubicBezTo>
                <a:cubicBezTo>
                  <a:pt x="2926419" y="1677782"/>
                  <a:pt x="2914834" y="1661337"/>
                  <a:pt x="2901858" y="1678758"/>
                </a:cubicBezTo>
                <a:cubicBezTo>
                  <a:pt x="2903712" y="1684192"/>
                  <a:pt x="2919931" y="1696456"/>
                  <a:pt x="2921322" y="1684471"/>
                </a:cubicBezTo>
                <a:cubicBezTo>
                  <a:pt x="2932443" y="1685725"/>
                  <a:pt x="2919931" y="1699243"/>
                  <a:pt x="2919931" y="1705932"/>
                </a:cubicBezTo>
                <a:cubicBezTo>
                  <a:pt x="2927809" y="1707326"/>
                  <a:pt x="2934297" y="1708441"/>
                  <a:pt x="2938930" y="1709835"/>
                </a:cubicBezTo>
                <a:cubicBezTo>
                  <a:pt x="2938930" y="1731297"/>
                  <a:pt x="2902785" y="1709974"/>
                  <a:pt x="2907420" y="1736871"/>
                </a:cubicBezTo>
                <a:cubicBezTo>
                  <a:pt x="2883323" y="1735478"/>
                  <a:pt x="2899079" y="1720845"/>
                  <a:pt x="2880081" y="1715410"/>
                </a:cubicBezTo>
                <a:cubicBezTo>
                  <a:pt x="2881934" y="1711368"/>
                  <a:pt x="2886567" y="1710113"/>
                  <a:pt x="2893055" y="1707465"/>
                </a:cubicBezTo>
                <a:cubicBezTo>
                  <a:pt x="2912053" y="1661755"/>
                  <a:pt x="2851350" y="1666911"/>
                  <a:pt x="2829106" y="1684471"/>
                </a:cubicBezTo>
                <a:cubicBezTo>
                  <a:pt x="2814742" y="1668304"/>
                  <a:pt x="2779059" y="1680151"/>
                  <a:pt x="2750793" y="1668026"/>
                </a:cubicBezTo>
                <a:cubicBezTo>
                  <a:pt x="2747549" y="1692276"/>
                  <a:pt x="2722063" y="1673461"/>
                  <a:pt x="2686845" y="1678758"/>
                </a:cubicBezTo>
                <a:cubicBezTo>
                  <a:pt x="2693332" y="1647958"/>
                  <a:pt x="2710942" y="1658689"/>
                  <a:pt x="2728549" y="1647958"/>
                </a:cubicBezTo>
                <a:cubicBezTo>
                  <a:pt x="2728549" y="1652000"/>
                  <a:pt x="2723916" y="1652000"/>
                  <a:pt x="2723916" y="1657435"/>
                </a:cubicBezTo>
                <a:cubicBezTo>
                  <a:pt x="2748013" y="1652000"/>
                  <a:pt x="2744306" y="1649212"/>
                  <a:pt x="2769792" y="1647958"/>
                </a:cubicBezTo>
                <a:cubicBezTo>
                  <a:pt x="2768401" y="1652000"/>
                  <a:pt x="2765158" y="1656321"/>
                  <a:pt x="2765158" y="1663009"/>
                </a:cubicBezTo>
                <a:cubicBezTo>
                  <a:pt x="2779524" y="1668304"/>
                  <a:pt x="2773498" y="1652279"/>
                  <a:pt x="2774889" y="1642802"/>
                </a:cubicBezTo>
                <a:cubicBezTo>
                  <a:pt x="2786010" y="1640153"/>
                  <a:pt x="2784157" y="1652000"/>
                  <a:pt x="2796670" y="1647958"/>
                </a:cubicBezTo>
                <a:cubicBezTo>
                  <a:pt x="2809644" y="1642523"/>
                  <a:pt x="2784157" y="1635974"/>
                  <a:pt x="2796670" y="1626497"/>
                </a:cubicBezTo>
                <a:cubicBezTo>
                  <a:pt x="2807791" y="1625242"/>
                  <a:pt x="2811497" y="1630817"/>
                  <a:pt x="2811497" y="1642802"/>
                </a:cubicBezTo>
                <a:cubicBezTo>
                  <a:pt x="2824009" y="1644195"/>
                  <a:pt x="2814742" y="1622455"/>
                  <a:pt x="2829106" y="1626497"/>
                </a:cubicBezTo>
                <a:cubicBezTo>
                  <a:pt x="2825862" y="1631932"/>
                  <a:pt x="2824472" y="1638481"/>
                  <a:pt x="2825862" y="1647958"/>
                </a:cubicBezTo>
                <a:cubicBezTo>
                  <a:pt x="2835594" y="1649212"/>
                  <a:pt x="2836984" y="1644195"/>
                  <a:pt x="2843471" y="1642802"/>
                </a:cubicBezTo>
                <a:cubicBezTo>
                  <a:pt x="2854593" y="1648237"/>
                  <a:pt x="2828642" y="1656181"/>
                  <a:pt x="2816131" y="1653532"/>
                </a:cubicBezTo>
                <a:cubicBezTo>
                  <a:pt x="2830497" y="1664264"/>
                  <a:pt x="2867105" y="1656321"/>
                  <a:pt x="2867105" y="1632210"/>
                </a:cubicBezTo>
                <a:cubicBezTo>
                  <a:pt x="2871739" y="1633464"/>
                  <a:pt x="2870349" y="1645450"/>
                  <a:pt x="2870349" y="1653532"/>
                </a:cubicBezTo>
                <a:cubicBezTo>
                  <a:pt x="2902323" y="1644195"/>
                  <a:pt x="2897690" y="1625242"/>
                  <a:pt x="2904177" y="1601132"/>
                </a:cubicBezTo>
                <a:cubicBezTo>
                  <a:pt x="2891202" y="1605174"/>
                  <a:pt x="2882859" y="1615766"/>
                  <a:pt x="2874982" y="1626497"/>
                </a:cubicBezTo>
                <a:cubicBezTo>
                  <a:pt x="2854129" y="1626497"/>
                  <a:pt x="2849959" y="1625242"/>
                  <a:pt x="2838374" y="1621201"/>
                </a:cubicBezTo>
                <a:cubicBezTo>
                  <a:pt x="2849959" y="1606428"/>
                  <a:pt x="2859226" y="1626358"/>
                  <a:pt x="2870349" y="1615626"/>
                </a:cubicBezTo>
                <a:cubicBezTo>
                  <a:pt x="2876835" y="1611585"/>
                  <a:pt x="2876835" y="1598346"/>
                  <a:pt x="2884714" y="1595697"/>
                </a:cubicBezTo>
                <a:cubicBezTo>
                  <a:pt x="2876835" y="1600993"/>
                  <a:pt x="2836984" y="1579392"/>
                  <a:pt x="2830497" y="1615626"/>
                </a:cubicBezTo>
                <a:cubicBezTo>
                  <a:pt x="2814742" y="1610330"/>
                  <a:pt x="2819838" y="1615626"/>
                  <a:pt x="2802229" y="1615626"/>
                </a:cubicBezTo>
                <a:cubicBezTo>
                  <a:pt x="2800377" y="1595558"/>
                  <a:pt x="2811033" y="1589148"/>
                  <a:pt x="2796670" y="1579671"/>
                </a:cubicBezTo>
                <a:cubicBezTo>
                  <a:pt x="2784157" y="1582319"/>
                  <a:pt x="2801766" y="1590402"/>
                  <a:pt x="2796670" y="1601132"/>
                </a:cubicBezTo>
                <a:cubicBezTo>
                  <a:pt x="2787400" y="1602387"/>
                  <a:pt x="2779524" y="1599739"/>
                  <a:pt x="2774889" y="1595697"/>
                </a:cubicBezTo>
                <a:cubicBezTo>
                  <a:pt x="2774889" y="1600993"/>
                  <a:pt x="2776280" y="1605453"/>
                  <a:pt x="2779524" y="1605453"/>
                </a:cubicBezTo>
                <a:cubicBezTo>
                  <a:pt x="2763767" y="1624267"/>
                  <a:pt x="2761913" y="1578139"/>
                  <a:pt x="2784157" y="1584828"/>
                </a:cubicBezTo>
                <a:cubicBezTo>
                  <a:pt x="2782768" y="1571309"/>
                  <a:pt x="2765158" y="1564760"/>
                  <a:pt x="2784157" y="1558070"/>
                </a:cubicBezTo>
                <a:cubicBezTo>
                  <a:pt x="2782768" y="1552774"/>
                  <a:pt x="2776280" y="1554308"/>
                  <a:pt x="2769792" y="1553053"/>
                </a:cubicBezTo>
                <a:cubicBezTo>
                  <a:pt x="2771183" y="1539674"/>
                  <a:pt x="2776280" y="1532846"/>
                  <a:pt x="2788790" y="1532846"/>
                </a:cubicBezTo>
                <a:cubicBezTo>
                  <a:pt x="2779059" y="1514032"/>
                  <a:pt x="2765622" y="1528665"/>
                  <a:pt x="2748013" y="1527271"/>
                </a:cubicBezTo>
                <a:cubicBezTo>
                  <a:pt x="2771645" y="1497727"/>
                  <a:pt x="2825862" y="1527550"/>
                  <a:pt x="2857837" y="1522115"/>
                </a:cubicBezTo>
                <a:cubicBezTo>
                  <a:pt x="2862471" y="1520861"/>
                  <a:pt x="2860617" y="1516540"/>
                  <a:pt x="2857837" y="1516540"/>
                </a:cubicBezTo>
                <a:cubicBezTo>
                  <a:pt x="2902323" y="1509851"/>
                  <a:pt x="2931054" y="1508736"/>
                  <a:pt x="2972295" y="1502047"/>
                </a:cubicBezTo>
                <a:cubicBezTo>
                  <a:pt x="2967661" y="1510130"/>
                  <a:pt x="2961637" y="1516540"/>
                  <a:pt x="2958395" y="1527271"/>
                </a:cubicBezTo>
                <a:cubicBezTo>
                  <a:pt x="2948661" y="1529919"/>
                  <a:pt x="2946808" y="1523508"/>
                  <a:pt x="2940784" y="1522115"/>
                </a:cubicBezTo>
                <a:cubicBezTo>
                  <a:pt x="2935687" y="1526156"/>
                  <a:pt x="2935687" y="1534239"/>
                  <a:pt x="2925955" y="1532846"/>
                </a:cubicBezTo>
                <a:cubicBezTo>
                  <a:pt x="2922712" y="1555701"/>
                  <a:pt x="2947272" y="1546224"/>
                  <a:pt x="2963028" y="1548873"/>
                </a:cubicBezTo>
                <a:cubicBezTo>
                  <a:pt x="2961637" y="1555562"/>
                  <a:pt x="2954686" y="1556955"/>
                  <a:pt x="2953295" y="1563784"/>
                </a:cubicBezTo>
                <a:cubicBezTo>
                  <a:pt x="2976929" y="1560997"/>
                  <a:pt x="2975539" y="1558209"/>
                  <a:pt x="2982026" y="1579671"/>
                </a:cubicBezTo>
                <a:cubicBezTo>
                  <a:pt x="3021878" y="1585106"/>
                  <a:pt x="3010757" y="1559324"/>
                  <a:pt x="3045976" y="1564621"/>
                </a:cubicBezTo>
                <a:lnTo>
                  <a:pt x="3055447" y="1583641"/>
                </a:lnTo>
                <a:lnTo>
                  <a:pt x="3057202" y="1579022"/>
                </a:lnTo>
                <a:cubicBezTo>
                  <a:pt x="3059555" y="1576394"/>
                  <a:pt x="3062611" y="1574473"/>
                  <a:pt x="3065535" y="1572426"/>
                </a:cubicBezTo>
                <a:lnTo>
                  <a:pt x="3070936" y="1567168"/>
                </a:lnTo>
                <a:lnTo>
                  <a:pt x="3063583" y="1564621"/>
                </a:lnTo>
                <a:lnTo>
                  <a:pt x="3073705" y="1560502"/>
                </a:lnTo>
                <a:lnTo>
                  <a:pt x="3074861" y="1551957"/>
                </a:lnTo>
                <a:lnTo>
                  <a:pt x="3083916" y="1556348"/>
                </a:lnTo>
                <a:lnTo>
                  <a:pt x="3088375" y="1554534"/>
                </a:lnTo>
                <a:cubicBezTo>
                  <a:pt x="3096947" y="1553436"/>
                  <a:pt x="3105752" y="1554865"/>
                  <a:pt x="3114556" y="1559603"/>
                </a:cubicBezTo>
                <a:lnTo>
                  <a:pt x="3113412" y="1563484"/>
                </a:lnTo>
                <a:lnTo>
                  <a:pt x="3117667" y="1563681"/>
                </a:lnTo>
                <a:cubicBezTo>
                  <a:pt x="3131511" y="1562026"/>
                  <a:pt x="3146224" y="1556765"/>
                  <a:pt x="3165687" y="1553769"/>
                </a:cubicBezTo>
                <a:cubicBezTo>
                  <a:pt x="3166150" y="1562688"/>
                  <a:pt x="3153176" y="1557810"/>
                  <a:pt x="3154102" y="1569656"/>
                </a:cubicBezTo>
                <a:cubicBezTo>
                  <a:pt x="3187002" y="1555162"/>
                  <a:pt x="3199977" y="1558924"/>
                  <a:pt x="3223611" y="1543595"/>
                </a:cubicBezTo>
                <a:cubicBezTo>
                  <a:pt x="3251414" y="1560737"/>
                  <a:pt x="3283389" y="1541366"/>
                  <a:pt x="3331582" y="1542063"/>
                </a:cubicBezTo>
                <a:cubicBezTo>
                  <a:pt x="3346873" y="1533423"/>
                  <a:pt x="3326020" y="1517117"/>
                  <a:pt x="3346873" y="1515444"/>
                </a:cubicBezTo>
                <a:cubicBezTo>
                  <a:pt x="3351508" y="1574813"/>
                  <a:pt x="3413602" y="1501648"/>
                  <a:pt x="3444649" y="1536488"/>
                </a:cubicBezTo>
                <a:cubicBezTo>
                  <a:pt x="3449748" y="1533143"/>
                  <a:pt x="3452990" y="1528405"/>
                  <a:pt x="3450210" y="1521019"/>
                </a:cubicBezTo>
                <a:lnTo>
                  <a:pt x="3465057" y="1521523"/>
                </a:lnTo>
                <a:lnTo>
                  <a:pt x="3461001" y="1514049"/>
                </a:lnTo>
                <a:cubicBezTo>
                  <a:pt x="3458511" y="1509398"/>
                  <a:pt x="3455615" y="1505949"/>
                  <a:pt x="3449127" y="1503858"/>
                </a:cubicBezTo>
                <a:cubicBezTo>
                  <a:pt x="3445884" y="1508040"/>
                  <a:pt x="3450980" y="1519467"/>
                  <a:pt x="3444493" y="1526296"/>
                </a:cubicBezTo>
                <a:cubicBezTo>
                  <a:pt x="3441249" y="1523648"/>
                  <a:pt x="3436152" y="1522115"/>
                  <a:pt x="3431519" y="1523508"/>
                </a:cubicBezTo>
                <a:cubicBezTo>
                  <a:pt x="3434762" y="1516540"/>
                  <a:pt x="3442640" y="1501210"/>
                  <a:pt x="3426884" y="1506785"/>
                </a:cubicBezTo>
                <a:cubicBezTo>
                  <a:pt x="3436152" y="1495635"/>
                  <a:pt x="3450980" y="1496890"/>
                  <a:pt x="3465347" y="1498284"/>
                </a:cubicBezTo>
                <a:cubicBezTo>
                  <a:pt x="3455615" y="1514903"/>
                  <a:pt x="3471428" y="1507534"/>
                  <a:pt x="3477988" y="1512160"/>
                </a:cubicBezTo>
                <a:lnTo>
                  <a:pt x="3480157" y="1522037"/>
                </a:lnTo>
                <a:lnTo>
                  <a:pt x="3480224" y="1522039"/>
                </a:lnTo>
                <a:lnTo>
                  <a:pt x="3485968" y="1513004"/>
                </a:lnTo>
                <a:cubicBezTo>
                  <a:pt x="3487357" y="1509188"/>
                  <a:pt x="3488515" y="1504973"/>
                  <a:pt x="3490369" y="1501489"/>
                </a:cubicBezTo>
                <a:cubicBezTo>
                  <a:pt x="3489906" y="1501628"/>
                  <a:pt x="3489444" y="1501906"/>
                  <a:pt x="3489444" y="1502047"/>
                </a:cubicBezTo>
                <a:cubicBezTo>
                  <a:pt x="3477394" y="1507482"/>
                  <a:pt x="3479248" y="1493963"/>
                  <a:pt x="3470443" y="1494660"/>
                </a:cubicBezTo>
                <a:cubicBezTo>
                  <a:pt x="3413909" y="1490479"/>
                  <a:pt x="3334207" y="1526574"/>
                  <a:pt x="3270720" y="1522534"/>
                </a:cubicBezTo>
                <a:cubicBezTo>
                  <a:pt x="3264697" y="1533960"/>
                  <a:pt x="3251258" y="1525181"/>
                  <a:pt x="3243844" y="1522115"/>
                </a:cubicBezTo>
                <a:cubicBezTo>
                  <a:pt x="3243844" y="1520025"/>
                  <a:pt x="3245234" y="1519467"/>
                  <a:pt x="3246160" y="1518351"/>
                </a:cubicBezTo>
                <a:cubicBezTo>
                  <a:pt x="3241063" y="1516958"/>
                  <a:pt x="3235966" y="1515983"/>
                  <a:pt x="3230870" y="1513613"/>
                </a:cubicBezTo>
                <a:cubicBezTo>
                  <a:pt x="3217893" y="1523648"/>
                  <a:pt x="3202602" y="1517237"/>
                  <a:pt x="3201212" y="1496472"/>
                </a:cubicBezTo>
                <a:cubicBezTo>
                  <a:pt x="3213723" y="1477519"/>
                  <a:pt x="3249405" y="1477937"/>
                  <a:pt x="3260063" y="1456197"/>
                </a:cubicBezTo>
                <a:cubicBezTo>
                  <a:pt x="3255429" y="1441564"/>
                  <a:pt x="3250794" y="1428324"/>
                  <a:pt x="3236892" y="1428045"/>
                </a:cubicBezTo>
                <a:cubicBezTo>
                  <a:pt x="3227625" y="1448114"/>
                  <a:pt x="3202602" y="1423447"/>
                  <a:pt x="3208626" y="1455779"/>
                </a:cubicBezTo>
                <a:cubicBezTo>
                  <a:pt x="3204455" y="1472501"/>
                  <a:pt x="3201675" y="1432227"/>
                  <a:pt x="3206772" y="1431809"/>
                </a:cubicBezTo>
                <a:cubicBezTo>
                  <a:pt x="3166456" y="1437940"/>
                  <a:pt x="3142361" y="1402682"/>
                  <a:pt x="3117800" y="1406026"/>
                </a:cubicBezTo>
                <a:cubicBezTo>
                  <a:pt x="3139117" y="1381917"/>
                  <a:pt x="3172019" y="1419406"/>
                  <a:pt x="3220674" y="1405190"/>
                </a:cubicBezTo>
                <a:cubicBezTo>
                  <a:pt x="3229478" y="1402960"/>
                  <a:pt x="3220674" y="1384287"/>
                  <a:pt x="3221601" y="1375228"/>
                </a:cubicBezTo>
                <a:cubicBezTo>
                  <a:pt x="3218357" y="1354602"/>
                  <a:pt x="3191017" y="1370211"/>
                  <a:pt x="3179432" y="1359201"/>
                </a:cubicBezTo>
                <a:cubicBezTo>
                  <a:pt x="3181286" y="1336624"/>
                  <a:pt x="3210480" y="1364497"/>
                  <a:pt x="3218821" y="1336903"/>
                </a:cubicBezTo>
                <a:cubicBezTo>
                  <a:pt x="3241063" y="1345684"/>
                  <a:pt x="3305475" y="1356832"/>
                  <a:pt x="3300378" y="1313909"/>
                </a:cubicBezTo>
                <a:cubicBezTo>
                  <a:pt x="3527441" y="1309449"/>
                  <a:pt x="3741066" y="1188205"/>
                  <a:pt x="3947739" y="1200329"/>
                </a:cubicBezTo>
                <a:cubicBezTo>
                  <a:pt x="3956543" y="1196566"/>
                  <a:pt x="3942178" y="1193361"/>
                  <a:pt x="3950056" y="1185278"/>
                </a:cubicBezTo>
                <a:cubicBezTo>
                  <a:pt x="3965348" y="1196009"/>
                  <a:pt x="3977860" y="1177056"/>
                  <a:pt x="3992688" y="1184860"/>
                </a:cubicBezTo>
                <a:cubicBezTo>
                  <a:pt x="3978323" y="1160611"/>
                  <a:pt x="3949594" y="1176359"/>
                  <a:pt x="3928741" y="1182491"/>
                </a:cubicBezTo>
                <a:cubicBezTo>
                  <a:pt x="3909741" y="1186950"/>
                  <a:pt x="3876841" y="1176081"/>
                  <a:pt x="3854598" y="1183745"/>
                </a:cubicBezTo>
                <a:cubicBezTo>
                  <a:pt x="3819843" y="1195451"/>
                  <a:pt x="3754041" y="1191410"/>
                  <a:pt x="3697506" y="1198796"/>
                </a:cubicBezTo>
                <a:cubicBezTo>
                  <a:pt x="3679434" y="1168972"/>
                  <a:pt x="3653020" y="1196428"/>
                  <a:pt x="3629851" y="1190853"/>
                </a:cubicBezTo>
                <a:cubicBezTo>
                  <a:pt x="3635412" y="1170924"/>
                  <a:pt x="3685458" y="1176220"/>
                  <a:pt x="3699824" y="1179564"/>
                </a:cubicBezTo>
                <a:cubicBezTo>
                  <a:pt x="3710945" y="1162283"/>
                  <a:pt x="3722530" y="1152250"/>
                  <a:pt x="3746164" y="1139846"/>
                </a:cubicBezTo>
                <a:lnTo>
                  <a:pt x="3747553" y="1154898"/>
                </a:lnTo>
                <a:cubicBezTo>
                  <a:pt x="3752650" y="1148486"/>
                  <a:pt x="3760991" y="1147790"/>
                  <a:pt x="3771649" y="1146954"/>
                </a:cubicBezTo>
                <a:cubicBezTo>
                  <a:pt x="3770723" y="1138034"/>
                  <a:pt x="3766088" y="1138173"/>
                  <a:pt x="3767017" y="1127722"/>
                </a:cubicBezTo>
                <a:cubicBezTo>
                  <a:pt x="3779527" y="1150576"/>
                  <a:pt x="3807794" y="1127722"/>
                  <a:pt x="3822624" y="1113228"/>
                </a:cubicBezTo>
                <a:cubicBezTo>
                  <a:pt x="3836989" y="1116573"/>
                  <a:pt x="3819843" y="1126467"/>
                  <a:pt x="3820305" y="1132460"/>
                </a:cubicBezTo>
                <a:cubicBezTo>
                  <a:pt x="3836061" y="1129673"/>
                  <a:pt x="3835135" y="1123680"/>
                  <a:pt x="3849963" y="1130091"/>
                </a:cubicBezTo>
                <a:cubicBezTo>
                  <a:pt x="3858768" y="1127860"/>
                  <a:pt x="3849037" y="1114204"/>
                  <a:pt x="3843938" y="1116015"/>
                </a:cubicBezTo>
                <a:cubicBezTo>
                  <a:pt x="3855987" y="1110720"/>
                  <a:pt x="3867108" y="1121590"/>
                  <a:pt x="3885645" y="1106678"/>
                </a:cubicBezTo>
                <a:cubicBezTo>
                  <a:pt x="3887498" y="1088561"/>
                  <a:pt x="3862475" y="1105423"/>
                  <a:pt x="3875449" y="1088004"/>
                </a:cubicBezTo>
                <a:cubicBezTo>
                  <a:pt x="3845330" y="1087307"/>
                  <a:pt x="3821233" y="1077412"/>
                  <a:pt x="3793893" y="1070583"/>
                </a:cubicBezTo>
                <a:cubicBezTo>
                  <a:pt x="3798526" y="1058180"/>
                  <a:pt x="3853207" y="1077552"/>
                  <a:pt x="3858768" y="1054696"/>
                </a:cubicBezTo>
                <a:cubicBezTo>
                  <a:pt x="3830501" y="1039088"/>
                  <a:pt x="3792038" y="1046752"/>
                  <a:pt x="3762381" y="1055114"/>
                </a:cubicBezTo>
                <a:cubicBezTo>
                  <a:pt x="3767017" y="1041317"/>
                  <a:pt x="3780919" y="1033931"/>
                  <a:pt x="3798526" y="1035465"/>
                </a:cubicBezTo>
                <a:cubicBezTo>
                  <a:pt x="3798526" y="1031005"/>
                  <a:pt x="3794819" y="1032956"/>
                  <a:pt x="3791112" y="1031702"/>
                </a:cubicBezTo>
                <a:cubicBezTo>
                  <a:pt x="3790649" y="1025709"/>
                  <a:pt x="3797599" y="1026684"/>
                  <a:pt x="3802697" y="1024733"/>
                </a:cubicBezTo>
                <a:cubicBezTo>
                  <a:pt x="3764235" y="1029333"/>
                  <a:pt x="3750334" y="1014281"/>
                  <a:pt x="3709555" y="1014421"/>
                </a:cubicBezTo>
                <a:cubicBezTo>
                  <a:pt x="3714189" y="978326"/>
                  <a:pt x="3665068" y="1014699"/>
                  <a:pt x="3661362" y="989615"/>
                </a:cubicBezTo>
                <a:cubicBezTo>
                  <a:pt x="3738285" y="998394"/>
                  <a:pt x="3767017" y="948781"/>
                  <a:pt x="3833745" y="962857"/>
                </a:cubicBezTo>
                <a:cubicBezTo>
                  <a:pt x="3838842" y="961046"/>
                  <a:pt x="3843012" y="953241"/>
                  <a:pt x="3837916" y="953659"/>
                </a:cubicBezTo>
                <a:cubicBezTo>
                  <a:pt x="3849037" y="936378"/>
                  <a:pt x="3891205" y="952265"/>
                  <a:pt x="3905571" y="931780"/>
                </a:cubicBezTo>
                <a:cubicBezTo>
                  <a:pt x="3931520" y="965505"/>
                  <a:pt x="3969519" y="930944"/>
                  <a:pt x="4001029" y="927041"/>
                </a:cubicBezTo>
                <a:cubicBezTo>
                  <a:pt x="4058026" y="950872"/>
                  <a:pt x="4190094" y="919794"/>
                  <a:pt x="4252189" y="937354"/>
                </a:cubicBezTo>
                <a:cubicBezTo>
                  <a:pt x="4257286" y="914498"/>
                  <a:pt x="4276749" y="936657"/>
                  <a:pt x="4299455" y="912547"/>
                </a:cubicBezTo>
                <a:cubicBezTo>
                  <a:pt x="4300382" y="919934"/>
                  <a:pt x="4293895" y="922024"/>
                  <a:pt x="4294358" y="927877"/>
                </a:cubicBezTo>
                <a:cubicBezTo>
                  <a:pt x="4335600" y="902095"/>
                  <a:pt x="4380549" y="900144"/>
                  <a:pt x="4422255" y="874502"/>
                </a:cubicBezTo>
                <a:cubicBezTo>
                  <a:pt x="4419937" y="873247"/>
                  <a:pt x="4419937" y="872411"/>
                  <a:pt x="4414376" y="869903"/>
                </a:cubicBezTo>
                <a:cubicBezTo>
                  <a:pt x="4414840" y="868648"/>
                  <a:pt x="4413912" y="868510"/>
                  <a:pt x="4414376" y="867534"/>
                </a:cubicBezTo>
                <a:cubicBezTo>
                  <a:pt x="4407890" y="868787"/>
                  <a:pt x="4402329" y="869206"/>
                  <a:pt x="4404182" y="858197"/>
                </a:cubicBezTo>
                <a:cubicBezTo>
                  <a:pt x="4408352" y="857639"/>
                  <a:pt x="4411134" y="857639"/>
                  <a:pt x="4415304" y="857360"/>
                </a:cubicBezTo>
                <a:cubicBezTo>
                  <a:pt x="4416693" y="849975"/>
                  <a:pt x="4423182" y="847187"/>
                  <a:pt x="4431985" y="848441"/>
                </a:cubicBezTo>
                <a:cubicBezTo>
                  <a:pt x="4423644" y="844400"/>
                  <a:pt x="4419011" y="834644"/>
                  <a:pt x="4409744" y="831857"/>
                </a:cubicBezTo>
                <a:cubicBezTo>
                  <a:pt x="4409744" y="822520"/>
                  <a:pt x="4422255" y="825307"/>
                  <a:pt x="4419011" y="811789"/>
                </a:cubicBezTo>
                <a:cubicBezTo>
                  <a:pt x="4417621" y="799665"/>
                  <a:pt x="4406036" y="799665"/>
                  <a:pt x="4394914" y="801058"/>
                </a:cubicBezTo>
                <a:cubicBezTo>
                  <a:pt x="4398158" y="805100"/>
                  <a:pt x="4403255" y="809001"/>
                  <a:pt x="4409744" y="811789"/>
                </a:cubicBezTo>
                <a:cubicBezTo>
                  <a:pt x="4406499" y="823913"/>
                  <a:pt x="4379622" y="809281"/>
                  <a:pt x="4382403" y="826841"/>
                </a:cubicBezTo>
                <a:cubicBezTo>
                  <a:pt x="4377769" y="824192"/>
                  <a:pt x="4384256" y="802452"/>
                  <a:pt x="4368501" y="801058"/>
                </a:cubicBezTo>
                <a:cubicBezTo>
                  <a:pt x="4355989" y="805100"/>
                  <a:pt x="4363405" y="809001"/>
                  <a:pt x="4363405" y="821266"/>
                </a:cubicBezTo>
                <a:cubicBezTo>
                  <a:pt x="4347648" y="814437"/>
                  <a:pt x="4346257" y="822938"/>
                  <a:pt x="4331894" y="816109"/>
                </a:cubicBezTo>
                <a:cubicBezTo>
                  <a:pt x="4335136" y="806633"/>
                  <a:pt x="4344404" y="802452"/>
                  <a:pt x="4354136" y="801058"/>
                </a:cubicBezTo>
                <a:cubicBezTo>
                  <a:pt x="4344404" y="786147"/>
                  <a:pt x="4330040" y="808166"/>
                  <a:pt x="4317527" y="796041"/>
                </a:cubicBezTo>
                <a:cubicBezTo>
                  <a:pt x="4322162" y="783777"/>
                  <a:pt x="4331894" y="779597"/>
                  <a:pt x="4346257" y="779597"/>
                </a:cubicBezTo>
                <a:cubicBezTo>
                  <a:pt x="4369891" y="802592"/>
                  <a:pt x="4439402" y="768448"/>
                  <a:pt x="4436156" y="831857"/>
                </a:cubicBezTo>
                <a:cubicBezTo>
                  <a:pt x="4461643" y="819733"/>
                  <a:pt x="4492227" y="852344"/>
                  <a:pt x="4509372" y="833391"/>
                </a:cubicBezTo>
                <a:cubicBezTo>
                  <a:pt x="4509372" y="833530"/>
                  <a:pt x="4509372" y="834087"/>
                  <a:pt x="4509372" y="834226"/>
                </a:cubicBezTo>
                <a:cubicBezTo>
                  <a:pt x="4509836" y="833947"/>
                  <a:pt x="4509836" y="833669"/>
                  <a:pt x="4510300" y="833391"/>
                </a:cubicBezTo>
                <a:cubicBezTo>
                  <a:pt x="4513080" y="845097"/>
                  <a:pt x="4525130" y="845375"/>
                  <a:pt x="4533006" y="850810"/>
                </a:cubicBezTo>
                <a:cubicBezTo>
                  <a:pt x="4541347" y="847187"/>
                  <a:pt x="4531152" y="825447"/>
                  <a:pt x="4547371" y="828652"/>
                </a:cubicBezTo>
                <a:cubicBezTo>
                  <a:pt x="4549226" y="833808"/>
                  <a:pt x="4547835" y="835899"/>
                  <a:pt x="4546445" y="838129"/>
                </a:cubicBezTo>
                <a:cubicBezTo>
                  <a:pt x="4551542" y="839940"/>
                  <a:pt x="4558956" y="836596"/>
                  <a:pt x="4563126" y="831021"/>
                </a:cubicBezTo>
                <a:cubicBezTo>
                  <a:pt x="4569151" y="832693"/>
                  <a:pt x="4566835" y="836596"/>
                  <a:pt x="4564517" y="841334"/>
                </a:cubicBezTo>
                <a:cubicBezTo>
                  <a:pt x="4567297" y="840776"/>
                  <a:pt x="4571932" y="841055"/>
                  <a:pt x="4575176" y="840776"/>
                </a:cubicBezTo>
                <a:cubicBezTo>
                  <a:pt x="4573785" y="839382"/>
                  <a:pt x="4574711" y="836177"/>
                  <a:pt x="4572859" y="835759"/>
                </a:cubicBezTo>
                <a:cubicBezTo>
                  <a:pt x="4569614" y="826422"/>
                  <a:pt x="4577955" y="837850"/>
                  <a:pt x="4586760" y="840497"/>
                </a:cubicBezTo>
                <a:cubicBezTo>
                  <a:pt x="4587687" y="840497"/>
                  <a:pt x="4588614" y="839940"/>
                  <a:pt x="4589541" y="839940"/>
                </a:cubicBezTo>
                <a:cubicBezTo>
                  <a:pt x="4590931" y="839940"/>
                  <a:pt x="4591858" y="839243"/>
                  <a:pt x="4593247" y="838407"/>
                </a:cubicBezTo>
                <a:cubicBezTo>
                  <a:pt x="4583053" y="831160"/>
                  <a:pt x="4588614" y="824471"/>
                  <a:pt x="4582590" y="810813"/>
                </a:cubicBezTo>
                <a:cubicBezTo>
                  <a:pt x="4566370" y="807608"/>
                  <a:pt x="4573785" y="829627"/>
                  <a:pt x="4555713" y="823636"/>
                </a:cubicBezTo>
                <a:cubicBezTo>
                  <a:pt x="4561273" y="805239"/>
                  <a:pt x="4589541" y="807469"/>
                  <a:pt x="4593247" y="784753"/>
                </a:cubicBezTo>
                <a:cubicBezTo>
                  <a:pt x="4598345" y="782801"/>
                  <a:pt x="4597417" y="810116"/>
                  <a:pt x="4588149" y="806354"/>
                </a:cubicBezTo>
                <a:cubicBezTo>
                  <a:pt x="4588614" y="836177"/>
                  <a:pt x="4620588" y="841055"/>
                  <a:pt x="4633563" y="820708"/>
                </a:cubicBezTo>
                <a:cubicBezTo>
                  <a:pt x="4633099" y="816248"/>
                  <a:pt x="4626148" y="818060"/>
                  <a:pt x="4620588" y="817085"/>
                </a:cubicBezTo>
                <a:cubicBezTo>
                  <a:pt x="4628929" y="810396"/>
                  <a:pt x="4629857" y="795622"/>
                  <a:pt x="4640050" y="790328"/>
                </a:cubicBezTo>
                <a:cubicBezTo>
                  <a:pt x="4639587" y="806773"/>
                  <a:pt x="4648855" y="816109"/>
                  <a:pt x="4660439" y="828652"/>
                </a:cubicBezTo>
                <a:cubicBezTo>
                  <a:pt x="4672024" y="815831"/>
                  <a:pt x="4706315" y="826841"/>
                  <a:pt x="4716047" y="814158"/>
                </a:cubicBezTo>
                <a:cubicBezTo>
                  <a:pt x="4709559" y="799665"/>
                  <a:pt x="4679439" y="823078"/>
                  <a:pt x="4683145" y="797436"/>
                </a:cubicBezTo>
                <a:cubicBezTo>
                  <a:pt x="4694267" y="806493"/>
                  <a:pt x="4701682" y="803427"/>
                  <a:pt x="4708633" y="797436"/>
                </a:cubicBezTo>
                <a:cubicBezTo>
                  <a:pt x="4707242" y="797436"/>
                  <a:pt x="4707706" y="797713"/>
                  <a:pt x="4706315" y="797853"/>
                </a:cubicBezTo>
                <a:cubicBezTo>
                  <a:pt x="4706315" y="786007"/>
                  <a:pt x="4708168" y="778064"/>
                  <a:pt x="4716047" y="776810"/>
                </a:cubicBezTo>
                <a:cubicBezTo>
                  <a:pt x="4729021" y="774161"/>
                  <a:pt x="4725777" y="788795"/>
                  <a:pt x="4730877" y="792697"/>
                </a:cubicBezTo>
                <a:cubicBezTo>
                  <a:pt x="4735509" y="788795"/>
                  <a:pt x="4745241" y="788655"/>
                  <a:pt x="4745241" y="776810"/>
                </a:cubicBezTo>
                <a:lnTo>
                  <a:pt x="4741997" y="776810"/>
                </a:lnTo>
                <a:cubicBezTo>
                  <a:pt x="4741997" y="768866"/>
                  <a:pt x="4749875" y="763570"/>
                  <a:pt x="4741997" y="762176"/>
                </a:cubicBezTo>
                <a:cubicBezTo>
                  <a:pt x="4746629" y="743781"/>
                  <a:pt x="4765630" y="774161"/>
                  <a:pt x="4751265" y="776810"/>
                </a:cubicBezTo>
                <a:cubicBezTo>
                  <a:pt x="4764239" y="786007"/>
                  <a:pt x="4751265" y="771236"/>
                  <a:pt x="4777215" y="772629"/>
                </a:cubicBezTo>
                <a:cubicBezTo>
                  <a:pt x="4770727" y="778900"/>
                  <a:pt x="4771191" y="783777"/>
                  <a:pt x="4779996" y="786565"/>
                </a:cubicBezTo>
                <a:cubicBezTo>
                  <a:pt x="4786947" y="781408"/>
                  <a:pt x="4792044" y="774302"/>
                  <a:pt x="4792506" y="766079"/>
                </a:cubicBezTo>
                <a:cubicBezTo>
                  <a:pt x="4806408" y="761898"/>
                  <a:pt x="4817530" y="791024"/>
                  <a:pt x="4821237" y="768448"/>
                </a:cubicBezTo>
                <a:cubicBezTo>
                  <a:pt x="4829578" y="785589"/>
                  <a:pt x="4848577" y="784196"/>
                  <a:pt x="4868040" y="784196"/>
                </a:cubicBezTo>
                <a:cubicBezTo>
                  <a:pt x="4869430" y="775137"/>
                  <a:pt x="4864333" y="775416"/>
                  <a:pt x="4858772" y="774440"/>
                </a:cubicBezTo>
                <a:cubicBezTo>
                  <a:pt x="4866651" y="757438"/>
                  <a:pt x="4905574" y="806354"/>
                  <a:pt x="4917159" y="769702"/>
                </a:cubicBezTo>
                <a:cubicBezTo>
                  <a:pt x="4917622" y="775555"/>
                  <a:pt x="4919477" y="778482"/>
                  <a:pt x="4923183" y="778203"/>
                </a:cubicBezTo>
                <a:cubicBezTo>
                  <a:pt x="4927818" y="773326"/>
                  <a:pt x="4920403" y="770956"/>
                  <a:pt x="4928745" y="762734"/>
                </a:cubicBezTo>
                <a:cubicBezTo>
                  <a:pt x="4941257" y="766218"/>
                  <a:pt x="4934768" y="769980"/>
                  <a:pt x="4935695" y="781826"/>
                </a:cubicBezTo>
                <a:cubicBezTo>
                  <a:pt x="4943573" y="767751"/>
                  <a:pt x="4956547" y="756463"/>
                  <a:pt x="4969988" y="745036"/>
                </a:cubicBezTo>
                <a:cubicBezTo>
                  <a:pt x="4970450" y="752421"/>
                  <a:pt x="4975083" y="763431"/>
                  <a:pt x="4990838" y="762176"/>
                </a:cubicBezTo>
                <a:cubicBezTo>
                  <a:pt x="4968132" y="743084"/>
                  <a:pt x="5009838" y="732492"/>
                  <a:pt x="5011228" y="754791"/>
                </a:cubicBezTo>
                <a:cubicBezTo>
                  <a:pt x="5016326" y="752839"/>
                  <a:pt x="5029764" y="738764"/>
                  <a:pt x="5019107" y="735140"/>
                </a:cubicBezTo>
                <a:cubicBezTo>
                  <a:pt x="5022350" y="734862"/>
                  <a:pt x="5049691" y="761062"/>
                  <a:pt x="5059422" y="731935"/>
                </a:cubicBezTo>
                <a:cubicBezTo>
                  <a:pt x="5088152" y="753535"/>
                  <a:pt x="5132174" y="730542"/>
                  <a:pt x="5137272" y="704760"/>
                </a:cubicBezTo>
                <a:cubicBezTo>
                  <a:pt x="5136345" y="694307"/>
                  <a:pt x="5158124" y="702948"/>
                  <a:pt x="5162294" y="707128"/>
                </a:cubicBezTo>
                <a:cubicBezTo>
                  <a:pt x="5172953" y="706292"/>
                  <a:pt x="5162759" y="688036"/>
                  <a:pt x="5177124" y="689848"/>
                </a:cubicBezTo>
                <a:cubicBezTo>
                  <a:pt x="5151636" y="682880"/>
                  <a:pt x="5121516" y="688036"/>
                  <a:pt x="5090005" y="693471"/>
                </a:cubicBezTo>
                <a:cubicBezTo>
                  <a:pt x="5091397" y="711309"/>
                  <a:pt x="5115492" y="697234"/>
                  <a:pt x="5116884" y="715073"/>
                </a:cubicBezTo>
                <a:cubicBezTo>
                  <a:pt x="5093251" y="710892"/>
                  <a:pt x="5104835" y="740297"/>
                  <a:pt x="5081201" y="734582"/>
                </a:cubicBezTo>
                <a:cubicBezTo>
                  <a:pt x="5080737" y="728729"/>
                  <a:pt x="5087688" y="729426"/>
                  <a:pt x="5092786" y="727615"/>
                </a:cubicBezTo>
                <a:cubicBezTo>
                  <a:pt x="5078421" y="701833"/>
                  <a:pt x="5052935" y="693471"/>
                  <a:pt x="5022813" y="689848"/>
                </a:cubicBezTo>
                <a:cubicBezTo>
                  <a:pt x="5037179" y="673682"/>
                  <a:pt x="5066836" y="686364"/>
                  <a:pt x="5077958" y="694307"/>
                </a:cubicBezTo>
                <a:cubicBezTo>
                  <a:pt x="5093712" y="670755"/>
                  <a:pt x="5151636" y="687200"/>
                  <a:pt x="5142369" y="638702"/>
                </a:cubicBezTo>
                <a:cubicBezTo>
                  <a:pt x="5168782" y="655984"/>
                  <a:pt x="5180831" y="623652"/>
                  <a:pt x="5198903" y="608740"/>
                </a:cubicBezTo>
                <a:cubicBezTo>
                  <a:pt x="5218366" y="628111"/>
                  <a:pt x="5179441" y="627971"/>
                  <a:pt x="5176659" y="640097"/>
                </a:cubicBezTo>
                <a:cubicBezTo>
                  <a:pt x="5183612" y="663508"/>
                  <a:pt x="5199830" y="620586"/>
                  <a:pt x="5213732" y="637448"/>
                </a:cubicBezTo>
                <a:cubicBezTo>
                  <a:pt x="5226708" y="627414"/>
                  <a:pt x="5200293" y="623372"/>
                  <a:pt x="5211878" y="611945"/>
                </a:cubicBezTo>
                <a:cubicBezTo>
                  <a:pt x="5225779" y="611945"/>
                  <a:pt x="5243852" y="614593"/>
                  <a:pt x="5260997" y="616405"/>
                </a:cubicBezTo>
                <a:cubicBezTo>
                  <a:pt x="5260534" y="615847"/>
                  <a:pt x="5260072" y="615429"/>
                  <a:pt x="5260072" y="614871"/>
                </a:cubicBezTo>
                <a:cubicBezTo>
                  <a:pt x="5260997" y="614871"/>
                  <a:pt x="5261461" y="616125"/>
                  <a:pt x="5261926" y="616405"/>
                </a:cubicBezTo>
                <a:cubicBezTo>
                  <a:pt x="5289266" y="618913"/>
                  <a:pt x="5316606" y="619330"/>
                  <a:pt x="5336995" y="605116"/>
                </a:cubicBezTo>
                <a:cubicBezTo>
                  <a:pt x="5334678" y="599263"/>
                  <a:pt x="5325874" y="603165"/>
                  <a:pt x="5318923" y="602189"/>
                </a:cubicBezTo>
                <a:cubicBezTo>
                  <a:pt x="5330507" y="592295"/>
                  <a:pt x="5327727" y="595640"/>
                  <a:pt x="5330044" y="581982"/>
                </a:cubicBezTo>
                <a:cubicBezTo>
                  <a:pt x="5332360" y="587835"/>
                  <a:pt x="5349506" y="584769"/>
                  <a:pt x="5338384" y="581146"/>
                </a:cubicBezTo>
                <a:cubicBezTo>
                  <a:pt x="5346727" y="571530"/>
                  <a:pt x="5370360" y="599542"/>
                  <a:pt x="5385188" y="586442"/>
                </a:cubicBezTo>
                <a:cubicBezTo>
                  <a:pt x="5381945" y="589647"/>
                  <a:pt x="5380553" y="594386"/>
                  <a:pt x="5381017" y="601771"/>
                </a:cubicBezTo>
                <a:lnTo>
                  <a:pt x="5398626" y="600377"/>
                </a:lnTo>
                <a:cubicBezTo>
                  <a:pt x="5396773" y="596057"/>
                  <a:pt x="5394456" y="591598"/>
                  <a:pt x="5388894" y="590622"/>
                </a:cubicBezTo>
                <a:cubicBezTo>
                  <a:pt x="5455159" y="595779"/>
                  <a:pt x="5535327" y="574596"/>
                  <a:pt x="5596959" y="590622"/>
                </a:cubicBezTo>
                <a:cubicBezTo>
                  <a:pt x="5607154" y="589787"/>
                  <a:pt x="5593715" y="577662"/>
                  <a:pt x="5588618" y="582540"/>
                </a:cubicBezTo>
                <a:cubicBezTo>
                  <a:pt x="5591397" y="570415"/>
                  <a:pt x="5615495" y="575572"/>
                  <a:pt x="5617812" y="584351"/>
                </a:cubicBezTo>
                <a:cubicBezTo>
                  <a:pt x="5649323" y="558012"/>
                  <a:pt x="5666931" y="580727"/>
                  <a:pt x="5703076" y="561496"/>
                </a:cubicBezTo>
                <a:cubicBezTo>
                  <a:pt x="5704930" y="569997"/>
                  <a:pt x="5708637" y="573899"/>
                  <a:pt x="5714197" y="575572"/>
                </a:cubicBezTo>
                <a:cubicBezTo>
                  <a:pt x="5716051" y="575432"/>
                  <a:pt x="5718368" y="575989"/>
                  <a:pt x="5719295" y="575153"/>
                </a:cubicBezTo>
                <a:cubicBezTo>
                  <a:pt x="5719295" y="575572"/>
                  <a:pt x="5719295" y="575153"/>
                  <a:pt x="5719295" y="575572"/>
                </a:cubicBezTo>
                <a:cubicBezTo>
                  <a:pt x="5735049" y="576826"/>
                  <a:pt x="5755904" y="565956"/>
                  <a:pt x="5755904" y="581146"/>
                </a:cubicBezTo>
                <a:cubicBezTo>
                  <a:pt x="5775830" y="584073"/>
                  <a:pt x="5750806" y="559406"/>
                  <a:pt x="5761463" y="561496"/>
                </a:cubicBezTo>
                <a:cubicBezTo>
                  <a:pt x="5770732" y="559685"/>
                  <a:pt x="5794828" y="555643"/>
                  <a:pt x="5813363" y="552716"/>
                </a:cubicBezTo>
                <a:cubicBezTo>
                  <a:pt x="5811974" y="549929"/>
                  <a:pt x="5811047" y="547003"/>
                  <a:pt x="5807339" y="547560"/>
                </a:cubicBezTo>
                <a:cubicBezTo>
                  <a:pt x="5813363" y="535017"/>
                  <a:pt x="5813827" y="522196"/>
                  <a:pt x="5812437" y="508678"/>
                </a:cubicBezTo>
                <a:cubicBezTo>
                  <a:pt x="5811974" y="509793"/>
                  <a:pt x="5811047" y="509793"/>
                  <a:pt x="5810583" y="511048"/>
                </a:cubicBezTo>
                <a:cubicBezTo>
                  <a:pt x="5803169" y="510211"/>
                  <a:pt x="5799462" y="501850"/>
                  <a:pt x="5790657" y="504078"/>
                </a:cubicBezTo>
                <a:cubicBezTo>
                  <a:pt x="5779998" y="506309"/>
                  <a:pt x="5795290" y="517179"/>
                  <a:pt x="5803633" y="512023"/>
                </a:cubicBezTo>
                <a:cubicBezTo>
                  <a:pt x="5777219" y="537944"/>
                  <a:pt x="5741537" y="486798"/>
                  <a:pt x="5723465" y="509096"/>
                </a:cubicBezTo>
                <a:cubicBezTo>
                  <a:pt x="5710954" y="507144"/>
                  <a:pt x="5726246" y="498504"/>
                  <a:pt x="5722075" y="489864"/>
                </a:cubicBezTo>
                <a:cubicBezTo>
                  <a:pt x="5704930" y="501012"/>
                  <a:pt x="5697515" y="500038"/>
                  <a:pt x="5679907" y="503522"/>
                </a:cubicBezTo>
                <a:cubicBezTo>
                  <a:pt x="5679907" y="503939"/>
                  <a:pt x="5679443" y="504497"/>
                  <a:pt x="5679443" y="504916"/>
                </a:cubicBezTo>
                <a:cubicBezTo>
                  <a:pt x="5679443" y="505054"/>
                  <a:pt x="5679443" y="503382"/>
                  <a:pt x="5679443" y="503522"/>
                </a:cubicBezTo>
                <a:cubicBezTo>
                  <a:pt x="5678517" y="503661"/>
                  <a:pt x="5678052" y="503800"/>
                  <a:pt x="5676663" y="504078"/>
                </a:cubicBezTo>
                <a:cubicBezTo>
                  <a:pt x="5678052" y="504637"/>
                  <a:pt x="5678517" y="504358"/>
                  <a:pt x="5679443" y="504916"/>
                </a:cubicBezTo>
                <a:cubicBezTo>
                  <a:pt x="5695661" y="512998"/>
                  <a:pt x="5703540" y="509932"/>
                  <a:pt x="5723928" y="515228"/>
                </a:cubicBezTo>
                <a:cubicBezTo>
                  <a:pt x="5712808" y="527492"/>
                  <a:pt x="5694272" y="520524"/>
                  <a:pt x="5678052" y="520524"/>
                </a:cubicBezTo>
                <a:cubicBezTo>
                  <a:pt x="5679443" y="533485"/>
                  <a:pt x="5635421" y="540035"/>
                  <a:pt x="5644226" y="515228"/>
                </a:cubicBezTo>
                <a:cubicBezTo>
                  <a:pt x="5653956" y="520106"/>
                  <a:pt x="5658126" y="521081"/>
                  <a:pt x="5663687" y="521221"/>
                </a:cubicBezTo>
                <a:cubicBezTo>
                  <a:pt x="5665541" y="518572"/>
                  <a:pt x="5666468" y="515089"/>
                  <a:pt x="5670638" y="514671"/>
                </a:cubicBezTo>
                <a:cubicBezTo>
                  <a:pt x="5643299" y="507842"/>
                  <a:pt x="5653956" y="527770"/>
                  <a:pt x="5635421" y="497808"/>
                </a:cubicBezTo>
                <a:cubicBezTo>
                  <a:pt x="5621055" y="494463"/>
                  <a:pt x="5623836" y="506309"/>
                  <a:pt x="5615495" y="510072"/>
                </a:cubicBezTo>
                <a:cubicBezTo>
                  <a:pt x="5620128" y="523032"/>
                  <a:pt x="5632640" y="507285"/>
                  <a:pt x="5639591" y="508259"/>
                </a:cubicBezTo>
                <a:cubicBezTo>
                  <a:pt x="5634958" y="516064"/>
                  <a:pt x="5628469" y="523869"/>
                  <a:pt x="5625690" y="533066"/>
                </a:cubicBezTo>
                <a:cubicBezTo>
                  <a:pt x="5615495" y="517457"/>
                  <a:pt x="5601130" y="509653"/>
                  <a:pt x="5581203" y="508259"/>
                </a:cubicBezTo>
                <a:cubicBezTo>
                  <a:pt x="5576107" y="510072"/>
                  <a:pt x="5578886" y="520385"/>
                  <a:pt x="5579350" y="527770"/>
                </a:cubicBezTo>
                <a:cubicBezTo>
                  <a:pt x="5571010" y="531393"/>
                  <a:pt x="5572399" y="522614"/>
                  <a:pt x="5569618" y="513835"/>
                </a:cubicBezTo>
                <a:cubicBezTo>
                  <a:pt x="5517255" y="544913"/>
                  <a:pt x="5446356" y="533763"/>
                  <a:pt x="5380090" y="546445"/>
                </a:cubicBezTo>
                <a:cubicBezTo>
                  <a:pt x="5339776" y="555643"/>
                  <a:pt x="5291581" y="571669"/>
                  <a:pt x="5261461" y="568047"/>
                </a:cubicBezTo>
                <a:cubicBezTo>
                  <a:pt x="5239682" y="565259"/>
                  <a:pt x="5191025" y="597452"/>
                  <a:pt x="5178514" y="575989"/>
                </a:cubicBezTo>
                <a:cubicBezTo>
                  <a:pt x="5102054" y="576129"/>
                  <a:pt x="5041349" y="591040"/>
                  <a:pt x="4976010" y="594803"/>
                </a:cubicBezTo>
                <a:cubicBezTo>
                  <a:pt x="4976938" y="588671"/>
                  <a:pt x="4983889" y="586721"/>
                  <a:pt x="4983426" y="579334"/>
                </a:cubicBezTo>
                <a:cubicBezTo>
                  <a:pt x="4982497" y="568882"/>
                  <a:pt x="4969059" y="579056"/>
                  <a:pt x="4961646" y="576547"/>
                </a:cubicBezTo>
                <a:cubicBezTo>
                  <a:pt x="4957939" y="593410"/>
                  <a:pt x="4976474" y="580031"/>
                  <a:pt x="4972305" y="595361"/>
                </a:cubicBezTo>
                <a:cubicBezTo>
                  <a:pt x="4943573" y="608043"/>
                  <a:pt x="4879162" y="602887"/>
                  <a:pt x="4844407" y="613059"/>
                </a:cubicBezTo>
                <a:cubicBezTo>
                  <a:pt x="4845334" y="604001"/>
                  <a:pt x="4858310" y="608879"/>
                  <a:pt x="4855529" y="597172"/>
                </a:cubicBezTo>
                <a:cubicBezTo>
                  <a:pt x="4837456" y="594106"/>
                  <a:pt x="4842090" y="630898"/>
                  <a:pt x="4824944" y="614314"/>
                </a:cubicBezTo>
                <a:cubicBezTo>
                  <a:pt x="4824017" y="606927"/>
                  <a:pt x="4831431" y="603443"/>
                  <a:pt x="4840236" y="604140"/>
                </a:cubicBezTo>
                <a:cubicBezTo>
                  <a:pt x="4824944" y="587556"/>
                  <a:pt x="4798067" y="616125"/>
                  <a:pt x="4790653" y="607764"/>
                </a:cubicBezTo>
                <a:cubicBezTo>
                  <a:pt x="4789264" y="613896"/>
                  <a:pt x="4791117" y="616961"/>
                  <a:pt x="4794823" y="618216"/>
                </a:cubicBezTo>
                <a:cubicBezTo>
                  <a:pt x="4779069" y="617380"/>
                  <a:pt x="4742924" y="614453"/>
                  <a:pt x="4718827" y="620446"/>
                </a:cubicBezTo>
                <a:cubicBezTo>
                  <a:pt x="4719291" y="624487"/>
                  <a:pt x="4720680" y="628668"/>
                  <a:pt x="4717900" y="631734"/>
                </a:cubicBezTo>
                <a:cubicBezTo>
                  <a:pt x="4713267" y="630340"/>
                  <a:pt x="4714657" y="625603"/>
                  <a:pt x="4717900" y="625603"/>
                </a:cubicBezTo>
                <a:cubicBezTo>
                  <a:pt x="4717438" y="622537"/>
                  <a:pt x="4712804" y="623372"/>
                  <a:pt x="4710022" y="622815"/>
                </a:cubicBezTo>
                <a:cubicBezTo>
                  <a:pt x="4703536" y="625880"/>
                  <a:pt x="4698437" y="630062"/>
                  <a:pt x="4697048" y="636473"/>
                </a:cubicBezTo>
                <a:cubicBezTo>
                  <a:pt x="4688243" y="637169"/>
                  <a:pt x="4690561" y="623372"/>
                  <a:pt x="4678975" y="628808"/>
                </a:cubicBezTo>
                <a:cubicBezTo>
                  <a:pt x="4672024" y="629365"/>
                  <a:pt x="4672488" y="638563"/>
                  <a:pt x="4672951" y="648596"/>
                </a:cubicBezTo>
                <a:cubicBezTo>
                  <a:pt x="4662756" y="629643"/>
                  <a:pt x="4599271" y="647203"/>
                  <a:pt x="4580736" y="648596"/>
                </a:cubicBezTo>
                <a:cubicBezTo>
                  <a:pt x="4586296" y="624348"/>
                  <a:pt x="4627540" y="637308"/>
                  <a:pt x="4632636" y="613059"/>
                </a:cubicBezTo>
                <a:cubicBezTo>
                  <a:pt x="4594638" y="622118"/>
                  <a:pt x="4548761" y="624069"/>
                  <a:pt x="4527445" y="648040"/>
                </a:cubicBezTo>
                <a:cubicBezTo>
                  <a:pt x="4448668" y="615429"/>
                  <a:pt x="4358307" y="682601"/>
                  <a:pt x="4278139" y="657516"/>
                </a:cubicBezTo>
                <a:cubicBezTo>
                  <a:pt x="4262847" y="666156"/>
                  <a:pt x="4246166" y="679674"/>
                  <a:pt x="4229482" y="672010"/>
                </a:cubicBezTo>
                <a:cubicBezTo>
                  <a:pt x="4231336" y="668944"/>
                  <a:pt x="4232728" y="663927"/>
                  <a:pt x="4231799" y="656401"/>
                </a:cubicBezTo>
                <a:cubicBezTo>
                  <a:pt x="4184070" y="657237"/>
                  <a:pt x="4164144" y="697930"/>
                  <a:pt x="4119195" y="668664"/>
                </a:cubicBezTo>
                <a:cubicBezTo>
                  <a:pt x="4127073" y="654590"/>
                  <a:pt x="4135878" y="680371"/>
                  <a:pt x="4153023" y="670059"/>
                </a:cubicBezTo>
                <a:cubicBezTo>
                  <a:pt x="4140047" y="644137"/>
                  <a:pt x="4112245" y="645391"/>
                  <a:pt x="4089075" y="647203"/>
                </a:cubicBezTo>
                <a:cubicBezTo>
                  <a:pt x="4089537" y="627693"/>
                  <a:pt x="4114562" y="632850"/>
                  <a:pt x="4110853" y="609297"/>
                </a:cubicBezTo>
                <a:cubicBezTo>
                  <a:pt x="4142829" y="632153"/>
                  <a:pt x="4162754" y="617101"/>
                  <a:pt x="4201680" y="611109"/>
                </a:cubicBezTo>
                <a:cubicBezTo>
                  <a:pt x="4202143" y="620028"/>
                  <a:pt x="4189168" y="615150"/>
                  <a:pt x="4190094" y="626996"/>
                </a:cubicBezTo>
                <a:cubicBezTo>
                  <a:pt x="4222996" y="612502"/>
                  <a:pt x="4235970" y="616264"/>
                  <a:pt x="4259603" y="600935"/>
                </a:cubicBezTo>
                <a:cubicBezTo>
                  <a:pt x="4287406" y="618077"/>
                  <a:pt x="4319381" y="598706"/>
                  <a:pt x="4367574" y="599403"/>
                </a:cubicBezTo>
                <a:cubicBezTo>
                  <a:pt x="4382866" y="590762"/>
                  <a:pt x="4362013" y="574456"/>
                  <a:pt x="4382866" y="572784"/>
                </a:cubicBezTo>
                <a:cubicBezTo>
                  <a:pt x="4387500" y="632153"/>
                  <a:pt x="4449594" y="558988"/>
                  <a:pt x="4480642" y="593828"/>
                </a:cubicBezTo>
                <a:cubicBezTo>
                  <a:pt x="4485740" y="590483"/>
                  <a:pt x="4488983" y="585745"/>
                  <a:pt x="4486204" y="578359"/>
                </a:cubicBezTo>
                <a:cubicBezTo>
                  <a:pt x="4583515" y="591737"/>
                  <a:pt x="4642830" y="556897"/>
                  <a:pt x="4718827" y="555364"/>
                </a:cubicBezTo>
                <a:cubicBezTo>
                  <a:pt x="4717900" y="562890"/>
                  <a:pt x="4712804" y="567906"/>
                  <a:pt x="4711412" y="575572"/>
                </a:cubicBezTo>
                <a:cubicBezTo>
                  <a:pt x="4730412" y="565120"/>
                  <a:pt x="4745241" y="551741"/>
                  <a:pt x="4758216" y="537247"/>
                </a:cubicBezTo>
                <a:cubicBezTo>
                  <a:pt x="4759143" y="549093"/>
                  <a:pt x="4807335" y="550069"/>
                  <a:pt x="4806873" y="523311"/>
                </a:cubicBezTo>
                <a:cubicBezTo>
                  <a:pt x="4820773" y="541567"/>
                  <a:pt x="4877771" y="544633"/>
                  <a:pt x="4886575" y="519966"/>
                </a:cubicBezTo>
                <a:cubicBezTo>
                  <a:pt x="4901404" y="553134"/>
                  <a:pt x="4929207" y="524008"/>
                  <a:pt x="4949598" y="534320"/>
                </a:cubicBezTo>
                <a:cubicBezTo>
                  <a:pt x="4959792" y="530558"/>
                  <a:pt x="4943573" y="525680"/>
                  <a:pt x="4953768" y="518851"/>
                </a:cubicBezTo>
                <a:cubicBezTo>
                  <a:pt x="4968597" y="525262"/>
                  <a:pt x="4981108" y="527353"/>
                  <a:pt x="4985279" y="510490"/>
                </a:cubicBezTo>
                <a:cubicBezTo>
                  <a:pt x="4993619" y="527770"/>
                  <a:pt x="5013082" y="504078"/>
                  <a:pt x="5016788" y="532090"/>
                </a:cubicBezTo>
                <a:cubicBezTo>
                  <a:pt x="5021423" y="522753"/>
                  <a:pt x="5028374" y="517597"/>
                  <a:pt x="5029764" y="535435"/>
                </a:cubicBezTo>
                <a:cubicBezTo>
                  <a:pt x="5037179" y="518433"/>
                  <a:pt x="5056178" y="536550"/>
                  <a:pt x="5056640" y="518572"/>
                </a:cubicBezTo>
                <a:cubicBezTo>
                  <a:pt x="5077031" y="548256"/>
                  <a:pt x="5116884" y="510629"/>
                  <a:pt x="5133563" y="521221"/>
                </a:cubicBezTo>
                <a:cubicBezTo>
                  <a:pt x="5141906" y="513138"/>
                  <a:pt x="5140051" y="495438"/>
                  <a:pt x="5155809" y="494184"/>
                </a:cubicBezTo>
                <a:cubicBezTo>
                  <a:pt x="5187782" y="515647"/>
                  <a:pt x="5195659" y="498504"/>
                  <a:pt x="5233195" y="482059"/>
                </a:cubicBezTo>
                <a:cubicBezTo>
                  <a:pt x="5248023" y="486938"/>
                  <a:pt x="5217439" y="486241"/>
                  <a:pt x="5222073" y="497808"/>
                </a:cubicBezTo>
                <a:cubicBezTo>
                  <a:pt x="5314752" y="480109"/>
                  <a:pt x="5423187" y="486241"/>
                  <a:pt x="5506597" y="415445"/>
                </a:cubicBezTo>
                <a:cubicBezTo>
                  <a:pt x="5502890" y="396353"/>
                  <a:pt x="5488987" y="415864"/>
                  <a:pt x="5488987" y="397886"/>
                </a:cubicBezTo>
                <a:cubicBezTo>
                  <a:pt x="5506135" y="387574"/>
                  <a:pt x="5510304" y="391754"/>
                  <a:pt x="5525132" y="380047"/>
                </a:cubicBezTo>
                <a:cubicBezTo>
                  <a:pt x="5527913" y="390360"/>
                  <a:pt x="5517255" y="388130"/>
                  <a:pt x="5517718" y="395517"/>
                </a:cubicBezTo>
                <a:cubicBezTo>
                  <a:pt x="5521426" y="401230"/>
                  <a:pt x="5526985" y="403600"/>
                  <a:pt x="5535792" y="402903"/>
                </a:cubicBezTo>
                <a:cubicBezTo>
                  <a:pt x="5544595" y="400812"/>
                  <a:pt x="5529767" y="395935"/>
                  <a:pt x="5538108" y="389384"/>
                </a:cubicBezTo>
                <a:cubicBezTo>
                  <a:pt x="5545986" y="397746"/>
                  <a:pt x="5554325" y="391196"/>
                  <a:pt x="5558960" y="381859"/>
                </a:cubicBezTo>
                <a:cubicBezTo>
                  <a:pt x="5574715" y="379211"/>
                  <a:pt x="5559425" y="386318"/>
                  <a:pt x="5563595" y="396353"/>
                </a:cubicBezTo>
                <a:cubicBezTo>
                  <a:pt x="5576107" y="395377"/>
                  <a:pt x="5574715" y="383392"/>
                  <a:pt x="5573788" y="370153"/>
                </a:cubicBezTo>
                <a:cubicBezTo>
                  <a:pt x="5582594" y="367923"/>
                  <a:pt x="5581666" y="376981"/>
                  <a:pt x="5583983" y="384228"/>
                </a:cubicBezTo>
                <a:cubicBezTo>
                  <a:pt x="5633102" y="356496"/>
                  <a:pt x="5701223" y="356913"/>
                  <a:pt x="5755439" y="348134"/>
                </a:cubicBezTo>
                <a:cubicBezTo>
                  <a:pt x="5766098" y="347297"/>
                  <a:pt x="5776756" y="349667"/>
                  <a:pt x="5773048" y="351478"/>
                </a:cubicBezTo>
                <a:cubicBezTo>
                  <a:pt x="5798998" y="338936"/>
                  <a:pt x="5844411" y="333779"/>
                  <a:pt x="5852288" y="364440"/>
                </a:cubicBezTo>
                <a:cubicBezTo>
                  <a:pt x="5856461" y="335591"/>
                  <a:pt x="5876850" y="361512"/>
                  <a:pt x="5895384" y="352314"/>
                </a:cubicBezTo>
                <a:cubicBezTo>
                  <a:pt x="5896773" y="348552"/>
                  <a:pt x="5898628" y="344928"/>
                  <a:pt x="5898165" y="339772"/>
                </a:cubicBezTo>
                <a:cubicBezTo>
                  <a:pt x="5900946" y="328623"/>
                  <a:pt x="5901872" y="347995"/>
                  <a:pt x="5898165" y="351061"/>
                </a:cubicBezTo>
                <a:cubicBezTo>
                  <a:pt x="5899091" y="350364"/>
                  <a:pt x="5900019" y="351061"/>
                  <a:pt x="5900946" y="350085"/>
                </a:cubicBezTo>
                <a:cubicBezTo>
                  <a:pt x="5900946" y="350364"/>
                  <a:pt x="5900946" y="350364"/>
                  <a:pt x="5900946" y="350503"/>
                </a:cubicBezTo>
                <a:cubicBezTo>
                  <a:pt x="5903262" y="349388"/>
                  <a:pt x="5905579" y="348552"/>
                  <a:pt x="5907433" y="349109"/>
                </a:cubicBezTo>
                <a:cubicBezTo>
                  <a:pt x="5915311" y="337264"/>
                  <a:pt x="5927823" y="333779"/>
                  <a:pt x="5941260" y="332386"/>
                </a:cubicBezTo>
                <a:cubicBezTo>
                  <a:pt x="5940334" y="330296"/>
                  <a:pt x="5938943" y="328066"/>
                  <a:pt x="5939869" y="324720"/>
                </a:cubicBezTo>
                <a:cubicBezTo>
                  <a:pt x="5952383" y="326114"/>
                  <a:pt x="5981112" y="327786"/>
                  <a:pt x="5986209" y="308973"/>
                </a:cubicBezTo>
                <a:cubicBezTo>
                  <a:pt x="5989453" y="310506"/>
                  <a:pt x="5994086" y="309530"/>
                  <a:pt x="5997794" y="309809"/>
                </a:cubicBezTo>
                <a:cubicBezTo>
                  <a:pt x="5998721" y="307859"/>
                  <a:pt x="6001038" y="307719"/>
                  <a:pt x="6001965" y="305071"/>
                </a:cubicBezTo>
                <a:cubicBezTo>
                  <a:pt x="6038574" y="296709"/>
                  <a:pt x="6064523" y="317473"/>
                  <a:pt x="6097423" y="304235"/>
                </a:cubicBezTo>
                <a:cubicBezTo>
                  <a:pt x="6097887" y="303259"/>
                  <a:pt x="6098814" y="303399"/>
                  <a:pt x="6099276" y="302283"/>
                </a:cubicBezTo>
                <a:cubicBezTo>
                  <a:pt x="6099741" y="302423"/>
                  <a:pt x="6099276" y="303399"/>
                  <a:pt x="6099741" y="303677"/>
                </a:cubicBezTo>
                <a:cubicBezTo>
                  <a:pt x="6102058" y="302702"/>
                  <a:pt x="6103911" y="302702"/>
                  <a:pt x="6106229" y="301308"/>
                </a:cubicBezTo>
                <a:cubicBezTo>
                  <a:pt x="6104837" y="307022"/>
                  <a:pt x="6103911" y="312040"/>
                  <a:pt x="6103911" y="316777"/>
                </a:cubicBezTo>
                <a:cubicBezTo>
                  <a:pt x="6103911" y="317473"/>
                  <a:pt x="6104837" y="318031"/>
                  <a:pt x="6104837" y="318729"/>
                </a:cubicBezTo>
                <a:cubicBezTo>
                  <a:pt x="6105302" y="320680"/>
                  <a:pt x="6107155" y="321934"/>
                  <a:pt x="6108082" y="323466"/>
                </a:cubicBezTo>
                <a:cubicBezTo>
                  <a:pt x="6110399" y="313990"/>
                  <a:pt x="6115496" y="311760"/>
                  <a:pt x="6116885" y="324720"/>
                </a:cubicBezTo>
                <a:cubicBezTo>
                  <a:pt x="6118276" y="324442"/>
                  <a:pt x="6119666" y="325000"/>
                  <a:pt x="6120593" y="324720"/>
                </a:cubicBezTo>
                <a:cubicBezTo>
                  <a:pt x="6122911" y="319704"/>
                  <a:pt x="6116885" y="310924"/>
                  <a:pt x="6122447" y="300054"/>
                </a:cubicBezTo>
                <a:cubicBezTo>
                  <a:pt x="6165079" y="305628"/>
                  <a:pt x="6209565" y="258802"/>
                  <a:pt x="6265636" y="275247"/>
                </a:cubicBezTo>
                <a:cubicBezTo>
                  <a:pt x="6279538" y="269673"/>
                  <a:pt x="6265171" y="264656"/>
                  <a:pt x="6273512" y="255040"/>
                </a:cubicBezTo>
                <a:cubicBezTo>
                  <a:pt x="6318462" y="244031"/>
                  <a:pt x="6333755" y="256573"/>
                  <a:pt x="6355534" y="242915"/>
                </a:cubicBezTo>
                <a:cubicBezTo>
                  <a:pt x="6356924" y="247793"/>
                  <a:pt x="6359705" y="250859"/>
                  <a:pt x="6363411" y="253228"/>
                </a:cubicBezTo>
                <a:cubicBezTo>
                  <a:pt x="6393995" y="250441"/>
                  <a:pt x="6430604" y="258943"/>
                  <a:pt x="6451920" y="236366"/>
                </a:cubicBezTo>
                <a:cubicBezTo>
                  <a:pt x="6477870" y="265910"/>
                  <a:pt x="6495016" y="206960"/>
                  <a:pt x="6507526" y="240546"/>
                </a:cubicBezTo>
                <a:cubicBezTo>
                  <a:pt x="6514014" y="239153"/>
                  <a:pt x="6518649" y="236644"/>
                  <a:pt x="6520501" y="231349"/>
                </a:cubicBezTo>
                <a:cubicBezTo>
                  <a:pt x="6526526" y="235251"/>
                  <a:pt x="6531623" y="240268"/>
                  <a:pt x="6536258" y="245564"/>
                </a:cubicBezTo>
                <a:cubicBezTo>
                  <a:pt x="6541354" y="242915"/>
                  <a:pt x="6544599" y="237759"/>
                  <a:pt x="6539502" y="236366"/>
                </a:cubicBezTo>
                <a:cubicBezTo>
                  <a:pt x="6547378" y="229677"/>
                  <a:pt x="6555256" y="233578"/>
                  <a:pt x="6563598" y="242915"/>
                </a:cubicBezTo>
                <a:cubicBezTo>
                  <a:pt x="6597426" y="238038"/>
                  <a:pt x="6623840" y="229119"/>
                  <a:pt x="6655350" y="233439"/>
                </a:cubicBezTo>
                <a:cubicBezTo>
                  <a:pt x="6657666" y="224799"/>
                  <a:pt x="6664153" y="217134"/>
                  <a:pt x="6673422" y="214765"/>
                </a:cubicBezTo>
                <a:cubicBezTo>
                  <a:pt x="6676667" y="225496"/>
                  <a:pt x="6666935" y="224102"/>
                  <a:pt x="6668788" y="232185"/>
                </a:cubicBezTo>
                <a:cubicBezTo>
                  <a:pt x="6691957" y="214486"/>
                  <a:pt x="6727639" y="224241"/>
                  <a:pt x="6756370" y="228422"/>
                </a:cubicBezTo>
                <a:cubicBezTo>
                  <a:pt x="6766563" y="218388"/>
                  <a:pt x="6779539" y="209190"/>
                  <a:pt x="6798539" y="212117"/>
                </a:cubicBezTo>
                <a:cubicBezTo>
                  <a:pt x="6789270" y="221454"/>
                  <a:pt x="6793905" y="219781"/>
                  <a:pt x="6800391" y="223265"/>
                </a:cubicBezTo>
                <a:cubicBezTo>
                  <a:pt x="6801781" y="223127"/>
                  <a:pt x="6803636" y="222569"/>
                  <a:pt x="6805488" y="222430"/>
                </a:cubicBezTo>
                <a:cubicBezTo>
                  <a:pt x="6810122" y="217134"/>
                  <a:pt x="6813368" y="210166"/>
                  <a:pt x="6817537" y="204591"/>
                </a:cubicBezTo>
                <a:cubicBezTo>
                  <a:pt x="6831902" y="210862"/>
                  <a:pt x="6830513" y="214068"/>
                  <a:pt x="6848121" y="206821"/>
                </a:cubicBezTo>
                <a:cubicBezTo>
                  <a:pt x="6848586" y="215183"/>
                  <a:pt x="6847196" y="217831"/>
                  <a:pt x="6847196" y="220339"/>
                </a:cubicBezTo>
                <a:cubicBezTo>
                  <a:pt x="6849512" y="220478"/>
                  <a:pt x="6852292" y="220339"/>
                  <a:pt x="6855072" y="220339"/>
                </a:cubicBezTo>
                <a:cubicBezTo>
                  <a:pt x="6862024" y="212953"/>
                  <a:pt x="6869438" y="211559"/>
                  <a:pt x="6881022" y="199854"/>
                </a:cubicBezTo>
                <a:cubicBezTo>
                  <a:pt x="6878706" y="211978"/>
                  <a:pt x="6884730" y="225078"/>
                  <a:pt x="6901410" y="207378"/>
                </a:cubicBezTo>
                <a:cubicBezTo>
                  <a:pt x="6903728" y="214347"/>
                  <a:pt x="6909753" y="214904"/>
                  <a:pt x="6915776" y="216158"/>
                </a:cubicBezTo>
                <a:cubicBezTo>
                  <a:pt x="6926435" y="214207"/>
                  <a:pt x="6937094" y="212256"/>
                  <a:pt x="6946825" y="206821"/>
                </a:cubicBezTo>
                <a:cubicBezTo>
                  <a:pt x="6944971" y="216158"/>
                  <a:pt x="6952849" y="214904"/>
                  <a:pt x="6950067" y="226889"/>
                </a:cubicBezTo>
                <a:cubicBezTo>
                  <a:pt x="6955164" y="226889"/>
                  <a:pt x="6957018" y="224520"/>
                  <a:pt x="6958409" y="221315"/>
                </a:cubicBezTo>
                <a:cubicBezTo>
                  <a:pt x="6958409" y="219224"/>
                  <a:pt x="6956556" y="219364"/>
                  <a:pt x="6957018" y="216158"/>
                </a:cubicBezTo>
                <a:cubicBezTo>
                  <a:pt x="6957482" y="216158"/>
                  <a:pt x="6958871" y="216298"/>
                  <a:pt x="6959336" y="216158"/>
                </a:cubicBezTo>
                <a:cubicBezTo>
                  <a:pt x="6959336" y="212953"/>
                  <a:pt x="6959798" y="209748"/>
                  <a:pt x="6959336" y="205567"/>
                </a:cubicBezTo>
                <a:cubicBezTo>
                  <a:pt x="6966750" y="208075"/>
                  <a:pt x="6967213" y="212256"/>
                  <a:pt x="6968140" y="216715"/>
                </a:cubicBezTo>
                <a:cubicBezTo>
                  <a:pt x="6970457" y="216715"/>
                  <a:pt x="6972774" y="217134"/>
                  <a:pt x="6974627" y="217134"/>
                </a:cubicBezTo>
                <a:cubicBezTo>
                  <a:pt x="6976945" y="215183"/>
                  <a:pt x="6981116" y="215601"/>
                  <a:pt x="6986675" y="218109"/>
                </a:cubicBezTo>
                <a:cubicBezTo>
                  <a:pt x="6988065" y="218109"/>
                  <a:pt x="6988530" y="217970"/>
                  <a:pt x="6989457" y="218109"/>
                </a:cubicBezTo>
                <a:cubicBezTo>
                  <a:pt x="6991774" y="202640"/>
                  <a:pt x="6973702" y="214625"/>
                  <a:pt x="6975091" y="200271"/>
                </a:cubicBezTo>
                <a:cubicBezTo>
                  <a:pt x="6984823" y="206263"/>
                  <a:pt x="7007527" y="210166"/>
                  <a:pt x="7010772" y="221315"/>
                </a:cubicBezTo>
                <a:cubicBezTo>
                  <a:pt x="7013090" y="222012"/>
                  <a:pt x="7014944" y="222847"/>
                  <a:pt x="7016796" y="223684"/>
                </a:cubicBezTo>
                <a:cubicBezTo>
                  <a:pt x="7020969" y="221594"/>
                  <a:pt x="7021431" y="216158"/>
                  <a:pt x="7020041" y="208215"/>
                </a:cubicBezTo>
                <a:cubicBezTo>
                  <a:pt x="7059893" y="208215"/>
                  <a:pt x="7067770" y="234972"/>
                  <a:pt x="7107622" y="213510"/>
                </a:cubicBezTo>
                <a:cubicBezTo>
                  <a:pt x="7104378" y="218806"/>
                  <a:pt x="7107622" y="220339"/>
                  <a:pt x="7109475" y="225635"/>
                </a:cubicBezTo>
                <a:cubicBezTo>
                  <a:pt x="7120596" y="227028"/>
                  <a:pt x="7125230" y="220060"/>
                  <a:pt x="7126620" y="212117"/>
                </a:cubicBezTo>
                <a:cubicBezTo>
                  <a:pt x="7138206" y="208075"/>
                  <a:pt x="7136817" y="221872"/>
                  <a:pt x="7144693" y="221872"/>
                </a:cubicBezTo>
                <a:cubicBezTo>
                  <a:pt x="7160448" y="220478"/>
                  <a:pt x="7157206" y="198878"/>
                  <a:pt x="7176204" y="200271"/>
                </a:cubicBezTo>
                <a:cubicBezTo>
                  <a:pt x="7170644" y="212953"/>
                  <a:pt x="7179448" y="212395"/>
                  <a:pt x="7189179" y="212395"/>
                </a:cubicBezTo>
                <a:cubicBezTo>
                  <a:pt x="7205862" y="193442"/>
                  <a:pt x="7231347" y="183966"/>
                  <a:pt x="7243395" y="159578"/>
                </a:cubicBezTo>
                <a:cubicBezTo>
                  <a:pt x="7254518" y="158324"/>
                  <a:pt x="7271664" y="162086"/>
                  <a:pt x="7268420" y="146060"/>
                </a:cubicBezTo>
                <a:cubicBezTo>
                  <a:pt x="7274906" y="146060"/>
                  <a:pt x="7280004" y="147731"/>
                  <a:pt x="7281395" y="153028"/>
                </a:cubicBezTo>
                <a:cubicBezTo>
                  <a:pt x="7291589" y="150658"/>
                  <a:pt x="7273981" y="142436"/>
                  <a:pt x="7280467" y="137976"/>
                </a:cubicBezTo>
                <a:cubicBezTo>
                  <a:pt x="7270737" y="138813"/>
                  <a:pt x="7261934" y="138673"/>
                  <a:pt x="7250810" y="141879"/>
                </a:cubicBezTo>
                <a:cubicBezTo>
                  <a:pt x="7250810" y="135050"/>
                  <a:pt x="7254054" y="135050"/>
                  <a:pt x="7254054" y="129614"/>
                </a:cubicBezTo>
                <a:cubicBezTo>
                  <a:pt x="7269346" y="129057"/>
                  <a:pt x="7282321" y="127943"/>
                  <a:pt x="7295296" y="127246"/>
                </a:cubicBezTo>
                <a:cubicBezTo>
                  <a:pt x="7296687" y="124738"/>
                  <a:pt x="7297613" y="121531"/>
                  <a:pt x="7299004" y="119302"/>
                </a:cubicBezTo>
                <a:cubicBezTo>
                  <a:pt x="7321245" y="109965"/>
                  <a:pt x="7367584" y="114007"/>
                  <a:pt x="7388440" y="99234"/>
                </a:cubicBezTo>
                <a:cubicBezTo>
                  <a:pt x="7393072" y="101882"/>
                  <a:pt x="7396316" y="104670"/>
                  <a:pt x="7399560" y="111359"/>
                </a:cubicBezTo>
                <a:cubicBezTo>
                  <a:pt x="7457021" y="79166"/>
                  <a:pt x="7501507" y="118047"/>
                  <a:pt x="7555723" y="105923"/>
                </a:cubicBezTo>
                <a:cubicBezTo>
                  <a:pt x="7560820" y="115957"/>
                  <a:pt x="7567772" y="116097"/>
                  <a:pt x="7576113" y="115121"/>
                </a:cubicBezTo>
                <a:cubicBezTo>
                  <a:pt x="7575186" y="113867"/>
                  <a:pt x="7574723" y="111637"/>
                  <a:pt x="7573333" y="111359"/>
                </a:cubicBezTo>
                <a:cubicBezTo>
                  <a:pt x="7591403" y="109547"/>
                  <a:pt x="7613648" y="110661"/>
                  <a:pt x="7631256" y="109547"/>
                </a:cubicBezTo>
                <a:cubicBezTo>
                  <a:pt x="7623842" y="136026"/>
                  <a:pt x="7621525" y="116515"/>
                  <a:pt x="7612258" y="127804"/>
                </a:cubicBezTo>
                <a:cubicBezTo>
                  <a:pt x="7638207" y="126410"/>
                  <a:pt x="7660914" y="145781"/>
                  <a:pt x="7690108" y="142436"/>
                </a:cubicBezTo>
                <a:lnTo>
                  <a:pt x="7690108" y="154560"/>
                </a:lnTo>
                <a:cubicBezTo>
                  <a:pt x="7710960" y="139788"/>
                  <a:pt x="7709571" y="163619"/>
                  <a:pt x="7728569" y="147454"/>
                </a:cubicBezTo>
                <a:cubicBezTo>
                  <a:pt x="7733203" y="159578"/>
                  <a:pt x="7746178" y="159857"/>
                  <a:pt x="7755446" y="153028"/>
                </a:cubicBezTo>
                <a:cubicBezTo>
                  <a:pt x="7752204" y="165152"/>
                  <a:pt x="7760080" y="163758"/>
                  <a:pt x="7758691" y="173235"/>
                </a:cubicBezTo>
                <a:cubicBezTo>
                  <a:pt x="7769811" y="175882"/>
                  <a:pt x="7764714" y="161110"/>
                  <a:pt x="7774446" y="163758"/>
                </a:cubicBezTo>
                <a:cubicBezTo>
                  <a:pt x="7783249" y="172260"/>
                  <a:pt x="7795761" y="178949"/>
                  <a:pt x="7807809" y="185360"/>
                </a:cubicBezTo>
                <a:cubicBezTo>
                  <a:pt x="7816150" y="181875"/>
                  <a:pt x="7824954" y="177415"/>
                  <a:pt x="7830516" y="177415"/>
                </a:cubicBezTo>
                <a:cubicBezTo>
                  <a:pt x="7844882" y="176021"/>
                  <a:pt x="7859710" y="197345"/>
                  <a:pt x="7870831" y="173235"/>
                </a:cubicBezTo>
                <a:cubicBezTo>
                  <a:pt x="7886586" y="201386"/>
                  <a:pt x="7908829" y="175744"/>
                  <a:pt x="7934316" y="171702"/>
                </a:cubicBezTo>
                <a:cubicBezTo>
                  <a:pt x="7938950" y="171702"/>
                  <a:pt x="7937560" y="165570"/>
                  <a:pt x="7937560" y="160134"/>
                </a:cubicBezTo>
                <a:cubicBezTo>
                  <a:pt x="7974168" y="172260"/>
                  <a:pt x="7998265" y="153167"/>
                  <a:pt x="8023751" y="145084"/>
                </a:cubicBezTo>
                <a:cubicBezTo>
                  <a:pt x="8034873" y="145084"/>
                  <a:pt x="8040897" y="153028"/>
                  <a:pt x="8044141" y="163758"/>
                </a:cubicBezTo>
                <a:cubicBezTo>
                  <a:pt x="8060360" y="166407"/>
                  <a:pt x="8060360" y="151913"/>
                  <a:pt x="8073335" y="149265"/>
                </a:cubicBezTo>
                <a:cubicBezTo>
                  <a:pt x="8071480" y="168079"/>
                  <a:pt x="8100212" y="145084"/>
                  <a:pt x="8098357" y="162504"/>
                </a:cubicBezTo>
                <a:cubicBezTo>
                  <a:pt x="8109478" y="147731"/>
                  <a:pt x="8130796" y="153167"/>
                  <a:pt x="8143307" y="155814"/>
                </a:cubicBezTo>
                <a:cubicBezTo>
                  <a:pt x="8135430" y="153167"/>
                  <a:pt x="8159527" y="165291"/>
                  <a:pt x="8167403" y="165291"/>
                </a:cubicBezTo>
                <a:cubicBezTo>
                  <a:pt x="8176672" y="165291"/>
                  <a:pt x="8183159" y="155814"/>
                  <a:pt x="8192890" y="155814"/>
                </a:cubicBezTo>
                <a:cubicBezTo>
                  <a:pt x="8204011" y="154421"/>
                  <a:pt x="8215132" y="168079"/>
                  <a:pt x="8226254" y="169472"/>
                </a:cubicBezTo>
                <a:cubicBezTo>
                  <a:pt x="8242009" y="170726"/>
                  <a:pt x="8272593" y="174768"/>
                  <a:pt x="8299934" y="166684"/>
                </a:cubicBezTo>
                <a:cubicBezTo>
                  <a:pt x="8304569" y="176021"/>
                  <a:pt x="8307811" y="173374"/>
                  <a:pt x="8304569" y="186892"/>
                </a:cubicBezTo>
                <a:cubicBezTo>
                  <a:pt x="8326811" y="154700"/>
                  <a:pt x="8344419" y="188286"/>
                  <a:pt x="8368516" y="181597"/>
                </a:cubicBezTo>
                <a:cubicBezTo>
                  <a:pt x="8367126" y="170866"/>
                  <a:pt x="8354150" y="172120"/>
                  <a:pt x="8354150" y="158741"/>
                </a:cubicBezTo>
                <a:cubicBezTo>
                  <a:pt x="8366663" y="189541"/>
                  <a:pt x="8413002" y="161250"/>
                  <a:pt x="8438951" y="167939"/>
                </a:cubicBezTo>
                <a:cubicBezTo>
                  <a:pt x="8437099" y="149125"/>
                  <a:pt x="8409758" y="165431"/>
                  <a:pt x="8411612" y="141322"/>
                </a:cubicBezTo>
                <a:cubicBezTo>
                  <a:pt x="8400491" y="165431"/>
                  <a:pt x="8379175" y="145084"/>
                  <a:pt x="8360174" y="153028"/>
                </a:cubicBezTo>
                <a:cubicBezTo>
                  <a:pt x="8409758" y="124877"/>
                  <a:pt x="8482048" y="122228"/>
                  <a:pt x="8520046" y="112752"/>
                </a:cubicBezTo>
                <a:cubicBezTo>
                  <a:pt x="8504291" y="77912"/>
                  <a:pt x="8441731" y="127804"/>
                  <a:pt x="8425513" y="87527"/>
                </a:cubicBezTo>
                <a:cubicBezTo>
                  <a:pt x="8405124" y="99652"/>
                  <a:pt x="8401416" y="97004"/>
                  <a:pt x="8387053" y="107736"/>
                </a:cubicBezTo>
                <a:cubicBezTo>
                  <a:pt x="8390295" y="95611"/>
                  <a:pt x="8388905" y="88783"/>
                  <a:pt x="8379637" y="83347"/>
                </a:cubicBezTo>
                <a:cubicBezTo>
                  <a:pt x="8362029" y="115539"/>
                  <a:pt x="8315690" y="82093"/>
                  <a:pt x="8307811" y="114286"/>
                </a:cubicBezTo>
                <a:cubicBezTo>
                  <a:pt x="8298079" y="92823"/>
                  <a:pt x="8283716" y="113170"/>
                  <a:pt x="8273985" y="109129"/>
                </a:cubicBezTo>
                <a:cubicBezTo>
                  <a:pt x="8273985" y="102439"/>
                  <a:pt x="8283716" y="106481"/>
                  <a:pt x="8283716" y="99792"/>
                </a:cubicBezTo>
                <a:cubicBezTo>
                  <a:pt x="8280472" y="78329"/>
                  <a:pt x="8237375" y="97004"/>
                  <a:pt x="8242009" y="107736"/>
                </a:cubicBezTo>
                <a:cubicBezTo>
                  <a:pt x="8226254" y="86273"/>
                  <a:pt x="8204011" y="104948"/>
                  <a:pt x="8181769" y="115679"/>
                </a:cubicBezTo>
                <a:cubicBezTo>
                  <a:pt x="8167403" y="102300"/>
                  <a:pt x="8106698" y="93102"/>
                  <a:pt x="8094187" y="119860"/>
                </a:cubicBezTo>
                <a:cubicBezTo>
                  <a:pt x="8087699" y="118466"/>
                  <a:pt x="8085846" y="112891"/>
                  <a:pt x="8085846" y="103554"/>
                </a:cubicBezTo>
                <a:cubicBezTo>
                  <a:pt x="8052482" y="108851"/>
                  <a:pt x="8031628" y="115679"/>
                  <a:pt x="7996410" y="103554"/>
                </a:cubicBezTo>
                <a:cubicBezTo>
                  <a:pt x="8025142" y="90176"/>
                  <a:pt x="8051091" y="106481"/>
                  <a:pt x="8070091" y="80978"/>
                </a:cubicBezTo>
                <a:cubicBezTo>
                  <a:pt x="8066846" y="77076"/>
                  <a:pt x="8062214" y="78329"/>
                  <a:pt x="8062214" y="70386"/>
                </a:cubicBezTo>
                <a:cubicBezTo>
                  <a:pt x="8049238" y="73034"/>
                  <a:pt x="8049238" y="74149"/>
                  <a:pt x="8039507" y="67460"/>
                </a:cubicBezTo>
                <a:cubicBezTo>
                  <a:pt x="8028386" y="78190"/>
                  <a:pt x="8009386" y="87527"/>
                  <a:pt x="7997802" y="75404"/>
                </a:cubicBezTo>
                <a:cubicBezTo>
                  <a:pt x="7988533" y="95472"/>
                  <a:pt x="7969534" y="86134"/>
                  <a:pt x="7957022" y="106202"/>
                </a:cubicBezTo>
                <a:cubicBezTo>
                  <a:pt x="7971388" y="90176"/>
                  <a:pt x="7950536" y="94078"/>
                  <a:pt x="7940804" y="91430"/>
                </a:cubicBezTo>
                <a:cubicBezTo>
                  <a:pt x="7991778" y="61886"/>
                  <a:pt x="8049238" y="67599"/>
                  <a:pt x="8090943" y="51433"/>
                </a:cubicBezTo>
                <a:cubicBezTo>
                  <a:pt x="8096967" y="54081"/>
                  <a:pt x="8111333" y="72616"/>
                  <a:pt x="8116430" y="52548"/>
                </a:cubicBezTo>
                <a:cubicBezTo>
                  <a:pt x="8125698" y="56589"/>
                  <a:pt x="8127551" y="67599"/>
                  <a:pt x="8136820" y="71641"/>
                </a:cubicBezTo>
                <a:cubicBezTo>
                  <a:pt x="8132185" y="64952"/>
                  <a:pt x="8140064" y="64533"/>
                  <a:pt x="8149331" y="53802"/>
                </a:cubicBezTo>
                <a:cubicBezTo>
                  <a:pt x="8154428" y="53802"/>
                  <a:pt x="8151648" y="67320"/>
                  <a:pt x="8159527" y="65926"/>
                </a:cubicBezTo>
                <a:cubicBezTo>
                  <a:pt x="8172038" y="67320"/>
                  <a:pt x="8164159" y="45999"/>
                  <a:pt x="8178525" y="47252"/>
                </a:cubicBezTo>
                <a:cubicBezTo>
                  <a:pt x="8177134" y="55336"/>
                  <a:pt x="8179914" y="55336"/>
                  <a:pt x="8184549" y="55336"/>
                </a:cubicBezTo>
                <a:cubicBezTo>
                  <a:pt x="8210035" y="25790"/>
                  <a:pt x="8269351" y="54081"/>
                  <a:pt x="8293447" y="38055"/>
                </a:cubicBezTo>
                <a:cubicBezTo>
                  <a:pt x="8320324" y="56868"/>
                  <a:pt x="8349053" y="25929"/>
                  <a:pt x="8387053" y="39308"/>
                </a:cubicBezTo>
                <a:cubicBezTo>
                  <a:pt x="8401416" y="28578"/>
                  <a:pt x="8427368" y="19101"/>
                  <a:pt x="8432000" y="35128"/>
                </a:cubicBezTo>
                <a:cubicBezTo>
                  <a:pt x="8438489" y="32479"/>
                  <a:pt x="8443586" y="25512"/>
                  <a:pt x="8448220" y="21470"/>
                </a:cubicBezTo>
                <a:cubicBezTo>
                  <a:pt x="8446366" y="17429"/>
                  <a:pt x="8439879" y="17986"/>
                  <a:pt x="8441268" y="9903"/>
                </a:cubicBezTo>
                <a:cubicBezTo>
                  <a:pt x="8446366" y="26070"/>
                  <a:pt x="8456097" y="12273"/>
                  <a:pt x="8463975" y="12273"/>
                </a:cubicBezTo>
                <a:cubicBezTo>
                  <a:pt x="8502436" y="12273"/>
                  <a:pt x="8556654" y="11018"/>
                  <a:pt x="8599749" y="13667"/>
                </a:cubicBezTo>
                <a:cubicBezTo>
                  <a:pt x="8599749" y="28439"/>
                  <a:pt x="8596506" y="24258"/>
                  <a:pt x="8587238" y="21470"/>
                </a:cubicBezTo>
                <a:cubicBezTo>
                  <a:pt x="8588628" y="26905"/>
                  <a:pt x="8586775" y="30112"/>
                  <a:pt x="8583531" y="31505"/>
                </a:cubicBezTo>
                <a:cubicBezTo>
                  <a:pt x="8585385" y="35545"/>
                  <a:pt x="8591872" y="34013"/>
                  <a:pt x="8591872" y="30112"/>
                </a:cubicBezTo>
                <a:cubicBezTo>
                  <a:pt x="8599749" y="34013"/>
                  <a:pt x="8587238" y="41817"/>
                  <a:pt x="8595117" y="45858"/>
                </a:cubicBezTo>
                <a:cubicBezTo>
                  <a:pt x="8614115" y="6976"/>
                  <a:pt x="8651187" y="40702"/>
                  <a:pt x="8679916" y="39308"/>
                </a:cubicBezTo>
                <a:cubicBezTo>
                  <a:pt x="8679916" y="36661"/>
                  <a:pt x="8672966" y="33734"/>
                  <a:pt x="8671112" y="35128"/>
                </a:cubicBezTo>
                <a:cubicBezTo>
                  <a:pt x="8672040" y="34570"/>
                  <a:pt x="8673429" y="34710"/>
                  <a:pt x="8673892" y="34292"/>
                </a:cubicBezTo>
                <a:cubicBezTo>
                  <a:pt x="8674819" y="22724"/>
                  <a:pt x="8680381" y="17011"/>
                  <a:pt x="8692892" y="17011"/>
                </a:cubicBezTo>
                <a:cubicBezTo>
                  <a:pt x="8694745" y="18962"/>
                  <a:pt x="8693819" y="23282"/>
                  <a:pt x="8694745" y="26208"/>
                </a:cubicBezTo>
                <a:cubicBezTo>
                  <a:pt x="8723939" y="14363"/>
                  <a:pt x="8754987" y="9207"/>
                  <a:pt x="8768888" y="23004"/>
                </a:cubicBezTo>
                <a:cubicBezTo>
                  <a:pt x="8778620" y="24258"/>
                  <a:pt x="8768888" y="4329"/>
                  <a:pt x="8780009" y="6976"/>
                </a:cubicBezTo>
                <a:close/>
                <a:moveTo>
                  <a:pt x="8826813" y="6837"/>
                </a:moveTo>
                <a:cubicBezTo>
                  <a:pt x="8831911" y="8092"/>
                  <a:pt x="8833765" y="12273"/>
                  <a:pt x="8841641" y="9345"/>
                </a:cubicBezTo>
                <a:cubicBezTo>
                  <a:pt x="8841641" y="13248"/>
                  <a:pt x="8837935" y="13667"/>
                  <a:pt x="8834691" y="14920"/>
                </a:cubicBezTo>
                <a:cubicBezTo>
                  <a:pt x="8834691" y="17568"/>
                  <a:pt x="8836545" y="17289"/>
                  <a:pt x="8838398" y="17289"/>
                </a:cubicBezTo>
                <a:cubicBezTo>
                  <a:pt x="8838398" y="22585"/>
                  <a:pt x="8834691" y="20077"/>
                  <a:pt x="8834691" y="18823"/>
                </a:cubicBezTo>
                <a:cubicBezTo>
                  <a:pt x="8824034" y="16174"/>
                  <a:pt x="8829130" y="29414"/>
                  <a:pt x="8816619" y="26766"/>
                </a:cubicBezTo>
                <a:cubicBezTo>
                  <a:pt x="8820326" y="22865"/>
                  <a:pt x="8822179" y="16174"/>
                  <a:pt x="8820326" y="6976"/>
                </a:cubicBezTo>
                <a:cubicBezTo>
                  <a:pt x="8823106" y="6279"/>
                  <a:pt x="8825424" y="6420"/>
                  <a:pt x="8826813" y="6837"/>
                </a:cubicBezTo>
                <a:close/>
                <a:moveTo>
                  <a:pt x="5769342" y="148"/>
                </a:moveTo>
                <a:cubicBezTo>
                  <a:pt x="5771659" y="-1524"/>
                  <a:pt x="5776292" y="11715"/>
                  <a:pt x="5782779" y="6698"/>
                </a:cubicBezTo>
                <a:cubicBezTo>
                  <a:pt x="5782779" y="13387"/>
                  <a:pt x="5788341" y="29414"/>
                  <a:pt x="5778609" y="26766"/>
                </a:cubicBezTo>
                <a:lnTo>
                  <a:pt x="5778609" y="14642"/>
                </a:lnTo>
                <a:cubicBezTo>
                  <a:pt x="5776756" y="9207"/>
                  <a:pt x="5769804" y="14781"/>
                  <a:pt x="5768414" y="8092"/>
                </a:cubicBezTo>
                <a:cubicBezTo>
                  <a:pt x="5768414" y="3075"/>
                  <a:pt x="5768879" y="705"/>
                  <a:pt x="5769342" y="14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5362965"/>
      </p:ext>
    </p:extLst>
  </p:cSld>
  <p:clrMapOvr>
    <a:masterClrMapping/>
  </p:clrMapOvr>
  <p:hf hdr="0" ftr="0" dt="0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5132232" cy="1371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0186287"/>
      </p:ext>
    </p:extLst>
  </p:cSld>
  <p:clrMapOvr>
    <a:masterClrMapping/>
  </p:clrMapOvr>
  <p:hf hdr="0" ftr="0" dt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36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395775274"/>
      </p:ext>
    </p:extLst>
  </p:cSld>
  <p:clrMapOvr>
    <a:masterClrMapping/>
  </p:clrMapOvr>
  <p:hf hdr="0" ftr="0" dt="0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36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7" name="Freeform 6"/>
          <p:cNvSpPr/>
          <p:nvPr userDrawn="1"/>
        </p:nvSpPr>
        <p:spPr>
          <a:xfrm flipV="1">
            <a:off x="-4" y="7668756"/>
            <a:ext cx="24384000" cy="6047236"/>
          </a:xfrm>
          <a:custGeom>
            <a:avLst/>
            <a:gdLst>
              <a:gd name="connsiteX0" fmla="*/ 12075771 w 12192000"/>
              <a:gd name="connsiteY0" fmla="*/ 0 h 1238985"/>
              <a:gd name="connsiteX1" fmla="*/ 116229 w 12192000"/>
              <a:gd name="connsiteY1" fmla="*/ 0 h 1238985"/>
              <a:gd name="connsiteX2" fmla="*/ 0 w 12192000"/>
              <a:gd name="connsiteY2" fmla="*/ 116229 h 1238985"/>
              <a:gd name="connsiteX3" fmla="*/ 0 w 12192000"/>
              <a:gd name="connsiteY3" fmla="*/ 1097104 h 1238985"/>
              <a:gd name="connsiteX4" fmla="*/ 64480 w 12192000"/>
              <a:gd name="connsiteY4" fmla="*/ 1097591 h 1238985"/>
              <a:gd name="connsiteX5" fmla="*/ 454868 w 12192000"/>
              <a:gd name="connsiteY5" fmla="*/ 1064430 h 1238985"/>
              <a:gd name="connsiteX6" fmla="*/ 3051118 w 12192000"/>
              <a:gd name="connsiteY6" fmla="*/ 346411 h 1238985"/>
              <a:gd name="connsiteX7" fmla="*/ 5799277 w 12192000"/>
              <a:gd name="connsiteY7" fmla="*/ 1214711 h 1238985"/>
              <a:gd name="connsiteX8" fmla="*/ 8369560 w 12192000"/>
              <a:gd name="connsiteY8" fmla="*/ 874016 h 1238985"/>
              <a:gd name="connsiteX9" fmla="*/ 8469240 w 12192000"/>
              <a:gd name="connsiteY9" fmla="*/ 877029 h 1238985"/>
              <a:gd name="connsiteX10" fmla="*/ 8568921 w 12192000"/>
              <a:gd name="connsiteY10" fmla="*/ 874016 h 1238985"/>
              <a:gd name="connsiteX11" fmla="*/ 11139204 w 12192000"/>
              <a:gd name="connsiteY11" fmla="*/ 1214711 h 1238985"/>
              <a:gd name="connsiteX12" fmla="*/ 11860670 w 12192000"/>
              <a:gd name="connsiteY12" fmla="*/ 1013385 h 1238985"/>
              <a:gd name="connsiteX13" fmla="*/ 12192000 w 12192000"/>
              <a:gd name="connsiteY13" fmla="*/ 881143 h 1238985"/>
              <a:gd name="connsiteX14" fmla="*/ 12192000 w 12192000"/>
              <a:gd name="connsiteY14" fmla="*/ 116229 h 1238985"/>
              <a:gd name="connsiteX15" fmla="*/ 12075771 w 12192000"/>
              <a:gd name="connsiteY15" fmla="*/ 0 h 1238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1238985">
                <a:moveTo>
                  <a:pt x="12075771" y="0"/>
                </a:moveTo>
                <a:lnTo>
                  <a:pt x="116229" y="0"/>
                </a:lnTo>
                <a:cubicBezTo>
                  <a:pt x="52037" y="0"/>
                  <a:pt x="0" y="52037"/>
                  <a:pt x="0" y="116229"/>
                </a:cubicBezTo>
                <a:lnTo>
                  <a:pt x="0" y="1097104"/>
                </a:lnTo>
                <a:lnTo>
                  <a:pt x="64480" y="1097591"/>
                </a:lnTo>
                <a:cubicBezTo>
                  <a:pt x="205319" y="1095085"/>
                  <a:pt x="336848" y="1084927"/>
                  <a:pt x="454868" y="1064430"/>
                </a:cubicBezTo>
                <a:cubicBezTo>
                  <a:pt x="1399029" y="900456"/>
                  <a:pt x="2160383" y="321364"/>
                  <a:pt x="3051118" y="346411"/>
                </a:cubicBezTo>
                <a:cubicBezTo>
                  <a:pt x="3941852" y="371458"/>
                  <a:pt x="4810060" y="1050737"/>
                  <a:pt x="5799277" y="1214711"/>
                </a:cubicBezTo>
                <a:cubicBezTo>
                  <a:pt x="6603015" y="1347940"/>
                  <a:pt x="7677767" y="890056"/>
                  <a:pt x="8369560" y="874016"/>
                </a:cubicBezTo>
                <a:lnTo>
                  <a:pt x="8469240" y="877029"/>
                </a:lnTo>
                <a:lnTo>
                  <a:pt x="8568921" y="874016"/>
                </a:lnTo>
                <a:cubicBezTo>
                  <a:pt x="9260713" y="890056"/>
                  <a:pt x="10335464" y="1347940"/>
                  <a:pt x="11139204" y="1214711"/>
                </a:cubicBezTo>
                <a:cubicBezTo>
                  <a:pt x="11386508" y="1173718"/>
                  <a:pt x="11626249" y="1100518"/>
                  <a:pt x="11860670" y="1013385"/>
                </a:cubicBezTo>
                <a:lnTo>
                  <a:pt x="12192000" y="881143"/>
                </a:lnTo>
                <a:lnTo>
                  <a:pt x="12192000" y="116229"/>
                </a:lnTo>
                <a:cubicBezTo>
                  <a:pt x="12192000" y="52037"/>
                  <a:pt x="12139963" y="0"/>
                  <a:pt x="12075771" y="0"/>
                </a:cubicBezTo>
                <a:close/>
              </a:path>
            </a:pathLst>
          </a:custGeom>
          <a:solidFill>
            <a:schemeClr val="accent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000"/>
          </a:p>
        </p:txBody>
      </p:sp>
      <p:sp>
        <p:nvSpPr>
          <p:cNvPr id="8" name="Freeform 7"/>
          <p:cNvSpPr/>
          <p:nvPr userDrawn="1"/>
        </p:nvSpPr>
        <p:spPr>
          <a:xfrm flipH="1" flipV="1">
            <a:off x="-4" y="8439485"/>
            <a:ext cx="24384000" cy="5276510"/>
          </a:xfrm>
          <a:custGeom>
            <a:avLst/>
            <a:gdLst>
              <a:gd name="connsiteX0" fmla="*/ 12191319 w 12192000"/>
              <a:gd name="connsiteY0" fmla="*/ 0 h 1418416"/>
              <a:gd name="connsiteX1" fmla="*/ 681 w 12192000"/>
              <a:gd name="connsiteY1" fmla="*/ 0 h 1418416"/>
              <a:gd name="connsiteX2" fmla="*/ 0 w 12192000"/>
              <a:gd name="connsiteY2" fmla="*/ 4247 h 1418416"/>
              <a:gd name="connsiteX3" fmla="*/ 0 w 12192000"/>
              <a:gd name="connsiteY3" fmla="*/ 1239710 h 1418416"/>
              <a:gd name="connsiteX4" fmla="*/ 64480 w 12192000"/>
              <a:gd name="connsiteY4" fmla="*/ 1240323 h 1418416"/>
              <a:gd name="connsiteX5" fmla="*/ 454868 w 12192000"/>
              <a:gd name="connsiteY5" fmla="*/ 1198555 h 1418416"/>
              <a:gd name="connsiteX6" fmla="*/ 3051118 w 12192000"/>
              <a:gd name="connsiteY6" fmla="*/ 294173 h 1418416"/>
              <a:gd name="connsiteX7" fmla="*/ 5799277 w 12192000"/>
              <a:gd name="connsiteY7" fmla="*/ 1387842 h 1418416"/>
              <a:gd name="connsiteX8" fmla="*/ 8369560 w 12192000"/>
              <a:gd name="connsiteY8" fmla="*/ 958719 h 1418416"/>
              <a:gd name="connsiteX9" fmla="*/ 8469240 w 12192000"/>
              <a:gd name="connsiteY9" fmla="*/ 962514 h 1418416"/>
              <a:gd name="connsiteX10" fmla="*/ 8568921 w 12192000"/>
              <a:gd name="connsiteY10" fmla="*/ 958719 h 1418416"/>
              <a:gd name="connsiteX11" fmla="*/ 11139204 w 12192000"/>
              <a:gd name="connsiteY11" fmla="*/ 1387842 h 1418416"/>
              <a:gd name="connsiteX12" fmla="*/ 11860670 w 12192000"/>
              <a:gd name="connsiteY12" fmla="*/ 1134261 h 1418416"/>
              <a:gd name="connsiteX13" fmla="*/ 12192000 w 12192000"/>
              <a:gd name="connsiteY13" fmla="*/ 967695 h 1418416"/>
              <a:gd name="connsiteX14" fmla="*/ 12192000 w 12192000"/>
              <a:gd name="connsiteY14" fmla="*/ 4247 h 1418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1418416">
                <a:moveTo>
                  <a:pt x="12191319" y="0"/>
                </a:moveTo>
                <a:lnTo>
                  <a:pt x="681" y="0"/>
                </a:lnTo>
                <a:lnTo>
                  <a:pt x="0" y="4247"/>
                </a:lnTo>
                <a:lnTo>
                  <a:pt x="0" y="1239710"/>
                </a:lnTo>
                <a:lnTo>
                  <a:pt x="64480" y="1240323"/>
                </a:lnTo>
                <a:cubicBezTo>
                  <a:pt x="205319" y="1237167"/>
                  <a:pt x="336848" y="1224372"/>
                  <a:pt x="454868" y="1198555"/>
                </a:cubicBezTo>
                <a:cubicBezTo>
                  <a:pt x="1399029" y="992021"/>
                  <a:pt x="2160383" y="262625"/>
                  <a:pt x="3051118" y="294173"/>
                </a:cubicBezTo>
                <a:cubicBezTo>
                  <a:pt x="3941852" y="325721"/>
                  <a:pt x="4810060" y="1181308"/>
                  <a:pt x="5799277" y="1387842"/>
                </a:cubicBezTo>
                <a:cubicBezTo>
                  <a:pt x="6603015" y="1555651"/>
                  <a:pt x="7677767" y="978922"/>
                  <a:pt x="8369560" y="958719"/>
                </a:cubicBezTo>
                <a:lnTo>
                  <a:pt x="8469240" y="962514"/>
                </a:lnTo>
                <a:lnTo>
                  <a:pt x="8568921" y="958719"/>
                </a:lnTo>
                <a:cubicBezTo>
                  <a:pt x="9260713" y="978922"/>
                  <a:pt x="10335464" y="1555651"/>
                  <a:pt x="11139204" y="1387842"/>
                </a:cubicBezTo>
                <a:cubicBezTo>
                  <a:pt x="11386508" y="1336209"/>
                  <a:pt x="11626249" y="1244010"/>
                  <a:pt x="11860670" y="1134261"/>
                </a:cubicBezTo>
                <a:lnTo>
                  <a:pt x="12192000" y="967695"/>
                </a:lnTo>
                <a:lnTo>
                  <a:pt x="12192000" y="4247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00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9342555"/>
            <a:ext cx="24384000" cy="4373446"/>
          </a:xfrm>
          <a:custGeom>
            <a:avLst/>
            <a:gdLst>
              <a:gd name="connsiteX0" fmla="*/ 6020349 w 12192000"/>
              <a:gd name="connsiteY0" fmla="*/ 1386 h 2186723"/>
              <a:gd name="connsiteX1" fmla="*/ 8749034 w 12192000"/>
              <a:gd name="connsiteY1" fmla="*/ 1264089 h 2186723"/>
              <a:gd name="connsiteX2" fmla="*/ 12192000 w 12192000"/>
              <a:gd name="connsiteY2" fmla="*/ 1056163 h 2186723"/>
              <a:gd name="connsiteX3" fmla="*/ 12192000 w 12192000"/>
              <a:gd name="connsiteY3" fmla="*/ 2186723 h 2186723"/>
              <a:gd name="connsiteX4" fmla="*/ 0 w 12192000"/>
              <a:gd name="connsiteY4" fmla="*/ 2186723 h 2186723"/>
              <a:gd name="connsiteX5" fmla="*/ 0 w 12192000"/>
              <a:gd name="connsiteY5" fmla="*/ 1056163 h 2186723"/>
              <a:gd name="connsiteX6" fmla="*/ 3132006 w 12192000"/>
              <a:gd name="connsiteY6" fmla="*/ 1528372 h 2186723"/>
              <a:gd name="connsiteX7" fmla="*/ 6020349 w 12192000"/>
              <a:gd name="connsiteY7" fmla="*/ 1386 h 2186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186723">
                <a:moveTo>
                  <a:pt x="6020349" y="1386"/>
                </a:moveTo>
                <a:cubicBezTo>
                  <a:pt x="6956520" y="-42661"/>
                  <a:pt x="7756711" y="975725"/>
                  <a:pt x="8749034" y="1264089"/>
                </a:cubicBezTo>
                <a:cubicBezTo>
                  <a:pt x="9741357" y="1552452"/>
                  <a:pt x="11642363" y="677258"/>
                  <a:pt x="12192000" y="1056163"/>
                </a:cubicBezTo>
                <a:lnTo>
                  <a:pt x="12192000" y="2186723"/>
                </a:lnTo>
                <a:lnTo>
                  <a:pt x="0" y="2186723"/>
                </a:lnTo>
                <a:lnTo>
                  <a:pt x="0" y="1056163"/>
                </a:lnTo>
                <a:cubicBezTo>
                  <a:pt x="621182" y="530431"/>
                  <a:pt x="2092329" y="1816735"/>
                  <a:pt x="3132006" y="1528372"/>
                </a:cubicBezTo>
                <a:cubicBezTo>
                  <a:pt x="4171683" y="1240008"/>
                  <a:pt x="5084178" y="45433"/>
                  <a:pt x="6020349" y="138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955360"/>
      </p:ext>
    </p:extLst>
  </p:cSld>
  <p:clrMapOvr>
    <a:masterClrMapping/>
  </p:clrMapOvr>
  <p:hf hdr="0" ftr="0" dt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36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grpSp>
        <p:nvGrpSpPr>
          <p:cNvPr id="7" name="Group 6"/>
          <p:cNvGrpSpPr/>
          <p:nvPr userDrawn="1"/>
        </p:nvGrpSpPr>
        <p:grpSpPr>
          <a:xfrm flipV="1">
            <a:off x="-4" y="8991600"/>
            <a:ext cx="24384004" cy="4724400"/>
            <a:chOff x="-2" y="-1"/>
            <a:chExt cx="12192002" cy="1625602"/>
          </a:xfrm>
        </p:grpSpPr>
        <p:sp>
          <p:nvSpPr>
            <p:cNvPr id="8" name="Freeform 7"/>
            <p:cNvSpPr/>
            <p:nvPr/>
          </p:nvSpPr>
          <p:spPr>
            <a:xfrm>
              <a:off x="-2" y="1"/>
              <a:ext cx="12192000" cy="1625600"/>
            </a:xfrm>
            <a:custGeom>
              <a:avLst/>
              <a:gdLst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881143 h 1238985"/>
                <a:gd name="connsiteX14" fmla="*/ 12192000 w 12192000"/>
                <a:gd name="connsiteY14" fmla="*/ 116229 h 1238985"/>
                <a:gd name="connsiteX15" fmla="*/ 12075771 w 12192000"/>
                <a:gd name="connsiteY15" fmla="*/ 0 h 1238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238985">
                  <a:moveTo>
                    <a:pt x="12075771" y="0"/>
                  </a:moveTo>
                  <a:lnTo>
                    <a:pt x="116229" y="0"/>
                  </a:lnTo>
                  <a:cubicBezTo>
                    <a:pt x="52037" y="0"/>
                    <a:pt x="0" y="52037"/>
                    <a:pt x="0" y="116229"/>
                  </a:cubicBezTo>
                  <a:lnTo>
                    <a:pt x="0" y="1097104"/>
                  </a:lnTo>
                  <a:lnTo>
                    <a:pt x="64480" y="1097591"/>
                  </a:lnTo>
                  <a:cubicBezTo>
                    <a:pt x="205319" y="1095085"/>
                    <a:pt x="336848" y="1084927"/>
                    <a:pt x="454868" y="1064430"/>
                  </a:cubicBezTo>
                  <a:cubicBezTo>
                    <a:pt x="1399029" y="900456"/>
                    <a:pt x="2160383" y="321364"/>
                    <a:pt x="3051118" y="346411"/>
                  </a:cubicBezTo>
                  <a:cubicBezTo>
                    <a:pt x="3941852" y="371458"/>
                    <a:pt x="4810060" y="1050737"/>
                    <a:pt x="5799277" y="1214711"/>
                  </a:cubicBezTo>
                  <a:cubicBezTo>
                    <a:pt x="6603015" y="1347940"/>
                    <a:pt x="7677767" y="890056"/>
                    <a:pt x="8369560" y="874016"/>
                  </a:cubicBezTo>
                  <a:lnTo>
                    <a:pt x="8469240" y="877029"/>
                  </a:lnTo>
                  <a:lnTo>
                    <a:pt x="8568921" y="874016"/>
                  </a:lnTo>
                  <a:cubicBezTo>
                    <a:pt x="9260713" y="890056"/>
                    <a:pt x="10335464" y="1347940"/>
                    <a:pt x="11139204" y="1214711"/>
                  </a:cubicBezTo>
                  <a:cubicBezTo>
                    <a:pt x="11386508" y="1173718"/>
                    <a:pt x="11626249" y="1100518"/>
                    <a:pt x="11860670" y="1013385"/>
                  </a:cubicBezTo>
                  <a:lnTo>
                    <a:pt x="12192000" y="881143"/>
                  </a:lnTo>
                  <a:lnTo>
                    <a:pt x="12192000" y="116229"/>
                  </a:lnTo>
                  <a:cubicBezTo>
                    <a:pt x="12192000" y="52037"/>
                    <a:pt x="12139963" y="0"/>
                    <a:pt x="12075771" y="0"/>
                  </a:cubicBezTo>
                  <a:close/>
                </a:path>
              </a:pathLst>
            </a:custGeom>
            <a:solidFill>
              <a:schemeClr val="accent2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9" name="Freeform 8"/>
            <p:cNvSpPr/>
            <p:nvPr/>
          </p:nvSpPr>
          <p:spPr>
            <a:xfrm flipH="1">
              <a:off x="-2" y="0"/>
              <a:ext cx="12192000" cy="1418416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418416">
                  <a:moveTo>
                    <a:pt x="12191319" y="0"/>
                  </a:moveTo>
                  <a:lnTo>
                    <a:pt x="681" y="0"/>
                  </a:lnTo>
                  <a:lnTo>
                    <a:pt x="0" y="4247"/>
                  </a:lnTo>
                  <a:lnTo>
                    <a:pt x="0" y="1239710"/>
                  </a:lnTo>
                  <a:lnTo>
                    <a:pt x="64480" y="1240323"/>
                  </a:lnTo>
                  <a:cubicBezTo>
                    <a:pt x="205319" y="1237167"/>
                    <a:pt x="336848" y="1224372"/>
                    <a:pt x="454868" y="1198555"/>
                  </a:cubicBezTo>
                  <a:cubicBezTo>
                    <a:pt x="1399029" y="992021"/>
                    <a:pt x="2160383" y="262625"/>
                    <a:pt x="3051118" y="294173"/>
                  </a:cubicBezTo>
                  <a:cubicBezTo>
                    <a:pt x="3941852" y="325721"/>
                    <a:pt x="4810060" y="1181308"/>
                    <a:pt x="5799277" y="1387842"/>
                  </a:cubicBezTo>
                  <a:cubicBezTo>
                    <a:pt x="6603015" y="1555651"/>
                    <a:pt x="7677767" y="978922"/>
                    <a:pt x="8369560" y="958719"/>
                  </a:cubicBezTo>
                  <a:lnTo>
                    <a:pt x="8469240" y="962514"/>
                  </a:lnTo>
                  <a:lnTo>
                    <a:pt x="8568921" y="958719"/>
                  </a:lnTo>
                  <a:cubicBezTo>
                    <a:pt x="9260713" y="978922"/>
                    <a:pt x="10335464" y="1555651"/>
                    <a:pt x="11139204" y="1387842"/>
                  </a:cubicBezTo>
                  <a:cubicBezTo>
                    <a:pt x="11386508" y="1336209"/>
                    <a:pt x="11626249" y="1244010"/>
                    <a:pt x="11860670" y="1134261"/>
                  </a:cubicBezTo>
                  <a:lnTo>
                    <a:pt x="12192000" y="967695"/>
                  </a:lnTo>
                  <a:lnTo>
                    <a:pt x="12192000" y="424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2">
                    <a:lumMod val="7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0" name="Freeform 9"/>
            <p:cNvSpPr/>
            <p:nvPr/>
          </p:nvSpPr>
          <p:spPr>
            <a:xfrm flipV="1">
              <a:off x="0" y="-1"/>
              <a:ext cx="12192000" cy="1175657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2078454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2192000" y="2078454"/>
                  </a:lnTo>
                  <a:lnTo>
                    <a:pt x="12192000" y="1003870"/>
                  </a:lnTo>
                  <a:close/>
                </a:path>
              </a:pathLst>
            </a:custGeom>
            <a:solidFill>
              <a:schemeClr val="accent2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2549591045"/>
      </p:ext>
    </p:extLst>
  </p:cSld>
  <p:clrMapOvr>
    <a:masterClrMapping/>
  </p:clrMapOvr>
  <p:hf hdr="0" ft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772074224"/>
      </p:ext>
    </p:extLst>
  </p:cSld>
  <p:clrMapOvr>
    <a:masterClrMapping/>
  </p:clrMapOvr>
  <p:hf hdr="0" ft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6" name="Freeform 5"/>
          <p:cNvSpPr/>
          <p:nvPr userDrawn="1"/>
        </p:nvSpPr>
        <p:spPr>
          <a:xfrm flipH="1">
            <a:off x="1108364" y="1190232"/>
            <a:ext cx="22167272" cy="11335536"/>
          </a:xfrm>
          <a:custGeom>
            <a:avLst/>
            <a:gdLst>
              <a:gd name="connsiteX0" fmla="*/ 11083636 w 11083636"/>
              <a:gd name="connsiteY0" fmla="*/ 0 h 5667768"/>
              <a:gd name="connsiteX1" fmla="*/ 4228270 w 11083636"/>
              <a:gd name="connsiteY1" fmla="*/ 0 h 5667768"/>
              <a:gd name="connsiteX2" fmla="*/ 4107388 w 11083636"/>
              <a:gd name="connsiteY2" fmla="*/ 42907 h 5667768"/>
              <a:gd name="connsiteX3" fmla="*/ 3435929 w 11083636"/>
              <a:gd name="connsiteY3" fmla="*/ 486249 h 5667768"/>
              <a:gd name="connsiteX4" fmla="*/ 2675903 w 11083636"/>
              <a:gd name="connsiteY4" fmla="*/ 112751 h 5667768"/>
              <a:gd name="connsiteX5" fmla="*/ 1871406 w 11083636"/>
              <a:gd name="connsiteY5" fmla="*/ 564422 h 5667768"/>
              <a:gd name="connsiteX6" fmla="*/ 1118982 w 11083636"/>
              <a:gd name="connsiteY6" fmla="*/ 387200 h 5667768"/>
              <a:gd name="connsiteX7" fmla="*/ 1089801 w 11083636"/>
              <a:gd name="connsiteY7" fmla="*/ 388767 h 5667768"/>
              <a:gd name="connsiteX8" fmla="*/ 1060620 w 11083636"/>
              <a:gd name="connsiteY8" fmla="*/ 387200 h 5667768"/>
              <a:gd name="connsiteX9" fmla="*/ 308196 w 11083636"/>
              <a:gd name="connsiteY9" fmla="*/ 564422 h 5667768"/>
              <a:gd name="connsiteX10" fmla="*/ 96994 w 11083636"/>
              <a:gd name="connsiteY10" fmla="*/ 459697 h 5667768"/>
              <a:gd name="connsiteX11" fmla="*/ 0 w 11083636"/>
              <a:gd name="connsiteY11" fmla="*/ 390907 h 5667768"/>
              <a:gd name="connsiteX12" fmla="*/ 0 w 11083636"/>
              <a:gd name="connsiteY12" fmla="*/ 5667768 h 5667768"/>
              <a:gd name="connsiteX13" fmla="*/ 11083636 w 11083636"/>
              <a:gd name="connsiteY13" fmla="*/ 5667768 h 5667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83636" h="5667768">
                <a:moveTo>
                  <a:pt x="11083636" y="0"/>
                </a:moveTo>
                <a:lnTo>
                  <a:pt x="4228270" y="0"/>
                </a:lnTo>
                <a:lnTo>
                  <a:pt x="4107388" y="42907"/>
                </a:lnTo>
                <a:cubicBezTo>
                  <a:pt x="3786171" y="194352"/>
                  <a:pt x="3793692" y="462235"/>
                  <a:pt x="3435929" y="486249"/>
                </a:cubicBezTo>
                <a:cubicBezTo>
                  <a:pt x="3027057" y="513694"/>
                  <a:pt x="2936656" y="99722"/>
                  <a:pt x="2675903" y="112751"/>
                </a:cubicBezTo>
                <a:cubicBezTo>
                  <a:pt x="2415149" y="125780"/>
                  <a:pt x="2160990" y="479127"/>
                  <a:pt x="1871406" y="564422"/>
                </a:cubicBezTo>
                <a:cubicBezTo>
                  <a:pt x="1636120" y="633725"/>
                  <a:pt x="1321497" y="395544"/>
                  <a:pt x="1118982" y="387200"/>
                </a:cubicBezTo>
                <a:lnTo>
                  <a:pt x="1089801" y="388767"/>
                </a:lnTo>
                <a:lnTo>
                  <a:pt x="1060620" y="387200"/>
                </a:lnTo>
                <a:cubicBezTo>
                  <a:pt x="858105" y="395544"/>
                  <a:pt x="543482" y="633725"/>
                  <a:pt x="308196" y="564422"/>
                </a:cubicBezTo>
                <a:cubicBezTo>
                  <a:pt x="235800" y="543099"/>
                  <a:pt x="165618" y="505022"/>
                  <a:pt x="96994" y="459697"/>
                </a:cubicBezTo>
                <a:lnTo>
                  <a:pt x="0" y="390907"/>
                </a:lnTo>
                <a:lnTo>
                  <a:pt x="0" y="5667768"/>
                </a:lnTo>
                <a:lnTo>
                  <a:pt x="11083636" y="56677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702" dirty="0">
              <a:solidFill>
                <a:schemeClr val="accent4"/>
              </a:solidFill>
            </a:endParaRPr>
          </a:p>
        </p:txBody>
      </p:sp>
      <p:pic>
        <p:nvPicPr>
          <p:cNvPr id="8" name="Picture 7" descr="imac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71392" y="2699660"/>
            <a:ext cx="7752464" cy="7723964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 userDrawn="1">
            <p:ph type="pic" sz="quarter" idx="14"/>
          </p:nvPr>
        </p:nvSpPr>
        <p:spPr>
          <a:xfrm>
            <a:off x="3858217" y="3046416"/>
            <a:ext cx="5709910" cy="4816796"/>
          </a:xfrm>
          <a:custGeom>
            <a:avLst/>
            <a:gdLst>
              <a:gd name="connsiteX0" fmla="*/ 0 w 2854955"/>
              <a:gd name="connsiteY0" fmla="*/ 0 h 2408398"/>
              <a:gd name="connsiteX1" fmla="*/ 2493452 w 2854955"/>
              <a:gd name="connsiteY1" fmla="*/ 932867 h 2408398"/>
              <a:gd name="connsiteX2" fmla="*/ 2854955 w 2854955"/>
              <a:gd name="connsiteY2" fmla="*/ 2408398 h 2408398"/>
              <a:gd name="connsiteX3" fmla="*/ 162931 w 2854955"/>
              <a:gd name="connsiteY3" fmla="*/ 2161008 h 240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4955" h="2408398">
                <a:moveTo>
                  <a:pt x="0" y="0"/>
                </a:moveTo>
                <a:lnTo>
                  <a:pt x="2493452" y="932867"/>
                </a:lnTo>
                <a:lnTo>
                  <a:pt x="2854955" y="2408398"/>
                </a:lnTo>
                <a:lnTo>
                  <a:pt x="162931" y="216100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085016"/>
      </p:ext>
    </p:extLst>
  </p:cSld>
  <p:clrMapOvr>
    <a:masterClrMapping/>
  </p:clrMapOvr>
  <p:hf hdr="0" ft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6" name="Freeform 5"/>
          <p:cNvSpPr/>
          <p:nvPr userDrawn="1"/>
        </p:nvSpPr>
        <p:spPr>
          <a:xfrm flipH="1">
            <a:off x="1108364" y="1190232"/>
            <a:ext cx="22167272" cy="11335536"/>
          </a:xfrm>
          <a:custGeom>
            <a:avLst/>
            <a:gdLst>
              <a:gd name="connsiteX0" fmla="*/ 11083636 w 11083636"/>
              <a:gd name="connsiteY0" fmla="*/ 0 h 5667768"/>
              <a:gd name="connsiteX1" fmla="*/ 4228270 w 11083636"/>
              <a:gd name="connsiteY1" fmla="*/ 0 h 5667768"/>
              <a:gd name="connsiteX2" fmla="*/ 4107388 w 11083636"/>
              <a:gd name="connsiteY2" fmla="*/ 42907 h 5667768"/>
              <a:gd name="connsiteX3" fmla="*/ 3435929 w 11083636"/>
              <a:gd name="connsiteY3" fmla="*/ 486249 h 5667768"/>
              <a:gd name="connsiteX4" fmla="*/ 2675903 w 11083636"/>
              <a:gd name="connsiteY4" fmla="*/ 112751 h 5667768"/>
              <a:gd name="connsiteX5" fmla="*/ 1871406 w 11083636"/>
              <a:gd name="connsiteY5" fmla="*/ 564422 h 5667768"/>
              <a:gd name="connsiteX6" fmla="*/ 1118982 w 11083636"/>
              <a:gd name="connsiteY6" fmla="*/ 387200 h 5667768"/>
              <a:gd name="connsiteX7" fmla="*/ 1089801 w 11083636"/>
              <a:gd name="connsiteY7" fmla="*/ 388767 h 5667768"/>
              <a:gd name="connsiteX8" fmla="*/ 1060620 w 11083636"/>
              <a:gd name="connsiteY8" fmla="*/ 387200 h 5667768"/>
              <a:gd name="connsiteX9" fmla="*/ 308196 w 11083636"/>
              <a:gd name="connsiteY9" fmla="*/ 564422 h 5667768"/>
              <a:gd name="connsiteX10" fmla="*/ 96994 w 11083636"/>
              <a:gd name="connsiteY10" fmla="*/ 459697 h 5667768"/>
              <a:gd name="connsiteX11" fmla="*/ 0 w 11083636"/>
              <a:gd name="connsiteY11" fmla="*/ 390907 h 5667768"/>
              <a:gd name="connsiteX12" fmla="*/ 0 w 11083636"/>
              <a:gd name="connsiteY12" fmla="*/ 5667768 h 5667768"/>
              <a:gd name="connsiteX13" fmla="*/ 11083636 w 11083636"/>
              <a:gd name="connsiteY13" fmla="*/ 5667768 h 5667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83636" h="5667768">
                <a:moveTo>
                  <a:pt x="11083636" y="0"/>
                </a:moveTo>
                <a:lnTo>
                  <a:pt x="4228270" y="0"/>
                </a:lnTo>
                <a:lnTo>
                  <a:pt x="4107388" y="42907"/>
                </a:lnTo>
                <a:cubicBezTo>
                  <a:pt x="3786171" y="194352"/>
                  <a:pt x="3793692" y="462235"/>
                  <a:pt x="3435929" y="486249"/>
                </a:cubicBezTo>
                <a:cubicBezTo>
                  <a:pt x="3027057" y="513694"/>
                  <a:pt x="2936656" y="99722"/>
                  <a:pt x="2675903" y="112751"/>
                </a:cubicBezTo>
                <a:cubicBezTo>
                  <a:pt x="2415149" y="125780"/>
                  <a:pt x="2160990" y="479127"/>
                  <a:pt x="1871406" y="564422"/>
                </a:cubicBezTo>
                <a:cubicBezTo>
                  <a:pt x="1636120" y="633725"/>
                  <a:pt x="1321497" y="395544"/>
                  <a:pt x="1118982" y="387200"/>
                </a:cubicBezTo>
                <a:lnTo>
                  <a:pt x="1089801" y="388767"/>
                </a:lnTo>
                <a:lnTo>
                  <a:pt x="1060620" y="387200"/>
                </a:lnTo>
                <a:cubicBezTo>
                  <a:pt x="858105" y="395544"/>
                  <a:pt x="543482" y="633725"/>
                  <a:pt x="308196" y="564422"/>
                </a:cubicBezTo>
                <a:cubicBezTo>
                  <a:pt x="235800" y="543099"/>
                  <a:pt x="165618" y="505022"/>
                  <a:pt x="96994" y="459697"/>
                </a:cubicBezTo>
                <a:lnTo>
                  <a:pt x="0" y="390907"/>
                </a:lnTo>
                <a:lnTo>
                  <a:pt x="0" y="5667768"/>
                </a:lnTo>
                <a:lnTo>
                  <a:pt x="11083636" y="56677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702" dirty="0">
              <a:solidFill>
                <a:schemeClr val="accent4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31990" y="1601386"/>
            <a:ext cx="21031200" cy="164981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8823032"/>
      </p:ext>
    </p:extLst>
  </p:cSld>
  <p:clrMapOvr>
    <a:masterClrMapping/>
  </p:clrMapOvr>
  <p:hf hdr="0" ft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19559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flipH="1">
            <a:off x="-93247" y="12104921"/>
            <a:ext cx="24477246" cy="1611086"/>
            <a:chOff x="-46623" y="5681809"/>
            <a:chExt cx="12238623" cy="1176190"/>
          </a:xfrm>
        </p:grpSpPr>
        <p:sp>
          <p:nvSpPr>
            <p:cNvPr id="14" name="Freeform 13"/>
            <p:cNvSpPr/>
            <p:nvPr/>
          </p:nvSpPr>
          <p:spPr>
            <a:xfrm>
              <a:off x="-46623" y="5843624"/>
              <a:ext cx="12192000" cy="1014374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1416635 h 2491219"/>
                <a:gd name="connsiteX1" fmla="*/ 2772230 w 12192000"/>
                <a:gd name="connsiteY1" fmla="*/ 383918 h 2491219"/>
                <a:gd name="connsiteX2" fmla="*/ 0 w 12192000"/>
                <a:gd name="connsiteY2" fmla="*/ 1416635 h 2491219"/>
                <a:gd name="connsiteX3" fmla="*/ 0 w 12192000"/>
                <a:gd name="connsiteY3" fmla="*/ 2491219 h 2491219"/>
                <a:gd name="connsiteX4" fmla="*/ 12192000 w 12192000"/>
                <a:gd name="connsiteY4" fmla="*/ 2491219 h 2491219"/>
                <a:gd name="connsiteX5" fmla="*/ 12192000 w 12192000"/>
                <a:gd name="connsiteY5" fmla="*/ 1416635 h 2491219"/>
                <a:gd name="connsiteX0" fmla="*/ 12192000 w 12192000"/>
                <a:gd name="connsiteY0" fmla="*/ 1047619 h 2122203"/>
                <a:gd name="connsiteX1" fmla="*/ 2772230 w 12192000"/>
                <a:gd name="connsiteY1" fmla="*/ 14902 h 2122203"/>
                <a:gd name="connsiteX2" fmla="*/ 0 w 12192000"/>
                <a:gd name="connsiteY2" fmla="*/ 1047619 h 2122203"/>
                <a:gd name="connsiteX3" fmla="*/ 0 w 12192000"/>
                <a:gd name="connsiteY3" fmla="*/ 2122203 h 2122203"/>
                <a:gd name="connsiteX4" fmla="*/ 12192000 w 12192000"/>
                <a:gd name="connsiteY4" fmla="*/ 2122203 h 2122203"/>
                <a:gd name="connsiteX5" fmla="*/ 12192000 w 12192000"/>
                <a:gd name="connsiteY5" fmla="*/ 1047619 h 2122203"/>
                <a:gd name="connsiteX0" fmla="*/ 12192000 w 12192000"/>
                <a:gd name="connsiteY0" fmla="*/ 1157066 h 2231650"/>
                <a:gd name="connsiteX1" fmla="*/ 2264230 w 12192000"/>
                <a:gd name="connsiteY1" fmla="*/ 12704 h 2231650"/>
                <a:gd name="connsiteX2" fmla="*/ 0 w 12192000"/>
                <a:gd name="connsiteY2" fmla="*/ 1157066 h 2231650"/>
                <a:gd name="connsiteX3" fmla="*/ 0 w 12192000"/>
                <a:gd name="connsiteY3" fmla="*/ 2231650 h 2231650"/>
                <a:gd name="connsiteX4" fmla="*/ 12192000 w 12192000"/>
                <a:gd name="connsiteY4" fmla="*/ 2231650 h 2231650"/>
                <a:gd name="connsiteX5" fmla="*/ 12192000 w 12192000"/>
                <a:gd name="connsiteY5" fmla="*/ 1157066 h 2231650"/>
                <a:gd name="connsiteX0" fmla="*/ 12192000 w 12192000"/>
                <a:gd name="connsiteY0" fmla="*/ 1453594 h 2528178"/>
                <a:gd name="connsiteX1" fmla="*/ 2264230 w 12192000"/>
                <a:gd name="connsiteY1" fmla="*/ 309232 h 2528178"/>
                <a:gd name="connsiteX2" fmla="*/ 0 w 12192000"/>
                <a:gd name="connsiteY2" fmla="*/ 1453594 h 2528178"/>
                <a:gd name="connsiteX3" fmla="*/ 0 w 12192000"/>
                <a:gd name="connsiteY3" fmla="*/ 2528178 h 2528178"/>
                <a:gd name="connsiteX4" fmla="*/ 12192000 w 12192000"/>
                <a:gd name="connsiteY4" fmla="*/ 2528178 h 2528178"/>
                <a:gd name="connsiteX5" fmla="*/ 12192000 w 12192000"/>
                <a:gd name="connsiteY5" fmla="*/ 1453594 h 2528178"/>
                <a:gd name="connsiteX0" fmla="*/ 12192000 w 12192000"/>
                <a:gd name="connsiteY0" fmla="*/ 1152032 h 2226616"/>
                <a:gd name="connsiteX1" fmla="*/ 2264230 w 12192000"/>
                <a:gd name="connsiteY1" fmla="*/ 7670 h 2226616"/>
                <a:gd name="connsiteX2" fmla="*/ 0 w 12192000"/>
                <a:gd name="connsiteY2" fmla="*/ 1152032 h 2226616"/>
                <a:gd name="connsiteX3" fmla="*/ 0 w 12192000"/>
                <a:gd name="connsiteY3" fmla="*/ 2226616 h 2226616"/>
                <a:gd name="connsiteX4" fmla="*/ 12192000 w 12192000"/>
                <a:gd name="connsiteY4" fmla="*/ 2226616 h 2226616"/>
                <a:gd name="connsiteX5" fmla="*/ 12192000 w 12192000"/>
                <a:gd name="connsiteY5" fmla="*/ 1152032 h 2226616"/>
                <a:gd name="connsiteX0" fmla="*/ 12192000 w 12192000"/>
                <a:gd name="connsiteY0" fmla="*/ 1288113 h 2362697"/>
                <a:gd name="connsiteX1" fmla="*/ 2264230 w 12192000"/>
                <a:gd name="connsiteY1" fmla="*/ 143751 h 2362697"/>
                <a:gd name="connsiteX2" fmla="*/ 0 w 12192000"/>
                <a:gd name="connsiteY2" fmla="*/ 1288113 h 2362697"/>
                <a:gd name="connsiteX3" fmla="*/ 0 w 12192000"/>
                <a:gd name="connsiteY3" fmla="*/ 2362697 h 2362697"/>
                <a:gd name="connsiteX4" fmla="*/ 12192000 w 12192000"/>
                <a:gd name="connsiteY4" fmla="*/ 2362697 h 2362697"/>
                <a:gd name="connsiteX5" fmla="*/ 12192000 w 12192000"/>
                <a:gd name="connsiteY5" fmla="*/ 1288113 h 2362697"/>
                <a:gd name="connsiteX0" fmla="*/ 12192000 w 12192000"/>
                <a:gd name="connsiteY0" fmla="*/ 1270706 h 2345290"/>
                <a:gd name="connsiteX1" fmla="*/ 2264230 w 12192000"/>
                <a:gd name="connsiteY1" fmla="*/ 126344 h 2345290"/>
                <a:gd name="connsiteX2" fmla="*/ 0 w 12192000"/>
                <a:gd name="connsiteY2" fmla="*/ 1270706 h 2345290"/>
                <a:gd name="connsiteX3" fmla="*/ 0 w 12192000"/>
                <a:gd name="connsiteY3" fmla="*/ 2345290 h 2345290"/>
                <a:gd name="connsiteX4" fmla="*/ 12192000 w 12192000"/>
                <a:gd name="connsiteY4" fmla="*/ 2345290 h 2345290"/>
                <a:gd name="connsiteX5" fmla="*/ 12192000 w 12192000"/>
                <a:gd name="connsiteY5" fmla="*/ 1270706 h 2345290"/>
                <a:gd name="connsiteX0" fmla="*/ 12192000 w 12192000"/>
                <a:gd name="connsiteY0" fmla="*/ 1144362 h 2218946"/>
                <a:gd name="connsiteX1" fmla="*/ 2264230 w 12192000"/>
                <a:gd name="connsiteY1" fmla="*/ 0 h 2218946"/>
                <a:gd name="connsiteX2" fmla="*/ 0 w 12192000"/>
                <a:gd name="connsiteY2" fmla="*/ 1144362 h 2218946"/>
                <a:gd name="connsiteX3" fmla="*/ 0 w 12192000"/>
                <a:gd name="connsiteY3" fmla="*/ 2218946 h 2218946"/>
                <a:gd name="connsiteX4" fmla="*/ 12192000 w 12192000"/>
                <a:gd name="connsiteY4" fmla="*/ 2218946 h 2218946"/>
                <a:gd name="connsiteX5" fmla="*/ 12192000 w 12192000"/>
                <a:gd name="connsiteY5" fmla="*/ 1144362 h 2218946"/>
                <a:gd name="connsiteX0" fmla="*/ 12192000 w 12192000"/>
                <a:gd name="connsiteY0" fmla="*/ 1144362 h 2218946"/>
                <a:gd name="connsiteX1" fmla="*/ 2264230 w 12192000"/>
                <a:gd name="connsiteY1" fmla="*/ 0 h 2218946"/>
                <a:gd name="connsiteX2" fmla="*/ 0 w 12192000"/>
                <a:gd name="connsiteY2" fmla="*/ 1144362 h 2218946"/>
                <a:gd name="connsiteX3" fmla="*/ 0 w 12192000"/>
                <a:gd name="connsiteY3" fmla="*/ 2218946 h 2218946"/>
                <a:gd name="connsiteX4" fmla="*/ 12192000 w 12192000"/>
                <a:gd name="connsiteY4" fmla="*/ 2218946 h 2218946"/>
                <a:gd name="connsiteX5" fmla="*/ 12192000 w 12192000"/>
                <a:gd name="connsiteY5" fmla="*/ 1144362 h 2218946"/>
                <a:gd name="connsiteX0" fmla="*/ 12192000 w 12192000"/>
                <a:gd name="connsiteY0" fmla="*/ 1157573 h 2232157"/>
                <a:gd name="connsiteX1" fmla="*/ 2264230 w 12192000"/>
                <a:gd name="connsiteY1" fmla="*/ 13211 h 2232157"/>
                <a:gd name="connsiteX2" fmla="*/ 0 w 12192000"/>
                <a:gd name="connsiteY2" fmla="*/ 1157573 h 2232157"/>
                <a:gd name="connsiteX3" fmla="*/ 0 w 12192000"/>
                <a:gd name="connsiteY3" fmla="*/ 2232157 h 2232157"/>
                <a:gd name="connsiteX4" fmla="*/ 12192000 w 12192000"/>
                <a:gd name="connsiteY4" fmla="*/ 2232157 h 2232157"/>
                <a:gd name="connsiteX5" fmla="*/ 12192000 w 12192000"/>
                <a:gd name="connsiteY5" fmla="*/ 1157573 h 2232157"/>
                <a:gd name="connsiteX0" fmla="*/ 12192000 w 12192000"/>
                <a:gd name="connsiteY0" fmla="*/ 134324 h 1208908"/>
                <a:gd name="connsiteX1" fmla="*/ 0 w 12192000"/>
                <a:gd name="connsiteY1" fmla="*/ 134324 h 1208908"/>
                <a:gd name="connsiteX2" fmla="*/ 0 w 12192000"/>
                <a:gd name="connsiteY2" fmla="*/ 1208908 h 1208908"/>
                <a:gd name="connsiteX3" fmla="*/ 12192000 w 12192000"/>
                <a:gd name="connsiteY3" fmla="*/ 1208908 h 1208908"/>
                <a:gd name="connsiteX4" fmla="*/ 12192000 w 12192000"/>
                <a:gd name="connsiteY4" fmla="*/ 134324 h 1208908"/>
                <a:gd name="connsiteX0" fmla="*/ 12284079 w 12284079"/>
                <a:gd name="connsiteY0" fmla="*/ 114569 h 1189153"/>
                <a:gd name="connsiteX1" fmla="*/ 1285331 w 12284079"/>
                <a:gd name="connsiteY1" fmla="*/ 30832 h 1189153"/>
                <a:gd name="connsiteX2" fmla="*/ 92079 w 12284079"/>
                <a:gd name="connsiteY2" fmla="*/ 114569 h 1189153"/>
                <a:gd name="connsiteX3" fmla="*/ 92079 w 12284079"/>
                <a:gd name="connsiteY3" fmla="*/ 1189153 h 1189153"/>
                <a:gd name="connsiteX4" fmla="*/ 12284079 w 12284079"/>
                <a:gd name="connsiteY4" fmla="*/ 1189153 h 1189153"/>
                <a:gd name="connsiteX5" fmla="*/ 12284079 w 12284079"/>
                <a:gd name="connsiteY5" fmla="*/ 114569 h 1189153"/>
                <a:gd name="connsiteX0" fmla="*/ 12192000 w 12192000"/>
                <a:gd name="connsiteY0" fmla="*/ 614051 h 1688635"/>
                <a:gd name="connsiteX1" fmla="*/ 1672224 w 12192000"/>
                <a:gd name="connsiteY1" fmla="*/ 0 h 1688635"/>
                <a:gd name="connsiteX2" fmla="*/ 0 w 12192000"/>
                <a:gd name="connsiteY2" fmla="*/ 614051 h 1688635"/>
                <a:gd name="connsiteX3" fmla="*/ 0 w 12192000"/>
                <a:gd name="connsiteY3" fmla="*/ 1688635 h 1688635"/>
                <a:gd name="connsiteX4" fmla="*/ 12192000 w 12192000"/>
                <a:gd name="connsiteY4" fmla="*/ 1688635 h 1688635"/>
                <a:gd name="connsiteX5" fmla="*/ 12192000 w 12192000"/>
                <a:gd name="connsiteY5" fmla="*/ 614051 h 1688635"/>
                <a:gd name="connsiteX0" fmla="*/ 12192000 w 12192000"/>
                <a:gd name="connsiteY0" fmla="*/ 865252 h 1939836"/>
                <a:gd name="connsiteX1" fmla="*/ 1991538 w 12192000"/>
                <a:gd name="connsiteY1" fmla="*/ 0 h 1939836"/>
                <a:gd name="connsiteX2" fmla="*/ 0 w 12192000"/>
                <a:gd name="connsiteY2" fmla="*/ 865252 h 1939836"/>
                <a:gd name="connsiteX3" fmla="*/ 0 w 12192000"/>
                <a:gd name="connsiteY3" fmla="*/ 1939836 h 1939836"/>
                <a:gd name="connsiteX4" fmla="*/ 12192000 w 12192000"/>
                <a:gd name="connsiteY4" fmla="*/ 1939836 h 1939836"/>
                <a:gd name="connsiteX5" fmla="*/ 12192000 w 12192000"/>
                <a:gd name="connsiteY5" fmla="*/ 865252 h 1939836"/>
                <a:gd name="connsiteX0" fmla="*/ 12192000 w 12192000"/>
                <a:gd name="connsiteY0" fmla="*/ 876082 h 1950666"/>
                <a:gd name="connsiteX1" fmla="*/ 1991538 w 12192000"/>
                <a:gd name="connsiteY1" fmla="*/ 10830 h 1950666"/>
                <a:gd name="connsiteX2" fmla="*/ 0 w 12192000"/>
                <a:gd name="connsiteY2" fmla="*/ 876082 h 1950666"/>
                <a:gd name="connsiteX3" fmla="*/ 0 w 12192000"/>
                <a:gd name="connsiteY3" fmla="*/ 1950666 h 1950666"/>
                <a:gd name="connsiteX4" fmla="*/ 12192000 w 12192000"/>
                <a:gd name="connsiteY4" fmla="*/ 1950666 h 1950666"/>
                <a:gd name="connsiteX5" fmla="*/ 12192000 w 12192000"/>
                <a:gd name="connsiteY5" fmla="*/ 876082 h 1950666"/>
                <a:gd name="connsiteX0" fmla="*/ 12192000 w 12192000"/>
                <a:gd name="connsiteY0" fmla="*/ 876082 h 1950666"/>
                <a:gd name="connsiteX1" fmla="*/ 1991538 w 12192000"/>
                <a:gd name="connsiteY1" fmla="*/ 10830 h 1950666"/>
                <a:gd name="connsiteX2" fmla="*/ 0 w 12192000"/>
                <a:gd name="connsiteY2" fmla="*/ 876082 h 1950666"/>
                <a:gd name="connsiteX3" fmla="*/ 0 w 12192000"/>
                <a:gd name="connsiteY3" fmla="*/ 1950666 h 1950666"/>
                <a:gd name="connsiteX4" fmla="*/ 12192000 w 12192000"/>
                <a:gd name="connsiteY4" fmla="*/ 1950666 h 1950666"/>
                <a:gd name="connsiteX5" fmla="*/ 12192000 w 12192000"/>
                <a:gd name="connsiteY5" fmla="*/ 876082 h 1950666"/>
                <a:gd name="connsiteX0" fmla="*/ 12192000 w 12192000"/>
                <a:gd name="connsiteY0" fmla="*/ 876082 h 1950666"/>
                <a:gd name="connsiteX1" fmla="*/ 1991538 w 12192000"/>
                <a:gd name="connsiteY1" fmla="*/ 10830 h 1950666"/>
                <a:gd name="connsiteX2" fmla="*/ 0 w 12192000"/>
                <a:gd name="connsiteY2" fmla="*/ 876082 h 1950666"/>
                <a:gd name="connsiteX3" fmla="*/ 0 w 12192000"/>
                <a:gd name="connsiteY3" fmla="*/ 1950666 h 1950666"/>
                <a:gd name="connsiteX4" fmla="*/ 12192000 w 12192000"/>
                <a:gd name="connsiteY4" fmla="*/ 1950666 h 1950666"/>
                <a:gd name="connsiteX5" fmla="*/ 12192000 w 12192000"/>
                <a:gd name="connsiteY5" fmla="*/ 876082 h 195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1950666">
                  <a:moveTo>
                    <a:pt x="12192000" y="876082"/>
                  </a:moveTo>
                  <a:cubicBezTo>
                    <a:pt x="8588132" y="1995707"/>
                    <a:pt x="3921938" y="1099371"/>
                    <a:pt x="1991538" y="10830"/>
                  </a:cubicBezTo>
                  <a:cubicBezTo>
                    <a:pt x="1338395" y="-100815"/>
                    <a:pt x="198875" y="683029"/>
                    <a:pt x="0" y="876082"/>
                  </a:cubicBezTo>
                  <a:lnTo>
                    <a:pt x="0" y="1950666"/>
                  </a:lnTo>
                  <a:lnTo>
                    <a:pt x="12192000" y="1950666"/>
                  </a:lnTo>
                  <a:lnTo>
                    <a:pt x="12192000" y="876082"/>
                  </a:lnTo>
                  <a:close/>
                </a:path>
              </a:pathLst>
            </a:custGeom>
            <a:solidFill>
              <a:schemeClr val="accent2">
                <a:lumMod val="75000"/>
                <a:alpha val="2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5" name="Freeform 14"/>
            <p:cNvSpPr/>
            <p:nvPr/>
          </p:nvSpPr>
          <p:spPr>
            <a:xfrm flipH="1">
              <a:off x="0" y="5681809"/>
              <a:ext cx="12192000" cy="1176190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2261837">
                  <a:moveTo>
                    <a:pt x="12192000" y="1187253"/>
                  </a:moveTo>
                  <a:cubicBezTo>
                    <a:pt x="10643810" y="1552425"/>
                    <a:pt x="6473373" y="1522188"/>
                    <a:pt x="4601030" y="433648"/>
                  </a:cubicBezTo>
                  <a:cubicBezTo>
                    <a:pt x="2728687" y="-654892"/>
                    <a:pt x="498324" y="575531"/>
                    <a:pt x="0" y="1187253"/>
                  </a:cubicBezTo>
                  <a:lnTo>
                    <a:pt x="0" y="2261837"/>
                  </a:lnTo>
                  <a:lnTo>
                    <a:pt x="12192000" y="2261837"/>
                  </a:lnTo>
                  <a:lnTo>
                    <a:pt x="12192000" y="1187253"/>
                  </a:lnTo>
                  <a:close/>
                </a:path>
              </a:pathLst>
            </a:custGeom>
            <a:solidFill>
              <a:schemeClr val="accent1">
                <a:lumMod val="75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6" name="Freeform 15"/>
            <p:cNvSpPr/>
            <p:nvPr/>
          </p:nvSpPr>
          <p:spPr>
            <a:xfrm flipH="1">
              <a:off x="-46623" y="5777171"/>
              <a:ext cx="12192000" cy="1080828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2078454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2192000" y="2078454"/>
                  </a:lnTo>
                  <a:lnTo>
                    <a:pt x="12192000" y="1003870"/>
                  </a:ln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608336" y="-446495"/>
            <a:ext cx="13731280" cy="15571090"/>
          </a:xfrm>
          <a:custGeom>
            <a:avLst/>
            <a:gdLst>
              <a:gd name="connsiteX0" fmla="*/ 4498565 w 6865640"/>
              <a:gd name="connsiteY0" fmla="*/ 6966605 h 7785545"/>
              <a:gd name="connsiteX1" fmla="*/ 4588312 w 6865640"/>
              <a:gd name="connsiteY1" fmla="*/ 6977823 h 7785545"/>
              <a:gd name="connsiteX2" fmla="*/ 4678058 w 6865640"/>
              <a:gd name="connsiteY2" fmla="*/ 7000260 h 7785545"/>
              <a:gd name="connsiteX3" fmla="*/ 4756587 w 6865640"/>
              <a:gd name="connsiteY3" fmla="*/ 7033915 h 7785545"/>
              <a:gd name="connsiteX4" fmla="*/ 4823898 w 6865640"/>
              <a:gd name="connsiteY4" fmla="*/ 7090007 h 7785545"/>
              <a:gd name="connsiteX5" fmla="*/ 4879989 w 6865640"/>
              <a:gd name="connsiteY5" fmla="*/ 7146098 h 7785545"/>
              <a:gd name="connsiteX6" fmla="*/ 4924862 w 6865640"/>
              <a:gd name="connsiteY6" fmla="*/ 7213409 h 7785545"/>
              <a:gd name="connsiteX7" fmla="*/ 4947300 w 6865640"/>
              <a:gd name="connsiteY7" fmla="*/ 7291937 h 7785545"/>
              <a:gd name="connsiteX8" fmla="*/ 4958518 w 6865640"/>
              <a:gd name="connsiteY8" fmla="*/ 7381684 h 7785545"/>
              <a:gd name="connsiteX9" fmla="*/ 4947300 w 6865640"/>
              <a:gd name="connsiteY9" fmla="*/ 7460213 h 7785545"/>
              <a:gd name="connsiteX10" fmla="*/ 4924862 w 6865640"/>
              <a:gd name="connsiteY10" fmla="*/ 7538741 h 7785545"/>
              <a:gd name="connsiteX11" fmla="*/ 4879989 w 6865640"/>
              <a:gd name="connsiteY11" fmla="*/ 7606051 h 7785545"/>
              <a:gd name="connsiteX12" fmla="*/ 4823898 w 6865640"/>
              <a:gd name="connsiteY12" fmla="*/ 7662143 h 7785545"/>
              <a:gd name="connsiteX13" fmla="*/ 4756587 w 6865640"/>
              <a:gd name="connsiteY13" fmla="*/ 7718235 h 7785545"/>
              <a:gd name="connsiteX14" fmla="*/ 4678058 w 6865640"/>
              <a:gd name="connsiteY14" fmla="*/ 7751890 h 7785545"/>
              <a:gd name="connsiteX15" fmla="*/ 4588312 w 6865640"/>
              <a:gd name="connsiteY15" fmla="*/ 7774327 h 7785545"/>
              <a:gd name="connsiteX16" fmla="*/ 4498565 w 6865640"/>
              <a:gd name="connsiteY16" fmla="*/ 7785545 h 7785545"/>
              <a:gd name="connsiteX17" fmla="*/ 4397600 w 6865640"/>
              <a:gd name="connsiteY17" fmla="*/ 7774327 h 7785545"/>
              <a:gd name="connsiteX18" fmla="*/ 4319071 w 6865640"/>
              <a:gd name="connsiteY18" fmla="*/ 7751890 h 7785545"/>
              <a:gd name="connsiteX19" fmla="*/ 4240542 w 6865640"/>
              <a:gd name="connsiteY19" fmla="*/ 7718235 h 7785545"/>
              <a:gd name="connsiteX20" fmla="*/ 4162014 w 6865640"/>
              <a:gd name="connsiteY20" fmla="*/ 7662143 h 7785545"/>
              <a:gd name="connsiteX21" fmla="*/ 4105922 w 6865640"/>
              <a:gd name="connsiteY21" fmla="*/ 7606051 h 7785545"/>
              <a:gd name="connsiteX22" fmla="*/ 4072267 w 6865640"/>
              <a:gd name="connsiteY22" fmla="*/ 7538741 h 7785545"/>
              <a:gd name="connsiteX23" fmla="*/ 4038612 w 6865640"/>
              <a:gd name="connsiteY23" fmla="*/ 7460213 h 7785545"/>
              <a:gd name="connsiteX24" fmla="*/ 4027394 w 6865640"/>
              <a:gd name="connsiteY24" fmla="*/ 7381684 h 7785545"/>
              <a:gd name="connsiteX25" fmla="*/ 4038612 w 6865640"/>
              <a:gd name="connsiteY25" fmla="*/ 7291937 h 7785545"/>
              <a:gd name="connsiteX26" fmla="*/ 4072267 w 6865640"/>
              <a:gd name="connsiteY26" fmla="*/ 7213409 h 7785545"/>
              <a:gd name="connsiteX27" fmla="*/ 4105922 w 6865640"/>
              <a:gd name="connsiteY27" fmla="*/ 7146098 h 7785545"/>
              <a:gd name="connsiteX28" fmla="*/ 4162014 w 6865640"/>
              <a:gd name="connsiteY28" fmla="*/ 7090007 h 7785545"/>
              <a:gd name="connsiteX29" fmla="*/ 4240542 w 6865640"/>
              <a:gd name="connsiteY29" fmla="*/ 7033915 h 7785545"/>
              <a:gd name="connsiteX30" fmla="*/ 4319071 w 6865640"/>
              <a:gd name="connsiteY30" fmla="*/ 7000260 h 7785545"/>
              <a:gd name="connsiteX31" fmla="*/ 4397600 w 6865640"/>
              <a:gd name="connsiteY31" fmla="*/ 6977823 h 7785545"/>
              <a:gd name="connsiteX32" fmla="*/ 5295069 w 6865640"/>
              <a:gd name="connsiteY32" fmla="*/ 6428123 h 7785545"/>
              <a:gd name="connsiteX33" fmla="*/ 5407252 w 6865640"/>
              <a:gd name="connsiteY33" fmla="*/ 6439342 h 7785545"/>
              <a:gd name="connsiteX34" fmla="*/ 5519436 w 6865640"/>
              <a:gd name="connsiteY34" fmla="*/ 6450560 h 7785545"/>
              <a:gd name="connsiteX35" fmla="*/ 5609183 w 6865640"/>
              <a:gd name="connsiteY35" fmla="*/ 6472997 h 7785545"/>
              <a:gd name="connsiteX36" fmla="*/ 5698930 w 6865640"/>
              <a:gd name="connsiteY36" fmla="*/ 6506652 h 7785545"/>
              <a:gd name="connsiteX37" fmla="*/ 5766240 w 6865640"/>
              <a:gd name="connsiteY37" fmla="*/ 6551525 h 7785545"/>
              <a:gd name="connsiteX38" fmla="*/ 5822332 w 6865640"/>
              <a:gd name="connsiteY38" fmla="*/ 6596399 h 7785545"/>
              <a:gd name="connsiteX39" fmla="*/ 5855987 w 6865640"/>
              <a:gd name="connsiteY39" fmla="*/ 6641272 h 7785545"/>
              <a:gd name="connsiteX40" fmla="*/ 5867206 w 6865640"/>
              <a:gd name="connsiteY40" fmla="*/ 6697364 h 7785545"/>
              <a:gd name="connsiteX41" fmla="*/ 5855987 w 6865640"/>
              <a:gd name="connsiteY41" fmla="*/ 6753456 h 7785545"/>
              <a:gd name="connsiteX42" fmla="*/ 5822332 w 6865640"/>
              <a:gd name="connsiteY42" fmla="*/ 6798329 h 7785545"/>
              <a:gd name="connsiteX43" fmla="*/ 5766240 w 6865640"/>
              <a:gd name="connsiteY43" fmla="*/ 6854421 h 7785545"/>
              <a:gd name="connsiteX44" fmla="*/ 5698930 w 6865640"/>
              <a:gd name="connsiteY44" fmla="*/ 6888076 h 7785545"/>
              <a:gd name="connsiteX45" fmla="*/ 5609183 w 6865640"/>
              <a:gd name="connsiteY45" fmla="*/ 6921731 h 7785545"/>
              <a:gd name="connsiteX46" fmla="*/ 5519436 w 6865640"/>
              <a:gd name="connsiteY46" fmla="*/ 6944168 h 7785545"/>
              <a:gd name="connsiteX47" fmla="*/ 5407252 w 6865640"/>
              <a:gd name="connsiteY47" fmla="*/ 6966605 h 7785545"/>
              <a:gd name="connsiteX48" fmla="*/ 5295069 w 6865640"/>
              <a:gd name="connsiteY48" fmla="*/ 6966605 h 7785545"/>
              <a:gd name="connsiteX49" fmla="*/ 5182885 w 6865640"/>
              <a:gd name="connsiteY49" fmla="*/ 6966605 h 7785545"/>
              <a:gd name="connsiteX50" fmla="*/ 5070702 w 6865640"/>
              <a:gd name="connsiteY50" fmla="*/ 6944168 h 7785545"/>
              <a:gd name="connsiteX51" fmla="*/ 4980954 w 6865640"/>
              <a:gd name="connsiteY51" fmla="*/ 6921731 h 7785545"/>
              <a:gd name="connsiteX52" fmla="*/ 4891208 w 6865640"/>
              <a:gd name="connsiteY52" fmla="*/ 6888076 h 7785545"/>
              <a:gd name="connsiteX53" fmla="*/ 4823898 w 6865640"/>
              <a:gd name="connsiteY53" fmla="*/ 6854421 h 7785545"/>
              <a:gd name="connsiteX54" fmla="*/ 4767806 w 6865640"/>
              <a:gd name="connsiteY54" fmla="*/ 6798329 h 7785545"/>
              <a:gd name="connsiteX55" fmla="*/ 4734150 w 6865640"/>
              <a:gd name="connsiteY55" fmla="*/ 6753456 h 7785545"/>
              <a:gd name="connsiteX56" fmla="*/ 4722932 w 6865640"/>
              <a:gd name="connsiteY56" fmla="*/ 6697364 h 7785545"/>
              <a:gd name="connsiteX57" fmla="*/ 4734150 w 6865640"/>
              <a:gd name="connsiteY57" fmla="*/ 6641272 h 7785545"/>
              <a:gd name="connsiteX58" fmla="*/ 4767806 w 6865640"/>
              <a:gd name="connsiteY58" fmla="*/ 6596399 h 7785545"/>
              <a:gd name="connsiteX59" fmla="*/ 4823898 w 6865640"/>
              <a:gd name="connsiteY59" fmla="*/ 6551525 h 7785545"/>
              <a:gd name="connsiteX60" fmla="*/ 4891208 w 6865640"/>
              <a:gd name="connsiteY60" fmla="*/ 6506652 h 7785545"/>
              <a:gd name="connsiteX61" fmla="*/ 4980954 w 6865640"/>
              <a:gd name="connsiteY61" fmla="*/ 6472997 h 7785545"/>
              <a:gd name="connsiteX62" fmla="*/ 5070702 w 6865640"/>
              <a:gd name="connsiteY62" fmla="*/ 6450560 h 7785545"/>
              <a:gd name="connsiteX63" fmla="*/ 5182885 w 6865640"/>
              <a:gd name="connsiteY63" fmla="*/ 6439342 h 7785545"/>
              <a:gd name="connsiteX64" fmla="*/ 2658753 w 6865640"/>
              <a:gd name="connsiteY64" fmla="*/ 6293503 h 7785545"/>
              <a:gd name="connsiteX65" fmla="*/ 2692408 w 6865640"/>
              <a:gd name="connsiteY65" fmla="*/ 6304721 h 7785545"/>
              <a:gd name="connsiteX66" fmla="*/ 2714844 w 6865640"/>
              <a:gd name="connsiteY66" fmla="*/ 6315939 h 7785545"/>
              <a:gd name="connsiteX67" fmla="*/ 2748500 w 6865640"/>
              <a:gd name="connsiteY67" fmla="*/ 6327158 h 7785545"/>
              <a:gd name="connsiteX68" fmla="*/ 2770936 w 6865640"/>
              <a:gd name="connsiteY68" fmla="*/ 6360813 h 7785545"/>
              <a:gd name="connsiteX69" fmla="*/ 2804592 w 6865640"/>
              <a:gd name="connsiteY69" fmla="*/ 6416905 h 7785545"/>
              <a:gd name="connsiteX70" fmla="*/ 2815810 w 6865640"/>
              <a:gd name="connsiteY70" fmla="*/ 6495433 h 7785545"/>
              <a:gd name="connsiteX71" fmla="*/ 2804592 w 6865640"/>
              <a:gd name="connsiteY71" fmla="*/ 6573962 h 7785545"/>
              <a:gd name="connsiteX72" fmla="*/ 2770936 w 6865640"/>
              <a:gd name="connsiteY72" fmla="*/ 6641272 h 7785545"/>
              <a:gd name="connsiteX73" fmla="*/ 2748500 w 6865640"/>
              <a:gd name="connsiteY73" fmla="*/ 6663709 h 7785545"/>
              <a:gd name="connsiteX74" fmla="*/ 2714844 w 6865640"/>
              <a:gd name="connsiteY74" fmla="*/ 6674927 h 7785545"/>
              <a:gd name="connsiteX75" fmla="*/ 2692408 w 6865640"/>
              <a:gd name="connsiteY75" fmla="*/ 6686146 h 7785545"/>
              <a:gd name="connsiteX76" fmla="*/ 2658753 w 6865640"/>
              <a:gd name="connsiteY76" fmla="*/ 6697364 h 7785545"/>
              <a:gd name="connsiteX77" fmla="*/ 2625098 w 6865640"/>
              <a:gd name="connsiteY77" fmla="*/ 6686146 h 7785545"/>
              <a:gd name="connsiteX78" fmla="*/ 2602661 w 6865640"/>
              <a:gd name="connsiteY78" fmla="*/ 6674927 h 7785545"/>
              <a:gd name="connsiteX79" fmla="*/ 2569006 w 6865640"/>
              <a:gd name="connsiteY79" fmla="*/ 6663709 h 7785545"/>
              <a:gd name="connsiteX80" fmla="*/ 2546569 w 6865640"/>
              <a:gd name="connsiteY80" fmla="*/ 6641272 h 7785545"/>
              <a:gd name="connsiteX81" fmla="*/ 2512914 w 6865640"/>
              <a:gd name="connsiteY81" fmla="*/ 6573962 h 7785545"/>
              <a:gd name="connsiteX82" fmla="*/ 2501696 w 6865640"/>
              <a:gd name="connsiteY82" fmla="*/ 6495433 h 7785545"/>
              <a:gd name="connsiteX83" fmla="*/ 2512914 w 6865640"/>
              <a:gd name="connsiteY83" fmla="*/ 6416905 h 7785545"/>
              <a:gd name="connsiteX84" fmla="*/ 2546569 w 6865640"/>
              <a:gd name="connsiteY84" fmla="*/ 6360813 h 7785545"/>
              <a:gd name="connsiteX85" fmla="*/ 2569006 w 6865640"/>
              <a:gd name="connsiteY85" fmla="*/ 6327158 h 7785545"/>
              <a:gd name="connsiteX86" fmla="*/ 2602661 w 6865640"/>
              <a:gd name="connsiteY86" fmla="*/ 6315939 h 7785545"/>
              <a:gd name="connsiteX87" fmla="*/ 2625098 w 6865640"/>
              <a:gd name="connsiteY87" fmla="*/ 6304721 h 7785545"/>
              <a:gd name="connsiteX88" fmla="*/ 1738847 w 6865640"/>
              <a:gd name="connsiteY88" fmla="*/ 5900860 h 7785545"/>
              <a:gd name="connsiteX89" fmla="*/ 1839812 w 6865640"/>
              <a:gd name="connsiteY89" fmla="*/ 5912078 h 7785545"/>
              <a:gd name="connsiteX90" fmla="*/ 1929559 w 6865640"/>
              <a:gd name="connsiteY90" fmla="*/ 5934515 h 7785545"/>
              <a:gd name="connsiteX91" fmla="*/ 2008087 w 6865640"/>
              <a:gd name="connsiteY91" fmla="*/ 5968170 h 7785545"/>
              <a:gd name="connsiteX92" fmla="*/ 2086616 w 6865640"/>
              <a:gd name="connsiteY92" fmla="*/ 6024262 h 7785545"/>
              <a:gd name="connsiteX93" fmla="*/ 2142708 w 6865640"/>
              <a:gd name="connsiteY93" fmla="*/ 6080354 h 7785545"/>
              <a:gd name="connsiteX94" fmla="*/ 2187581 w 6865640"/>
              <a:gd name="connsiteY94" fmla="*/ 6147664 h 7785545"/>
              <a:gd name="connsiteX95" fmla="*/ 2221236 w 6865640"/>
              <a:gd name="connsiteY95" fmla="*/ 6214974 h 7785545"/>
              <a:gd name="connsiteX96" fmla="*/ 2232455 w 6865640"/>
              <a:gd name="connsiteY96" fmla="*/ 6293503 h 7785545"/>
              <a:gd name="connsiteX97" fmla="*/ 2221236 w 6865640"/>
              <a:gd name="connsiteY97" fmla="*/ 6383250 h 7785545"/>
              <a:gd name="connsiteX98" fmla="*/ 2187581 w 6865640"/>
              <a:gd name="connsiteY98" fmla="*/ 6450560 h 7785545"/>
              <a:gd name="connsiteX99" fmla="*/ 2142708 w 6865640"/>
              <a:gd name="connsiteY99" fmla="*/ 6517870 h 7785545"/>
              <a:gd name="connsiteX100" fmla="*/ 2086616 w 6865640"/>
              <a:gd name="connsiteY100" fmla="*/ 6573962 h 7785545"/>
              <a:gd name="connsiteX101" fmla="*/ 2008087 w 6865640"/>
              <a:gd name="connsiteY101" fmla="*/ 6630054 h 7785545"/>
              <a:gd name="connsiteX102" fmla="*/ 1929559 w 6865640"/>
              <a:gd name="connsiteY102" fmla="*/ 6663709 h 7785545"/>
              <a:gd name="connsiteX103" fmla="*/ 1839812 w 6865640"/>
              <a:gd name="connsiteY103" fmla="*/ 6686146 h 7785545"/>
              <a:gd name="connsiteX104" fmla="*/ 1738847 w 6865640"/>
              <a:gd name="connsiteY104" fmla="*/ 6697364 h 7785545"/>
              <a:gd name="connsiteX105" fmla="*/ 1637881 w 6865640"/>
              <a:gd name="connsiteY105" fmla="*/ 6686146 h 7785545"/>
              <a:gd name="connsiteX106" fmla="*/ 1548135 w 6865640"/>
              <a:gd name="connsiteY106" fmla="*/ 6663709 h 7785545"/>
              <a:gd name="connsiteX107" fmla="*/ 1458387 w 6865640"/>
              <a:gd name="connsiteY107" fmla="*/ 6630054 h 7785545"/>
              <a:gd name="connsiteX108" fmla="*/ 1391077 w 6865640"/>
              <a:gd name="connsiteY108" fmla="*/ 6573962 h 7785545"/>
              <a:gd name="connsiteX109" fmla="*/ 1323767 w 6865640"/>
              <a:gd name="connsiteY109" fmla="*/ 6517870 h 7785545"/>
              <a:gd name="connsiteX110" fmla="*/ 1278894 w 6865640"/>
              <a:gd name="connsiteY110" fmla="*/ 6450560 h 7785545"/>
              <a:gd name="connsiteX111" fmla="*/ 1256457 w 6865640"/>
              <a:gd name="connsiteY111" fmla="*/ 6383250 h 7785545"/>
              <a:gd name="connsiteX112" fmla="*/ 1245239 w 6865640"/>
              <a:gd name="connsiteY112" fmla="*/ 6293503 h 7785545"/>
              <a:gd name="connsiteX113" fmla="*/ 1256457 w 6865640"/>
              <a:gd name="connsiteY113" fmla="*/ 6214974 h 7785545"/>
              <a:gd name="connsiteX114" fmla="*/ 1278894 w 6865640"/>
              <a:gd name="connsiteY114" fmla="*/ 6147664 h 7785545"/>
              <a:gd name="connsiteX115" fmla="*/ 1323767 w 6865640"/>
              <a:gd name="connsiteY115" fmla="*/ 6080354 h 7785545"/>
              <a:gd name="connsiteX116" fmla="*/ 1391077 w 6865640"/>
              <a:gd name="connsiteY116" fmla="*/ 6024262 h 7785545"/>
              <a:gd name="connsiteX117" fmla="*/ 1458387 w 6865640"/>
              <a:gd name="connsiteY117" fmla="*/ 5968170 h 7785545"/>
              <a:gd name="connsiteX118" fmla="*/ 1548135 w 6865640"/>
              <a:gd name="connsiteY118" fmla="*/ 5934515 h 7785545"/>
              <a:gd name="connsiteX119" fmla="*/ 1637881 w 6865640"/>
              <a:gd name="connsiteY119" fmla="*/ 5912078 h 7785545"/>
              <a:gd name="connsiteX120" fmla="*/ 751631 w 6865640"/>
              <a:gd name="connsiteY120" fmla="*/ 5900860 h 7785545"/>
              <a:gd name="connsiteX121" fmla="*/ 807723 w 6865640"/>
              <a:gd name="connsiteY121" fmla="*/ 5912078 h 7785545"/>
              <a:gd name="connsiteX122" fmla="*/ 863814 w 6865640"/>
              <a:gd name="connsiteY122" fmla="*/ 5923297 h 7785545"/>
              <a:gd name="connsiteX123" fmla="*/ 908688 w 6865640"/>
              <a:gd name="connsiteY123" fmla="*/ 5934515 h 7785545"/>
              <a:gd name="connsiteX124" fmla="*/ 942343 w 6865640"/>
              <a:gd name="connsiteY124" fmla="*/ 5956952 h 7785545"/>
              <a:gd name="connsiteX125" fmla="*/ 975998 w 6865640"/>
              <a:gd name="connsiteY125" fmla="*/ 5979389 h 7785545"/>
              <a:gd name="connsiteX126" fmla="*/ 1009653 w 6865640"/>
              <a:gd name="connsiteY126" fmla="*/ 6013044 h 7785545"/>
              <a:gd name="connsiteX127" fmla="*/ 1020871 w 6865640"/>
              <a:gd name="connsiteY127" fmla="*/ 6046699 h 7785545"/>
              <a:gd name="connsiteX128" fmla="*/ 1020871 w 6865640"/>
              <a:gd name="connsiteY128" fmla="*/ 6091572 h 7785545"/>
              <a:gd name="connsiteX129" fmla="*/ 1020871 w 6865640"/>
              <a:gd name="connsiteY129" fmla="*/ 6125227 h 7785545"/>
              <a:gd name="connsiteX130" fmla="*/ 1009653 w 6865640"/>
              <a:gd name="connsiteY130" fmla="*/ 6158882 h 7785545"/>
              <a:gd name="connsiteX131" fmla="*/ 975998 w 6865640"/>
              <a:gd name="connsiteY131" fmla="*/ 6192537 h 7785545"/>
              <a:gd name="connsiteX132" fmla="*/ 942343 w 6865640"/>
              <a:gd name="connsiteY132" fmla="*/ 6214974 h 7785545"/>
              <a:gd name="connsiteX133" fmla="*/ 908688 w 6865640"/>
              <a:gd name="connsiteY133" fmla="*/ 6237411 h 7785545"/>
              <a:gd name="connsiteX134" fmla="*/ 863814 w 6865640"/>
              <a:gd name="connsiteY134" fmla="*/ 6259848 h 7785545"/>
              <a:gd name="connsiteX135" fmla="*/ 807723 w 6865640"/>
              <a:gd name="connsiteY135" fmla="*/ 6271066 h 7785545"/>
              <a:gd name="connsiteX136" fmla="*/ 751631 w 6865640"/>
              <a:gd name="connsiteY136" fmla="*/ 6271066 h 7785545"/>
              <a:gd name="connsiteX137" fmla="*/ 695539 w 6865640"/>
              <a:gd name="connsiteY137" fmla="*/ 6271066 h 7785545"/>
              <a:gd name="connsiteX138" fmla="*/ 650665 w 6865640"/>
              <a:gd name="connsiteY138" fmla="*/ 6259848 h 7785545"/>
              <a:gd name="connsiteX139" fmla="*/ 594574 w 6865640"/>
              <a:gd name="connsiteY139" fmla="*/ 6237411 h 7785545"/>
              <a:gd name="connsiteX140" fmla="*/ 560919 w 6865640"/>
              <a:gd name="connsiteY140" fmla="*/ 6214974 h 7785545"/>
              <a:gd name="connsiteX141" fmla="*/ 527263 w 6865640"/>
              <a:gd name="connsiteY141" fmla="*/ 6192537 h 7785545"/>
              <a:gd name="connsiteX142" fmla="*/ 504827 w 6865640"/>
              <a:gd name="connsiteY142" fmla="*/ 6158882 h 7785545"/>
              <a:gd name="connsiteX143" fmla="*/ 482390 w 6865640"/>
              <a:gd name="connsiteY143" fmla="*/ 6125227 h 7785545"/>
              <a:gd name="connsiteX144" fmla="*/ 482390 w 6865640"/>
              <a:gd name="connsiteY144" fmla="*/ 6091572 h 7785545"/>
              <a:gd name="connsiteX145" fmla="*/ 482390 w 6865640"/>
              <a:gd name="connsiteY145" fmla="*/ 6046699 h 7785545"/>
              <a:gd name="connsiteX146" fmla="*/ 504827 w 6865640"/>
              <a:gd name="connsiteY146" fmla="*/ 6013044 h 7785545"/>
              <a:gd name="connsiteX147" fmla="*/ 527263 w 6865640"/>
              <a:gd name="connsiteY147" fmla="*/ 5979389 h 7785545"/>
              <a:gd name="connsiteX148" fmla="*/ 560919 w 6865640"/>
              <a:gd name="connsiteY148" fmla="*/ 5956952 h 7785545"/>
              <a:gd name="connsiteX149" fmla="*/ 594574 w 6865640"/>
              <a:gd name="connsiteY149" fmla="*/ 5934515 h 7785545"/>
              <a:gd name="connsiteX150" fmla="*/ 650665 w 6865640"/>
              <a:gd name="connsiteY150" fmla="*/ 5923297 h 7785545"/>
              <a:gd name="connsiteX151" fmla="*/ 695539 w 6865640"/>
              <a:gd name="connsiteY151" fmla="*/ 5912078 h 7785545"/>
              <a:gd name="connsiteX152" fmla="*/ 157057 w 6865640"/>
              <a:gd name="connsiteY152" fmla="*/ 4453691 h 7785545"/>
              <a:gd name="connsiteX153" fmla="*/ 190712 w 6865640"/>
              <a:gd name="connsiteY153" fmla="*/ 4453691 h 7785545"/>
              <a:gd name="connsiteX154" fmla="*/ 224368 w 6865640"/>
              <a:gd name="connsiteY154" fmla="*/ 4453691 h 7785545"/>
              <a:gd name="connsiteX155" fmla="*/ 269241 w 6865640"/>
              <a:gd name="connsiteY155" fmla="*/ 4476128 h 7785545"/>
              <a:gd name="connsiteX156" fmla="*/ 291678 w 6865640"/>
              <a:gd name="connsiteY156" fmla="*/ 4498564 h 7785545"/>
              <a:gd name="connsiteX157" fmla="*/ 325333 w 6865640"/>
              <a:gd name="connsiteY157" fmla="*/ 4521001 h 7785545"/>
              <a:gd name="connsiteX158" fmla="*/ 347770 w 6865640"/>
              <a:gd name="connsiteY158" fmla="*/ 4554656 h 7785545"/>
              <a:gd name="connsiteX159" fmla="*/ 358988 w 6865640"/>
              <a:gd name="connsiteY159" fmla="*/ 4588311 h 7785545"/>
              <a:gd name="connsiteX160" fmla="*/ 370206 w 6865640"/>
              <a:gd name="connsiteY160" fmla="*/ 4633185 h 7785545"/>
              <a:gd name="connsiteX161" fmla="*/ 381425 w 6865640"/>
              <a:gd name="connsiteY161" fmla="*/ 4678058 h 7785545"/>
              <a:gd name="connsiteX162" fmla="*/ 370206 w 6865640"/>
              <a:gd name="connsiteY162" fmla="*/ 4722932 h 7785545"/>
              <a:gd name="connsiteX163" fmla="*/ 358988 w 6865640"/>
              <a:gd name="connsiteY163" fmla="*/ 4767805 h 7785545"/>
              <a:gd name="connsiteX164" fmla="*/ 347770 w 6865640"/>
              <a:gd name="connsiteY164" fmla="*/ 4812679 h 7785545"/>
              <a:gd name="connsiteX165" fmla="*/ 325333 w 6865640"/>
              <a:gd name="connsiteY165" fmla="*/ 4846334 h 7785545"/>
              <a:gd name="connsiteX166" fmla="*/ 291678 w 6865640"/>
              <a:gd name="connsiteY166" fmla="*/ 4868770 h 7785545"/>
              <a:gd name="connsiteX167" fmla="*/ 269241 w 6865640"/>
              <a:gd name="connsiteY167" fmla="*/ 4891207 h 7785545"/>
              <a:gd name="connsiteX168" fmla="*/ 224368 w 6865640"/>
              <a:gd name="connsiteY168" fmla="*/ 4902426 h 7785545"/>
              <a:gd name="connsiteX169" fmla="*/ 190712 w 6865640"/>
              <a:gd name="connsiteY169" fmla="*/ 4913644 h 7785545"/>
              <a:gd name="connsiteX170" fmla="*/ 157057 w 6865640"/>
              <a:gd name="connsiteY170" fmla="*/ 4902426 h 7785545"/>
              <a:gd name="connsiteX171" fmla="*/ 123402 w 6865640"/>
              <a:gd name="connsiteY171" fmla="*/ 4891207 h 7785545"/>
              <a:gd name="connsiteX172" fmla="*/ 89747 w 6865640"/>
              <a:gd name="connsiteY172" fmla="*/ 4868770 h 7785545"/>
              <a:gd name="connsiteX173" fmla="*/ 56092 w 6865640"/>
              <a:gd name="connsiteY173" fmla="*/ 4846334 h 7785545"/>
              <a:gd name="connsiteX174" fmla="*/ 33655 w 6865640"/>
              <a:gd name="connsiteY174" fmla="*/ 4812679 h 7785545"/>
              <a:gd name="connsiteX175" fmla="*/ 22437 w 6865640"/>
              <a:gd name="connsiteY175" fmla="*/ 4767805 h 7785545"/>
              <a:gd name="connsiteX176" fmla="*/ 11219 w 6865640"/>
              <a:gd name="connsiteY176" fmla="*/ 4722932 h 7785545"/>
              <a:gd name="connsiteX177" fmla="*/ 0 w 6865640"/>
              <a:gd name="connsiteY177" fmla="*/ 4678058 h 7785545"/>
              <a:gd name="connsiteX178" fmla="*/ 11219 w 6865640"/>
              <a:gd name="connsiteY178" fmla="*/ 4633185 h 7785545"/>
              <a:gd name="connsiteX179" fmla="*/ 22437 w 6865640"/>
              <a:gd name="connsiteY179" fmla="*/ 4588311 h 7785545"/>
              <a:gd name="connsiteX180" fmla="*/ 33655 w 6865640"/>
              <a:gd name="connsiteY180" fmla="*/ 4554656 h 7785545"/>
              <a:gd name="connsiteX181" fmla="*/ 56092 w 6865640"/>
              <a:gd name="connsiteY181" fmla="*/ 4521001 h 7785545"/>
              <a:gd name="connsiteX182" fmla="*/ 89747 w 6865640"/>
              <a:gd name="connsiteY182" fmla="*/ 4498564 h 7785545"/>
              <a:gd name="connsiteX183" fmla="*/ 123402 w 6865640"/>
              <a:gd name="connsiteY183" fmla="*/ 4476128 h 7785545"/>
              <a:gd name="connsiteX184" fmla="*/ 605792 w 6865640"/>
              <a:gd name="connsiteY184" fmla="*/ 3881554 h 7785545"/>
              <a:gd name="connsiteX185" fmla="*/ 650665 w 6865640"/>
              <a:gd name="connsiteY185" fmla="*/ 3892773 h 7785545"/>
              <a:gd name="connsiteX186" fmla="*/ 684321 w 6865640"/>
              <a:gd name="connsiteY186" fmla="*/ 3903991 h 7785545"/>
              <a:gd name="connsiteX187" fmla="*/ 729194 w 6865640"/>
              <a:gd name="connsiteY187" fmla="*/ 3915209 h 7785545"/>
              <a:gd name="connsiteX188" fmla="*/ 762849 w 6865640"/>
              <a:gd name="connsiteY188" fmla="*/ 3948864 h 7785545"/>
              <a:gd name="connsiteX189" fmla="*/ 785286 w 6865640"/>
              <a:gd name="connsiteY189" fmla="*/ 3971301 h 7785545"/>
              <a:gd name="connsiteX190" fmla="*/ 807723 w 6865640"/>
              <a:gd name="connsiteY190" fmla="*/ 4016175 h 7785545"/>
              <a:gd name="connsiteX191" fmla="*/ 818941 w 6865640"/>
              <a:gd name="connsiteY191" fmla="*/ 4049830 h 7785545"/>
              <a:gd name="connsiteX192" fmla="*/ 830159 w 6865640"/>
              <a:gd name="connsiteY192" fmla="*/ 4094703 h 7785545"/>
              <a:gd name="connsiteX193" fmla="*/ 818941 w 6865640"/>
              <a:gd name="connsiteY193" fmla="*/ 4128358 h 7785545"/>
              <a:gd name="connsiteX194" fmla="*/ 807723 w 6865640"/>
              <a:gd name="connsiteY194" fmla="*/ 4173232 h 7785545"/>
              <a:gd name="connsiteX195" fmla="*/ 785286 w 6865640"/>
              <a:gd name="connsiteY195" fmla="*/ 4206887 h 7785545"/>
              <a:gd name="connsiteX196" fmla="*/ 762849 w 6865640"/>
              <a:gd name="connsiteY196" fmla="*/ 4240542 h 7785545"/>
              <a:gd name="connsiteX197" fmla="*/ 729194 w 6865640"/>
              <a:gd name="connsiteY197" fmla="*/ 4262979 h 7785545"/>
              <a:gd name="connsiteX198" fmla="*/ 684321 w 6865640"/>
              <a:gd name="connsiteY198" fmla="*/ 4285416 h 7785545"/>
              <a:gd name="connsiteX199" fmla="*/ 650665 w 6865640"/>
              <a:gd name="connsiteY199" fmla="*/ 4296634 h 7785545"/>
              <a:gd name="connsiteX200" fmla="*/ 605792 w 6865640"/>
              <a:gd name="connsiteY200" fmla="*/ 4296634 h 7785545"/>
              <a:gd name="connsiteX201" fmla="*/ 560919 w 6865640"/>
              <a:gd name="connsiteY201" fmla="*/ 4296634 h 7785545"/>
              <a:gd name="connsiteX202" fmla="*/ 516045 w 6865640"/>
              <a:gd name="connsiteY202" fmla="*/ 4285416 h 7785545"/>
              <a:gd name="connsiteX203" fmla="*/ 482390 w 6865640"/>
              <a:gd name="connsiteY203" fmla="*/ 4262979 h 7785545"/>
              <a:gd name="connsiteX204" fmla="*/ 448735 w 6865640"/>
              <a:gd name="connsiteY204" fmla="*/ 4240542 h 7785545"/>
              <a:gd name="connsiteX205" fmla="*/ 415080 w 6865640"/>
              <a:gd name="connsiteY205" fmla="*/ 4206887 h 7785545"/>
              <a:gd name="connsiteX206" fmla="*/ 392643 w 6865640"/>
              <a:gd name="connsiteY206" fmla="*/ 4173232 h 7785545"/>
              <a:gd name="connsiteX207" fmla="*/ 381425 w 6865640"/>
              <a:gd name="connsiteY207" fmla="*/ 4128358 h 7785545"/>
              <a:gd name="connsiteX208" fmla="*/ 381425 w 6865640"/>
              <a:gd name="connsiteY208" fmla="*/ 4094703 h 7785545"/>
              <a:gd name="connsiteX209" fmla="*/ 381425 w 6865640"/>
              <a:gd name="connsiteY209" fmla="*/ 4049830 h 7785545"/>
              <a:gd name="connsiteX210" fmla="*/ 392643 w 6865640"/>
              <a:gd name="connsiteY210" fmla="*/ 4016175 h 7785545"/>
              <a:gd name="connsiteX211" fmla="*/ 415080 w 6865640"/>
              <a:gd name="connsiteY211" fmla="*/ 3971301 h 7785545"/>
              <a:gd name="connsiteX212" fmla="*/ 448735 w 6865640"/>
              <a:gd name="connsiteY212" fmla="*/ 3948864 h 7785545"/>
              <a:gd name="connsiteX213" fmla="*/ 482390 w 6865640"/>
              <a:gd name="connsiteY213" fmla="*/ 3915209 h 7785545"/>
              <a:gd name="connsiteX214" fmla="*/ 516045 w 6865640"/>
              <a:gd name="connsiteY214" fmla="*/ 3903991 h 7785545"/>
              <a:gd name="connsiteX215" fmla="*/ 560919 w 6865640"/>
              <a:gd name="connsiteY215" fmla="*/ 3892773 h 7785545"/>
              <a:gd name="connsiteX216" fmla="*/ 482390 w 6865640"/>
              <a:gd name="connsiteY216" fmla="*/ 2871902 h 7785545"/>
              <a:gd name="connsiteX217" fmla="*/ 549700 w 6865640"/>
              <a:gd name="connsiteY217" fmla="*/ 2883120 h 7785545"/>
              <a:gd name="connsiteX218" fmla="*/ 617010 w 6865640"/>
              <a:gd name="connsiteY218" fmla="*/ 2905557 h 7785545"/>
              <a:gd name="connsiteX219" fmla="*/ 673102 w 6865640"/>
              <a:gd name="connsiteY219" fmla="*/ 2939212 h 7785545"/>
              <a:gd name="connsiteX220" fmla="*/ 729194 w 6865640"/>
              <a:gd name="connsiteY220" fmla="*/ 2984085 h 7785545"/>
              <a:gd name="connsiteX221" fmla="*/ 762849 w 6865640"/>
              <a:gd name="connsiteY221" fmla="*/ 3040177 h 7785545"/>
              <a:gd name="connsiteX222" fmla="*/ 796504 w 6865640"/>
              <a:gd name="connsiteY222" fmla="*/ 3107487 h 7785545"/>
              <a:gd name="connsiteX223" fmla="*/ 818941 w 6865640"/>
              <a:gd name="connsiteY223" fmla="*/ 3174797 h 7785545"/>
              <a:gd name="connsiteX224" fmla="*/ 830159 w 6865640"/>
              <a:gd name="connsiteY224" fmla="*/ 3253326 h 7785545"/>
              <a:gd name="connsiteX225" fmla="*/ 818941 w 6865640"/>
              <a:gd name="connsiteY225" fmla="*/ 3320636 h 7785545"/>
              <a:gd name="connsiteX226" fmla="*/ 796504 w 6865640"/>
              <a:gd name="connsiteY226" fmla="*/ 3387946 h 7785545"/>
              <a:gd name="connsiteX227" fmla="*/ 762849 w 6865640"/>
              <a:gd name="connsiteY227" fmla="*/ 3455256 h 7785545"/>
              <a:gd name="connsiteX228" fmla="*/ 729194 w 6865640"/>
              <a:gd name="connsiteY228" fmla="*/ 3511348 h 7785545"/>
              <a:gd name="connsiteX229" fmla="*/ 673102 w 6865640"/>
              <a:gd name="connsiteY229" fmla="*/ 3556222 h 7785545"/>
              <a:gd name="connsiteX230" fmla="*/ 617010 w 6865640"/>
              <a:gd name="connsiteY230" fmla="*/ 3589877 h 7785545"/>
              <a:gd name="connsiteX231" fmla="*/ 549700 w 6865640"/>
              <a:gd name="connsiteY231" fmla="*/ 3612314 h 7785545"/>
              <a:gd name="connsiteX232" fmla="*/ 482390 w 6865640"/>
              <a:gd name="connsiteY232" fmla="*/ 3623532 h 7785545"/>
              <a:gd name="connsiteX233" fmla="*/ 403861 w 6865640"/>
              <a:gd name="connsiteY233" fmla="*/ 3612314 h 7785545"/>
              <a:gd name="connsiteX234" fmla="*/ 347770 w 6865640"/>
              <a:gd name="connsiteY234" fmla="*/ 3589877 h 7785545"/>
              <a:gd name="connsiteX235" fmla="*/ 280459 w 6865640"/>
              <a:gd name="connsiteY235" fmla="*/ 3556222 h 7785545"/>
              <a:gd name="connsiteX236" fmla="*/ 235586 w 6865640"/>
              <a:gd name="connsiteY236" fmla="*/ 3511348 h 7785545"/>
              <a:gd name="connsiteX237" fmla="*/ 190712 w 6865640"/>
              <a:gd name="connsiteY237" fmla="*/ 3455256 h 7785545"/>
              <a:gd name="connsiteX238" fmla="*/ 157057 w 6865640"/>
              <a:gd name="connsiteY238" fmla="*/ 3387946 h 7785545"/>
              <a:gd name="connsiteX239" fmla="*/ 134621 w 6865640"/>
              <a:gd name="connsiteY239" fmla="*/ 3320636 h 7785545"/>
              <a:gd name="connsiteX240" fmla="*/ 134621 w 6865640"/>
              <a:gd name="connsiteY240" fmla="*/ 3253326 h 7785545"/>
              <a:gd name="connsiteX241" fmla="*/ 134621 w 6865640"/>
              <a:gd name="connsiteY241" fmla="*/ 3174797 h 7785545"/>
              <a:gd name="connsiteX242" fmla="*/ 157057 w 6865640"/>
              <a:gd name="connsiteY242" fmla="*/ 3107487 h 7785545"/>
              <a:gd name="connsiteX243" fmla="*/ 190712 w 6865640"/>
              <a:gd name="connsiteY243" fmla="*/ 3040177 h 7785545"/>
              <a:gd name="connsiteX244" fmla="*/ 235586 w 6865640"/>
              <a:gd name="connsiteY244" fmla="*/ 2984085 h 7785545"/>
              <a:gd name="connsiteX245" fmla="*/ 280459 w 6865640"/>
              <a:gd name="connsiteY245" fmla="*/ 2939212 h 7785545"/>
              <a:gd name="connsiteX246" fmla="*/ 347770 w 6865640"/>
              <a:gd name="connsiteY246" fmla="*/ 2905557 h 7785545"/>
              <a:gd name="connsiteX247" fmla="*/ 403861 w 6865640"/>
              <a:gd name="connsiteY247" fmla="*/ 2883120 h 7785545"/>
              <a:gd name="connsiteX248" fmla="*/ 1245239 w 6865640"/>
              <a:gd name="connsiteY248" fmla="*/ 2468041 h 7785545"/>
              <a:gd name="connsiteX249" fmla="*/ 1301331 w 6865640"/>
              <a:gd name="connsiteY249" fmla="*/ 2479259 h 7785545"/>
              <a:gd name="connsiteX250" fmla="*/ 1346204 w 6865640"/>
              <a:gd name="connsiteY250" fmla="*/ 2501696 h 7785545"/>
              <a:gd name="connsiteX251" fmla="*/ 1379859 w 6865640"/>
              <a:gd name="connsiteY251" fmla="*/ 2546569 h 7785545"/>
              <a:gd name="connsiteX252" fmla="*/ 1391077 w 6865640"/>
              <a:gd name="connsiteY252" fmla="*/ 2591443 h 7785545"/>
              <a:gd name="connsiteX253" fmla="*/ 1379859 w 6865640"/>
              <a:gd name="connsiteY253" fmla="*/ 2647534 h 7785545"/>
              <a:gd name="connsiteX254" fmla="*/ 1346204 w 6865640"/>
              <a:gd name="connsiteY254" fmla="*/ 2692408 h 7785545"/>
              <a:gd name="connsiteX255" fmla="*/ 1301331 w 6865640"/>
              <a:gd name="connsiteY255" fmla="*/ 2714845 h 7785545"/>
              <a:gd name="connsiteX256" fmla="*/ 1245239 w 6865640"/>
              <a:gd name="connsiteY256" fmla="*/ 2726063 h 7785545"/>
              <a:gd name="connsiteX257" fmla="*/ 1177929 w 6865640"/>
              <a:gd name="connsiteY257" fmla="*/ 2714845 h 7785545"/>
              <a:gd name="connsiteX258" fmla="*/ 1133055 w 6865640"/>
              <a:gd name="connsiteY258" fmla="*/ 2692408 h 7785545"/>
              <a:gd name="connsiteX259" fmla="*/ 1099400 w 6865640"/>
              <a:gd name="connsiteY259" fmla="*/ 2647534 h 7785545"/>
              <a:gd name="connsiteX260" fmla="*/ 1088181 w 6865640"/>
              <a:gd name="connsiteY260" fmla="*/ 2591443 h 7785545"/>
              <a:gd name="connsiteX261" fmla="*/ 1099400 w 6865640"/>
              <a:gd name="connsiteY261" fmla="*/ 2546569 h 7785545"/>
              <a:gd name="connsiteX262" fmla="*/ 1133055 w 6865640"/>
              <a:gd name="connsiteY262" fmla="*/ 2501696 h 7785545"/>
              <a:gd name="connsiteX263" fmla="*/ 1177929 w 6865640"/>
              <a:gd name="connsiteY263" fmla="*/ 2479259 h 7785545"/>
              <a:gd name="connsiteX264" fmla="*/ 6394468 w 6865640"/>
              <a:gd name="connsiteY264" fmla="*/ 2232455 h 7785545"/>
              <a:gd name="connsiteX265" fmla="*/ 6450560 w 6865640"/>
              <a:gd name="connsiteY265" fmla="*/ 2232455 h 7785545"/>
              <a:gd name="connsiteX266" fmla="*/ 6506652 w 6865640"/>
              <a:gd name="connsiteY266" fmla="*/ 2232455 h 7785545"/>
              <a:gd name="connsiteX267" fmla="*/ 6585181 w 6865640"/>
              <a:gd name="connsiteY267" fmla="*/ 2243673 h 7785545"/>
              <a:gd name="connsiteX268" fmla="*/ 6663710 w 6865640"/>
              <a:gd name="connsiteY268" fmla="*/ 2277328 h 7785545"/>
              <a:gd name="connsiteX269" fmla="*/ 6697364 w 6865640"/>
              <a:gd name="connsiteY269" fmla="*/ 2310983 h 7785545"/>
              <a:gd name="connsiteX270" fmla="*/ 6742238 w 6865640"/>
              <a:gd name="connsiteY270" fmla="*/ 2344639 h 7785545"/>
              <a:gd name="connsiteX271" fmla="*/ 6775893 w 6865640"/>
              <a:gd name="connsiteY271" fmla="*/ 2400730 h 7785545"/>
              <a:gd name="connsiteX272" fmla="*/ 6809548 w 6865640"/>
              <a:gd name="connsiteY272" fmla="*/ 2456822 h 7785545"/>
              <a:gd name="connsiteX273" fmla="*/ 6831985 w 6865640"/>
              <a:gd name="connsiteY273" fmla="*/ 2490477 h 7785545"/>
              <a:gd name="connsiteX274" fmla="*/ 6854422 w 6865640"/>
              <a:gd name="connsiteY274" fmla="*/ 2546569 h 7785545"/>
              <a:gd name="connsiteX275" fmla="*/ 6865640 w 6865640"/>
              <a:gd name="connsiteY275" fmla="*/ 2613879 h 7785545"/>
              <a:gd name="connsiteX276" fmla="*/ 6865640 w 6865640"/>
              <a:gd name="connsiteY276" fmla="*/ 2714845 h 7785545"/>
              <a:gd name="connsiteX277" fmla="*/ 6854422 w 6865640"/>
              <a:gd name="connsiteY277" fmla="*/ 2827028 h 7785545"/>
              <a:gd name="connsiteX278" fmla="*/ 6820766 w 6865640"/>
              <a:gd name="connsiteY278" fmla="*/ 2972867 h 7785545"/>
              <a:gd name="connsiteX279" fmla="*/ 6753456 w 6865640"/>
              <a:gd name="connsiteY279" fmla="*/ 3129924 h 7785545"/>
              <a:gd name="connsiteX280" fmla="*/ 6708583 w 6865640"/>
              <a:gd name="connsiteY280" fmla="*/ 3230889 h 7785545"/>
              <a:gd name="connsiteX281" fmla="*/ 6652491 w 6865640"/>
              <a:gd name="connsiteY281" fmla="*/ 3320636 h 7785545"/>
              <a:gd name="connsiteX282" fmla="*/ 6585181 w 6865640"/>
              <a:gd name="connsiteY282" fmla="*/ 3387946 h 7785545"/>
              <a:gd name="connsiteX283" fmla="*/ 6529089 w 6865640"/>
              <a:gd name="connsiteY283" fmla="*/ 3444038 h 7785545"/>
              <a:gd name="connsiteX284" fmla="*/ 6461779 w 6865640"/>
              <a:gd name="connsiteY284" fmla="*/ 3488912 h 7785545"/>
              <a:gd name="connsiteX285" fmla="*/ 6394468 w 6865640"/>
              <a:gd name="connsiteY285" fmla="*/ 3511348 h 7785545"/>
              <a:gd name="connsiteX286" fmla="*/ 6338377 w 6865640"/>
              <a:gd name="connsiteY286" fmla="*/ 3522567 h 7785545"/>
              <a:gd name="connsiteX287" fmla="*/ 6282285 w 6865640"/>
              <a:gd name="connsiteY287" fmla="*/ 3500130 h 7785545"/>
              <a:gd name="connsiteX288" fmla="*/ 6237412 w 6865640"/>
              <a:gd name="connsiteY288" fmla="*/ 3455256 h 7785545"/>
              <a:gd name="connsiteX289" fmla="*/ 6203756 w 6865640"/>
              <a:gd name="connsiteY289" fmla="*/ 3399165 h 7785545"/>
              <a:gd name="connsiteX290" fmla="*/ 6181320 w 6865640"/>
              <a:gd name="connsiteY290" fmla="*/ 3331854 h 7785545"/>
              <a:gd name="connsiteX291" fmla="*/ 6170102 w 6865640"/>
              <a:gd name="connsiteY291" fmla="*/ 3242108 h 7785545"/>
              <a:gd name="connsiteX292" fmla="*/ 6170102 w 6865640"/>
              <a:gd name="connsiteY292" fmla="*/ 3152361 h 7785545"/>
              <a:gd name="connsiteX293" fmla="*/ 6181320 w 6865640"/>
              <a:gd name="connsiteY293" fmla="*/ 3051395 h 7785545"/>
              <a:gd name="connsiteX294" fmla="*/ 6203756 w 6865640"/>
              <a:gd name="connsiteY294" fmla="*/ 2950430 h 7785545"/>
              <a:gd name="connsiteX295" fmla="*/ 6248630 w 6865640"/>
              <a:gd name="connsiteY295" fmla="*/ 2838247 h 7785545"/>
              <a:gd name="connsiteX296" fmla="*/ 6259848 w 6865640"/>
              <a:gd name="connsiteY296" fmla="*/ 2815810 h 7785545"/>
              <a:gd name="connsiteX297" fmla="*/ 6271066 w 6865640"/>
              <a:gd name="connsiteY297" fmla="*/ 2748500 h 7785545"/>
              <a:gd name="connsiteX298" fmla="*/ 6271066 w 6865640"/>
              <a:gd name="connsiteY298" fmla="*/ 2658753 h 7785545"/>
              <a:gd name="connsiteX299" fmla="*/ 6271066 w 6865640"/>
              <a:gd name="connsiteY299" fmla="*/ 2613879 h 7785545"/>
              <a:gd name="connsiteX300" fmla="*/ 6248630 w 6865640"/>
              <a:gd name="connsiteY300" fmla="*/ 2569006 h 7785545"/>
              <a:gd name="connsiteX301" fmla="*/ 6226193 w 6865640"/>
              <a:gd name="connsiteY301" fmla="*/ 2535351 h 7785545"/>
              <a:gd name="connsiteX302" fmla="*/ 6214975 w 6865640"/>
              <a:gd name="connsiteY302" fmla="*/ 2501696 h 7785545"/>
              <a:gd name="connsiteX303" fmla="*/ 6203756 w 6865640"/>
              <a:gd name="connsiteY303" fmla="*/ 2456822 h 7785545"/>
              <a:gd name="connsiteX304" fmla="*/ 6203756 w 6865640"/>
              <a:gd name="connsiteY304" fmla="*/ 2411949 h 7785545"/>
              <a:gd name="connsiteX305" fmla="*/ 6226193 w 6865640"/>
              <a:gd name="connsiteY305" fmla="*/ 2355857 h 7785545"/>
              <a:gd name="connsiteX306" fmla="*/ 6271066 w 6865640"/>
              <a:gd name="connsiteY306" fmla="*/ 2299765 h 7785545"/>
              <a:gd name="connsiteX307" fmla="*/ 6349595 w 6865640"/>
              <a:gd name="connsiteY307" fmla="*/ 2254892 h 7785545"/>
              <a:gd name="connsiteX308" fmla="*/ 1783720 w 6865640"/>
              <a:gd name="connsiteY308" fmla="*/ 2097835 h 7785545"/>
              <a:gd name="connsiteX309" fmla="*/ 1839812 w 6865640"/>
              <a:gd name="connsiteY309" fmla="*/ 2109053 h 7785545"/>
              <a:gd name="connsiteX310" fmla="*/ 1895904 w 6865640"/>
              <a:gd name="connsiteY310" fmla="*/ 2120271 h 7785545"/>
              <a:gd name="connsiteX311" fmla="*/ 1940777 w 6865640"/>
              <a:gd name="connsiteY311" fmla="*/ 2142708 h 7785545"/>
              <a:gd name="connsiteX312" fmla="*/ 1985651 w 6865640"/>
              <a:gd name="connsiteY312" fmla="*/ 2165145 h 7785545"/>
              <a:gd name="connsiteX313" fmla="*/ 2019306 w 6865640"/>
              <a:gd name="connsiteY313" fmla="*/ 2198800 h 7785545"/>
              <a:gd name="connsiteX314" fmla="*/ 2052961 w 6865640"/>
              <a:gd name="connsiteY314" fmla="*/ 2232455 h 7785545"/>
              <a:gd name="connsiteX315" fmla="*/ 2064179 w 6865640"/>
              <a:gd name="connsiteY315" fmla="*/ 2266110 h 7785545"/>
              <a:gd name="connsiteX316" fmla="*/ 2075398 w 6865640"/>
              <a:gd name="connsiteY316" fmla="*/ 2310983 h 7785545"/>
              <a:gd name="connsiteX317" fmla="*/ 2064179 w 6865640"/>
              <a:gd name="connsiteY317" fmla="*/ 2355857 h 7785545"/>
              <a:gd name="connsiteX318" fmla="*/ 2052961 w 6865640"/>
              <a:gd name="connsiteY318" fmla="*/ 2400730 h 7785545"/>
              <a:gd name="connsiteX319" fmla="*/ 2019306 w 6865640"/>
              <a:gd name="connsiteY319" fmla="*/ 2434385 h 7785545"/>
              <a:gd name="connsiteX320" fmla="*/ 1985651 w 6865640"/>
              <a:gd name="connsiteY320" fmla="*/ 2468041 h 7785545"/>
              <a:gd name="connsiteX321" fmla="*/ 1940777 w 6865640"/>
              <a:gd name="connsiteY321" fmla="*/ 2490477 h 7785545"/>
              <a:gd name="connsiteX322" fmla="*/ 1895904 w 6865640"/>
              <a:gd name="connsiteY322" fmla="*/ 2512914 h 7785545"/>
              <a:gd name="connsiteX323" fmla="*/ 1839812 w 6865640"/>
              <a:gd name="connsiteY323" fmla="*/ 2524132 h 7785545"/>
              <a:gd name="connsiteX324" fmla="*/ 1783720 w 6865640"/>
              <a:gd name="connsiteY324" fmla="*/ 2524132 h 7785545"/>
              <a:gd name="connsiteX325" fmla="*/ 1727629 w 6865640"/>
              <a:gd name="connsiteY325" fmla="*/ 2524132 h 7785545"/>
              <a:gd name="connsiteX326" fmla="*/ 1671537 w 6865640"/>
              <a:gd name="connsiteY326" fmla="*/ 2512914 h 7785545"/>
              <a:gd name="connsiteX327" fmla="*/ 1615445 w 6865640"/>
              <a:gd name="connsiteY327" fmla="*/ 2490477 h 7785545"/>
              <a:gd name="connsiteX328" fmla="*/ 1570571 w 6865640"/>
              <a:gd name="connsiteY328" fmla="*/ 2468041 h 7785545"/>
              <a:gd name="connsiteX329" fmla="*/ 1536916 w 6865640"/>
              <a:gd name="connsiteY329" fmla="*/ 2434385 h 7785545"/>
              <a:gd name="connsiteX330" fmla="*/ 1514479 w 6865640"/>
              <a:gd name="connsiteY330" fmla="*/ 2400730 h 7785545"/>
              <a:gd name="connsiteX331" fmla="*/ 1492043 w 6865640"/>
              <a:gd name="connsiteY331" fmla="*/ 2355857 h 7785545"/>
              <a:gd name="connsiteX332" fmla="*/ 1492043 w 6865640"/>
              <a:gd name="connsiteY332" fmla="*/ 2310983 h 7785545"/>
              <a:gd name="connsiteX333" fmla="*/ 1492043 w 6865640"/>
              <a:gd name="connsiteY333" fmla="*/ 2266110 h 7785545"/>
              <a:gd name="connsiteX334" fmla="*/ 1514479 w 6865640"/>
              <a:gd name="connsiteY334" fmla="*/ 2232455 h 7785545"/>
              <a:gd name="connsiteX335" fmla="*/ 1536916 w 6865640"/>
              <a:gd name="connsiteY335" fmla="*/ 2198800 h 7785545"/>
              <a:gd name="connsiteX336" fmla="*/ 1570571 w 6865640"/>
              <a:gd name="connsiteY336" fmla="*/ 2165145 h 7785545"/>
              <a:gd name="connsiteX337" fmla="*/ 1615445 w 6865640"/>
              <a:gd name="connsiteY337" fmla="*/ 2142708 h 7785545"/>
              <a:gd name="connsiteX338" fmla="*/ 1671537 w 6865640"/>
              <a:gd name="connsiteY338" fmla="*/ 2120271 h 7785545"/>
              <a:gd name="connsiteX339" fmla="*/ 1727629 w 6865640"/>
              <a:gd name="connsiteY339" fmla="*/ 2109053 h 7785545"/>
              <a:gd name="connsiteX340" fmla="*/ 5586746 w 6865640"/>
              <a:gd name="connsiteY340" fmla="*/ 560918 h 7785545"/>
              <a:gd name="connsiteX341" fmla="*/ 5654056 w 6865640"/>
              <a:gd name="connsiteY341" fmla="*/ 560918 h 7785545"/>
              <a:gd name="connsiteX342" fmla="*/ 5710148 w 6865640"/>
              <a:gd name="connsiteY342" fmla="*/ 583355 h 7785545"/>
              <a:gd name="connsiteX343" fmla="*/ 5777458 w 6865640"/>
              <a:gd name="connsiteY343" fmla="*/ 628229 h 7785545"/>
              <a:gd name="connsiteX344" fmla="*/ 5844768 w 6865640"/>
              <a:gd name="connsiteY344" fmla="*/ 684320 h 7785545"/>
              <a:gd name="connsiteX345" fmla="*/ 5900860 w 6865640"/>
              <a:gd name="connsiteY345" fmla="*/ 762849 h 7785545"/>
              <a:gd name="connsiteX346" fmla="*/ 5956952 w 6865640"/>
              <a:gd name="connsiteY346" fmla="*/ 852596 h 7785545"/>
              <a:gd name="connsiteX347" fmla="*/ 6001826 w 6865640"/>
              <a:gd name="connsiteY347" fmla="*/ 953561 h 7785545"/>
              <a:gd name="connsiteX348" fmla="*/ 6035481 w 6865640"/>
              <a:gd name="connsiteY348" fmla="*/ 1054527 h 7785545"/>
              <a:gd name="connsiteX349" fmla="*/ 6057918 w 6865640"/>
              <a:gd name="connsiteY349" fmla="*/ 1166710 h 7785545"/>
              <a:gd name="connsiteX350" fmla="*/ 6069136 w 6865640"/>
              <a:gd name="connsiteY350" fmla="*/ 1267675 h 7785545"/>
              <a:gd name="connsiteX351" fmla="*/ 6069136 w 6865640"/>
              <a:gd name="connsiteY351" fmla="*/ 1368641 h 7785545"/>
              <a:gd name="connsiteX352" fmla="*/ 6057918 w 6865640"/>
              <a:gd name="connsiteY352" fmla="*/ 1447169 h 7785545"/>
              <a:gd name="connsiteX353" fmla="*/ 6035481 w 6865640"/>
              <a:gd name="connsiteY353" fmla="*/ 1514479 h 7785545"/>
              <a:gd name="connsiteX354" fmla="*/ 6001826 w 6865640"/>
              <a:gd name="connsiteY354" fmla="*/ 1570571 h 7785545"/>
              <a:gd name="connsiteX355" fmla="*/ 5956952 w 6865640"/>
              <a:gd name="connsiteY355" fmla="*/ 1615445 h 7785545"/>
              <a:gd name="connsiteX356" fmla="*/ 5900860 w 6865640"/>
              <a:gd name="connsiteY356" fmla="*/ 1626663 h 7785545"/>
              <a:gd name="connsiteX357" fmla="*/ 5833550 w 6865640"/>
              <a:gd name="connsiteY357" fmla="*/ 1626663 h 7785545"/>
              <a:gd name="connsiteX358" fmla="*/ 5766240 w 6865640"/>
              <a:gd name="connsiteY358" fmla="*/ 1604226 h 7785545"/>
              <a:gd name="connsiteX359" fmla="*/ 5710148 w 6865640"/>
              <a:gd name="connsiteY359" fmla="*/ 1559353 h 7785545"/>
              <a:gd name="connsiteX360" fmla="*/ 5642838 w 6865640"/>
              <a:gd name="connsiteY360" fmla="*/ 1492043 h 7785545"/>
              <a:gd name="connsiteX361" fmla="*/ 5586746 w 6865640"/>
              <a:gd name="connsiteY361" fmla="*/ 1424732 h 7785545"/>
              <a:gd name="connsiteX362" fmla="*/ 5530654 w 6865640"/>
              <a:gd name="connsiteY362" fmla="*/ 1334986 h 7785545"/>
              <a:gd name="connsiteX363" fmla="*/ 5485781 w 6865640"/>
              <a:gd name="connsiteY363" fmla="*/ 1234020 h 7785545"/>
              <a:gd name="connsiteX364" fmla="*/ 5452126 w 6865640"/>
              <a:gd name="connsiteY364" fmla="*/ 1133055 h 7785545"/>
              <a:gd name="connsiteX365" fmla="*/ 5418471 w 6865640"/>
              <a:gd name="connsiteY365" fmla="*/ 1020871 h 7785545"/>
              <a:gd name="connsiteX366" fmla="*/ 5407252 w 6865640"/>
              <a:gd name="connsiteY366" fmla="*/ 919906 h 7785545"/>
              <a:gd name="connsiteX367" fmla="*/ 5407252 w 6865640"/>
              <a:gd name="connsiteY367" fmla="*/ 818941 h 7785545"/>
              <a:gd name="connsiteX368" fmla="*/ 5429689 w 6865640"/>
              <a:gd name="connsiteY368" fmla="*/ 740412 h 7785545"/>
              <a:gd name="connsiteX369" fmla="*/ 5452126 w 6865640"/>
              <a:gd name="connsiteY369" fmla="*/ 673102 h 7785545"/>
              <a:gd name="connsiteX370" fmla="*/ 5485781 w 6865640"/>
              <a:gd name="connsiteY370" fmla="*/ 617010 h 7785545"/>
              <a:gd name="connsiteX371" fmla="*/ 5530654 w 6865640"/>
              <a:gd name="connsiteY371" fmla="*/ 572137 h 7785545"/>
              <a:gd name="connsiteX372" fmla="*/ 4285416 w 6865640"/>
              <a:gd name="connsiteY372" fmla="*/ 347770 h 7785545"/>
              <a:gd name="connsiteX373" fmla="*/ 4386381 w 6865640"/>
              <a:gd name="connsiteY373" fmla="*/ 347770 h 7785545"/>
              <a:gd name="connsiteX374" fmla="*/ 4487346 w 6865640"/>
              <a:gd name="connsiteY374" fmla="*/ 358988 h 7785545"/>
              <a:gd name="connsiteX375" fmla="*/ 4565875 w 6865640"/>
              <a:gd name="connsiteY375" fmla="*/ 392643 h 7785545"/>
              <a:gd name="connsiteX376" fmla="*/ 4644404 w 6865640"/>
              <a:gd name="connsiteY376" fmla="*/ 426298 h 7785545"/>
              <a:gd name="connsiteX377" fmla="*/ 4711714 w 6865640"/>
              <a:gd name="connsiteY377" fmla="*/ 459953 h 7785545"/>
              <a:gd name="connsiteX378" fmla="*/ 4801460 w 6865640"/>
              <a:gd name="connsiteY378" fmla="*/ 527263 h 7785545"/>
              <a:gd name="connsiteX379" fmla="*/ 4835116 w 6865640"/>
              <a:gd name="connsiteY379" fmla="*/ 560918 h 7785545"/>
              <a:gd name="connsiteX380" fmla="*/ 4924862 w 6865640"/>
              <a:gd name="connsiteY380" fmla="*/ 639447 h 7785545"/>
              <a:gd name="connsiteX381" fmla="*/ 5014610 w 6865640"/>
              <a:gd name="connsiteY381" fmla="*/ 729194 h 7785545"/>
              <a:gd name="connsiteX382" fmla="*/ 5070702 w 6865640"/>
              <a:gd name="connsiteY382" fmla="*/ 830159 h 7785545"/>
              <a:gd name="connsiteX383" fmla="*/ 5126794 w 6865640"/>
              <a:gd name="connsiteY383" fmla="*/ 919906 h 7785545"/>
              <a:gd name="connsiteX384" fmla="*/ 5160448 w 6865640"/>
              <a:gd name="connsiteY384" fmla="*/ 1009653 h 7785545"/>
              <a:gd name="connsiteX385" fmla="*/ 5194104 w 6865640"/>
              <a:gd name="connsiteY385" fmla="*/ 1099400 h 7785545"/>
              <a:gd name="connsiteX386" fmla="*/ 5216540 w 6865640"/>
              <a:gd name="connsiteY386" fmla="*/ 1177929 h 7785545"/>
              <a:gd name="connsiteX387" fmla="*/ 5216540 w 6865640"/>
              <a:gd name="connsiteY387" fmla="*/ 1267675 h 7785545"/>
              <a:gd name="connsiteX388" fmla="*/ 5227758 w 6865640"/>
              <a:gd name="connsiteY388" fmla="*/ 1413514 h 7785545"/>
              <a:gd name="connsiteX389" fmla="*/ 5205322 w 6865640"/>
              <a:gd name="connsiteY389" fmla="*/ 1525698 h 7785545"/>
              <a:gd name="connsiteX390" fmla="*/ 5182885 w 6865640"/>
              <a:gd name="connsiteY390" fmla="*/ 1626663 h 7785545"/>
              <a:gd name="connsiteX391" fmla="*/ 5149230 w 6865640"/>
              <a:gd name="connsiteY391" fmla="*/ 1772502 h 7785545"/>
              <a:gd name="connsiteX392" fmla="*/ 5138012 w 6865640"/>
              <a:gd name="connsiteY392" fmla="*/ 1884686 h 7785545"/>
              <a:gd name="connsiteX393" fmla="*/ 5138012 w 6865640"/>
              <a:gd name="connsiteY393" fmla="*/ 1985651 h 7785545"/>
              <a:gd name="connsiteX394" fmla="*/ 5149230 w 6865640"/>
              <a:gd name="connsiteY394" fmla="*/ 2052961 h 7785545"/>
              <a:gd name="connsiteX395" fmla="*/ 5182885 w 6865640"/>
              <a:gd name="connsiteY395" fmla="*/ 2109053 h 7785545"/>
              <a:gd name="connsiteX396" fmla="*/ 5205322 w 6865640"/>
              <a:gd name="connsiteY396" fmla="*/ 2153926 h 7785545"/>
              <a:gd name="connsiteX397" fmla="*/ 5238977 w 6865640"/>
              <a:gd name="connsiteY397" fmla="*/ 2198800 h 7785545"/>
              <a:gd name="connsiteX398" fmla="*/ 5283850 w 6865640"/>
              <a:gd name="connsiteY398" fmla="*/ 2232455 h 7785545"/>
              <a:gd name="connsiteX399" fmla="*/ 5328724 w 6865640"/>
              <a:gd name="connsiteY399" fmla="*/ 2254892 h 7785545"/>
              <a:gd name="connsiteX400" fmla="*/ 5407252 w 6865640"/>
              <a:gd name="connsiteY400" fmla="*/ 2288547 h 7785545"/>
              <a:gd name="connsiteX401" fmla="*/ 5485781 w 6865640"/>
              <a:gd name="connsiteY401" fmla="*/ 2299765 h 7785545"/>
              <a:gd name="connsiteX402" fmla="*/ 5553091 w 6865640"/>
              <a:gd name="connsiteY402" fmla="*/ 2299765 h 7785545"/>
              <a:gd name="connsiteX403" fmla="*/ 5620402 w 6865640"/>
              <a:gd name="connsiteY403" fmla="*/ 2299765 h 7785545"/>
              <a:gd name="connsiteX404" fmla="*/ 5732585 w 6865640"/>
              <a:gd name="connsiteY404" fmla="*/ 2299765 h 7785545"/>
              <a:gd name="connsiteX405" fmla="*/ 5822332 w 6865640"/>
              <a:gd name="connsiteY405" fmla="*/ 2310983 h 7785545"/>
              <a:gd name="connsiteX406" fmla="*/ 5900860 w 6865640"/>
              <a:gd name="connsiteY406" fmla="*/ 2333420 h 7785545"/>
              <a:gd name="connsiteX407" fmla="*/ 5956952 w 6865640"/>
              <a:gd name="connsiteY407" fmla="*/ 2355857 h 7785545"/>
              <a:gd name="connsiteX408" fmla="*/ 5990608 w 6865640"/>
              <a:gd name="connsiteY408" fmla="*/ 2389512 h 7785545"/>
              <a:gd name="connsiteX409" fmla="*/ 6013044 w 6865640"/>
              <a:gd name="connsiteY409" fmla="*/ 2411949 h 7785545"/>
              <a:gd name="connsiteX410" fmla="*/ 6035481 w 6865640"/>
              <a:gd name="connsiteY410" fmla="*/ 2434385 h 7785545"/>
              <a:gd name="connsiteX411" fmla="*/ 6057918 w 6865640"/>
              <a:gd name="connsiteY411" fmla="*/ 2468041 h 7785545"/>
              <a:gd name="connsiteX412" fmla="*/ 6069136 w 6865640"/>
              <a:gd name="connsiteY412" fmla="*/ 2501696 h 7785545"/>
              <a:gd name="connsiteX413" fmla="*/ 6091572 w 6865640"/>
              <a:gd name="connsiteY413" fmla="*/ 2569006 h 7785545"/>
              <a:gd name="connsiteX414" fmla="*/ 6091572 w 6865640"/>
              <a:gd name="connsiteY414" fmla="*/ 2647534 h 7785545"/>
              <a:gd name="connsiteX415" fmla="*/ 6069136 w 6865640"/>
              <a:gd name="connsiteY415" fmla="*/ 2714845 h 7785545"/>
              <a:gd name="connsiteX416" fmla="*/ 6024262 w 6865640"/>
              <a:gd name="connsiteY416" fmla="*/ 2827028 h 7785545"/>
              <a:gd name="connsiteX417" fmla="*/ 6001826 w 6865640"/>
              <a:gd name="connsiteY417" fmla="*/ 2860683 h 7785545"/>
              <a:gd name="connsiteX418" fmla="*/ 5923298 w 6865640"/>
              <a:gd name="connsiteY418" fmla="*/ 2984085 h 7785545"/>
              <a:gd name="connsiteX419" fmla="*/ 5867206 w 6865640"/>
              <a:gd name="connsiteY419" fmla="*/ 3085050 h 7785545"/>
              <a:gd name="connsiteX420" fmla="*/ 5833550 w 6865640"/>
              <a:gd name="connsiteY420" fmla="*/ 3174797 h 7785545"/>
              <a:gd name="connsiteX421" fmla="*/ 5811114 w 6865640"/>
              <a:gd name="connsiteY421" fmla="*/ 3242108 h 7785545"/>
              <a:gd name="connsiteX422" fmla="*/ 5799895 w 6865640"/>
              <a:gd name="connsiteY422" fmla="*/ 3309418 h 7785545"/>
              <a:gd name="connsiteX423" fmla="*/ 5799895 w 6865640"/>
              <a:gd name="connsiteY423" fmla="*/ 3354291 h 7785545"/>
              <a:gd name="connsiteX424" fmla="*/ 5799895 w 6865640"/>
              <a:gd name="connsiteY424" fmla="*/ 3387946 h 7785545"/>
              <a:gd name="connsiteX425" fmla="*/ 5811114 w 6865640"/>
              <a:gd name="connsiteY425" fmla="*/ 3444038 h 7785545"/>
              <a:gd name="connsiteX426" fmla="*/ 5822332 w 6865640"/>
              <a:gd name="connsiteY426" fmla="*/ 3500130 h 7785545"/>
              <a:gd name="connsiteX427" fmla="*/ 5844768 w 6865640"/>
              <a:gd name="connsiteY427" fmla="*/ 3545003 h 7785545"/>
              <a:gd name="connsiteX428" fmla="*/ 5878424 w 6865640"/>
              <a:gd name="connsiteY428" fmla="*/ 3578658 h 7785545"/>
              <a:gd name="connsiteX429" fmla="*/ 5912079 w 6865640"/>
              <a:gd name="connsiteY429" fmla="*/ 3612314 h 7785545"/>
              <a:gd name="connsiteX430" fmla="*/ 5945734 w 6865640"/>
              <a:gd name="connsiteY430" fmla="*/ 3645969 h 7785545"/>
              <a:gd name="connsiteX431" fmla="*/ 6024262 w 6865640"/>
              <a:gd name="connsiteY431" fmla="*/ 3679624 h 7785545"/>
              <a:gd name="connsiteX432" fmla="*/ 6091572 w 6865640"/>
              <a:gd name="connsiteY432" fmla="*/ 3702060 h 7785545"/>
              <a:gd name="connsiteX433" fmla="*/ 6158883 w 6865640"/>
              <a:gd name="connsiteY433" fmla="*/ 3702060 h 7785545"/>
              <a:gd name="connsiteX434" fmla="*/ 6226193 w 6865640"/>
              <a:gd name="connsiteY434" fmla="*/ 3702060 h 7785545"/>
              <a:gd name="connsiteX435" fmla="*/ 6360814 w 6865640"/>
              <a:gd name="connsiteY435" fmla="*/ 3713279 h 7785545"/>
              <a:gd name="connsiteX436" fmla="*/ 6484216 w 6865640"/>
              <a:gd name="connsiteY436" fmla="*/ 3735716 h 7785545"/>
              <a:gd name="connsiteX437" fmla="*/ 6573962 w 6865640"/>
              <a:gd name="connsiteY437" fmla="*/ 3769371 h 7785545"/>
              <a:gd name="connsiteX438" fmla="*/ 6652491 w 6865640"/>
              <a:gd name="connsiteY438" fmla="*/ 3803026 h 7785545"/>
              <a:gd name="connsiteX439" fmla="*/ 6708583 w 6865640"/>
              <a:gd name="connsiteY439" fmla="*/ 3847899 h 7785545"/>
              <a:gd name="connsiteX440" fmla="*/ 6753456 w 6865640"/>
              <a:gd name="connsiteY440" fmla="*/ 3881554 h 7785545"/>
              <a:gd name="connsiteX441" fmla="*/ 6787112 w 6865640"/>
              <a:gd name="connsiteY441" fmla="*/ 3926428 h 7785545"/>
              <a:gd name="connsiteX442" fmla="*/ 6809548 w 6865640"/>
              <a:gd name="connsiteY442" fmla="*/ 3960083 h 7785545"/>
              <a:gd name="connsiteX443" fmla="*/ 6831985 w 6865640"/>
              <a:gd name="connsiteY443" fmla="*/ 4004956 h 7785545"/>
              <a:gd name="connsiteX444" fmla="*/ 6843204 w 6865640"/>
              <a:gd name="connsiteY444" fmla="*/ 4038611 h 7785545"/>
              <a:gd name="connsiteX445" fmla="*/ 6843204 w 6865640"/>
              <a:gd name="connsiteY445" fmla="*/ 4072266 h 7785545"/>
              <a:gd name="connsiteX446" fmla="*/ 6831985 w 6865640"/>
              <a:gd name="connsiteY446" fmla="*/ 4105922 h 7785545"/>
              <a:gd name="connsiteX447" fmla="*/ 6809548 w 6865640"/>
              <a:gd name="connsiteY447" fmla="*/ 4139577 h 7785545"/>
              <a:gd name="connsiteX448" fmla="*/ 6764674 w 6865640"/>
              <a:gd name="connsiteY448" fmla="*/ 4195669 h 7785545"/>
              <a:gd name="connsiteX449" fmla="*/ 6708583 w 6865640"/>
              <a:gd name="connsiteY449" fmla="*/ 4240542 h 7785545"/>
              <a:gd name="connsiteX450" fmla="*/ 6652491 w 6865640"/>
              <a:gd name="connsiteY450" fmla="*/ 4274197 h 7785545"/>
              <a:gd name="connsiteX451" fmla="*/ 6596399 w 6865640"/>
              <a:gd name="connsiteY451" fmla="*/ 4296634 h 7785545"/>
              <a:gd name="connsiteX452" fmla="*/ 6529089 w 6865640"/>
              <a:gd name="connsiteY452" fmla="*/ 4319071 h 7785545"/>
              <a:gd name="connsiteX453" fmla="*/ 6484216 w 6865640"/>
              <a:gd name="connsiteY453" fmla="*/ 4341507 h 7785545"/>
              <a:gd name="connsiteX454" fmla="*/ 6394468 w 6865640"/>
              <a:gd name="connsiteY454" fmla="*/ 4408818 h 7785545"/>
              <a:gd name="connsiteX455" fmla="*/ 6338377 w 6865640"/>
              <a:gd name="connsiteY455" fmla="*/ 4476128 h 7785545"/>
              <a:gd name="connsiteX456" fmla="*/ 6293504 w 6865640"/>
              <a:gd name="connsiteY456" fmla="*/ 4554656 h 7785545"/>
              <a:gd name="connsiteX457" fmla="*/ 6259848 w 6865640"/>
              <a:gd name="connsiteY457" fmla="*/ 4621966 h 7785545"/>
              <a:gd name="connsiteX458" fmla="*/ 6248630 w 6865640"/>
              <a:gd name="connsiteY458" fmla="*/ 4678058 h 7785545"/>
              <a:gd name="connsiteX459" fmla="*/ 6248630 w 6865640"/>
              <a:gd name="connsiteY459" fmla="*/ 4722932 h 7785545"/>
              <a:gd name="connsiteX460" fmla="*/ 6237412 w 6865640"/>
              <a:gd name="connsiteY460" fmla="*/ 4812679 h 7785545"/>
              <a:gd name="connsiteX461" fmla="*/ 6214975 w 6865640"/>
              <a:gd name="connsiteY461" fmla="*/ 4879989 h 7785545"/>
              <a:gd name="connsiteX462" fmla="*/ 6192538 w 6865640"/>
              <a:gd name="connsiteY462" fmla="*/ 4947299 h 7785545"/>
              <a:gd name="connsiteX463" fmla="*/ 6158883 w 6865640"/>
              <a:gd name="connsiteY463" fmla="*/ 5003391 h 7785545"/>
              <a:gd name="connsiteX464" fmla="*/ 6091572 w 6865640"/>
              <a:gd name="connsiteY464" fmla="*/ 5093138 h 7785545"/>
              <a:gd name="connsiteX465" fmla="*/ 6024262 w 6865640"/>
              <a:gd name="connsiteY465" fmla="*/ 5171666 h 7785545"/>
              <a:gd name="connsiteX466" fmla="*/ 5945734 w 6865640"/>
              <a:gd name="connsiteY466" fmla="*/ 5216540 h 7785545"/>
              <a:gd name="connsiteX467" fmla="*/ 5878424 w 6865640"/>
              <a:gd name="connsiteY467" fmla="*/ 5250195 h 7785545"/>
              <a:gd name="connsiteX468" fmla="*/ 5822332 w 6865640"/>
              <a:gd name="connsiteY468" fmla="*/ 5261413 h 7785545"/>
              <a:gd name="connsiteX469" fmla="*/ 5743804 w 6865640"/>
              <a:gd name="connsiteY469" fmla="*/ 5295068 h 7785545"/>
              <a:gd name="connsiteX470" fmla="*/ 5676493 w 6865640"/>
              <a:gd name="connsiteY470" fmla="*/ 5317505 h 7785545"/>
              <a:gd name="connsiteX471" fmla="*/ 5631620 w 6865640"/>
              <a:gd name="connsiteY471" fmla="*/ 5351160 h 7785545"/>
              <a:gd name="connsiteX472" fmla="*/ 5586746 w 6865640"/>
              <a:gd name="connsiteY472" fmla="*/ 5384815 h 7785545"/>
              <a:gd name="connsiteX473" fmla="*/ 5553091 w 6865640"/>
              <a:gd name="connsiteY473" fmla="*/ 5418470 h 7785545"/>
              <a:gd name="connsiteX474" fmla="*/ 5530654 w 6865640"/>
              <a:gd name="connsiteY474" fmla="*/ 5452125 h 7785545"/>
              <a:gd name="connsiteX475" fmla="*/ 5497000 w 6865640"/>
              <a:gd name="connsiteY475" fmla="*/ 5530654 h 7785545"/>
              <a:gd name="connsiteX476" fmla="*/ 5497000 w 6865640"/>
              <a:gd name="connsiteY476" fmla="*/ 5586746 h 7785545"/>
              <a:gd name="connsiteX477" fmla="*/ 5497000 w 6865640"/>
              <a:gd name="connsiteY477" fmla="*/ 5642838 h 7785545"/>
              <a:gd name="connsiteX478" fmla="*/ 5519436 w 6865640"/>
              <a:gd name="connsiteY478" fmla="*/ 5698929 h 7785545"/>
              <a:gd name="connsiteX479" fmla="*/ 5541873 w 6865640"/>
              <a:gd name="connsiteY479" fmla="*/ 5755021 h 7785545"/>
              <a:gd name="connsiteX480" fmla="*/ 5553091 w 6865640"/>
              <a:gd name="connsiteY480" fmla="*/ 5811113 h 7785545"/>
              <a:gd name="connsiteX481" fmla="*/ 5553091 w 6865640"/>
              <a:gd name="connsiteY481" fmla="*/ 5867205 h 7785545"/>
              <a:gd name="connsiteX482" fmla="*/ 5530654 w 6865640"/>
              <a:gd name="connsiteY482" fmla="*/ 5912078 h 7785545"/>
              <a:gd name="connsiteX483" fmla="*/ 5497000 w 6865640"/>
              <a:gd name="connsiteY483" fmla="*/ 5979389 h 7785545"/>
              <a:gd name="connsiteX484" fmla="*/ 5474562 w 6865640"/>
              <a:gd name="connsiteY484" fmla="*/ 6013044 h 7785545"/>
              <a:gd name="connsiteX485" fmla="*/ 5384816 w 6865640"/>
              <a:gd name="connsiteY485" fmla="*/ 6069135 h 7785545"/>
              <a:gd name="connsiteX486" fmla="*/ 5283850 w 6865640"/>
              <a:gd name="connsiteY486" fmla="*/ 6091572 h 7785545"/>
              <a:gd name="connsiteX487" fmla="*/ 5205322 w 6865640"/>
              <a:gd name="connsiteY487" fmla="*/ 6102791 h 7785545"/>
              <a:gd name="connsiteX488" fmla="*/ 5126794 w 6865640"/>
              <a:gd name="connsiteY488" fmla="*/ 6102791 h 7785545"/>
              <a:gd name="connsiteX489" fmla="*/ 5070702 w 6865640"/>
              <a:gd name="connsiteY489" fmla="*/ 6091572 h 7785545"/>
              <a:gd name="connsiteX490" fmla="*/ 5025828 w 6865640"/>
              <a:gd name="connsiteY490" fmla="*/ 6080354 h 7785545"/>
              <a:gd name="connsiteX491" fmla="*/ 4980954 w 6865640"/>
              <a:gd name="connsiteY491" fmla="*/ 6057917 h 7785545"/>
              <a:gd name="connsiteX492" fmla="*/ 4857552 w 6865640"/>
              <a:gd name="connsiteY492" fmla="*/ 6001825 h 7785545"/>
              <a:gd name="connsiteX493" fmla="*/ 4734150 w 6865640"/>
              <a:gd name="connsiteY493" fmla="*/ 5968170 h 7785545"/>
              <a:gd name="connsiteX494" fmla="*/ 4633185 w 6865640"/>
              <a:gd name="connsiteY494" fmla="*/ 5934515 h 7785545"/>
              <a:gd name="connsiteX495" fmla="*/ 4532220 w 6865640"/>
              <a:gd name="connsiteY495" fmla="*/ 5923297 h 7785545"/>
              <a:gd name="connsiteX496" fmla="*/ 4431254 w 6865640"/>
              <a:gd name="connsiteY496" fmla="*/ 5923297 h 7785545"/>
              <a:gd name="connsiteX497" fmla="*/ 4341508 w 6865640"/>
              <a:gd name="connsiteY497" fmla="*/ 5934515 h 7785545"/>
              <a:gd name="connsiteX498" fmla="*/ 4262979 w 6865640"/>
              <a:gd name="connsiteY498" fmla="*/ 5945733 h 7785545"/>
              <a:gd name="connsiteX499" fmla="*/ 4195669 w 6865640"/>
              <a:gd name="connsiteY499" fmla="*/ 5968170 h 7785545"/>
              <a:gd name="connsiteX500" fmla="*/ 4083485 w 6865640"/>
              <a:gd name="connsiteY500" fmla="*/ 6024262 h 7785545"/>
              <a:gd name="connsiteX501" fmla="*/ 3993738 w 6865640"/>
              <a:gd name="connsiteY501" fmla="*/ 6080354 h 7785545"/>
              <a:gd name="connsiteX502" fmla="*/ 3926428 w 6865640"/>
              <a:gd name="connsiteY502" fmla="*/ 6136446 h 7785545"/>
              <a:gd name="connsiteX503" fmla="*/ 3814244 w 6865640"/>
              <a:gd name="connsiteY503" fmla="*/ 6248629 h 7785545"/>
              <a:gd name="connsiteX504" fmla="*/ 3702061 w 6865640"/>
              <a:gd name="connsiteY504" fmla="*/ 6327158 h 7785545"/>
              <a:gd name="connsiteX505" fmla="*/ 3601096 w 6865640"/>
              <a:gd name="connsiteY505" fmla="*/ 6383250 h 7785545"/>
              <a:gd name="connsiteX506" fmla="*/ 3511348 w 6865640"/>
              <a:gd name="connsiteY506" fmla="*/ 6416905 h 7785545"/>
              <a:gd name="connsiteX507" fmla="*/ 3432820 w 6865640"/>
              <a:gd name="connsiteY507" fmla="*/ 6428123 h 7785545"/>
              <a:gd name="connsiteX508" fmla="*/ 3365510 w 6865640"/>
              <a:gd name="connsiteY508" fmla="*/ 6428123 h 7785545"/>
              <a:gd name="connsiteX509" fmla="*/ 3320636 w 6865640"/>
              <a:gd name="connsiteY509" fmla="*/ 6428123 h 7785545"/>
              <a:gd name="connsiteX510" fmla="*/ 3208453 w 6865640"/>
              <a:gd name="connsiteY510" fmla="*/ 6405686 h 7785545"/>
              <a:gd name="connsiteX511" fmla="*/ 3118706 w 6865640"/>
              <a:gd name="connsiteY511" fmla="*/ 6372031 h 7785545"/>
              <a:gd name="connsiteX512" fmla="*/ 3051396 w 6865640"/>
              <a:gd name="connsiteY512" fmla="*/ 6315939 h 7785545"/>
              <a:gd name="connsiteX513" fmla="*/ 3006522 w 6865640"/>
              <a:gd name="connsiteY513" fmla="*/ 6271066 h 7785545"/>
              <a:gd name="connsiteX514" fmla="*/ 2972867 w 6865640"/>
              <a:gd name="connsiteY514" fmla="*/ 6214974 h 7785545"/>
              <a:gd name="connsiteX515" fmla="*/ 2950430 w 6865640"/>
              <a:gd name="connsiteY515" fmla="*/ 6170101 h 7785545"/>
              <a:gd name="connsiteX516" fmla="*/ 2939212 w 6865640"/>
              <a:gd name="connsiteY516" fmla="*/ 6136446 h 7785545"/>
              <a:gd name="connsiteX517" fmla="*/ 2916775 w 6865640"/>
              <a:gd name="connsiteY517" fmla="*/ 6035480 h 7785545"/>
              <a:gd name="connsiteX518" fmla="*/ 2871902 w 6865640"/>
              <a:gd name="connsiteY518" fmla="*/ 5956952 h 7785545"/>
              <a:gd name="connsiteX519" fmla="*/ 2827028 w 6865640"/>
              <a:gd name="connsiteY519" fmla="*/ 5900860 h 7785545"/>
              <a:gd name="connsiteX520" fmla="*/ 2770936 w 6865640"/>
              <a:gd name="connsiteY520" fmla="*/ 5867205 h 7785545"/>
              <a:gd name="connsiteX521" fmla="*/ 2714844 w 6865640"/>
              <a:gd name="connsiteY521" fmla="*/ 5844768 h 7785545"/>
              <a:gd name="connsiteX522" fmla="*/ 2669971 w 6865640"/>
              <a:gd name="connsiteY522" fmla="*/ 5833550 h 7785545"/>
              <a:gd name="connsiteX523" fmla="*/ 2625098 w 6865640"/>
              <a:gd name="connsiteY523" fmla="*/ 5833550 h 7785545"/>
              <a:gd name="connsiteX524" fmla="*/ 2535351 w 6865640"/>
              <a:gd name="connsiteY524" fmla="*/ 5833550 h 7785545"/>
              <a:gd name="connsiteX525" fmla="*/ 2468040 w 6865640"/>
              <a:gd name="connsiteY525" fmla="*/ 5811113 h 7785545"/>
              <a:gd name="connsiteX526" fmla="*/ 2400730 w 6865640"/>
              <a:gd name="connsiteY526" fmla="*/ 5777458 h 7785545"/>
              <a:gd name="connsiteX527" fmla="*/ 2344638 w 6865640"/>
              <a:gd name="connsiteY527" fmla="*/ 5743803 h 7785545"/>
              <a:gd name="connsiteX528" fmla="*/ 2310984 w 6865640"/>
              <a:gd name="connsiteY528" fmla="*/ 5698929 h 7785545"/>
              <a:gd name="connsiteX529" fmla="*/ 2277328 w 6865640"/>
              <a:gd name="connsiteY529" fmla="*/ 5665274 h 7785545"/>
              <a:gd name="connsiteX530" fmla="*/ 2254892 w 6865640"/>
              <a:gd name="connsiteY530" fmla="*/ 5631619 h 7785545"/>
              <a:gd name="connsiteX531" fmla="*/ 2221236 w 6865640"/>
              <a:gd name="connsiteY531" fmla="*/ 5575527 h 7785545"/>
              <a:gd name="connsiteX532" fmla="*/ 2176363 w 6865640"/>
              <a:gd name="connsiteY532" fmla="*/ 5541872 h 7785545"/>
              <a:gd name="connsiteX533" fmla="*/ 2120271 w 6865640"/>
              <a:gd name="connsiteY533" fmla="*/ 5508217 h 7785545"/>
              <a:gd name="connsiteX534" fmla="*/ 2075398 w 6865640"/>
              <a:gd name="connsiteY534" fmla="*/ 5485781 h 7785545"/>
              <a:gd name="connsiteX535" fmla="*/ 2019306 w 6865640"/>
              <a:gd name="connsiteY535" fmla="*/ 5474562 h 7785545"/>
              <a:gd name="connsiteX536" fmla="*/ 1963214 w 6865640"/>
              <a:gd name="connsiteY536" fmla="*/ 5463344 h 7785545"/>
              <a:gd name="connsiteX537" fmla="*/ 1851031 w 6865640"/>
              <a:gd name="connsiteY537" fmla="*/ 5463344 h 7785545"/>
              <a:gd name="connsiteX538" fmla="*/ 1750065 w 6865640"/>
              <a:gd name="connsiteY538" fmla="*/ 5485781 h 7785545"/>
              <a:gd name="connsiteX539" fmla="*/ 1660318 w 6865640"/>
              <a:gd name="connsiteY539" fmla="*/ 5508217 h 7785545"/>
              <a:gd name="connsiteX540" fmla="*/ 1581789 w 6865640"/>
              <a:gd name="connsiteY540" fmla="*/ 5541872 h 7785545"/>
              <a:gd name="connsiteX541" fmla="*/ 1435951 w 6865640"/>
              <a:gd name="connsiteY541" fmla="*/ 5586746 h 7785545"/>
              <a:gd name="connsiteX542" fmla="*/ 1301331 w 6865640"/>
              <a:gd name="connsiteY542" fmla="*/ 5609183 h 7785545"/>
              <a:gd name="connsiteX543" fmla="*/ 1177929 w 6865640"/>
              <a:gd name="connsiteY543" fmla="*/ 5620401 h 7785545"/>
              <a:gd name="connsiteX544" fmla="*/ 1076963 w 6865640"/>
              <a:gd name="connsiteY544" fmla="*/ 5631619 h 7785545"/>
              <a:gd name="connsiteX545" fmla="*/ 987216 w 6865640"/>
              <a:gd name="connsiteY545" fmla="*/ 5631619 h 7785545"/>
              <a:gd name="connsiteX546" fmla="*/ 897469 w 6865640"/>
              <a:gd name="connsiteY546" fmla="*/ 5620401 h 7785545"/>
              <a:gd name="connsiteX547" fmla="*/ 830159 w 6865640"/>
              <a:gd name="connsiteY547" fmla="*/ 5597964 h 7785545"/>
              <a:gd name="connsiteX548" fmla="*/ 774067 w 6865640"/>
              <a:gd name="connsiteY548" fmla="*/ 5586746 h 7785545"/>
              <a:gd name="connsiteX549" fmla="*/ 684321 w 6865640"/>
              <a:gd name="connsiteY549" fmla="*/ 5530654 h 7785545"/>
              <a:gd name="connsiteX550" fmla="*/ 639447 w 6865640"/>
              <a:gd name="connsiteY550" fmla="*/ 5485781 h 7785545"/>
              <a:gd name="connsiteX551" fmla="*/ 605792 w 6865640"/>
              <a:gd name="connsiteY551" fmla="*/ 5452125 h 7785545"/>
              <a:gd name="connsiteX552" fmla="*/ 594574 w 6865640"/>
              <a:gd name="connsiteY552" fmla="*/ 5429689 h 7785545"/>
              <a:gd name="connsiteX553" fmla="*/ 572137 w 6865640"/>
              <a:gd name="connsiteY553" fmla="*/ 5362379 h 7785545"/>
              <a:gd name="connsiteX554" fmla="*/ 549700 w 6865640"/>
              <a:gd name="connsiteY554" fmla="*/ 5283850 h 7785545"/>
              <a:gd name="connsiteX555" fmla="*/ 538482 w 6865640"/>
              <a:gd name="connsiteY555" fmla="*/ 5216540 h 7785545"/>
              <a:gd name="connsiteX556" fmla="*/ 538482 w 6865640"/>
              <a:gd name="connsiteY556" fmla="*/ 5149230 h 7785545"/>
              <a:gd name="connsiteX557" fmla="*/ 549700 w 6865640"/>
              <a:gd name="connsiteY557" fmla="*/ 5025828 h 7785545"/>
              <a:gd name="connsiteX558" fmla="*/ 583355 w 6865640"/>
              <a:gd name="connsiteY558" fmla="*/ 4913644 h 7785545"/>
              <a:gd name="connsiteX559" fmla="*/ 639447 w 6865640"/>
              <a:gd name="connsiteY559" fmla="*/ 4801460 h 7785545"/>
              <a:gd name="connsiteX560" fmla="*/ 706757 w 6865640"/>
              <a:gd name="connsiteY560" fmla="*/ 4711713 h 7785545"/>
              <a:gd name="connsiteX561" fmla="*/ 796504 w 6865640"/>
              <a:gd name="connsiteY561" fmla="*/ 4621966 h 7785545"/>
              <a:gd name="connsiteX562" fmla="*/ 886251 w 6865640"/>
              <a:gd name="connsiteY562" fmla="*/ 4554656 h 7785545"/>
              <a:gd name="connsiteX563" fmla="*/ 975998 w 6865640"/>
              <a:gd name="connsiteY563" fmla="*/ 4487346 h 7785545"/>
              <a:gd name="connsiteX564" fmla="*/ 1076963 w 6865640"/>
              <a:gd name="connsiteY564" fmla="*/ 4431254 h 7785545"/>
              <a:gd name="connsiteX565" fmla="*/ 1245239 w 6865640"/>
              <a:gd name="connsiteY565" fmla="*/ 4341507 h 7785545"/>
              <a:gd name="connsiteX566" fmla="*/ 1368641 w 6865640"/>
              <a:gd name="connsiteY566" fmla="*/ 4285416 h 7785545"/>
              <a:gd name="connsiteX567" fmla="*/ 1424733 w 6865640"/>
              <a:gd name="connsiteY567" fmla="*/ 4274197 h 7785545"/>
              <a:gd name="connsiteX568" fmla="*/ 1559353 w 6865640"/>
              <a:gd name="connsiteY568" fmla="*/ 4218105 h 7785545"/>
              <a:gd name="connsiteX569" fmla="*/ 1671537 w 6865640"/>
              <a:gd name="connsiteY569" fmla="*/ 4162013 h 7785545"/>
              <a:gd name="connsiteX570" fmla="*/ 1750065 w 6865640"/>
              <a:gd name="connsiteY570" fmla="*/ 4094703 h 7785545"/>
              <a:gd name="connsiteX571" fmla="*/ 1806157 w 6865640"/>
              <a:gd name="connsiteY571" fmla="*/ 4038611 h 7785545"/>
              <a:gd name="connsiteX572" fmla="*/ 1851031 w 6865640"/>
              <a:gd name="connsiteY572" fmla="*/ 3971301 h 7785545"/>
              <a:gd name="connsiteX573" fmla="*/ 1873467 w 6865640"/>
              <a:gd name="connsiteY573" fmla="*/ 3926428 h 7785545"/>
              <a:gd name="connsiteX574" fmla="*/ 1884685 w 6865640"/>
              <a:gd name="connsiteY574" fmla="*/ 3892773 h 7785545"/>
              <a:gd name="connsiteX575" fmla="*/ 1884685 w 6865640"/>
              <a:gd name="connsiteY575" fmla="*/ 3803026 h 7785545"/>
              <a:gd name="connsiteX576" fmla="*/ 1862249 w 6865640"/>
              <a:gd name="connsiteY576" fmla="*/ 3746934 h 7785545"/>
              <a:gd name="connsiteX577" fmla="*/ 1828593 w 6865640"/>
              <a:gd name="connsiteY577" fmla="*/ 3690842 h 7785545"/>
              <a:gd name="connsiteX578" fmla="*/ 1794939 w 6865640"/>
              <a:gd name="connsiteY578" fmla="*/ 3657187 h 7785545"/>
              <a:gd name="connsiteX579" fmla="*/ 1761283 w 6865640"/>
              <a:gd name="connsiteY579" fmla="*/ 3634750 h 7785545"/>
              <a:gd name="connsiteX580" fmla="*/ 1738847 w 6865640"/>
              <a:gd name="connsiteY580" fmla="*/ 3612314 h 7785545"/>
              <a:gd name="connsiteX581" fmla="*/ 1705191 w 6865640"/>
              <a:gd name="connsiteY581" fmla="*/ 3601095 h 7785545"/>
              <a:gd name="connsiteX582" fmla="*/ 1604227 w 6865640"/>
              <a:gd name="connsiteY582" fmla="*/ 3578658 h 7785545"/>
              <a:gd name="connsiteX583" fmla="*/ 1514479 w 6865640"/>
              <a:gd name="connsiteY583" fmla="*/ 3545003 h 7785545"/>
              <a:gd name="connsiteX584" fmla="*/ 1435951 w 6865640"/>
              <a:gd name="connsiteY584" fmla="*/ 3511348 h 7785545"/>
              <a:gd name="connsiteX585" fmla="*/ 1368641 w 6865640"/>
              <a:gd name="connsiteY585" fmla="*/ 3477693 h 7785545"/>
              <a:gd name="connsiteX586" fmla="*/ 1267675 w 6865640"/>
              <a:gd name="connsiteY586" fmla="*/ 3399165 h 7785545"/>
              <a:gd name="connsiteX587" fmla="*/ 1200365 w 6865640"/>
              <a:gd name="connsiteY587" fmla="*/ 3320636 h 7785545"/>
              <a:gd name="connsiteX588" fmla="*/ 1155492 w 6865640"/>
              <a:gd name="connsiteY588" fmla="*/ 3253326 h 7785545"/>
              <a:gd name="connsiteX589" fmla="*/ 1133055 w 6865640"/>
              <a:gd name="connsiteY589" fmla="*/ 3208452 h 7785545"/>
              <a:gd name="connsiteX590" fmla="*/ 1133055 w 6865640"/>
              <a:gd name="connsiteY590" fmla="*/ 3152361 h 7785545"/>
              <a:gd name="connsiteX591" fmla="*/ 1144273 w 6865640"/>
              <a:gd name="connsiteY591" fmla="*/ 3096269 h 7785545"/>
              <a:gd name="connsiteX592" fmla="*/ 1177929 w 6865640"/>
              <a:gd name="connsiteY592" fmla="*/ 3040177 h 7785545"/>
              <a:gd name="connsiteX593" fmla="*/ 1211583 w 6865640"/>
              <a:gd name="connsiteY593" fmla="*/ 2995304 h 7785545"/>
              <a:gd name="connsiteX594" fmla="*/ 1267675 w 6865640"/>
              <a:gd name="connsiteY594" fmla="*/ 2950430 h 7785545"/>
              <a:gd name="connsiteX595" fmla="*/ 1334985 w 6865640"/>
              <a:gd name="connsiteY595" fmla="*/ 2916775 h 7785545"/>
              <a:gd name="connsiteX596" fmla="*/ 1402296 w 6865640"/>
              <a:gd name="connsiteY596" fmla="*/ 2894338 h 7785545"/>
              <a:gd name="connsiteX597" fmla="*/ 1548135 w 6865640"/>
              <a:gd name="connsiteY597" fmla="*/ 2860683 h 7785545"/>
              <a:gd name="connsiteX598" fmla="*/ 1705191 w 6865640"/>
              <a:gd name="connsiteY598" fmla="*/ 2838247 h 7785545"/>
              <a:gd name="connsiteX599" fmla="*/ 1828593 w 6865640"/>
              <a:gd name="connsiteY599" fmla="*/ 2827028 h 7785545"/>
              <a:gd name="connsiteX600" fmla="*/ 1963214 w 6865640"/>
              <a:gd name="connsiteY600" fmla="*/ 2827028 h 7785545"/>
              <a:gd name="connsiteX601" fmla="*/ 2052961 w 6865640"/>
              <a:gd name="connsiteY601" fmla="*/ 2827028 h 7785545"/>
              <a:gd name="connsiteX602" fmla="*/ 2142708 w 6865640"/>
              <a:gd name="connsiteY602" fmla="*/ 2815810 h 7785545"/>
              <a:gd name="connsiteX603" fmla="*/ 2299765 w 6865640"/>
              <a:gd name="connsiteY603" fmla="*/ 2782155 h 7785545"/>
              <a:gd name="connsiteX604" fmla="*/ 2411949 w 6865640"/>
              <a:gd name="connsiteY604" fmla="*/ 2737281 h 7785545"/>
              <a:gd name="connsiteX605" fmla="*/ 2490477 w 6865640"/>
              <a:gd name="connsiteY605" fmla="*/ 2681189 h 7785545"/>
              <a:gd name="connsiteX606" fmla="*/ 2546569 w 6865640"/>
              <a:gd name="connsiteY606" fmla="*/ 2625098 h 7785545"/>
              <a:gd name="connsiteX607" fmla="*/ 2580224 w 6865640"/>
              <a:gd name="connsiteY607" fmla="*/ 2580224 h 7785545"/>
              <a:gd name="connsiteX608" fmla="*/ 2602661 w 6865640"/>
              <a:gd name="connsiteY608" fmla="*/ 2535351 h 7785545"/>
              <a:gd name="connsiteX609" fmla="*/ 2625098 w 6865640"/>
              <a:gd name="connsiteY609" fmla="*/ 2434385 h 7785545"/>
              <a:gd name="connsiteX610" fmla="*/ 2625098 w 6865640"/>
              <a:gd name="connsiteY610" fmla="*/ 2355857 h 7785545"/>
              <a:gd name="connsiteX611" fmla="*/ 2613879 w 6865640"/>
              <a:gd name="connsiteY611" fmla="*/ 2288547 h 7785545"/>
              <a:gd name="connsiteX612" fmla="*/ 2591442 w 6865640"/>
              <a:gd name="connsiteY612" fmla="*/ 2232455 h 7785545"/>
              <a:gd name="connsiteX613" fmla="*/ 2569006 w 6865640"/>
              <a:gd name="connsiteY613" fmla="*/ 2187581 h 7785545"/>
              <a:gd name="connsiteX614" fmla="*/ 2535351 w 6865640"/>
              <a:gd name="connsiteY614" fmla="*/ 2153926 h 7785545"/>
              <a:gd name="connsiteX615" fmla="*/ 2512914 w 6865640"/>
              <a:gd name="connsiteY615" fmla="*/ 2131490 h 7785545"/>
              <a:gd name="connsiteX616" fmla="*/ 2423167 w 6865640"/>
              <a:gd name="connsiteY616" fmla="*/ 2030524 h 7785545"/>
              <a:gd name="connsiteX617" fmla="*/ 2355857 w 6865640"/>
              <a:gd name="connsiteY617" fmla="*/ 1940777 h 7785545"/>
              <a:gd name="connsiteX618" fmla="*/ 2322202 w 6865640"/>
              <a:gd name="connsiteY618" fmla="*/ 1862249 h 7785545"/>
              <a:gd name="connsiteX619" fmla="*/ 2310984 w 6865640"/>
              <a:gd name="connsiteY619" fmla="*/ 1783720 h 7785545"/>
              <a:gd name="connsiteX620" fmla="*/ 2299765 w 6865640"/>
              <a:gd name="connsiteY620" fmla="*/ 1716410 h 7785545"/>
              <a:gd name="connsiteX621" fmla="*/ 2310984 w 6865640"/>
              <a:gd name="connsiteY621" fmla="*/ 1660318 h 7785545"/>
              <a:gd name="connsiteX622" fmla="*/ 2322202 w 6865640"/>
              <a:gd name="connsiteY622" fmla="*/ 1615445 h 7785545"/>
              <a:gd name="connsiteX623" fmla="*/ 2344638 w 6865640"/>
              <a:gd name="connsiteY623" fmla="*/ 1559353 h 7785545"/>
              <a:gd name="connsiteX624" fmla="*/ 2378294 w 6865640"/>
              <a:gd name="connsiteY624" fmla="*/ 1514479 h 7785545"/>
              <a:gd name="connsiteX625" fmla="*/ 2411949 w 6865640"/>
              <a:gd name="connsiteY625" fmla="*/ 1480824 h 7785545"/>
              <a:gd name="connsiteX626" fmla="*/ 2445604 w 6865640"/>
              <a:gd name="connsiteY626" fmla="*/ 1447169 h 7785545"/>
              <a:gd name="connsiteX627" fmla="*/ 2490477 w 6865640"/>
              <a:gd name="connsiteY627" fmla="*/ 1435951 h 7785545"/>
              <a:gd name="connsiteX628" fmla="*/ 2535351 w 6865640"/>
              <a:gd name="connsiteY628" fmla="*/ 1424732 h 7785545"/>
              <a:gd name="connsiteX629" fmla="*/ 2636316 w 6865640"/>
              <a:gd name="connsiteY629" fmla="*/ 1413514 h 7785545"/>
              <a:gd name="connsiteX630" fmla="*/ 2714844 w 6865640"/>
              <a:gd name="connsiteY630" fmla="*/ 1424732 h 7785545"/>
              <a:gd name="connsiteX631" fmla="*/ 2793373 w 6865640"/>
              <a:gd name="connsiteY631" fmla="*/ 1447169 h 7785545"/>
              <a:gd name="connsiteX632" fmla="*/ 2860683 w 6865640"/>
              <a:gd name="connsiteY632" fmla="*/ 1469606 h 7785545"/>
              <a:gd name="connsiteX633" fmla="*/ 2927994 w 6865640"/>
              <a:gd name="connsiteY633" fmla="*/ 1480824 h 7785545"/>
              <a:gd name="connsiteX634" fmla="*/ 2995304 w 6865640"/>
              <a:gd name="connsiteY634" fmla="*/ 1492043 h 7785545"/>
              <a:gd name="connsiteX635" fmla="*/ 3062614 w 6865640"/>
              <a:gd name="connsiteY635" fmla="*/ 1480824 h 7785545"/>
              <a:gd name="connsiteX636" fmla="*/ 3118706 w 6865640"/>
              <a:gd name="connsiteY636" fmla="*/ 1458388 h 7785545"/>
              <a:gd name="connsiteX637" fmla="*/ 3174798 w 6865640"/>
              <a:gd name="connsiteY637" fmla="*/ 1435951 h 7785545"/>
              <a:gd name="connsiteX638" fmla="*/ 3230890 w 6865640"/>
              <a:gd name="connsiteY638" fmla="*/ 1413514 h 7785545"/>
              <a:gd name="connsiteX639" fmla="*/ 3320636 w 6865640"/>
              <a:gd name="connsiteY639" fmla="*/ 1334986 h 7785545"/>
              <a:gd name="connsiteX640" fmla="*/ 3387946 w 6865640"/>
              <a:gd name="connsiteY640" fmla="*/ 1256457 h 7785545"/>
              <a:gd name="connsiteX641" fmla="*/ 3444038 w 6865640"/>
              <a:gd name="connsiteY641" fmla="*/ 1189147 h 7785545"/>
              <a:gd name="connsiteX642" fmla="*/ 3488912 w 6865640"/>
              <a:gd name="connsiteY642" fmla="*/ 1121837 h 7785545"/>
              <a:gd name="connsiteX643" fmla="*/ 3601096 w 6865640"/>
              <a:gd name="connsiteY643" fmla="*/ 897469 h 7785545"/>
              <a:gd name="connsiteX644" fmla="*/ 3724498 w 6865640"/>
              <a:gd name="connsiteY644" fmla="*/ 717975 h 7785545"/>
              <a:gd name="connsiteX645" fmla="*/ 3836681 w 6865640"/>
              <a:gd name="connsiteY645" fmla="*/ 583355 h 7785545"/>
              <a:gd name="connsiteX646" fmla="*/ 3960083 w 6865640"/>
              <a:gd name="connsiteY646" fmla="*/ 482390 h 7785545"/>
              <a:gd name="connsiteX647" fmla="*/ 4072267 w 6865640"/>
              <a:gd name="connsiteY647" fmla="*/ 415080 h 7785545"/>
              <a:gd name="connsiteX648" fmla="*/ 4184450 w 6865640"/>
              <a:gd name="connsiteY648" fmla="*/ 370206 h 7785545"/>
              <a:gd name="connsiteX649" fmla="*/ 3387946 w 6865640"/>
              <a:gd name="connsiteY649" fmla="*/ 0 h 7785545"/>
              <a:gd name="connsiteX650" fmla="*/ 3466475 w 6865640"/>
              <a:gd name="connsiteY650" fmla="*/ 11218 h 7785545"/>
              <a:gd name="connsiteX651" fmla="*/ 3533785 w 6865640"/>
              <a:gd name="connsiteY651" fmla="*/ 44874 h 7785545"/>
              <a:gd name="connsiteX652" fmla="*/ 3578659 w 6865640"/>
              <a:gd name="connsiteY652" fmla="*/ 89747 h 7785545"/>
              <a:gd name="connsiteX653" fmla="*/ 3612314 w 6865640"/>
              <a:gd name="connsiteY653" fmla="*/ 157057 h 7785545"/>
              <a:gd name="connsiteX654" fmla="*/ 3634750 w 6865640"/>
              <a:gd name="connsiteY654" fmla="*/ 224367 h 7785545"/>
              <a:gd name="connsiteX655" fmla="*/ 3634750 w 6865640"/>
              <a:gd name="connsiteY655" fmla="*/ 314114 h 7785545"/>
              <a:gd name="connsiteX656" fmla="*/ 3623532 w 6865640"/>
              <a:gd name="connsiteY656" fmla="*/ 403861 h 7785545"/>
              <a:gd name="connsiteX657" fmla="*/ 3589877 w 6865640"/>
              <a:gd name="connsiteY657" fmla="*/ 504827 h 7785545"/>
              <a:gd name="connsiteX658" fmla="*/ 3545004 w 6865640"/>
              <a:gd name="connsiteY658" fmla="*/ 605792 h 7785545"/>
              <a:gd name="connsiteX659" fmla="*/ 3477694 w 6865640"/>
              <a:gd name="connsiteY659" fmla="*/ 695539 h 7785545"/>
              <a:gd name="connsiteX660" fmla="*/ 3410383 w 6865640"/>
              <a:gd name="connsiteY660" fmla="*/ 785286 h 7785545"/>
              <a:gd name="connsiteX661" fmla="*/ 3320636 w 6865640"/>
              <a:gd name="connsiteY661" fmla="*/ 863814 h 7785545"/>
              <a:gd name="connsiteX662" fmla="*/ 3242108 w 6865640"/>
              <a:gd name="connsiteY662" fmla="*/ 931125 h 7785545"/>
              <a:gd name="connsiteX663" fmla="*/ 3152361 w 6865640"/>
              <a:gd name="connsiteY663" fmla="*/ 975998 h 7785545"/>
              <a:gd name="connsiteX664" fmla="*/ 3062614 w 6865640"/>
              <a:gd name="connsiteY664" fmla="*/ 998435 h 7785545"/>
              <a:gd name="connsiteX665" fmla="*/ 2984085 w 6865640"/>
              <a:gd name="connsiteY665" fmla="*/ 1009653 h 7785545"/>
              <a:gd name="connsiteX666" fmla="*/ 2905557 w 6865640"/>
              <a:gd name="connsiteY666" fmla="*/ 998435 h 7785545"/>
              <a:gd name="connsiteX667" fmla="*/ 2849465 w 6865640"/>
              <a:gd name="connsiteY667" fmla="*/ 964780 h 7785545"/>
              <a:gd name="connsiteX668" fmla="*/ 2793373 w 6865640"/>
              <a:gd name="connsiteY668" fmla="*/ 919906 h 7785545"/>
              <a:gd name="connsiteX669" fmla="*/ 2759718 w 6865640"/>
              <a:gd name="connsiteY669" fmla="*/ 852596 h 7785545"/>
              <a:gd name="connsiteX670" fmla="*/ 2737281 w 6865640"/>
              <a:gd name="connsiteY670" fmla="*/ 785286 h 7785545"/>
              <a:gd name="connsiteX671" fmla="*/ 2737281 w 6865640"/>
              <a:gd name="connsiteY671" fmla="*/ 695539 h 7785545"/>
              <a:gd name="connsiteX672" fmla="*/ 2748500 w 6865640"/>
              <a:gd name="connsiteY672" fmla="*/ 605792 h 7785545"/>
              <a:gd name="connsiteX673" fmla="*/ 2782155 w 6865640"/>
              <a:gd name="connsiteY673" fmla="*/ 504827 h 7785545"/>
              <a:gd name="connsiteX674" fmla="*/ 2827028 w 6865640"/>
              <a:gd name="connsiteY674" fmla="*/ 403861 h 7785545"/>
              <a:gd name="connsiteX675" fmla="*/ 2894338 w 6865640"/>
              <a:gd name="connsiteY675" fmla="*/ 314114 h 7785545"/>
              <a:gd name="connsiteX676" fmla="*/ 2972867 w 6865640"/>
              <a:gd name="connsiteY676" fmla="*/ 224367 h 7785545"/>
              <a:gd name="connsiteX677" fmla="*/ 3051396 w 6865640"/>
              <a:gd name="connsiteY677" fmla="*/ 145839 h 7785545"/>
              <a:gd name="connsiteX678" fmla="*/ 3141142 w 6865640"/>
              <a:gd name="connsiteY678" fmla="*/ 78529 h 7785545"/>
              <a:gd name="connsiteX679" fmla="*/ 3219671 w 6865640"/>
              <a:gd name="connsiteY679" fmla="*/ 33655 h 7785545"/>
              <a:gd name="connsiteX680" fmla="*/ 3309418 w 6865640"/>
              <a:gd name="connsiteY680" fmla="*/ 11218 h 7785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</a:cxnLst>
            <a:rect l="l" t="t" r="r" b="b"/>
            <a:pathLst>
              <a:path w="6865640" h="7785545">
                <a:moveTo>
                  <a:pt x="4498565" y="6966605"/>
                </a:moveTo>
                <a:lnTo>
                  <a:pt x="4588312" y="6977823"/>
                </a:lnTo>
                <a:lnTo>
                  <a:pt x="4678058" y="7000260"/>
                </a:lnTo>
                <a:lnTo>
                  <a:pt x="4756587" y="7033915"/>
                </a:lnTo>
                <a:lnTo>
                  <a:pt x="4823898" y="7090007"/>
                </a:lnTo>
                <a:lnTo>
                  <a:pt x="4879989" y="7146098"/>
                </a:lnTo>
                <a:lnTo>
                  <a:pt x="4924862" y="7213409"/>
                </a:lnTo>
                <a:lnTo>
                  <a:pt x="4947300" y="7291937"/>
                </a:lnTo>
                <a:lnTo>
                  <a:pt x="4958518" y="7381684"/>
                </a:lnTo>
                <a:lnTo>
                  <a:pt x="4947300" y="7460213"/>
                </a:lnTo>
                <a:lnTo>
                  <a:pt x="4924862" y="7538741"/>
                </a:lnTo>
                <a:lnTo>
                  <a:pt x="4879989" y="7606051"/>
                </a:lnTo>
                <a:lnTo>
                  <a:pt x="4823898" y="7662143"/>
                </a:lnTo>
                <a:lnTo>
                  <a:pt x="4756587" y="7718235"/>
                </a:lnTo>
                <a:lnTo>
                  <a:pt x="4678058" y="7751890"/>
                </a:lnTo>
                <a:lnTo>
                  <a:pt x="4588312" y="7774327"/>
                </a:lnTo>
                <a:lnTo>
                  <a:pt x="4498565" y="7785545"/>
                </a:lnTo>
                <a:lnTo>
                  <a:pt x="4397600" y="7774327"/>
                </a:lnTo>
                <a:lnTo>
                  <a:pt x="4319071" y="7751890"/>
                </a:lnTo>
                <a:lnTo>
                  <a:pt x="4240542" y="7718235"/>
                </a:lnTo>
                <a:lnTo>
                  <a:pt x="4162014" y="7662143"/>
                </a:lnTo>
                <a:lnTo>
                  <a:pt x="4105922" y="7606051"/>
                </a:lnTo>
                <a:lnTo>
                  <a:pt x="4072267" y="7538741"/>
                </a:lnTo>
                <a:lnTo>
                  <a:pt x="4038612" y="7460213"/>
                </a:lnTo>
                <a:lnTo>
                  <a:pt x="4027394" y="7381684"/>
                </a:lnTo>
                <a:lnTo>
                  <a:pt x="4038612" y="7291937"/>
                </a:lnTo>
                <a:lnTo>
                  <a:pt x="4072267" y="7213409"/>
                </a:lnTo>
                <a:lnTo>
                  <a:pt x="4105922" y="7146098"/>
                </a:lnTo>
                <a:lnTo>
                  <a:pt x="4162014" y="7090007"/>
                </a:lnTo>
                <a:lnTo>
                  <a:pt x="4240542" y="7033915"/>
                </a:lnTo>
                <a:lnTo>
                  <a:pt x="4319071" y="7000260"/>
                </a:lnTo>
                <a:lnTo>
                  <a:pt x="4397600" y="6977823"/>
                </a:lnTo>
                <a:close/>
                <a:moveTo>
                  <a:pt x="5295069" y="6428123"/>
                </a:moveTo>
                <a:lnTo>
                  <a:pt x="5407252" y="6439342"/>
                </a:lnTo>
                <a:lnTo>
                  <a:pt x="5519436" y="6450560"/>
                </a:lnTo>
                <a:lnTo>
                  <a:pt x="5609183" y="6472997"/>
                </a:lnTo>
                <a:lnTo>
                  <a:pt x="5698930" y="6506652"/>
                </a:lnTo>
                <a:lnTo>
                  <a:pt x="5766240" y="6551525"/>
                </a:lnTo>
                <a:lnTo>
                  <a:pt x="5822332" y="6596399"/>
                </a:lnTo>
                <a:lnTo>
                  <a:pt x="5855987" y="6641272"/>
                </a:lnTo>
                <a:lnTo>
                  <a:pt x="5867206" y="6697364"/>
                </a:lnTo>
                <a:lnTo>
                  <a:pt x="5855987" y="6753456"/>
                </a:lnTo>
                <a:lnTo>
                  <a:pt x="5822332" y="6798329"/>
                </a:lnTo>
                <a:lnTo>
                  <a:pt x="5766240" y="6854421"/>
                </a:lnTo>
                <a:lnTo>
                  <a:pt x="5698930" y="6888076"/>
                </a:lnTo>
                <a:lnTo>
                  <a:pt x="5609183" y="6921731"/>
                </a:lnTo>
                <a:lnTo>
                  <a:pt x="5519436" y="6944168"/>
                </a:lnTo>
                <a:lnTo>
                  <a:pt x="5407252" y="6966605"/>
                </a:lnTo>
                <a:lnTo>
                  <a:pt x="5295069" y="6966605"/>
                </a:lnTo>
                <a:lnTo>
                  <a:pt x="5182885" y="6966605"/>
                </a:lnTo>
                <a:lnTo>
                  <a:pt x="5070702" y="6944168"/>
                </a:lnTo>
                <a:lnTo>
                  <a:pt x="4980954" y="6921731"/>
                </a:lnTo>
                <a:lnTo>
                  <a:pt x="4891208" y="6888076"/>
                </a:lnTo>
                <a:lnTo>
                  <a:pt x="4823898" y="6854421"/>
                </a:lnTo>
                <a:lnTo>
                  <a:pt x="4767806" y="6798329"/>
                </a:lnTo>
                <a:lnTo>
                  <a:pt x="4734150" y="6753456"/>
                </a:lnTo>
                <a:lnTo>
                  <a:pt x="4722932" y="6697364"/>
                </a:lnTo>
                <a:lnTo>
                  <a:pt x="4734150" y="6641272"/>
                </a:lnTo>
                <a:lnTo>
                  <a:pt x="4767806" y="6596399"/>
                </a:lnTo>
                <a:lnTo>
                  <a:pt x="4823898" y="6551525"/>
                </a:lnTo>
                <a:lnTo>
                  <a:pt x="4891208" y="6506652"/>
                </a:lnTo>
                <a:lnTo>
                  <a:pt x="4980954" y="6472997"/>
                </a:lnTo>
                <a:lnTo>
                  <a:pt x="5070702" y="6450560"/>
                </a:lnTo>
                <a:lnTo>
                  <a:pt x="5182885" y="6439342"/>
                </a:lnTo>
                <a:close/>
                <a:moveTo>
                  <a:pt x="2658753" y="6293503"/>
                </a:moveTo>
                <a:lnTo>
                  <a:pt x="2692408" y="6304721"/>
                </a:lnTo>
                <a:lnTo>
                  <a:pt x="2714844" y="6315939"/>
                </a:lnTo>
                <a:lnTo>
                  <a:pt x="2748500" y="6327158"/>
                </a:lnTo>
                <a:lnTo>
                  <a:pt x="2770936" y="6360813"/>
                </a:lnTo>
                <a:lnTo>
                  <a:pt x="2804592" y="6416905"/>
                </a:lnTo>
                <a:lnTo>
                  <a:pt x="2815810" y="6495433"/>
                </a:lnTo>
                <a:lnTo>
                  <a:pt x="2804592" y="6573962"/>
                </a:lnTo>
                <a:lnTo>
                  <a:pt x="2770936" y="6641272"/>
                </a:lnTo>
                <a:lnTo>
                  <a:pt x="2748500" y="6663709"/>
                </a:lnTo>
                <a:lnTo>
                  <a:pt x="2714844" y="6674927"/>
                </a:lnTo>
                <a:lnTo>
                  <a:pt x="2692408" y="6686146"/>
                </a:lnTo>
                <a:lnTo>
                  <a:pt x="2658753" y="6697364"/>
                </a:lnTo>
                <a:lnTo>
                  <a:pt x="2625098" y="6686146"/>
                </a:lnTo>
                <a:lnTo>
                  <a:pt x="2602661" y="6674927"/>
                </a:lnTo>
                <a:lnTo>
                  <a:pt x="2569006" y="6663709"/>
                </a:lnTo>
                <a:lnTo>
                  <a:pt x="2546569" y="6641272"/>
                </a:lnTo>
                <a:lnTo>
                  <a:pt x="2512914" y="6573962"/>
                </a:lnTo>
                <a:lnTo>
                  <a:pt x="2501696" y="6495433"/>
                </a:lnTo>
                <a:lnTo>
                  <a:pt x="2512914" y="6416905"/>
                </a:lnTo>
                <a:lnTo>
                  <a:pt x="2546569" y="6360813"/>
                </a:lnTo>
                <a:lnTo>
                  <a:pt x="2569006" y="6327158"/>
                </a:lnTo>
                <a:lnTo>
                  <a:pt x="2602661" y="6315939"/>
                </a:lnTo>
                <a:lnTo>
                  <a:pt x="2625098" y="6304721"/>
                </a:lnTo>
                <a:close/>
                <a:moveTo>
                  <a:pt x="1738847" y="5900860"/>
                </a:moveTo>
                <a:lnTo>
                  <a:pt x="1839812" y="5912078"/>
                </a:lnTo>
                <a:lnTo>
                  <a:pt x="1929559" y="5934515"/>
                </a:lnTo>
                <a:lnTo>
                  <a:pt x="2008087" y="5968170"/>
                </a:lnTo>
                <a:lnTo>
                  <a:pt x="2086616" y="6024262"/>
                </a:lnTo>
                <a:lnTo>
                  <a:pt x="2142708" y="6080354"/>
                </a:lnTo>
                <a:lnTo>
                  <a:pt x="2187581" y="6147664"/>
                </a:lnTo>
                <a:lnTo>
                  <a:pt x="2221236" y="6214974"/>
                </a:lnTo>
                <a:lnTo>
                  <a:pt x="2232455" y="6293503"/>
                </a:lnTo>
                <a:lnTo>
                  <a:pt x="2221236" y="6383250"/>
                </a:lnTo>
                <a:lnTo>
                  <a:pt x="2187581" y="6450560"/>
                </a:lnTo>
                <a:lnTo>
                  <a:pt x="2142708" y="6517870"/>
                </a:lnTo>
                <a:lnTo>
                  <a:pt x="2086616" y="6573962"/>
                </a:lnTo>
                <a:lnTo>
                  <a:pt x="2008087" y="6630054"/>
                </a:lnTo>
                <a:lnTo>
                  <a:pt x="1929559" y="6663709"/>
                </a:lnTo>
                <a:lnTo>
                  <a:pt x="1839812" y="6686146"/>
                </a:lnTo>
                <a:lnTo>
                  <a:pt x="1738847" y="6697364"/>
                </a:lnTo>
                <a:lnTo>
                  <a:pt x="1637881" y="6686146"/>
                </a:lnTo>
                <a:lnTo>
                  <a:pt x="1548135" y="6663709"/>
                </a:lnTo>
                <a:lnTo>
                  <a:pt x="1458387" y="6630054"/>
                </a:lnTo>
                <a:lnTo>
                  <a:pt x="1391077" y="6573962"/>
                </a:lnTo>
                <a:lnTo>
                  <a:pt x="1323767" y="6517870"/>
                </a:lnTo>
                <a:lnTo>
                  <a:pt x="1278894" y="6450560"/>
                </a:lnTo>
                <a:lnTo>
                  <a:pt x="1256457" y="6383250"/>
                </a:lnTo>
                <a:lnTo>
                  <a:pt x="1245239" y="6293503"/>
                </a:lnTo>
                <a:lnTo>
                  <a:pt x="1256457" y="6214974"/>
                </a:lnTo>
                <a:lnTo>
                  <a:pt x="1278894" y="6147664"/>
                </a:lnTo>
                <a:lnTo>
                  <a:pt x="1323767" y="6080354"/>
                </a:lnTo>
                <a:lnTo>
                  <a:pt x="1391077" y="6024262"/>
                </a:lnTo>
                <a:lnTo>
                  <a:pt x="1458387" y="5968170"/>
                </a:lnTo>
                <a:lnTo>
                  <a:pt x="1548135" y="5934515"/>
                </a:lnTo>
                <a:lnTo>
                  <a:pt x="1637881" y="5912078"/>
                </a:lnTo>
                <a:close/>
                <a:moveTo>
                  <a:pt x="751631" y="5900860"/>
                </a:moveTo>
                <a:lnTo>
                  <a:pt x="807723" y="5912078"/>
                </a:lnTo>
                <a:lnTo>
                  <a:pt x="863814" y="5923297"/>
                </a:lnTo>
                <a:lnTo>
                  <a:pt x="908688" y="5934515"/>
                </a:lnTo>
                <a:lnTo>
                  <a:pt x="942343" y="5956952"/>
                </a:lnTo>
                <a:lnTo>
                  <a:pt x="975998" y="5979389"/>
                </a:lnTo>
                <a:lnTo>
                  <a:pt x="1009653" y="6013044"/>
                </a:lnTo>
                <a:lnTo>
                  <a:pt x="1020871" y="6046699"/>
                </a:lnTo>
                <a:lnTo>
                  <a:pt x="1020871" y="6091572"/>
                </a:lnTo>
                <a:lnTo>
                  <a:pt x="1020871" y="6125227"/>
                </a:lnTo>
                <a:lnTo>
                  <a:pt x="1009653" y="6158882"/>
                </a:lnTo>
                <a:lnTo>
                  <a:pt x="975998" y="6192537"/>
                </a:lnTo>
                <a:lnTo>
                  <a:pt x="942343" y="6214974"/>
                </a:lnTo>
                <a:lnTo>
                  <a:pt x="908688" y="6237411"/>
                </a:lnTo>
                <a:lnTo>
                  <a:pt x="863814" y="6259848"/>
                </a:lnTo>
                <a:lnTo>
                  <a:pt x="807723" y="6271066"/>
                </a:lnTo>
                <a:lnTo>
                  <a:pt x="751631" y="6271066"/>
                </a:lnTo>
                <a:lnTo>
                  <a:pt x="695539" y="6271066"/>
                </a:lnTo>
                <a:lnTo>
                  <a:pt x="650665" y="6259848"/>
                </a:lnTo>
                <a:lnTo>
                  <a:pt x="594574" y="6237411"/>
                </a:lnTo>
                <a:lnTo>
                  <a:pt x="560919" y="6214974"/>
                </a:lnTo>
                <a:lnTo>
                  <a:pt x="527263" y="6192537"/>
                </a:lnTo>
                <a:lnTo>
                  <a:pt x="504827" y="6158882"/>
                </a:lnTo>
                <a:lnTo>
                  <a:pt x="482390" y="6125227"/>
                </a:lnTo>
                <a:lnTo>
                  <a:pt x="482390" y="6091572"/>
                </a:lnTo>
                <a:lnTo>
                  <a:pt x="482390" y="6046699"/>
                </a:lnTo>
                <a:lnTo>
                  <a:pt x="504827" y="6013044"/>
                </a:lnTo>
                <a:lnTo>
                  <a:pt x="527263" y="5979389"/>
                </a:lnTo>
                <a:lnTo>
                  <a:pt x="560919" y="5956952"/>
                </a:lnTo>
                <a:lnTo>
                  <a:pt x="594574" y="5934515"/>
                </a:lnTo>
                <a:lnTo>
                  <a:pt x="650665" y="5923297"/>
                </a:lnTo>
                <a:lnTo>
                  <a:pt x="695539" y="5912078"/>
                </a:lnTo>
                <a:close/>
                <a:moveTo>
                  <a:pt x="157057" y="4453691"/>
                </a:moveTo>
                <a:lnTo>
                  <a:pt x="190712" y="4453691"/>
                </a:lnTo>
                <a:lnTo>
                  <a:pt x="224368" y="4453691"/>
                </a:lnTo>
                <a:lnTo>
                  <a:pt x="269241" y="4476128"/>
                </a:lnTo>
                <a:lnTo>
                  <a:pt x="291678" y="4498564"/>
                </a:lnTo>
                <a:lnTo>
                  <a:pt x="325333" y="4521001"/>
                </a:lnTo>
                <a:lnTo>
                  <a:pt x="347770" y="4554656"/>
                </a:lnTo>
                <a:lnTo>
                  <a:pt x="358988" y="4588311"/>
                </a:lnTo>
                <a:lnTo>
                  <a:pt x="370206" y="4633185"/>
                </a:lnTo>
                <a:lnTo>
                  <a:pt x="381425" y="4678058"/>
                </a:lnTo>
                <a:lnTo>
                  <a:pt x="370206" y="4722932"/>
                </a:lnTo>
                <a:lnTo>
                  <a:pt x="358988" y="4767805"/>
                </a:lnTo>
                <a:lnTo>
                  <a:pt x="347770" y="4812679"/>
                </a:lnTo>
                <a:lnTo>
                  <a:pt x="325333" y="4846334"/>
                </a:lnTo>
                <a:lnTo>
                  <a:pt x="291678" y="4868770"/>
                </a:lnTo>
                <a:lnTo>
                  <a:pt x="269241" y="4891207"/>
                </a:lnTo>
                <a:lnTo>
                  <a:pt x="224368" y="4902426"/>
                </a:lnTo>
                <a:lnTo>
                  <a:pt x="190712" y="4913644"/>
                </a:lnTo>
                <a:lnTo>
                  <a:pt x="157057" y="4902426"/>
                </a:lnTo>
                <a:lnTo>
                  <a:pt x="123402" y="4891207"/>
                </a:lnTo>
                <a:lnTo>
                  <a:pt x="89747" y="4868770"/>
                </a:lnTo>
                <a:lnTo>
                  <a:pt x="56092" y="4846334"/>
                </a:lnTo>
                <a:lnTo>
                  <a:pt x="33655" y="4812679"/>
                </a:lnTo>
                <a:lnTo>
                  <a:pt x="22437" y="4767805"/>
                </a:lnTo>
                <a:lnTo>
                  <a:pt x="11219" y="4722932"/>
                </a:lnTo>
                <a:lnTo>
                  <a:pt x="0" y="4678058"/>
                </a:lnTo>
                <a:lnTo>
                  <a:pt x="11219" y="4633185"/>
                </a:lnTo>
                <a:lnTo>
                  <a:pt x="22437" y="4588311"/>
                </a:lnTo>
                <a:lnTo>
                  <a:pt x="33655" y="4554656"/>
                </a:lnTo>
                <a:lnTo>
                  <a:pt x="56092" y="4521001"/>
                </a:lnTo>
                <a:lnTo>
                  <a:pt x="89747" y="4498564"/>
                </a:lnTo>
                <a:lnTo>
                  <a:pt x="123402" y="4476128"/>
                </a:lnTo>
                <a:close/>
                <a:moveTo>
                  <a:pt x="605792" y="3881554"/>
                </a:moveTo>
                <a:lnTo>
                  <a:pt x="650665" y="3892773"/>
                </a:lnTo>
                <a:lnTo>
                  <a:pt x="684321" y="3903991"/>
                </a:lnTo>
                <a:lnTo>
                  <a:pt x="729194" y="3915209"/>
                </a:lnTo>
                <a:lnTo>
                  <a:pt x="762849" y="3948864"/>
                </a:lnTo>
                <a:lnTo>
                  <a:pt x="785286" y="3971301"/>
                </a:lnTo>
                <a:lnTo>
                  <a:pt x="807723" y="4016175"/>
                </a:lnTo>
                <a:lnTo>
                  <a:pt x="818941" y="4049830"/>
                </a:lnTo>
                <a:lnTo>
                  <a:pt x="830159" y="4094703"/>
                </a:lnTo>
                <a:lnTo>
                  <a:pt x="818941" y="4128358"/>
                </a:lnTo>
                <a:lnTo>
                  <a:pt x="807723" y="4173232"/>
                </a:lnTo>
                <a:lnTo>
                  <a:pt x="785286" y="4206887"/>
                </a:lnTo>
                <a:lnTo>
                  <a:pt x="762849" y="4240542"/>
                </a:lnTo>
                <a:lnTo>
                  <a:pt x="729194" y="4262979"/>
                </a:lnTo>
                <a:lnTo>
                  <a:pt x="684321" y="4285416"/>
                </a:lnTo>
                <a:lnTo>
                  <a:pt x="650665" y="4296634"/>
                </a:lnTo>
                <a:lnTo>
                  <a:pt x="605792" y="4296634"/>
                </a:lnTo>
                <a:lnTo>
                  <a:pt x="560919" y="4296634"/>
                </a:lnTo>
                <a:lnTo>
                  <a:pt x="516045" y="4285416"/>
                </a:lnTo>
                <a:lnTo>
                  <a:pt x="482390" y="4262979"/>
                </a:lnTo>
                <a:lnTo>
                  <a:pt x="448735" y="4240542"/>
                </a:lnTo>
                <a:lnTo>
                  <a:pt x="415080" y="4206887"/>
                </a:lnTo>
                <a:lnTo>
                  <a:pt x="392643" y="4173232"/>
                </a:lnTo>
                <a:lnTo>
                  <a:pt x="381425" y="4128358"/>
                </a:lnTo>
                <a:lnTo>
                  <a:pt x="381425" y="4094703"/>
                </a:lnTo>
                <a:lnTo>
                  <a:pt x="381425" y="4049830"/>
                </a:lnTo>
                <a:lnTo>
                  <a:pt x="392643" y="4016175"/>
                </a:lnTo>
                <a:lnTo>
                  <a:pt x="415080" y="3971301"/>
                </a:lnTo>
                <a:lnTo>
                  <a:pt x="448735" y="3948864"/>
                </a:lnTo>
                <a:lnTo>
                  <a:pt x="482390" y="3915209"/>
                </a:lnTo>
                <a:lnTo>
                  <a:pt x="516045" y="3903991"/>
                </a:lnTo>
                <a:lnTo>
                  <a:pt x="560919" y="3892773"/>
                </a:lnTo>
                <a:close/>
                <a:moveTo>
                  <a:pt x="482390" y="2871902"/>
                </a:moveTo>
                <a:lnTo>
                  <a:pt x="549700" y="2883120"/>
                </a:lnTo>
                <a:lnTo>
                  <a:pt x="617010" y="2905557"/>
                </a:lnTo>
                <a:lnTo>
                  <a:pt x="673102" y="2939212"/>
                </a:lnTo>
                <a:lnTo>
                  <a:pt x="729194" y="2984085"/>
                </a:lnTo>
                <a:lnTo>
                  <a:pt x="762849" y="3040177"/>
                </a:lnTo>
                <a:lnTo>
                  <a:pt x="796504" y="3107487"/>
                </a:lnTo>
                <a:lnTo>
                  <a:pt x="818941" y="3174797"/>
                </a:lnTo>
                <a:lnTo>
                  <a:pt x="830159" y="3253326"/>
                </a:lnTo>
                <a:lnTo>
                  <a:pt x="818941" y="3320636"/>
                </a:lnTo>
                <a:lnTo>
                  <a:pt x="796504" y="3387946"/>
                </a:lnTo>
                <a:lnTo>
                  <a:pt x="762849" y="3455256"/>
                </a:lnTo>
                <a:lnTo>
                  <a:pt x="729194" y="3511348"/>
                </a:lnTo>
                <a:lnTo>
                  <a:pt x="673102" y="3556222"/>
                </a:lnTo>
                <a:lnTo>
                  <a:pt x="617010" y="3589877"/>
                </a:lnTo>
                <a:lnTo>
                  <a:pt x="549700" y="3612314"/>
                </a:lnTo>
                <a:lnTo>
                  <a:pt x="482390" y="3623532"/>
                </a:lnTo>
                <a:lnTo>
                  <a:pt x="403861" y="3612314"/>
                </a:lnTo>
                <a:lnTo>
                  <a:pt x="347770" y="3589877"/>
                </a:lnTo>
                <a:lnTo>
                  <a:pt x="280459" y="3556222"/>
                </a:lnTo>
                <a:lnTo>
                  <a:pt x="235586" y="3511348"/>
                </a:lnTo>
                <a:lnTo>
                  <a:pt x="190712" y="3455256"/>
                </a:lnTo>
                <a:lnTo>
                  <a:pt x="157057" y="3387946"/>
                </a:lnTo>
                <a:lnTo>
                  <a:pt x="134621" y="3320636"/>
                </a:lnTo>
                <a:lnTo>
                  <a:pt x="134621" y="3253326"/>
                </a:lnTo>
                <a:lnTo>
                  <a:pt x="134621" y="3174797"/>
                </a:lnTo>
                <a:lnTo>
                  <a:pt x="157057" y="3107487"/>
                </a:lnTo>
                <a:lnTo>
                  <a:pt x="190712" y="3040177"/>
                </a:lnTo>
                <a:lnTo>
                  <a:pt x="235586" y="2984085"/>
                </a:lnTo>
                <a:lnTo>
                  <a:pt x="280459" y="2939212"/>
                </a:lnTo>
                <a:lnTo>
                  <a:pt x="347770" y="2905557"/>
                </a:lnTo>
                <a:lnTo>
                  <a:pt x="403861" y="2883120"/>
                </a:lnTo>
                <a:close/>
                <a:moveTo>
                  <a:pt x="1245239" y="2468041"/>
                </a:moveTo>
                <a:lnTo>
                  <a:pt x="1301331" y="2479259"/>
                </a:lnTo>
                <a:lnTo>
                  <a:pt x="1346204" y="2501696"/>
                </a:lnTo>
                <a:lnTo>
                  <a:pt x="1379859" y="2546569"/>
                </a:lnTo>
                <a:lnTo>
                  <a:pt x="1391077" y="2591443"/>
                </a:lnTo>
                <a:lnTo>
                  <a:pt x="1379859" y="2647534"/>
                </a:lnTo>
                <a:lnTo>
                  <a:pt x="1346204" y="2692408"/>
                </a:lnTo>
                <a:lnTo>
                  <a:pt x="1301331" y="2714845"/>
                </a:lnTo>
                <a:lnTo>
                  <a:pt x="1245239" y="2726063"/>
                </a:lnTo>
                <a:lnTo>
                  <a:pt x="1177929" y="2714845"/>
                </a:lnTo>
                <a:lnTo>
                  <a:pt x="1133055" y="2692408"/>
                </a:lnTo>
                <a:lnTo>
                  <a:pt x="1099400" y="2647534"/>
                </a:lnTo>
                <a:lnTo>
                  <a:pt x="1088181" y="2591443"/>
                </a:lnTo>
                <a:lnTo>
                  <a:pt x="1099400" y="2546569"/>
                </a:lnTo>
                <a:lnTo>
                  <a:pt x="1133055" y="2501696"/>
                </a:lnTo>
                <a:lnTo>
                  <a:pt x="1177929" y="2479259"/>
                </a:lnTo>
                <a:close/>
                <a:moveTo>
                  <a:pt x="6394468" y="2232455"/>
                </a:moveTo>
                <a:lnTo>
                  <a:pt x="6450560" y="2232455"/>
                </a:lnTo>
                <a:lnTo>
                  <a:pt x="6506652" y="2232455"/>
                </a:lnTo>
                <a:lnTo>
                  <a:pt x="6585181" y="2243673"/>
                </a:lnTo>
                <a:lnTo>
                  <a:pt x="6663710" y="2277328"/>
                </a:lnTo>
                <a:lnTo>
                  <a:pt x="6697364" y="2310983"/>
                </a:lnTo>
                <a:lnTo>
                  <a:pt x="6742238" y="2344639"/>
                </a:lnTo>
                <a:lnTo>
                  <a:pt x="6775893" y="2400730"/>
                </a:lnTo>
                <a:lnTo>
                  <a:pt x="6809548" y="2456822"/>
                </a:lnTo>
                <a:lnTo>
                  <a:pt x="6831985" y="2490477"/>
                </a:lnTo>
                <a:lnTo>
                  <a:pt x="6854422" y="2546569"/>
                </a:lnTo>
                <a:lnTo>
                  <a:pt x="6865640" y="2613879"/>
                </a:lnTo>
                <a:lnTo>
                  <a:pt x="6865640" y="2714845"/>
                </a:lnTo>
                <a:lnTo>
                  <a:pt x="6854422" y="2827028"/>
                </a:lnTo>
                <a:lnTo>
                  <a:pt x="6820766" y="2972867"/>
                </a:lnTo>
                <a:lnTo>
                  <a:pt x="6753456" y="3129924"/>
                </a:lnTo>
                <a:lnTo>
                  <a:pt x="6708583" y="3230889"/>
                </a:lnTo>
                <a:lnTo>
                  <a:pt x="6652491" y="3320636"/>
                </a:lnTo>
                <a:lnTo>
                  <a:pt x="6585181" y="3387946"/>
                </a:lnTo>
                <a:lnTo>
                  <a:pt x="6529089" y="3444038"/>
                </a:lnTo>
                <a:lnTo>
                  <a:pt x="6461779" y="3488912"/>
                </a:lnTo>
                <a:lnTo>
                  <a:pt x="6394468" y="3511348"/>
                </a:lnTo>
                <a:lnTo>
                  <a:pt x="6338377" y="3522567"/>
                </a:lnTo>
                <a:lnTo>
                  <a:pt x="6282285" y="3500130"/>
                </a:lnTo>
                <a:lnTo>
                  <a:pt x="6237412" y="3455256"/>
                </a:lnTo>
                <a:lnTo>
                  <a:pt x="6203756" y="3399165"/>
                </a:lnTo>
                <a:lnTo>
                  <a:pt x="6181320" y="3331854"/>
                </a:lnTo>
                <a:lnTo>
                  <a:pt x="6170102" y="3242108"/>
                </a:lnTo>
                <a:lnTo>
                  <a:pt x="6170102" y="3152361"/>
                </a:lnTo>
                <a:lnTo>
                  <a:pt x="6181320" y="3051395"/>
                </a:lnTo>
                <a:lnTo>
                  <a:pt x="6203756" y="2950430"/>
                </a:lnTo>
                <a:lnTo>
                  <a:pt x="6248630" y="2838247"/>
                </a:lnTo>
                <a:lnTo>
                  <a:pt x="6259848" y="2815810"/>
                </a:lnTo>
                <a:lnTo>
                  <a:pt x="6271066" y="2748500"/>
                </a:lnTo>
                <a:lnTo>
                  <a:pt x="6271066" y="2658753"/>
                </a:lnTo>
                <a:lnTo>
                  <a:pt x="6271066" y="2613879"/>
                </a:lnTo>
                <a:lnTo>
                  <a:pt x="6248630" y="2569006"/>
                </a:lnTo>
                <a:lnTo>
                  <a:pt x="6226193" y="2535351"/>
                </a:lnTo>
                <a:lnTo>
                  <a:pt x="6214975" y="2501696"/>
                </a:lnTo>
                <a:lnTo>
                  <a:pt x="6203756" y="2456822"/>
                </a:lnTo>
                <a:lnTo>
                  <a:pt x="6203756" y="2411949"/>
                </a:lnTo>
                <a:lnTo>
                  <a:pt x="6226193" y="2355857"/>
                </a:lnTo>
                <a:lnTo>
                  <a:pt x="6271066" y="2299765"/>
                </a:lnTo>
                <a:lnTo>
                  <a:pt x="6349595" y="2254892"/>
                </a:lnTo>
                <a:close/>
                <a:moveTo>
                  <a:pt x="1783720" y="2097835"/>
                </a:moveTo>
                <a:lnTo>
                  <a:pt x="1839812" y="2109053"/>
                </a:lnTo>
                <a:lnTo>
                  <a:pt x="1895904" y="2120271"/>
                </a:lnTo>
                <a:lnTo>
                  <a:pt x="1940777" y="2142708"/>
                </a:lnTo>
                <a:lnTo>
                  <a:pt x="1985651" y="2165145"/>
                </a:lnTo>
                <a:lnTo>
                  <a:pt x="2019306" y="2198800"/>
                </a:lnTo>
                <a:lnTo>
                  <a:pt x="2052961" y="2232455"/>
                </a:lnTo>
                <a:lnTo>
                  <a:pt x="2064179" y="2266110"/>
                </a:lnTo>
                <a:lnTo>
                  <a:pt x="2075398" y="2310983"/>
                </a:lnTo>
                <a:lnTo>
                  <a:pt x="2064179" y="2355857"/>
                </a:lnTo>
                <a:lnTo>
                  <a:pt x="2052961" y="2400730"/>
                </a:lnTo>
                <a:lnTo>
                  <a:pt x="2019306" y="2434385"/>
                </a:lnTo>
                <a:lnTo>
                  <a:pt x="1985651" y="2468041"/>
                </a:lnTo>
                <a:lnTo>
                  <a:pt x="1940777" y="2490477"/>
                </a:lnTo>
                <a:lnTo>
                  <a:pt x="1895904" y="2512914"/>
                </a:lnTo>
                <a:lnTo>
                  <a:pt x="1839812" y="2524132"/>
                </a:lnTo>
                <a:lnTo>
                  <a:pt x="1783720" y="2524132"/>
                </a:lnTo>
                <a:lnTo>
                  <a:pt x="1727629" y="2524132"/>
                </a:lnTo>
                <a:lnTo>
                  <a:pt x="1671537" y="2512914"/>
                </a:lnTo>
                <a:lnTo>
                  <a:pt x="1615445" y="2490477"/>
                </a:lnTo>
                <a:lnTo>
                  <a:pt x="1570571" y="2468041"/>
                </a:lnTo>
                <a:lnTo>
                  <a:pt x="1536916" y="2434385"/>
                </a:lnTo>
                <a:lnTo>
                  <a:pt x="1514479" y="2400730"/>
                </a:lnTo>
                <a:lnTo>
                  <a:pt x="1492043" y="2355857"/>
                </a:lnTo>
                <a:lnTo>
                  <a:pt x="1492043" y="2310983"/>
                </a:lnTo>
                <a:lnTo>
                  <a:pt x="1492043" y="2266110"/>
                </a:lnTo>
                <a:lnTo>
                  <a:pt x="1514479" y="2232455"/>
                </a:lnTo>
                <a:lnTo>
                  <a:pt x="1536916" y="2198800"/>
                </a:lnTo>
                <a:lnTo>
                  <a:pt x="1570571" y="2165145"/>
                </a:lnTo>
                <a:lnTo>
                  <a:pt x="1615445" y="2142708"/>
                </a:lnTo>
                <a:lnTo>
                  <a:pt x="1671537" y="2120271"/>
                </a:lnTo>
                <a:lnTo>
                  <a:pt x="1727629" y="2109053"/>
                </a:lnTo>
                <a:close/>
                <a:moveTo>
                  <a:pt x="5586746" y="560918"/>
                </a:moveTo>
                <a:lnTo>
                  <a:pt x="5654056" y="560918"/>
                </a:lnTo>
                <a:lnTo>
                  <a:pt x="5710148" y="583355"/>
                </a:lnTo>
                <a:lnTo>
                  <a:pt x="5777458" y="628229"/>
                </a:lnTo>
                <a:lnTo>
                  <a:pt x="5844768" y="684320"/>
                </a:lnTo>
                <a:lnTo>
                  <a:pt x="5900860" y="762849"/>
                </a:lnTo>
                <a:lnTo>
                  <a:pt x="5956952" y="852596"/>
                </a:lnTo>
                <a:lnTo>
                  <a:pt x="6001826" y="953561"/>
                </a:lnTo>
                <a:lnTo>
                  <a:pt x="6035481" y="1054527"/>
                </a:lnTo>
                <a:lnTo>
                  <a:pt x="6057918" y="1166710"/>
                </a:lnTo>
                <a:lnTo>
                  <a:pt x="6069136" y="1267675"/>
                </a:lnTo>
                <a:lnTo>
                  <a:pt x="6069136" y="1368641"/>
                </a:lnTo>
                <a:lnTo>
                  <a:pt x="6057918" y="1447169"/>
                </a:lnTo>
                <a:lnTo>
                  <a:pt x="6035481" y="1514479"/>
                </a:lnTo>
                <a:lnTo>
                  <a:pt x="6001826" y="1570571"/>
                </a:lnTo>
                <a:lnTo>
                  <a:pt x="5956952" y="1615445"/>
                </a:lnTo>
                <a:lnTo>
                  <a:pt x="5900860" y="1626663"/>
                </a:lnTo>
                <a:lnTo>
                  <a:pt x="5833550" y="1626663"/>
                </a:lnTo>
                <a:lnTo>
                  <a:pt x="5766240" y="1604226"/>
                </a:lnTo>
                <a:lnTo>
                  <a:pt x="5710148" y="1559353"/>
                </a:lnTo>
                <a:lnTo>
                  <a:pt x="5642838" y="1492043"/>
                </a:lnTo>
                <a:lnTo>
                  <a:pt x="5586746" y="1424732"/>
                </a:lnTo>
                <a:lnTo>
                  <a:pt x="5530654" y="1334986"/>
                </a:lnTo>
                <a:lnTo>
                  <a:pt x="5485781" y="1234020"/>
                </a:lnTo>
                <a:lnTo>
                  <a:pt x="5452126" y="1133055"/>
                </a:lnTo>
                <a:lnTo>
                  <a:pt x="5418471" y="1020871"/>
                </a:lnTo>
                <a:lnTo>
                  <a:pt x="5407252" y="919906"/>
                </a:lnTo>
                <a:lnTo>
                  <a:pt x="5407252" y="818941"/>
                </a:lnTo>
                <a:lnTo>
                  <a:pt x="5429689" y="740412"/>
                </a:lnTo>
                <a:lnTo>
                  <a:pt x="5452126" y="673102"/>
                </a:lnTo>
                <a:lnTo>
                  <a:pt x="5485781" y="617010"/>
                </a:lnTo>
                <a:lnTo>
                  <a:pt x="5530654" y="572137"/>
                </a:lnTo>
                <a:close/>
                <a:moveTo>
                  <a:pt x="4285416" y="347770"/>
                </a:moveTo>
                <a:lnTo>
                  <a:pt x="4386381" y="347770"/>
                </a:lnTo>
                <a:lnTo>
                  <a:pt x="4487346" y="358988"/>
                </a:lnTo>
                <a:lnTo>
                  <a:pt x="4565875" y="392643"/>
                </a:lnTo>
                <a:lnTo>
                  <a:pt x="4644404" y="426298"/>
                </a:lnTo>
                <a:lnTo>
                  <a:pt x="4711714" y="459953"/>
                </a:lnTo>
                <a:lnTo>
                  <a:pt x="4801460" y="527263"/>
                </a:lnTo>
                <a:lnTo>
                  <a:pt x="4835116" y="560918"/>
                </a:lnTo>
                <a:lnTo>
                  <a:pt x="4924862" y="639447"/>
                </a:lnTo>
                <a:lnTo>
                  <a:pt x="5014610" y="729194"/>
                </a:lnTo>
                <a:lnTo>
                  <a:pt x="5070702" y="830159"/>
                </a:lnTo>
                <a:lnTo>
                  <a:pt x="5126794" y="919906"/>
                </a:lnTo>
                <a:lnTo>
                  <a:pt x="5160448" y="1009653"/>
                </a:lnTo>
                <a:lnTo>
                  <a:pt x="5194104" y="1099400"/>
                </a:lnTo>
                <a:lnTo>
                  <a:pt x="5216540" y="1177929"/>
                </a:lnTo>
                <a:lnTo>
                  <a:pt x="5216540" y="1267675"/>
                </a:lnTo>
                <a:lnTo>
                  <a:pt x="5227758" y="1413514"/>
                </a:lnTo>
                <a:lnTo>
                  <a:pt x="5205322" y="1525698"/>
                </a:lnTo>
                <a:lnTo>
                  <a:pt x="5182885" y="1626663"/>
                </a:lnTo>
                <a:lnTo>
                  <a:pt x="5149230" y="1772502"/>
                </a:lnTo>
                <a:lnTo>
                  <a:pt x="5138012" y="1884686"/>
                </a:lnTo>
                <a:lnTo>
                  <a:pt x="5138012" y="1985651"/>
                </a:lnTo>
                <a:lnTo>
                  <a:pt x="5149230" y="2052961"/>
                </a:lnTo>
                <a:lnTo>
                  <a:pt x="5182885" y="2109053"/>
                </a:lnTo>
                <a:lnTo>
                  <a:pt x="5205322" y="2153926"/>
                </a:lnTo>
                <a:lnTo>
                  <a:pt x="5238977" y="2198800"/>
                </a:lnTo>
                <a:lnTo>
                  <a:pt x="5283850" y="2232455"/>
                </a:lnTo>
                <a:lnTo>
                  <a:pt x="5328724" y="2254892"/>
                </a:lnTo>
                <a:lnTo>
                  <a:pt x="5407252" y="2288547"/>
                </a:lnTo>
                <a:lnTo>
                  <a:pt x="5485781" y="2299765"/>
                </a:lnTo>
                <a:lnTo>
                  <a:pt x="5553091" y="2299765"/>
                </a:lnTo>
                <a:lnTo>
                  <a:pt x="5620402" y="2299765"/>
                </a:lnTo>
                <a:lnTo>
                  <a:pt x="5732585" y="2299765"/>
                </a:lnTo>
                <a:lnTo>
                  <a:pt x="5822332" y="2310983"/>
                </a:lnTo>
                <a:lnTo>
                  <a:pt x="5900860" y="2333420"/>
                </a:lnTo>
                <a:lnTo>
                  <a:pt x="5956952" y="2355857"/>
                </a:lnTo>
                <a:lnTo>
                  <a:pt x="5990608" y="2389512"/>
                </a:lnTo>
                <a:lnTo>
                  <a:pt x="6013044" y="2411949"/>
                </a:lnTo>
                <a:lnTo>
                  <a:pt x="6035481" y="2434385"/>
                </a:lnTo>
                <a:lnTo>
                  <a:pt x="6057918" y="2468041"/>
                </a:lnTo>
                <a:lnTo>
                  <a:pt x="6069136" y="2501696"/>
                </a:lnTo>
                <a:lnTo>
                  <a:pt x="6091572" y="2569006"/>
                </a:lnTo>
                <a:lnTo>
                  <a:pt x="6091572" y="2647534"/>
                </a:lnTo>
                <a:lnTo>
                  <a:pt x="6069136" y="2714845"/>
                </a:lnTo>
                <a:lnTo>
                  <a:pt x="6024262" y="2827028"/>
                </a:lnTo>
                <a:lnTo>
                  <a:pt x="6001826" y="2860683"/>
                </a:lnTo>
                <a:lnTo>
                  <a:pt x="5923298" y="2984085"/>
                </a:lnTo>
                <a:lnTo>
                  <a:pt x="5867206" y="3085050"/>
                </a:lnTo>
                <a:lnTo>
                  <a:pt x="5833550" y="3174797"/>
                </a:lnTo>
                <a:lnTo>
                  <a:pt x="5811114" y="3242108"/>
                </a:lnTo>
                <a:lnTo>
                  <a:pt x="5799895" y="3309418"/>
                </a:lnTo>
                <a:lnTo>
                  <a:pt x="5799895" y="3354291"/>
                </a:lnTo>
                <a:lnTo>
                  <a:pt x="5799895" y="3387946"/>
                </a:lnTo>
                <a:lnTo>
                  <a:pt x="5811114" y="3444038"/>
                </a:lnTo>
                <a:lnTo>
                  <a:pt x="5822332" y="3500130"/>
                </a:lnTo>
                <a:lnTo>
                  <a:pt x="5844768" y="3545003"/>
                </a:lnTo>
                <a:lnTo>
                  <a:pt x="5878424" y="3578658"/>
                </a:lnTo>
                <a:lnTo>
                  <a:pt x="5912079" y="3612314"/>
                </a:lnTo>
                <a:lnTo>
                  <a:pt x="5945734" y="3645969"/>
                </a:lnTo>
                <a:lnTo>
                  <a:pt x="6024262" y="3679624"/>
                </a:lnTo>
                <a:lnTo>
                  <a:pt x="6091572" y="3702060"/>
                </a:lnTo>
                <a:lnTo>
                  <a:pt x="6158883" y="3702060"/>
                </a:lnTo>
                <a:lnTo>
                  <a:pt x="6226193" y="3702060"/>
                </a:lnTo>
                <a:lnTo>
                  <a:pt x="6360814" y="3713279"/>
                </a:lnTo>
                <a:lnTo>
                  <a:pt x="6484216" y="3735716"/>
                </a:lnTo>
                <a:lnTo>
                  <a:pt x="6573962" y="3769371"/>
                </a:lnTo>
                <a:lnTo>
                  <a:pt x="6652491" y="3803026"/>
                </a:lnTo>
                <a:lnTo>
                  <a:pt x="6708583" y="3847899"/>
                </a:lnTo>
                <a:lnTo>
                  <a:pt x="6753456" y="3881554"/>
                </a:lnTo>
                <a:lnTo>
                  <a:pt x="6787112" y="3926428"/>
                </a:lnTo>
                <a:lnTo>
                  <a:pt x="6809548" y="3960083"/>
                </a:lnTo>
                <a:lnTo>
                  <a:pt x="6831985" y="4004956"/>
                </a:lnTo>
                <a:lnTo>
                  <a:pt x="6843204" y="4038611"/>
                </a:lnTo>
                <a:lnTo>
                  <a:pt x="6843204" y="4072266"/>
                </a:lnTo>
                <a:lnTo>
                  <a:pt x="6831985" y="4105922"/>
                </a:lnTo>
                <a:lnTo>
                  <a:pt x="6809548" y="4139577"/>
                </a:lnTo>
                <a:lnTo>
                  <a:pt x="6764674" y="4195669"/>
                </a:lnTo>
                <a:lnTo>
                  <a:pt x="6708583" y="4240542"/>
                </a:lnTo>
                <a:lnTo>
                  <a:pt x="6652491" y="4274197"/>
                </a:lnTo>
                <a:lnTo>
                  <a:pt x="6596399" y="4296634"/>
                </a:lnTo>
                <a:lnTo>
                  <a:pt x="6529089" y="4319071"/>
                </a:lnTo>
                <a:lnTo>
                  <a:pt x="6484216" y="4341507"/>
                </a:lnTo>
                <a:lnTo>
                  <a:pt x="6394468" y="4408818"/>
                </a:lnTo>
                <a:lnTo>
                  <a:pt x="6338377" y="4476128"/>
                </a:lnTo>
                <a:lnTo>
                  <a:pt x="6293504" y="4554656"/>
                </a:lnTo>
                <a:lnTo>
                  <a:pt x="6259848" y="4621966"/>
                </a:lnTo>
                <a:lnTo>
                  <a:pt x="6248630" y="4678058"/>
                </a:lnTo>
                <a:lnTo>
                  <a:pt x="6248630" y="4722932"/>
                </a:lnTo>
                <a:lnTo>
                  <a:pt x="6237412" y="4812679"/>
                </a:lnTo>
                <a:lnTo>
                  <a:pt x="6214975" y="4879989"/>
                </a:lnTo>
                <a:lnTo>
                  <a:pt x="6192538" y="4947299"/>
                </a:lnTo>
                <a:lnTo>
                  <a:pt x="6158883" y="5003391"/>
                </a:lnTo>
                <a:lnTo>
                  <a:pt x="6091572" y="5093138"/>
                </a:lnTo>
                <a:lnTo>
                  <a:pt x="6024262" y="5171666"/>
                </a:lnTo>
                <a:lnTo>
                  <a:pt x="5945734" y="5216540"/>
                </a:lnTo>
                <a:lnTo>
                  <a:pt x="5878424" y="5250195"/>
                </a:lnTo>
                <a:lnTo>
                  <a:pt x="5822332" y="5261413"/>
                </a:lnTo>
                <a:lnTo>
                  <a:pt x="5743804" y="5295068"/>
                </a:lnTo>
                <a:lnTo>
                  <a:pt x="5676493" y="5317505"/>
                </a:lnTo>
                <a:lnTo>
                  <a:pt x="5631620" y="5351160"/>
                </a:lnTo>
                <a:lnTo>
                  <a:pt x="5586746" y="5384815"/>
                </a:lnTo>
                <a:lnTo>
                  <a:pt x="5553091" y="5418470"/>
                </a:lnTo>
                <a:lnTo>
                  <a:pt x="5530654" y="5452125"/>
                </a:lnTo>
                <a:lnTo>
                  <a:pt x="5497000" y="5530654"/>
                </a:lnTo>
                <a:lnTo>
                  <a:pt x="5497000" y="5586746"/>
                </a:lnTo>
                <a:lnTo>
                  <a:pt x="5497000" y="5642838"/>
                </a:lnTo>
                <a:lnTo>
                  <a:pt x="5519436" y="5698929"/>
                </a:lnTo>
                <a:lnTo>
                  <a:pt x="5541873" y="5755021"/>
                </a:lnTo>
                <a:lnTo>
                  <a:pt x="5553091" y="5811113"/>
                </a:lnTo>
                <a:lnTo>
                  <a:pt x="5553091" y="5867205"/>
                </a:lnTo>
                <a:lnTo>
                  <a:pt x="5530654" y="5912078"/>
                </a:lnTo>
                <a:lnTo>
                  <a:pt x="5497000" y="5979389"/>
                </a:lnTo>
                <a:lnTo>
                  <a:pt x="5474562" y="6013044"/>
                </a:lnTo>
                <a:lnTo>
                  <a:pt x="5384816" y="6069135"/>
                </a:lnTo>
                <a:lnTo>
                  <a:pt x="5283850" y="6091572"/>
                </a:lnTo>
                <a:lnTo>
                  <a:pt x="5205322" y="6102791"/>
                </a:lnTo>
                <a:lnTo>
                  <a:pt x="5126794" y="6102791"/>
                </a:lnTo>
                <a:lnTo>
                  <a:pt x="5070702" y="6091572"/>
                </a:lnTo>
                <a:lnTo>
                  <a:pt x="5025828" y="6080354"/>
                </a:lnTo>
                <a:lnTo>
                  <a:pt x="4980954" y="6057917"/>
                </a:lnTo>
                <a:lnTo>
                  <a:pt x="4857552" y="6001825"/>
                </a:lnTo>
                <a:lnTo>
                  <a:pt x="4734150" y="5968170"/>
                </a:lnTo>
                <a:lnTo>
                  <a:pt x="4633185" y="5934515"/>
                </a:lnTo>
                <a:lnTo>
                  <a:pt x="4532220" y="5923297"/>
                </a:lnTo>
                <a:lnTo>
                  <a:pt x="4431254" y="5923297"/>
                </a:lnTo>
                <a:lnTo>
                  <a:pt x="4341508" y="5934515"/>
                </a:lnTo>
                <a:lnTo>
                  <a:pt x="4262979" y="5945733"/>
                </a:lnTo>
                <a:lnTo>
                  <a:pt x="4195669" y="5968170"/>
                </a:lnTo>
                <a:lnTo>
                  <a:pt x="4083485" y="6024262"/>
                </a:lnTo>
                <a:lnTo>
                  <a:pt x="3993738" y="6080354"/>
                </a:lnTo>
                <a:lnTo>
                  <a:pt x="3926428" y="6136446"/>
                </a:lnTo>
                <a:lnTo>
                  <a:pt x="3814244" y="6248629"/>
                </a:lnTo>
                <a:lnTo>
                  <a:pt x="3702061" y="6327158"/>
                </a:lnTo>
                <a:lnTo>
                  <a:pt x="3601096" y="6383250"/>
                </a:lnTo>
                <a:lnTo>
                  <a:pt x="3511348" y="6416905"/>
                </a:lnTo>
                <a:lnTo>
                  <a:pt x="3432820" y="6428123"/>
                </a:lnTo>
                <a:lnTo>
                  <a:pt x="3365510" y="6428123"/>
                </a:lnTo>
                <a:lnTo>
                  <a:pt x="3320636" y="6428123"/>
                </a:lnTo>
                <a:lnTo>
                  <a:pt x="3208453" y="6405686"/>
                </a:lnTo>
                <a:lnTo>
                  <a:pt x="3118706" y="6372031"/>
                </a:lnTo>
                <a:lnTo>
                  <a:pt x="3051396" y="6315939"/>
                </a:lnTo>
                <a:lnTo>
                  <a:pt x="3006522" y="6271066"/>
                </a:lnTo>
                <a:lnTo>
                  <a:pt x="2972867" y="6214974"/>
                </a:lnTo>
                <a:lnTo>
                  <a:pt x="2950430" y="6170101"/>
                </a:lnTo>
                <a:lnTo>
                  <a:pt x="2939212" y="6136446"/>
                </a:lnTo>
                <a:lnTo>
                  <a:pt x="2916775" y="6035480"/>
                </a:lnTo>
                <a:lnTo>
                  <a:pt x="2871902" y="5956952"/>
                </a:lnTo>
                <a:lnTo>
                  <a:pt x="2827028" y="5900860"/>
                </a:lnTo>
                <a:lnTo>
                  <a:pt x="2770936" y="5867205"/>
                </a:lnTo>
                <a:lnTo>
                  <a:pt x="2714844" y="5844768"/>
                </a:lnTo>
                <a:lnTo>
                  <a:pt x="2669971" y="5833550"/>
                </a:lnTo>
                <a:lnTo>
                  <a:pt x="2625098" y="5833550"/>
                </a:lnTo>
                <a:lnTo>
                  <a:pt x="2535351" y="5833550"/>
                </a:lnTo>
                <a:lnTo>
                  <a:pt x="2468040" y="5811113"/>
                </a:lnTo>
                <a:lnTo>
                  <a:pt x="2400730" y="5777458"/>
                </a:lnTo>
                <a:lnTo>
                  <a:pt x="2344638" y="5743803"/>
                </a:lnTo>
                <a:lnTo>
                  <a:pt x="2310984" y="5698929"/>
                </a:lnTo>
                <a:lnTo>
                  <a:pt x="2277328" y="5665274"/>
                </a:lnTo>
                <a:lnTo>
                  <a:pt x="2254892" y="5631619"/>
                </a:lnTo>
                <a:lnTo>
                  <a:pt x="2221236" y="5575527"/>
                </a:lnTo>
                <a:lnTo>
                  <a:pt x="2176363" y="5541872"/>
                </a:lnTo>
                <a:lnTo>
                  <a:pt x="2120271" y="5508217"/>
                </a:lnTo>
                <a:lnTo>
                  <a:pt x="2075398" y="5485781"/>
                </a:lnTo>
                <a:lnTo>
                  <a:pt x="2019306" y="5474562"/>
                </a:lnTo>
                <a:lnTo>
                  <a:pt x="1963214" y="5463344"/>
                </a:lnTo>
                <a:lnTo>
                  <a:pt x="1851031" y="5463344"/>
                </a:lnTo>
                <a:lnTo>
                  <a:pt x="1750065" y="5485781"/>
                </a:lnTo>
                <a:lnTo>
                  <a:pt x="1660318" y="5508217"/>
                </a:lnTo>
                <a:lnTo>
                  <a:pt x="1581789" y="5541872"/>
                </a:lnTo>
                <a:lnTo>
                  <a:pt x="1435951" y="5586746"/>
                </a:lnTo>
                <a:lnTo>
                  <a:pt x="1301331" y="5609183"/>
                </a:lnTo>
                <a:lnTo>
                  <a:pt x="1177929" y="5620401"/>
                </a:lnTo>
                <a:lnTo>
                  <a:pt x="1076963" y="5631619"/>
                </a:lnTo>
                <a:lnTo>
                  <a:pt x="987216" y="5631619"/>
                </a:lnTo>
                <a:lnTo>
                  <a:pt x="897469" y="5620401"/>
                </a:lnTo>
                <a:lnTo>
                  <a:pt x="830159" y="5597964"/>
                </a:lnTo>
                <a:lnTo>
                  <a:pt x="774067" y="5586746"/>
                </a:lnTo>
                <a:lnTo>
                  <a:pt x="684321" y="5530654"/>
                </a:lnTo>
                <a:lnTo>
                  <a:pt x="639447" y="5485781"/>
                </a:lnTo>
                <a:lnTo>
                  <a:pt x="605792" y="5452125"/>
                </a:lnTo>
                <a:lnTo>
                  <a:pt x="594574" y="5429689"/>
                </a:lnTo>
                <a:lnTo>
                  <a:pt x="572137" y="5362379"/>
                </a:lnTo>
                <a:lnTo>
                  <a:pt x="549700" y="5283850"/>
                </a:lnTo>
                <a:lnTo>
                  <a:pt x="538482" y="5216540"/>
                </a:lnTo>
                <a:lnTo>
                  <a:pt x="538482" y="5149230"/>
                </a:lnTo>
                <a:lnTo>
                  <a:pt x="549700" y="5025828"/>
                </a:lnTo>
                <a:lnTo>
                  <a:pt x="583355" y="4913644"/>
                </a:lnTo>
                <a:lnTo>
                  <a:pt x="639447" y="4801460"/>
                </a:lnTo>
                <a:lnTo>
                  <a:pt x="706757" y="4711713"/>
                </a:lnTo>
                <a:lnTo>
                  <a:pt x="796504" y="4621966"/>
                </a:lnTo>
                <a:lnTo>
                  <a:pt x="886251" y="4554656"/>
                </a:lnTo>
                <a:lnTo>
                  <a:pt x="975998" y="4487346"/>
                </a:lnTo>
                <a:lnTo>
                  <a:pt x="1076963" y="4431254"/>
                </a:lnTo>
                <a:lnTo>
                  <a:pt x="1245239" y="4341507"/>
                </a:lnTo>
                <a:lnTo>
                  <a:pt x="1368641" y="4285416"/>
                </a:lnTo>
                <a:lnTo>
                  <a:pt x="1424733" y="4274197"/>
                </a:lnTo>
                <a:lnTo>
                  <a:pt x="1559353" y="4218105"/>
                </a:lnTo>
                <a:lnTo>
                  <a:pt x="1671537" y="4162013"/>
                </a:lnTo>
                <a:lnTo>
                  <a:pt x="1750065" y="4094703"/>
                </a:lnTo>
                <a:lnTo>
                  <a:pt x="1806157" y="4038611"/>
                </a:lnTo>
                <a:lnTo>
                  <a:pt x="1851031" y="3971301"/>
                </a:lnTo>
                <a:lnTo>
                  <a:pt x="1873467" y="3926428"/>
                </a:lnTo>
                <a:lnTo>
                  <a:pt x="1884685" y="3892773"/>
                </a:lnTo>
                <a:lnTo>
                  <a:pt x="1884685" y="3803026"/>
                </a:lnTo>
                <a:lnTo>
                  <a:pt x="1862249" y="3746934"/>
                </a:lnTo>
                <a:lnTo>
                  <a:pt x="1828593" y="3690842"/>
                </a:lnTo>
                <a:lnTo>
                  <a:pt x="1794939" y="3657187"/>
                </a:lnTo>
                <a:lnTo>
                  <a:pt x="1761283" y="3634750"/>
                </a:lnTo>
                <a:lnTo>
                  <a:pt x="1738847" y="3612314"/>
                </a:lnTo>
                <a:lnTo>
                  <a:pt x="1705191" y="3601095"/>
                </a:lnTo>
                <a:lnTo>
                  <a:pt x="1604227" y="3578658"/>
                </a:lnTo>
                <a:lnTo>
                  <a:pt x="1514479" y="3545003"/>
                </a:lnTo>
                <a:lnTo>
                  <a:pt x="1435951" y="3511348"/>
                </a:lnTo>
                <a:lnTo>
                  <a:pt x="1368641" y="3477693"/>
                </a:lnTo>
                <a:lnTo>
                  <a:pt x="1267675" y="3399165"/>
                </a:lnTo>
                <a:lnTo>
                  <a:pt x="1200365" y="3320636"/>
                </a:lnTo>
                <a:lnTo>
                  <a:pt x="1155492" y="3253326"/>
                </a:lnTo>
                <a:lnTo>
                  <a:pt x="1133055" y="3208452"/>
                </a:lnTo>
                <a:lnTo>
                  <a:pt x="1133055" y="3152361"/>
                </a:lnTo>
                <a:lnTo>
                  <a:pt x="1144273" y="3096269"/>
                </a:lnTo>
                <a:lnTo>
                  <a:pt x="1177929" y="3040177"/>
                </a:lnTo>
                <a:lnTo>
                  <a:pt x="1211583" y="2995304"/>
                </a:lnTo>
                <a:lnTo>
                  <a:pt x="1267675" y="2950430"/>
                </a:lnTo>
                <a:lnTo>
                  <a:pt x="1334985" y="2916775"/>
                </a:lnTo>
                <a:lnTo>
                  <a:pt x="1402296" y="2894338"/>
                </a:lnTo>
                <a:lnTo>
                  <a:pt x="1548135" y="2860683"/>
                </a:lnTo>
                <a:lnTo>
                  <a:pt x="1705191" y="2838247"/>
                </a:lnTo>
                <a:lnTo>
                  <a:pt x="1828593" y="2827028"/>
                </a:lnTo>
                <a:lnTo>
                  <a:pt x="1963214" y="2827028"/>
                </a:lnTo>
                <a:lnTo>
                  <a:pt x="2052961" y="2827028"/>
                </a:lnTo>
                <a:lnTo>
                  <a:pt x="2142708" y="2815810"/>
                </a:lnTo>
                <a:lnTo>
                  <a:pt x="2299765" y="2782155"/>
                </a:lnTo>
                <a:lnTo>
                  <a:pt x="2411949" y="2737281"/>
                </a:lnTo>
                <a:lnTo>
                  <a:pt x="2490477" y="2681189"/>
                </a:lnTo>
                <a:lnTo>
                  <a:pt x="2546569" y="2625098"/>
                </a:lnTo>
                <a:lnTo>
                  <a:pt x="2580224" y="2580224"/>
                </a:lnTo>
                <a:lnTo>
                  <a:pt x="2602661" y="2535351"/>
                </a:lnTo>
                <a:lnTo>
                  <a:pt x="2625098" y="2434385"/>
                </a:lnTo>
                <a:lnTo>
                  <a:pt x="2625098" y="2355857"/>
                </a:lnTo>
                <a:lnTo>
                  <a:pt x="2613879" y="2288547"/>
                </a:lnTo>
                <a:lnTo>
                  <a:pt x="2591442" y="2232455"/>
                </a:lnTo>
                <a:lnTo>
                  <a:pt x="2569006" y="2187581"/>
                </a:lnTo>
                <a:lnTo>
                  <a:pt x="2535351" y="2153926"/>
                </a:lnTo>
                <a:lnTo>
                  <a:pt x="2512914" y="2131490"/>
                </a:lnTo>
                <a:lnTo>
                  <a:pt x="2423167" y="2030524"/>
                </a:lnTo>
                <a:lnTo>
                  <a:pt x="2355857" y="1940777"/>
                </a:lnTo>
                <a:lnTo>
                  <a:pt x="2322202" y="1862249"/>
                </a:lnTo>
                <a:lnTo>
                  <a:pt x="2310984" y="1783720"/>
                </a:lnTo>
                <a:lnTo>
                  <a:pt x="2299765" y="1716410"/>
                </a:lnTo>
                <a:lnTo>
                  <a:pt x="2310984" y="1660318"/>
                </a:lnTo>
                <a:lnTo>
                  <a:pt x="2322202" y="1615445"/>
                </a:lnTo>
                <a:lnTo>
                  <a:pt x="2344638" y="1559353"/>
                </a:lnTo>
                <a:lnTo>
                  <a:pt x="2378294" y="1514479"/>
                </a:lnTo>
                <a:lnTo>
                  <a:pt x="2411949" y="1480824"/>
                </a:lnTo>
                <a:lnTo>
                  <a:pt x="2445604" y="1447169"/>
                </a:lnTo>
                <a:lnTo>
                  <a:pt x="2490477" y="1435951"/>
                </a:lnTo>
                <a:lnTo>
                  <a:pt x="2535351" y="1424732"/>
                </a:lnTo>
                <a:lnTo>
                  <a:pt x="2636316" y="1413514"/>
                </a:lnTo>
                <a:lnTo>
                  <a:pt x="2714844" y="1424732"/>
                </a:lnTo>
                <a:lnTo>
                  <a:pt x="2793373" y="1447169"/>
                </a:lnTo>
                <a:lnTo>
                  <a:pt x="2860683" y="1469606"/>
                </a:lnTo>
                <a:lnTo>
                  <a:pt x="2927994" y="1480824"/>
                </a:lnTo>
                <a:lnTo>
                  <a:pt x="2995304" y="1492043"/>
                </a:lnTo>
                <a:lnTo>
                  <a:pt x="3062614" y="1480824"/>
                </a:lnTo>
                <a:lnTo>
                  <a:pt x="3118706" y="1458388"/>
                </a:lnTo>
                <a:lnTo>
                  <a:pt x="3174798" y="1435951"/>
                </a:lnTo>
                <a:lnTo>
                  <a:pt x="3230890" y="1413514"/>
                </a:lnTo>
                <a:lnTo>
                  <a:pt x="3320636" y="1334986"/>
                </a:lnTo>
                <a:lnTo>
                  <a:pt x="3387946" y="1256457"/>
                </a:lnTo>
                <a:lnTo>
                  <a:pt x="3444038" y="1189147"/>
                </a:lnTo>
                <a:lnTo>
                  <a:pt x="3488912" y="1121837"/>
                </a:lnTo>
                <a:lnTo>
                  <a:pt x="3601096" y="897469"/>
                </a:lnTo>
                <a:lnTo>
                  <a:pt x="3724498" y="717975"/>
                </a:lnTo>
                <a:lnTo>
                  <a:pt x="3836681" y="583355"/>
                </a:lnTo>
                <a:lnTo>
                  <a:pt x="3960083" y="482390"/>
                </a:lnTo>
                <a:lnTo>
                  <a:pt x="4072267" y="415080"/>
                </a:lnTo>
                <a:lnTo>
                  <a:pt x="4184450" y="370206"/>
                </a:lnTo>
                <a:close/>
                <a:moveTo>
                  <a:pt x="3387946" y="0"/>
                </a:moveTo>
                <a:lnTo>
                  <a:pt x="3466475" y="11218"/>
                </a:lnTo>
                <a:lnTo>
                  <a:pt x="3533785" y="44874"/>
                </a:lnTo>
                <a:lnTo>
                  <a:pt x="3578659" y="89747"/>
                </a:lnTo>
                <a:lnTo>
                  <a:pt x="3612314" y="157057"/>
                </a:lnTo>
                <a:lnTo>
                  <a:pt x="3634750" y="224367"/>
                </a:lnTo>
                <a:lnTo>
                  <a:pt x="3634750" y="314114"/>
                </a:lnTo>
                <a:lnTo>
                  <a:pt x="3623532" y="403861"/>
                </a:lnTo>
                <a:lnTo>
                  <a:pt x="3589877" y="504827"/>
                </a:lnTo>
                <a:lnTo>
                  <a:pt x="3545004" y="605792"/>
                </a:lnTo>
                <a:lnTo>
                  <a:pt x="3477694" y="695539"/>
                </a:lnTo>
                <a:lnTo>
                  <a:pt x="3410383" y="785286"/>
                </a:lnTo>
                <a:lnTo>
                  <a:pt x="3320636" y="863814"/>
                </a:lnTo>
                <a:lnTo>
                  <a:pt x="3242108" y="931125"/>
                </a:lnTo>
                <a:lnTo>
                  <a:pt x="3152361" y="975998"/>
                </a:lnTo>
                <a:lnTo>
                  <a:pt x="3062614" y="998435"/>
                </a:lnTo>
                <a:lnTo>
                  <a:pt x="2984085" y="1009653"/>
                </a:lnTo>
                <a:lnTo>
                  <a:pt x="2905557" y="998435"/>
                </a:lnTo>
                <a:lnTo>
                  <a:pt x="2849465" y="964780"/>
                </a:lnTo>
                <a:lnTo>
                  <a:pt x="2793373" y="919906"/>
                </a:lnTo>
                <a:lnTo>
                  <a:pt x="2759718" y="852596"/>
                </a:lnTo>
                <a:lnTo>
                  <a:pt x="2737281" y="785286"/>
                </a:lnTo>
                <a:lnTo>
                  <a:pt x="2737281" y="695539"/>
                </a:lnTo>
                <a:lnTo>
                  <a:pt x="2748500" y="605792"/>
                </a:lnTo>
                <a:lnTo>
                  <a:pt x="2782155" y="504827"/>
                </a:lnTo>
                <a:lnTo>
                  <a:pt x="2827028" y="403861"/>
                </a:lnTo>
                <a:lnTo>
                  <a:pt x="2894338" y="314114"/>
                </a:lnTo>
                <a:lnTo>
                  <a:pt x="2972867" y="224367"/>
                </a:lnTo>
                <a:lnTo>
                  <a:pt x="3051396" y="145839"/>
                </a:lnTo>
                <a:lnTo>
                  <a:pt x="3141142" y="78529"/>
                </a:lnTo>
                <a:lnTo>
                  <a:pt x="3219671" y="33655"/>
                </a:lnTo>
                <a:lnTo>
                  <a:pt x="3309418" y="112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456935"/>
      </p:ext>
    </p:extLst>
  </p:cSld>
  <p:clrMapOvr>
    <a:masterClrMapping/>
  </p:clrMapOvr>
  <p:hf hdr="0" ftr="0" dt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40B9113C-ECF6-4798-96B2-DF89A79D62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5876529"/>
            <a:ext cx="21031200" cy="353774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23000" spc="-302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pPr marL="0" lvl="0" algn="ctr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4601199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209800" y="3883223"/>
            <a:ext cx="21209000" cy="5548862"/>
          </a:xfrm>
          <a:prstGeom prst="round2SameRect">
            <a:avLst>
              <a:gd name="adj1" fmla="val 11844"/>
              <a:gd name="adj2" fmla="val 0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789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015864" cy="13716000"/>
          </a:xfrm>
          <a:custGeom>
            <a:avLst/>
            <a:gdLst>
              <a:gd name="connsiteX0" fmla="*/ 0 w 8007932"/>
              <a:gd name="connsiteY0" fmla="*/ 0 h 6858000"/>
              <a:gd name="connsiteX1" fmla="*/ 6470584 w 8007932"/>
              <a:gd name="connsiteY1" fmla="*/ 0 h 6858000"/>
              <a:gd name="connsiteX2" fmla="*/ 6534374 w 8007932"/>
              <a:gd name="connsiteY2" fmla="*/ 43722 h 6858000"/>
              <a:gd name="connsiteX3" fmla="*/ 6078546 w 8007932"/>
              <a:gd name="connsiteY3" fmla="*/ 1922063 h 6858000"/>
              <a:gd name="connsiteX4" fmla="*/ 7399506 w 8007932"/>
              <a:gd name="connsiteY4" fmla="*/ 2149459 h 6858000"/>
              <a:gd name="connsiteX5" fmla="*/ 6759864 w 8007932"/>
              <a:gd name="connsiteY5" fmla="*/ 3051886 h 6858000"/>
              <a:gd name="connsiteX6" fmla="*/ 7987155 w 8007932"/>
              <a:gd name="connsiteY6" fmla="*/ 4135047 h 6858000"/>
              <a:gd name="connsiteX7" fmla="*/ 5568385 w 8007932"/>
              <a:gd name="connsiteY7" fmla="*/ 5490808 h 6858000"/>
              <a:gd name="connsiteX8" fmla="*/ 6513412 w 8007932"/>
              <a:gd name="connsiteY8" fmla="*/ 6824149 h 6858000"/>
              <a:gd name="connsiteX9" fmla="*/ 6455479 w 8007932"/>
              <a:gd name="connsiteY9" fmla="*/ 6858000 h 6858000"/>
              <a:gd name="connsiteX10" fmla="*/ 0 w 8007932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007932" h="6858000">
                <a:moveTo>
                  <a:pt x="0" y="0"/>
                </a:moveTo>
                <a:lnTo>
                  <a:pt x="6470584" y="0"/>
                </a:lnTo>
                <a:lnTo>
                  <a:pt x="6534374" y="43722"/>
                </a:lnTo>
                <a:cubicBezTo>
                  <a:pt x="6940225" y="441194"/>
                  <a:pt x="5927613" y="1582242"/>
                  <a:pt x="6078546" y="1922063"/>
                </a:cubicBezTo>
                <a:cubicBezTo>
                  <a:pt x="6239543" y="2284540"/>
                  <a:pt x="7135734" y="2038783"/>
                  <a:pt x="7399506" y="2149459"/>
                </a:cubicBezTo>
                <a:cubicBezTo>
                  <a:pt x="7663279" y="2260135"/>
                  <a:pt x="6620733" y="2832545"/>
                  <a:pt x="6759864" y="3051886"/>
                </a:cubicBezTo>
                <a:cubicBezTo>
                  <a:pt x="6898995" y="3271226"/>
                  <a:pt x="8185735" y="3728561"/>
                  <a:pt x="7987155" y="4135047"/>
                </a:cubicBezTo>
                <a:cubicBezTo>
                  <a:pt x="7788575" y="4541535"/>
                  <a:pt x="5827323" y="5034845"/>
                  <a:pt x="5568385" y="5490808"/>
                </a:cubicBezTo>
                <a:cubicBezTo>
                  <a:pt x="5325632" y="5918274"/>
                  <a:pt x="6791461" y="6564140"/>
                  <a:pt x="6513412" y="6824149"/>
                </a:cubicBezTo>
                <a:lnTo>
                  <a:pt x="6455479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  <a:effectLst>
            <a:outerShdw blurRad="342900" dist="304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3451930" y="6370329"/>
            <a:ext cx="6721020" cy="45540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36" y="1370173"/>
            <a:ext cx="21031200" cy="195597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08168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0" y="1"/>
            <a:ext cx="16015864" cy="13792454"/>
          </a:xfrm>
          <a:custGeom>
            <a:avLst/>
            <a:gdLst>
              <a:gd name="connsiteX0" fmla="*/ 4496241 w 8223593"/>
              <a:gd name="connsiteY0" fmla="*/ 0 h 6876803"/>
              <a:gd name="connsiteX1" fmla="*/ 6423323 w 8223593"/>
              <a:gd name="connsiteY1" fmla="*/ 0 h 6876803"/>
              <a:gd name="connsiteX2" fmla="*/ 6068906 w 8223593"/>
              <a:gd name="connsiteY2" fmla="*/ 1941978 h 6876803"/>
              <a:gd name="connsiteX3" fmla="*/ 8221231 w 8223593"/>
              <a:gd name="connsiteY3" fmla="*/ 3481071 h 6876803"/>
              <a:gd name="connsiteX4" fmla="*/ 5868307 w 8223593"/>
              <a:gd name="connsiteY4" fmla="*/ 4893507 h 6876803"/>
              <a:gd name="connsiteX5" fmla="*/ 5812495 w 8223593"/>
              <a:gd name="connsiteY5" fmla="*/ 4936249 h 6876803"/>
              <a:gd name="connsiteX6" fmla="*/ 5812495 w 8223593"/>
              <a:gd name="connsiteY6" fmla="*/ 5753814 h 6876803"/>
              <a:gd name="connsiteX7" fmla="*/ 5893382 w 8223593"/>
              <a:gd name="connsiteY7" fmla="*/ 5834499 h 6876803"/>
              <a:gd name="connsiteX8" fmla="*/ 6423324 w 8223593"/>
              <a:gd name="connsiteY8" fmla="*/ 6876803 h 6876803"/>
              <a:gd name="connsiteX9" fmla="*/ 5812495 w 8223593"/>
              <a:gd name="connsiteY9" fmla="*/ 6876803 h 6876803"/>
              <a:gd name="connsiteX10" fmla="*/ 5812495 w 8223593"/>
              <a:gd name="connsiteY10" fmla="*/ 6876803 h 6876803"/>
              <a:gd name="connsiteX11" fmla="*/ 0 w 8223593"/>
              <a:gd name="connsiteY11" fmla="*/ 6876803 h 6876803"/>
              <a:gd name="connsiteX12" fmla="*/ 0 w 8223593"/>
              <a:gd name="connsiteY12" fmla="*/ 6104 h 6876803"/>
              <a:gd name="connsiteX13" fmla="*/ 4496241 w 8223593"/>
              <a:gd name="connsiteY13" fmla="*/ 6104 h 6876803"/>
              <a:gd name="connsiteX0" fmla="*/ 4496241 w 8222020"/>
              <a:gd name="connsiteY0" fmla="*/ 0 h 6876803"/>
              <a:gd name="connsiteX1" fmla="*/ 6423323 w 8222020"/>
              <a:gd name="connsiteY1" fmla="*/ 0 h 6876803"/>
              <a:gd name="connsiteX2" fmla="*/ 6068906 w 8222020"/>
              <a:gd name="connsiteY2" fmla="*/ 1941978 h 6876803"/>
              <a:gd name="connsiteX3" fmla="*/ 8221231 w 8222020"/>
              <a:gd name="connsiteY3" fmla="*/ 3481071 h 6876803"/>
              <a:gd name="connsiteX4" fmla="*/ 5812495 w 8222020"/>
              <a:gd name="connsiteY4" fmla="*/ 4936249 h 6876803"/>
              <a:gd name="connsiteX5" fmla="*/ 5812495 w 8222020"/>
              <a:gd name="connsiteY5" fmla="*/ 5753814 h 6876803"/>
              <a:gd name="connsiteX6" fmla="*/ 5893382 w 8222020"/>
              <a:gd name="connsiteY6" fmla="*/ 5834499 h 6876803"/>
              <a:gd name="connsiteX7" fmla="*/ 6423324 w 8222020"/>
              <a:gd name="connsiteY7" fmla="*/ 6876803 h 6876803"/>
              <a:gd name="connsiteX8" fmla="*/ 5812495 w 8222020"/>
              <a:gd name="connsiteY8" fmla="*/ 6876803 h 6876803"/>
              <a:gd name="connsiteX9" fmla="*/ 5812495 w 8222020"/>
              <a:gd name="connsiteY9" fmla="*/ 6876803 h 6876803"/>
              <a:gd name="connsiteX10" fmla="*/ 0 w 8222020"/>
              <a:gd name="connsiteY10" fmla="*/ 6876803 h 6876803"/>
              <a:gd name="connsiteX11" fmla="*/ 0 w 8222020"/>
              <a:gd name="connsiteY11" fmla="*/ 6104 h 6876803"/>
              <a:gd name="connsiteX12" fmla="*/ 4496241 w 8222020"/>
              <a:gd name="connsiteY12" fmla="*/ 6104 h 6876803"/>
              <a:gd name="connsiteX13" fmla="*/ 4496241 w 8222020"/>
              <a:gd name="connsiteY13" fmla="*/ 0 h 6876803"/>
              <a:gd name="connsiteX0" fmla="*/ 4496241 w 8222020"/>
              <a:gd name="connsiteY0" fmla="*/ 0 h 6876803"/>
              <a:gd name="connsiteX1" fmla="*/ 6423323 w 8222020"/>
              <a:gd name="connsiteY1" fmla="*/ 0 h 6876803"/>
              <a:gd name="connsiteX2" fmla="*/ 6068906 w 8222020"/>
              <a:gd name="connsiteY2" fmla="*/ 1941978 h 6876803"/>
              <a:gd name="connsiteX3" fmla="*/ 8221231 w 8222020"/>
              <a:gd name="connsiteY3" fmla="*/ 3481071 h 6876803"/>
              <a:gd name="connsiteX4" fmla="*/ 5812495 w 8222020"/>
              <a:gd name="connsiteY4" fmla="*/ 5753814 h 6876803"/>
              <a:gd name="connsiteX5" fmla="*/ 5893382 w 8222020"/>
              <a:gd name="connsiteY5" fmla="*/ 5834499 h 6876803"/>
              <a:gd name="connsiteX6" fmla="*/ 6423324 w 8222020"/>
              <a:gd name="connsiteY6" fmla="*/ 6876803 h 6876803"/>
              <a:gd name="connsiteX7" fmla="*/ 5812495 w 8222020"/>
              <a:gd name="connsiteY7" fmla="*/ 6876803 h 6876803"/>
              <a:gd name="connsiteX8" fmla="*/ 5812495 w 8222020"/>
              <a:gd name="connsiteY8" fmla="*/ 6876803 h 6876803"/>
              <a:gd name="connsiteX9" fmla="*/ 0 w 8222020"/>
              <a:gd name="connsiteY9" fmla="*/ 6876803 h 6876803"/>
              <a:gd name="connsiteX10" fmla="*/ 0 w 8222020"/>
              <a:gd name="connsiteY10" fmla="*/ 6104 h 6876803"/>
              <a:gd name="connsiteX11" fmla="*/ 4496241 w 8222020"/>
              <a:gd name="connsiteY11" fmla="*/ 6104 h 6876803"/>
              <a:gd name="connsiteX12" fmla="*/ 4496241 w 8222020"/>
              <a:gd name="connsiteY12" fmla="*/ 0 h 6876803"/>
              <a:gd name="connsiteX0" fmla="*/ 4496241 w 8221606"/>
              <a:gd name="connsiteY0" fmla="*/ 0 h 6876803"/>
              <a:gd name="connsiteX1" fmla="*/ 6423323 w 8221606"/>
              <a:gd name="connsiteY1" fmla="*/ 0 h 6876803"/>
              <a:gd name="connsiteX2" fmla="*/ 6068906 w 8221606"/>
              <a:gd name="connsiteY2" fmla="*/ 1941978 h 6876803"/>
              <a:gd name="connsiteX3" fmla="*/ 8221231 w 8221606"/>
              <a:gd name="connsiteY3" fmla="*/ 3481071 h 6876803"/>
              <a:gd name="connsiteX4" fmla="*/ 5893382 w 8221606"/>
              <a:gd name="connsiteY4" fmla="*/ 5834499 h 6876803"/>
              <a:gd name="connsiteX5" fmla="*/ 6423324 w 8221606"/>
              <a:gd name="connsiteY5" fmla="*/ 6876803 h 6876803"/>
              <a:gd name="connsiteX6" fmla="*/ 5812495 w 8221606"/>
              <a:gd name="connsiteY6" fmla="*/ 6876803 h 6876803"/>
              <a:gd name="connsiteX7" fmla="*/ 5812495 w 8221606"/>
              <a:gd name="connsiteY7" fmla="*/ 6876803 h 6876803"/>
              <a:gd name="connsiteX8" fmla="*/ 0 w 8221606"/>
              <a:gd name="connsiteY8" fmla="*/ 6876803 h 6876803"/>
              <a:gd name="connsiteX9" fmla="*/ 0 w 8221606"/>
              <a:gd name="connsiteY9" fmla="*/ 6104 h 6876803"/>
              <a:gd name="connsiteX10" fmla="*/ 4496241 w 8221606"/>
              <a:gd name="connsiteY10" fmla="*/ 6104 h 6876803"/>
              <a:gd name="connsiteX11" fmla="*/ 4496241 w 8221606"/>
              <a:gd name="connsiteY11" fmla="*/ 0 h 6876803"/>
              <a:gd name="connsiteX0" fmla="*/ 4496241 w 8221606"/>
              <a:gd name="connsiteY0" fmla="*/ 0 h 6876803"/>
              <a:gd name="connsiteX1" fmla="*/ 6423323 w 8221606"/>
              <a:gd name="connsiteY1" fmla="*/ 0 h 6876803"/>
              <a:gd name="connsiteX2" fmla="*/ 6068906 w 8221606"/>
              <a:gd name="connsiteY2" fmla="*/ 1941978 h 6876803"/>
              <a:gd name="connsiteX3" fmla="*/ 8221231 w 8221606"/>
              <a:gd name="connsiteY3" fmla="*/ 3481071 h 6876803"/>
              <a:gd name="connsiteX4" fmla="*/ 5893382 w 8221606"/>
              <a:gd name="connsiteY4" fmla="*/ 5834499 h 6876803"/>
              <a:gd name="connsiteX5" fmla="*/ 6423324 w 8221606"/>
              <a:gd name="connsiteY5" fmla="*/ 6876803 h 6876803"/>
              <a:gd name="connsiteX6" fmla="*/ 5812495 w 8221606"/>
              <a:gd name="connsiteY6" fmla="*/ 6876803 h 6876803"/>
              <a:gd name="connsiteX7" fmla="*/ 5812495 w 8221606"/>
              <a:gd name="connsiteY7" fmla="*/ 6876803 h 6876803"/>
              <a:gd name="connsiteX8" fmla="*/ 0 w 8221606"/>
              <a:gd name="connsiteY8" fmla="*/ 6876803 h 6876803"/>
              <a:gd name="connsiteX9" fmla="*/ 0 w 8221606"/>
              <a:gd name="connsiteY9" fmla="*/ 6104 h 6876803"/>
              <a:gd name="connsiteX10" fmla="*/ 4496241 w 8221606"/>
              <a:gd name="connsiteY10" fmla="*/ 6104 h 6876803"/>
              <a:gd name="connsiteX11" fmla="*/ 4496241 w 8221606"/>
              <a:gd name="connsiteY11" fmla="*/ 0 h 6876803"/>
              <a:gd name="connsiteX0" fmla="*/ 4496241 w 8224223"/>
              <a:gd name="connsiteY0" fmla="*/ 0 h 6876803"/>
              <a:gd name="connsiteX1" fmla="*/ 6423323 w 8224223"/>
              <a:gd name="connsiteY1" fmla="*/ 0 h 6876803"/>
              <a:gd name="connsiteX2" fmla="*/ 6068906 w 8224223"/>
              <a:gd name="connsiteY2" fmla="*/ 1941978 h 6876803"/>
              <a:gd name="connsiteX3" fmla="*/ 8221231 w 8224223"/>
              <a:gd name="connsiteY3" fmla="*/ 3481071 h 6876803"/>
              <a:gd name="connsiteX4" fmla="*/ 5559554 w 8224223"/>
              <a:gd name="connsiteY4" fmla="*/ 5500671 h 6876803"/>
              <a:gd name="connsiteX5" fmla="*/ 6423324 w 8224223"/>
              <a:gd name="connsiteY5" fmla="*/ 6876803 h 6876803"/>
              <a:gd name="connsiteX6" fmla="*/ 5812495 w 8224223"/>
              <a:gd name="connsiteY6" fmla="*/ 6876803 h 6876803"/>
              <a:gd name="connsiteX7" fmla="*/ 5812495 w 8224223"/>
              <a:gd name="connsiteY7" fmla="*/ 6876803 h 6876803"/>
              <a:gd name="connsiteX8" fmla="*/ 0 w 8224223"/>
              <a:gd name="connsiteY8" fmla="*/ 6876803 h 6876803"/>
              <a:gd name="connsiteX9" fmla="*/ 0 w 8224223"/>
              <a:gd name="connsiteY9" fmla="*/ 6104 h 6876803"/>
              <a:gd name="connsiteX10" fmla="*/ 4496241 w 8224223"/>
              <a:gd name="connsiteY10" fmla="*/ 6104 h 6876803"/>
              <a:gd name="connsiteX11" fmla="*/ 4496241 w 8224223"/>
              <a:gd name="connsiteY11" fmla="*/ 0 h 6876803"/>
              <a:gd name="connsiteX0" fmla="*/ 4496241 w 8224223"/>
              <a:gd name="connsiteY0" fmla="*/ 0 h 6876803"/>
              <a:gd name="connsiteX1" fmla="*/ 6423323 w 8224223"/>
              <a:gd name="connsiteY1" fmla="*/ 0 h 6876803"/>
              <a:gd name="connsiteX2" fmla="*/ 6068906 w 8224223"/>
              <a:gd name="connsiteY2" fmla="*/ 1941978 h 6876803"/>
              <a:gd name="connsiteX3" fmla="*/ 8221231 w 8224223"/>
              <a:gd name="connsiteY3" fmla="*/ 3481071 h 6876803"/>
              <a:gd name="connsiteX4" fmla="*/ 5559554 w 8224223"/>
              <a:gd name="connsiteY4" fmla="*/ 5500671 h 6876803"/>
              <a:gd name="connsiteX5" fmla="*/ 6423324 w 8224223"/>
              <a:gd name="connsiteY5" fmla="*/ 6876803 h 6876803"/>
              <a:gd name="connsiteX6" fmla="*/ 5812495 w 8224223"/>
              <a:gd name="connsiteY6" fmla="*/ 6876803 h 6876803"/>
              <a:gd name="connsiteX7" fmla="*/ 5812495 w 8224223"/>
              <a:gd name="connsiteY7" fmla="*/ 6876803 h 6876803"/>
              <a:gd name="connsiteX8" fmla="*/ 0 w 8224223"/>
              <a:gd name="connsiteY8" fmla="*/ 6876803 h 6876803"/>
              <a:gd name="connsiteX9" fmla="*/ 0 w 8224223"/>
              <a:gd name="connsiteY9" fmla="*/ 6104 h 6876803"/>
              <a:gd name="connsiteX10" fmla="*/ 4496241 w 8224223"/>
              <a:gd name="connsiteY10" fmla="*/ 6104 h 6876803"/>
              <a:gd name="connsiteX11" fmla="*/ 4496241 w 8224223"/>
              <a:gd name="connsiteY11" fmla="*/ 0 h 6876803"/>
              <a:gd name="connsiteX0" fmla="*/ 4496241 w 8248707"/>
              <a:gd name="connsiteY0" fmla="*/ 0 h 6876803"/>
              <a:gd name="connsiteX1" fmla="*/ 6423323 w 8248707"/>
              <a:gd name="connsiteY1" fmla="*/ 0 h 6876803"/>
              <a:gd name="connsiteX2" fmla="*/ 6068906 w 8248707"/>
              <a:gd name="connsiteY2" fmla="*/ 1941978 h 6876803"/>
              <a:gd name="connsiteX3" fmla="*/ 6894286 w 8248707"/>
              <a:gd name="connsiteY3" fmla="*/ 2473533 h 6876803"/>
              <a:gd name="connsiteX4" fmla="*/ 8221231 w 8248707"/>
              <a:gd name="connsiteY4" fmla="*/ 3481071 h 6876803"/>
              <a:gd name="connsiteX5" fmla="*/ 5559554 w 8248707"/>
              <a:gd name="connsiteY5" fmla="*/ 5500671 h 6876803"/>
              <a:gd name="connsiteX6" fmla="*/ 6423324 w 8248707"/>
              <a:gd name="connsiteY6" fmla="*/ 6876803 h 6876803"/>
              <a:gd name="connsiteX7" fmla="*/ 5812495 w 8248707"/>
              <a:gd name="connsiteY7" fmla="*/ 6876803 h 6876803"/>
              <a:gd name="connsiteX8" fmla="*/ 5812495 w 8248707"/>
              <a:gd name="connsiteY8" fmla="*/ 6876803 h 6876803"/>
              <a:gd name="connsiteX9" fmla="*/ 0 w 8248707"/>
              <a:gd name="connsiteY9" fmla="*/ 6876803 h 6876803"/>
              <a:gd name="connsiteX10" fmla="*/ 0 w 8248707"/>
              <a:gd name="connsiteY10" fmla="*/ 6104 h 6876803"/>
              <a:gd name="connsiteX11" fmla="*/ 4496241 w 8248707"/>
              <a:gd name="connsiteY11" fmla="*/ 6104 h 6876803"/>
              <a:gd name="connsiteX12" fmla="*/ 4496241 w 8248707"/>
              <a:gd name="connsiteY12" fmla="*/ 0 h 6876803"/>
              <a:gd name="connsiteX0" fmla="*/ 4496241 w 8290402"/>
              <a:gd name="connsiteY0" fmla="*/ 0 h 6876803"/>
              <a:gd name="connsiteX1" fmla="*/ 6423323 w 8290402"/>
              <a:gd name="connsiteY1" fmla="*/ 0 h 6876803"/>
              <a:gd name="connsiteX2" fmla="*/ 6068906 w 8290402"/>
              <a:gd name="connsiteY2" fmla="*/ 1941978 h 6876803"/>
              <a:gd name="connsiteX3" fmla="*/ 7387771 w 8290402"/>
              <a:gd name="connsiteY3" fmla="*/ 2168733 h 6876803"/>
              <a:gd name="connsiteX4" fmla="*/ 8221231 w 8290402"/>
              <a:gd name="connsiteY4" fmla="*/ 3481071 h 6876803"/>
              <a:gd name="connsiteX5" fmla="*/ 5559554 w 8290402"/>
              <a:gd name="connsiteY5" fmla="*/ 5500671 h 6876803"/>
              <a:gd name="connsiteX6" fmla="*/ 6423324 w 8290402"/>
              <a:gd name="connsiteY6" fmla="*/ 6876803 h 6876803"/>
              <a:gd name="connsiteX7" fmla="*/ 5812495 w 8290402"/>
              <a:gd name="connsiteY7" fmla="*/ 6876803 h 6876803"/>
              <a:gd name="connsiteX8" fmla="*/ 5812495 w 8290402"/>
              <a:gd name="connsiteY8" fmla="*/ 6876803 h 6876803"/>
              <a:gd name="connsiteX9" fmla="*/ 0 w 8290402"/>
              <a:gd name="connsiteY9" fmla="*/ 6876803 h 6876803"/>
              <a:gd name="connsiteX10" fmla="*/ 0 w 8290402"/>
              <a:gd name="connsiteY10" fmla="*/ 6104 h 6876803"/>
              <a:gd name="connsiteX11" fmla="*/ 4496241 w 8290402"/>
              <a:gd name="connsiteY11" fmla="*/ 6104 h 6876803"/>
              <a:gd name="connsiteX12" fmla="*/ 4496241 w 8290402"/>
              <a:gd name="connsiteY12" fmla="*/ 0 h 6876803"/>
              <a:gd name="connsiteX0" fmla="*/ 4496241 w 8272913"/>
              <a:gd name="connsiteY0" fmla="*/ 0 h 6876803"/>
              <a:gd name="connsiteX1" fmla="*/ 6423323 w 8272913"/>
              <a:gd name="connsiteY1" fmla="*/ 0 h 6876803"/>
              <a:gd name="connsiteX2" fmla="*/ 6068906 w 8272913"/>
              <a:gd name="connsiteY2" fmla="*/ 1941978 h 6876803"/>
              <a:gd name="connsiteX3" fmla="*/ 7387771 w 8272913"/>
              <a:gd name="connsiteY3" fmla="*/ 2168733 h 6876803"/>
              <a:gd name="connsiteX4" fmla="*/ 8221231 w 8272913"/>
              <a:gd name="connsiteY4" fmla="*/ 3481071 h 6876803"/>
              <a:gd name="connsiteX5" fmla="*/ 5559554 w 8272913"/>
              <a:gd name="connsiteY5" fmla="*/ 5500671 h 6876803"/>
              <a:gd name="connsiteX6" fmla="*/ 6423324 w 8272913"/>
              <a:gd name="connsiteY6" fmla="*/ 6876803 h 6876803"/>
              <a:gd name="connsiteX7" fmla="*/ 5812495 w 8272913"/>
              <a:gd name="connsiteY7" fmla="*/ 6876803 h 6876803"/>
              <a:gd name="connsiteX8" fmla="*/ 5812495 w 8272913"/>
              <a:gd name="connsiteY8" fmla="*/ 6876803 h 6876803"/>
              <a:gd name="connsiteX9" fmla="*/ 0 w 8272913"/>
              <a:gd name="connsiteY9" fmla="*/ 6876803 h 6876803"/>
              <a:gd name="connsiteX10" fmla="*/ 0 w 8272913"/>
              <a:gd name="connsiteY10" fmla="*/ 6104 h 6876803"/>
              <a:gd name="connsiteX11" fmla="*/ 4496241 w 8272913"/>
              <a:gd name="connsiteY11" fmla="*/ 6104 h 6876803"/>
              <a:gd name="connsiteX12" fmla="*/ 4496241 w 8272913"/>
              <a:gd name="connsiteY12" fmla="*/ 0 h 6876803"/>
              <a:gd name="connsiteX0" fmla="*/ 4496241 w 8238914"/>
              <a:gd name="connsiteY0" fmla="*/ 0 h 6876803"/>
              <a:gd name="connsiteX1" fmla="*/ 6423323 w 8238914"/>
              <a:gd name="connsiteY1" fmla="*/ 0 h 6876803"/>
              <a:gd name="connsiteX2" fmla="*/ 6068906 w 8238914"/>
              <a:gd name="connsiteY2" fmla="*/ 1941978 h 6876803"/>
              <a:gd name="connsiteX3" fmla="*/ 7387771 w 8238914"/>
              <a:gd name="connsiteY3" fmla="*/ 2168733 h 6876803"/>
              <a:gd name="connsiteX4" fmla="*/ 6749143 w 8238914"/>
              <a:gd name="connsiteY4" fmla="*/ 3068618 h 6876803"/>
              <a:gd name="connsiteX5" fmla="*/ 8221231 w 8238914"/>
              <a:gd name="connsiteY5" fmla="*/ 3481071 h 6876803"/>
              <a:gd name="connsiteX6" fmla="*/ 5559554 w 8238914"/>
              <a:gd name="connsiteY6" fmla="*/ 5500671 h 6876803"/>
              <a:gd name="connsiteX7" fmla="*/ 6423324 w 8238914"/>
              <a:gd name="connsiteY7" fmla="*/ 6876803 h 6876803"/>
              <a:gd name="connsiteX8" fmla="*/ 5812495 w 8238914"/>
              <a:gd name="connsiteY8" fmla="*/ 6876803 h 6876803"/>
              <a:gd name="connsiteX9" fmla="*/ 5812495 w 8238914"/>
              <a:gd name="connsiteY9" fmla="*/ 6876803 h 6876803"/>
              <a:gd name="connsiteX10" fmla="*/ 0 w 8238914"/>
              <a:gd name="connsiteY10" fmla="*/ 6876803 h 6876803"/>
              <a:gd name="connsiteX11" fmla="*/ 0 w 8238914"/>
              <a:gd name="connsiteY11" fmla="*/ 6104 h 6876803"/>
              <a:gd name="connsiteX12" fmla="*/ 4496241 w 8238914"/>
              <a:gd name="connsiteY12" fmla="*/ 6104 h 6876803"/>
              <a:gd name="connsiteX13" fmla="*/ 4496241 w 8238914"/>
              <a:gd name="connsiteY13" fmla="*/ 0 h 6876803"/>
              <a:gd name="connsiteX0" fmla="*/ 4496241 w 7995232"/>
              <a:gd name="connsiteY0" fmla="*/ 0 h 6876803"/>
              <a:gd name="connsiteX1" fmla="*/ 6423323 w 7995232"/>
              <a:gd name="connsiteY1" fmla="*/ 0 h 6876803"/>
              <a:gd name="connsiteX2" fmla="*/ 6068906 w 7995232"/>
              <a:gd name="connsiteY2" fmla="*/ 1941978 h 6876803"/>
              <a:gd name="connsiteX3" fmla="*/ 7387771 w 7995232"/>
              <a:gd name="connsiteY3" fmla="*/ 2168733 h 6876803"/>
              <a:gd name="connsiteX4" fmla="*/ 6749143 w 7995232"/>
              <a:gd name="connsiteY4" fmla="*/ 3068618 h 6876803"/>
              <a:gd name="connsiteX5" fmla="*/ 7974488 w 7995232"/>
              <a:gd name="connsiteY5" fmla="*/ 4148729 h 6876803"/>
              <a:gd name="connsiteX6" fmla="*/ 5559554 w 7995232"/>
              <a:gd name="connsiteY6" fmla="*/ 5500671 h 6876803"/>
              <a:gd name="connsiteX7" fmla="*/ 6423324 w 7995232"/>
              <a:gd name="connsiteY7" fmla="*/ 6876803 h 6876803"/>
              <a:gd name="connsiteX8" fmla="*/ 5812495 w 7995232"/>
              <a:gd name="connsiteY8" fmla="*/ 6876803 h 6876803"/>
              <a:gd name="connsiteX9" fmla="*/ 5812495 w 7995232"/>
              <a:gd name="connsiteY9" fmla="*/ 6876803 h 6876803"/>
              <a:gd name="connsiteX10" fmla="*/ 0 w 7995232"/>
              <a:gd name="connsiteY10" fmla="*/ 6876803 h 6876803"/>
              <a:gd name="connsiteX11" fmla="*/ 0 w 7995232"/>
              <a:gd name="connsiteY11" fmla="*/ 6104 h 6876803"/>
              <a:gd name="connsiteX12" fmla="*/ 4496241 w 7995232"/>
              <a:gd name="connsiteY12" fmla="*/ 6104 h 6876803"/>
              <a:gd name="connsiteX13" fmla="*/ 4496241 w 7995232"/>
              <a:gd name="connsiteY13" fmla="*/ 0 h 6876803"/>
              <a:gd name="connsiteX0" fmla="*/ 4496241 w 7995232"/>
              <a:gd name="connsiteY0" fmla="*/ 6104 h 6876803"/>
              <a:gd name="connsiteX1" fmla="*/ 6423323 w 7995232"/>
              <a:gd name="connsiteY1" fmla="*/ 0 h 6876803"/>
              <a:gd name="connsiteX2" fmla="*/ 6068906 w 7995232"/>
              <a:gd name="connsiteY2" fmla="*/ 1941978 h 6876803"/>
              <a:gd name="connsiteX3" fmla="*/ 7387771 w 7995232"/>
              <a:gd name="connsiteY3" fmla="*/ 2168733 h 6876803"/>
              <a:gd name="connsiteX4" fmla="*/ 6749143 w 7995232"/>
              <a:gd name="connsiteY4" fmla="*/ 3068618 h 6876803"/>
              <a:gd name="connsiteX5" fmla="*/ 7974488 w 7995232"/>
              <a:gd name="connsiteY5" fmla="*/ 4148729 h 6876803"/>
              <a:gd name="connsiteX6" fmla="*/ 5559554 w 7995232"/>
              <a:gd name="connsiteY6" fmla="*/ 5500671 h 6876803"/>
              <a:gd name="connsiteX7" fmla="*/ 6423324 w 7995232"/>
              <a:gd name="connsiteY7" fmla="*/ 6876803 h 6876803"/>
              <a:gd name="connsiteX8" fmla="*/ 5812495 w 7995232"/>
              <a:gd name="connsiteY8" fmla="*/ 6876803 h 6876803"/>
              <a:gd name="connsiteX9" fmla="*/ 5812495 w 7995232"/>
              <a:gd name="connsiteY9" fmla="*/ 6876803 h 6876803"/>
              <a:gd name="connsiteX10" fmla="*/ 0 w 7995232"/>
              <a:gd name="connsiteY10" fmla="*/ 6876803 h 6876803"/>
              <a:gd name="connsiteX11" fmla="*/ 0 w 7995232"/>
              <a:gd name="connsiteY11" fmla="*/ 6104 h 6876803"/>
              <a:gd name="connsiteX12" fmla="*/ 4496241 w 7995232"/>
              <a:gd name="connsiteY12" fmla="*/ 6104 h 6876803"/>
              <a:gd name="connsiteX0" fmla="*/ 0 w 7995232"/>
              <a:gd name="connsiteY0" fmla="*/ 6104 h 6876803"/>
              <a:gd name="connsiteX1" fmla="*/ 6423323 w 7995232"/>
              <a:gd name="connsiteY1" fmla="*/ 0 h 6876803"/>
              <a:gd name="connsiteX2" fmla="*/ 6068906 w 7995232"/>
              <a:gd name="connsiteY2" fmla="*/ 1941978 h 6876803"/>
              <a:gd name="connsiteX3" fmla="*/ 7387771 w 7995232"/>
              <a:gd name="connsiteY3" fmla="*/ 2168733 h 6876803"/>
              <a:gd name="connsiteX4" fmla="*/ 6749143 w 7995232"/>
              <a:gd name="connsiteY4" fmla="*/ 3068618 h 6876803"/>
              <a:gd name="connsiteX5" fmla="*/ 7974488 w 7995232"/>
              <a:gd name="connsiteY5" fmla="*/ 4148729 h 6876803"/>
              <a:gd name="connsiteX6" fmla="*/ 5559554 w 7995232"/>
              <a:gd name="connsiteY6" fmla="*/ 5500671 h 6876803"/>
              <a:gd name="connsiteX7" fmla="*/ 6423324 w 7995232"/>
              <a:gd name="connsiteY7" fmla="*/ 6876803 h 6876803"/>
              <a:gd name="connsiteX8" fmla="*/ 5812495 w 7995232"/>
              <a:gd name="connsiteY8" fmla="*/ 6876803 h 6876803"/>
              <a:gd name="connsiteX9" fmla="*/ 5812495 w 7995232"/>
              <a:gd name="connsiteY9" fmla="*/ 6876803 h 6876803"/>
              <a:gd name="connsiteX10" fmla="*/ 0 w 7995232"/>
              <a:gd name="connsiteY10" fmla="*/ 6876803 h 6876803"/>
              <a:gd name="connsiteX11" fmla="*/ 0 w 7995232"/>
              <a:gd name="connsiteY11" fmla="*/ 6104 h 6876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95232" h="6876803">
                <a:moveTo>
                  <a:pt x="0" y="6104"/>
                </a:moveTo>
                <a:lnTo>
                  <a:pt x="6423323" y="0"/>
                </a:lnTo>
                <a:cubicBezTo>
                  <a:pt x="7069182" y="310018"/>
                  <a:pt x="5908165" y="1580523"/>
                  <a:pt x="6068906" y="1941978"/>
                </a:cubicBezTo>
                <a:cubicBezTo>
                  <a:pt x="6229647" y="2303434"/>
                  <a:pt x="7124417" y="2058369"/>
                  <a:pt x="7387771" y="2168733"/>
                </a:cubicBezTo>
                <a:cubicBezTo>
                  <a:pt x="7651125" y="2279097"/>
                  <a:pt x="6610233" y="2849895"/>
                  <a:pt x="6749143" y="3068618"/>
                </a:cubicBezTo>
                <a:cubicBezTo>
                  <a:pt x="6888053" y="3287341"/>
                  <a:pt x="8172753" y="3743387"/>
                  <a:pt x="7974488" y="4148729"/>
                </a:cubicBezTo>
                <a:cubicBezTo>
                  <a:pt x="7776223" y="4554071"/>
                  <a:pt x="5818081" y="5045992"/>
                  <a:pt x="5559554" y="5500671"/>
                </a:cubicBezTo>
                <a:cubicBezTo>
                  <a:pt x="5301027" y="5955350"/>
                  <a:pt x="6983405" y="6657820"/>
                  <a:pt x="6423324" y="6876803"/>
                </a:cubicBezTo>
                <a:lnTo>
                  <a:pt x="5812495" y="6876803"/>
                </a:lnTo>
                <a:lnTo>
                  <a:pt x="5812495" y="6876803"/>
                </a:lnTo>
                <a:lnTo>
                  <a:pt x="0" y="6876803"/>
                </a:lnTo>
                <a:lnTo>
                  <a:pt x="0" y="6104"/>
                </a:lnTo>
                <a:close/>
              </a:path>
            </a:pathLst>
          </a:custGeom>
          <a:gradFill>
            <a:gsLst>
              <a:gs pos="100000">
                <a:schemeClr val="accent1">
                  <a:alpha val="90000"/>
                </a:schemeClr>
              </a:gs>
              <a:gs pos="0">
                <a:schemeClr val="accent2">
                  <a:alpha val="90000"/>
                </a:schemeClr>
              </a:gs>
            </a:gsLst>
            <a:lin ang="8100000" scaled="1"/>
          </a:gradFill>
          <a:ln>
            <a:noFill/>
          </a:ln>
          <a:effectLst>
            <a:outerShdw blurRad="342900" dist="304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36" y="1370173"/>
            <a:ext cx="21031200" cy="19559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951548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/>
          <a:p>
            <a:fld id="{40B9113C-ECF6-4798-96B2-DF89A79D62DB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421514" y="8204202"/>
            <a:ext cx="15962488" cy="5511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421506" y="0"/>
            <a:ext cx="15962492" cy="10414000"/>
          </a:xfrm>
          <a:custGeom>
            <a:avLst/>
            <a:gdLst>
              <a:gd name="connsiteX0" fmla="*/ 0 w 7981246"/>
              <a:gd name="connsiteY0" fmla="*/ 0 h 5207000"/>
              <a:gd name="connsiteX1" fmla="*/ 7981245 w 7981246"/>
              <a:gd name="connsiteY1" fmla="*/ 0 h 5207000"/>
              <a:gd name="connsiteX2" fmla="*/ 7981245 w 7981246"/>
              <a:gd name="connsiteY2" fmla="*/ 4121519 h 5207000"/>
              <a:gd name="connsiteX3" fmla="*/ 7981246 w 7981246"/>
              <a:gd name="connsiteY3" fmla="*/ 4121519 h 5207000"/>
              <a:gd name="connsiteX4" fmla="*/ 7981246 w 7981246"/>
              <a:gd name="connsiteY4" fmla="*/ 4682725 h 5207000"/>
              <a:gd name="connsiteX5" fmla="*/ 5727378 w 7981246"/>
              <a:gd name="connsiteY5" fmla="*/ 4579512 h 5207000"/>
              <a:gd name="connsiteX6" fmla="*/ 3941100 w 7981246"/>
              <a:gd name="connsiteY6" fmla="*/ 5206312 h 5207000"/>
              <a:gd name="connsiteX7" fmla="*/ 2050305 w 7981246"/>
              <a:gd name="connsiteY7" fmla="*/ 4448322 h 5207000"/>
              <a:gd name="connsiteX8" fmla="*/ 0 w 7981246"/>
              <a:gd name="connsiteY8" fmla="*/ 4682725 h 5207000"/>
              <a:gd name="connsiteX9" fmla="*/ 0 w 7981246"/>
              <a:gd name="connsiteY9" fmla="*/ 4418985 h 5207000"/>
              <a:gd name="connsiteX10" fmla="*/ 0 w 7981246"/>
              <a:gd name="connsiteY10" fmla="*/ 4121519 h 520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981246" h="5207000">
                <a:moveTo>
                  <a:pt x="0" y="0"/>
                </a:moveTo>
                <a:lnTo>
                  <a:pt x="7981245" y="0"/>
                </a:lnTo>
                <a:lnTo>
                  <a:pt x="7981245" y="4121519"/>
                </a:lnTo>
                <a:lnTo>
                  <a:pt x="7981246" y="4121519"/>
                </a:lnTo>
                <a:lnTo>
                  <a:pt x="7981246" y="4682725"/>
                </a:lnTo>
                <a:cubicBezTo>
                  <a:pt x="7621438" y="4870813"/>
                  <a:pt x="6376982" y="4436369"/>
                  <a:pt x="5727378" y="4579512"/>
                </a:cubicBezTo>
                <a:cubicBezTo>
                  <a:pt x="5077774" y="4722654"/>
                  <a:pt x="4553945" y="5228177"/>
                  <a:pt x="3941100" y="5206312"/>
                </a:cubicBezTo>
                <a:cubicBezTo>
                  <a:pt x="3328254" y="5184448"/>
                  <a:pt x="2730908" y="4591465"/>
                  <a:pt x="2050305" y="4448322"/>
                </a:cubicBezTo>
                <a:cubicBezTo>
                  <a:pt x="1369701" y="4305180"/>
                  <a:pt x="406644" y="4943697"/>
                  <a:pt x="0" y="4682725"/>
                </a:cubicBezTo>
                <a:lnTo>
                  <a:pt x="0" y="4418985"/>
                </a:lnTo>
                <a:lnTo>
                  <a:pt x="0" y="412151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4579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108364" y="1190232"/>
            <a:ext cx="22167272" cy="11335536"/>
          </a:xfrm>
          <a:custGeom>
            <a:avLst/>
            <a:gdLst>
              <a:gd name="connsiteX0" fmla="*/ 0 w 11083636"/>
              <a:gd name="connsiteY0" fmla="*/ 0 h 5667768"/>
              <a:gd name="connsiteX1" fmla="*/ 6855366 w 11083636"/>
              <a:gd name="connsiteY1" fmla="*/ 0 h 5667768"/>
              <a:gd name="connsiteX2" fmla="*/ 6976248 w 11083636"/>
              <a:gd name="connsiteY2" fmla="*/ 42907 h 5667768"/>
              <a:gd name="connsiteX3" fmla="*/ 7647707 w 11083636"/>
              <a:gd name="connsiteY3" fmla="*/ 486249 h 5667768"/>
              <a:gd name="connsiteX4" fmla="*/ 8407733 w 11083636"/>
              <a:gd name="connsiteY4" fmla="*/ 112751 h 5667768"/>
              <a:gd name="connsiteX5" fmla="*/ 9212230 w 11083636"/>
              <a:gd name="connsiteY5" fmla="*/ 564422 h 5667768"/>
              <a:gd name="connsiteX6" fmla="*/ 9964654 w 11083636"/>
              <a:gd name="connsiteY6" fmla="*/ 387200 h 5667768"/>
              <a:gd name="connsiteX7" fmla="*/ 9993835 w 11083636"/>
              <a:gd name="connsiteY7" fmla="*/ 388767 h 5667768"/>
              <a:gd name="connsiteX8" fmla="*/ 10023016 w 11083636"/>
              <a:gd name="connsiteY8" fmla="*/ 387200 h 5667768"/>
              <a:gd name="connsiteX9" fmla="*/ 10775440 w 11083636"/>
              <a:gd name="connsiteY9" fmla="*/ 564422 h 5667768"/>
              <a:gd name="connsiteX10" fmla="*/ 10986642 w 11083636"/>
              <a:gd name="connsiteY10" fmla="*/ 459697 h 5667768"/>
              <a:gd name="connsiteX11" fmla="*/ 11083636 w 11083636"/>
              <a:gd name="connsiteY11" fmla="*/ 390907 h 5667768"/>
              <a:gd name="connsiteX12" fmla="*/ 11083636 w 11083636"/>
              <a:gd name="connsiteY12" fmla="*/ 5667768 h 5667768"/>
              <a:gd name="connsiteX13" fmla="*/ 0 w 11083636"/>
              <a:gd name="connsiteY13" fmla="*/ 5667768 h 5667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83636" h="5667768">
                <a:moveTo>
                  <a:pt x="0" y="0"/>
                </a:moveTo>
                <a:lnTo>
                  <a:pt x="6855366" y="0"/>
                </a:lnTo>
                <a:lnTo>
                  <a:pt x="6976248" y="42907"/>
                </a:lnTo>
                <a:cubicBezTo>
                  <a:pt x="7297465" y="194352"/>
                  <a:pt x="7289944" y="462235"/>
                  <a:pt x="7647707" y="486249"/>
                </a:cubicBezTo>
                <a:cubicBezTo>
                  <a:pt x="8056579" y="513694"/>
                  <a:pt x="8146980" y="99722"/>
                  <a:pt x="8407733" y="112751"/>
                </a:cubicBezTo>
                <a:cubicBezTo>
                  <a:pt x="8668487" y="125780"/>
                  <a:pt x="8922646" y="479127"/>
                  <a:pt x="9212230" y="564422"/>
                </a:cubicBezTo>
                <a:cubicBezTo>
                  <a:pt x="9447516" y="633725"/>
                  <a:pt x="9762139" y="395544"/>
                  <a:pt x="9964654" y="387200"/>
                </a:cubicBezTo>
                <a:lnTo>
                  <a:pt x="9993835" y="388767"/>
                </a:lnTo>
                <a:lnTo>
                  <a:pt x="10023016" y="387200"/>
                </a:lnTo>
                <a:cubicBezTo>
                  <a:pt x="10225531" y="395544"/>
                  <a:pt x="10540154" y="633725"/>
                  <a:pt x="10775440" y="564422"/>
                </a:cubicBezTo>
                <a:cubicBezTo>
                  <a:pt x="10847836" y="543099"/>
                  <a:pt x="10918018" y="505022"/>
                  <a:pt x="10986642" y="459697"/>
                </a:cubicBezTo>
                <a:lnTo>
                  <a:pt x="11083636" y="390907"/>
                </a:lnTo>
                <a:lnTo>
                  <a:pt x="11083636" y="5667768"/>
                </a:lnTo>
                <a:lnTo>
                  <a:pt x="0" y="566776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/>
          <a:p>
            <a:fld id="{40B9113C-ECF6-4798-96B2-DF89A79D62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74168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/>
          <a:p>
            <a:fld id="{40B9113C-ECF6-4798-96B2-DF89A79D62DB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149308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/>
          <a:p>
            <a:fld id="{40B9113C-ECF6-4798-96B2-DF89A79D62D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/>
          <p:cNvSpPr/>
          <p:nvPr userDrawn="1"/>
        </p:nvSpPr>
        <p:spPr>
          <a:xfrm flipH="1">
            <a:off x="1108364" y="1190232"/>
            <a:ext cx="22167272" cy="11335536"/>
          </a:xfrm>
          <a:custGeom>
            <a:avLst/>
            <a:gdLst>
              <a:gd name="connsiteX0" fmla="*/ 11083636 w 11083636"/>
              <a:gd name="connsiteY0" fmla="*/ 0 h 5667768"/>
              <a:gd name="connsiteX1" fmla="*/ 4228270 w 11083636"/>
              <a:gd name="connsiteY1" fmla="*/ 0 h 5667768"/>
              <a:gd name="connsiteX2" fmla="*/ 4107388 w 11083636"/>
              <a:gd name="connsiteY2" fmla="*/ 42907 h 5667768"/>
              <a:gd name="connsiteX3" fmla="*/ 3435929 w 11083636"/>
              <a:gd name="connsiteY3" fmla="*/ 486249 h 5667768"/>
              <a:gd name="connsiteX4" fmla="*/ 2675903 w 11083636"/>
              <a:gd name="connsiteY4" fmla="*/ 112751 h 5667768"/>
              <a:gd name="connsiteX5" fmla="*/ 1871406 w 11083636"/>
              <a:gd name="connsiteY5" fmla="*/ 564422 h 5667768"/>
              <a:gd name="connsiteX6" fmla="*/ 1118982 w 11083636"/>
              <a:gd name="connsiteY6" fmla="*/ 387200 h 5667768"/>
              <a:gd name="connsiteX7" fmla="*/ 1089801 w 11083636"/>
              <a:gd name="connsiteY7" fmla="*/ 388767 h 5667768"/>
              <a:gd name="connsiteX8" fmla="*/ 1060620 w 11083636"/>
              <a:gd name="connsiteY8" fmla="*/ 387200 h 5667768"/>
              <a:gd name="connsiteX9" fmla="*/ 308196 w 11083636"/>
              <a:gd name="connsiteY9" fmla="*/ 564422 h 5667768"/>
              <a:gd name="connsiteX10" fmla="*/ 96994 w 11083636"/>
              <a:gd name="connsiteY10" fmla="*/ 459697 h 5667768"/>
              <a:gd name="connsiteX11" fmla="*/ 0 w 11083636"/>
              <a:gd name="connsiteY11" fmla="*/ 390907 h 5667768"/>
              <a:gd name="connsiteX12" fmla="*/ 0 w 11083636"/>
              <a:gd name="connsiteY12" fmla="*/ 5667768 h 5667768"/>
              <a:gd name="connsiteX13" fmla="*/ 11083636 w 11083636"/>
              <a:gd name="connsiteY13" fmla="*/ 5667768 h 5667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83636" h="5667768">
                <a:moveTo>
                  <a:pt x="11083636" y="0"/>
                </a:moveTo>
                <a:lnTo>
                  <a:pt x="4228270" y="0"/>
                </a:lnTo>
                <a:lnTo>
                  <a:pt x="4107388" y="42907"/>
                </a:lnTo>
                <a:cubicBezTo>
                  <a:pt x="3786171" y="194352"/>
                  <a:pt x="3793692" y="462235"/>
                  <a:pt x="3435929" y="486249"/>
                </a:cubicBezTo>
                <a:cubicBezTo>
                  <a:pt x="3027057" y="513694"/>
                  <a:pt x="2936656" y="99722"/>
                  <a:pt x="2675903" y="112751"/>
                </a:cubicBezTo>
                <a:cubicBezTo>
                  <a:pt x="2415149" y="125780"/>
                  <a:pt x="2160990" y="479127"/>
                  <a:pt x="1871406" y="564422"/>
                </a:cubicBezTo>
                <a:cubicBezTo>
                  <a:pt x="1636120" y="633725"/>
                  <a:pt x="1321497" y="395544"/>
                  <a:pt x="1118982" y="387200"/>
                </a:cubicBezTo>
                <a:lnTo>
                  <a:pt x="1089801" y="388767"/>
                </a:lnTo>
                <a:lnTo>
                  <a:pt x="1060620" y="387200"/>
                </a:lnTo>
                <a:cubicBezTo>
                  <a:pt x="858105" y="395544"/>
                  <a:pt x="543482" y="633725"/>
                  <a:pt x="308196" y="564422"/>
                </a:cubicBezTo>
                <a:cubicBezTo>
                  <a:pt x="235800" y="543099"/>
                  <a:pt x="165618" y="505022"/>
                  <a:pt x="96994" y="459697"/>
                </a:cubicBezTo>
                <a:lnTo>
                  <a:pt x="0" y="390907"/>
                </a:lnTo>
                <a:lnTo>
                  <a:pt x="0" y="5667768"/>
                </a:lnTo>
                <a:lnTo>
                  <a:pt x="11083636" y="566776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702" dirty="0">
              <a:solidFill>
                <a:schemeClr val="accent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2094872"/>
            <a:ext cx="21031200" cy="16498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60076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034540" y="5353068"/>
            <a:ext cx="9121140" cy="49301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/>
          <a:p>
            <a:fld id="{40B9113C-ECF6-4798-96B2-DF89A79D62DB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496818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2500297" y="0"/>
            <a:ext cx="11883702" cy="1371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/>
          <a:p>
            <a:fld id="{40B9113C-ECF6-4798-96B2-DF89A79D62DB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/>
          <p:cNvGrpSpPr/>
          <p:nvPr userDrawn="1"/>
        </p:nvGrpSpPr>
        <p:grpSpPr>
          <a:xfrm flipV="1">
            <a:off x="0" y="11926700"/>
            <a:ext cx="8534404" cy="1789300"/>
            <a:chOff x="-38102" y="-49822"/>
            <a:chExt cx="4267202" cy="894650"/>
          </a:xfrm>
        </p:grpSpPr>
        <p:sp>
          <p:nvSpPr>
            <p:cNvPr id="6" name="Freeform 5"/>
            <p:cNvSpPr/>
            <p:nvPr/>
          </p:nvSpPr>
          <p:spPr>
            <a:xfrm>
              <a:off x="-38101" y="-49822"/>
              <a:ext cx="4190260" cy="894650"/>
            </a:xfrm>
            <a:custGeom>
              <a:avLst/>
              <a:gdLst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881143 h 1238985"/>
                <a:gd name="connsiteX14" fmla="*/ 12192000 w 12192000"/>
                <a:gd name="connsiteY14" fmla="*/ 116229 h 1238985"/>
                <a:gd name="connsiteX15" fmla="*/ 12075771 w 12192000"/>
                <a:gd name="connsiteY15" fmla="*/ 0 h 1238985"/>
                <a:gd name="connsiteX0" fmla="*/ 12075771 w 12192000"/>
                <a:gd name="connsiteY0" fmla="*/ 0 h 1238985"/>
                <a:gd name="connsiteX1" fmla="*/ 116229 w 12192000"/>
                <a:gd name="connsiteY1" fmla="*/ 0 h 1238985"/>
                <a:gd name="connsiteX2" fmla="*/ 0 w 12192000"/>
                <a:gd name="connsiteY2" fmla="*/ 116229 h 1238985"/>
                <a:gd name="connsiteX3" fmla="*/ 0 w 12192000"/>
                <a:gd name="connsiteY3" fmla="*/ 1097104 h 1238985"/>
                <a:gd name="connsiteX4" fmla="*/ 64480 w 12192000"/>
                <a:gd name="connsiteY4" fmla="*/ 1097591 h 1238985"/>
                <a:gd name="connsiteX5" fmla="*/ 454868 w 12192000"/>
                <a:gd name="connsiteY5" fmla="*/ 1064430 h 1238985"/>
                <a:gd name="connsiteX6" fmla="*/ 3051118 w 12192000"/>
                <a:gd name="connsiteY6" fmla="*/ 346411 h 1238985"/>
                <a:gd name="connsiteX7" fmla="*/ 5799277 w 12192000"/>
                <a:gd name="connsiteY7" fmla="*/ 1214711 h 1238985"/>
                <a:gd name="connsiteX8" fmla="*/ 8369560 w 12192000"/>
                <a:gd name="connsiteY8" fmla="*/ 874016 h 1238985"/>
                <a:gd name="connsiteX9" fmla="*/ 8469240 w 12192000"/>
                <a:gd name="connsiteY9" fmla="*/ 877029 h 1238985"/>
                <a:gd name="connsiteX10" fmla="*/ 8568921 w 12192000"/>
                <a:gd name="connsiteY10" fmla="*/ 874016 h 1238985"/>
                <a:gd name="connsiteX11" fmla="*/ 11139204 w 12192000"/>
                <a:gd name="connsiteY11" fmla="*/ 1214711 h 1238985"/>
                <a:gd name="connsiteX12" fmla="*/ 11860670 w 12192000"/>
                <a:gd name="connsiteY12" fmla="*/ 1013385 h 1238985"/>
                <a:gd name="connsiteX13" fmla="*/ 12192000 w 12192000"/>
                <a:gd name="connsiteY13" fmla="*/ 116229 h 1238985"/>
                <a:gd name="connsiteX14" fmla="*/ 12075771 w 12192000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192000 w 13388758"/>
                <a:gd name="connsiteY13" fmla="*/ 116229 h 1238985"/>
                <a:gd name="connsiteX14" fmla="*/ 12075771 w 13388758"/>
                <a:gd name="connsiteY14" fmla="*/ 0 h 1238985"/>
                <a:gd name="connsiteX0" fmla="*/ 12075771 w 13388758"/>
                <a:gd name="connsiteY0" fmla="*/ 0 h 1238985"/>
                <a:gd name="connsiteX1" fmla="*/ 116229 w 13388758"/>
                <a:gd name="connsiteY1" fmla="*/ 0 h 1238985"/>
                <a:gd name="connsiteX2" fmla="*/ 0 w 13388758"/>
                <a:gd name="connsiteY2" fmla="*/ 116229 h 1238985"/>
                <a:gd name="connsiteX3" fmla="*/ 0 w 13388758"/>
                <a:gd name="connsiteY3" fmla="*/ 1097104 h 1238985"/>
                <a:gd name="connsiteX4" fmla="*/ 64480 w 13388758"/>
                <a:gd name="connsiteY4" fmla="*/ 1097591 h 1238985"/>
                <a:gd name="connsiteX5" fmla="*/ 454868 w 13388758"/>
                <a:gd name="connsiteY5" fmla="*/ 1064430 h 1238985"/>
                <a:gd name="connsiteX6" fmla="*/ 3051118 w 13388758"/>
                <a:gd name="connsiteY6" fmla="*/ 346411 h 1238985"/>
                <a:gd name="connsiteX7" fmla="*/ 5799277 w 13388758"/>
                <a:gd name="connsiteY7" fmla="*/ 1214711 h 1238985"/>
                <a:gd name="connsiteX8" fmla="*/ 8369560 w 13388758"/>
                <a:gd name="connsiteY8" fmla="*/ 874016 h 1238985"/>
                <a:gd name="connsiteX9" fmla="*/ 8469240 w 13388758"/>
                <a:gd name="connsiteY9" fmla="*/ 877029 h 1238985"/>
                <a:gd name="connsiteX10" fmla="*/ 8568921 w 13388758"/>
                <a:gd name="connsiteY10" fmla="*/ 874016 h 1238985"/>
                <a:gd name="connsiteX11" fmla="*/ 11139204 w 13388758"/>
                <a:gd name="connsiteY11" fmla="*/ 1214711 h 1238985"/>
                <a:gd name="connsiteX12" fmla="*/ 13388758 w 13388758"/>
                <a:gd name="connsiteY12" fmla="*/ 371810 h 1238985"/>
                <a:gd name="connsiteX13" fmla="*/ 12075771 w 13388758"/>
                <a:gd name="connsiteY13" fmla="*/ 0 h 1238985"/>
                <a:gd name="connsiteX0" fmla="*/ 15008043 w 15008043"/>
                <a:gd name="connsiteY0" fmla="*/ 0 h 1255436"/>
                <a:gd name="connsiteX1" fmla="*/ 116229 w 15008043"/>
                <a:gd name="connsiteY1" fmla="*/ 16451 h 1255436"/>
                <a:gd name="connsiteX2" fmla="*/ 0 w 15008043"/>
                <a:gd name="connsiteY2" fmla="*/ 132680 h 1255436"/>
                <a:gd name="connsiteX3" fmla="*/ 0 w 15008043"/>
                <a:gd name="connsiteY3" fmla="*/ 1113555 h 1255436"/>
                <a:gd name="connsiteX4" fmla="*/ 64480 w 15008043"/>
                <a:gd name="connsiteY4" fmla="*/ 1114042 h 1255436"/>
                <a:gd name="connsiteX5" fmla="*/ 454868 w 15008043"/>
                <a:gd name="connsiteY5" fmla="*/ 1080881 h 1255436"/>
                <a:gd name="connsiteX6" fmla="*/ 3051118 w 15008043"/>
                <a:gd name="connsiteY6" fmla="*/ 362862 h 1255436"/>
                <a:gd name="connsiteX7" fmla="*/ 5799277 w 15008043"/>
                <a:gd name="connsiteY7" fmla="*/ 1231162 h 1255436"/>
                <a:gd name="connsiteX8" fmla="*/ 8369560 w 15008043"/>
                <a:gd name="connsiteY8" fmla="*/ 890467 h 1255436"/>
                <a:gd name="connsiteX9" fmla="*/ 8469240 w 15008043"/>
                <a:gd name="connsiteY9" fmla="*/ 893480 h 1255436"/>
                <a:gd name="connsiteX10" fmla="*/ 8568921 w 15008043"/>
                <a:gd name="connsiteY10" fmla="*/ 890467 h 1255436"/>
                <a:gd name="connsiteX11" fmla="*/ 11139204 w 15008043"/>
                <a:gd name="connsiteY11" fmla="*/ 1231162 h 1255436"/>
                <a:gd name="connsiteX12" fmla="*/ 13388758 w 15008043"/>
                <a:gd name="connsiteY12" fmla="*/ 388261 h 1255436"/>
                <a:gd name="connsiteX13" fmla="*/ 15008043 w 15008043"/>
                <a:gd name="connsiteY13" fmla="*/ 0 h 125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043" h="1255436">
                  <a:moveTo>
                    <a:pt x="15008043" y="0"/>
                  </a:moveTo>
                  <a:lnTo>
                    <a:pt x="116229" y="16451"/>
                  </a:lnTo>
                  <a:cubicBezTo>
                    <a:pt x="52037" y="16451"/>
                    <a:pt x="0" y="68488"/>
                    <a:pt x="0" y="132680"/>
                  </a:cubicBezTo>
                  <a:lnTo>
                    <a:pt x="0" y="1113555"/>
                  </a:lnTo>
                  <a:lnTo>
                    <a:pt x="64480" y="1114042"/>
                  </a:lnTo>
                  <a:cubicBezTo>
                    <a:pt x="205319" y="1111536"/>
                    <a:pt x="336848" y="1101378"/>
                    <a:pt x="454868" y="1080881"/>
                  </a:cubicBezTo>
                  <a:cubicBezTo>
                    <a:pt x="1399029" y="916907"/>
                    <a:pt x="2160383" y="337815"/>
                    <a:pt x="3051118" y="362862"/>
                  </a:cubicBezTo>
                  <a:cubicBezTo>
                    <a:pt x="3941852" y="387909"/>
                    <a:pt x="4810060" y="1067188"/>
                    <a:pt x="5799277" y="1231162"/>
                  </a:cubicBezTo>
                  <a:cubicBezTo>
                    <a:pt x="6603015" y="1364391"/>
                    <a:pt x="7677767" y="906507"/>
                    <a:pt x="8369560" y="890467"/>
                  </a:cubicBezTo>
                  <a:lnTo>
                    <a:pt x="8469240" y="893480"/>
                  </a:lnTo>
                  <a:lnTo>
                    <a:pt x="8568921" y="890467"/>
                  </a:lnTo>
                  <a:cubicBezTo>
                    <a:pt x="9260713" y="906507"/>
                    <a:pt x="10335898" y="1314863"/>
                    <a:pt x="11139204" y="1231162"/>
                  </a:cubicBezTo>
                  <a:cubicBezTo>
                    <a:pt x="11942510" y="1147461"/>
                    <a:pt x="13154337" y="475394"/>
                    <a:pt x="13388758" y="388261"/>
                  </a:cubicBezTo>
                  <a:lnTo>
                    <a:pt x="15008043" y="0"/>
                  </a:lnTo>
                  <a:close/>
                </a:path>
              </a:pathLst>
            </a:custGeom>
            <a:solidFill>
              <a:schemeClr val="bg1">
                <a:lumMod val="75000"/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7" name="Freeform 6"/>
            <p:cNvSpPr/>
            <p:nvPr/>
          </p:nvSpPr>
          <p:spPr>
            <a:xfrm flipH="1">
              <a:off x="-38102" y="-38099"/>
              <a:ext cx="4267202" cy="717300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2">
                    <a:alpha val="2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8" name="Freeform 7"/>
            <p:cNvSpPr/>
            <p:nvPr/>
          </p:nvSpPr>
          <p:spPr>
            <a:xfrm flipH="1">
              <a:off x="-38102" y="-38100"/>
              <a:ext cx="4267202" cy="590868"/>
            </a:xfrm>
            <a:custGeom>
              <a:avLst/>
              <a:gdLst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0 w 12192000"/>
                <a:gd name="connsiteY3" fmla="*/ 1239710 h 1418416"/>
                <a:gd name="connsiteX4" fmla="*/ 64480 w 12192000"/>
                <a:gd name="connsiteY4" fmla="*/ 1240323 h 1418416"/>
                <a:gd name="connsiteX5" fmla="*/ 454868 w 12192000"/>
                <a:gd name="connsiteY5" fmla="*/ 1198555 h 1418416"/>
                <a:gd name="connsiteX6" fmla="*/ 3051118 w 12192000"/>
                <a:gd name="connsiteY6" fmla="*/ 294173 h 1418416"/>
                <a:gd name="connsiteX7" fmla="*/ 5799277 w 12192000"/>
                <a:gd name="connsiteY7" fmla="*/ 1387842 h 1418416"/>
                <a:gd name="connsiteX8" fmla="*/ 8369560 w 12192000"/>
                <a:gd name="connsiteY8" fmla="*/ 958719 h 1418416"/>
                <a:gd name="connsiteX9" fmla="*/ 8469240 w 12192000"/>
                <a:gd name="connsiteY9" fmla="*/ 962514 h 1418416"/>
                <a:gd name="connsiteX10" fmla="*/ 8568921 w 12192000"/>
                <a:gd name="connsiteY10" fmla="*/ 958719 h 1418416"/>
                <a:gd name="connsiteX11" fmla="*/ 11139204 w 12192000"/>
                <a:gd name="connsiteY11" fmla="*/ 1387842 h 1418416"/>
                <a:gd name="connsiteX12" fmla="*/ 11860670 w 12192000"/>
                <a:gd name="connsiteY12" fmla="*/ 1134261 h 1418416"/>
                <a:gd name="connsiteX13" fmla="*/ 12192000 w 12192000"/>
                <a:gd name="connsiteY13" fmla="*/ 967695 h 1418416"/>
                <a:gd name="connsiteX14" fmla="*/ 12192000 w 12192000"/>
                <a:gd name="connsiteY14" fmla="*/ 4247 h 1418416"/>
                <a:gd name="connsiteX0" fmla="*/ 12191319 w 12192000"/>
                <a:gd name="connsiteY0" fmla="*/ 0 h 1418416"/>
                <a:gd name="connsiteX1" fmla="*/ 681 w 12192000"/>
                <a:gd name="connsiteY1" fmla="*/ 0 h 1418416"/>
                <a:gd name="connsiteX2" fmla="*/ 0 w 12192000"/>
                <a:gd name="connsiteY2" fmla="*/ 4247 h 1418416"/>
                <a:gd name="connsiteX3" fmla="*/ 4872 w 12192000"/>
                <a:gd name="connsiteY3" fmla="*/ 461273 h 1418416"/>
                <a:gd name="connsiteX4" fmla="*/ 0 w 12192000"/>
                <a:gd name="connsiteY4" fmla="*/ 1239710 h 1418416"/>
                <a:gd name="connsiteX5" fmla="*/ 64480 w 12192000"/>
                <a:gd name="connsiteY5" fmla="*/ 1240323 h 1418416"/>
                <a:gd name="connsiteX6" fmla="*/ 454868 w 12192000"/>
                <a:gd name="connsiteY6" fmla="*/ 1198555 h 1418416"/>
                <a:gd name="connsiteX7" fmla="*/ 3051118 w 12192000"/>
                <a:gd name="connsiteY7" fmla="*/ 294173 h 1418416"/>
                <a:gd name="connsiteX8" fmla="*/ 5799277 w 12192000"/>
                <a:gd name="connsiteY8" fmla="*/ 1387842 h 1418416"/>
                <a:gd name="connsiteX9" fmla="*/ 8369560 w 12192000"/>
                <a:gd name="connsiteY9" fmla="*/ 958719 h 1418416"/>
                <a:gd name="connsiteX10" fmla="*/ 8469240 w 12192000"/>
                <a:gd name="connsiteY10" fmla="*/ 962514 h 1418416"/>
                <a:gd name="connsiteX11" fmla="*/ 8568921 w 12192000"/>
                <a:gd name="connsiteY11" fmla="*/ 958719 h 1418416"/>
                <a:gd name="connsiteX12" fmla="*/ 11139204 w 12192000"/>
                <a:gd name="connsiteY12" fmla="*/ 1387842 h 1418416"/>
                <a:gd name="connsiteX13" fmla="*/ 11860670 w 12192000"/>
                <a:gd name="connsiteY13" fmla="*/ 1134261 h 1418416"/>
                <a:gd name="connsiteX14" fmla="*/ 12192000 w 12192000"/>
                <a:gd name="connsiteY14" fmla="*/ 967695 h 1418416"/>
                <a:gd name="connsiteX15" fmla="*/ 12192000 w 12192000"/>
                <a:gd name="connsiteY15" fmla="*/ 4247 h 1418416"/>
                <a:gd name="connsiteX16" fmla="*/ 12191319 w 12192000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363896 w 14491416"/>
                <a:gd name="connsiteY5" fmla="*/ 1240323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1570198 w 14491416"/>
                <a:gd name="connsiteY5" fmla="*/ 889756 h 1418416"/>
                <a:gd name="connsiteX6" fmla="*/ 2754284 w 14491416"/>
                <a:gd name="connsiteY6" fmla="*/ 1198555 h 1418416"/>
                <a:gd name="connsiteX7" fmla="*/ 5350534 w 14491416"/>
                <a:gd name="connsiteY7" fmla="*/ 294173 h 1418416"/>
                <a:gd name="connsiteX8" fmla="*/ 8098693 w 14491416"/>
                <a:gd name="connsiteY8" fmla="*/ 1387842 h 1418416"/>
                <a:gd name="connsiteX9" fmla="*/ 10668976 w 14491416"/>
                <a:gd name="connsiteY9" fmla="*/ 958719 h 1418416"/>
                <a:gd name="connsiteX10" fmla="*/ 10768656 w 14491416"/>
                <a:gd name="connsiteY10" fmla="*/ 962514 h 1418416"/>
                <a:gd name="connsiteX11" fmla="*/ 10868337 w 14491416"/>
                <a:gd name="connsiteY11" fmla="*/ 958719 h 1418416"/>
                <a:gd name="connsiteX12" fmla="*/ 13438620 w 14491416"/>
                <a:gd name="connsiteY12" fmla="*/ 1387842 h 1418416"/>
                <a:gd name="connsiteX13" fmla="*/ 14160086 w 14491416"/>
                <a:gd name="connsiteY13" fmla="*/ 1134261 h 1418416"/>
                <a:gd name="connsiteX14" fmla="*/ 14491416 w 14491416"/>
                <a:gd name="connsiteY14" fmla="*/ 967695 h 1418416"/>
                <a:gd name="connsiteX15" fmla="*/ 14491416 w 14491416"/>
                <a:gd name="connsiteY15" fmla="*/ 4247 h 1418416"/>
                <a:gd name="connsiteX16" fmla="*/ 14490735 w 14491416"/>
                <a:gd name="connsiteY16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299416 w 14491416"/>
                <a:gd name="connsiteY4" fmla="*/ 1239710 h 1418416"/>
                <a:gd name="connsiteX5" fmla="*/ 2754284 w 14491416"/>
                <a:gd name="connsiteY5" fmla="*/ 1198555 h 1418416"/>
                <a:gd name="connsiteX6" fmla="*/ 5350534 w 14491416"/>
                <a:gd name="connsiteY6" fmla="*/ 294173 h 1418416"/>
                <a:gd name="connsiteX7" fmla="*/ 8098693 w 14491416"/>
                <a:gd name="connsiteY7" fmla="*/ 1387842 h 1418416"/>
                <a:gd name="connsiteX8" fmla="*/ 10668976 w 14491416"/>
                <a:gd name="connsiteY8" fmla="*/ 958719 h 1418416"/>
                <a:gd name="connsiteX9" fmla="*/ 10768656 w 14491416"/>
                <a:gd name="connsiteY9" fmla="*/ 962514 h 1418416"/>
                <a:gd name="connsiteX10" fmla="*/ 10868337 w 14491416"/>
                <a:gd name="connsiteY10" fmla="*/ 958719 h 1418416"/>
                <a:gd name="connsiteX11" fmla="*/ 13438620 w 14491416"/>
                <a:gd name="connsiteY11" fmla="*/ 1387842 h 1418416"/>
                <a:gd name="connsiteX12" fmla="*/ 14160086 w 14491416"/>
                <a:gd name="connsiteY12" fmla="*/ 1134261 h 1418416"/>
                <a:gd name="connsiteX13" fmla="*/ 14491416 w 14491416"/>
                <a:gd name="connsiteY13" fmla="*/ 967695 h 1418416"/>
                <a:gd name="connsiteX14" fmla="*/ 14491416 w 14491416"/>
                <a:gd name="connsiteY14" fmla="*/ 4247 h 1418416"/>
                <a:gd name="connsiteX15" fmla="*/ 14490735 w 14491416"/>
                <a:gd name="connsiteY15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490735 w 14491416"/>
                <a:gd name="connsiteY0" fmla="*/ 0 h 1418416"/>
                <a:gd name="connsiteX1" fmla="*/ 2300097 w 14491416"/>
                <a:gd name="connsiteY1" fmla="*/ 0 h 1418416"/>
                <a:gd name="connsiteX2" fmla="*/ 2299416 w 14491416"/>
                <a:gd name="connsiteY2" fmla="*/ 4247 h 1418416"/>
                <a:gd name="connsiteX3" fmla="*/ 0 w 14491416"/>
                <a:gd name="connsiteY3" fmla="*/ 18451 h 1418416"/>
                <a:gd name="connsiteX4" fmla="*/ 2754284 w 14491416"/>
                <a:gd name="connsiteY4" fmla="*/ 1198555 h 1418416"/>
                <a:gd name="connsiteX5" fmla="*/ 5350534 w 14491416"/>
                <a:gd name="connsiteY5" fmla="*/ 294173 h 1418416"/>
                <a:gd name="connsiteX6" fmla="*/ 8098693 w 14491416"/>
                <a:gd name="connsiteY6" fmla="*/ 1387842 h 1418416"/>
                <a:gd name="connsiteX7" fmla="*/ 10668976 w 14491416"/>
                <a:gd name="connsiteY7" fmla="*/ 958719 h 1418416"/>
                <a:gd name="connsiteX8" fmla="*/ 10768656 w 14491416"/>
                <a:gd name="connsiteY8" fmla="*/ 962514 h 1418416"/>
                <a:gd name="connsiteX9" fmla="*/ 10868337 w 14491416"/>
                <a:gd name="connsiteY9" fmla="*/ 958719 h 1418416"/>
                <a:gd name="connsiteX10" fmla="*/ 13438620 w 14491416"/>
                <a:gd name="connsiteY10" fmla="*/ 1387842 h 1418416"/>
                <a:gd name="connsiteX11" fmla="*/ 14160086 w 14491416"/>
                <a:gd name="connsiteY11" fmla="*/ 1134261 h 1418416"/>
                <a:gd name="connsiteX12" fmla="*/ 14491416 w 14491416"/>
                <a:gd name="connsiteY12" fmla="*/ 967695 h 1418416"/>
                <a:gd name="connsiteX13" fmla="*/ 14491416 w 14491416"/>
                <a:gd name="connsiteY13" fmla="*/ 4247 h 1418416"/>
                <a:gd name="connsiteX14" fmla="*/ 14490735 w 14491416"/>
                <a:gd name="connsiteY14" fmla="*/ 0 h 1418416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  <a:gd name="connsiteX0" fmla="*/ 14576079 w 14576760"/>
                <a:gd name="connsiteY0" fmla="*/ 12301 h 1430717"/>
                <a:gd name="connsiteX1" fmla="*/ 2385441 w 14576760"/>
                <a:gd name="connsiteY1" fmla="*/ 12301 h 1430717"/>
                <a:gd name="connsiteX2" fmla="*/ 2384760 w 14576760"/>
                <a:gd name="connsiteY2" fmla="*/ 16548 h 1430717"/>
                <a:gd name="connsiteX3" fmla="*/ 0 w 14576760"/>
                <a:gd name="connsiteY3" fmla="*/ 0 h 1430717"/>
                <a:gd name="connsiteX4" fmla="*/ 2839628 w 14576760"/>
                <a:gd name="connsiteY4" fmla="*/ 1210856 h 1430717"/>
                <a:gd name="connsiteX5" fmla="*/ 5435878 w 14576760"/>
                <a:gd name="connsiteY5" fmla="*/ 306474 h 1430717"/>
                <a:gd name="connsiteX6" fmla="*/ 8184037 w 14576760"/>
                <a:gd name="connsiteY6" fmla="*/ 1400143 h 1430717"/>
                <a:gd name="connsiteX7" fmla="*/ 10754320 w 14576760"/>
                <a:gd name="connsiteY7" fmla="*/ 971020 h 1430717"/>
                <a:gd name="connsiteX8" fmla="*/ 10854000 w 14576760"/>
                <a:gd name="connsiteY8" fmla="*/ 974815 h 1430717"/>
                <a:gd name="connsiteX9" fmla="*/ 10953681 w 14576760"/>
                <a:gd name="connsiteY9" fmla="*/ 971020 h 1430717"/>
                <a:gd name="connsiteX10" fmla="*/ 13523964 w 14576760"/>
                <a:gd name="connsiteY10" fmla="*/ 1400143 h 1430717"/>
                <a:gd name="connsiteX11" fmla="*/ 14245430 w 14576760"/>
                <a:gd name="connsiteY11" fmla="*/ 1146562 h 1430717"/>
                <a:gd name="connsiteX12" fmla="*/ 14576760 w 14576760"/>
                <a:gd name="connsiteY12" fmla="*/ 979996 h 1430717"/>
                <a:gd name="connsiteX13" fmla="*/ 14576760 w 14576760"/>
                <a:gd name="connsiteY13" fmla="*/ 16548 h 1430717"/>
                <a:gd name="connsiteX14" fmla="*/ 14576079 w 14576760"/>
                <a:gd name="connsiteY14" fmla="*/ 12301 h 143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76760" h="1430717">
                  <a:moveTo>
                    <a:pt x="14576079" y="12301"/>
                  </a:moveTo>
                  <a:lnTo>
                    <a:pt x="2385441" y="12301"/>
                  </a:lnTo>
                  <a:lnTo>
                    <a:pt x="2384760" y="16548"/>
                  </a:lnTo>
                  <a:lnTo>
                    <a:pt x="0" y="0"/>
                  </a:lnTo>
                  <a:cubicBezTo>
                    <a:pt x="1676011" y="306683"/>
                    <a:pt x="1442922" y="1144401"/>
                    <a:pt x="2839628" y="1210856"/>
                  </a:cubicBezTo>
                  <a:cubicBezTo>
                    <a:pt x="4236334" y="1277311"/>
                    <a:pt x="4545143" y="274926"/>
                    <a:pt x="5435878" y="306474"/>
                  </a:cubicBezTo>
                  <a:cubicBezTo>
                    <a:pt x="6326612" y="338022"/>
                    <a:pt x="7194820" y="1193609"/>
                    <a:pt x="8184037" y="1400143"/>
                  </a:cubicBezTo>
                  <a:cubicBezTo>
                    <a:pt x="8987775" y="1567952"/>
                    <a:pt x="10062527" y="991223"/>
                    <a:pt x="10754320" y="971020"/>
                  </a:cubicBezTo>
                  <a:lnTo>
                    <a:pt x="10854000" y="974815"/>
                  </a:lnTo>
                  <a:lnTo>
                    <a:pt x="10953681" y="971020"/>
                  </a:lnTo>
                  <a:cubicBezTo>
                    <a:pt x="11645473" y="991223"/>
                    <a:pt x="12720224" y="1567952"/>
                    <a:pt x="13523964" y="1400143"/>
                  </a:cubicBezTo>
                  <a:cubicBezTo>
                    <a:pt x="13771268" y="1348510"/>
                    <a:pt x="14011009" y="1256311"/>
                    <a:pt x="14245430" y="1146562"/>
                  </a:cubicBezTo>
                  <a:lnTo>
                    <a:pt x="14576760" y="979996"/>
                  </a:lnTo>
                  <a:lnTo>
                    <a:pt x="14576760" y="16548"/>
                  </a:lnTo>
                  <a:lnTo>
                    <a:pt x="14576079" y="1230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9" name="Freeform 8"/>
            <p:cNvSpPr/>
            <p:nvPr/>
          </p:nvSpPr>
          <p:spPr>
            <a:xfrm flipV="1">
              <a:off x="-38101" y="-38100"/>
              <a:ext cx="4237399" cy="491881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4952" h="2105637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4474952" y="2105637"/>
                  </a:lnTo>
                  <a:cubicBezTo>
                    <a:pt x="12881865" y="1792746"/>
                    <a:pt x="12952984" y="1371126"/>
                    <a:pt x="12192000" y="100387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37" y="1601386"/>
            <a:ext cx="7567886" cy="164981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18129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3190" y="12986105"/>
            <a:ext cx="1444740" cy="498770"/>
          </a:xfrm>
          <a:prstGeom prst="rect">
            <a:avLst/>
          </a:prstGeom>
        </p:spPr>
        <p:txBody>
          <a:bodyPr/>
          <a:lstStyle/>
          <a:p>
            <a:fld id="{40B9113C-ECF6-4798-96B2-DF89A79D62D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/>
          <p:cNvSpPr/>
          <p:nvPr/>
        </p:nvSpPr>
        <p:spPr>
          <a:xfrm flipH="1">
            <a:off x="1108364" y="1190232"/>
            <a:ext cx="22167272" cy="11335536"/>
          </a:xfrm>
          <a:custGeom>
            <a:avLst/>
            <a:gdLst>
              <a:gd name="connsiteX0" fmla="*/ 11083636 w 11083636"/>
              <a:gd name="connsiteY0" fmla="*/ 0 h 5667768"/>
              <a:gd name="connsiteX1" fmla="*/ 4228270 w 11083636"/>
              <a:gd name="connsiteY1" fmla="*/ 0 h 5667768"/>
              <a:gd name="connsiteX2" fmla="*/ 4107388 w 11083636"/>
              <a:gd name="connsiteY2" fmla="*/ 42907 h 5667768"/>
              <a:gd name="connsiteX3" fmla="*/ 3435929 w 11083636"/>
              <a:gd name="connsiteY3" fmla="*/ 486249 h 5667768"/>
              <a:gd name="connsiteX4" fmla="*/ 2675903 w 11083636"/>
              <a:gd name="connsiteY4" fmla="*/ 112751 h 5667768"/>
              <a:gd name="connsiteX5" fmla="*/ 1871406 w 11083636"/>
              <a:gd name="connsiteY5" fmla="*/ 564422 h 5667768"/>
              <a:gd name="connsiteX6" fmla="*/ 1118982 w 11083636"/>
              <a:gd name="connsiteY6" fmla="*/ 387200 h 5667768"/>
              <a:gd name="connsiteX7" fmla="*/ 1089801 w 11083636"/>
              <a:gd name="connsiteY7" fmla="*/ 388767 h 5667768"/>
              <a:gd name="connsiteX8" fmla="*/ 1060620 w 11083636"/>
              <a:gd name="connsiteY8" fmla="*/ 387200 h 5667768"/>
              <a:gd name="connsiteX9" fmla="*/ 308196 w 11083636"/>
              <a:gd name="connsiteY9" fmla="*/ 564422 h 5667768"/>
              <a:gd name="connsiteX10" fmla="*/ 96994 w 11083636"/>
              <a:gd name="connsiteY10" fmla="*/ 459697 h 5667768"/>
              <a:gd name="connsiteX11" fmla="*/ 0 w 11083636"/>
              <a:gd name="connsiteY11" fmla="*/ 390907 h 5667768"/>
              <a:gd name="connsiteX12" fmla="*/ 0 w 11083636"/>
              <a:gd name="connsiteY12" fmla="*/ 5667768 h 5667768"/>
              <a:gd name="connsiteX13" fmla="*/ 11083636 w 11083636"/>
              <a:gd name="connsiteY13" fmla="*/ 5667768 h 5667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83636" h="5667768">
                <a:moveTo>
                  <a:pt x="11083636" y="0"/>
                </a:moveTo>
                <a:lnTo>
                  <a:pt x="4228270" y="0"/>
                </a:lnTo>
                <a:lnTo>
                  <a:pt x="4107388" y="42907"/>
                </a:lnTo>
                <a:cubicBezTo>
                  <a:pt x="3786171" y="194352"/>
                  <a:pt x="3793692" y="462235"/>
                  <a:pt x="3435929" y="486249"/>
                </a:cubicBezTo>
                <a:cubicBezTo>
                  <a:pt x="3027057" y="513694"/>
                  <a:pt x="2936656" y="99722"/>
                  <a:pt x="2675903" y="112751"/>
                </a:cubicBezTo>
                <a:cubicBezTo>
                  <a:pt x="2415149" y="125780"/>
                  <a:pt x="2160990" y="479127"/>
                  <a:pt x="1871406" y="564422"/>
                </a:cubicBezTo>
                <a:cubicBezTo>
                  <a:pt x="1636120" y="633725"/>
                  <a:pt x="1321497" y="395544"/>
                  <a:pt x="1118982" y="387200"/>
                </a:cubicBezTo>
                <a:lnTo>
                  <a:pt x="1089801" y="388767"/>
                </a:lnTo>
                <a:lnTo>
                  <a:pt x="1060620" y="387200"/>
                </a:lnTo>
                <a:cubicBezTo>
                  <a:pt x="858105" y="395544"/>
                  <a:pt x="543482" y="633725"/>
                  <a:pt x="308196" y="564422"/>
                </a:cubicBezTo>
                <a:cubicBezTo>
                  <a:pt x="235800" y="543099"/>
                  <a:pt x="165618" y="505022"/>
                  <a:pt x="96994" y="459697"/>
                </a:cubicBezTo>
                <a:lnTo>
                  <a:pt x="0" y="390907"/>
                </a:lnTo>
                <a:lnTo>
                  <a:pt x="0" y="5667768"/>
                </a:lnTo>
                <a:lnTo>
                  <a:pt x="11083636" y="566776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702" dirty="0">
              <a:solidFill>
                <a:schemeClr val="accent4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14771035" y="1190232"/>
            <a:ext cx="8474798" cy="1763116"/>
            <a:chOff x="7385517" y="595116"/>
            <a:chExt cx="4237399" cy="881558"/>
          </a:xfrm>
        </p:grpSpPr>
        <p:sp>
          <p:nvSpPr>
            <p:cNvPr id="7" name="Freeform 6"/>
            <p:cNvSpPr/>
            <p:nvPr/>
          </p:nvSpPr>
          <p:spPr>
            <a:xfrm flipH="1" flipV="1">
              <a:off x="7385517" y="595116"/>
              <a:ext cx="4237399" cy="881558"/>
            </a:xfrm>
            <a:custGeom>
              <a:avLst/>
              <a:gdLst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810918 w 12192000"/>
                <a:gd name="connsiteY2" fmla="*/ 0 h 1074584"/>
                <a:gd name="connsiteX3" fmla="*/ 470766 w 12192000"/>
                <a:gd name="connsiteY3" fmla="*/ 0 h 1074584"/>
                <a:gd name="connsiteX4" fmla="*/ 448024 w 12192000"/>
                <a:gd name="connsiteY4" fmla="*/ 0 h 1074584"/>
                <a:gd name="connsiteX5" fmla="*/ 0 w 12192000"/>
                <a:gd name="connsiteY5" fmla="*/ 0 h 1074584"/>
                <a:gd name="connsiteX6" fmla="*/ 0 w 12192000"/>
                <a:gd name="connsiteY6" fmla="*/ 1074584 h 1074584"/>
                <a:gd name="connsiteX7" fmla="*/ 345070 w 12192000"/>
                <a:gd name="connsiteY7" fmla="*/ 1074584 h 1074584"/>
                <a:gd name="connsiteX8" fmla="*/ 1582058 w 12192000"/>
                <a:gd name="connsiteY8" fmla="*/ 1074584 h 1074584"/>
                <a:gd name="connsiteX9" fmla="*/ 12192000 w 12192000"/>
                <a:gd name="connsiteY9" fmla="*/ 1074584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448024 w 12192000"/>
                <a:gd name="connsiteY3" fmla="*/ 0 h 1074584"/>
                <a:gd name="connsiteX4" fmla="*/ 0 w 12192000"/>
                <a:gd name="connsiteY4" fmla="*/ 0 h 1074584"/>
                <a:gd name="connsiteX5" fmla="*/ 0 w 12192000"/>
                <a:gd name="connsiteY5" fmla="*/ 1074584 h 1074584"/>
                <a:gd name="connsiteX6" fmla="*/ 345070 w 12192000"/>
                <a:gd name="connsiteY6" fmla="*/ 1074584 h 1074584"/>
                <a:gd name="connsiteX7" fmla="*/ 1582058 w 12192000"/>
                <a:gd name="connsiteY7" fmla="*/ 1074584 h 1074584"/>
                <a:gd name="connsiteX8" fmla="*/ 12192000 w 12192000"/>
                <a:gd name="connsiteY8" fmla="*/ 1074584 h 1074584"/>
                <a:gd name="connsiteX9" fmla="*/ 12192000 w 12192000"/>
                <a:gd name="connsiteY9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470766 w 12192000"/>
                <a:gd name="connsiteY2" fmla="*/ 0 h 1074584"/>
                <a:gd name="connsiteX3" fmla="*/ 0 w 12192000"/>
                <a:gd name="connsiteY3" fmla="*/ 0 h 1074584"/>
                <a:gd name="connsiteX4" fmla="*/ 0 w 12192000"/>
                <a:gd name="connsiteY4" fmla="*/ 1074584 h 1074584"/>
                <a:gd name="connsiteX5" fmla="*/ 345070 w 12192000"/>
                <a:gd name="connsiteY5" fmla="*/ 1074584 h 1074584"/>
                <a:gd name="connsiteX6" fmla="*/ 1582058 w 12192000"/>
                <a:gd name="connsiteY6" fmla="*/ 1074584 h 1074584"/>
                <a:gd name="connsiteX7" fmla="*/ 12192000 w 12192000"/>
                <a:gd name="connsiteY7" fmla="*/ 1074584 h 1074584"/>
                <a:gd name="connsiteX8" fmla="*/ 12192000 w 12192000"/>
                <a:gd name="connsiteY8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345070 w 12192000"/>
                <a:gd name="connsiteY4" fmla="*/ 1074584 h 1074584"/>
                <a:gd name="connsiteX5" fmla="*/ 1582058 w 12192000"/>
                <a:gd name="connsiteY5" fmla="*/ 1074584 h 1074584"/>
                <a:gd name="connsiteX6" fmla="*/ 12192000 w 12192000"/>
                <a:gd name="connsiteY6" fmla="*/ 1074584 h 1074584"/>
                <a:gd name="connsiteX7" fmla="*/ 12192000 w 12192000"/>
                <a:gd name="connsiteY7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582058 w 12192000"/>
                <a:gd name="connsiteY4" fmla="*/ 1074584 h 1074584"/>
                <a:gd name="connsiteX5" fmla="*/ 12192000 w 12192000"/>
                <a:gd name="connsiteY5" fmla="*/ 1074584 h 1074584"/>
                <a:gd name="connsiteX6" fmla="*/ 12192000 w 12192000"/>
                <a:gd name="connsiteY6" fmla="*/ 0 h 1074584"/>
                <a:gd name="connsiteX0" fmla="*/ 12192000 w 12192000"/>
                <a:gd name="connsiteY0" fmla="*/ 0 h 1074584"/>
                <a:gd name="connsiteX1" fmla="*/ 1582058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0 h 1074584"/>
                <a:gd name="connsiteX1" fmla="*/ 0 w 12192000"/>
                <a:gd name="connsiteY1" fmla="*/ 0 h 1074584"/>
                <a:gd name="connsiteX2" fmla="*/ 0 w 12192000"/>
                <a:gd name="connsiteY2" fmla="*/ 1074584 h 1074584"/>
                <a:gd name="connsiteX3" fmla="*/ 12192000 w 12192000"/>
                <a:gd name="connsiteY3" fmla="*/ 1074584 h 1074584"/>
                <a:gd name="connsiteX4" fmla="*/ 12192000 w 12192000"/>
                <a:gd name="connsiteY4" fmla="*/ 0 h 1074584"/>
                <a:gd name="connsiteX0" fmla="*/ 12192000 w 12192000"/>
                <a:gd name="connsiteY0" fmla="*/ 0 h 1074584"/>
                <a:gd name="connsiteX1" fmla="*/ 1683657 w 12192000"/>
                <a:gd name="connsiteY1" fmla="*/ 0 h 1074584"/>
                <a:gd name="connsiteX2" fmla="*/ 0 w 12192000"/>
                <a:gd name="connsiteY2" fmla="*/ 0 h 1074584"/>
                <a:gd name="connsiteX3" fmla="*/ 0 w 12192000"/>
                <a:gd name="connsiteY3" fmla="*/ 1074584 h 1074584"/>
                <a:gd name="connsiteX4" fmla="*/ 12192000 w 12192000"/>
                <a:gd name="connsiteY4" fmla="*/ 1074584 h 1074584"/>
                <a:gd name="connsiteX5" fmla="*/ 12192000 w 12192000"/>
                <a:gd name="connsiteY5" fmla="*/ 0 h 1074584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2989943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2595749 h 3670333"/>
                <a:gd name="connsiteX1" fmla="*/ 3875315 w 12192000"/>
                <a:gd name="connsiteY1" fmla="*/ 0 h 3670333"/>
                <a:gd name="connsiteX2" fmla="*/ 0 w 12192000"/>
                <a:gd name="connsiteY2" fmla="*/ 2595749 h 3670333"/>
                <a:gd name="connsiteX3" fmla="*/ 0 w 12192000"/>
                <a:gd name="connsiteY3" fmla="*/ 3670333 h 3670333"/>
                <a:gd name="connsiteX4" fmla="*/ 12192000 w 12192000"/>
                <a:gd name="connsiteY4" fmla="*/ 3670333 h 3670333"/>
                <a:gd name="connsiteX5" fmla="*/ 12192000 w 12192000"/>
                <a:gd name="connsiteY5" fmla="*/ 2595749 h 3670333"/>
                <a:gd name="connsiteX0" fmla="*/ 12192000 w 12192000"/>
                <a:gd name="connsiteY0" fmla="*/ 3134985 h 4209569"/>
                <a:gd name="connsiteX1" fmla="*/ 3875315 w 12192000"/>
                <a:gd name="connsiteY1" fmla="*/ 539236 h 4209569"/>
                <a:gd name="connsiteX2" fmla="*/ 0 w 12192000"/>
                <a:gd name="connsiteY2" fmla="*/ 3134985 h 4209569"/>
                <a:gd name="connsiteX3" fmla="*/ 0 w 12192000"/>
                <a:gd name="connsiteY3" fmla="*/ 4209569 h 4209569"/>
                <a:gd name="connsiteX4" fmla="*/ 12192000 w 12192000"/>
                <a:gd name="connsiteY4" fmla="*/ 4209569 h 4209569"/>
                <a:gd name="connsiteX5" fmla="*/ 12192000 w 12192000"/>
                <a:gd name="connsiteY5" fmla="*/ 3134985 h 4209569"/>
                <a:gd name="connsiteX0" fmla="*/ 12192000 w 12192000"/>
                <a:gd name="connsiteY0" fmla="*/ 2158437 h 3233021"/>
                <a:gd name="connsiteX1" fmla="*/ 5138058 w 12192000"/>
                <a:gd name="connsiteY1" fmla="*/ 679140 h 3233021"/>
                <a:gd name="connsiteX2" fmla="*/ 0 w 12192000"/>
                <a:gd name="connsiteY2" fmla="*/ 2158437 h 3233021"/>
                <a:gd name="connsiteX3" fmla="*/ 0 w 12192000"/>
                <a:gd name="connsiteY3" fmla="*/ 3233021 h 3233021"/>
                <a:gd name="connsiteX4" fmla="*/ 12192000 w 12192000"/>
                <a:gd name="connsiteY4" fmla="*/ 3233021 h 3233021"/>
                <a:gd name="connsiteX5" fmla="*/ 12192000 w 12192000"/>
                <a:gd name="connsiteY5" fmla="*/ 2158437 h 3233021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802920 h 2877504"/>
                <a:gd name="connsiteX1" fmla="*/ 5138058 w 12192000"/>
                <a:gd name="connsiteY1" fmla="*/ 323623 h 2877504"/>
                <a:gd name="connsiteX2" fmla="*/ 0 w 12192000"/>
                <a:gd name="connsiteY2" fmla="*/ 1802920 h 2877504"/>
                <a:gd name="connsiteX3" fmla="*/ 0 w 12192000"/>
                <a:gd name="connsiteY3" fmla="*/ 2877504 h 2877504"/>
                <a:gd name="connsiteX4" fmla="*/ 12192000 w 12192000"/>
                <a:gd name="connsiteY4" fmla="*/ 2877504 h 2877504"/>
                <a:gd name="connsiteX5" fmla="*/ 12192000 w 12192000"/>
                <a:gd name="connsiteY5" fmla="*/ 1802920 h 2877504"/>
                <a:gd name="connsiteX0" fmla="*/ 12192000 w 12192000"/>
                <a:gd name="connsiteY0" fmla="*/ 1187253 h 2261837"/>
                <a:gd name="connsiteX1" fmla="*/ 4601030 w 12192000"/>
                <a:gd name="connsiteY1" fmla="*/ 433648 h 2261837"/>
                <a:gd name="connsiteX2" fmla="*/ 0 w 12192000"/>
                <a:gd name="connsiteY2" fmla="*/ 1187253 h 2261837"/>
                <a:gd name="connsiteX3" fmla="*/ 0 w 12192000"/>
                <a:gd name="connsiteY3" fmla="*/ 2261837 h 2261837"/>
                <a:gd name="connsiteX4" fmla="*/ 12192000 w 12192000"/>
                <a:gd name="connsiteY4" fmla="*/ 2261837 h 2261837"/>
                <a:gd name="connsiteX5" fmla="*/ 12192000 w 12192000"/>
                <a:gd name="connsiteY5" fmla="*/ 1187253 h 2261837"/>
                <a:gd name="connsiteX0" fmla="*/ 12192000 w 12192000"/>
                <a:gd name="connsiteY0" fmla="*/ 755772 h 1830356"/>
                <a:gd name="connsiteX1" fmla="*/ 6194520 w 12192000"/>
                <a:gd name="connsiteY1" fmla="*/ 534733 h 1830356"/>
                <a:gd name="connsiteX2" fmla="*/ 4601030 w 12192000"/>
                <a:gd name="connsiteY2" fmla="*/ 2167 h 1830356"/>
                <a:gd name="connsiteX3" fmla="*/ 0 w 12192000"/>
                <a:gd name="connsiteY3" fmla="*/ 755772 h 1830356"/>
                <a:gd name="connsiteX4" fmla="*/ 0 w 12192000"/>
                <a:gd name="connsiteY4" fmla="*/ 1830356 h 1830356"/>
                <a:gd name="connsiteX5" fmla="*/ 12192000 w 12192000"/>
                <a:gd name="connsiteY5" fmla="*/ 1830356 h 1830356"/>
                <a:gd name="connsiteX6" fmla="*/ 12192000 w 12192000"/>
                <a:gd name="connsiteY6" fmla="*/ 755772 h 1830356"/>
                <a:gd name="connsiteX0" fmla="*/ 12192000 w 12192000"/>
                <a:gd name="connsiteY0" fmla="*/ 221040 h 1295624"/>
                <a:gd name="connsiteX1" fmla="*/ 6194520 w 12192000"/>
                <a:gd name="connsiteY1" fmla="*/ 1 h 1295624"/>
                <a:gd name="connsiteX2" fmla="*/ 0 w 12192000"/>
                <a:gd name="connsiteY2" fmla="*/ 221040 h 1295624"/>
                <a:gd name="connsiteX3" fmla="*/ 0 w 12192000"/>
                <a:gd name="connsiteY3" fmla="*/ 1295624 h 1295624"/>
                <a:gd name="connsiteX4" fmla="*/ 12192000 w 12192000"/>
                <a:gd name="connsiteY4" fmla="*/ 1295624 h 1295624"/>
                <a:gd name="connsiteX5" fmla="*/ 12192000 w 12192000"/>
                <a:gd name="connsiteY5" fmla="*/ 221040 h 1295624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1644514 h 2719098"/>
                <a:gd name="connsiteX1" fmla="*/ 6238063 w 12192000"/>
                <a:gd name="connsiteY1" fmla="*/ 0 h 2719098"/>
                <a:gd name="connsiteX2" fmla="*/ 0 w 12192000"/>
                <a:gd name="connsiteY2" fmla="*/ 1644514 h 2719098"/>
                <a:gd name="connsiteX3" fmla="*/ 0 w 12192000"/>
                <a:gd name="connsiteY3" fmla="*/ 2719098 h 2719098"/>
                <a:gd name="connsiteX4" fmla="*/ 12192000 w 12192000"/>
                <a:gd name="connsiteY4" fmla="*/ 2719098 h 2719098"/>
                <a:gd name="connsiteX5" fmla="*/ 12192000 w 12192000"/>
                <a:gd name="connsiteY5" fmla="*/ 1644514 h 2719098"/>
                <a:gd name="connsiteX0" fmla="*/ 12192000 w 12192000"/>
                <a:gd name="connsiteY0" fmla="*/ 2138436 h 3213020"/>
                <a:gd name="connsiteX1" fmla="*/ 6238063 w 12192000"/>
                <a:gd name="connsiteY1" fmla="*/ 493922 h 3213020"/>
                <a:gd name="connsiteX2" fmla="*/ 0 w 12192000"/>
                <a:gd name="connsiteY2" fmla="*/ 2138436 h 3213020"/>
                <a:gd name="connsiteX3" fmla="*/ 0 w 12192000"/>
                <a:gd name="connsiteY3" fmla="*/ 3213020 h 3213020"/>
                <a:gd name="connsiteX4" fmla="*/ 12192000 w 12192000"/>
                <a:gd name="connsiteY4" fmla="*/ 3213020 h 3213020"/>
                <a:gd name="connsiteX5" fmla="*/ 12192000 w 12192000"/>
                <a:gd name="connsiteY5" fmla="*/ 2138436 h 3213020"/>
                <a:gd name="connsiteX0" fmla="*/ 12192000 w 12192000"/>
                <a:gd name="connsiteY0" fmla="*/ 2044923 h 3119507"/>
                <a:gd name="connsiteX1" fmla="*/ 6238063 w 12192000"/>
                <a:gd name="connsiteY1" fmla="*/ 400409 h 3119507"/>
                <a:gd name="connsiteX2" fmla="*/ 3727091 w 12192000"/>
                <a:gd name="connsiteY2" fmla="*/ 121296 h 3119507"/>
                <a:gd name="connsiteX3" fmla="*/ 0 w 12192000"/>
                <a:gd name="connsiteY3" fmla="*/ 2044923 h 3119507"/>
                <a:gd name="connsiteX4" fmla="*/ 0 w 12192000"/>
                <a:gd name="connsiteY4" fmla="*/ 3119507 h 3119507"/>
                <a:gd name="connsiteX5" fmla="*/ 12192000 w 12192000"/>
                <a:gd name="connsiteY5" fmla="*/ 3119507 h 3119507"/>
                <a:gd name="connsiteX6" fmla="*/ 12192000 w 12192000"/>
                <a:gd name="connsiteY6" fmla="*/ 2044923 h 3119507"/>
                <a:gd name="connsiteX0" fmla="*/ 12192000 w 12192000"/>
                <a:gd name="connsiteY0" fmla="*/ 1652861 h 2727445"/>
                <a:gd name="connsiteX1" fmla="*/ 6238063 w 12192000"/>
                <a:gd name="connsiteY1" fmla="*/ 8347 h 2727445"/>
                <a:gd name="connsiteX2" fmla="*/ 3538406 w 12192000"/>
                <a:gd name="connsiteY2" fmla="*/ 1041063 h 2727445"/>
                <a:gd name="connsiteX3" fmla="*/ 0 w 12192000"/>
                <a:gd name="connsiteY3" fmla="*/ 1652861 h 2727445"/>
                <a:gd name="connsiteX4" fmla="*/ 0 w 12192000"/>
                <a:gd name="connsiteY4" fmla="*/ 2727445 h 2727445"/>
                <a:gd name="connsiteX5" fmla="*/ 12192000 w 12192000"/>
                <a:gd name="connsiteY5" fmla="*/ 2727445 h 2727445"/>
                <a:gd name="connsiteX6" fmla="*/ 12192000 w 12192000"/>
                <a:gd name="connsiteY6" fmla="*/ 1652861 h 2727445"/>
                <a:gd name="connsiteX0" fmla="*/ 12192000 w 12192000"/>
                <a:gd name="connsiteY0" fmla="*/ 1655532 h 2730116"/>
                <a:gd name="connsiteX1" fmla="*/ 8894177 w 12192000"/>
                <a:gd name="connsiteY1" fmla="*/ 569243 h 2730116"/>
                <a:gd name="connsiteX2" fmla="*/ 6238063 w 12192000"/>
                <a:gd name="connsiteY2" fmla="*/ 11018 h 2730116"/>
                <a:gd name="connsiteX3" fmla="*/ 3538406 w 12192000"/>
                <a:gd name="connsiteY3" fmla="*/ 1043734 h 2730116"/>
                <a:gd name="connsiteX4" fmla="*/ 0 w 12192000"/>
                <a:gd name="connsiteY4" fmla="*/ 1655532 h 2730116"/>
                <a:gd name="connsiteX5" fmla="*/ 0 w 12192000"/>
                <a:gd name="connsiteY5" fmla="*/ 2730116 h 2730116"/>
                <a:gd name="connsiteX6" fmla="*/ 12192000 w 12192000"/>
                <a:gd name="connsiteY6" fmla="*/ 2730116 h 2730116"/>
                <a:gd name="connsiteX7" fmla="*/ 12192000 w 12192000"/>
                <a:gd name="connsiteY7" fmla="*/ 1655532 h 2730116"/>
                <a:gd name="connsiteX0" fmla="*/ 12192000 w 12192000"/>
                <a:gd name="connsiteY0" fmla="*/ 1658292 h 2732876"/>
                <a:gd name="connsiteX1" fmla="*/ 8749034 w 12192000"/>
                <a:gd name="connsiteY1" fmla="*/ 1855923 h 2732876"/>
                <a:gd name="connsiteX2" fmla="*/ 6238063 w 12192000"/>
                <a:gd name="connsiteY2" fmla="*/ 13778 h 2732876"/>
                <a:gd name="connsiteX3" fmla="*/ 3538406 w 12192000"/>
                <a:gd name="connsiteY3" fmla="*/ 1046494 h 2732876"/>
                <a:gd name="connsiteX4" fmla="*/ 0 w 12192000"/>
                <a:gd name="connsiteY4" fmla="*/ 1658292 h 2732876"/>
                <a:gd name="connsiteX5" fmla="*/ 0 w 12192000"/>
                <a:gd name="connsiteY5" fmla="*/ 2732876 h 2732876"/>
                <a:gd name="connsiteX6" fmla="*/ 12192000 w 12192000"/>
                <a:gd name="connsiteY6" fmla="*/ 2732876 h 2732876"/>
                <a:gd name="connsiteX7" fmla="*/ 12192000 w 12192000"/>
                <a:gd name="connsiteY7" fmla="*/ 1658292 h 2732876"/>
                <a:gd name="connsiteX0" fmla="*/ 12192000 w 12192000"/>
                <a:gd name="connsiteY0" fmla="*/ 780671 h 1855255"/>
                <a:gd name="connsiteX1" fmla="*/ 8749034 w 12192000"/>
                <a:gd name="connsiteY1" fmla="*/ 978302 h 1855255"/>
                <a:gd name="connsiteX2" fmla="*/ 6034863 w 12192000"/>
                <a:gd name="connsiteY2" fmla="*/ 140965 h 1855255"/>
                <a:gd name="connsiteX3" fmla="*/ 3538406 w 12192000"/>
                <a:gd name="connsiteY3" fmla="*/ 168873 h 1855255"/>
                <a:gd name="connsiteX4" fmla="*/ 0 w 12192000"/>
                <a:gd name="connsiteY4" fmla="*/ 780671 h 1855255"/>
                <a:gd name="connsiteX5" fmla="*/ 0 w 12192000"/>
                <a:gd name="connsiteY5" fmla="*/ 1855255 h 1855255"/>
                <a:gd name="connsiteX6" fmla="*/ 12192000 w 12192000"/>
                <a:gd name="connsiteY6" fmla="*/ 1855255 h 1855255"/>
                <a:gd name="connsiteX7" fmla="*/ 12192000 w 12192000"/>
                <a:gd name="connsiteY7" fmla="*/ 780671 h 1855255"/>
                <a:gd name="connsiteX0" fmla="*/ 12192000 w 12192000"/>
                <a:gd name="connsiteY0" fmla="*/ 641773 h 1716357"/>
                <a:gd name="connsiteX1" fmla="*/ 8749034 w 12192000"/>
                <a:gd name="connsiteY1" fmla="*/ 839404 h 1716357"/>
                <a:gd name="connsiteX2" fmla="*/ 6034863 w 12192000"/>
                <a:gd name="connsiteY2" fmla="*/ 2067 h 1716357"/>
                <a:gd name="connsiteX3" fmla="*/ 3132006 w 12192000"/>
                <a:gd name="connsiteY3" fmla="*/ 1090602 h 1716357"/>
                <a:gd name="connsiteX4" fmla="*/ 0 w 12192000"/>
                <a:gd name="connsiteY4" fmla="*/ 641773 h 1716357"/>
                <a:gd name="connsiteX5" fmla="*/ 0 w 12192000"/>
                <a:gd name="connsiteY5" fmla="*/ 1716357 h 1716357"/>
                <a:gd name="connsiteX6" fmla="*/ 12192000 w 12192000"/>
                <a:gd name="connsiteY6" fmla="*/ 1716357 h 1716357"/>
                <a:gd name="connsiteX7" fmla="*/ 12192000 w 12192000"/>
                <a:gd name="connsiteY7" fmla="*/ 641773 h 1716357"/>
                <a:gd name="connsiteX0" fmla="*/ 12192000 w 12192000"/>
                <a:gd name="connsiteY0" fmla="*/ 1003870 h 2078454"/>
                <a:gd name="connsiteX1" fmla="*/ 8749034 w 12192000"/>
                <a:gd name="connsiteY1" fmla="*/ 1201501 h 2078454"/>
                <a:gd name="connsiteX2" fmla="*/ 6020349 w 12192000"/>
                <a:gd name="connsiteY2" fmla="*/ 1317 h 2078454"/>
                <a:gd name="connsiteX3" fmla="*/ 3132006 w 12192000"/>
                <a:gd name="connsiteY3" fmla="*/ 1452699 h 2078454"/>
                <a:gd name="connsiteX4" fmla="*/ 0 w 12192000"/>
                <a:gd name="connsiteY4" fmla="*/ 1003870 h 2078454"/>
                <a:gd name="connsiteX5" fmla="*/ 0 w 12192000"/>
                <a:gd name="connsiteY5" fmla="*/ 2078454 h 2078454"/>
                <a:gd name="connsiteX6" fmla="*/ 12192000 w 12192000"/>
                <a:gd name="connsiteY6" fmla="*/ 2078454 h 2078454"/>
                <a:gd name="connsiteX7" fmla="*/ 12192000 w 12192000"/>
                <a:gd name="connsiteY7" fmla="*/ 1003870 h 2078454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  <a:gd name="connsiteX0" fmla="*/ 12192000 w 14474952"/>
                <a:gd name="connsiteY0" fmla="*/ 1003870 h 2105637"/>
                <a:gd name="connsiteX1" fmla="*/ 8749034 w 14474952"/>
                <a:gd name="connsiteY1" fmla="*/ 1201501 h 2105637"/>
                <a:gd name="connsiteX2" fmla="*/ 6020349 w 14474952"/>
                <a:gd name="connsiteY2" fmla="*/ 1317 h 2105637"/>
                <a:gd name="connsiteX3" fmla="*/ 3132006 w 14474952"/>
                <a:gd name="connsiteY3" fmla="*/ 1452699 h 2105637"/>
                <a:gd name="connsiteX4" fmla="*/ 0 w 14474952"/>
                <a:gd name="connsiteY4" fmla="*/ 1003870 h 2105637"/>
                <a:gd name="connsiteX5" fmla="*/ 0 w 14474952"/>
                <a:gd name="connsiteY5" fmla="*/ 2078454 h 2105637"/>
                <a:gd name="connsiteX6" fmla="*/ 14474952 w 14474952"/>
                <a:gd name="connsiteY6" fmla="*/ 2105637 h 2105637"/>
                <a:gd name="connsiteX7" fmla="*/ 12192000 w 14474952"/>
                <a:gd name="connsiteY7" fmla="*/ 1003870 h 210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4952" h="2105637">
                  <a:moveTo>
                    <a:pt x="12192000" y="1003870"/>
                  </a:moveTo>
                  <a:cubicBezTo>
                    <a:pt x="11642363" y="643725"/>
                    <a:pt x="9741357" y="1475587"/>
                    <a:pt x="8749034" y="1201501"/>
                  </a:cubicBezTo>
                  <a:cubicBezTo>
                    <a:pt x="7756711" y="927415"/>
                    <a:pt x="6956520" y="-40549"/>
                    <a:pt x="6020349" y="1317"/>
                  </a:cubicBezTo>
                  <a:cubicBezTo>
                    <a:pt x="5084178" y="43183"/>
                    <a:pt x="4171683" y="1178613"/>
                    <a:pt x="3132006" y="1452699"/>
                  </a:cubicBezTo>
                  <a:cubicBezTo>
                    <a:pt x="2092329" y="1726785"/>
                    <a:pt x="621182" y="504168"/>
                    <a:pt x="0" y="1003870"/>
                  </a:cubicBezTo>
                  <a:lnTo>
                    <a:pt x="0" y="2078454"/>
                  </a:lnTo>
                  <a:lnTo>
                    <a:pt x="14474952" y="2105637"/>
                  </a:lnTo>
                  <a:cubicBezTo>
                    <a:pt x="12881865" y="1792746"/>
                    <a:pt x="12952984" y="1371126"/>
                    <a:pt x="12192000" y="100387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8" name="Oval 7"/>
            <p:cNvSpPr/>
            <p:nvPr/>
          </p:nvSpPr>
          <p:spPr>
            <a:xfrm>
              <a:off x="8984738" y="853339"/>
              <a:ext cx="219587" cy="219587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9" name="Oval 8"/>
            <p:cNvSpPr/>
            <p:nvPr/>
          </p:nvSpPr>
          <p:spPr>
            <a:xfrm>
              <a:off x="8777288" y="919709"/>
              <a:ext cx="90989" cy="90989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0" name="Oval 9"/>
            <p:cNvSpPr/>
            <p:nvPr/>
          </p:nvSpPr>
          <p:spPr>
            <a:xfrm>
              <a:off x="10348508" y="1072926"/>
              <a:ext cx="90989" cy="90989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1" name="Oval 10"/>
            <p:cNvSpPr/>
            <p:nvPr/>
          </p:nvSpPr>
          <p:spPr>
            <a:xfrm>
              <a:off x="11122235" y="1040686"/>
              <a:ext cx="219587" cy="219587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2" name="Oval 11"/>
            <p:cNvSpPr/>
            <p:nvPr/>
          </p:nvSpPr>
          <p:spPr>
            <a:xfrm>
              <a:off x="9275291" y="860505"/>
              <a:ext cx="90989" cy="90989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3" name="Oval 12"/>
            <p:cNvSpPr/>
            <p:nvPr/>
          </p:nvSpPr>
          <p:spPr>
            <a:xfrm>
              <a:off x="7604587" y="807844"/>
              <a:ext cx="90989" cy="90989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4" name="Oval 13"/>
            <p:cNvSpPr/>
            <p:nvPr/>
          </p:nvSpPr>
          <p:spPr>
            <a:xfrm>
              <a:off x="7454387" y="716855"/>
              <a:ext cx="112602" cy="112602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5" name="Oval 14"/>
            <p:cNvSpPr/>
            <p:nvPr/>
          </p:nvSpPr>
          <p:spPr>
            <a:xfrm>
              <a:off x="8868277" y="1059563"/>
              <a:ext cx="112602" cy="112602"/>
            </a:xfrm>
            <a:prstGeom prst="ellipse">
              <a:avLst/>
            </a:prstGeom>
            <a:solidFill>
              <a:schemeClr val="tx1">
                <a:lumMod val="95000"/>
                <a:lumOff val="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</p:grp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285836" y="5868584"/>
            <a:ext cx="9906164" cy="25896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90180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68401" y="3540126"/>
            <a:ext cx="10179050" cy="87122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572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0550776" y="7840849"/>
            <a:ext cx="12690228" cy="324483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29220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126725" y="3297603"/>
            <a:ext cx="7680878" cy="6573806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2544769" y="3297603"/>
            <a:ext cx="7680878" cy="657380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0688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088448" y="3587589"/>
            <a:ext cx="6230400" cy="533239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076800" y="3587589"/>
            <a:ext cx="6217572" cy="533239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16052326" y="3587589"/>
            <a:ext cx="6217572" cy="533239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11002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282964" y="3992841"/>
            <a:ext cx="5735788" cy="479388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835994" y="6823357"/>
            <a:ext cx="5735788" cy="479388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8145195" y="5348168"/>
            <a:ext cx="4734310" cy="368375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10726824" y="9031923"/>
            <a:ext cx="3301804" cy="2770222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84981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2600327"/>
            <a:ext cx="24384000" cy="11115674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algn="l"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386364" y="3852651"/>
            <a:ext cx="11611276" cy="6092218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/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86689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2600327"/>
            <a:ext cx="24384000" cy="11115674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algn="l"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606709" y="4855570"/>
            <a:ext cx="8608134" cy="447970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/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13980459" y="4855570"/>
            <a:ext cx="8608134" cy="447970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/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37754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12054469" y="3108766"/>
            <a:ext cx="12329530" cy="91143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3108762"/>
            <a:ext cx="2285998" cy="911431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316851" y="7652394"/>
            <a:ext cx="4815098" cy="457068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7162800" y="3108766"/>
            <a:ext cx="4876796" cy="457068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9196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4886327" y="4601685"/>
            <a:ext cx="4857750" cy="45436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14620875" y="4601685"/>
            <a:ext cx="4857750" cy="454363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1" y="9145315"/>
            <a:ext cx="4857750" cy="457068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9725025" y="9145315"/>
            <a:ext cx="4857750" cy="457068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Picture Placeholder 14"/>
          <p:cNvSpPr>
            <a:spLocks noGrp="1"/>
          </p:cNvSpPr>
          <p:nvPr>
            <p:ph type="pic" sz="quarter" idx="17"/>
          </p:nvPr>
        </p:nvSpPr>
        <p:spPr>
          <a:xfrm>
            <a:off x="14611349" y="4601685"/>
            <a:ext cx="4857750" cy="45436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19510373" y="9145315"/>
            <a:ext cx="4857750" cy="457068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5857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132320" y="4495800"/>
            <a:ext cx="2016536" cy="201653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9024302" y="4495800"/>
            <a:ext cx="2016536" cy="201653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6931524" y="4495800"/>
            <a:ext cx="2016536" cy="201653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9915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581032" y="8019136"/>
            <a:ext cx="3703016" cy="366635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2638284" y="8019136"/>
            <a:ext cx="3703016" cy="366635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581032" y="3910140"/>
            <a:ext cx="3703016" cy="366635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638284" y="3910140"/>
            <a:ext cx="3703016" cy="366635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47230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558266" y="5391150"/>
            <a:ext cx="3236976" cy="323697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7914464" y="5391150"/>
            <a:ext cx="3236976" cy="323697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3251612" y="5391150"/>
            <a:ext cx="3236976" cy="323697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8607808" y="5391150"/>
            <a:ext cx="3236976" cy="323697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9898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678643" y="4871364"/>
            <a:ext cx="4484158" cy="387358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1913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952413" y="3889004"/>
            <a:ext cx="3541070" cy="3637284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24098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3606800"/>
            <a:ext cx="13411200" cy="8331200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11508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483428" y="314960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314960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66856" y="314960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10450284" y="314960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13933712" y="314960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17417138" y="314960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20900566" y="314960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0" y="619226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4" name="Picture Placeholder 25"/>
          <p:cNvSpPr>
            <a:spLocks noGrp="1"/>
          </p:cNvSpPr>
          <p:nvPr>
            <p:ph type="pic" sz="quarter" idx="21"/>
          </p:nvPr>
        </p:nvSpPr>
        <p:spPr>
          <a:xfrm>
            <a:off x="3483428" y="619226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22"/>
          </p:nvPr>
        </p:nvSpPr>
        <p:spPr>
          <a:xfrm>
            <a:off x="6966856" y="619226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6" name="Picture Placeholder 25"/>
          <p:cNvSpPr>
            <a:spLocks noGrp="1"/>
          </p:cNvSpPr>
          <p:nvPr>
            <p:ph type="pic" sz="quarter" idx="23"/>
          </p:nvPr>
        </p:nvSpPr>
        <p:spPr>
          <a:xfrm>
            <a:off x="10450284" y="619226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24"/>
          </p:nvPr>
        </p:nvSpPr>
        <p:spPr>
          <a:xfrm>
            <a:off x="13933712" y="619226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8" name="Picture Placeholder 25"/>
          <p:cNvSpPr>
            <a:spLocks noGrp="1"/>
          </p:cNvSpPr>
          <p:nvPr>
            <p:ph type="pic" sz="quarter" idx="25"/>
          </p:nvPr>
        </p:nvSpPr>
        <p:spPr>
          <a:xfrm>
            <a:off x="17417138" y="619226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26"/>
          </p:nvPr>
        </p:nvSpPr>
        <p:spPr>
          <a:xfrm>
            <a:off x="20900566" y="6192260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0" name="Picture Placeholder 25"/>
          <p:cNvSpPr>
            <a:spLocks noGrp="1"/>
          </p:cNvSpPr>
          <p:nvPr>
            <p:ph type="pic" sz="quarter" idx="27"/>
          </p:nvPr>
        </p:nvSpPr>
        <p:spPr>
          <a:xfrm>
            <a:off x="0" y="9234912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1" name="Picture Placeholder 25"/>
          <p:cNvSpPr>
            <a:spLocks noGrp="1"/>
          </p:cNvSpPr>
          <p:nvPr>
            <p:ph type="pic" sz="quarter" idx="28"/>
          </p:nvPr>
        </p:nvSpPr>
        <p:spPr>
          <a:xfrm>
            <a:off x="3483428" y="9234912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2" name="Picture Placeholder 25"/>
          <p:cNvSpPr>
            <a:spLocks noGrp="1"/>
          </p:cNvSpPr>
          <p:nvPr>
            <p:ph type="pic" sz="quarter" idx="29"/>
          </p:nvPr>
        </p:nvSpPr>
        <p:spPr>
          <a:xfrm>
            <a:off x="6966856" y="9234912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3" name="Picture Placeholder 25"/>
          <p:cNvSpPr>
            <a:spLocks noGrp="1"/>
          </p:cNvSpPr>
          <p:nvPr>
            <p:ph type="pic" sz="quarter" idx="30"/>
          </p:nvPr>
        </p:nvSpPr>
        <p:spPr>
          <a:xfrm>
            <a:off x="10450284" y="9234912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25"/>
          <p:cNvSpPr>
            <a:spLocks noGrp="1"/>
          </p:cNvSpPr>
          <p:nvPr>
            <p:ph type="pic" sz="quarter" idx="31"/>
          </p:nvPr>
        </p:nvSpPr>
        <p:spPr>
          <a:xfrm>
            <a:off x="13933712" y="9234912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5" name="Picture Placeholder 25"/>
          <p:cNvSpPr>
            <a:spLocks noGrp="1"/>
          </p:cNvSpPr>
          <p:nvPr>
            <p:ph type="pic" sz="quarter" idx="32"/>
          </p:nvPr>
        </p:nvSpPr>
        <p:spPr>
          <a:xfrm>
            <a:off x="17417138" y="9234912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6" name="Picture Placeholder 25"/>
          <p:cNvSpPr>
            <a:spLocks noGrp="1"/>
          </p:cNvSpPr>
          <p:nvPr>
            <p:ph type="pic" sz="quarter" idx="33"/>
          </p:nvPr>
        </p:nvSpPr>
        <p:spPr>
          <a:xfrm>
            <a:off x="20900566" y="9234912"/>
            <a:ext cx="3483428" cy="304265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4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79340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2524126"/>
            <a:ext cx="24384000" cy="97536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3131183" y="4797583"/>
            <a:ext cx="5332550" cy="4830658"/>
          </a:xfrm>
          <a:solidFill>
            <a:schemeClr val="bg1">
              <a:lumMod val="95000"/>
            </a:schemeClr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9388839" y="4797583"/>
            <a:ext cx="5332550" cy="4830658"/>
          </a:xfrm>
          <a:solidFill>
            <a:schemeClr val="bg1">
              <a:lumMod val="95000"/>
            </a:schemeClr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15920267" y="4797583"/>
            <a:ext cx="5332550" cy="4830658"/>
          </a:xfrm>
          <a:solidFill>
            <a:schemeClr val="bg1">
              <a:lumMod val="95000"/>
            </a:schemeClr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6659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284304" y="3929986"/>
            <a:ext cx="7988148" cy="79881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76727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387476" y="3098800"/>
            <a:ext cx="10549152" cy="5156200"/>
          </a:xfrm>
          <a:solidFill>
            <a:schemeClr val="bg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2444153" y="3098800"/>
            <a:ext cx="10536350" cy="5156200"/>
          </a:xfrm>
          <a:solidFill>
            <a:schemeClr val="bg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15415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2711883" y="3730977"/>
            <a:ext cx="10719822" cy="7851422"/>
          </a:xfrm>
          <a:solidFill>
            <a:schemeClr val="bg1">
              <a:lumMod val="75000"/>
            </a:schemeClr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/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81506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24384000" cy="42091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073927" y="3959674"/>
            <a:ext cx="5284098" cy="3316692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042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91613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5011400" y="4537841"/>
            <a:ext cx="6959600" cy="4302938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8314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 rot="300000" flipH="1">
            <a:off x="20395102" y="3968352"/>
            <a:ext cx="2414884" cy="241488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6" name="Rectangle 5"/>
          <p:cNvSpPr/>
          <p:nvPr userDrawn="1"/>
        </p:nvSpPr>
        <p:spPr>
          <a:xfrm rot="21300000">
            <a:off x="1574016" y="3945534"/>
            <a:ext cx="2414884" cy="241488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Rectangle 7"/>
          <p:cNvSpPr/>
          <p:nvPr userDrawn="1"/>
        </p:nvSpPr>
        <p:spPr>
          <a:xfrm rot="21300000">
            <a:off x="1574016" y="8286154"/>
            <a:ext cx="2414884" cy="241488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1" name="Rectangle 10"/>
          <p:cNvSpPr/>
          <p:nvPr userDrawn="1"/>
        </p:nvSpPr>
        <p:spPr>
          <a:xfrm rot="300000" flipH="1">
            <a:off x="20395102" y="8286150"/>
            <a:ext cx="2414884" cy="241488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rot="21289120">
            <a:off x="1768601" y="4181596"/>
            <a:ext cx="2008814" cy="19267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rot="21289120">
            <a:off x="1768601" y="8528640"/>
            <a:ext cx="2008814" cy="19267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 userDrawn="1">
            <p:ph type="pic" sz="quarter" idx="16"/>
          </p:nvPr>
        </p:nvSpPr>
        <p:spPr>
          <a:xfrm rot="310880" flipH="1">
            <a:off x="20593559" y="4181596"/>
            <a:ext cx="2008814" cy="19267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 userDrawn="1">
            <p:ph type="pic" sz="quarter" idx="17"/>
          </p:nvPr>
        </p:nvSpPr>
        <p:spPr>
          <a:xfrm rot="310880" flipH="1">
            <a:off x="20593559" y="8528640"/>
            <a:ext cx="2008814" cy="19267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49013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24384000" cy="42091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1740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2983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24384000" cy="42091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9730154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01317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487680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28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75360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2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14630398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0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19507196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2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487680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975360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25"/>
          <p:cNvSpPr>
            <a:spLocks noGrp="1"/>
          </p:cNvSpPr>
          <p:nvPr>
            <p:ph type="pic" sz="quarter" idx="21"/>
          </p:nvPr>
        </p:nvSpPr>
        <p:spPr>
          <a:xfrm>
            <a:off x="14630398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22"/>
          </p:nvPr>
        </p:nvSpPr>
        <p:spPr>
          <a:xfrm>
            <a:off x="19507196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6" name="Picture Placeholder 25"/>
          <p:cNvSpPr>
            <a:spLocks noGrp="1"/>
          </p:cNvSpPr>
          <p:nvPr>
            <p:ph type="pic" sz="quarter" idx="23"/>
          </p:nvPr>
        </p:nvSpPr>
        <p:spPr>
          <a:xfrm>
            <a:off x="0" y="915262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24"/>
          </p:nvPr>
        </p:nvSpPr>
        <p:spPr>
          <a:xfrm>
            <a:off x="4876800" y="915262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8" name="Picture Placeholder 25"/>
          <p:cNvSpPr>
            <a:spLocks noGrp="1"/>
          </p:cNvSpPr>
          <p:nvPr>
            <p:ph type="pic" sz="quarter" idx="25"/>
          </p:nvPr>
        </p:nvSpPr>
        <p:spPr>
          <a:xfrm>
            <a:off x="9753600" y="915262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26"/>
          </p:nvPr>
        </p:nvSpPr>
        <p:spPr>
          <a:xfrm>
            <a:off x="14630398" y="915262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Picture Placeholder 25"/>
          <p:cNvSpPr>
            <a:spLocks noGrp="1"/>
          </p:cNvSpPr>
          <p:nvPr>
            <p:ph type="pic" sz="quarter" idx="27"/>
          </p:nvPr>
        </p:nvSpPr>
        <p:spPr>
          <a:xfrm>
            <a:off x="19507196" y="9152621"/>
            <a:ext cx="4876800" cy="454342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82749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24384000" cy="42091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487680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75360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14630398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19507196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487680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975360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5"/>
          <p:cNvSpPr>
            <a:spLocks noGrp="1"/>
          </p:cNvSpPr>
          <p:nvPr>
            <p:ph type="pic" sz="quarter" idx="21"/>
          </p:nvPr>
        </p:nvSpPr>
        <p:spPr>
          <a:xfrm>
            <a:off x="14630398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25"/>
          <p:cNvSpPr>
            <a:spLocks noGrp="1"/>
          </p:cNvSpPr>
          <p:nvPr>
            <p:ph type="pic" sz="quarter" idx="22"/>
          </p:nvPr>
        </p:nvSpPr>
        <p:spPr>
          <a:xfrm>
            <a:off x="19507196" y="4572141"/>
            <a:ext cx="4876800" cy="454342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2878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04715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58324" y="623457"/>
            <a:ext cx="23067352" cy="1246909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15770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92293" y="2258910"/>
            <a:ext cx="14004002" cy="9198180"/>
          </a:xfrm>
          <a:solidFill>
            <a:schemeClr val="bg1">
              <a:lumMod val="95000"/>
            </a:schemeClr>
          </a:solidFill>
          <a:ln w="254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27000" endPos="30000" dir="5400000" sy="-100000" algn="bl" rotWithShape="0"/>
          </a:effectLst>
        </p:spPr>
        <p:txBody>
          <a:bodyPr lIns="0" tIns="0" rIns="0" bIns="0"/>
          <a:lstStyle>
            <a:lvl1pPr>
              <a:defRPr lang="en-US" sz="360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defTabSz="1828754"/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1482727" y="4765676"/>
            <a:ext cx="6394450" cy="35000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7951443" y="4765676"/>
            <a:ext cx="6394450" cy="3500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09637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691400" y="5022127"/>
            <a:ext cx="10359004" cy="5827158"/>
          </a:xfrm>
          <a:prstGeom prst="rect">
            <a:avLst/>
          </a:prstGeom>
          <a:blipFill dpi="0" rotWithShape="1">
            <a:blip r:embed="rId2"/>
            <a:srcRect/>
            <a:tile tx="0" ty="0" sx="35000" sy="35000" flip="none" algn="b"/>
          </a:blip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691400" y="5022127"/>
            <a:ext cx="10359004" cy="5823886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73294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7794904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957699" y="2807843"/>
            <a:ext cx="4181602" cy="7426606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38827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7794904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150238" y="3074843"/>
            <a:ext cx="8862964" cy="5823886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711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706087" y="4142544"/>
            <a:ext cx="5297422" cy="3443772"/>
          </a:xfrm>
          <a:prstGeom prst="hexagon">
            <a:avLst>
              <a:gd name="adj" fmla="val 24631"/>
              <a:gd name="vf" fmla="val 115470"/>
            </a:avLst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894577" y="4142544"/>
            <a:ext cx="5297422" cy="3443772"/>
          </a:xfrm>
          <a:prstGeom prst="hexagon">
            <a:avLst>
              <a:gd name="adj" fmla="val 24631"/>
              <a:gd name="vf" fmla="val 115470"/>
            </a:avLst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2173847" y="4142544"/>
            <a:ext cx="5297422" cy="3443772"/>
          </a:xfrm>
          <a:prstGeom prst="hexagon">
            <a:avLst>
              <a:gd name="adj" fmla="val 24631"/>
              <a:gd name="vf" fmla="val 115470"/>
            </a:avLst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17392249" y="4142544"/>
            <a:ext cx="5297422" cy="3443772"/>
          </a:xfrm>
          <a:prstGeom prst="hexagon">
            <a:avLst>
              <a:gd name="adj" fmla="val 24631"/>
              <a:gd name="vf" fmla="val 115470"/>
            </a:avLst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4370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44728" y="4798852"/>
            <a:ext cx="2965812" cy="5157644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618462" y="4798852"/>
            <a:ext cx="2965812" cy="5157644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10709093" y="4592317"/>
            <a:ext cx="3459974" cy="6130382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0352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24384000" cy="9114974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468711" y="2798132"/>
            <a:ext cx="11309694" cy="6393044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7428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24384000" cy="10363202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03303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3681852"/>
            <a:ext cx="24384000" cy="7763144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385967" y="4798848"/>
            <a:ext cx="2965810" cy="5157644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/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245357" y="4592317"/>
            <a:ext cx="3464954" cy="6130382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>
              <a:defRPr lang="en-US" sz="3600" dirty="0"/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76893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0150042" y="2438400"/>
            <a:ext cx="4337916" cy="433791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14300">
              <a:prstClr val="black">
                <a:alpha val="6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57425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648348" y="1425822"/>
            <a:ext cx="3943560" cy="394356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14300">
              <a:prstClr val="black">
                <a:alpha val="6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8297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3172233" y="12999821"/>
            <a:ext cx="1211766" cy="691610"/>
          </a:xfrm>
        </p:spPr>
        <p:txBody>
          <a:bodyPr/>
          <a:lstStyle>
            <a:lvl1pPr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73144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2107538" y="4067176"/>
            <a:ext cx="2155440" cy="21554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2353324" y="4067176"/>
            <a:ext cx="2155440" cy="21554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4961866" y="8973252"/>
            <a:ext cx="2155440" cy="21554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5007360" y="8973252"/>
            <a:ext cx="2155440" cy="21554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64893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448779" y="5230863"/>
            <a:ext cx="3455954" cy="345595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7804977" y="5230863"/>
            <a:ext cx="3455954" cy="345595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3142125" y="5230863"/>
            <a:ext cx="3455954" cy="345595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8498321" y="5230863"/>
            <a:ext cx="3455954" cy="345595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75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04561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3574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974041" y="4349508"/>
            <a:ext cx="5672906" cy="344377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349161" y="4349508"/>
            <a:ext cx="5672906" cy="344377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6724287" y="4349508"/>
            <a:ext cx="5672906" cy="344377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1398491" y="3810247"/>
            <a:ext cx="6836774" cy="4522294"/>
          </a:xfrm>
          <a:prstGeom prst="rect">
            <a:avLst/>
          </a:prstGeom>
          <a:noFill/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8773613" y="3810247"/>
            <a:ext cx="6836774" cy="4522294"/>
          </a:xfrm>
          <a:prstGeom prst="rect">
            <a:avLst/>
          </a:prstGeom>
          <a:noFill/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6148737" y="3810247"/>
            <a:ext cx="6836774" cy="4522294"/>
          </a:xfrm>
          <a:prstGeom prst="rect">
            <a:avLst/>
          </a:prstGeom>
          <a:noFill/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5037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24384000" cy="42091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5"/>
            <a:ext cx="5486400" cy="730250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5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980503" y="12898739"/>
            <a:ext cx="831998" cy="49877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487680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753600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14630398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19507196" y="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487680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9753600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5"/>
          <p:cNvSpPr>
            <a:spLocks noGrp="1"/>
          </p:cNvSpPr>
          <p:nvPr>
            <p:ph type="pic" sz="quarter" idx="21"/>
          </p:nvPr>
        </p:nvSpPr>
        <p:spPr>
          <a:xfrm>
            <a:off x="14630398" y="4572141"/>
            <a:ext cx="4876800" cy="454342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25"/>
          <p:cNvSpPr>
            <a:spLocks noGrp="1"/>
          </p:cNvSpPr>
          <p:nvPr>
            <p:ph type="pic" sz="quarter" idx="22"/>
          </p:nvPr>
        </p:nvSpPr>
        <p:spPr>
          <a:xfrm>
            <a:off x="19507196" y="4572141"/>
            <a:ext cx="4876800" cy="454342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98130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98931509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9677400"/>
            <a:ext cx="24384000" cy="40386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00384881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28298" y="5837576"/>
            <a:ext cx="22327404" cy="588714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05774351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451428" y="2438401"/>
            <a:ext cx="17649372" cy="499291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100800" y="7431315"/>
            <a:ext cx="4363156" cy="4266658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9100800" y="1"/>
            <a:ext cx="4363156" cy="74313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28486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388600" y="5081990"/>
            <a:ext cx="13075356" cy="65151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45605917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8739" y="3543577"/>
            <a:ext cx="22135218" cy="883419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54997731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192002" y="0"/>
            <a:ext cx="12192000" cy="104394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0439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3" y="285018"/>
            <a:ext cx="10593118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4" y="950238"/>
            <a:ext cx="8450768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708523" y="3330568"/>
            <a:ext cx="5682262" cy="6871336"/>
          </a:xfrm>
          <a:custGeom>
            <a:avLst/>
            <a:gdLst>
              <a:gd name="connsiteX0" fmla="*/ 0 w 1571448"/>
              <a:gd name="connsiteY0" fmla="*/ 0 h 1625600"/>
              <a:gd name="connsiteX1" fmla="*/ 1571448 w 1571448"/>
              <a:gd name="connsiteY1" fmla="*/ 0 h 1625600"/>
              <a:gd name="connsiteX2" fmla="*/ 1571448 w 1571448"/>
              <a:gd name="connsiteY2" fmla="*/ 1625600 h 1625600"/>
              <a:gd name="connsiteX3" fmla="*/ 0 w 1571448"/>
              <a:gd name="connsiteY3" fmla="*/ 1625600 h 1625600"/>
              <a:gd name="connsiteX4" fmla="*/ 0 w 1571448"/>
              <a:gd name="connsiteY4" fmla="*/ 0 h 1625600"/>
              <a:gd name="connsiteX0" fmla="*/ 0 w 1571448"/>
              <a:gd name="connsiteY0" fmla="*/ 438150 h 2063750"/>
              <a:gd name="connsiteX1" fmla="*/ 1171398 w 1571448"/>
              <a:gd name="connsiteY1" fmla="*/ 0 h 2063750"/>
              <a:gd name="connsiteX2" fmla="*/ 1571448 w 1571448"/>
              <a:gd name="connsiteY2" fmla="*/ 2063750 h 2063750"/>
              <a:gd name="connsiteX3" fmla="*/ 0 w 1571448"/>
              <a:gd name="connsiteY3" fmla="*/ 2063750 h 2063750"/>
              <a:gd name="connsiteX4" fmla="*/ 0 w 1571448"/>
              <a:gd name="connsiteY4" fmla="*/ 438150 h 2063750"/>
              <a:gd name="connsiteX0" fmla="*/ 0 w 1571448"/>
              <a:gd name="connsiteY0" fmla="*/ 444500 h 2070100"/>
              <a:gd name="connsiteX1" fmla="*/ 1130123 w 1571448"/>
              <a:gd name="connsiteY1" fmla="*/ 0 h 2070100"/>
              <a:gd name="connsiteX2" fmla="*/ 1571448 w 1571448"/>
              <a:gd name="connsiteY2" fmla="*/ 2070100 h 2070100"/>
              <a:gd name="connsiteX3" fmla="*/ 0 w 1571448"/>
              <a:gd name="connsiteY3" fmla="*/ 2070100 h 2070100"/>
              <a:gd name="connsiteX4" fmla="*/ 0 w 1571448"/>
              <a:gd name="connsiteY4" fmla="*/ 444500 h 2070100"/>
              <a:gd name="connsiteX0" fmla="*/ 0 w 1571448"/>
              <a:gd name="connsiteY0" fmla="*/ 431800 h 2057400"/>
              <a:gd name="connsiteX1" fmla="*/ 1174573 w 1571448"/>
              <a:gd name="connsiteY1" fmla="*/ 0 h 2057400"/>
              <a:gd name="connsiteX2" fmla="*/ 1571448 w 1571448"/>
              <a:gd name="connsiteY2" fmla="*/ 2057400 h 2057400"/>
              <a:gd name="connsiteX3" fmla="*/ 0 w 1571448"/>
              <a:gd name="connsiteY3" fmla="*/ 2057400 h 2057400"/>
              <a:gd name="connsiteX4" fmla="*/ 0 w 1571448"/>
              <a:gd name="connsiteY4" fmla="*/ 431800 h 2057400"/>
              <a:gd name="connsiteX0" fmla="*/ 0 w 2185811"/>
              <a:gd name="connsiteY0" fmla="*/ 431800 h 2057400"/>
              <a:gd name="connsiteX1" fmla="*/ 1174573 w 2185811"/>
              <a:gd name="connsiteY1" fmla="*/ 0 h 2057400"/>
              <a:gd name="connsiteX2" fmla="*/ 2185811 w 2185811"/>
              <a:gd name="connsiteY2" fmla="*/ 1819275 h 2057400"/>
              <a:gd name="connsiteX3" fmla="*/ 0 w 2185811"/>
              <a:gd name="connsiteY3" fmla="*/ 2057400 h 2057400"/>
              <a:gd name="connsiteX4" fmla="*/ 0 w 2185811"/>
              <a:gd name="connsiteY4" fmla="*/ 431800 h 2057400"/>
              <a:gd name="connsiteX0" fmla="*/ 0 w 2185811"/>
              <a:gd name="connsiteY0" fmla="*/ 431800 h 2366963"/>
              <a:gd name="connsiteX1" fmla="*/ 1174573 w 2185811"/>
              <a:gd name="connsiteY1" fmla="*/ 0 h 2366963"/>
              <a:gd name="connsiteX2" fmla="*/ 2185811 w 2185811"/>
              <a:gd name="connsiteY2" fmla="*/ 1819275 h 2366963"/>
              <a:gd name="connsiteX3" fmla="*/ 1062037 w 2185811"/>
              <a:gd name="connsiteY3" fmla="*/ 2366963 h 2366963"/>
              <a:gd name="connsiteX4" fmla="*/ 0 w 2185811"/>
              <a:gd name="connsiteY4" fmla="*/ 431800 h 2366963"/>
              <a:gd name="connsiteX0" fmla="*/ 0 w 2185811"/>
              <a:gd name="connsiteY0" fmla="*/ 60325 h 1995488"/>
              <a:gd name="connsiteX1" fmla="*/ 1679398 w 2185811"/>
              <a:gd name="connsiteY1" fmla="*/ 0 h 1995488"/>
              <a:gd name="connsiteX2" fmla="*/ 2185811 w 2185811"/>
              <a:gd name="connsiteY2" fmla="*/ 1447800 h 1995488"/>
              <a:gd name="connsiteX3" fmla="*/ 1062037 w 2185811"/>
              <a:gd name="connsiteY3" fmla="*/ 1995488 h 1995488"/>
              <a:gd name="connsiteX4" fmla="*/ 0 w 2185811"/>
              <a:gd name="connsiteY4" fmla="*/ 60325 h 1995488"/>
              <a:gd name="connsiteX0" fmla="*/ 0 w 2185811"/>
              <a:gd name="connsiteY0" fmla="*/ 60325 h 3435668"/>
              <a:gd name="connsiteX1" fmla="*/ 1679398 w 2185811"/>
              <a:gd name="connsiteY1" fmla="*/ 0 h 3435668"/>
              <a:gd name="connsiteX2" fmla="*/ 2185811 w 2185811"/>
              <a:gd name="connsiteY2" fmla="*/ 1447800 h 3435668"/>
              <a:gd name="connsiteX3" fmla="*/ 1161097 w 2185811"/>
              <a:gd name="connsiteY3" fmla="*/ 3435668 h 3435668"/>
              <a:gd name="connsiteX4" fmla="*/ 0 w 2185811"/>
              <a:gd name="connsiteY4" fmla="*/ 60325 h 3435668"/>
              <a:gd name="connsiteX0" fmla="*/ 0 w 2841131"/>
              <a:gd name="connsiteY0" fmla="*/ 60325 h 3435668"/>
              <a:gd name="connsiteX1" fmla="*/ 1679398 w 2841131"/>
              <a:gd name="connsiteY1" fmla="*/ 0 h 3435668"/>
              <a:gd name="connsiteX2" fmla="*/ 2841131 w 2841131"/>
              <a:gd name="connsiteY2" fmla="*/ 3261360 h 3435668"/>
              <a:gd name="connsiteX3" fmla="*/ 1161097 w 2841131"/>
              <a:gd name="connsiteY3" fmla="*/ 3435668 h 3435668"/>
              <a:gd name="connsiteX4" fmla="*/ 0 w 2841131"/>
              <a:gd name="connsiteY4" fmla="*/ 60325 h 343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1131" h="3435668">
                <a:moveTo>
                  <a:pt x="0" y="60325"/>
                </a:moveTo>
                <a:lnTo>
                  <a:pt x="1679398" y="0"/>
                </a:lnTo>
                <a:lnTo>
                  <a:pt x="2841131" y="3261360"/>
                </a:lnTo>
                <a:lnTo>
                  <a:pt x="1161097" y="3435668"/>
                </a:lnTo>
                <a:lnTo>
                  <a:pt x="0" y="60325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19972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8739" y="2786744"/>
            <a:ext cx="5144634" cy="97536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4891659" y="2786744"/>
            <a:ext cx="8572298" cy="472211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4891659" y="7818228"/>
            <a:ext cx="8572298" cy="472211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1062653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261974" y="4267198"/>
            <a:ext cx="3614828" cy="4528460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290972" y="4267198"/>
            <a:ext cx="3172984" cy="4528460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36145" y="3425375"/>
            <a:ext cx="4873894" cy="5370282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6256002" y="3425375"/>
            <a:ext cx="4533784" cy="5370282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69382" y="2699655"/>
            <a:ext cx="8987164" cy="6096002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3364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7675" y="5296939"/>
            <a:ext cx="5367682" cy="699666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3375355" y="2"/>
            <a:ext cx="5640962" cy="590232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9016317" y="5296937"/>
            <a:ext cx="5367682" cy="699666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19859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865086"/>
            <a:ext cx="9717388" cy="10103752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722509" y="1865086"/>
            <a:ext cx="4901590" cy="501144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4569181" y="1865086"/>
            <a:ext cx="4901590" cy="5011448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9482411" y="1865086"/>
            <a:ext cx="4901590" cy="5011448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9698487" y="6876534"/>
            <a:ext cx="9772282" cy="509230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9475890" y="6876534"/>
            <a:ext cx="4919332" cy="50923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78502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05703" y="3528757"/>
            <a:ext cx="8067098" cy="766354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08569169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587522" y="3243520"/>
            <a:ext cx="19796476" cy="831009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69332340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-1"/>
            <a:ext cx="24383998" cy="916026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11768573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3971214"/>
            <a:ext cx="8380916" cy="685138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62297784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689267" y="6442296"/>
            <a:ext cx="12694734" cy="727370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9218581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331504" y="3222172"/>
            <a:ext cx="4462132" cy="4462132"/>
          </a:xfrm>
          <a:prstGeom prst="ellipse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320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357573" y="3048146"/>
            <a:ext cx="10688878" cy="380838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6127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882507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20309951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30599" y="5723802"/>
            <a:ext cx="14427142" cy="36528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23015602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40392" cy="13716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484459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092201" y="4085767"/>
            <a:ext cx="5757594" cy="663340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2291453" y="4085767"/>
            <a:ext cx="5757594" cy="663340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87729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64756" y="8514509"/>
            <a:ext cx="12298444" cy="276309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49651835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5239105" y="3562351"/>
            <a:ext cx="4371622" cy="4733926"/>
          </a:xfrm>
          <a:custGeom>
            <a:avLst/>
            <a:gdLst>
              <a:gd name="connsiteX0" fmla="*/ 0 w 1571448"/>
              <a:gd name="connsiteY0" fmla="*/ 0 h 1625600"/>
              <a:gd name="connsiteX1" fmla="*/ 1571448 w 1571448"/>
              <a:gd name="connsiteY1" fmla="*/ 0 h 1625600"/>
              <a:gd name="connsiteX2" fmla="*/ 1571448 w 1571448"/>
              <a:gd name="connsiteY2" fmla="*/ 1625600 h 1625600"/>
              <a:gd name="connsiteX3" fmla="*/ 0 w 1571448"/>
              <a:gd name="connsiteY3" fmla="*/ 1625600 h 1625600"/>
              <a:gd name="connsiteX4" fmla="*/ 0 w 1571448"/>
              <a:gd name="connsiteY4" fmla="*/ 0 h 1625600"/>
              <a:gd name="connsiteX0" fmla="*/ 0 w 1571448"/>
              <a:gd name="connsiteY0" fmla="*/ 438150 h 2063750"/>
              <a:gd name="connsiteX1" fmla="*/ 1171398 w 1571448"/>
              <a:gd name="connsiteY1" fmla="*/ 0 h 2063750"/>
              <a:gd name="connsiteX2" fmla="*/ 1571448 w 1571448"/>
              <a:gd name="connsiteY2" fmla="*/ 2063750 h 2063750"/>
              <a:gd name="connsiteX3" fmla="*/ 0 w 1571448"/>
              <a:gd name="connsiteY3" fmla="*/ 2063750 h 2063750"/>
              <a:gd name="connsiteX4" fmla="*/ 0 w 1571448"/>
              <a:gd name="connsiteY4" fmla="*/ 438150 h 2063750"/>
              <a:gd name="connsiteX0" fmla="*/ 0 w 1571448"/>
              <a:gd name="connsiteY0" fmla="*/ 444500 h 2070100"/>
              <a:gd name="connsiteX1" fmla="*/ 1130123 w 1571448"/>
              <a:gd name="connsiteY1" fmla="*/ 0 h 2070100"/>
              <a:gd name="connsiteX2" fmla="*/ 1571448 w 1571448"/>
              <a:gd name="connsiteY2" fmla="*/ 2070100 h 2070100"/>
              <a:gd name="connsiteX3" fmla="*/ 0 w 1571448"/>
              <a:gd name="connsiteY3" fmla="*/ 2070100 h 2070100"/>
              <a:gd name="connsiteX4" fmla="*/ 0 w 1571448"/>
              <a:gd name="connsiteY4" fmla="*/ 444500 h 2070100"/>
              <a:gd name="connsiteX0" fmla="*/ 0 w 1571448"/>
              <a:gd name="connsiteY0" fmla="*/ 431800 h 2057400"/>
              <a:gd name="connsiteX1" fmla="*/ 1174573 w 1571448"/>
              <a:gd name="connsiteY1" fmla="*/ 0 h 2057400"/>
              <a:gd name="connsiteX2" fmla="*/ 1571448 w 1571448"/>
              <a:gd name="connsiteY2" fmla="*/ 2057400 h 2057400"/>
              <a:gd name="connsiteX3" fmla="*/ 0 w 1571448"/>
              <a:gd name="connsiteY3" fmla="*/ 2057400 h 2057400"/>
              <a:gd name="connsiteX4" fmla="*/ 0 w 1571448"/>
              <a:gd name="connsiteY4" fmla="*/ 431800 h 2057400"/>
              <a:gd name="connsiteX0" fmla="*/ 0 w 2185811"/>
              <a:gd name="connsiteY0" fmla="*/ 431800 h 2057400"/>
              <a:gd name="connsiteX1" fmla="*/ 1174573 w 2185811"/>
              <a:gd name="connsiteY1" fmla="*/ 0 h 2057400"/>
              <a:gd name="connsiteX2" fmla="*/ 2185811 w 2185811"/>
              <a:gd name="connsiteY2" fmla="*/ 1819275 h 2057400"/>
              <a:gd name="connsiteX3" fmla="*/ 0 w 2185811"/>
              <a:gd name="connsiteY3" fmla="*/ 2057400 h 2057400"/>
              <a:gd name="connsiteX4" fmla="*/ 0 w 2185811"/>
              <a:gd name="connsiteY4" fmla="*/ 431800 h 2057400"/>
              <a:gd name="connsiteX0" fmla="*/ 0 w 2185811"/>
              <a:gd name="connsiteY0" fmla="*/ 431800 h 2366963"/>
              <a:gd name="connsiteX1" fmla="*/ 1174573 w 2185811"/>
              <a:gd name="connsiteY1" fmla="*/ 0 h 2366963"/>
              <a:gd name="connsiteX2" fmla="*/ 2185811 w 2185811"/>
              <a:gd name="connsiteY2" fmla="*/ 1819275 h 2366963"/>
              <a:gd name="connsiteX3" fmla="*/ 1062037 w 2185811"/>
              <a:gd name="connsiteY3" fmla="*/ 2366963 h 2366963"/>
              <a:gd name="connsiteX4" fmla="*/ 0 w 2185811"/>
              <a:gd name="connsiteY4" fmla="*/ 431800 h 236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811" h="2366963">
                <a:moveTo>
                  <a:pt x="0" y="431800"/>
                </a:moveTo>
                <a:lnTo>
                  <a:pt x="1174573" y="0"/>
                </a:lnTo>
                <a:lnTo>
                  <a:pt x="2185811" y="1819275"/>
                </a:lnTo>
                <a:lnTo>
                  <a:pt x="1062037" y="2366963"/>
                </a:lnTo>
                <a:lnTo>
                  <a:pt x="0" y="431800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91866545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1_Mobile 0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3156" y="2505814"/>
            <a:ext cx="5559760" cy="9753964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42044" y="3537032"/>
            <a:ext cx="3850544" cy="678228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00373877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1_Mobile 0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12120" y="2505814"/>
            <a:ext cx="5559760" cy="9753964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227640" y="3556000"/>
            <a:ext cx="3850544" cy="678228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60729609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8255000"/>
            <a:ext cx="24384000" cy="5461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8086677" y="1382253"/>
            <a:ext cx="8210650" cy="10950334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924461" y="2357671"/>
            <a:ext cx="6517786" cy="865957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0918293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059"/>
          <a:stretch/>
        </p:blipFill>
        <p:spPr>
          <a:xfrm flipH="1">
            <a:off x="4343398" y="513791"/>
            <a:ext cx="16904880" cy="11924822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157475" y="1820248"/>
            <a:ext cx="9503362" cy="8593752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5202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31854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952873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69322" y="3272131"/>
            <a:ext cx="10978460" cy="8063530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924667" y="3642110"/>
            <a:ext cx="9275858" cy="7231992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03986291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14401800" y="4194525"/>
            <a:ext cx="9982200" cy="952147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flipV="1">
            <a:off x="14401800" y="2"/>
            <a:ext cx="9982200" cy="43845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6106" t="5661" r="3205" b="12067"/>
          <a:stretch/>
        </p:blipFill>
        <p:spPr bwMode="auto">
          <a:xfrm>
            <a:off x="8577944" y="2768949"/>
            <a:ext cx="9608456" cy="8178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Picture Placeholder 5"/>
          <p:cNvSpPr>
            <a:spLocks noGrp="1"/>
          </p:cNvSpPr>
          <p:nvPr userDrawn="1">
            <p:ph type="pic" sz="quarter" idx="14"/>
          </p:nvPr>
        </p:nvSpPr>
        <p:spPr>
          <a:xfrm>
            <a:off x="9118893" y="3468320"/>
            <a:ext cx="8526558" cy="479359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9759662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71628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426684" y="3228776"/>
            <a:ext cx="7704148" cy="48541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5074357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05083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0508356"/>
            <a:ext cx="24384000" cy="9061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3456880"/>
            <a:ext cx="6667888" cy="3719588"/>
          </a:xfrm>
        </p:spPr>
        <p:txBody>
          <a:bodyPr>
            <a:noAutofit/>
          </a:bodyPr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895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3041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2242800" y="0"/>
            <a:ext cx="12141200" cy="884554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41200" cy="884554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05487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3456880"/>
            <a:ext cx="6667888" cy="3719588"/>
          </a:xfrm>
        </p:spPr>
        <p:txBody>
          <a:bodyPr>
            <a:noAutofit/>
          </a:bodyPr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8577516"/>
            <a:ext cx="24384000" cy="9061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66768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592442" y="-1"/>
            <a:ext cx="12791560" cy="412209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4093359"/>
            <a:ext cx="12791560" cy="410641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1592438" y="8199770"/>
            <a:ext cx="12791560" cy="41397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" y="0"/>
            <a:ext cx="24383998" cy="12322224"/>
            <a:chOff x="0" y="0"/>
            <a:chExt cx="12191999" cy="6161112"/>
          </a:xfrm>
        </p:grpSpPr>
        <p:sp>
          <p:nvSpPr>
            <p:cNvPr id="6" name="Shape 17896"/>
            <p:cNvSpPr/>
            <p:nvPr userDrawn="1"/>
          </p:nvSpPr>
          <p:spPr>
            <a:xfrm flipH="1">
              <a:off x="2724373" y="0"/>
              <a:ext cx="3083085" cy="20611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>
                <a:solidFill>
                  <a:schemeClr val="bg1"/>
                </a:solidFill>
              </a:endParaRPr>
            </a:p>
          </p:txBody>
        </p:sp>
        <p:sp>
          <p:nvSpPr>
            <p:cNvPr id="7" name="Shape 17897"/>
            <p:cNvSpPr/>
            <p:nvPr userDrawn="1"/>
          </p:nvSpPr>
          <p:spPr>
            <a:xfrm flipH="1">
              <a:off x="0" y="0"/>
              <a:ext cx="2955540" cy="20610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7" y="0"/>
                  </a:moveTo>
                  <a:lnTo>
                    <a:pt x="1677" y="4136"/>
                  </a:lnTo>
                  <a:lnTo>
                    <a:pt x="0" y="5226"/>
                  </a:lnTo>
                  <a:lnTo>
                    <a:pt x="1677" y="6318"/>
                  </a:lnTo>
                  <a:lnTo>
                    <a:pt x="1677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677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>
                <a:solidFill>
                  <a:schemeClr val="bg1"/>
                </a:solidFill>
              </a:endParaRPr>
            </a:p>
          </p:txBody>
        </p:sp>
        <p:sp>
          <p:nvSpPr>
            <p:cNvPr id="9" name="Shape 17896"/>
            <p:cNvSpPr/>
            <p:nvPr userDrawn="1"/>
          </p:nvSpPr>
          <p:spPr>
            <a:xfrm>
              <a:off x="6384541" y="2054343"/>
              <a:ext cx="3083085" cy="20611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>
                <a:solidFill>
                  <a:schemeClr val="bg1"/>
                </a:solidFill>
              </a:endParaRPr>
            </a:p>
          </p:txBody>
        </p:sp>
        <p:sp>
          <p:nvSpPr>
            <p:cNvPr id="11" name="Shape 17897"/>
            <p:cNvSpPr/>
            <p:nvPr userDrawn="1"/>
          </p:nvSpPr>
          <p:spPr>
            <a:xfrm>
              <a:off x="9236459" y="2054343"/>
              <a:ext cx="2955540" cy="20610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7" y="0"/>
                  </a:moveTo>
                  <a:lnTo>
                    <a:pt x="1677" y="4136"/>
                  </a:lnTo>
                  <a:lnTo>
                    <a:pt x="0" y="5226"/>
                  </a:lnTo>
                  <a:lnTo>
                    <a:pt x="1677" y="6318"/>
                  </a:lnTo>
                  <a:lnTo>
                    <a:pt x="1677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677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>
                <a:solidFill>
                  <a:schemeClr val="bg1"/>
                </a:solidFill>
              </a:endParaRPr>
            </a:p>
          </p:txBody>
        </p:sp>
        <p:sp>
          <p:nvSpPr>
            <p:cNvPr id="13" name="Shape 17896"/>
            <p:cNvSpPr/>
            <p:nvPr userDrawn="1"/>
          </p:nvSpPr>
          <p:spPr>
            <a:xfrm flipH="1">
              <a:off x="2724373" y="4099974"/>
              <a:ext cx="3083085" cy="20611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>
                <a:solidFill>
                  <a:schemeClr val="bg1"/>
                </a:solidFill>
              </a:endParaRPr>
            </a:p>
          </p:txBody>
        </p:sp>
        <p:sp>
          <p:nvSpPr>
            <p:cNvPr id="14" name="Shape 17897"/>
            <p:cNvSpPr/>
            <p:nvPr userDrawn="1"/>
          </p:nvSpPr>
          <p:spPr>
            <a:xfrm flipH="1">
              <a:off x="0" y="4099974"/>
              <a:ext cx="2955540" cy="20610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7" y="0"/>
                  </a:moveTo>
                  <a:lnTo>
                    <a:pt x="1677" y="4136"/>
                  </a:lnTo>
                  <a:lnTo>
                    <a:pt x="0" y="5226"/>
                  </a:lnTo>
                  <a:lnTo>
                    <a:pt x="1677" y="6318"/>
                  </a:lnTo>
                  <a:lnTo>
                    <a:pt x="1677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677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664268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664754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68488819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136209" y="2583564"/>
            <a:ext cx="7010402" cy="39768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3948121" y="7337568"/>
            <a:ext cx="7010402" cy="39768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36873122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492431" y="3034049"/>
            <a:ext cx="17561898" cy="4726978"/>
          </a:xfrm>
          <a:custGeom>
            <a:avLst/>
            <a:gdLst>
              <a:gd name="connsiteX0" fmla="*/ 5869072 w 8780949"/>
              <a:gd name="connsiteY0" fmla="*/ 359729 h 2363489"/>
              <a:gd name="connsiteX1" fmla="*/ 5504608 w 8780949"/>
              <a:gd name="connsiteY1" fmla="*/ 531250 h 2363489"/>
              <a:gd name="connsiteX2" fmla="*/ 5375232 w 8780949"/>
              <a:gd name="connsiteY2" fmla="*/ 973086 h 2363489"/>
              <a:gd name="connsiteX3" fmla="*/ 5375232 w 8780949"/>
              <a:gd name="connsiteY3" fmla="*/ 1390404 h 2363489"/>
              <a:gd name="connsiteX4" fmla="*/ 5506187 w 8780949"/>
              <a:gd name="connsiteY4" fmla="*/ 1836183 h 2363489"/>
              <a:gd name="connsiteX5" fmla="*/ 5870649 w 8780949"/>
              <a:gd name="connsiteY5" fmla="*/ 2008492 h 2363489"/>
              <a:gd name="connsiteX6" fmla="*/ 6239846 w 8780949"/>
              <a:gd name="connsiteY6" fmla="*/ 1836183 h 2363489"/>
              <a:gd name="connsiteX7" fmla="*/ 6372379 w 8780949"/>
              <a:gd name="connsiteY7" fmla="*/ 1390404 h 2363489"/>
              <a:gd name="connsiteX8" fmla="*/ 6372379 w 8780949"/>
              <a:gd name="connsiteY8" fmla="*/ 973086 h 2363489"/>
              <a:gd name="connsiteX9" fmla="*/ 6238268 w 8780949"/>
              <a:gd name="connsiteY9" fmla="*/ 532039 h 2363489"/>
              <a:gd name="connsiteX10" fmla="*/ 5869072 w 8780949"/>
              <a:gd name="connsiteY10" fmla="*/ 359729 h 2363489"/>
              <a:gd name="connsiteX11" fmla="*/ 7023321 w 8780949"/>
              <a:gd name="connsiteY11" fmla="*/ 33133 h 2363489"/>
              <a:gd name="connsiteX12" fmla="*/ 8780949 w 8780949"/>
              <a:gd name="connsiteY12" fmla="*/ 33133 h 2363489"/>
              <a:gd name="connsiteX13" fmla="*/ 8780949 w 8780949"/>
              <a:gd name="connsiteY13" fmla="*/ 388130 h 2363489"/>
              <a:gd name="connsiteX14" fmla="*/ 8130911 w 8780949"/>
              <a:gd name="connsiteY14" fmla="*/ 388130 h 2363489"/>
              <a:gd name="connsiteX15" fmla="*/ 8130911 w 8780949"/>
              <a:gd name="connsiteY15" fmla="*/ 2330356 h 2363489"/>
              <a:gd name="connsiteX16" fmla="*/ 7670205 w 8780949"/>
              <a:gd name="connsiteY16" fmla="*/ 2330356 h 2363489"/>
              <a:gd name="connsiteX17" fmla="*/ 7670205 w 8780949"/>
              <a:gd name="connsiteY17" fmla="*/ 388130 h 2363489"/>
              <a:gd name="connsiteX18" fmla="*/ 7023321 w 8780949"/>
              <a:gd name="connsiteY18" fmla="*/ 388130 h 2363489"/>
              <a:gd name="connsiteX19" fmla="*/ 1942212 w 8780949"/>
              <a:gd name="connsiteY19" fmla="*/ 33133 h 2363489"/>
              <a:gd name="connsiteX20" fmla="*/ 2393452 w 8780949"/>
              <a:gd name="connsiteY20" fmla="*/ 33133 h 2363489"/>
              <a:gd name="connsiteX21" fmla="*/ 2723205 w 8780949"/>
              <a:gd name="connsiteY21" fmla="*/ 1606162 h 2363489"/>
              <a:gd name="connsiteX22" fmla="*/ 2732671 w 8780949"/>
              <a:gd name="connsiteY22" fmla="*/ 1607741 h 2363489"/>
              <a:gd name="connsiteX23" fmla="*/ 3163401 w 8780949"/>
              <a:gd name="connsiteY23" fmla="*/ 33133 h 2363489"/>
              <a:gd name="connsiteX24" fmla="*/ 3502619 w 8780949"/>
              <a:gd name="connsiteY24" fmla="*/ 33133 h 2363489"/>
              <a:gd name="connsiteX25" fmla="*/ 3936505 w 8780949"/>
              <a:gd name="connsiteY25" fmla="*/ 1607741 h 2363489"/>
              <a:gd name="connsiteX26" fmla="*/ 3945972 w 8780949"/>
              <a:gd name="connsiteY26" fmla="*/ 1607741 h 2363489"/>
              <a:gd name="connsiteX27" fmla="*/ 4274146 w 8780949"/>
              <a:gd name="connsiteY27" fmla="*/ 33133 h 2363489"/>
              <a:gd name="connsiteX28" fmla="*/ 4723808 w 8780949"/>
              <a:gd name="connsiteY28" fmla="*/ 33133 h 2363489"/>
              <a:gd name="connsiteX29" fmla="*/ 4187369 w 8780949"/>
              <a:gd name="connsiteY29" fmla="*/ 2330356 h 2363489"/>
              <a:gd name="connsiteX30" fmla="*/ 3759795 w 8780949"/>
              <a:gd name="connsiteY30" fmla="*/ 2330356 h 2363489"/>
              <a:gd name="connsiteX31" fmla="*/ 3338532 w 8780949"/>
              <a:gd name="connsiteY31" fmla="*/ 814126 h 2363489"/>
              <a:gd name="connsiteX32" fmla="*/ 3329067 w 8780949"/>
              <a:gd name="connsiteY32" fmla="*/ 814126 h 2363489"/>
              <a:gd name="connsiteX33" fmla="*/ 2907803 w 8780949"/>
              <a:gd name="connsiteY33" fmla="*/ 2330356 h 2363489"/>
              <a:gd name="connsiteX34" fmla="*/ 2480229 w 8780949"/>
              <a:gd name="connsiteY34" fmla="*/ 2330356 h 2363489"/>
              <a:gd name="connsiteX35" fmla="*/ 5869072 w 8780949"/>
              <a:gd name="connsiteY35" fmla="*/ 0 h 2363489"/>
              <a:gd name="connsiteX36" fmla="*/ 6564866 w 8780949"/>
              <a:gd name="connsiteY36" fmla="*/ 276897 h 2363489"/>
              <a:gd name="connsiteX37" fmla="*/ 6833085 w 8780949"/>
              <a:gd name="connsiteY37" fmla="*/ 975057 h 2363489"/>
              <a:gd name="connsiteX38" fmla="*/ 6833085 w 8780949"/>
              <a:gd name="connsiteY38" fmla="*/ 1388431 h 2363489"/>
              <a:gd name="connsiteX39" fmla="*/ 6565654 w 8780949"/>
              <a:gd name="connsiteY39" fmla="*/ 2087381 h 2363489"/>
              <a:gd name="connsiteX40" fmla="*/ 5870649 w 8780949"/>
              <a:gd name="connsiteY40" fmla="*/ 2363489 h 2363489"/>
              <a:gd name="connsiteX41" fmla="*/ 5181167 w 8780949"/>
              <a:gd name="connsiteY41" fmla="*/ 2087381 h 2363489"/>
              <a:gd name="connsiteX42" fmla="*/ 4916103 w 8780949"/>
              <a:gd name="connsiteY42" fmla="*/ 1388431 h 2363489"/>
              <a:gd name="connsiteX43" fmla="*/ 4916103 w 8780949"/>
              <a:gd name="connsiteY43" fmla="*/ 975057 h 2363489"/>
              <a:gd name="connsiteX44" fmla="*/ 5180378 w 8780949"/>
              <a:gd name="connsiteY44" fmla="*/ 276897 h 2363489"/>
              <a:gd name="connsiteX45" fmla="*/ 5869072 w 8780949"/>
              <a:gd name="connsiteY45" fmla="*/ 0 h 2363489"/>
              <a:gd name="connsiteX46" fmla="*/ 915320 w 8780949"/>
              <a:gd name="connsiteY46" fmla="*/ 0 h 2363489"/>
              <a:gd name="connsiteX47" fmla="*/ 1532226 w 8780949"/>
              <a:gd name="connsiteY47" fmla="*/ 201164 h 2363489"/>
              <a:gd name="connsiteX48" fmla="*/ 1762580 w 8780949"/>
              <a:gd name="connsiteY48" fmla="*/ 697371 h 2363489"/>
              <a:gd name="connsiteX49" fmla="*/ 1759424 w 8780949"/>
              <a:gd name="connsiteY49" fmla="*/ 706838 h 2363489"/>
              <a:gd name="connsiteX50" fmla="*/ 1312917 w 8780949"/>
              <a:gd name="connsiteY50" fmla="*/ 706838 h 2363489"/>
              <a:gd name="connsiteX51" fmla="*/ 1206418 w 8780949"/>
              <a:gd name="connsiteY51" fmla="*/ 448873 h 2363489"/>
              <a:gd name="connsiteX52" fmla="*/ 907432 w 8780949"/>
              <a:gd name="connsiteY52" fmla="*/ 350263 h 2363489"/>
              <a:gd name="connsiteX53" fmla="*/ 621857 w 8780949"/>
              <a:gd name="connsiteY53" fmla="*/ 432306 h 2363489"/>
              <a:gd name="connsiteX54" fmla="*/ 520880 w 8780949"/>
              <a:gd name="connsiteY54" fmla="*/ 642149 h 2363489"/>
              <a:gd name="connsiteX55" fmla="*/ 628956 w 8780949"/>
              <a:gd name="connsiteY55" fmla="*/ 833847 h 2363489"/>
              <a:gd name="connsiteX56" fmla="*/ 1002098 w 8780949"/>
              <a:gd name="connsiteY56" fmla="*/ 992413 h 2363489"/>
              <a:gd name="connsiteX57" fmla="*/ 1577981 w 8780949"/>
              <a:gd name="connsiteY57" fmla="*/ 1271677 h 2363489"/>
              <a:gd name="connsiteX58" fmla="*/ 1773624 w 8780949"/>
              <a:gd name="connsiteY58" fmla="*/ 1727651 h 2363489"/>
              <a:gd name="connsiteX59" fmla="*/ 1540904 w 8780949"/>
              <a:gd name="connsiteY59" fmla="*/ 2193091 h 2363489"/>
              <a:gd name="connsiteX60" fmla="*/ 926365 w 8780949"/>
              <a:gd name="connsiteY60" fmla="*/ 2363489 h 2363489"/>
              <a:gd name="connsiteX61" fmla="*/ 271593 w 8780949"/>
              <a:gd name="connsiteY61" fmla="*/ 2170213 h 2363489"/>
              <a:gd name="connsiteX62" fmla="*/ 217 w 8780949"/>
              <a:gd name="connsiteY62" fmla="*/ 1628251 h 2363489"/>
              <a:gd name="connsiteX63" fmla="*/ 3373 w 8780949"/>
              <a:gd name="connsiteY63" fmla="*/ 1618784 h 2363489"/>
              <a:gd name="connsiteX64" fmla="*/ 451458 w 8780949"/>
              <a:gd name="connsiteY64" fmla="*/ 1618784 h 2363489"/>
              <a:gd name="connsiteX65" fmla="*/ 576890 w 8780949"/>
              <a:gd name="connsiteY65" fmla="*/ 1919349 h 2363489"/>
              <a:gd name="connsiteX66" fmla="*/ 926365 w 8780949"/>
              <a:gd name="connsiteY66" fmla="*/ 2014804 h 2363489"/>
              <a:gd name="connsiteX67" fmla="*/ 1213517 w 8780949"/>
              <a:gd name="connsiteY67" fmla="*/ 1937493 h 2363489"/>
              <a:gd name="connsiteX68" fmla="*/ 1312917 w 8780949"/>
              <a:gd name="connsiteY68" fmla="*/ 1730806 h 2363489"/>
              <a:gd name="connsiteX69" fmla="*/ 1219040 w 8780949"/>
              <a:gd name="connsiteY69" fmla="*/ 1517808 h 2363489"/>
              <a:gd name="connsiteX70" fmla="*/ 890076 w 8780949"/>
              <a:gd name="connsiteY70" fmla="*/ 1366343 h 2363489"/>
              <a:gd name="connsiteX71" fmla="*/ 270015 w 8780949"/>
              <a:gd name="connsiteY71" fmla="*/ 1085501 h 2363489"/>
              <a:gd name="connsiteX72" fmla="*/ 60173 w 8780949"/>
              <a:gd name="connsiteY72" fmla="*/ 640571 h 2363489"/>
              <a:gd name="connsiteX73" fmla="*/ 300781 w 8780949"/>
              <a:gd name="connsiteY73" fmla="*/ 179076 h 2363489"/>
              <a:gd name="connsiteX74" fmla="*/ 915320 w 8780949"/>
              <a:gd name="connsiteY74" fmla="*/ 0 h 236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8780949" h="2363489">
                <a:moveTo>
                  <a:pt x="5869072" y="359729"/>
                </a:moveTo>
                <a:cubicBezTo>
                  <a:pt x="5712347" y="359729"/>
                  <a:pt x="5590859" y="416903"/>
                  <a:pt x="5504608" y="531250"/>
                </a:cubicBezTo>
                <a:cubicBezTo>
                  <a:pt x="5418358" y="645597"/>
                  <a:pt x="5375232" y="792875"/>
                  <a:pt x="5375232" y="973086"/>
                </a:cubicBezTo>
                <a:lnTo>
                  <a:pt x="5375232" y="1390404"/>
                </a:lnTo>
                <a:cubicBezTo>
                  <a:pt x="5375232" y="1572718"/>
                  <a:pt x="5418883" y="1721310"/>
                  <a:pt x="5506187" y="1836183"/>
                </a:cubicBezTo>
                <a:cubicBezTo>
                  <a:pt x="5593489" y="1951057"/>
                  <a:pt x="5714978" y="2008492"/>
                  <a:pt x="5870649" y="2008492"/>
                </a:cubicBezTo>
                <a:cubicBezTo>
                  <a:pt x="6028426" y="2008492"/>
                  <a:pt x="6151491" y="1951057"/>
                  <a:pt x="6239846" y="1836183"/>
                </a:cubicBezTo>
                <a:cubicBezTo>
                  <a:pt x="6328201" y="1721310"/>
                  <a:pt x="6372379" y="1572718"/>
                  <a:pt x="6372379" y="1390404"/>
                </a:cubicBezTo>
                <a:lnTo>
                  <a:pt x="6372379" y="973086"/>
                </a:lnTo>
                <a:cubicBezTo>
                  <a:pt x="6372379" y="793927"/>
                  <a:pt x="6327674" y="646911"/>
                  <a:pt x="6238268" y="532039"/>
                </a:cubicBezTo>
                <a:cubicBezTo>
                  <a:pt x="6148862" y="417166"/>
                  <a:pt x="6025797" y="359729"/>
                  <a:pt x="5869072" y="359729"/>
                </a:cubicBezTo>
                <a:close/>
                <a:moveTo>
                  <a:pt x="7023321" y="33133"/>
                </a:moveTo>
                <a:lnTo>
                  <a:pt x="8780949" y="33133"/>
                </a:lnTo>
                <a:lnTo>
                  <a:pt x="8780949" y="388130"/>
                </a:lnTo>
                <a:lnTo>
                  <a:pt x="8130911" y="388130"/>
                </a:lnTo>
                <a:lnTo>
                  <a:pt x="8130911" y="2330356"/>
                </a:lnTo>
                <a:lnTo>
                  <a:pt x="7670205" y="2330356"/>
                </a:lnTo>
                <a:lnTo>
                  <a:pt x="7670205" y="388130"/>
                </a:lnTo>
                <a:lnTo>
                  <a:pt x="7023321" y="388130"/>
                </a:lnTo>
                <a:close/>
                <a:moveTo>
                  <a:pt x="1942212" y="33133"/>
                </a:moveTo>
                <a:lnTo>
                  <a:pt x="2393452" y="33133"/>
                </a:lnTo>
                <a:lnTo>
                  <a:pt x="2723205" y="1606162"/>
                </a:lnTo>
                <a:lnTo>
                  <a:pt x="2732671" y="1607741"/>
                </a:lnTo>
                <a:lnTo>
                  <a:pt x="3163401" y="33133"/>
                </a:lnTo>
                <a:lnTo>
                  <a:pt x="3502619" y="33133"/>
                </a:lnTo>
                <a:lnTo>
                  <a:pt x="3936505" y="1607741"/>
                </a:lnTo>
                <a:lnTo>
                  <a:pt x="3945972" y="1607741"/>
                </a:lnTo>
                <a:lnTo>
                  <a:pt x="4274146" y="33133"/>
                </a:lnTo>
                <a:lnTo>
                  <a:pt x="4723808" y="33133"/>
                </a:lnTo>
                <a:lnTo>
                  <a:pt x="4187369" y="2330356"/>
                </a:lnTo>
                <a:lnTo>
                  <a:pt x="3759795" y="2330356"/>
                </a:lnTo>
                <a:lnTo>
                  <a:pt x="3338532" y="814126"/>
                </a:lnTo>
                <a:lnTo>
                  <a:pt x="3329067" y="814126"/>
                </a:lnTo>
                <a:lnTo>
                  <a:pt x="2907803" y="2330356"/>
                </a:lnTo>
                <a:lnTo>
                  <a:pt x="2480229" y="2330356"/>
                </a:lnTo>
                <a:close/>
                <a:moveTo>
                  <a:pt x="5869072" y="0"/>
                </a:moveTo>
                <a:cubicBezTo>
                  <a:pt x="6154121" y="0"/>
                  <a:pt x="6386052" y="92299"/>
                  <a:pt x="6564866" y="276897"/>
                </a:cubicBezTo>
                <a:cubicBezTo>
                  <a:pt x="6743679" y="461495"/>
                  <a:pt x="6833085" y="694216"/>
                  <a:pt x="6833085" y="975057"/>
                </a:cubicBezTo>
                <a:lnTo>
                  <a:pt x="6833085" y="1388431"/>
                </a:lnTo>
                <a:cubicBezTo>
                  <a:pt x="6833085" y="1670326"/>
                  <a:pt x="6743941" y="1903308"/>
                  <a:pt x="6565654" y="2087381"/>
                </a:cubicBezTo>
                <a:cubicBezTo>
                  <a:pt x="6387367" y="2271453"/>
                  <a:pt x="6155699" y="2363489"/>
                  <a:pt x="5870649" y="2363489"/>
                </a:cubicBezTo>
                <a:cubicBezTo>
                  <a:pt x="5587704" y="2363489"/>
                  <a:pt x="5357876" y="2271453"/>
                  <a:pt x="5181167" y="2087381"/>
                </a:cubicBezTo>
                <a:cubicBezTo>
                  <a:pt x="5004457" y="1903308"/>
                  <a:pt x="4916103" y="1670326"/>
                  <a:pt x="4916103" y="1388431"/>
                </a:cubicBezTo>
                <a:lnTo>
                  <a:pt x="4916103" y="975057"/>
                </a:lnTo>
                <a:cubicBezTo>
                  <a:pt x="4916103" y="694216"/>
                  <a:pt x="5004194" y="461495"/>
                  <a:pt x="5180378" y="276897"/>
                </a:cubicBezTo>
                <a:cubicBezTo>
                  <a:pt x="5356562" y="92299"/>
                  <a:pt x="5586126" y="0"/>
                  <a:pt x="5869072" y="0"/>
                </a:cubicBezTo>
                <a:close/>
                <a:moveTo>
                  <a:pt x="915320" y="0"/>
                </a:moveTo>
                <a:cubicBezTo>
                  <a:pt x="1167763" y="0"/>
                  <a:pt x="1373398" y="67055"/>
                  <a:pt x="1532226" y="201164"/>
                </a:cubicBezTo>
                <a:cubicBezTo>
                  <a:pt x="1691054" y="335274"/>
                  <a:pt x="1767838" y="500677"/>
                  <a:pt x="1762580" y="697371"/>
                </a:cubicBezTo>
                <a:lnTo>
                  <a:pt x="1759424" y="706838"/>
                </a:lnTo>
                <a:lnTo>
                  <a:pt x="1312917" y="706838"/>
                </a:lnTo>
                <a:cubicBezTo>
                  <a:pt x="1312917" y="600601"/>
                  <a:pt x="1277417" y="514613"/>
                  <a:pt x="1206418" y="448873"/>
                </a:cubicBezTo>
                <a:cubicBezTo>
                  <a:pt x="1135419" y="383133"/>
                  <a:pt x="1035757" y="350263"/>
                  <a:pt x="907432" y="350263"/>
                </a:cubicBezTo>
                <a:cubicBezTo>
                  <a:pt x="784366" y="350263"/>
                  <a:pt x="689175" y="377611"/>
                  <a:pt x="621857" y="432306"/>
                </a:cubicBezTo>
                <a:cubicBezTo>
                  <a:pt x="554539" y="487003"/>
                  <a:pt x="520880" y="556950"/>
                  <a:pt x="520880" y="642149"/>
                </a:cubicBezTo>
                <a:cubicBezTo>
                  <a:pt x="520880" y="719985"/>
                  <a:pt x="556906" y="783884"/>
                  <a:pt x="628956" y="833847"/>
                </a:cubicBezTo>
                <a:cubicBezTo>
                  <a:pt x="701008" y="883810"/>
                  <a:pt x="825388" y="936666"/>
                  <a:pt x="1002098" y="992413"/>
                </a:cubicBezTo>
                <a:cubicBezTo>
                  <a:pt x="1255592" y="1062886"/>
                  <a:pt x="1447552" y="1155974"/>
                  <a:pt x="1577981" y="1271677"/>
                </a:cubicBezTo>
                <a:cubicBezTo>
                  <a:pt x="1708410" y="1387379"/>
                  <a:pt x="1773624" y="1539370"/>
                  <a:pt x="1773624" y="1727651"/>
                </a:cubicBezTo>
                <a:cubicBezTo>
                  <a:pt x="1773624" y="1924345"/>
                  <a:pt x="1696050" y="2079491"/>
                  <a:pt x="1540904" y="2193091"/>
                </a:cubicBezTo>
                <a:cubicBezTo>
                  <a:pt x="1385758" y="2306689"/>
                  <a:pt x="1180911" y="2363489"/>
                  <a:pt x="926365" y="2363489"/>
                </a:cubicBezTo>
                <a:cubicBezTo>
                  <a:pt x="676027" y="2363489"/>
                  <a:pt x="457770" y="2299063"/>
                  <a:pt x="271593" y="2170213"/>
                </a:cubicBezTo>
                <a:cubicBezTo>
                  <a:pt x="85417" y="2041362"/>
                  <a:pt x="-5042" y="1860708"/>
                  <a:pt x="217" y="1628251"/>
                </a:cubicBezTo>
                <a:lnTo>
                  <a:pt x="3373" y="1618784"/>
                </a:lnTo>
                <a:lnTo>
                  <a:pt x="451458" y="1618784"/>
                </a:lnTo>
                <a:cubicBezTo>
                  <a:pt x="451458" y="1755525"/>
                  <a:pt x="493269" y="1855712"/>
                  <a:pt x="576890" y="1919349"/>
                </a:cubicBezTo>
                <a:cubicBezTo>
                  <a:pt x="660512" y="1982985"/>
                  <a:pt x="777003" y="2014804"/>
                  <a:pt x="926365" y="2014804"/>
                </a:cubicBezTo>
                <a:cubicBezTo>
                  <a:pt x="1051534" y="2014804"/>
                  <a:pt x="1147252" y="1989033"/>
                  <a:pt x="1213517" y="1937493"/>
                </a:cubicBezTo>
                <a:cubicBezTo>
                  <a:pt x="1279784" y="1885952"/>
                  <a:pt x="1312917" y="1817057"/>
                  <a:pt x="1312917" y="1730806"/>
                </a:cubicBezTo>
                <a:cubicBezTo>
                  <a:pt x="1312917" y="1642451"/>
                  <a:pt x="1281625" y="1571451"/>
                  <a:pt x="1219040" y="1517808"/>
                </a:cubicBezTo>
                <a:cubicBezTo>
                  <a:pt x="1156455" y="1464164"/>
                  <a:pt x="1046801" y="1413675"/>
                  <a:pt x="890076" y="1366343"/>
                </a:cubicBezTo>
                <a:cubicBezTo>
                  <a:pt x="616598" y="1287455"/>
                  <a:pt x="409911" y="1193840"/>
                  <a:pt x="270015" y="1085501"/>
                </a:cubicBezTo>
                <a:cubicBezTo>
                  <a:pt x="130120" y="977161"/>
                  <a:pt x="60173" y="828851"/>
                  <a:pt x="60173" y="640571"/>
                </a:cubicBezTo>
                <a:cubicBezTo>
                  <a:pt x="60173" y="452292"/>
                  <a:pt x="140376" y="298460"/>
                  <a:pt x="300781" y="179076"/>
                </a:cubicBezTo>
                <a:cubicBezTo>
                  <a:pt x="461188" y="59691"/>
                  <a:pt x="666034" y="0"/>
                  <a:pt x="91532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3481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14007971" y="3827983"/>
            <a:ext cx="7942430" cy="9888018"/>
            <a:chOff x="7003985" y="1913991"/>
            <a:chExt cx="3971215" cy="4944009"/>
          </a:xfrm>
        </p:grpSpPr>
        <p:grpSp>
          <p:nvGrpSpPr>
            <p:cNvPr id="6" name="Group 5"/>
            <p:cNvGrpSpPr/>
            <p:nvPr userDrawn="1"/>
          </p:nvGrpSpPr>
          <p:grpSpPr>
            <a:xfrm flipH="1">
              <a:off x="7550586" y="1913991"/>
              <a:ext cx="3389810" cy="3691852"/>
              <a:chOff x="15076058" y="5430942"/>
              <a:chExt cx="5490675" cy="5979911"/>
            </a:xfrm>
            <a:solidFill>
              <a:schemeClr val="bg1">
                <a:lumMod val="85000"/>
              </a:schemeClr>
            </a:solidFill>
          </p:grpSpPr>
          <p:sp>
            <p:nvSpPr>
              <p:cNvPr id="7" name="Shape 22657"/>
              <p:cNvSpPr/>
              <p:nvPr/>
            </p:nvSpPr>
            <p:spPr>
              <a:xfrm>
                <a:off x="16088182" y="9947547"/>
                <a:ext cx="921093" cy="92109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Shape 22665"/>
              <p:cNvSpPr/>
              <p:nvPr/>
            </p:nvSpPr>
            <p:spPr>
              <a:xfrm>
                <a:off x="15708634" y="7493145"/>
                <a:ext cx="1085318" cy="1085317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Shape 22666"/>
              <p:cNvSpPr/>
              <p:nvPr/>
            </p:nvSpPr>
            <p:spPr>
              <a:xfrm>
                <a:off x="16214697" y="6126777"/>
                <a:ext cx="499589" cy="49958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Shape 22667"/>
              <p:cNvSpPr/>
              <p:nvPr/>
            </p:nvSpPr>
            <p:spPr>
              <a:xfrm>
                <a:off x="17694929" y="6772006"/>
                <a:ext cx="860300" cy="860307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Shape 22668"/>
              <p:cNvSpPr/>
              <p:nvPr/>
            </p:nvSpPr>
            <p:spPr>
              <a:xfrm>
                <a:off x="18631144" y="6620188"/>
                <a:ext cx="473051" cy="47302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Shape 22669"/>
              <p:cNvSpPr/>
              <p:nvPr/>
            </p:nvSpPr>
            <p:spPr>
              <a:xfrm>
                <a:off x="17884702" y="7758828"/>
                <a:ext cx="625802" cy="62579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Shape 22670"/>
              <p:cNvSpPr/>
              <p:nvPr/>
            </p:nvSpPr>
            <p:spPr>
              <a:xfrm>
                <a:off x="19719177" y="7607010"/>
                <a:ext cx="701063" cy="701062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Shape 22671"/>
              <p:cNvSpPr/>
              <p:nvPr/>
            </p:nvSpPr>
            <p:spPr>
              <a:xfrm>
                <a:off x="19175159" y="9087241"/>
                <a:ext cx="755216" cy="755215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Shape 22672"/>
              <p:cNvSpPr/>
              <p:nvPr/>
            </p:nvSpPr>
            <p:spPr>
              <a:xfrm>
                <a:off x="18378113" y="9542697"/>
                <a:ext cx="512303" cy="51229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Shape 22673"/>
              <p:cNvSpPr/>
              <p:nvPr/>
            </p:nvSpPr>
            <p:spPr>
              <a:xfrm>
                <a:off x="19972208" y="8897467"/>
                <a:ext cx="378090" cy="37809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Shape 22674"/>
              <p:cNvSpPr/>
              <p:nvPr/>
            </p:nvSpPr>
            <p:spPr>
              <a:xfrm>
                <a:off x="20136677" y="9378227"/>
                <a:ext cx="430056" cy="43004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Shape 22675"/>
              <p:cNvSpPr/>
              <p:nvPr/>
            </p:nvSpPr>
            <p:spPr>
              <a:xfrm>
                <a:off x="15822499" y="5430942"/>
                <a:ext cx="329843" cy="32984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Shape 22676"/>
              <p:cNvSpPr/>
              <p:nvPr/>
            </p:nvSpPr>
            <p:spPr>
              <a:xfrm>
                <a:off x="15076058" y="7758828"/>
                <a:ext cx="456309" cy="45631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Shape 22677"/>
              <p:cNvSpPr/>
              <p:nvPr/>
            </p:nvSpPr>
            <p:spPr>
              <a:xfrm>
                <a:off x="16594244" y="9466788"/>
                <a:ext cx="435565" cy="43554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Shape 22678"/>
              <p:cNvSpPr/>
              <p:nvPr/>
            </p:nvSpPr>
            <p:spPr>
              <a:xfrm>
                <a:off x="15949015" y="9643910"/>
                <a:ext cx="331549" cy="33153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Shape 22679"/>
              <p:cNvSpPr/>
              <p:nvPr/>
            </p:nvSpPr>
            <p:spPr>
              <a:xfrm>
                <a:off x="16189394" y="10972323"/>
                <a:ext cx="438518" cy="43853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Shape 22680"/>
              <p:cNvSpPr/>
              <p:nvPr/>
            </p:nvSpPr>
            <p:spPr>
              <a:xfrm>
                <a:off x="16164090" y="9277015"/>
                <a:ext cx="234673" cy="234672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Shape 22681"/>
              <p:cNvSpPr/>
              <p:nvPr/>
            </p:nvSpPr>
            <p:spPr>
              <a:xfrm>
                <a:off x="15708634" y="10112017"/>
                <a:ext cx="234673" cy="234672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Shape 22682"/>
              <p:cNvSpPr/>
              <p:nvPr/>
            </p:nvSpPr>
            <p:spPr>
              <a:xfrm>
                <a:off x="16682804" y="8340800"/>
                <a:ext cx="490879" cy="490885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Shape 22683"/>
              <p:cNvSpPr/>
              <p:nvPr/>
            </p:nvSpPr>
            <p:spPr>
              <a:xfrm>
                <a:off x="16467728" y="6696097"/>
                <a:ext cx="342655" cy="34265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Shape 22684"/>
              <p:cNvSpPr/>
              <p:nvPr/>
            </p:nvSpPr>
            <p:spPr>
              <a:xfrm>
                <a:off x="16113484" y="5810488"/>
                <a:ext cx="240788" cy="240788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Shape 22685"/>
              <p:cNvSpPr/>
              <p:nvPr/>
            </p:nvSpPr>
            <p:spPr>
              <a:xfrm>
                <a:off x="17454550" y="6607536"/>
                <a:ext cx="342655" cy="34264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Shape 22686"/>
              <p:cNvSpPr/>
              <p:nvPr/>
            </p:nvSpPr>
            <p:spPr>
              <a:xfrm>
                <a:off x="17517808" y="7543751"/>
                <a:ext cx="288083" cy="28810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Shape 22687"/>
              <p:cNvSpPr/>
              <p:nvPr/>
            </p:nvSpPr>
            <p:spPr>
              <a:xfrm>
                <a:off x="17884702" y="8492618"/>
                <a:ext cx="494907" cy="49490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Shape 22688"/>
              <p:cNvSpPr/>
              <p:nvPr/>
            </p:nvSpPr>
            <p:spPr>
              <a:xfrm>
                <a:off x="18466674" y="7569055"/>
                <a:ext cx="247379" cy="247385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Shape 22689"/>
              <p:cNvSpPr/>
              <p:nvPr/>
            </p:nvSpPr>
            <p:spPr>
              <a:xfrm>
                <a:off x="18302203" y="6493672"/>
                <a:ext cx="255510" cy="25551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Shape 22690"/>
              <p:cNvSpPr/>
              <p:nvPr/>
            </p:nvSpPr>
            <p:spPr>
              <a:xfrm>
                <a:off x="19314328" y="8049814"/>
                <a:ext cx="342408" cy="342358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Shape 22691"/>
              <p:cNvSpPr/>
              <p:nvPr/>
            </p:nvSpPr>
            <p:spPr>
              <a:xfrm>
                <a:off x="18947432" y="9795728"/>
                <a:ext cx="295039" cy="29503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Shape 22692"/>
              <p:cNvSpPr/>
              <p:nvPr/>
            </p:nvSpPr>
            <p:spPr>
              <a:xfrm>
                <a:off x="18795615" y="9226408"/>
                <a:ext cx="295410" cy="29540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Shape 22693"/>
              <p:cNvSpPr/>
              <p:nvPr/>
            </p:nvSpPr>
            <p:spPr>
              <a:xfrm>
                <a:off x="19870996" y="9732471"/>
                <a:ext cx="195556" cy="195568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8" name="Shape 22658"/>
            <p:cNvSpPr/>
            <p:nvPr userDrawn="1"/>
          </p:nvSpPr>
          <p:spPr>
            <a:xfrm flipH="1">
              <a:off x="7003985" y="2422284"/>
              <a:ext cx="3971215" cy="44357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16" extrusionOk="0">
                  <a:moveTo>
                    <a:pt x="10490" y="20716"/>
                  </a:moveTo>
                  <a:lnTo>
                    <a:pt x="4933" y="20716"/>
                  </a:lnTo>
                  <a:cubicBezTo>
                    <a:pt x="4933" y="20716"/>
                    <a:pt x="5598" y="16842"/>
                    <a:pt x="7811" y="12022"/>
                  </a:cubicBezTo>
                  <a:cubicBezTo>
                    <a:pt x="8850" y="9761"/>
                    <a:pt x="6890" y="8230"/>
                    <a:pt x="4376" y="8016"/>
                  </a:cubicBezTo>
                  <a:cubicBezTo>
                    <a:pt x="1862" y="7803"/>
                    <a:pt x="621" y="9162"/>
                    <a:pt x="621" y="9162"/>
                  </a:cubicBezTo>
                  <a:cubicBezTo>
                    <a:pt x="621" y="9162"/>
                    <a:pt x="3645" y="5281"/>
                    <a:pt x="8382" y="8563"/>
                  </a:cubicBezTo>
                  <a:cubicBezTo>
                    <a:pt x="8286" y="6664"/>
                    <a:pt x="8038" y="2420"/>
                    <a:pt x="0" y="2021"/>
                  </a:cubicBezTo>
                  <a:cubicBezTo>
                    <a:pt x="0" y="2021"/>
                    <a:pt x="3631" y="1328"/>
                    <a:pt x="7014" y="3620"/>
                  </a:cubicBezTo>
                  <a:cubicBezTo>
                    <a:pt x="7014" y="3620"/>
                    <a:pt x="7014" y="-884"/>
                    <a:pt x="12755" y="155"/>
                  </a:cubicBezTo>
                  <a:cubicBezTo>
                    <a:pt x="11638" y="-31"/>
                    <a:pt x="7908" y="-222"/>
                    <a:pt x="8207" y="3068"/>
                  </a:cubicBezTo>
                  <a:cubicBezTo>
                    <a:pt x="8433" y="5556"/>
                    <a:pt x="9670" y="5566"/>
                    <a:pt x="9966" y="9062"/>
                  </a:cubicBezTo>
                  <a:cubicBezTo>
                    <a:pt x="10494" y="8662"/>
                    <a:pt x="12197" y="7777"/>
                    <a:pt x="12538" y="6044"/>
                  </a:cubicBezTo>
                  <a:cubicBezTo>
                    <a:pt x="12879" y="4312"/>
                    <a:pt x="14834" y="1061"/>
                    <a:pt x="18155" y="3113"/>
                  </a:cubicBezTo>
                  <a:cubicBezTo>
                    <a:pt x="18155" y="3113"/>
                    <a:pt x="16485" y="2284"/>
                    <a:pt x="15238" y="3318"/>
                  </a:cubicBezTo>
                  <a:cubicBezTo>
                    <a:pt x="13593" y="4684"/>
                    <a:pt x="14740" y="6066"/>
                    <a:pt x="13345" y="6684"/>
                  </a:cubicBezTo>
                  <a:cubicBezTo>
                    <a:pt x="14369" y="6471"/>
                    <a:pt x="19144" y="5745"/>
                    <a:pt x="21600" y="9429"/>
                  </a:cubicBezTo>
                  <a:cubicBezTo>
                    <a:pt x="21041" y="9136"/>
                    <a:pt x="18022" y="5923"/>
                    <a:pt x="12953" y="7636"/>
                  </a:cubicBezTo>
                  <a:cubicBezTo>
                    <a:pt x="12301" y="8488"/>
                    <a:pt x="12409" y="8646"/>
                    <a:pt x="11540" y="9206"/>
                  </a:cubicBezTo>
                  <a:cubicBezTo>
                    <a:pt x="10671" y="9765"/>
                    <a:pt x="10800" y="10601"/>
                    <a:pt x="10800" y="10601"/>
                  </a:cubicBezTo>
                  <a:cubicBezTo>
                    <a:pt x="10800" y="10601"/>
                    <a:pt x="13505" y="11043"/>
                    <a:pt x="15052" y="10681"/>
                  </a:cubicBezTo>
                  <a:cubicBezTo>
                    <a:pt x="17856" y="10026"/>
                    <a:pt x="19167" y="11670"/>
                    <a:pt x="19602" y="12310"/>
                  </a:cubicBezTo>
                  <a:cubicBezTo>
                    <a:pt x="19602" y="12310"/>
                    <a:pt x="17773" y="10358"/>
                    <a:pt x="15331" y="11214"/>
                  </a:cubicBezTo>
                  <a:cubicBezTo>
                    <a:pt x="13477" y="11864"/>
                    <a:pt x="10955" y="10814"/>
                    <a:pt x="10800" y="11827"/>
                  </a:cubicBezTo>
                  <a:cubicBezTo>
                    <a:pt x="10645" y="12840"/>
                    <a:pt x="10210" y="19399"/>
                    <a:pt x="10490" y="2071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9144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6000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Shape 22659"/>
          <p:cNvSpPr/>
          <p:nvPr userDrawn="1"/>
        </p:nvSpPr>
        <p:spPr>
          <a:xfrm flipH="1">
            <a:off x="16529961" y="1842540"/>
            <a:ext cx="3616470" cy="3616468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6200" tIns="76200" rIns="76200" bIns="76200" anchor="ctr"/>
          <a:lstStyle/>
          <a:p>
            <a:pPr defTabSz="9144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6000" dirty="0">
              <a:solidFill>
                <a:schemeClr val="bg1"/>
              </a:solidFill>
            </a:endParaRPr>
          </a:p>
        </p:txBody>
      </p:sp>
      <p:sp>
        <p:nvSpPr>
          <p:cNvPr id="51" name="Shape 22660"/>
          <p:cNvSpPr/>
          <p:nvPr userDrawn="1"/>
        </p:nvSpPr>
        <p:spPr>
          <a:xfrm flipH="1">
            <a:off x="14612865" y="4335051"/>
            <a:ext cx="2256122" cy="2256114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6200" tIns="76200" rIns="76200" bIns="76200" anchor="ctr"/>
          <a:lstStyle/>
          <a:p>
            <a:pPr defTabSz="9144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6000" dirty="0">
              <a:solidFill>
                <a:schemeClr val="bg1"/>
              </a:solidFill>
            </a:endParaRPr>
          </a:p>
        </p:txBody>
      </p:sp>
      <p:sp>
        <p:nvSpPr>
          <p:cNvPr id="52" name="Shape 22661"/>
          <p:cNvSpPr/>
          <p:nvPr userDrawn="1"/>
        </p:nvSpPr>
        <p:spPr>
          <a:xfrm flipH="1">
            <a:off x="12810620" y="6376441"/>
            <a:ext cx="2709428" cy="2709414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6200" tIns="76200" rIns="76200" bIns="76200" anchor="ctr"/>
          <a:lstStyle/>
          <a:p>
            <a:pPr defTabSz="9144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6000" dirty="0">
              <a:solidFill>
                <a:schemeClr val="bg1"/>
              </a:solidFill>
            </a:endParaRPr>
          </a:p>
        </p:txBody>
      </p:sp>
      <p:sp>
        <p:nvSpPr>
          <p:cNvPr id="53" name="Shape 22662"/>
          <p:cNvSpPr/>
          <p:nvPr userDrawn="1"/>
        </p:nvSpPr>
        <p:spPr>
          <a:xfrm flipH="1">
            <a:off x="13714888" y="9258148"/>
            <a:ext cx="1964168" cy="1964152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6200" tIns="76200" rIns="76200" bIns="76200" anchor="ctr"/>
          <a:lstStyle/>
          <a:p>
            <a:pPr defTabSz="9144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6000" dirty="0">
              <a:solidFill>
                <a:schemeClr val="bg1"/>
              </a:solidFill>
            </a:endParaRPr>
          </a:p>
        </p:txBody>
      </p:sp>
      <p:sp>
        <p:nvSpPr>
          <p:cNvPr id="54" name="Shape 22663"/>
          <p:cNvSpPr/>
          <p:nvPr userDrawn="1"/>
        </p:nvSpPr>
        <p:spPr>
          <a:xfrm flipH="1">
            <a:off x="20239327" y="4541610"/>
            <a:ext cx="2193050" cy="2193036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6200" tIns="76200" rIns="76200" bIns="76200" anchor="ctr"/>
          <a:lstStyle/>
          <a:p>
            <a:pPr defTabSz="9144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6000" dirty="0">
              <a:solidFill>
                <a:schemeClr val="bg1"/>
              </a:solidFill>
            </a:endParaRPr>
          </a:p>
        </p:txBody>
      </p:sp>
      <p:sp>
        <p:nvSpPr>
          <p:cNvPr id="55" name="Shape 22664"/>
          <p:cNvSpPr/>
          <p:nvPr userDrawn="1"/>
        </p:nvSpPr>
        <p:spPr>
          <a:xfrm flipH="1">
            <a:off x="20363223" y="7488557"/>
            <a:ext cx="1931446" cy="1931426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6200" tIns="76200" rIns="76200" bIns="76200" anchor="ctr"/>
          <a:lstStyle/>
          <a:p>
            <a:pPr defTabSz="9144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6000" dirty="0">
              <a:solidFill>
                <a:schemeClr val="bg1"/>
              </a:solidFill>
            </a:endParaRPr>
          </a:p>
        </p:txBody>
      </p:sp>
      <p:sp>
        <p:nvSpPr>
          <p:cNvPr id="4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6789136" y="2114898"/>
            <a:ext cx="3048000" cy="3050004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>
                <a:solidFill>
                  <a:schemeClr val="bg1"/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4890511" y="4645719"/>
            <a:ext cx="1694962" cy="1696074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 dirty="0">
                <a:solidFill>
                  <a:schemeClr val="bg1"/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2988407" y="6569431"/>
            <a:ext cx="2327366" cy="2328890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>
                <a:solidFill>
                  <a:schemeClr val="bg1"/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3947305" y="9491413"/>
            <a:ext cx="1507918" cy="1508902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>
                <a:solidFill>
                  <a:schemeClr val="bg1"/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467910" y="4767958"/>
            <a:ext cx="1729032" cy="1730164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 dirty="0">
                <a:solidFill>
                  <a:schemeClr val="bg1"/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5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20582022" y="7708826"/>
            <a:ext cx="1500808" cy="1501792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 dirty="0">
                <a:solidFill>
                  <a:schemeClr val="bg1"/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60850222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654300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996766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3319092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8717046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2251960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>
              <a:solidFill>
                <a:schemeClr val="bg1"/>
              </a:solidFill>
            </a:endParaRPr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7594426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>
              <a:solidFill>
                <a:schemeClr val="bg1"/>
              </a:solidFill>
            </a:endParaRPr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12936892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>
              <a:solidFill>
                <a:schemeClr val="bg1"/>
              </a:solidFill>
            </a:endParaRPr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18279360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52338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159003" y="2547993"/>
            <a:ext cx="4775198" cy="276804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479843" y="2547993"/>
            <a:ext cx="4775198" cy="276804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6896645" y="2547993"/>
            <a:ext cx="4775198" cy="276804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159003" y="5316039"/>
            <a:ext cx="2438398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479845" y="5316039"/>
            <a:ext cx="2438398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6896645" y="5316039"/>
            <a:ext cx="2438398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348654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715166" y="2619376"/>
            <a:ext cx="2640992" cy="2642728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3227382" y="2619376"/>
            <a:ext cx="2640992" cy="2642728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7" name="Shape 30289"/>
          <p:cNvSpPr/>
          <p:nvPr userDrawn="1"/>
        </p:nvSpPr>
        <p:spPr>
          <a:xfrm>
            <a:off x="4645351" y="2837871"/>
            <a:ext cx="5870250" cy="41612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101600" tIns="101600" rIns="101600" bIns="1016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6400" dirty="0">
              <a:solidFill>
                <a:schemeClr val="bg1"/>
              </a:solidFill>
            </a:endParaRPr>
          </a:p>
        </p:txBody>
      </p:sp>
      <p:sp>
        <p:nvSpPr>
          <p:cNvPr id="9" name="Shape 30289"/>
          <p:cNvSpPr/>
          <p:nvPr userDrawn="1"/>
        </p:nvSpPr>
        <p:spPr>
          <a:xfrm>
            <a:off x="16182595" y="2837871"/>
            <a:ext cx="5870250" cy="41612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101600" tIns="101600" rIns="101600" bIns="1016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6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19113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2057400"/>
            <a:ext cx="4948958" cy="52101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2193017" y="2057400"/>
            <a:ext cx="4948958" cy="52101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948957" y="2057400"/>
            <a:ext cx="19435042" cy="5210196"/>
            <a:chOff x="2474478" y="1028700"/>
            <a:chExt cx="9717521" cy="2605098"/>
          </a:xfrm>
        </p:grpSpPr>
        <p:sp>
          <p:nvSpPr>
            <p:cNvPr id="6" name="Rectangle 5"/>
            <p:cNvSpPr/>
            <p:nvPr userDrawn="1"/>
          </p:nvSpPr>
          <p:spPr>
            <a:xfrm>
              <a:off x="2474478" y="1028700"/>
              <a:ext cx="3621013" cy="26050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>
                <a:solidFill>
                  <a:schemeClr val="bg1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8570986" y="1028700"/>
              <a:ext cx="3621013" cy="26050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5485039" y="2833694"/>
            <a:ext cx="5574846" cy="154962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3600" b="1" baseline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7648009" y="2833694"/>
            <a:ext cx="5574846" cy="154962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3600" b="1" baseline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93324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371080" cy="770074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519072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9898742" cy="1042126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9898741" y="0"/>
            <a:ext cx="14485258" cy="1042126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3471" y="1632555"/>
            <a:ext cx="7561414" cy="4768246"/>
          </a:xfrm>
        </p:spPr>
        <p:txBody>
          <a:bodyPr>
            <a:noAutofit/>
          </a:bodyPr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18549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e 7"/>
          <p:cNvSpPr/>
          <p:nvPr userDrawn="1"/>
        </p:nvSpPr>
        <p:spPr>
          <a:xfrm>
            <a:off x="2921320" y="3481380"/>
            <a:ext cx="6820928" cy="6820928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000" dirty="0">
              <a:solidFill>
                <a:schemeClr val="bg1"/>
              </a:solidFill>
            </a:endParaRPr>
          </a:p>
        </p:txBody>
      </p:sp>
      <p:sp>
        <p:nvSpPr>
          <p:cNvPr id="8" name="Picture Placeholder 5"/>
          <p:cNvSpPr>
            <a:spLocks noGrp="1"/>
          </p:cNvSpPr>
          <p:nvPr userDrawn="1">
            <p:ph type="pic" sz="quarter" idx="14"/>
          </p:nvPr>
        </p:nvSpPr>
        <p:spPr>
          <a:xfrm>
            <a:off x="3214768" y="3772782"/>
            <a:ext cx="6234032" cy="623812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17549069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037947" y="0"/>
            <a:ext cx="18346054" cy="13745028"/>
          </a:xfrm>
          <a:custGeom>
            <a:avLst/>
            <a:gdLst>
              <a:gd name="connsiteX0" fmla="*/ 3018972 w 9173027"/>
              <a:gd name="connsiteY0" fmla="*/ 0 h 6872514"/>
              <a:gd name="connsiteX1" fmla="*/ 9173027 w 9173027"/>
              <a:gd name="connsiteY1" fmla="*/ 0 h 6872514"/>
              <a:gd name="connsiteX2" fmla="*/ 9173027 w 9173027"/>
              <a:gd name="connsiteY2" fmla="*/ 6858000 h 6872514"/>
              <a:gd name="connsiteX3" fmla="*/ 0 w 9173027"/>
              <a:gd name="connsiteY3" fmla="*/ 6872514 h 687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73027" h="6872514">
                <a:moveTo>
                  <a:pt x="3018972" y="0"/>
                </a:moveTo>
                <a:lnTo>
                  <a:pt x="9173027" y="0"/>
                </a:lnTo>
                <a:lnTo>
                  <a:pt x="9173027" y="6858000"/>
                </a:lnTo>
                <a:lnTo>
                  <a:pt x="0" y="68725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8652" y="604331"/>
            <a:ext cx="6921004" cy="7610754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9600" b="0" spc="-600" dirty="0">
                <a:solidFill>
                  <a:schemeClr val="bg1"/>
                </a:solidFill>
                <a:cs typeface="Times New Roman" panose="02020603050405020304" pitchFamily="18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35921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24384002" cy="708297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766911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137197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2428057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7798341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00819448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24384002" cy="9144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70659574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645402" y="0"/>
            <a:ext cx="16738600" cy="127127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7645400" cy="13716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645400" y="12712700"/>
            <a:ext cx="16738600" cy="100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2226505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023579" y="0"/>
            <a:ext cx="16360422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4791100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486628" y="0"/>
            <a:ext cx="10897372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" y="0"/>
            <a:ext cx="13486630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66492744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035296" y="3837838"/>
            <a:ext cx="9117612" cy="73758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627472" y="2911738"/>
            <a:ext cx="9117612" cy="7375896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02529255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756702" y="2232563"/>
            <a:ext cx="8859396" cy="8865210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070731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170706" y="5542472"/>
            <a:ext cx="14156268" cy="624312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178434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11200" y="7772400"/>
            <a:ext cx="22961600" cy="59436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9338835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48065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366172" cy="114390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40157" y="5745802"/>
            <a:ext cx="6674734" cy="6542008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0113989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1"/>
            <a:ext cx="24028400" cy="906780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9361066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5880" y="2042583"/>
            <a:ext cx="21442680" cy="537421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5880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25881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1325880" y="7892040"/>
            <a:ext cx="4668520" cy="361416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sz="6400" b="1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>
              <a:defRPr lang="en-US" sz="3600" smtClean="0"/>
            </a:lvl2pPr>
            <a:lvl3pPr>
              <a:defRPr lang="en-US" sz="36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575659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41868" y="1668774"/>
            <a:ext cx="8263468" cy="1039240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43424" y="1668773"/>
            <a:ext cx="5930872" cy="4112594"/>
          </a:xfrm>
        </p:spPr>
        <p:txBody>
          <a:bodyPr anchor="t">
            <a:noAutofit/>
          </a:bodyPr>
          <a:lstStyle>
            <a:lvl1pPr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082272" y="7962076"/>
            <a:ext cx="9301728" cy="18045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08748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140578" y="4147296"/>
            <a:ext cx="4400548" cy="530542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1304925"/>
              <a:gd name="connsiteY0" fmla="*/ 47625 h 962025"/>
              <a:gd name="connsiteX1" fmla="*/ 1304925 w 1304925"/>
              <a:gd name="connsiteY1" fmla="*/ 0 h 962025"/>
              <a:gd name="connsiteX2" fmla="*/ 914400 w 1304925"/>
              <a:gd name="connsiteY2" fmla="*/ 962025 h 962025"/>
              <a:gd name="connsiteX3" fmla="*/ 0 w 1304925"/>
              <a:gd name="connsiteY3" fmla="*/ 962025 h 962025"/>
              <a:gd name="connsiteX4" fmla="*/ 0 w 1304925"/>
              <a:gd name="connsiteY4" fmla="*/ 47625 h 962025"/>
              <a:gd name="connsiteX0" fmla="*/ 0 w 2190750"/>
              <a:gd name="connsiteY0" fmla="*/ 47625 h 2519363"/>
              <a:gd name="connsiteX1" fmla="*/ 1304925 w 2190750"/>
              <a:gd name="connsiteY1" fmla="*/ 0 h 2519363"/>
              <a:gd name="connsiteX2" fmla="*/ 2190750 w 2190750"/>
              <a:gd name="connsiteY2" fmla="*/ 2519363 h 2519363"/>
              <a:gd name="connsiteX3" fmla="*/ 0 w 2190750"/>
              <a:gd name="connsiteY3" fmla="*/ 962025 h 2519363"/>
              <a:gd name="connsiteX4" fmla="*/ 0 w 2190750"/>
              <a:gd name="connsiteY4" fmla="*/ 47625 h 2519363"/>
              <a:gd name="connsiteX0" fmla="*/ 0 w 2190750"/>
              <a:gd name="connsiteY0" fmla="*/ 47625 h 2647950"/>
              <a:gd name="connsiteX1" fmla="*/ 1304925 w 2190750"/>
              <a:gd name="connsiteY1" fmla="*/ 0 h 2647950"/>
              <a:gd name="connsiteX2" fmla="*/ 2190750 w 2190750"/>
              <a:gd name="connsiteY2" fmla="*/ 2519363 h 2647950"/>
              <a:gd name="connsiteX3" fmla="*/ 885825 w 2190750"/>
              <a:gd name="connsiteY3" fmla="*/ 2647950 h 2647950"/>
              <a:gd name="connsiteX4" fmla="*/ 0 w 2190750"/>
              <a:gd name="connsiteY4" fmla="*/ 47625 h 2647950"/>
              <a:gd name="connsiteX0" fmla="*/ 0 w 2157412"/>
              <a:gd name="connsiteY0" fmla="*/ 0 h 2743200"/>
              <a:gd name="connsiteX1" fmla="*/ 1271587 w 2157412"/>
              <a:gd name="connsiteY1" fmla="*/ 95250 h 2743200"/>
              <a:gd name="connsiteX2" fmla="*/ 2157412 w 2157412"/>
              <a:gd name="connsiteY2" fmla="*/ 2614613 h 2743200"/>
              <a:gd name="connsiteX3" fmla="*/ 852487 w 2157412"/>
              <a:gd name="connsiteY3" fmla="*/ 2743200 h 2743200"/>
              <a:gd name="connsiteX4" fmla="*/ 0 w 2157412"/>
              <a:gd name="connsiteY4" fmla="*/ 0 h 2743200"/>
              <a:gd name="connsiteX0" fmla="*/ 0 w 2200274"/>
              <a:gd name="connsiteY0" fmla="*/ 38100 h 2647950"/>
              <a:gd name="connsiteX1" fmla="*/ 1314449 w 2200274"/>
              <a:gd name="connsiteY1" fmla="*/ 0 h 2647950"/>
              <a:gd name="connsiteX2" fmla="*/ 2200274 w 2200274"/>
              <a:gd name="connsiteY2" fmla="*/ 2519363 h 2647950"/>
              <a:gd name="connsiteX3" fmla="*/ 895349 w 2200274"/>
              <a:gd name="connsiteY3" fmla="*/ 2647950 h 2647950"/>
              <a:gd name="connsiteX4" fmla="*/ 0 w 2200274"/>
              <a:gd name="connsiteY4" fmla="*/ 38100 h 2647950"/>
              <a:gd name="connsiteX0" fmla="*/ 0 w 2200274"/>
              <a:gd name="connsiteY0" fmla="*/ 0 h 2609850"/>
              <a:gd name="connsiteX1" fmla="*/ 1290637 w 2200274"/>
              <a:gd name="connsiteY1" fmla="*/ 28575 h 2609850"/>
              <a:gd name="connsiteX2" fmla="*/ 2200274 w 2200274"/>
              <a:gd name="connsiteY2" fmla="*/ 2481263 h 2609850"/>
              <a:gd name="connsiteX3" fmla="*/ 895349 w 2200274"/>
              <a:gd name="connsiteY3" fmla="*/ 2609850 h 2609850"/>
              <a:gd name="connsiteX4" fmla="*/ 0 w 2200274"/>
              <a:gd name="connsiteY4" fmla="*/ 0 h 2609850"/>
              <a:gd name="connsiteX0" fmla="*/ 0 w 2200274"/>
              <a:gd name="connsiteY0" fmla="*/ 42862 h 2652712"/>
              <a:gd name="connsiteX1" fmla="*/ 1304924 w 2200274"/>
              <a:gd name="connsiteY1" fmla="*/ 0 h 2652712"/>
              <a:gd name="connsiteX2" fmla="*/ 2200274 w 2200274"/>
              <a:gd name="connsiteY2" fmla="*/ 2524125 h 2652712"/>
              <a:gd name="connsiteX3" fmla="*/ 895349 w 2200274"/>
              <a:gd name="connsiteY3" fmla="*/ 2652712 h 2652712"/>
              <a:gd name="connsiteX4" fmla="*/ 0 w 2200274"/>
              <a:gd name="connsiteY4" fmla="*/ 42862 h 2652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4" h="2652712">
                <a:moveTo>
                  <a:pt x="0" y="42862"/>
                </a:moveTo>
                <a:lnTo>
                  <a:pt x="1304924" y="0"/>
                </a:lnTo>
                <a:lnTo>
                  <a:pt x="2200274" y="2524125"/>
                </a:lnTo>
                <a:lnTo>
                  <a:pt x="895349" y="2652712"/>
                </a:lnTo>
                <a:lnTo>
                  <a:pt x="0" y="42862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170587" y="4153646"/>
            <a:ext cx="4387850" cy="530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1304925"/>
              <a:gd name="connsiteY0" fmla="*/ 0 h 914400"/>
              <a:gd name="connsiteX1" fmla="*/ 1304925 w 1304925"/>
              <a:gd name="connsiteY1" fmla="*/ 53975 h 914400"/>
              <a:gd name="connsiteX2" fmla="*/ 914400 w 1304925"/>
              <a:gd name="connsiteY2" fmla="*/ 914400 h 914400"/>
              <a:gd name="connsiteX3" fmla="*/ 0 w 1304925"/>
              <a:gd name="connsiteY3" fmla="*/ 914400 h 914400"/>
              <a:gd name="connsiteX4" fmla="*/ 0 w 1304925"/>
              <a:gd name="connsiteY4" fmla="*/ 0 h 914400"/>
              <a:gd name="connsiteX0" fmla="*/ 0 w 1304925"/>
              <a:gd name="connsiteY0" fmla="*/ 0 h 914400"/>
              <a:gd name="connsiteX1" fmla="*/ 1304925 w 1304925"/>
              <a:gd name="connsiteY1" fmla="*/ 49213 h 914400"/>
              <a:gd name="connsiteX2" fmla="*/ 914400 w 1304925"/>
              <a:gd name="connsiteY2" fmla="*/ 914400 h 914400"/>
              <a:gd name="connsiteX3" fmla="*/ 0 w 1304925"/>
              <a:gd name="connsiteY3" fmla="*/ 914400 h 914400"/>
              <a:gd name="connsiteX4" fmla="*/ 0 w 1304925"/>
              <a:gd name="connsiteY4" fmla="*/ 0 h 914400"/>
              <a:gd name="connsiteX0" fmla="*/ 0 w 1304925"/>
              <a:gd name="connsiteY0" fmla="*/ 0 h 2654300"/>
              <a:gd name="connsiteX1" fmla="*/ 1304925 w 1304925"/>
              <a:gd name="connsiteY1" fmla="*/ 49213 h 2654300"/>
              <a:gd name="connsiteX2" fmla="*/ 425450 w 1304925"/>
              <a:gd name="connsiteY2" fmla="*/ 2654300 h 2654300"/>
              <a:gd name="connsiteX3" fmla="*/ 0 w 1304925"/>
              <a:gd name="connsiteY3" fmla="*/ 914400 h 2654300"/>
              <a:gd name="connsiteX4" fmla="*/ 0 w 1304925"/>
              <a:gd name="connsiteY4" fmla="*/ 0 h 2654300"/>
              <a:gd name="connsiteX0" fmla="*/ 889000 w 2193925"/>
              <a:gd name="connsiteY0" fmla="*/ 0 h 2654300"/>
              <a:gd name="connsiteX1" fmla="*/ 2193925 w 2193925"/>
              <a:gd name="connsiteY1" fmla="*/ 49213 h 2654300"/>
              <a:gd name="connsiteX2" fmla="*/ 1314450 w 2193925"/>
              <a:gd name="connsiteY2" fmla="*/ 2654300 h 2654300"/>
              <a:gd name="connsiteX3" fmla="*/ 0 w 2193925"/>
              <a:gd name="connsiteY3" fmla="*/ 2520950 h 2654300"/>
              <a:gd name="connsiteX4" fmla="*/ 889000 w 2193925"/>
              <a:gd name="connsiteY4" fmla="*/ 0 h 2654300"/>
              <a:gd name="connsiteX0" fmla="*/ 889000 w 2193925"/>
              <a:gd name="connsiteY0" fmla="*/ 0 h 2654300"/>
              <a:gd name="connsiteX1" fmla="*/ 2193925 w 2193925"/>
              <a:gd name="connsiteY1" fmla="*/ 49213 h 2654300"/>
              <a:gd name="connsiteX2" fmla="*/ 1314450 w 2193925"/>
              <a:gd name="connsiteY2" fmla="*/ 2654300 h 2654300"/>
              <a:gd name="connsiteX3" fmla="*/ 0 w 2193925"/>
              <a:gd name="connsiteY3" fmla="*/ 2520950 h 2654300"/>
              <a:gd name="connsiteX4" fmla="*/ 889000 w 2193925"/>
              <a:gd name="connsiteY4" fmla="*/ 0 h 265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3925" h="2654300">
                <a:moveTo>
                  <a:pt x="889000" y="0"/>
                </a:moveTo>
                <a:lnTo>
                  <a:pt x="2193925" y="49213"/>
                </a:lnTo>
                <a:lnTo>
                  <a:pt x="1314450" y="2654300"/>
                </a:lnTo>
                <a:lnTo>
                  <a:pt x="0" y="2520950"/>
                </a:lnTo>
                <a:lnTo>
                  <a:pt x="889000" y="0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30128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94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194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90552" y="3363606"/>
            <a:ext cx="5700600" cy="687280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1304925"/>
              <a:gd name="connsiteY0" fmla="*/ 47625 h 962025"/>
              <a:gd name="connsiteX1" fmla="*/ 1304925 w 1304925"/>
              <a:gd name="connsiteY1" fmla="*/ 0 h 962025"/>
              <a:gd name="connsiteX2" fmla="*/ 914400 w 1304925"/>
              <a:gd name="connsiteY2" fmla="*/ 962025 h 962025"/>
              <a:gd name="connsiteX3" fmla="*/ 0 w 1304925"/>
              <a:gd name="connsiteY3" fmla="*/ 962025 h 962025"/>
              <a:gd name="connsiteX4" fmla="*/ 0 w 1304925"/>
              <a:gd name="connsiteY4" fmla="*/ 47625 h 962025"/>
              <a:gd name="connsiteX0" fmla="*/ 0 w 2190750"/>
              <a:gd name="connsiteY0" fmla="*/ 47625 h 2519363"/>
              <a:gd name="connsiteX1" fmla="*/ 1304925 w 2190750"/>
              <a:gd name="connsiteY1" fmla="*/ 0 h 2519363"/>
              <a:gd name="connsiteX2" fmla="*/ 2190750 w 2190750"/>
              <a:gd name="connsiteY2" fmla="*/ 2519363 h 2519363"/>
              <a:gd name="connsiteX3" fmla="*/ 0 w 2190750"/>
              <a:gd name="connsiteY3" fmla="*/ 962025 h 2519363"/>
              <a:gd name="connsiteX4" fmla="*/ 0 w 2190750"/>
              <a:gd name="connsiteY4" fmla="*/ 47625 h 2519363"/>
              <a:gd name="connsiteX0" fmla="*/ 0 w 2190750"/>
              <a:gd name="connsiteY0" fmla="*/ 47625 h 2647950"/>
              <a:gd name="connsiteX1" fmla="*/ 1304925 w 2190750"/>
              <a:gd name="connsiteY1" fmla="*/ 0 h 2647950"/>
              <a:gd name="connsiteX2" fmla="*/ 2190750 w 2190750"/>
              <a:gd name="connsiteY2" fmla="*/ 2519363 h 2647950"/>
              <a:gd name="connsiteX3" fmla="*/ 885825 w 2190750"/>
              <a:gd name="connsiteY3" fmla="*/ 2647950 h 2647950"/>
              <a:gd name="connsiteX4" fmla="*/ 0 w 2190750"/>
              <a:gd name="connsiteY4" fmla="*/ 47625 h 2647950"/>
              <a:gd name="connsiteX0" fmla="*/ 0 w 2157412"/>
              <a:gd name="connsiteY0" fmla="*/ 0 h 2743200"/>
              <a:gd name="connsiteX1" fmla="*/ 1271587 w 2157412"/>
              <a:gd name="connsiteY1" fmla="*/ 95250 h 2743200"/>
              <a:gd name="connsiteX2" fmla="*/ 2157412 w 2157412"/>
              <a:gd name="connsiteY2" fmla="*/ 2614613 h 2743200"/>
              <a:gd name="connsiteX3" fmla="*/ 852487 w 2157412"/>
              <a:gd name="connsiteY3" fmla="*/ 2743200 h 2743200"/>
              <a:gd name="connsiteX4" fmla="*/ 0 w 2157412"/>
              <a:gd name="connsiteY4" fmla="*/ 0 h 2743200"/>
              <a:gd name="connsiteX0" fmla="*/ 0 w 2200274"/>
              <a:gd name="connsiteY0" fmla="*/ 38100 h 2647950"/>
              <a:gd name="connsiteX1" fmla="*/ 1314449 w 2200274"/>
              <a:gd name="connsiteY1" fmla="*/ 0 h 2647950"/>
              <a:gd name="connsiteX2" fmla="*/ 2200274 w 2200274"/>
              <a:gd name="connsiteY2" fmla="*/ 2519363 h 2647950"/>
              <a:gd name="connsiteX3" fmla="*/ 895349 w 2200274"/>
              <a:gd name="connsiteY3" fmla="*/ 2647950 h 2647950"/>
              <a:gd name="connsiteX4" fmla="*/ 0 w 2200274"/>
              <a:gd name="connsiteY4" fmla="*/ 38100 h 2647950"/>
              <a:gd name="connsiteX0" fmla="*/ 0 w 2200274"/>
              <a:gd name="connsiteY0" fmla="*/ 0 h 2609850"/>
              <a:gd name="connsiteX1" fmla="*/ 1290637 w 2200274"/>
              <a:gd name="connsiteY1" fmla="*/ 28575 h 2609850"/>
              <a:gd name="connsiteX2" fmla="*/ 2200274 w 2200274"/>
              <a:gd name="connsiteY2" fmla="*/ 2481263 h 2609850"/>
              <a:gd name="connsiteX3" fmla="*/ 895349 w 2200274"/>
              <a:gd name="connsiteY3" fmla="*/ 2609850 h 2609850"/>
              <a:gd name="connsiteX4" fmla="*/ 0 w 2200274"/>
              <a:gd name="connsiteY4" fmla="*/ 0 h 2609850"/>
              <a:gd name="connsiteX0" fmla="*/ 0 w 2200274"/>
              <a:gd name="connsiteY0" fmla="*/ 42862 h 2652712"/>
              <a:gd name="connsiteX1" fmla="*/ 1304924 w 2200274"/>
              <a:gd name="connsiteY1" fmla="*/ 0 h 2652712"/>
              <a:gd name="connsiteX2" fmla="*/ 2200274 w 2200274"/>
              <a:gd name="connsiteY2" fmla="*/ 2524125 h 2652712"/>
              <a:gd name="connsiteX3" fmla="*/ 895349 w 2200274"/>
              <a:gd name="connsiteY3" fmla="*/ 2652712 h 2652712"/>
              <a:gd name="connsiteX4" fmla="*/ 0 w 2200274"/>
              <a:gd name="connsiteY4" fmla="*/ 42862 h 2652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4" h="2652712">
                <a:moveTo>
                  <a:pt x="0" y="42862"/>
                </a:moveTo>
                <a:lnTo>
                  <a:pt x="1304924" y="0"/>
                </a:lnTo>
                <a:lnTo>
                  <a:pt x="2200274" y="2524125"/>
                </a:lnTo>
                <a:lnTo>
                  <a:pt x="895349" y="2652712"/>
                </a:lnTo>
                <a:lnTo>
                  <a:pt x="0" y="42862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94684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9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4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4464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09515989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0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023577" y="7755908"/>
            <a:ext cx="16360422" cy="596009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4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4464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8676405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70359" y="3329216"/>
            <a:ext cx="7925650" cy="659523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970359" y="9936115"/>
            <a:ext cx="7925650" cy="252753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42900" dist="1016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30774694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7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2953121" y="2559239"/>
            <a:ext cx="9105162" cy="596067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351114" y="2559239"/>
            <a:ext cx="9079768" cy="596067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470518" y="2094780"/>
            <a:ext cx="1016000" cy="1016000"/>
            <a:chOff x="1082588" y="1354013"/>
            <a:chExt cx="508000" cy="50800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1190172" y="1354013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rot="16200000">
              <a:off x="1336588" y="1176971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 userDrawn="1"/>
        </p:nvGrpSpPr>
        <p:grpSpPr>
          <a:xfrm flipH="1">
            <a:off x="20897484" y="2094780"/>
            <a:ext cx="1016000" cy="1016000"/>
            <a:chOff x="1082588" y="1354013"/>
            <a:chExt cx="508000" cy="508000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1190172" y="1354013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rot="16200000">
              <a:off x="1336588" y="1176971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 userDrawn="1"/>
        </p:nvGrpSpPr>
        <p:grpSpPr>
          <a:xfrm flipV="1">
            <a:off x="2470518" y="7929632"/>
            <a:ext cx="1016000" cy="1016000"/>
            <a:chOff x="1082588" y="1354013"/>
            <a:chExt cx="508000" cy="508000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1190172" y="1354013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rot="16200000">
              <a:off x="1336588" y="1176971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/>
          <p:cNvGrpSpPr/>
          <p:nvPr userDrawn="1"/>
        </p:nvGrpSpPr>
        <p:grpSpPr>
          <a:xfrm flipH="1" flipV="1">
            <a:off x="20897484" y="7929632"/>
            <a:ext cx="1016000" cy="1016000"/>
            <a:chOff x="1082588" y="1354013"/>
            <a:chExt cx="508000" cy="508000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1190172" y="1354013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rot="16200000">
              <a:off x="1336588" y="1176971"/>
              <a:ext cx="0" cy="508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01535226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122694" y="2"/>
            <a:ext cx="5255408" cy="45284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573819" y="0"/>
            <a:ext cx="6359050" cy="45284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128583" y="0"/>
            <a:ext cx="5255418" cy="45284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9128583" y="9187544"/>
            <a:ext cx="5255418" cy="45284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122694" y="9187544"/>
            <a:ext cx="5255408" cy="45284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2573819" y="9187544"/>
            <a:ext cx="6359050" cy="45284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59707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24384000" cy="461545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13_Mobile with Hand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061281" y="1382253"/>
            <a:ext cx="10891182" cy="12568422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5"/>
          <p:cNvSpPr>
            <a:spLocks noGrp="1"/>
          </p:cNvSpPr>
          <p:nvPr userDrawn="1">
            <p:ph type="pic" sz="quarter" idx="14"/>
          </p:nvPr>
        </p:nvSpPr>
        <p:spPr>
          <a:xfrm>
            <a:off x="15427640" y="2598234"/>
            <a:ext cx="3743132" cy="65398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10116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44508" y="12448727"/>
            <a:ext cx="4886920" cy="12672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44508" y="7628918"/>
            <a:ext cx="9543140" cy="4819808"/>
          </a:xfrm>
          <a:noFill/>
        </p:spPr>
        <p:txBody>
          <a:bodyPr wrap="square">
            <a:noAutofit/>
          </a:bodyPr>
          <a:lstStyle>
            <a:lvl1pPr>
              <a:defRPr lang="en-US" sz="8800" spc="-3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644507" y="2"/>
            <a:ext cx="4886922" cy="687977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6639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64446" y="407453"/>
            <a:ext cx="23269624" cy="1303549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075805" y="3122451"/>
            <a:ext cx="7759802" cy="7605502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605660" y="4316056"/>
            <a:ext cx="9543140" cy="4819808"/>
          </a:xfrm>
          <a:noFill/>
        </p:spPr>
        <p:txBody>
          <a:bodyPr wrap="square">
            <a:noAutofit/>
          </a:bodyPr>
          <a:lstStyle>
            <a:lvl1pPr>
              <a:defRPr lang="en-US" sz="8800" spc="-3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26625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11201" y="261260"/>
            <a:ext cx="11567886" cy="826500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9001E7-44B7-41BC-93FC-562CB9664D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11200" y="8692738"/>
            <a:ext cx="22961600" cy="18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605660" y="3706456"/>
            <a:ext cx="5624284" cy="4819808"/>
          </a:xfrm>
          <a:noFill/>
        </p:spPr>
        <p:txBody>
          <a:bodyPr wrap="square">
            <a:noAutofit/>
          </a:bodyPr>
          <a:lstStyle>
            <a:lvl1pPr>
              <a:defRPr lang="en-US" sz="7200" spc="-3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378526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383487" y="4895692"/>
            <a:ext cx="7609114" cy="4819808"/>
          </a:xfrm>
          <a:noFill/>
        </p:spPr>
        <p:txBody>
          <a:bodyPr wrap="square">
            <a:noAutofit/>
          </a:bodyPr>
          <a:lstStyle>
            <a:lvl1pPr>
              <a:defRPr lang="en-US" sz="10800" spc="-3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930599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426492" y="6408175"/>
            <a:ext cx="6879772" cy="546366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43515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94859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3" y="4620560"/>
            <a:ext cx="789214" cy="2094536"/>
            <a:chOff x="1" y="2070829"/>
            <a:chExt cx="394607" cy="2716342"/>
          </a:xfrm>
        </p:grpSpPr>
        <p:sp>
          <p:nvSpPr>
            <p:cNvPr id="10" name="Rectangle 9"/>
            <p:cNvSpPr/>
            <p:nvPr/>
          </p:nvSpPr>
          <p:spPr>
            <a:xfrm>
              <a:off x="1" y="2070829"/>
              <a:ext cx="292100" cy="27163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92101" y="2070829"/>
              <a:ext cx="102507" cy="271634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</p:grpSp>
      <p:grpSp>
        <p:nvGrpSpPr>
          <p:cNvPr id="12" name="Group 11"/>
          <p:cNvGrpSpPr/>
          <p:nvPr userDrawn="1"/>
        </p:nvGrpSpPr>
        <p:grpSpPr>
          <a:xfrm flipH="1">
            <a:off x="23594787" y="4620560"/>
            <a:ext cx="789214" cy="2094536"/>
            <a:chOff x="1" y="2070829"/>
            <a:chExt cx="394607" cy="2716342"/>
          </a:xfrm>
        </p:grpSpPr>
        <p:sp>
          <p:nvSpPr>
            <p:cNvPr id="13" name="Rectangle 12"/>
            <p:cNvSpPr/>
            <p:nvPr/>
          </p:nvSpPr>
          <p:spPr>
            <a:xfrm>
              <a:off x="1" y="2070829"/>
              <a:ext cx="292100" cy="27163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92101" y="2070829"/>
              <a:ext cx="102507" cy="271634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676400" y="4750794"/>
            <a:ext cx="21031200" cy="1834068"/>
          </a:xfrm>
          <a:noFill/>
        </p:spPr>
        <p:txBody>
          <a:bodyPr wrap="square">
            <a:noAutofit/>
          </a:bodyPr>
          <a:lstStyle>
            <a:lvl1pPr algn="ctr">
              <a:defRPr lang="en-US" sz="10800" spc="-3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Open Sans" panose="020B0606030504020204" pitchFamily="34" charset="0"/>
              </a:defRPr>
            </a:lvl1pPr>
          </a:lstStyle>
          <a:p>
            <a:pPr marL="0" lvl="0" algn="ctr"/>
            <a:r>
              <a:rPr lang="en-US" dirty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3013055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082683" y="4903764"/>
            <a:ext cx="10325762" cy="413141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32720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11200" y="1817582"/>
            <a:ext cx="22961600" cy="685365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711201" y="12827392"/>
            <a:ext cx="2800767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1800" b="1" i="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Lato" charset="0"/>
              </a:rPr>
              <a:t>B. Proposal</a:t>
            </a:r>
            <a:r>
              <a:rPr lang="en-US" sz="1800" b="0" i="0" baseline="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Lato Light" charset="0"/>
              </a:rPr>
              <a:t>| </a:t>
            </a:r>
            <a:r>
              <a:rPr lang="en-US" sz="1800" baseline="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Lato Light" charset="0"/>
              </a:rPr>
              <a:t>Presentation</a:t>
            </a:r>
            <a:endParaRPr lang="en-US" sz="1800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  <a:cs typeface="Lato Light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 flipH="1">
            <a:off x="711200" y="2"/>
            <a:ext cx="22961600" cy="1817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638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638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9784027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88206145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9677400"/>
            <a:ext cx="24384000" cy="40386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4477320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28298" y="5837576"/>
            <a:ext cx="22327404" cy="588714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03115380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451428" y="2438401"/>
            <a:ext cx="17649372" cy="499291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100800" y="7431315"/>
            <a:ext cx="4363156" cy="4266658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9100800" y="1"/>
            <a:ext cx="4363156" cy="74313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409729727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388600" y="5081990"/>
            <a:ext cx="13075356" cy="65151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83114155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8739" y="3543577"/>
            <a:ext cx="22135218" cy="883419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93861542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192002" y="0"/>
            <a:ext cx="12192000" cy="104394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0439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3" y="285018"/>
            <a:ext cx="10593118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4" y="950238"/>
            <a:ext cx="8450768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708523" y="3330568"/>
            <a:ext cx="5682262" cy="6871336"/>
          </a:xfrm>
          <a:custGeom>
            <a:avLst/>
            <a:gdLst>
              <a:gd name="connsiteX0" fmla="*/ 0 w 1571448"/>
              <a:gd name="connsiteY0" fmla="*/ 0 h 1625600"/>
              <a:gd name="connsiteX1" fmla="*/ 1571448 w 1571448"/>
              <a:gd name="connsiteY1" fmla="*/ 0 h 1625600"/>
              <a:gd name="connsiteX2" fmla="*/ 1571448 w 1571448"/>
              <a:gd name="connsiteY2" fmla="*/ 1625600 h 1625600"/>
              <a:gd name="connsiteX3" fmla="*/ 0 w 1571448"/>
              <a:gd name="connsiteY3" fmla="*/ 1625600 h 1625600"/>
              <a:gd name="connsiteX4" fmla="*/ 0 w 1571448"/>
              <a:gd name="connsiteY4" fmla="*/ 0 h 1625600"/>
              <a:gd name="connsiteX0" fmla="*/ 0 w 1571448"/>
              <a:gd name="connsiteY0" fmla="*/ 438150 h 2063750"/>
              <a:gd name="connsiteX1" fmla="*/ 1171398 w 1571448"/>
              <a:gd name="connsiteY1" fmla="*/ 0 h 2063750"/>
              <a:gd name="connsiteX2" fmla="*/ 1571448 w 1571448"/>
              <a:gd name="connsiteY2" fmla="*/ 2063750 h 2063750"/>
              <a:gd name="connsiteX3" fmla="*/ 0 w 1571448"/>
              <a:gd name="connsiteY3" fmla="*/ 2063750 h 2063750"/>
              <a:gd name="connsiteX4" fmla="*/ 0 w 1571448"/>
              <a:gd name="connsiteY4" fmla="*/ 438150 h 2063750"/>
              <a:gd name="connsiteX0" fmla="*/ 0 w 1571448"/>
              <a:gd name="connsiteY0" fmla="*/ 444500 h 2070100"/>
              <a:gd name="connsiteX1" fmla="*/ 1130123 w 1571448"/>
              <a:gd name="connsiteY1" fmla="*/ 0 h 2070100"/>
              <a:gd name="connsiteX2" fmla="*/ 1571448 w 1571448"/>
              <a:gd name="connsiteY2" fmla="*/ 2070100 h 2070100"/>
              <a:gd name="connsiteX3" fmla="*/ 0 w 1571448"/>
              <a:gd name="connsiteY3" fmla="*/ 2070100 h 2070100"/>
              <a:gd name="connsiteX4" fmla="*/ 0 w 1571448"/>
              <a:gd name="connsiteY4" fmla="*/ 444500 h 2070100"/>
              <a:gd name="connsiteX0" fmla="*/ 0 w 1571448"/>
              <a:gd name="connsiteY0" fmla="*/ 431800 h 2057400"/>
              <a:gd name="connsiteX1" fmla="*/ 1174573 w 1571448"/>
              <a:gd name="connsiteY1" fmla="*/ 0 h 2057400"/>
              <a:gd name="connsiteX2" fmla="*/ 1571448 w 1571448"/>
              <a:gd name="connsiteY2" fmla="*/ 2057400 h 2057400"/>
              <a:gd name="connsiteX3" fmla="*/ 0 w 1571448"/>
              <a:gd name="connsiteY3" fmla="*/ 2057400 h 2057400"/>
              <a:gd name="connsiteX4" fmla="*/ 0 w 1571448"/>
              <a:gd name="connsiteY4" fmla="*/ 431800 h 2057400"/>
              <a:gd name="connsiteX0" fmla="*/ 0 w 2185811"/>
              <a:gd name="connsiteY0" fmla="*/ 431800 h 2057400"/>
              <a:gd name="connsiteX1" fmla="*/ 1174573 w 2185811"/>
              <a:gd name="connsiteY1" fmla="*/ 0 h 2057400"/>
              <a:gd name="connsiteX2" fmla="*/ 2185811 w 2185811"/>
              <a:gd name="connsiteY2" fmla="*/ 1819275 h 2057400"/>
              <a:gd name="connsiteX3" fmla="*/ 0 w 2185811"/>
              <a:gd name="connsiteY3" fmla="*/ 2057400 h 2057400"/>
              <a:gd name="connsiteX4" fmla="*/ 0 w 2185811"/>
              <a:gd name="connsiteY4" fmla="*/ 431800 h 2057400"/>
              <a:gd name="connsiteX0" fmla="*/ 0 w 2185811"/>
              <a:gd name="connsiteY0" fmla="*/ 431800 h 2366963"/>
              <a:gd name="connsiteX1" fmla="*/ 1174573 w 2185811"/>
              <a:gd name="connsiteY1" fmla="*/ 0 h 2366963"/>
              <a:gd name="connsiteX2" fmla="*/ 2185811 w 2185811"/>
              <a:gd name="connsiteY2" fmla="*/ 1819275 h 2366963"/>
              <a:gd name="connsiteX3" fmla="*/ 1062037 w 2185811"/>
              <a:gd name="connsiteY3" fmla="*/ 2366963 h 2366963"/>
              <a:gd name="connsiteX4" fmla="*/ 0 w 2185811"/>
              <a:gd name="connsiteY4" fmla="*/ 431800 h 2366963"/>
              <a:gd name="connsiteX0" fmla="*/ 0 w 2185811"/>
              <a:gd name="connsiteY0" fmla="*/ 60325 h 1995488"/>
              <a:gd name="connsiteX1" fmla="*/ 1679398 w 2185811"/>
              <a:gd name="connsiteY1" fmla="*/ 0 h 1995488"/>
              <a:gd name="connsiteX2" fmla="*/ 2185811 w 2185811"/>
              <a:gd name="connsiteY2" fmla="*/ 1447800 h 1995488"/>
              <a:gd name="connsiteX3" fmla="*/ 1062037 w 2185811"/>
              <a:gd name="connsiteY3" fmla="*/ 1995488 h 1995488"/>
              <a:gd name="connsiteX4" fmla="*/ 0 w 2185811"/>
              <a:gd name="connsiteY4" fmla="*/ 60325 h 1995488"/>
              <a:gd name="connsiteX0" fmla="*/ 0 w 2185811"/>
              <a:gd name="connsiteY0" fmla="*/ 60325 h 3435668"/>
              <a:gd name="connsiteX1" fmla="*/ 1679398 w 2185811"/>
              <a:gd name="connsiteY1" fmla="*/ 0 h 3435668"/>
              <a:gd name="connsiteX2" fmla="*/ 2185811 w 2185811"/>
              <a:gd name="connsiteY2" fmla="*/ 1447800 h 3435668"/>
              <a:gd name="connsiteX3" fmla="*/ 1161097 w 2185811"/>
              <a:gd name="connsiteY3" fmla="*/ 3435668 h 3435668"/>
              <a:gd name="connsiteX4" fmla="*/ 0 w 2185811"/>
              <a:gd name="connsiteY4" fmla="*/ 60325 h 3435668"/>
              <a:gd name="connsiteX0" fmla="*/ 0 w 2841131"/>
              <a:gd name="connsiteY0" fmla="*/ 60325 h 3435668"/>
              <a:gd name="connsiteX1" fmla="*/ 1679398 w 2841131"/>
              <a:gd name="connsiteY1" fmla="*/ 0 h 3435668"/>
              <a:gd name="connsiteX2" fmla="*/ 2841131 w 2841131"/>
              <a:gd name="connsiteY2" fmla="*/ 3261360 h 3435668"/>
              <a:gd name="connsiteX3" fmla="*/ 1161097 w 2841131"/>
              <a:gd name="connsiteY3" fmla="*/ 3435668 h 3435668"/>
              <a:gd name="connsiteX4" fmla="*/ 0 w 2841131"/>
              <a:gd name="connsiteY4" fmla="*/ 60325 h 343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1131" h="3435668">
                <a:moveTo>
                  <a:pt x="0" y="60325"/>
                </a:moveTo>
                <a:lnTo>
                  <a:pt x="1679398" y="0"/>
                </a:lnTo>
                <a:lnTo>
                  <a:pt x="2841131" y="3261360"/>
                </a:lnTo>
                <a:lnTo>
                  <a:pt x="1161097" y="3435668"/>
                </a:lnTo>
                <a:lnTo>
                  <a:pt x="0" y="60325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05387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8739" y="2786744"/>
            <a:ext cx="5144634" cy="97536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4891659" y="2786744"/>
            <a:ext cx="8572298" cy="472211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4891659" y="7818228"/>
            <a:ext cx="8572298" cy="472211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09983224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261974" y="4267198"/>
            <a:ext cx="3614828" cy="4528460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290972" y="4267198"/>
            <a:ext cx="3172984" cy="4528460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36145" y="3425375"/>
            <a:ext cx="4873894" cy="5370282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6256002" y="3425375"/>
            <a:ext cx="4533784" cy="5370282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69382" y="2699655"/>
            <a:ext cx="8987164" cy="6096002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/>
            </a:lvl1pPr>
          </a:lstStyle>
          <a:p>
            <a:pPr marL="0"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9785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543802" y="2209801"/>
            <a:ext cx="16840200" cy="417338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7543800" y="6350000"/>
            <a:ext cx="16840200" cy="736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371025648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865086"/>
            <a:ext cx="9717388" cy="10103752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722509" y="1865086"/>
            <a:ext cx="4901590" cy="501144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4569181" y="1865086"/>
            <a:ext cx="4901590" cy="5011448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9482411" y="1865086"/>
            <a:ext cx="4901590" cy="5011448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9698487" y="6876534"/>
            <a:ext cx="9783922" cy="509230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9475890" y="6876534"/>
            <a:ext cx="4919332" cy="50923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871196814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05703" y="3528757"/>
            <a:ext cx="8067098" cy="766354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066234886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587522" y="3243520"/>
            <a:ext cx="19796476" cy="831009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9328665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-1"/>
            <a:ext cx="24383998" cy="916026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18585957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3971214"/>
            <a:ext cx="8380916" cy="685138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97725120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689267" y="6442296"/>
            <a:ext cx="12694734" cy="727370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80394436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331504" y="3222172"/>
            <a:ext cx="4462132" cy="4462132"/>
          </a:xfrm>
          <a:prstGeom prst="ellipse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357573" y="3048146"/>
            <a:ext cx="10688878" cy="380838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63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882507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9425463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30599" y="5723802"/>
            <a:ext cx="14427142" cy="36528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366129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40392" cy="13716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8050649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6419643" y="0"/>
            <a:ext cx="7964358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38668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64756" y="8514509"/>
            <a:ext cx="12298444" cy="276309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85890559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5239105" y="3562351"/>
            <a:ext cx="4371622" cy="4733926"/>
          </a:xfrm>
          <a:custGeom>
            <a:avLst/>
            <a:gdLst>
              <a:gd name="connsiteX0" fmla="*/ 0 w 1571448"/>
              <a:gd name="connsiteY0" fmla="*/ 0 h 1625600"/>
              <a:gd name="connsiteX1" fmla="*/ 1571448 w 1571448"/>
              <a:gd name="connsiteY1" fmla="*/ 0 h 1625600"/>
              <a:gd name="connsiteX2" fmla="*/ 1571448 w 1571448"/>
              <a:gd name="connsiteY2" fmla="*/ 1625600 h 1625600"/>
              <a:gd name="connsiteX3" fmla="*/ 0 w 1571448"/>
              <a:gd name="connsiteY3" fmla="*/ 1625600 h 1625600"/>
              <a:gd name="connsiteX4" fmla="*/ 0 w 1571448"/>
              <a:gd name="connsiteY4" fmla="*/ 0 h 1625600"/>
              <a:gd name="connsiteX0" fmla="*/ 0 w 1571448"/>
              <a:gd name="connsiteY0" fmla="*/ 438150 h 2063750"/>
              <a:gd name="connsiteX1" fmla="*/ 1171398 w 1571448"/>
              <a:gd name="connsiteY1" fmla="*/ 0 h 2063750"/>
              <a:gd name="connsiteX2" fmla="*/ 1571448 w 1571448"/>
              <a:gd name="connsiteY2" fmla="*/ 2063750 h 2063750"/>
              <a:gd name="connsiteX3" fmla="*/ 0 w 1571448"/>
              <a:gd name="connsiteY3" fmla="*/ 2063750 h 2063750"/>
              <a:gd name="connsiteX4" fmla="*/ 0 w 1571448"/>
              <a:gd name="connsiteY4" fmla="*/ 438150 h 2063750"/>
              <a:gd name="connsiteX0" fmla="*/ 0 w 1571448"/>
              <a:gd name="connsiteY0" fmla="*/ 444500 h 2070100"/>
              <a:gd name="connsiteX1" fmla="*/ 1130123 w 1571448"/>
              <a:gd name="connsiteY1" fmla="*/ 0 h 2070100"/>
              <a:gd name="connsiteX2" fmla="*/ 1571448 w 1571448"/>
              <a:gd name="connsiteY2" fmla="*/ 2070100 h 2070100"/>
              <a:gd name="connsiteX3" fmla="*/ 0 w 1571448"/>
              <a:gd name="connsiteY3" fmla="*/ 2070100 h 2070100"/>
              <a:gd name="connsiteX4" fmla="*/ 0 w 1571448"/>
              <a:gd name="connsiteY4" fmla="*/ 444500 h 2070100"/>
              <a:gd name="connsiteX0" fmla="*/ 0 w 1571448"/>
              <a:gd name="connsiteY0" fmla="*/ 431800 h 2057400"/>
              <a:gd name="connsiteX1" fmla="*/ 1174573 w 1571448"/>
              <a:gd name="connsiteY1" fmla="*/ 0 h 2057400"/>
              <a:gd name="connsiteX2" fmla="*/ 1571448 w 1571448"/>
              <a:gd name="connsiteY2" fmla="*/ 2057400 h 2057400"/>
              <a:gd name="connsiteX3" fmla="*/ 0 w 1571448"/>
              <a:gd name="connsiteY3" fmla="*/ 2057400 h 2057400"/>
              <a:gd name="connsiteX4" fmla="*/ 0 w 1571448"/>
              <a:gd name="connsiteY4" fmla="*/ 431800 h 2057400"/>
              <a:gd name="connsiteX0" fmla="*/ 0 w 2185811"/>
              <a:gd name="connsiteY0" fmla="*/ 431800 h 2057400"/>
              <a:gd name="connsiteX1" fmla="*/ 1174573 w 2185811"/>
              <a:gd name="connsiteY1" fmla="*/ 0 h 2057400"/>
              <a:gd name="connsiteX2" fmla="*/ 2185811 w 2185811"/>
              <a:gd name="connsiteY2" fmla="*/ 1819275 h 2057400"/>
              <a:gd name="connsiteX3" fmla="*/ 0 w 2185811"/>
              <a:gd name="connsiteY3" fmla="*/ 2057400 h 2057400"/>
              <a:gd name="connsiteX4" fmla="*/ 0 w 2185811"/>
              <a:gd name="connsiteY4" fmla="*/ 431800 h 2057400"/>
              <a:gd name="connsiteX0" fmla="*/ 0 w 2185811"/>
              <a:gd name="connsiteY0" fmla="*/ 431800 h 2366963"/>
              <a:gd name="connsiteX1" fmla="*/ 1174573 w 2185811"/>
              <a:gd name="connsiteY1" fmla="*/ 0 h 2366963"/>
              <a:gd name="connsiteX2" fmla="*/ 2185811 w 2185811"/>
              <a:gd name="connsiteY2" fmla="*/ 1819275 h 2366963"/>
              <a:gd name="connsiteX3" fmla="*/ 1062037 w 2185811"/>
              <a:gd name="connsiteY3" fmla="*/ 2366963 h 2366963"/>
              <a:gd name="connsiteX4" fmla="*/ 0 w 2185811"/>
              <a:gd name="connsiteY4" fmla="*/ 431800 h 236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811" h="2366963">
                <a:moveTo>
                  <a:pt x="0" y="431800"/>
                </a:moveTo>
                <a:lnTo>
                  <a:pt x="1174573" y="0"/>
                </a:lnTo>
                <a:lnTo>
                  <a:pt x="2185811" y="1819275"/>
                </a:lnTo>
                <a:lnTo>
                  <a:pt x="1062037" y="2366963"/>
                </a:lnTo>
                <a:lnTo>
                  <a:pt x="0" y="431800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7906617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1_Mobile 0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3156" y="2505814"/>
            <a:ext cx="5559760" cy="9753964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42044" y="3537032"/>
            <a:ext cx="3850544" cy="678228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14566074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1_Mobile 0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12120" y="2505814"/>
            <a:ext cx="5559760" cy="9753964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227640" y="3556000"/>
            <a:ext cx="3850544" cy="678228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1228940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8255000"/>
            <a:ext cx="24384000" cy="5461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8086677" y="1382253"/>
            <a:ext cx="8210650" cy="10950334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924461" y="2357671"/>
            <a:ext cx="6517786" cy="865957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96614024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059"/>
          <a:stretch/>
        </p:blipFill>
        <p:spPr>
          <a:xfrm flipH="1">
            <a:off x="4343398" y="513791"/>
            <a:ext cx="16904880" cy="11924822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157475" y="1820248"/>
            <a:ext cx="9503362" cy="8593752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5202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31854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45486527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69322" y="3272131"/>
            <a:ext cx="10978460" cy="8063530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924667" y="3642110"/>
            <a:ext cx="9275858" cy="7231992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98524313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8577944" y="2"/>
            <a:ext cx="15806056" cy="13715996"/>
            <a:chOff x="4288972" y="1"/>
            <a:chExt cx="7903028" cy="6857998"/>
          </a:xfrm>
        </p:grpSpPr>
        <p:sp>
          <p:nvSpPr>
            <p:cNvPr id="6" name="Rectangle 5"/>
            <p:cNvSpPr/>
            <p:nvPr userDrawn="1"/>
          </p:nvSpPr>
          <p:spPr>
            <a:xfrm flipV="1">
              <a:off x="7200900" y="2097262"/>
              <a:ext cx="4991100" cy="47607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sp>
          <p:nvSpPr>
            <p:cNvPr id="7" name="Rectangle 6"/>
            <p:cNvSpPr/>
            <p:nvPr userDrawn="1"/>
          </p:nvSpPr>
          <p:spPr>
            <a:xfrm flipV="1">
              <a:off x="7200900" y="1"/>
              <a:ext cx="4991100" cy="219229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pic>
          <p:nvPicPr>
            <p:cNvPr id="8" name="Picture 7"/>
            <p:cNvPicPr>
              <a:picLocks noChangeAspect="1"/>
            </p:cNvPicPr>
            <p:nvPr userDrawn="1"/>
          </p:nvPicPr>
          <p:blipFill rotWithShape="1">
            <a:blip r:embed="rId2"/>
            <a:srcRect l="6106" t="5661" r="3205" b="12067"/>
            <a:stretch/>
          </p:blipFill>
          <p:spPr bwMode="auto">
            <a:xfrm>
              <a:off x="4288972" y="1384474"/>
              <a:ext cx="4804228" cy="4089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18893" y="3468320"/>
            <a:ext cx="8526558" cy="479359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9139954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71628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426684" y="3228776"/>
            <a:ext cx="7704148" cy="48541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13903933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050835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0508356"/>
            <a:ext cx="24384000" cy="9061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3456880"/>
            <a:ext cx="6667888" cy="3719588"/>
          </a:xfrm>
        </p:spPr>
        <p:txBody>
          <a:bodyPr>
            <a:noAutofit/>
          </a:bodyPr>
          <a:lstStyle>
            <a:lvl1pPr>
              <a:defRPr sz="72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0573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295092" y="4033771"/>
            <a:ext cx="5793816" cy="374319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295092" y="7710269"/>
            <a:ext cx="5793816" cy="374319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58546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3456880"/>
            <a:ext cx="6667888" cy="3719588"/>
          </a:xfrm>
        </p:spPr>
        <p:txBody>
          <a:bodyPr>
            <a:noAutofit/>
          </a:bodyPr>
          <a:lstStyle>
            <a:lvl1pPr>
              <a:defRPr sz="72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8577516"/>
            <a:ext cx="24384000" cy="9061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</p:spTree>
    <p:extLst>
      <p:ext uri="{BB962C8B-B14F-4D97-AF65-F5344CB8AC3E}">
        <p14:creationId xmlns:p14="http://schemas.microsoft.com/office/powerpoint/2010/main" val="113356232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1592442" y="-1"/>
            <a:ext cx="12791560" cy="412209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4093359"/>
            <a:ext cx="12791560" cy="410641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1592438" y="8199770"/>
            <a:ext cx="12791560" cy="41397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" y="0"/>
            <a:ext cx="24383998" cy="12322224"/>
            <a:chOff x="0" y="0"/>
            <a:chExt cx="12191999" cy="6161112"/>
          </a:xfrm>
        </p:grpSpPr>
        <p:sp>
          <p:nvSpPr>
            <p:cNvPr id="6" name="Shape 17896"/>
            <p:cNvSpPr/>
            <p:nvPr userDrawn="1"/>
          </p:nvSpPr>
          <p:spPr>
            <a:xfrm flipH="1">
              <a:off x="2724373" y="0"/>
              <a:ext cx="3083085" cy="20611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/>
            </a:p>
          </p:txBody>
        </p:sp>
        <p:sp>
          <p:nvSpPr>
            <p:cNvPr id="7" name="Shape 17897"/>
            <p:cNvSpPr/>
            <p:nvPr userDrawn="1"/>
          </p:nvSpPr>
          <p:spPr>
            <a:xfrm flipH="1">
              <a:off x="0" y="0"/>
              <a:ext cx="2955540" cy="20610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7" y="0"/>
                  </a:moveTo>
                  <a:lnTo>
                    <a:pt x="1677" y="4136"/>
                  </a:lnTo>
                  <a:lnTo>
                    <a:pt x="0" y="5226"/>
                  </a:lnTo>
                  <a:lnTo>
                    <a:pt x="1677" y="6318"/>
                  </a:lnTo>
                  <a:lnTo>
                    <a:pt x="1677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677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/>
            </a:p>
          </p:txBody>
        </p:sp>
        <p:sp>
          <p:nvSpPr>
            <p:cNvPr id="9" name="Shape 17896"/>
            <p:cNvSpPr/>
            <p:nvPr userDrawn="1"/>
          </p:nvSpPr>
          <p:spPr>
            <a:xfrm>
              <a:off x="6384541" y="2054343"/>
              <a:ext cx="3083085" cy="20611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/>
            </a:p>
          </p:txBody>
        </p:sp>
        <p:sp>
          <p:nvSpPr>
            <p:cNvPr id="11" name="Shape 17897"/>
            <p:cNvSpPr/>
            <p:nvPr userDrawn="1"/>
          </p:nvSpPr>
          <p:spPr>
            <a:xfrm>
              <a:off x="9236459" y="2054343"/>
              <a:ext cx="2955540" cy="20610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7" y="0"/>
                  </a:moveTo>
                  <a:lnTo>
                    <a:pt x="1677" y="4136"/>
                  </a:lnTo>
                  <a:lnTo>
                    <a:pt x="0" y="5226"/>
                  </a:lnTo>
                  <a:lnTo>
                    <a:pt x="1677" y="6318"/>
                  </a:lnTo>
                  <a:lnTo>
                    <a:pt x="1677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677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/>
            </a:p>
          </p:txBody>
        </p:sp>
        <p:sp>
          <p:nvSpPr>
            <p:cNvPr id="13" name="Shape 17896"/>
            <p:cNvSpPr/>
            <p:nvPr userDrawn="1"/>
          </p:nvSpPr>
          <p:spPr>
            <a:xfrm flipH="1">
              <a:off x="2724373" y="4099974"/>
              <a:ext cx="3083085" cy="20611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/>
            </a:p>
          </p:txBody>
        </p:sp>
        <p:sp>
          <p:nvSpPr>
            <p:cNvPr id="14" name="Shape 17897"/>
            <p:cNvSpPr/>
            <p:nvPr userDrawn="1"/>
          </p:nvSpPr>
          <p:spPr>
            <a:xfrm flipH="1">
              <a:off x="0" y="4099974"/>
              <a:ext cx="2955540" cy="20610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7" y="0"/>
                  </a:moveTo>
                  <a:lnTo>
                    <a:pt x="1677" y="4136"/>
                  </a:lnTo>
                  <a:lnTo>
                    <a:pt x="0" y="5226"/>
                  </a:lnTo>
                  <a:lnTo>
                    <a:pt x="1677" y="6318"/>
                  </a:lnTo>
                  <a:lnTo>
                    <a:pt x="1677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1677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229990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664754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53008391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136209" y="2583564"/>
            <a:ext cx="7010402" cy="39768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3948121" y="7337568"/>
            <a:ext cx="7010402" cy="39768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7158306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492431" y="3034049"/>
            <a:ext cx="17561898" cy="4726978"/>
          </a:xfrm>
          <a:custGeom>
            <a:avLst/>
            <a:gdLst>
              <a:gd name="connsiteX0" fmla="*/ 5869072 w 8780949"/>
              <a:gd name="connsiteY0" fmla="*/ 359729 h 2363489"/>
              <a:gd name="connsiteX1" fmla="*/ 5504608 w 8780949"/>
              <a:gd name="connsiteY1" fmla="*/ 531250 h 2363489"/>
              <a:gd name="connsiteX2" fmla="*/ 5375232 w 8780949"/>
              <a:gd name="connsiteY2" fmla="*/ 973086 h 2363489"/>
              <a:gd name="connsiteX3" fmla="*/ 5375232 w 8780949"/>
              <a:gd name="connsiteY3" fmla="*/ 1390404 h 2363489"/>
              <a:gd name="connsiteX4" fmla="*/ 5506187 w 8780949"/>
              <a:gd name="connsiteY4" fmla="*/ 1836183 h 2363489"/>
              <a:gd name="connsiteX5" fmla="*/ 5870649 w 8780949"/>
              <a:gd name="connsiteY5" fmla="*/ 2008492 h 2363489"/>
              <a:gd name="connsiteX6" fmla="*/ 6239846 w 8780949"/>
              <a:gd name="connsiteY6" fmla="*/ 1836183 h 2363489"/>
              <a:gd name="connsiteX7" fmla="*/ 6372379 w 8780949"/>
              <a:gd name="connsiteY7" fmla="*/ 1390404 h 2363489"/>
              <a:gd name="connsiteX8" fmla="*/ 6372379 w 8780949"/>
              <a:gd name="connsiteY8" fmla="*/ 973086 h 2363489"/>
              <a:gd name="connsiteX9" fmla="*/ 6238268 w 8780949"/>
              <a:gd name="connsiteY9" fmla="*/ 532039 h 2363489"/>
              <a:gd name="connsiteX10" fmla="*/ 5869072 w 8780949"/>
              <a:gd name="connsiteY10" fmla="*/ 359729 h 2363489"/>
              <a:gd name="connsiteX11" fmla="*/ 7023321 w 8780949"/>
              <a:gd name="connsiteY11" fmla="*/ 33133 h 2363489"/>
              <a:gd name="connsiteX12" fmla="*/ 8780949 w 8780949"/>
              <a:gd name="connsiteY12" fmla="*/ 33133 h 2363489"/>
              <a:gd name="connsiteX13" fmla="*/ 8780949 w 8780949"/>
              <a:gd name="connsiteY13" fmla="*/ 388130 h 2363489"/>
              <a:gd name="connsiteX14" fmla="*/ 8130911 w 8780949"/>
              <a:gd name="connsiteY14" fmla="*/ 388130 h 2363489"/>
              <a:gd name="connsiteX15" fmla="*/ 8130911 w 8780949"/>
              <a:gd name="connsiteY15" fmla="*/ 2330356 h 2363489"/>
              <a:gd name="connsiteX16" fmla="*/ 7670205 w 8780949"/>
              <a:gd name="connsiteY16" fmla="*/ 2330356 h 2363489"/>
              <a:gd name="connsiteX17" fmla="*/ 7670205 w 8780949"/>
              <a:gd name="connsiteY17" fmla="*/ 388130 h 2363489"/>
              <a:gd name="connsiteX18" fmla="*/ 7023321 w 8780949"/>
              <a:gd name="connsiteY18" fmla="*/ 388130 h 2363489"/>
              <a:gd name="connsiteX19" fmla="*/ 1942212 w 8780949"/>
              <a:gd name="connsiteY19" fmla="*/ 33133 h 2363489"/>
              <a:gd name="connsiteX20" fmla="*/ 2393452 w 8780949"/>
              <a:gd name="connsiteY20" fmla="*/ 33133 h 2363489"/>
              <a:gd name="connsiteX21" fmla="*/ 2723205 w 8780949"/>
              <a:gd name="connsiteY21" fmla="*/ 1606162 h 2363489"/>
              <a:gd name="connsiteX22" fmla="*/ 2732671 w 8780949"/>
              <a:gd name="connsiteY22" fmla="*/ 1607741 h 2363489"/>
              <a:gd name="connsiteX23" fmla="*/ 3163401 w 8780949"/>
              <a:gd name="connsiteY23" fmla="*/ 33133 h 2363489"/>
              <a:gd name="connsiteX24" fmla="*/ 3502619 w 8780949"/>
              <a:gd name="connsiteY24" fmla="*/ 33133 h 2363489"/>
              <a:gd name="connsiteX25" fmla="*/ 3936505 w 8780949"/>
              <a:gd name="connsiteY25" fmla="*/ 1607741 h 2363489"/>
              <a:gd name="connsiteX26" fmla="*/ 3945972 w 8780949"/>
              <a:gd name="connsiteY26" fmla="*/ 1607741 h 2363489"/>
              <a:gd name="connsiteX27" fmla="*/ 4274146 w 8780949"/>
              <a:gd name="connsiteY27" fmla="*/ 33133 h 2363489"/>
              <a:gd name="connsiteX28" fmla="*/ 4723808 w 8780949"/>
              <a:gd name="connsiteY28" fmla="*/ 33133 h 2363489"/>
              <a:gd name="connsiteX29" fmla="*/ 4187369 w 8780949"/>
              <a:gd name="connsiteY29" fmla="*/ 2330356 h 2363489"/>
              <a:gd name="connsiteX30" fmla="*/ 3759795 w 8780949"/>
              <a:gd name="connsiteY30" fmla="*/ 2330356 h 2363489"/>
              <a:gd name="connsiteX31" fmla="*/ 3338532 w 8780949"/>
              <a:gd name="connsiteY31" fmla="*/ 814126 h 2363489"/>
              <a:gd name="connsiteX32" fmla="*/ 3329067 w 8780949"/>
              <a:gd name="connsiteY32" fmla="*/ 814126 h 2363489"/>
              <a:gd name="connsiteX33" fmla="*/ 2907803 w 8780949"/>
              <a:gd name="connsiteY33" fmla="*/ 2330356 h 2363489"/>
              <a:gd name="connsiteX34" fmla="*/ 2480229 w 8780949"/>
              <a:gd name="connsiteY34" fmla="*/ 2330356 h 2363489"/>
              <a:gd name="connsiteX35" fmla="*/ 5869072 w 8780949"/>
              <a:gd name="connsiteY35" fmla="*/ 0 h 2363489"/>
              <a:gd name="connsiteX36" fmla="*/ 6564866 w 8780949"/>
              <a:gd name="connsiteY36" fmla="*/ 276897 h 2363489"/>
              <a:gd name="connsiteX37" fmla="*/ 6833085 w 8780949"/>
              <a:gd name="connsiteY37" fmla="*/ 975057 h 2363489"/>
              <a:gd name="connsiteX38" fmla="*/ 6833085 w 8780949"/>
              <a:gd name="connsiteY38" fmla="*/ 1388431 h 2363489"/>
              <a:gd name="connsiteX39" fmla="*/ 6565654 w 8780949"/>
              <a:gd name="connsiteY39" fmla="*/ 2087381 h 2363489"/>
              <a:gd name="connsiteX40" fmla="*/ 5870649 w 8780949"/>
              <a:gd name="connsiteY40" fmla="*/ 2363489 h 2363489"/>
              <a:gd name="connsiteX41" fmla="*/ 5181167 w 8780949"/>
              <a:gd name="connsiteY41" fmla="*/ 2087381 h 2363489"/>
              <a:gd name="connsiteX42" fmla="*/ 4916103 w 8780949"/>
              <a:gd name="connsiteY42" fmla="*/ 1388431 h 2363489"/>
              <a:gd name="connsiteX43" fmla="*/ 4916103 w 8780949"/>
              <a:gd name="connsiteY43" fmla="*/ 975057 h 2363489"/>
              <a:gd name="connsiteX44" fmla="*/ 5180378 w 8780949"/>
              <a:gd name="connsiteY44" fmla="*/ 276897 h 2363489"/>
              <a:gd name="connsiteX45" fmla="*/ 5869072 w 8780949"/>
              <a:gd name="connsiteY45" fmla="*/ 0 h 2363489"/>
              <a:gd name="connsiteX46" fmla="*/ 915320 w 8780949"/>
              <a:gd name="connsiteY46" fmla="*/ 0 h 2363489"/>
              <a:gd name="connsiteX47" fmla="*/ 1532226 w 8780949"/>
              <a:gd name="connsiteY47" fmla="*/ 201164 h 2363489"/>
              <a:gd name="connsiteX48" fmla="*/ 1762580 w 8780949"/>
              <a:gd name="connsiteY48" fmla="*/ 697371 h 2363489"/>
              <a:gd name="connsiteX49" fmla="*/ 1759424 w 8780949"/>
              <a:gd name="connsiteY49" fmla="*/ 706838 h 2363489"/>
              <a:gd name="connsiteX50" fmla="*/ 1312917 w 8780949"/>
              <a:gd name="connsiteY50" fmla="*/ 706838 h 2363489"/>
              <a:gd name="connsiteX51" fmla="*/ 1206418 w 8780949"/>
              <a:gd name="connsiteY51" fmla="*/ 448873 h 2363489"/>
              <a:gd name="connsiteX52" fmla="*/ 907432 w 8780949"/>
              <a:gd name="connsiteY52" fmla="*/ 350263 h 2363489"/>
              <a:gd name="connsiteX53" fmla="*/ 621857 w 8780949"/>
              <a:gd name="connsiteY53" fmla="*/ 432306 h 2363489"/>
              <a:gd name="connsiteX54" fmla="*/ 520880 w 8780949"/>
              <a:gd name="connsiteY54" fmla="*/ 642149 h 2363489"/>
              <a:gd name="connsiteX55" fmla="*/ 628956 w 8780949"/>
              <a:gd name="connsiteY55" fmla="*/ 833847 h 2363489"/>
              <a:gd name="connsiteX56" fmla="*/ 1002098 w 8780949"/>
              <a:gd name="connsiteY56" fmla="*/ 992413 h 2363489"/>
              <a:gd name="connsiteX57" fmla="*/ 1577981 w 8780949"/>
              <a:gd name="connsiteY57" fmla="*/ 1271677 h 2363489"/>
              <a:gd name="connsiteX58" fmla="*/ 1773624 w 8780949"/>
              <a:gd name="connsiteY58" fmla="*/ 1727651 h 2363489"/>
              <a:gd name="connsiteX59" fmla="*/ 1540904 w 8780949"/>
              <a:gd name="connsiteY59" fmla="*/ 2193091 h 2363489"/>
              <a:gd name="connsiteX60" fmla="*/ 926365 w 8780949"/>
              <a:gd name="connsiteY60" fmla="*/ 2363489 h 2363489"/>
              <a:gd name="connsiteX61" fmla="*/ 271593 w 8780949"/>
              <a:gd name="connsiteY61" fmla="*/ 2170213 h 2363489"/>
              <a:gd name="connsiteX62" fmla="*/ 217 w 8780949"/>
              <a:gd name="connsiteY62" fmla="*/ 1628251 h 2363489"/>
              <a:gd name="connsiteX63" fmla="*/ 3373 w 8780949"/>
              <a:gd name="connsiteY63" fmla="*/ 1618784 h 2363489"/>
              <a:gd name="connsiteX64" fmla="*/ 451458 w 8780949"/>
              <a:gd name="connsiteY64" fmla="*/ 1618784 h 2363489"/>
              <a:gd name="connsiteX65" fmla="*/ 576890 w 8780949"/>
              <a:gd name="connsiteY65" fmla="*/ 1919349 h 2363489"/>
              <a:gd name="connsiteX66" fmla="*/ 926365 w 8780949"/>
              <a:gd name="connsiteY66" fmla="*/ 2014804 h 2363489"/>
              <a:gd name="connsiteX67" fmla="*/ 1213517 w 8780949"/>
              <a:gd name="connsiteY67" fmla="*/ 1937493 h 2363489"/>
              <a:gd name="connsiteX68" fmla="*/ 1312917 w 8780949"/>
              <a:gd name="connsiteY68" fmla="*/ 1730806 h 2363489"/>
              <a:gd name="connsiteX69" fmla="*/ 1219040 w 8780949"/>
              <a:gd name="connsiteY69" fmla="*/ 1517808 h 2363489"/>
              <a:gd name="connsiteX70" fmla="*/ 890076 w 8780949"/>
              <a:gd name="connsiteY70" fmla="*/ 1366343 h 2363489"/>
              <a:gd name="connsiteX71" fmla="*/ 270015 w 8780949"/>
              <a:gd name="connsiteY71" fmla="*/ 1085501 h 2363489"/>
              <a:gd name="connsiteX72" fmla="*/ 60173 w 8780949"/>
              <a:gd name="connsiteY72" fmla="*/ 640571 h 2363489"/>
              <a:gd name="connsiteX73" fmla="*/ 300781 w 8780949"/>
              <a:gd name="connsiteY73" fmla="*/ 179076 h 2363489"/>
              <a:gd name="connsiteX74" fmla="*/ 915320 w 8780949"/>
              <a:gd name="connsiteY74" fmla="*/ 0 h 236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8780949" h="2363489">
                <a:moveTo>
                  <a:pt x="5869072" y="359729"/>
                </a:moveTo>
                <a:cubicBezTo>
                  <a:pt x="5712347" y="359729"/>
                  <a:pt x="5590859" y="416903"/>
                  <a:pt x="5504608" y="531250"/>
                </a:cubicBezTo>
                <a:cubicBezTo>
                  <a:pt x="5418358" y="645597"/>
                  <a:pt x="5375232" y="792875"/>
                  <a:pt x="5375232" y="973086"/>
                </a:cubicBezTo>
                <a:lnTo>
                  <a:pt x="5375232" y="1390404"/>
                </a:lnTo>
                <a:cubicBezTo>
                  <a:pt x="5375232" y="1572718"/>
                  <a:pt x="5418883" y="1721310"/>
                  <a:pt x="5506187" y="1836183"/>
                </a:cubicBezTo>
                <a:cubicBezTo>
                  <a:pt x="5593489" y="1951057"/>
                  <a:pt x="5714978" y="2008492"/>
                  <a:pt x="5870649" y="2008492"/>
                </a:cubicBezTo>
                <a:cubicBezTo>
                  <a:pt x="6028426" y="2008492"/>
                  <a:pt x="6151491" y="1951057"/>
                  <a:pt x="6239846" y="1836183"/>
                </a:cubicBezTo>
                <a:cubicBezTo>
                  <a:pt x="6328201" y="1721310"/>
                  <a:pt x="6372379" y="1572718"/>
                  <a:pt x="6372379" y="1390404"/>
                </a:cubicBezTo>
                <a:lnTo>
                  <a:pt x="6372379" y="973086"/>
                </a:lnTo>
                <a:cubicBezTo>
                  <a:pt x="6372379" y="793927"/>
                  <a:pt x="6327674" y="646911"/>
                  <a:pt x="6238268" y="532039"/>
                </a:cubicBezTo>
                <a:cubicBezTo>
                  <a:pt x="6148862" y="417166"/>
                  <a:pt x="6025797" y="359729"/>
                  <a:pt x="5869072" y="359729"/>
                </a:cubicBezTo>
                <a:close/>
                <a:moveTo>
                  <a:pt x="7023321" y="33133"/>
                </a:moveTo>
                <a:lnTo>
                  <a:pt x="8780949" y="33133"/>
                </a:lnTo>
                <a:lnTo>
                  <a:pt x="8780949" y="388130"/>
                </a:lnTo>
                <a:lnTo>
                  <a:pt x="8130911" y="388130"/>
                </a:lnTo>
                <a:lnTo>
                  <a:pt x="8130911" y="2330356"/>
                </a:lnTo>
                <a:lnTo>
                  <a:pt x="7670205" y="2330356"/>
                </a:lnTo>
                <a:lnTo>
                  <a:pt x="7670205" y="388130"/>
                </a:lnTo>
                <a:lnTo>
                  <a:pt x="7023321" y="388130"/>
                </a:lnTo>
                <a:close/>
                <a:moveTo>
                  <a:pt x="1942212" y="33133"/>
                </a:moveTo>
                <a:lnTo>
                  <a:pt x="2393452" y="33133"/>
                </a:lnTo>
                <a:lnTo>
                  <a:pt x="2723205" y="1606162"/>
                </a:lnTo>
                <a:lnTo>
                  <a:pt x="2732671" y="1607741"/>
                </a:lnTo>
                <a:lnTo>
                  <a:pt x="3163401" y="33133"/>
                </a:lnTo>
                <a:lnTo>
                  <a:pt x="3502619" y="33133"/>
                </a:lnTo>
                <a:lnTo>
                  <a:pt x="3936505" y="1607741"/>
                </a:lnTo>
                <a:lnTo>
                  <a:pt x="3945972" y="1607741"/>
                </a:lnTo>
                <a:lnTo>
                  <a:pt x="4274146" y="33133"/>
                </a:lnTo>
                <a:lnTo>
                  <a:pt x="4723808" y="33133"/>
                </a:lnTo>
                <a:lnTo>
                  <a:pt x="4187369" y="2330356"/>
                </a:lnTo>
                <a:lnTo>
                  <a:pt x="3759795" y="2330356"/>
                </a:lnTo>
                <a:lnTo>
                  <a:pt x="3338532" y="814126"/>
                </a:lnTo>
                <a:lnTo>
                  <a:pt x="3329067" y="814126"/>
                </a:lnTo>
                <a:lnTo>
                  <a:pt x="2907803" y="2330356"/>
                </a:lnTo>
                <a:lnTo>
                  <a:pt x="2480229" y="2330356"/>
                </a:lnTo>
                <a:close/>
                <a:moveTo>
                  <a:pt x="5869072" y="0"/>
                </a:moveTo>
                <a:cubicBezTo>
                  <a:pt x="6154121" y="0"/>
                  <a:pt x="6386052" y="92299"/>
                  <a:pt x="6564866" y="276897"/>
                </a:cubicBezTo>
                <a:cubicBezTo>
                  <a:pt x="6743679" y="461495"/>
                  <a:pt x="6833085" y="694216"/>
                  <a:pt x="6833085" y="975057"/>
                </a:cubicBezTo>
                <a:lnTo>
                  <a:pt x="6833085" y="1388431"/>
                </a:lnTo>
                <a:cubicBezTo>
                  <a:pt x="6833085" y="1670326"/>
                  <a:pt x="6743941" y="1903308"/>
                  <a:pt x="6565654" y="2087381"/>
                </a:cubicBezTo>
                <a:cubicBezTo>
                  <a:pt x="6387367" y="2271453"/>
                  <a:pt x="6155699" y="2363489"/>
                  <a:pt x="5870649" y="2363489"/>
                </a:cubicBezTo>
                <a:cubicBezTo>
                  <a:pt x="5587704" y="2363489"/>
                  <a:pt x="5357876" y="2271453"/>
                  <a:pt x="5181167" y="2087381"/>
                </a:cubicBezTo>
                <a:cubicBezTo>
                  <a:pt x="5004457" y="1903308"/>
                  <a:pt x="4916103" y="1670326"/>
                  <a:pt x="4916103" y="1388431"/>
                </a:cubicBezTo>
                <a:lnTo>
                  <a:pt x="4916103" y="975057"/>
                </a:lnTo>
                <a:cubicBezTo>
                  <a:pt x="4916103" y="694216"/>
                  <a:pt x="5004194" y="461495"/>
                  <a:pt x="5180378" y="276897"/>
                </a:cubicBezTo>
                <a:cubicBezTo>
                  <a:pt x="5356562" y="92299"/>
                  <a:pt x="5586126" y="0"/>
                  <a:pt x="5869072" y="0"/>
                </a:cubicBezTo>
                <a:close/>
                <a:moveTo>
                  <a:pt x="915320" y="0"/>
                </a:moveTo>
                <a:cubicBezTo>
                  <a:pt x="1167763" y="0"/>
                  <a:pt x="1373398" y="67055"/>
                  <a:pt x="1532226" y="201164"/>
                </a:cubicBezTo>
                <a:cubicBezTo>
                  <a:pt x="1691054" y="335274"/>
                  <a:pt x="1767838" y="500677"/>
                  <a:pt x="1762580" y="697371"/>
                </a:cubicBezTo>
                <a:lnTo>
                  <a:pt x="1759424" y="706838"/>
                </a:lnTo>
                <a:lnTo>
                  <a:pt x="1312917" y="706838"/>
                </a:lnTo>
                <a:cubicBezTo>
                  <a:pt x="1312917" y="600601"/>
                  <a:pt x="1277417" y="514613"/>
                  <a:pt x="1206418" y="448873"/>
                </a:cubicBezTo>
                <a:cubicBezTo>
                  <a:pt x="1135419" y="383133"/>
                  <a:pt x="1035757" y="350263"/>
                  <a:pt x="907432" y="350263"/>
                </a:cubicBezTo>
                <a:cubicBezTo>
                  <a:pt x="784366" y="350263"/>
                  <a:pt x="689175" y="377611"/>
                  <a:pt x="621857" y="432306"/>
                </a:cubicBezTo>
                <a:cubicBezTo>
                  <a:pt x="554539" y="487003"/>
                  <a:pt x="520880" y="556950"/>
                  <a:pt x="520880" y="642149"/>
                </a:cubicBezTo>
                <a:cubicBezTo>
                  <a:pt x="520880" y="719985"/>
                  <a:pt x="556906" y="783884"/>
                  <a:pt x="628956" y="833847"/>
                </a:cubicBezTo>
                <a:cubicBezTo>
                  <a:pt x="701008" y="883810"/>
                  <a:pt x="825388" y="936666"/>
                  <a:pt x="1002098" y="992413"/>
                </a:cubicBezTo>
                <a:cubicBezTo>
                  <a:pt x="1255592" y="1062886"/>
                  <a:pt x="1447552" y="1155974"/>
                  <a:pt x="1577981" y="1271677"/>
                </a:cubicBezTo>
                <a:cubicBezTo>
                  <a:pt x="1708410" y="1387379"/>
                  <a:pt x="1773624" y="1539370"/>
                  <a:pt x="1773624" y="1727651"/>
                </a:cubicBezTo>
                <a:cubicBezTo>
                  <a:pt x="1773624" y="1924345"/>
                  <a:pt x="1696050" y="2079491"/>
                  <a:pt x="1540904" y="2193091"/>
                </a:cubicBezTo>
                <a:cubicBezTo>
                  <a:pt x="1385758" y="2306689"/>
                  <a:pt x="1180911" y="2363489"/>
                  <a:pt x="926365" y="2363489"/>
                </a:cubicBezTo>
                <a:cubicBezTo>
                  <a:pt x="676027" y="2363489"/>
                  <a:pt x="457770" y="2299063"/>
                  <a:pt x="271593" y="2170213"/>
                </a:cubicBezTo>
                <a:cubicBezTo>
                  <a:pt x="85417" y="2041362"/>
                  <a:pt x="-5042" y="1860708"/>
                  <a:pt x="217" y="1628251"/>
                </a:cubicBezTo>
                <a:lnTo>
                  <a:pt x="3373" y="1618784"/>
                </a:lnTo>
                <a:lnTo>
                  <a:pt x="451458" y="1618784"/>
                </a:lnTo>
                <a:cubicBezTo>
                  <a:pt x="451458" y="1755525"/>
                  <a:pt x="493269" y="1855712"/>
                  <a:pt x="576890" y="1919349"/>
                </a:cubicBezTo>
                <a:cubicBezTo>
                  <a:pt x="660512" y="1982985"/>
                  <a:pt x="777003" y="2014804"/>
                  <a:pt x="926365" y="2014804"/>
                </a:cubicBezTo>
                <a:cubicBezTo>
                  <a:pt x="1051534" y="2014804"/>
                  <a:pt x="1147252" y="1989033"/>
                  <a:pt x="1213517" y="1937493"/>
                </a:cubicBezTo>
                <a:cubicBezTo>
                  <a:pt x="1279784" y="1885952"/>
                  <a:pt x="1312917" y="1817057"/>
                  <a:pt x="1312917" y="1730806"/>
                </a:cubicBezTo>
                <a:cubicBezTo>
                  <a:pt x="1312917" y="1642451"/>
                  <a:pt x="1281625" y="1571451"/>
                  <a:pt x="1219040" y="1517808"/>
                </a:cubicBezTo>
                <a:cubicBezTo>
                  <a:pt x="1156455" y="1464164"/>
                  <a:pt x="1046801" y="1413675"/>
                  <a:pt x="890076" y="1366343"/>
                </a:cubicBezTo>
                <a:cubicBezTo>
                  <a:pt x="616598" y="1287455"/>
                  <a:pt x="409911" y="1193840"/>
                  <a:pt x="270015" y="1085501"/>
                </a:cubicBezTo>
                <a:cubicBezTo>
                  <a:pt x="130120" y="977161"/>
                  <a:pt x="60173" y="828851"/>
                  <a:pt x="60173" y="640571"/>
                </a:cubicBezTo>
                <a:cubicBezTo>
                  <a:pt x="60173" y="452292"/>
                  <a:pt x="140376" y="298460"/>
                  <a:pt x="300781" y="179076"/>
                </a:cubicBezTo>
                <a:cubicBezTo>
                  <a:pt x="461188" y="59691"/>
                  <a:pt x="666034" y="0"/>
                  <a:pt x="91532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29825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14007971" y="3827983"/>
            <a:ext cx="7942430" cy="9888018"/>
            <a:chOff x="7003985" y="1913991"/>
            <a:chExt cx="3971215" cy="4944009"/>
          </a:xfrm>
        </p:grpSpPr>
        <p:grpSp>
          <p:nvGrpSpPr>
            <p:cNvPr id="6" name="Group 5"/>
            <p:cNvGrpSpPr/>
            <p:nvPr userDrawn="1"/>
          </p:nvGrpSpPr>
          <p:grpSpPr>
            <a:xfrm flipH="1">
              <a:off x="7550586" y="1913991"/>
              <a:ext cx="3389810" cy="3691852"/>
              <a:chOff x="15076058" y="5430942"/>
              <a:chExt cx="5490675" cy="5979911"/>
            </a:xfrm>
            <a:solidFill>
              <a:schemeClr val="bg1">
                <a:lumMod val="85000"/>
              </a:schemeClr>
            </a:solidFill>
          </p:grpSpPr>
          <p:sp>
            <p:nvSpPr>
              <p:cNvPr id="7" name="Shape 22657"/>
              <p:cNvSpPr/>
              <p:nvPr/>
            </p:nvSpPr>
            <p:spPr>
              <a:xfrm>
                <a:off x="16088182" y="9947547"/>
                <a:ext cx="921093" cy="92109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8" name="Shape 22665"/>
              <p:cNvSpPr/>
              <p:nvPr/>
            </p:nvSpPr>
            <p:spPr>
              <a:xfrm>
                <a:off x="15708634" y="7493145"/>
                <a:ext cx="1085318" cy="1085317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9" name="Shape 22666"/>
              <p:cNvSpPr/>
              <p:nvPr/>
            </p:nvSpPr>
            <p:spPr>
              <a:xfrm>
                <a:off x="16214697" y="6126777"/>
                <a:ext cx="499589" cy="49958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1" name="Shape 22667"/>
              <p:cNvSpPr/>
              <p:nvPr/>
            </p:nvSpPr>
            <p:spPr>
              <a:xfrm>
                <a:off x="17694929" y="6772006"/>
                <a:ext cx="860300" cy="860307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2" name="Shape 22668"/>
              <p:cNvSpPr/>
              <p:nvPr/>
            </p:nvSpPr>
            <p:spPr>
              <a:xfrm>
                <a:off x="18631144" y="6620188"/>
                <a:ext cx="473051" cy="47302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3" name="Shape 22669"/>
              <p:cNvSpPr/>
              <p:nvPr/>
            </p:nvSpPr>
            <p:spPr>
              <a:xfrm>
                <a:off x="17884702" y="7758828"/>
                <a:ext cx="625802" cy="62579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4" name="Shape 22670"/>
              <p:cNvSpPr/>
              <p:nvPr/>
            </p:nvSpPr>
            <p:spPr>
              <a:xfrm>
                <a:off x="19719177" y="7607010"/>
                <a:ext cx="701063" cy="701062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5" name="Shape 22671"/>
              <p:cNvSpPr/>
              <p:nvPr/>
            </p:nvSpPr>
            <p:spPr>
              <a:xfrm>
                <a:off x="19175159" y="9087241"/>
                <a:ext cx="755216" cy="755215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6" name="Shape 22672"/>
              <p:cNvSpPr/>
              <p:nvPr/>
            </p:nvSpPr>
            <p:spPr>
              <a:xfrm>
                <a:off x="18378113" y="9542697"/>
                <a:ext cx="512303" cy="51229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7" name="Shape 22673"/>
              <p:cNvSpPr/>
              <p:nvPr/>
            </p:nvSpPr>
            <p:spPr>
              <a:xfrm>
                <a:off x="19972208" y="8897467"/>
                <a:ext cx="378090" cy="37809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8" name="Shape 22674"/>
              <p:cNvSpPr/>
              <p:nvPr/>
            </p:nvSpPr>
            <p:spPr>
              <a:xfrm>
                <a:off x="20136677" y="9378227"/>
                <a:ext cx="430056" cy="43004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19" name="Shape 22675"/>
              <p:cNvSpPr/>
              <p:nvPr/>
            </p:nvSpPr>
            <p:spPr>
              <a:xfrm>
                <a:off x="15822499" y="5430942"/>
                <a:ext cx="329843" cy="32984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0" name="Shape 22676"/>
              <p:cNvSpPr/>
              <p:nvPr/>
            </p:nvSpPr>
            <p:spPr>
              <a:xfrm>
                <a:off x="15076058" y="7758828"/>
                <a:ext cx="456309" cy="45631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1" name="Shape 22677"/>
              <p:cNvSpPr/>
              <p:nvPr/>
            </p:nvSpPr>
            <p:spPr>
              <a:xfrm>
                <a:off x="16594244" y="9466788"/>
                <a:ext cx="435565" cy="43554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2" name="Shape 22678"/>
              <p:cNvSpPr/>
              <p:nvPr/>
            </p:nvSpPr>
            <p:spPr>
              <a:xfrm>
                <a:off x="15949015" y="9643910"/>
                <a:ext cx="331549" cy="33153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3" name="Shape 22679"/>
              <p:cNvSpPr/>
              <p:nvPr/>
            </p:nvSpPr>
            <p:spPr>
              <a:xfrm>
                <a:off x="16189394" y="10972323"/>
                <a:ext cx="438518" cy="43853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4" name="Shape 22680"/>
              <p:cNvSpPr/>
              <p:nvPr/>
            </p:nvSpPr>
            <p:spPr>
              <a:xfrm>
                <a:off x="16164090" y="9277015"/>
                <a:ext cx="234673" cy="234672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5" name="Shape 22681"/>
              <p:cNvSpPr/>
              <p:nvPr/>
            </p:nvSpPr>
            <p:spPr>
              <a:xfrm>
                <a:off x="15708634" y="10112017"/>
                <a:ext cx="234673" cy="234672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6" name="Shape 22682"/>
              <p:cNvSpPr/>
              <p:nvPr/>
            </p:nvSpPr>
            <p:spPr>
              <a:xfrm>
                <a:off x="16682804" y="8340800"/>
                <a:ext cx="490879" cy="490885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7" name="Shape 22683"/>
              <p:cNvSpPr/>
              <p:nvPr/>
            </p:nvSpPr>
            <p:spPr>
              <a:xfrm>
                <a:off x="16467728" y="6696097"/>
                <a:ext cx="342655" cy="34265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8" name="Shape 22684"/>
              <p:cNvSpPr/>
              <p:nvPr/>
            </p:nvSpPr>
            <p:spPr>
              <a:xfrm>
                <a:off x="16113484" y="5810488"/>
                <a:ext cx="240788" cy="240788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29" name="Shape 22685"/>
              <p:cNvSpPr/>
              <p:nvPr/>
            </p:nvSpPr>
            <p:spPr>
              <a:xfrm>
                <a:off x="17454550" y="6607536"/>
                <a:ext cx="342655" cy="342643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0" name="Shape 22686"/>
              <p:cNvSpPr/>
              <p:nvPr/>
            </p:nvSpPr>
            <p:spPr>
              <a:xfrm>
                <a:off x="17517808" y="7543751"/>
                <a:ext cx="288083" cy="28810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1" name="Shape 22687"/>
              <p:cNvSpPr/>
              <p:nvPr/>
            </p:nvSpPr>
            <p:spPr>
              <a:xfrm>
                <a:off x="17884702" y="8492618"/>
                <a:ext cx="494907" cy="494900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2" name="Shape 22688"/>
              <p:cNvSpPr/>
              <p:nvPr/>
            </p:nvSpPr>
            <p:spPr>
              <a:xfrm>
                <a:off x="18466674" y="7569055"/>
                <a:ext cx="247379" cy="247385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3" name="Shape 22689"/>
              <p:cNvSpPr/>
              <p:nvPr/>
            </p:nvSpPr>
            <p:spPr>
              <a:xfrm>
                <a:off x="18302203" y="6493672"/>
                <a:ext cx="255510" cy="255516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4" name="Shape 22690"/>
              <p:cNvSpPr/>
              <p:nvPr/>
            </p:nvSpPr>
            <p:spPr>
              <a:xfrm>
                <a:off x="19314328" y="8049814"/>
                <a:ext cx="342408" cy="342358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5" name="Shape 22691"/>
              <p:cNvSpPr/>
              <p:nvPr/>
            </p:nvSpPr>
            <p:spPr>
              <a:xfrm>
                <a:off x="18947432" y="9795728"/>
                <a:ext cx="295039" cy="29503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6" name="Shape 22692"/>
              <p:cNvSpPr/>
              <p:nvPr/>
            </p:nvSpPr>
            <p:spPr>
              <a:xfrm>
                <a:off x="18795615" y="9226408"/>
                <a:ext cx="295410" cy="295409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  <p:sp>
            <p:nvSpPr>
              <p:cNvPr id="37" name="Shape 22693"/>
              <p:cNvSpPr/>
              <p:nvPr/>
            </p:nvSpPr>
            <p:spPr>
              <a:xfrm>
                <a:off x="19870996" y="9732471"/>
                <a:ext cx="195556" cy="195568"/>
              </a:xfrm>
              <a:prstGeom prst="ellipse">
                <a:avLst/>
              </a:pr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 defTabSz="9144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6000" dirty="0"/>
              </a:p>
            </p:txBody>
          </p:sp>
        </p:grpSp>
        <p:sp>
          <p:nvSpPr>
            <p:cNvPr id="38" name="Shape 22658"/>
            <p:cNvSpPr/>
            <p:nvPr userDrawn="1"/>
          </p:nvSpPr>
          <p:spPr>
            <a:xfrm flipH="1">
              <a:off x="7003985" y="2422284"/>
              <a:ext cx="3971215" cy="44357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16" extrusionOk="0">
                  <a:moveTo>
                    <a:pt x="10490" y="20716"/>
                  </a:moveTo>
                  <a:lnTo>
                    <a:pt x="4933" y="20716"/>
                  </a:lnTo>
                  <a:cubicBezTo>
                    <a:pt x="4933" y="20716"/>
                    <a:pt x="5598" y="16842"/>
                    <a:pt x="7811" y="12022"/>
                  </a:cubicBezTo>
                  <a:cubicBezTo>
                    <a:pt x="8850" y="9761"/>
                    <a:pt x="6890" y="8230"/>
                    <a:pt x="4376" y="8016"/>
                  </a:cubicBezTo>
                  <a:cubicBezTo>
                    <a:pt x="1862" y="7803"/>
                    <a:pt x="621" y="9162"/>
                    <a:pt x="621" y="9162"/>
                  </a:cubicBezTo>
                  <a:cubicBezTo>
                    <a:pt x="621" y="9162"/>
                    <a:pt x="3645" y="5281"/>
                    <a:pt x="8382" y="8563"/>
                  </a:cubicBezTo>
                  <a:cubicBezTo>
                    <a:pt x="8286" y="6664"/>
                    <a:pt x="8038" y="2420"/>
                    <a:pt x="0" y="2021"/>
                  </a:cubicBezTo>
                  <a:cubicBezTo>
                    <a:pt x="0" y="2021"/>
                    <a:pt x="3631" y="1328"/>
                    <a:pt x="7014" y="3620"/>
                  </a:cubicBezTo>
                  <a:cubicBezTo>
                    <a:pt x="7014" y="3620"/>
                    <a:pt x="7014" y="-884"/>
                    <a:pt x="12755" y="155"/>
                  </a:cubicBezTo>
                  <a:cubicBezTo>
                    <a:pt x="11638" y="-31"/>
                    <a:pt x="7908" y="-222"/>
                    <a:pt x="8207" y="3068"/>
                  </a:cubicBezTo>
                  <a:cubicBezTo>
                    <a:pt x="8433" y="5556"/>
                    <a:pt x="9670" y="5566"/>
                    <a:pt x="9966" y="9062"/>
                  </a:cubicBezTo>
                  <a:cubicBezTo>
                    <a:pt x="10494" y="8662"/>
                    <a:pt x="12197" y="7777"/>
                    <a:pt x="12538" y="6044"/>
                  </a:cubicBezTo>
                  <a:cubicBezTo>
                    <a:pt x="12879" y="4312"/>
                    <a:pt x="14834" y="1061"/>
                    <a:pt x="18155" y="3113"/>
                  </a:cubicBezTo>
                  <a:cubicBezTo>
                    <a:pt x="18155" y="3113"/>
                    <a:pt x="16485" y="2284"/>
                    <a:pt x="15238" y="3318"/>
                  </a:cubicBezTo>
                  <a:cubicBezTo>
                    <a:pt x="13593" y="4684"/>
                    <a:pt x="14740" y="6066"/>
                    <a:pt x="13345" y="6684"/>
                  </a:cubicBezTo>
                  <a:cubicBezTo>
                    <a:pt x="14369" y="6471"/>
                    <a:pt x="19144" y="5745"/>
                    <a:pt x="21600" y="9429"/>
                  </a:cubicBezTo>
                  <a:cubicBezTo>
                    <a:pt x="21041" y="9136"/>
                    <a:pt x="18022" y="5923"/>
                    <a:pt x="12953" y="7636"/>
                  </a:cubicBezTo>
                  <a:cubicBezTo>
                    <a:pt x="12301" y="8488"/>
                    <a:pt x="12409" y="8646"/>
                    <a:pt x="11540" y="9206"/>
                  </a:cubicBezTo>
                  <a:cubicBezTo>
                    <a:pt x="10671" y="9765"/>
                    <a:pt x="10800" y="10601"/>
                    <a:pt x="10800" y="10601"/>
                  </a:cubicBezTo>
                  <a:cubicBezTo>
                    <a:pt x="10800" y="10601"/>
                    <a:pt x="13505" y="11043"/>
                    <a:pt x="15052" y="10681"/>
                  </a:cubicBezTo>
                  <a:cubicBezTo>
                    <a:pt x="17856" y="10026"/>
                    <a:pt x="19167" y="11670"/>
                    <a:pt x="19602" y="12310"/>
                  </a:cubicBezTo>
                  <a:cubicBezTo>
                    <a:pt x="19602" y="12310"/>
                    <a:pt x="17773" y="10358"/>
                    <a:pt x="15331" y="11214"/>
                  </a:cubicBezTo>
                  <a:cubicBezTo>
                    <a:pt x="13477" y="11864"/>
                    <a:pt x="10955" y="10814"/>
                    <a:pt x="10800" y="11827"/>
                  </a:cubicBezTo>
                  <a:cubicBezTo>
                    <a:pt x="10645" y="12840"/>
                    <a:pt x="10210" y="19399"/>
                    <a:pt x="10490" y="2071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9144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6000" dirty="0"/>
            </a:p>
          </p:txBody>
        </p:sp>
      </p:grpSp>
      <p:sp>
        <p:nvSpPr>
          <p:cNvPr id="4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6789136" y="2114898"/>
            <a:ext cx="3048000" cy="3050004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4890511" y="4645719"/>
            <a:ext cx="1694962" cy="1696074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2988407" y="6569431"/>
            <a:ext cx="2327366" cy="2328890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3947305" y="9491413"/>
            <a:ext cx="1507918" cy="1508902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4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467910" y="4767958"/>
            <a:ext cx="1729032" cy="1730164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5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20582022" y="7708826"/>
            <a:ext cx="1500808" cy="1501792"/>
          </a:xfrm>
          <a:prstGeom prst="ellipse">
            <a:avLst/>
          </a:prstGeom>
          <a:noFill/>
          <a:ln w="28575">
            <a:solidFill>
              <a:schemeClr val="bg1"/>
            </a:solidFill>
            <a:miter lim="400000"/>
          </a:ln>
        </p:spPr>
        <p:txBody>
          <a:bodyPr lIns="38100" tIns="38100" rIns="38100" bIns="38100" anchor="ctr">
            <a:normAutofit/>
          </a:bodyPr>
          <a:lstStyle>
            <a:lvl1pPr marL="0" indent="0">
              <a:buNone/>
              <a:def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ill Sans"/>
                <a:ea typeface="Gill Sans"/>
                <a:cs typeface="Gill Sans"/>
              </a:defRPr>
            </a:lvl1pPr>
          </a:lstStyle>
          <a:p>
            <a:pPr marL="0" lvl="0" defTabSz="91440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08624102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654300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996766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3319092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8717046" y="3346402"/>
            <a:ext cx="3048000" cy="305000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2251960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7594426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12936892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18279360" y="2945069"/>
            <a:ext cx="3852680" cy="3852674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6400" dirty="0"/>
          </a:p>
        </p:txBody>
      </p:sp>
    </p:spTree>
    <p:extLst>
      <p:ext uri="{BB962C8B-B14F-4D97-AF65-F5344CB8AC3E}">
        <p14:creationId xmlns:p14="http://schemas.microsoft.com/office/powerpoint/2010/main" val="27649817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159003" y="2547993"/>
            <a:ext cx="4775198" cy="276804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479843" y="2547993"/>
            <a:ext cx="4775198" cy="276804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6896645" y="2547993"/>
            <a:ext cx="4775198" cy="276804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159003" y="5316039"/>
            <a:ext cx="2438398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9479845" y="5316039"/>
            <a:ext cx="2438398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6896645" y="5316039"/>
            <a:ext cx="2438398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</p:spTree>
    <p:extLst>
      <p:ext uri="{BB962C8B-B14F-4D97-AF65-F5344CB8AC3E}">
        <p14:creationId xmlns:p14="http://schemas.microsoft.com/office/powerpoint/2010/main" val="246272791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715166" y="2619376"/>
            <a:ext cx="2640992" cy="2642728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3227382" y="2619376"/>
            <a:ext cx="2640992" cy="2642728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7" name="Shape 30289"/>
          <p:cNvSpPr/>
          <p:nvPr userDrawn="1"/>
        </p:nvSpPr>
        <p:spPr>
          <a:xfrm>
            <a:off x="4645351" y="2837871"/>
            <a:ext cx="5870250" cy="41612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101600" tIns="101600" rIns="101600" bIns="1016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64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16182595" y="2837871"/>
            <a:ext cx="5870250" cy="41612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101600" tIns="101600" rIns="101600" bIns="1016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6400" dirty="0"/>
          </a:p>
        </p:txBody>
      </p:sp>
    </p:spTree>
    <p:extLst>
      <p:ext uri="{BB962C8B-B14F-4D97-AF65-F5344CB8AC3E}">
        <p14:creationId xmlns:p14="http://schemas.microsoft.com/office/powerpoint/2010/main" val="111332219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2057400"/>
            <a:ext cx="4948958" cy="52101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2193017" y="2057400"/>
            <a:ext cx="4948958" cy="52101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948957" y="2057400"/>
            <a:ext cx="19435042" cy="5210196"/>
            <a:chOff x="2474478" y="1028700"/>
            <a:chExt cx="9717521" cy="2605098"/>
          </a:xfrm>
        </p:grpSpPr>
        <p:sp>
          <p:nvSpPr>
            <p:cNvPr id="6" name="Rectangle 5"/>
            <p:cNvSpPr/>
            <p:nvPr userDrawn="1"/>
          </p:nvSpPr>
          <p:spPr>
            <a:xfrm>
              <a:off x="2474478" y="1028700"/>
              <a:ext cx="3621013" cy="26050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8570986" y="1028700"/>
              <a:ext cx="3621013" cy="26050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5485039" y="2833694"/>
            <a:ext cx="5574846" cy="154962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3600" b="1" baseline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7648009" y="2833694"/>
            <a:ext cx="5574846" cy="154962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3600" b="1" baseline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674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4826224"/>
            <a:ext cx="24384000" cy="888977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37781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9898742" cy="1042126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9898741" y="0"/>
            <a:ext cx="14485258" cy="1042126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3471" y="1632555"/>
            <a:ext cx="7561414" cy="4768246"/>
          </a:xfrm>
        </p:spPr>
        <p:txBody>
          <a:bodyPr>
            <a:noAutofit/>
          </a:bodyPr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20160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e 7"/>
          <p:cNvSpPr/>
          <p:nvPr userDrawn="1"/>
        </p:nvSpPr>
        <p:spPr>
          <a:xfrm>
            <a:off x="2921320" y="3481380"/>
            <a:ext cx="6820928" cy="6820928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000" dirty="0"/>
          </a:p>
        </p:txBody>
      </p:sp>
      <p:sp>
        <p:nvSpPr>
          <p:cNvPr id="8" name="Picture Placeholder 5"/>
          <p:cNvSpPr>
            <a:spLocks noGrp="1"/>
          </p:cNvSpPr>
          <p:nvPr userDrawn="1">
            <p:ph type="pic" sz="quarter" idx="14"/>
          </p:nvPr>
        </p:nvSpPr>
        <p:spPr>
          <a:xfrm>
            <a:off x="3214768" y="3772782"/>
            <a:ext cx="6234032" cy="623812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01523224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24384002" cy="708297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766911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137197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2428057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7798341" y="4063091"/>
            <a:ext cx="4818750" cy="388983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10504444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24384002" cy="9144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140877036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645402" y="0"/>
            <a:ext cx="16738600" cy="127127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7645400" cy="13716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645400" y="12712700"/>
            <a:ext cx="16738600" cy="100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022326292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023579" y="0"/>
            <a:ext cx="16360422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27425431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486628" y="0"/>
            <a:ext cx="10897372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" y="0"/>
            <a:ext cx="13486630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504019879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035296" y="3837838"/>
            <a:ext cx="9117612" cy="73758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627472" y="2911738"/>
            <a:ext cx="9117612" cy="7375896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802983545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756702" y="2232563"/>
            <a:ext cx="8859396" cy="8865210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9288209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11200" y="7772400"/>
            <a:ext cx="22961600" cy="59436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6907419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930283" y="3603140"/>
            <a:ext cx="7228694" cy="762924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930284" y="8867068"/>
            <a:ext cx="7228692" cy="23611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729855003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31987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1"/>
            <a:ext cx="24028400" cy="9067802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737729825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5880" y="2042583"/>
            <a:ext cx="21442680" cy="537421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5880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25881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1325880" y="7892040"/>
            <a:ext cx="4668520" cy="361416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sz="6400" b="1" smtClean="0">
                <a:solidFill>
                  <a:schemeClr val="tx1">
                    <a:lumMod val="85000"/>
                    <a:lumOff val="1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>
              <a:defRPr lang="en-US" sz="3600" smtClean="0"/>
            </a:lvl2pPr>
            <a:lvl3pPr>
              <a:defRPr lang="en-US" sz="36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77268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41868" y="1668774"/>
            <a:ext cx="8263468" cy="1039240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43424" y="1668773"/>
            <a:ext cx="5930872" cy="4112594"/>
          </a:xfrm>
        </p:spPr>
        <p:txBody>
          <a:bodyPr anchor="t">
            <a:noAutofit/>
          </a:bodyPr>
          <a:lstStyle>
            <a:lvl1pPr>
              <a:defRPr sz="6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082272" y="7962076"/>
            <a:ext cx="9301728" cy="18045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</p:spTree>
    <p:extLst>
      <p:ext uri="{BB962C8B-B14F-4D97-AF65-F5344CB8AC3E}">
        <p14:creationId xmlns:p14="http://schemas.microsoft.com/office/powerpoint/2010/main" val="1925889820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0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940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140578" y="4147296"/>
            <a:ext cx="4400548" cy="530542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1304925"/>
              <a:gd name="connsiteY0" fmla="*/ 47625 h 962025"/>
              <a:gd name="connsiteX1" fmla="*/ 1304925 w 1304925"/>
              <a:gd name="connsiteY1" fmla="*/ 0 h 962025"/>
              <a:gd name="connsiteX2" fmla="*/ 914400 w 1304925"/>
              <a:gd name="connsiteY2" fmla="*/ 962025 h 962025"/>
              <a:gd name="connsiteX3" fmla="*/ 0 w 1304925"/>
              <a:gd name="connsiteY3" fmla="*/ 962025 h 962025"/>
              <a:gd name="connsiteX4" fmla="*/ 0 w 1304925"/>
              <a:gd name="connsiteY4" fmla="*/ 47625 h 962025"/>
              <a:gd name="connsiteX0" fmla="*/ 0 w 2190750"/>
              <a:gd name="connsiteY0" fmla="*/ 47625 h 2519363"/>
              <a:gd name="connsiteX1" fmla="*/ 1304925 w 2190750"/>
              <a:gd name="connsiteY1" fmla="*/ 0 h 2519363"/>
              <a:gd name="connsiteX2" fmla="*/ 2190750 w 2190750"/>
              <a:gd name="connsiteY2" fmla="*/ 2519363 h 2519363"/>
              <a:gd name="connsiteX3" fmla="*/ 0 w 2190750"/>
              <a:gd name="connsiteY3" fmla="*/ 962025 h 2519363"/>
              <a:gd name="connsiteX4" fmla="*/ 0 w 2190750"/>
              <a:gd name="connsiteY4" fmla="*/ 47625 h 2519363"/>
              <a:gd name="connsiteX0" fmla="*/ 0 w 2190750"/>
              <a:gd name="connsiteY0" fmla="*/ 47625 h 2647950"/>
              <a:gd name="connsiteX1" fmla="*/ 1304925 w 2190750"/>
              <a:gd name="connsiteY1" fmla="*/ 0 h 2647950"/>
              <a:gd name="connsiteX2" fmla="*/ 2190750 w 2190750"/>
              <a:gd name="connsiteY2" fmla="*/ 2519363 h 2647950"/>
              <a:gd name="connsiteX3" fmla="*/ 885825 w 2190750"/>
              <a:gd name="connsiteY3" fmla="*/ 2647950 h 2647950"/>
              <a:gd name="connsiteX4" fmla="*/ 0 w 2190750"/>
              <a:gd name="connsiteY4" fmla="*/ 47625 h 2647950"/>
              <a:gd name="connsiteX0" fmla="*/ 0 w 2157412"/>
              <a:gd name="connsiteY0" fmla="*/ 0 h 2743200"/>
              <a:gd name="connsiteX1" fmla="*/ 1271587 w 2157412"/>
              <a:gd name="connsiteY1" fmla="*/ 95250 h 2743200"/>
              <a:gd name="connsiteX2" fmla="*/ 2157412 w 2157412"/>
              <a:gd name="connsiteY2" fmla="*/ 2614613 h 2743200"/>
              <a:gd name="connsiteX3" fmla="*/ 852487 w 2157412"/>
              <a:gd name="connsiteY3" fmla="*/ 2743200 h 2743200"/>
              <a:gd name="connsiteX4" fmla="*/ 0 w 2157412"/>
              <a:gd name="connsiteY4" fmla="*/ 0 h 2743200"/>
              <a:gd name="connsiteX0" fmla="*/ 0 w 2200274"/>
              <a:gd name="connsiteY0" fmla="*/ 38100 h 2647950"/>
              <a:gd name="connsiteX1" fmla="*/ 1314449 w 2200274"/>
              <a:gd name="connsiteY1" fmla="*/ 0 h 2647950"/>
              <a:gd name="connsiteX2" fmla="*/ 2200274 w 2200274"/>
              <a:gd name="connsiteY2" fmla="*/ 2519363 h 2647950"/>
              <a:gd name="connsiteX3" fmla="*/ 895349 w 2200274"/>
              <a:gd name="connsiteY3" fmla="*/ 2647950 h 2647950"/>
              <a:gd name="connsiteX4" fmla="*/ 0 w 2200274"/>
              <a:gd name="connsiteY4" fmla="*/ 38100 h 2647950"/>
              <a:gd name="connsiteX0" fmla="*/ 0 w 2200274"/>
              <a:gd name="connsiteY0" fmla="*/ 0 h 2609850"/>
              <a:gd name="connsiteX1" fmla="*/ 1290637 w 2200274"/>
              <a:gd name="connsiteY1" fmla="*/ 28575 h 2609850"/>
              <a:gd name="connsiteX2" fmla="*/ 2200274 w 2200274"/>
              <a:gd name="connsiteY2" fmla="*/ 2481263 h 2609850"/>
              <a:gd name="connsiteX3" fmla="*/ 895349 w 2200274"/>
              <a:gd name="connsiteY3" fmla="*/ 2609850 h 2609850"/>
              <a:gd name="connsiteX4" fmla="*/ 0 w 2200274"/>
              <a:gd name="connsiteY4" fmla="*/ 0 h 2609850"/>
              <a:gd name="connsiteX0" fmla="*/ 0 w 2200274"/>
              <a:gd name="connsiteY0" fmla="*/ 42862 h 2652712"/>
              <a:gd name="connsiteX1" fmla="*/ 1304924 w 2200274"/>
              <a:gd name="connsiteY1" fmla="*/ 0 h 2652712"/>
              <a:gd name="connsiteX2" fmla="*/ 2200274 w 2200274"/>
              <a:gd name="connsiteY2" fmla="*/ 2524125 h 2652712"/>
              <a:gd name="connsiteX3" fmla="*/ 895349 w 2200274"/>
              <a:gd name="connsiteY3" fmla="*/ 2652712 h 2652712"/>
              <a:gd name="connsiteX4" fmla="*/ 0 w 2200274"/>
              <a:gd name="connsiteY4" fmla="*/ 42862 h 2652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4" h="2652712">
                <a:moveTo>
                  <a:pt x="0" y="42862"/>
                </a:moveTo>
                <a:lnTo>
                  <a:pt x="1304924" y="0"/>
                </a:lnTo>
                <a:lnTo>
                  <a:pt x="2200274" y="2524125"/>
                </a:lnTo>
                <a:lnTo>
                  <a:pt x="895349" y="2652712"/>
                </a:lnTo>
                <a:lnTo>
                  <a:pt x="0" y="42862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>
              <a:defRPr sz="2100"/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170587" y="4153646"/>
            <a:ext cx="4387850" cy="530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1304925"/>
              <a:gd name="connsiteY0" fmla="*/ 0 h 914400"/>
              <a:gd name="connsiteX1" fmla="*/ 1304925 w 1304925"/>
              <a:gd name="connsiteY1" fmla="*/ 53975 h 914400"/>
              <a:gd name="connsiteX2" fmla="*/ 914400 w 1304925"/>
              <a:gd name="connsiteY2" fmla="*/ 914400 h 914400"/>
              <a:gd name="connsiteX3" fmla="*/ 0 w 1304925"/>
              <a:gd name="connsiteY3" fmla="*/ 914400 h 914400"/>
              <a:gd name="connsiteX4" fmla="*/ 0 w 1304925"/>
              <a:gd name="connsiteY4" fmla="*/ 0 h 914400"/>
              <a:gd name="connsiteX0" fmla="*/ 0 w 1304925"/>
              <a:gd name="connsiteY0" fmla="*/ 0 h 914400"/>
              <a:gd name="connsiteX1" fmla="*/ 1304925 w 1304925"/>
              <a:gd name="connsiteY1" fmla="*/ 49213 h 914400"/>
              <a:gd name="connsiteX2" fmla="*/ 914400 w 1304925"/>
              <a:gd name="connsiteY2" fmla="*/ 914400 h 914400"/>
              <a:gd name="connsiteX3" fmla="*/ 0 w 1304925"/>
              <a:gd name="connsiteY3" fmla="*/ 914400 h 914400"/>
              <a:gd name="connsiteX4" fmla="*/ 0 w 1304925"/>
              <a:gd name="connsiteY4" fmla="*/ 0 h 914400"/>
              <a:gd name="connsiteX0" fmla="*/ 0 w 1304925"/>
              <a:gd name="connsiteY0" fmla="*/ 0 h 2654300"/>
              <a:gd name="connsiteX1" fmla="*/ 1304925 w 1304925"/>
              <a:gd name="connsiteY1" fmla="*/ 49213 h 2654300"/>
              <a:gd name="connsiteX2" fmla="*/ 425450 w 1304925"/>
              <a:gd name="connsiteY2" fmla="*/ 2654300 h 2654300"/>
              <a:gd name="connsiteX3" fmla="*/ 0 w 1304925"/>
              <a:gd name="connsiteY3" fmla="*/ 914400 h 2654300"/>
              <a:gd name="connsiteX4" fmla="*/ 0 w 1304925"/>
              <a:gd name="connsiteY4" fmla="*/ 0 h 2654300"/>
              <a:gd name="connsiteX0" fmla="*/ 889000 w 2193925"/>
              <a:gd name="connsiteY0" fmla="*/ 0 h 2654300"/>
              <a:gd name="connsiteX1" fmla="*/ 2193925 w 2193925"/>
              <a:gd name="connsiteY1" fmla="*/ 49213 h 2654300"/>
              <a:gd name="connsiteX2" fmla="*/ 1314450 w 2193925"/>
              <a:gd name="connsiteY2" fmla="*/ 2654300 h 2654300"/>
              <a:gd name="connsiteX3" fmla="*/ 0 w 2193925"/>
              <a:gd name="connsiteY3" fmla="*/ 2520950 h 2654300"/>
              <a:gd name="connsiteX4" fmla="*/ 889000 w 2193925"/>
              <a:gd name="connsiteY4" fmla="*/ 0 h 2654300"/>
              <a:gd name="connsiteX0" fmla="*/ 889000 w 2193925"/>
              <a:gd name="connsiteY0" fmla="*/ 0 h 2654300"/>
              <a:gd name="connsiteX1" fmla="*/ 2193925 w 2193925"/>
              <a:gd name="connsiteY1" fmla="*/ 49213 h 2654300"/>
              <a:gd name="connsiteX2" fmla="*/ 1314450 w 2193925"/>
              <a:gd name="connsiteY2" fmla="*/ 2654300 h 2654300"/>
              <a:gd name="connsiteX3" fmla="*/ 0 w 2193925"/>
              <a:gd name="connsiteY3" fmla="*/ 2520950 h 2654300"/>
              <a:gd name="connsiteX4" fmla="*/ 889000 w 2193925"/>
              <a:gd name="connsiteY4" fmla="*/ 0 h 265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3925" h="2654300">
                <a:moveTo>
                  <a:pt x="889000" y="0"/>
                </a:moveTo>
                <a:lnTo>
                  <a:pt x="2193925" y="49213"/>
                </a:lnTo>
                <a:lnTo>
                  <a:pt x="1314450" y="2654300"/>
                </a:lnTo>
                <a:lnTo>
                  <a:pt x="0" y="2520950"/>
                </a:lnTo>
                <a:lnTo>
                  <a:pt x="889000" y="0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>
              <a:defRPr sz="2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52379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9482" y="285018"/>
            <a:ext cx="21031200" cy="97377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19483" y="950238"/>
            <a:ext cx="16777854" cy="617104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 Your Great Subtitle He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84063" y="3294534"/>
            <a:ext cx="5815182" cy="7010948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1304925"/>
              <a:gd name="connsiteY0" fmla="*/ 47625 h 962025"/>
              <a:gd name="connsiteX1" fmla="*/ 1304925 w 1304925"/>
              <a:gd name="connsiteY1" fmla="*/ 0 h 962025"/>
              <a:gd name="connsiteX2" fmla="*/ 914400 w 1304925"/>
              <a:gd name="connsiteY2" fmla="*/ 962025 h 962025"/>
              <a:gd name="connsiteX3" fmla="*/ 0 w 1304925"/>
              <a:gd name="connsiteY3" fmla="*/ 962025 h 962025"/>
              <a:gd name="connsiteX4" fmla="*/ 0 w 1304925"/>
              <a:gd name="connsiteY4" fmla="*/ 47625 h 962025"/>
              <a:gd name="connsiteX0" fmla="*/ 0 w 2190750"/>
              <a:gd name="connsiteY0" fmla="*/ 47625 h 2519363"/>
              <a:gd name="connsiteX1" fmla="*/ 1304925 w 2190750"/>
              <a:gd name="connsiteY1" fmla="*/ 0 h 2519363"/>
              <a:gd name="connsiteX2" fmla="*/ 2190750 w 2190750"/>
              <a:gd name="connsiteY2" fmla="*/ 2519363 h 2519363"/>
              <a:gd name="connsiteX3" fmla="*/ 0 w 2190750"/>
              <a:gd name="connsiteY3" fmla="*/ 962025 h 2519363"/>
              <a:gd name="connsiteX4" fmla="*/ 0 w 2190750"/>
              <a:gd name="connsiteY4" fmla="*/ 47625 h 2519363"/>
              <a:gd name="connsiteX0" fmla="*/ 0 w 2190750"/>
              <a:gd name="connsiteY0" fmla="*/ 47625 h 2647950"/>
              <a:gd name="connsiteX1" fmla="*/ 1304925 w 2190750"/>
              <a:gd name="connsiteY1" fmla="*/ 0 h 2647950"/>
              <a:gd name="connsiteX2" fmla="*/ 2190750 w 2190750"/>
              <a:gd name="connsiteY2" fmla="*/ 2519363 h 2647950"/>
              <a:gd name="connsiteX3" fmla="*/ 885825 w 2190750"/>
              <a:gd name="connsiteY3" fmla="*/ 2647950 h 2647950"/>
              <a:gd name="connsiteX4" fmla="*/ 0 w 2190750"/>
              <a:gd name="connsiteY4" fmla="*/ 47625 h 2647950"/>
              <a:gd name="connsiteX0" fmla="*/ 0 w 2157412"/>
              <a:gd name="connsiteY0" fmla="*/ 0 h 2743200"/>
              <a:gd name="connsiteX1" fmla="*/ 1271587 w 2157412"/>
              <a:gd name="connsiteY1" fmla="*/ 95250 h 2743200"/>
              <a:gd name="connsiteX2" fmla="*/ 2157412 w 2157412"/>
              <a:gd name="connsiteY2" fmla="*/ 2614613 h 2743200"/>
              <a:gd name="connsiteX3" fmla="*/ 852487 w 2157412"/>
              <a:gd name="connsiteY3" fmla="*/ 2743200 h 2743200"/>
              <a:gd name="connsiteX4" fmla="*/ 0 w 2157412"/>
              <a:gd name="connsiteY4" fmla="*/ 0 h 2743200"/>
              <a:gd name="connsiteX0" fmla="*/ 0 w 2200274"/>
              <a:gd name="connsiteY0" fmla="*/ 38100 h 2647950"/>
              <a:gd name="connsiteX1" fmla="*/ 1314449 w 2200274"/>
              <a:gd name="connsiteY1" fmla="*/ 0 h 2647950"/>
              <a:gd name="connsiteX2" fmla="*/ 2200274 w 2200274"/>
              <a:gd name="connsiteY2" fmla="*/ 2519363 h 2647950"/>
              <a:gd name="connsiteX3" fmla="*/ 895349 w 2200274"/>
              <a:gd name="connsiteY3" fmla="*/ 2647950 h 2647950"/>
              <a:gd name="connsiteX4" fmla="*/ 0 w 2200274"/>
              <a:gd name="connsiteY4" fmla="*/ 38100 h 2647950"/>
              <a:gd name="connsiteX0" fmla="*/ 0 w 2200274"/>
              <a:gd name="connsiteY0" fmla="*/ 0 h 2609850"/>
              <a:gd name="connsiteX1" fmla="*/ 1290637 w 2200274"/>
              <a:gd name="connsiteY1" fmla="*/ 28575 h 2609850"/>
              <a:gd name="connsiteX2" fmla="*/ 2200274 w 2200274"/>
              <a:gd name="connsiteY2" fmla="*/ 2481263 h 2609850"/>
              <a:gd name="connsiteX3" fmla="*/ 895349 w 2200274"/>
              <a:gd name="connsiteY3" fmla="*/ 2609850 h 2609850"/>
              <a:gd name="connsiteX4" fmla="*/ 0 w 2200274"/>
              <a:gd name="connsiteY4" fmla="*/ 0 h 2609850"/>
              <a:gd name="connsiteX0" fmla="*/ 0 w 2200274"/>
              <a:gd name="connsiteY0" fmla="*/ 42862 h 2652712"/>
              <a:gd name="connsiteX1" fmla="*/ 1304924 w 2200274"/>
              <a:gd name="connsiteY1" fmla="*/ 0 h 2652712"/>
              <a:gd name="connsiteX2" fmla="*/ 2200274 w 2200274"/>
              <a:gd name="connsiteY2" fmla="*/ 2524125 h 2652712"/>
              <a:gd name="connsiteX3" fmla="*/ 895349 w 2200274"/>
              <a:gd name="connsiteY3" fmla="*/ 2652712 h 2652712"/>
              <a:gd name="connsiteX4" fmla="*/ 0 w 2200274"/>
              <a:gd name="connsiteY4" fmla="*/ 42862 h 2652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4" h="2652712">
                <a:moveTo>
                  <a:pt x="0" y="42862"/>
                </a:moveTo>
                <a:lnTo>
                  <a:pt x="1304924" y="0"/>
                </a:lnTo>
                <a:lnTo>
                  <a:pt x="2200274" y="2524125"/>
                </a:lnTo>
                <a:lnTo>
                  <a:pt x="895349" y="2652712"/>
                </a:lnTo>
                <a:lnTo>
                  <a:pt x="0" y="42862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>
              <a:defRPr sz="2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40615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64446" y="407453"/>
            <a:ext cx="23269624" cy="1303549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075805" y="3122451"/>
            <a:ext cx="7759802" cy="7605502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605660" y="4316056"/>
            <a:ext cx="9543140" cy="4819808"/>
          </a:xfrm>
          <a:noFill/>
        </p:spPr>
        <p:txBody>
          <a:bodyPr wrap="square">
            <a:noAutofit/>
          </a:bodyPr>
          <a:lstStyle>
            <a:lvl1pPr>
              <a:defRPr lang="en-US" sz="8800" spc="-300" dirty="0">
                <a:solidFill>
                  <a:schemeClr val="tx1">
                    <a:lumMod val="85000"/>
                    <a:lumOff val="1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5248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11201" y="261260"/>
            <a:ext cx="11567886" cy="826500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001E7-44B7-41BC-93FC-562CB9664D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11200" y="8692738"/>
            <a:ext cx="22961600" cy="18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605660" y="3706456"/>
            <a:ext cx="5624284" cy="4819808"/>
          </a:xfrm>
          <a:noFill/>
        </p:spPr>
        <p:txBody>
          <a:bodyPr wrap="square">
            <a:noAutofit/>
          </a:bodyPr>
          <a:lstStyle>
            <a:lvl1pPr>
              <a:defRPr lang="en-US" sz="7200" spc="-300" dirty="0">
                <a:solidFill>
                  <a:schemeClr val="tx1">
                    <a:lumMod val="85000"/>
                    <a:lumOff val="1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Open Sans" panose="020B0606030504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475915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88467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0560472" y="2184356"/>
            <a:ext cx="3257008" cy="325700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rgbClr val="FFFFFF"/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27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47DB-CF39-4949-BB30-DC9FAE67F510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784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63539" y="860842"/>
            <a:ext cx="22856826" cy="1123238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42850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Picture Placeholder 13"/>
          <p:cNvSpPr>
            <a:spLocks noGrp="1"/>
          </p:cNvSpPr>
          <p:nvPr userDrawn="1">
            <p:ph type="pic" sz="quarter" idx="13"/>
          </p:nvPr>
        </p:nvSpPr>
        <p:spPr>
          <a:xfrm>
            <a:off x="11149306" y="3146334"/>
            <a:ext cx="2085388" cy="20853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23" name="Picture Placeholder 13"/>
          <p:cNvSpPr>
            <a:spLocks noGrp="1"/>
          </p:cNvSpPr>
          <p:nvPr userDrawn="1">
            <p:ph type="pic" sz="quarter" idx="14"/>
          </p:nvPr>
        </p:nvSpPr>
        <p:spPr>
          <a:xfrm>
            <a:off x="3679260" y="7808748"/>
            <a:ext cx="1696836" cy="169683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24" name="Picture Placeholder 13"/>
          <p:cNvSpPr>
            <a:spLocks noGrp="1"/>
          </p:cNvSpPr>
          <p:nvPr userDrawn="1">
            <p:ph type="pic" sz="quarter" idx="15"/>
          </p:nvPr>
        </p:nvSpPr>
        <p:spPr>
          <a:xfrm>
            <a:off x="7521248" y="7808748"/>
            <a:ext cx="1696836" cy="169683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25" name="Picture Placeholder 13"/>
          <p:cNvSpPr>
            <a:spLocks noGrp="1"/>
          </p:cNvSpPr>
          <p:nvPr userDrawn="1">
            <p:ph type="pic" sz="quarter" idx="16"/>
          </p:nvPr>
        </p:nvSpPr>
        <p:spPr>
          <a:xfrm>
            <a:off x="11358406" y="7808748"/>
            <a:ext cx="1696836" cy="169683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26" name="Picture Placeholder 13"/>
          <p:cNvSpPr>
            <a:spLocks noGrp="1"/>
          </p:cNvSpPr>
          <p:nvPr userDrawn="1">
            <p:ph type="pic" sz="quarter" idx="17"/>
          </p:nvPr>
        </p:nvSpPr>
        <p:spPr>
          <a:xfrm>
            <a:off x="15185552" y="7808748"/>
            <a:ext cx="1696836" cy="169683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27" name="Picture Placeholder 13"/>
          <p:cNvSpPr>
            <a:spLocks noGrp="1"/>
          </p:cNvSpPr>
          <p:nvPr userDrawn="1">
            <p:ph type="pic" sz="quarter" idx="18"/>
          </p:nvPr>
        </p:nvSpPr>
        <p:spPr>
          <a:xfrm>
            <a:off x="18997406" y="7808748"/>
            <a:ext cx="1696836" cy="169683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02861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7939542" y="6887706"/>
            <a:ext cx="1961732" cy="196173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1247988" y="3441260"/>
            <a:ext cx="1961732" cy="196173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4544918" y="6887706"/>
            <a:ext cx="1961732" cy="196173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043241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1157174" y="6081346"/>
            <a:ext cx="2267980" cy="22679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8554094" y="3991136"/>
            <a:ext cx="1714776" cy="171477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4119130" y="3991136"/>
            <a:ext cx="1714776" cy="171477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8554094" y="8963944"/>
            <a:ext cx="1714776" cy="171477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4119130" y="8963944"/>
            <a:ext cx="1714776" cy="171477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92601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9680681" y="10441943"/>
            <a:ext cx="1529586" cy="15295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4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2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8332018" y="4042738"/>
            <a:ext cx="1682544" cy="168254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3173457" y="3072857"/>
            <a:ext cx="1529586" cy="15295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2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3173457" y="4939055"/>
            <a:ext cx="1529586" cy="15295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2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3417750" y="3511144"/>
            <a:ext cx="1682544" cy="168254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14096606" y="9456560"/>
            <a:ext cx="1682544" cy="168254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935060" y="9161110"/>
            <a:ext cx="1682544" cy="168254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5216259" y="9328909"/>
            <a:ext cx="1529586" cy="15295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3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2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18676771" y="2824121"/>
            <a:ext cx="1529586" cy="15295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2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18676771" y="4705667"/>
            <a:ext cx="1529586" cy="15295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2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19680681" y="8514567"/>
            <a:ext cx="1529586" cy="15295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4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2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58414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736098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1265707" y="2973855"/>
            <a:ext cx="1858498" cy="185849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21825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396167" y="8354728"/>
            <a:ext cx="3036602" cy="275080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8640015" y="3527386"/>
            <a:ext cx="3036602" cy="275080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3883829" y="8354728"/>
            <a:ext cx="3036602" cy="275080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53332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15990814" y="4912209"/>
            <a:ext cx="2382388" cy="2373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2819558" y="4912209"/>
            <a:ext cx="2382388" cy="2373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9405186" y="4912209"/>
            <a:ext cx="2382388" cy="2373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1687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17580543" y="11410255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434751" y="5457881"/>
            <a:ext cx="1073590" cy="98112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9691065" y="3107975"/>
            <a:ext cx="1237170" cy="111346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5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939357" y="5457881"/>
            <a:ext cx="1073590" cy="98112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55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6443961" y="5457881"/>
            <a:ext cx="1073590" cy="98112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56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4403279" y="7712161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57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4403279" y="8877207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58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11074607" y="7712161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59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11074607" y="8877207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60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11074607" y="10094197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61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17580543" y="7712161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62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7580543" y="8877207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63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7580543" y="10174123"/>
            <a:ext cx="853762" cy="79171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556715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15178757" y="601765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15178757" y="835760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5178757" y="1069755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9887929" y="3069970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4597097" y="601765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4597097" y="835760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4597097" y="1069755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887925" y="601765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9887925" y="835760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9887925" y="10697558"/>
            <a:ext cx="1677926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93772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8295404" y="6163962"/>
            <a:ext cx="1677924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9887929" y="3216274"/>
            <a:ext cx="1677922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1615934" y="6163962"/>
            <a:ext cx="1677924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7145156" y="6163962"/>
            <a:ext cx="1677924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12781420" y="6163962"/>
            <a:ext cx="1677924" cy="14668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013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7505728" cy="95504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7505728" y="8089900"/>
            <a:ext cx="6878272" cy="56261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49158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8019853" y="10341529"/>
            <a:ext cx="1858498" cy="1858498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chemeClr val="accent5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8019853" y="3195669"/>
            <a:ext cx="1858498" cy="1858498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8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77276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2824120"/>
            <a:ext cx="24383992" cy="655966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36625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2632826"/>
            <a:ext cx="24383992" cy="613464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28861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24383992" cy="900510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502438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24383992" cy="13716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15264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2212450"/>
            <a:ext cx="24383992" cy="105652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21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584142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931547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12315092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1444726" y="5261431"/>
            <a:ext cx="12115528" cy="359954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333743489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7280322" y="4004354"/>
            <a:ext cx="5312156" cy="700230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3112968419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562625" y="5187866"/>
            <a:ext cx="3174738" cy="5642888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2648474" y="4596296"/>
            <a:ext cx="3456736" cy="61441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7077217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499600" y="5594529"/>
            <a:ext cx="14884400" cy="812147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665357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4089402"/>
            <a:ext cx="24384000" cy="40894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7551066" y="2631239"/>
            <a:ext cx="4656680" cy="8225194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498477877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21367" y="1"/>
            <a:ext cx="9650714" cy="7844062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382895" y="5611002"/>
            <a:ext cx="6857750" cy="387648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319366" y="8341341"/>
            <a:ext cx="4499036" cy="273034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073547550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2773479" y="7508984"/>
            <a:ext cx="4568966" cy="256913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5866540" y="4511789"/>
            <a:ext cx="7093788" cy="4175878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20740075" y="8339700"/>
            <a:ext cx="1483490" cy="18969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22516708" y="9237345"/>
            <a:ext cx="589992" cy="1016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409747199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551220" y="4098003"/>
            <a:ext cx="9263580" cy="524658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832061700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825502" y="0"/>
            <a:ext cx="9314572" cy="874629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3703552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0915650" cy="13716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57788580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825502" y="3366156"/>
            <a:ext cx="9753600" cy="8438796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6320301" y="3366157"/>
            <a:ext cx="7555698" cy="4219398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6320301" y="7585554"/>
            <a:ext cx="7555698" cy="418921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43085987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956802" y="3859642"/>
            <a:ext cx="4813744" cy="7606644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4749496" y="3859642"/>
            <a:ext cx="4813744" cy="7606644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9542190" y="3859642"/>
            <a:ext cx="4813744" cy="7606644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01655633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18932" y="4024140"/>
            <a:ext cx="5858136" cy="5162796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214932" y="4024140"/>
            <a:ext cx="5858136" cy="5162796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12310932" y="4024140"/>
            <a:ext cx="5858136" cy="5162796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18406932" y="4024140"/>
            <a:ext cx="5858136" cy="516279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722915177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766571" y="3766000"/>
            <a:ext cx="6443950" cy="567907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168637" y="3766000"/>
            <a:ext cx="6443954" cy="5679076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16570704" y="3766000"/>
            <a:ext cx="6443956" cy="567907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4187974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2065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437879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2159000" y="3942645"/>
            <a:ext cx="4216400" cy="395693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7366000" y="3942645"/>
            <a:ext cx="4216400" cy="395693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17602200" y="3942645"/>
            <a:ext cx="4216400" cy="395693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12573000" y="3942645"/>
            <a:ext cx="4216400" cy="395693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255618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825498" y="3361190"/>
            <a:ext cx="5428344" cy="8426948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515096" y="3361190"/>
            <a:ext cx="5428344" cy="8426948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2204694" y="3361190"/>
            <a:ext cx="5428344" cy="8426948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17894292" y="3361190"/>
            <a:ext cx="5428344" cy="84269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194321895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4870378" y="7246961"/>
            <a:ext cx="4873948" cy="370389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3540411"/>
            <a:ext cx="4873948" cy="3703898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9751460" y="3540411"/>
            <a:ext cx="4873948" cy="3703898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9502918" y="3540411"/>
            <a:ext cx="4873948" cy="3703898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14636100" y="7246961"/>
            <a:ext cx="4873948" cy="370389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52134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3128649"/>
            <a:ext cx="24384000" cy="842835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85171395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24384000" cy="793573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47451757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22040439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19287082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90288" y="259611"/>
            <a:ext cx="7373256" cy="434101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7692572" y="259611"/>
            <a:ext cx="4093028" cy="434101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290290" y="4665198"/>
            <a:ext cx="3989612" cy="45251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4325255" y="4665198"/>
            <a:ext cx="7460346" cy="45251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290288" y="9254877"/>
            <a:ext cx="11495312" cy="421347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22040439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302191861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1146472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821880631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446334" y="5208311"/>
            <a:ext cx="2655268" cy="449177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3230770" y="5208311"/>
            <a:ext cx="2655268" cy="449177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0575502" y="4888517"/>
            <a:ext cx="3195088" cy="540495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1146472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566805242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-100338"/>
            <a:ext cx="6991108" cy="14018852"/>
          </a:xfrm>
          <a:custGeom>
            <a:avLst/>
            <a:gdLst>
              <a:gd name="connsiteX0" fmla="*/ 0 w 3495554"/>
              <a:gd name="connsiteY0" fmla="*/ 0 h 7009426"/>
              <a:gd name="connsiteX1" fmla="*/ 348741 w 3495554"/>
              <a:gd name="connsiteY1" fmla="*/ 17610 h 7009426"/>
              <a:gd name="connsiteX2" fmla="*/ 3495554 w 3495554"/>
              <a:gd name="connsiteY2" fmla="*/ 3504713 h 7009426"/>
              <a:gd name="connsiteX3" fmla="*/ 348741 w 3495554"/>
              <a:gd name="connsiteY3" fmla="*/ 6991816 h 7009426"/>
              <a:gd name="connsiteX4" fmla="*/ 0 w 3495554"/>
              <a:gd name="connsiteY4" fmla="*/ 7009426 h 700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5554" h="7009426">
                <a:moveTo>
                  <a:pt x="0" y="0"/>
                </a:moveTo>
                <a:lnTo>
                  <a:pt x="348741" y="17610"/>
                </a:lnTo>
                <a:cubicBezTo>
                  <a:pt x="2116259" y="197111"/>
                  <a:pt x="3495554" y="1689836"/>
                  <a:pt x="3495554" y="3504713"/>
                </a:cubicBezTo>
                <a:cubicBezTo>
                  <a:pt x="3495554" y="5319590"/>
                  <a:pt x="2116259" y="6812315"/>
                  <a:pt x="348741" y="6991816"/>
                </a:cubicBezTo>
                <a:lnTo>
                  <a:pt x="0" y="70094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5A63F5F9-BDBE-42F3-B7F6-9CBD4FBBD9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555199" y="12712701"/>
            <a:ext cx="888402" cy="730250"/>
          </a:xfrm>
        </p:spPr>
        <p:txBody>
          <a:bodyPr/>
          <a:lstStyle>
            <a:lvl1pPr algn="ctr">
              <a:defRPr/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7117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4517514" cy="1371600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600781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5A63F5F9-BDBE-42F3-B7F6-9CBD4FBBD9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555199" y="12712701"/>
            <a:ext cx="888402" cy="730250"/>
          </a:xfrm>
        </p:spPr>
        <p:txBody>
          <a:bodyPr/>
          <a:lstStyle>
            <a:lvl1pPr algn="ctr">
              <a:defRPr/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070805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5A63F5F9-BDBE-42F3-B7F6-9CBD4FBBD9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555199" y="12712701"/>
            <a:ext cx="888402" cy="730250"/>
          </a:xfrm>
        </p:spPr>
        <p:txBody>
          <a:bodyPr/>
          <a:lstStyle>
            <a:lvl1pPr algn="ctr">
              <a:defRPr/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26397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5A63F5F9-BDBE-42F3-B7F6-9CBD4FBBD9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555199" y="12712701"/>
            <a:ext cx="888402" cy="730250"/>
          </a:xfrm>
        </p:spPr>
        <p:txBody>
          <a:bodyPr/>
          <a:lstStyle>
            <a:lvl1pPr algn="ctr">
              <a:defRPr/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3870452" y="5029200"/>
            <a:ext cx="10488148" cy="8686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9724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2448951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384075" y="6341606"/>
            <a:ext cx="2004530" cy="1828800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</a:lstStyle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5A63F5F9-BDBE-42F3-B7F6-9CBD4FBBD9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555199" y="12712701"/>
            <a:ext cx="888402" cy="730250"/>
          </a:xfrm>
        </p:spPr>
        <p:txBody>
          <a:bodyPr/>
          <a:lstStyle>
            <a:lvl1pPr algn="ctr">
              <a:defRPr/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543711" y="6341606"/>
            <a:ext cx="2004530" cy="1828800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5691243" y="6341606"/>
            <a:ext cx="2004530" cy="1828800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  <p:sp>
        <p:nvSpPr>
          <p:cNvPr id="17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7838773" y="6341606"/>
            <a:ext cx="2004530" cy="1828800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94012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6216804" y="3309258"/>
            <a:ext cx="6783208" cy="6783208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5A63F5F9-BDBE-42F3-B7F6-9CBD4FBBD9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555199" y="12712701"/>
            <a:ext cx="888402" cy="730250"/>
          </a:xfrm>
        </p:spPr>
        <p:txBody>
          <a:bodyPr/>
          <a:lstStyle>
            <a:lvl1pPr algn="ctr">
              <a:defRPr/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162871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ENTE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icture Placeholder 24"/>
          <p:cNvSpPr>
            <a:spLocks noGrp="1"/>
          </p:cNvSpPr>
          <p:nvPr>
            <p:ph type="pic" sz="quarter" idx="27"/>
          </p:nvPr>
        </p:nvSpPr>
        <p:spPr>
          <a:xfrm>
            <a:off x="2022564" y="7841518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44" name="Picture Placeholder 24"/>
          <p:cNvSpPr>
            <a:spLocks noGrp="1"/>
          </p:cNvSpPr>
          <p:nvPr>
            <p:ph type="pic" sz="quarter" idx="28"/>
          </p:nvPr>
        </p:nvSpPr>
        <p:spPr>
          <a:xfrm>
            <a:off x="3995592" y="7841518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45" name="Picture Placeholder 24"/>
          <p:cNvSpPr>
            <a:spLocks noGrp="1"/>
          </p:cNvSpPr>
          <p:nvPr>
            <p:ph type="pic" sz="quarter" idx="29"/>
          </p:nvPr>
        </p:nvSpPr>
        <p:spPr>
          <a:xfrm>
            <a:off x="5968620" y="7841518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46" name="Picture Placeholder 24"/>
          <p:cNvSpPr>
            <a:spLocks noGrp="1"/>
          </p:cNvSpPr>
          <p:nvPr>
            <p:ph type="pic" sz="quarter" idx="30"/>
          </p:nvPr>
        </p:nvSpPr>
        <p:spPr>
          <a:xfrm>
            <a:off x="7941648" y="7841518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47" name="Picture Placeholder 24"/>
          <p:cNvSpPr>
            <a:spLocks noGrp="1"/>
          </p:cNvSpPr>
          <p:nvPr>
            <p:ph type="pic" sz="quarter" idx="31"/>
          </p:nvPr>
        </p:nvSpPr>
        <p:spPr>
          <a:xfrm>
            <a:off x="9914676" y="7841518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1146472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3953780" y="203748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26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5859488" y="203748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7779284" y="203748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28" name="Picture Placeholder 24"/>
          <p:cNvSpPr>
            <a:spLocks noGrp="1"/>
          </p:cNvSpPr>
          <p:nvPr>
            <p:ph type="pic" sz="quarter" idx="16"/>
          </p:nvPr>
        </p:nvSpPr>
        <p:spPr>
          <a:xfrm>
            <a:off x="2167196" y="3974860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29" name="Picture Placeholder 24"/>
          <p:cNvSpPr>
            <a:spLocks noGrp="1"/>
          </p:cNvSpPr>
          <p:nvPr>
            <p:ph type="pic" sz="quarter" idx="17"/>
          </p:nvPr>
        </p:nvSpPr>
        <p:spPr>
          <a:xfrm>
            <a:off x="4054376" y="3974860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30" name="Picture Placeholder 24"/>
          <p:cNvSpPr>
            <a:spLocks noGrp="1"/>
          </p:cNvSpPr>
          <p:nvPr>
            <p:ph type="pic" sz="quarter" idx="18"/>
          </p:nvPr>
        </p:nvSpPr>
        <p:spPr>
          <a:xfrm>
            <a:off x="5941554" y="3974860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31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7828734" y="3974860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32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9715912" y="3974860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33" name="Picture Placeholder 24"/>
          <p:cNvSpPr>
            <a:spLocks noGrp="1"/>
          </p:cNvSpPr>
          <p:nvPr>
            <p:ph type="pic" sz="quarter" idx="21"/>
          </p:nvPr>
        </p:nvSpPr>
        <p:spPr>
          <a:xfrm>
            <a:off x="1034834" y="590751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38" name="Picture Placeholder 24"/>
          <p:cNvSpPr>
            <a:spLocks noGrp="1"/>
          </p:cNvSpPr>
          <p:nvPr>
            <p:ph type="pic" sz="quarter" idx="22"/>
          </p:nvPr>
        </p:nvSpPr>
        <p:spPr>
          <a:xfrm>
            <a:off x="2945680" y="590751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39" name="Picture Placeholder 24"/>
          <p:cNvSpPr>
            <a:spLocks noGrp="1"/>
          </p:cNvSpPr>
          <p:nvPr>
            <p:ph type="pic" sz="quarter" idx="23"/>
          </p:nvPr>
        </p:nvSpPr>
        <p:spPr>
          <a:xfrm>
            <a:off x="4856526" y="590751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40" name="Picture Placeholder 24"/>
          <p:cNvSpPr>
            <a:spLocks noGrp="1"/>
          </p:cNvSpPr>
          <p:nvPr>
            <p:ph type="pic" sz="quarter" idx="24"/>
          </p:nvPr>
        </p:nvSpPr>
        <p:spPr>
          <a:xfrm>
            <a:off x="6780816" y="590751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41" name="Picture Placeholder 24"/>
          <p:cNvSpPr>
            <a:spLocks noGrp="1"/>
          </p:cNvSpPr>
          <p:nvPr>
            <p:ph type="pic" sz="quarter" idx="25"/>
          </p:nvPr>
        </p:nvSpPr>
        <p:spPr>
          <a:xfrm>
            <a:off x="8696682" y="590751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42" name="Picture Placeholder 24"/>
          <p:cNvSpPr>
            <a:spLocks noGrp="1"/>
          </p:cNvSpPr>
          <p:nvPr>
            <p:ph type="pic" sz="quarter" idx="26"/>
          </p:nvPr>
        </p:nvSpPr>
        <p:spPr>
          <a:xfrm>
            <a:off x="10613356" y="5907512"/>
            <a:ext cx="1830416" cy="1828800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0965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ENTE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24"/>
          <p:cNvSpPr>
            <a:spLocks noGrp="1"/>
          </p:cNvSpPr>
          <p:nvPr>
            <p:ph type="pic" sz="quarter" idx="24"/>
          </p:nvPr>
        </p:nvSpPr>
        <p:spPr>
          <a:xfrm>
            <a:off x="1186430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9" name="Picture Placeholder 24"/>
          <p:cNvSpPr>
            <a:spLocks noGrp="1"/>
          </p:cNvSpPr>
          <p:nvPr>
            <p:ph type="pic" sz="quarter" idx="25"/>
          </p:nvPr>
        </p:nvSpPr>
        <p:spPr>
          <a:xfrm>
            <a:off x="3581556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70" name="Picture Placeholder 24"/>
          <p:cNvSpPr>
            <a:spLocks noGrp="1"/>
          </p:cNvSpPr>
          <p:nvPr>
            <p:ph type="pic" sz="quarter" idx="26"/>
          </p:nvPr>
        </p:nvSpPr>
        <p:spPr>
          <a:xfrm>
            <a:off x="5976682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71" name="Picture Placeholder 24"/>
          <p:cNvSpPr>
            <a:spLocks noGrp="1"/>
          </p:cNvSpPr>
          <p:nvPr>
            <p:ph type="pic" sz="quarter" idx="27"/>
          </p:nvPr>
        </p:nvSpPr>
        <p:spPr>
          <a:xfrm>
            <a:off x="8371808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72" name="Picture Placeholder 24"/>
          <p:cNvSpPr>
            <a:spLocks noGrp="1"/>
          </p:cNvSpPr>
          <p:nvPr>
            <p:ph type="pic" sz="quarter" idx="28"/>
          </p:nvPr>
        </p:nvSpPr>
        <p:spPr>
          <a:xfrm>
            <a:off x="10766934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73" name="Picture Placeholder 24"/>
          <p:cNvSpPr>
            <a:spLocks noGrp="1"/>
          </p:cNvSpPr>
          <p:nvPr>
            <p:ph type="pic" sz="quarter" idx="29"/>
          </p:nvPr>
        </p:nvSpPr>
        <p:spPr>
          <a:xfrm>
            <a:off x="13162060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74" name="Picture Placeholder 24"/>
          <p:cNvSpPr>
            <a:spLocks noGrp="1"/>
          </p:cNvSpPr>
          <p:nvPr>
            <p:ph type="pic" sz="quarter" idx="30"/>
          </p:nvPr>
        </p:nvSpPr>
        <p:spPr>
          <a:xfrm>
            <a:off x="15557186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75" name="Picture Placeholder 24"/>
          <p:cNvSpPr>
            <a:spLocks noGrp="1"/>
          </p:cNvSpPr>
          <p:nvPr>
            <p:ph type="pic" sz="quarter" idx="31"/>
          </p:nvPr>
        </p:nvSpPr>
        <p:spPr>
          <a:xfrm>
            <a:off x="17952312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76" name="Picture Placeholder 24"/>
          <p:cNvSpPr>
            <a:spLocks noGrp="1"/>
          </p:cNvSpPr>
          <p:nvPr>
            <p:ph type="pic" sz="quarter" idx="32"/>
          </p:nvPr>
        </p:nvSpPr>
        <p:spPr>
          <a:xfrm>
            <a:off x="20347436" y="5591938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1146472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1186430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0" name="Picture Placeholder 24"/>
          <p:cNvSpPr>
            <a:spLocks noGrp="1"/>
          </p:cNvSpPr>
          <p:nvPr>
            <p:ph type="pic" sz="quarter" idx="16"/>
          </p:nvPr>
        </p:nvSpPr>
        <p:spPr>
          <a:xfrm>
            <a:off x="3581556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1" name="Picture Placeholder 24"/>
          <p:cNvSpPr>
            <a:spLocks noGrp="1"/>
          </p:cNvSpPr>
          <p:nvPr>
            <p:ph type="pic" sz="quarter" idx="17"/>
          </p:nvPr>
        </p:nvSpPr>
        <p:spPr>
          <a:xfrm>
            <a:off x="5976682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2" name="Picture Placeholder 24"/>
          <p:cNvSpPr>
            <a:spLocks noGrp="1"/>
          </p:cNvSpPr>
          <p:nvPr>
            <p:ph type="pic" sz="quarter" idx="18"/>
          </p:nvPr>
        </p:nvSpPr>
        <p:spPr>
          <a:xfrm>
            <a:off x="8371808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3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10766934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4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13162060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5" name="Picture Placeholder 24"/>
          <p:cNvSpPr>
            <a:spLocks noGrp="1"/>
          </p:cNvSpPr>
          <p:nvPr>
            <p:ph type="pic" sz="quarter" idx="21"/>
          </p:nvPr>
        </p:nvSpPr>
        <p:spPr>
          <a:xfrm>
            <a:off x="15557186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6" name="Picture Placeholder 24"/>
          <p:cNvSpPr>
            <a:spLocks noGrp="1"/>
          </p:cNvSpPr>
          <p:nvPr>
            <p:ph type="pic" sz="quarter" idx="22"/>
          </p:nvPr>
        </p:nvSpPr>
        <p:spPr>
          <a:xfrm>
            <a:off x="17952312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  <p:sp>
        <p:nvSpPr>
          <p:cNvPr id="67" name="Picture Placeholder 24"/>
          <p:cNvSpPr>
            <a:spLocks noGrp="1"/>
          </p:cNvSpPr>
          <p:nvPr>
            <p:ph type="pic" sz="quarter" idx="23"/>
          </p:nvPr>
        </p:nvSpPr>
        <p:spPr>
          <a:xfrm>
            <a:off x="20347436" y="3150490"/>
            <a:ext cx="2212844" cy="2212848"/>
          </a:xfrm>
          <a:solidFill>
            <a:schemeClr val="bg1">
              <a:lumMod val="85000"/>
            </a:schemeClr>
          </a:solidFill>
          <a:effectLst/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198909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RIGHT 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383279" y="3990678"/>
            <a:ext cx="8521430" cy="4908124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529800" y="12738101"/>
            <a:ext cx="965200" cy="730250"/>
          </a:xfrm>
        </p:spPr>
        <p:txBody>
          <a:bodyPr/>
          <a:lstStyle>
            <a:lvl1pPr algn="ctr">
              <a:defRPr sz="2200">
                <a:latin typeface="+mj-lt"/>
              </a:defRPr>
            </a:lvl1pPr>
          </a:lstStyle>
          <a:p>
            <a:fld id="{F4F0000C-B077-494E-B718-CD70329FDB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25501" y="1"/>
            <a:ext cx="1454562" cy="23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881675562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12994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72458" y="3222181"/>
            <a:ext cx="22439084" cy="673463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963260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63A3799-AA52-4D2F-8629-54766EEEEA58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Oval 4"/>
          <p:cNvSpPr/>
          <p:nvPr userDrawn="1"/>
        </p:nvSpPr>
        <p:spPr>
          <a:xfrm>
            <a:off x="8121047" y="6048900"/>
            <a:ext cx="3131278" cy="1846008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0"/>
          </a:p>
        </p:txBody>
      </p:sp>
      <p:sp>
        <p:nvSpPr>
          <p:cNvPr id="6" name="Oval 5"/>
          <p:cNvSpPr/>
          <p:nvPr userDrawn="1"/>
        </p:nvSpPr>
        <p:spPr>
          <a:xfrm>
            <a:off x="13243355" y="6048900"/>
            <a:ext cx="3131278" cy="1846008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0"/>
          </a:p>
        </p:txBody>
      </p:sp>
      <p:sp>
        <p:nvSpPr>
          <p:cNvPr id="7" name="Oval 6"/>
          <p:cNvSpPr/>
          <p:nvPr userDrawn="1"/>
        </p:nvSpPr>
        <p:spPr>
          <a:xfrm>
            <a:off x="18463061" y="6048900"/>
            <a:ext cx="3131278" cy="1846008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0"/>
          </a:p>
        </p:txBody>
      </p:sp>
      <p:sp>
        <p:nvSpPr>
          <p:cNvPr id="8" name="Oval 7"/>
          <p:cNvSpPr/>
          <p:nvPr userDrawn="1"/>
        </p:nvSpPr>
        <p:spPr>
          <a:xfrm>
            <a:off x="2756137" y="6048900"/>
            <a:ext cx="3131278" cy="1846008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0"/>
          </a:p>
        </p:txBody>
      </p:sp>
      <p:sp>
        <p:nvSpPr>
          <p:cNvPr id="9" name="Oval 8"/>
          <p:cNvSpPr/>
          <p:nvPr userDrawn="1"/>
        </p:nvSpPr>
        <p:spPr>
          <a:xfrm>
            <a:off x="2686007" y="3992011"/>
            <a:ext cx="3271538" cy="327153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4" name="Oval 13"/>
          <p:cNvSpPr/>
          <p:nvPr userDrawn="1"/>
        </p:nvSpPr>
        <p:spPr>
          <a:xfrm>
            <a:off x="7932825" y="3992011"/>
            <a:ext cx="3271538" cy="327153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6" name="Oval 15"/>
          <p:cNvSpPr/>
          <p:nvPr userDrawn="1"/>
        </p:nvSpPr>
        <p:spPr>
          <a:xfrm>
            <a:off x="13179643" y="3992011"/>
            <a:ext cx="3271538" cy="327153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8" name="Oval 17"/>
          <p:cNvSpPr/>
          <p:nvPr userDrawn="1"/>
        </p:nvSpPr>
        <p:spPr>
          <a:xfrm>
            <a:off x="18426461" y="3992011"/>
            <a:ext cx="3271538" cy="327153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824502" y="4145528"/>
            <a:ext cx="2964504" cy="29645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8086340" y="4145528"/>
            <a:ext cx="2964504" cy="29645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3342296" y="4145528"/>
            <a:ext cx="2964504" cy="29645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598772" y="4145528"/>
            <a:ext cx="2964504" cy="29645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706614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63A3799-AA52-4D2F-8629-54766EEEEA58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 flipH="1">
            <a:off x="3" y="0"/>
            <a:ext cx="24383998" cy="1263091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1" y="10219451"/>
            <a:ext cx="24383998" cy="3496554"/>
            <a:chOff x="947738" y="3194420"/>
            <a:chExt cx="7421562" cy="602088"/>
          </a:xfrm>
          <a:solidFill>
            <a:schemeClr val="bg1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648200" y="3380583"/>
              <a:ext cx="3721100" cy="415925"/>
            </a:xfrm>
            <a:custGeom>
              <a:avLst/>
              <a:gdLst>
                <a:gd name="T0" fmla="*/ 2273 w 2344"/>
                <a:gd name="T1" fmla="*/ 189 h 262"/>
                <a:gd name="T2" fmla="*/ 2153 w 2344"/>
                <a:gd name="T3" fmla="*/ 189 h 262"/>
                <a:gd name="T4" fmla="*/ 2035 w 2344"/>
                <a:gd name="T5" fmla="*/ 172 h 262"/>
                <a:gd name="T6" fmla="*/ 1998 w 2344"/>
                <a:gd name="T7" fmla="*/ 177 h 262"/>
                <a:gd name="T8" fmla="*/ 1939 w 2344"/>
                <a:gd name="T9" fmla="*/ 165 h 262"/>
                <a:gd name="T10" fmla="*/ 1844 w 2344"/>
                <a:gd name="T11" fmla="*/ 172 h 262"/>
                <a:gd name="T12" fmla="*/ 1797 w 2344"/>
                <a:gd name="T13" fmla="*/ 177 h 262"/>
                <a:gd name="T14" fmla="*/ 1736 w 2344"/>
                <a:gd name="T15" fmla="*/ 165 h 262"/>
                <a:gd name="T16" fmla="*/ 1677 w 2344"/>
                <a:gd name="T17" fmla="*/ 142 h 262"/>
                <a:gd name="T18" fmla="*/ 1630 w 2344"/>
                <a:gd name="T19" fmla="*/ 154 h 262"/>
                <a:gd name="T20" fmla="*/ 1607 w 2344"/>
                <a:gd name="T21" fmla="*/ 154 h 262"/>
                <a:gd name="T22" fmla="*/ 1510 w 2344"/>
                <a:gd name="T23" fmla="*/ 165 h 262"/>
                <a:gd name="T24" fmla="*/ 1439 w 2344"/>
                <a:gd name="T25" fmla="*/ 154 h 262"/>
                <a:gd name="T26" fmla="*/ 1404 w 2344"/>
                <a:gd name="T27" fmla="*/ 165 h 262"/>
                <a:gd name="T28" fmla="*/ 1350 w 2344"/>
                <a:gd name="T29" fmla="*/ 154 h 262"/>
                <a:gd name="T30" fmla="*/ 1298 w 2344"/>
                <a:gd name="T31" fmla="*/ 142 h 262"/>
                <a:gd name="T32" fmla="*/ 1274 w 2344"/>
                <a:gd name="T33" fmla="*/ 165 h 262"/>
                <a:gd name="T34" fmla="*/ 1201 w 2344"/>
                <a:gd name="T35" fmla="*/ 154 h 262"/>
                <a:gd name="T36" fmla="*/ 1142 w 2344"/>
                <a:gd name="T37" fmla="*/ 165 h 262"/>
                <a:gd name="T38" fmla="*/ 1107 w 2344"/>
                <a:gd name="T39" fmla="*/ 165 h 262"/>
                <a:gd name="T40" fmla="*/ 1048 w 2344"/>
                <a:gd name="T41" fmla="*/ 149 h 262"/>
                <a:gd name="T42" fmla="*/ 940 w 2344"/>
                <a:gd name="T43" fmla="*/ 106 h 262"/>
                <a:gd name="T44" fmla="*/ 928 w 2344"/>
                <a:gd name="T45" fmla="*/ 95 h 262"/>
                <a:gd name="T46" fmla="*/ 869 w 2344"/>
                <a:gd name="T47" fmla="*/ 73 h 262"/>
                <a:gd name="T48" fmla="*/ 822 w 2344"/>
                <a:gd name="T49" fmla="*/ 59 h 262"/>
                <a:gd name="T50" fmla="*/ 784 w 2344"/>
                <a:gd name="T51" fmla="*/ 59 h 262"/>
                <a:gd name="T52" fmla="*/ 737 w 2344"/>
                <a:gd name="T53" fmla="*/ 69 h 262"/>
                <a:gd name="T54" fmla="*/ 690 w 2344"/>
                <a:gd name="T55" fmla="*/ 71 h 262"/>
                <a:gd name="T56" fmla="*/ 596 w 2344"/>
                <a:gd name="T57" fmla="*/ 71 h 262"/>
                <a:gd name="T58" fmla="*/ 560 w 2344"/>
                <a:gd name="T59" fmla="*/ 69 h 262"/>
                <a:gd name="T60" fmla="*/ 537 w 2344"/>
                <a:gd name="T61" fmla="*/ 83 h 262"/>
                <a:gd name="T62" fmla="*/ 499 w 2344"/>
                <a:gd name="T63" fmla="*/ 83 h 262"/>
                <a:gd name="T64" fmla="*/ 440 w 2344"/>
                <a:gd name="T65" fmla="*/ 3 h 262"/>
                <a:gd name="T66" fmla="*/ 428 w 2344"/>
                <a:gd name="T67" fmla="*/ 64 h 262"/>
                <a:gd name="T68" fmla="*/ 386 w 2344"/>
                <a:gd name="T69" fmla="*/ 106 h 262"/>
                <a:gd name="T70" fmla="*/ 381 w 2344"/>
                <a:gd name="T71" fmla="*/ 36 h 262"/>
                <a:gd name="T72" fmla="*/ 358 w 2344"/>
                <a:gd name="T73" fmla="*/ 12 h 262"/>
                <a:gd name="T74" fmla="*/ 292 w 2344"/>
                <a:gd name="T75" fmla="*/ 24 h 262"/>
                <a:gd name="T76" fmla="*/ 249 w 2344"/>
                <a:gd name="T77" fmla="*/ 154 h 262"/>
                <a:gd name="T78" fmla="*/ 238 w 2344"/>
                <a:gd name="T79" fmla="*/ 106 h 262"/>
                <a:gd name="T80" fmla="*/ 167 w 2344"/>
                <a:gd name="T81" fmla="*/ 106 h 262"/>
                <a:gd name="T82" fmla="*/ 148 w 2344"/>
                <a:gd name="T83" fmla="*/ 130 h 262"/>
                <a:gd name="T84" fmla="*/ 120 w 2344"/>
                <a:gd name="T85" fmla="*/ 130 h 262"/>
                <a:gd name="T86" fmla="*/ 108 w 2344"/>
                <a:gd name="T87" fmla="*/ 71 h 262"/>
                <a:gd name="T88" fmla="*/ 73 w 2344"/>
                <a:gd name="T89" fmla="*/ 48 h 262"/>
                <a:gd name="T90" fmla="*/ 0 w 2344"/>
                <a:gd name="T91" fmla="*/ 12 h 262"/>
                <a:gd name="T92" fmla="*/ 108 w 2344"/>
                <a:gd name="T93" fmla="*/ 262 h 262"/>
                <a:gd name="T94" fmla="*/ 238 w 2344"/>
                <a:gd name="T95" fmla="*/ 262 h 262"/>
                <a:gd name="T96" fmla="*/ 381 w 2344"/>
                <a:gd name="T97" fmla="*/ 262 h 262"/>
                <a:gd name="T98" fmla="*/ 511 w 2344"/>
                <a:gd name="T99" fmla="*/ 262 h 262"/>
                <a:gd name="T100" fmla="*/ 655 w 2344"/>
                <a:gd name="T101" fmla="*/ 262 h 262"/>
                <a:gd name="T102" fmla="*/ 787 w 2344"/>
                <a:gd name="T103" fmla="*/ 262 h 262"/>
                <a:gd name="T104" fmla="*/ 928 w 2344"/>
                <a:gd name="T105" fmla="*/ 262 h 262"/>
                <a:gd name="T106" fmla="*/ 1060 w 2344"/>
                <a:gd name="T107" fmla="*/ 262 h 262"/>
                <a:gd name="T108" fmla="*/ 1201 w 2344"/>
                <a:gd name="T109" fmla="*/ 262 h 262"/>
                <a:gd name="T110" fmla="*/ 1333 w 2344"/>
                <a:gd name="T111" fmla="*/ 262 h 262"/>
                <a:gd name="T112" fmla="*/ 1475 w 2344"/>
                <a:gd name="T113" fmla="*/ 262 h 262"/>
                <a:gd name="T114" fmla="*/ 1607 w 2344"/>
                <a:gd name="T115" fmla="*/ 262 h 262"/>
                <a:gd name="T116" fmla="*/ 1748 w 2344"/>
                <a:gd name="T117" fmla="*/ 262 h 262"/>
                <a:gd name="T118" fmla="*/ 1880 w 2344"/>
                <a:gd name="T119" fmla="*/ 262 h 262"/>
                <a:gd name="T120" fmla="*/ 2024 w 2344"/>
                <a:gd name="T121" fmla="*/ 262 h 262"/>
                <a:gd name="T122" fmla="*/ 2153 w 2344"/>
                <a:gd name="T123" fmla="*/ 262 h 262"/>
                <a:gd name="T124" fmla="*/ 2320 w 2344"/>
                <a:gd name="T125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44" h="262">
                  <a:moveTo>
                    <a:pt x="2320" y="201"/>
                  </a:moveTo>
                  <a:lnTo>
                    <a:pt x="2320" y="201"/>
                  </a:lnTo>
                  <a:lnTo>
                    <a:pt x="2320" y="196"/>
                  </a:lnTo>
                  <a:lnTo>
                    <a:pt x="2320" y="191"/>
                  </a:lnTo>
                  <a:lnTo>
                    <a:pt x="2320" y="189"/>
                  </a:lnTo>
                  <a:lnTo>
                    <a:pt x="2320" y="189"/>
                  </a:lnTo>
                  <a:lnTo>
                    <a:pt x="2313" y="189"/>
                  </a:lnTo>
                  <a:lnTo>
                    <a:pt x="2309" y="189"/>
                  </a:lnTo>
                  <a:lnTo>
                    <a:pt x="2309" y="189"/>
                  </a:lnTo>
                  <a:lnTo>
                    <a:pt x="2297" y="189"/>
                  </a:lnTo>
                  <a:lnTo>
                    <a:pt x="2297" y="189"/>
                  </a:lnTo>
                  <a:lnTo>
                    <a:pt x="2285" y="189"/>
                  </a:lnTo>
                  <a:lnTo>
                    <a:pt x="2285" y="189"/>
                  </a:lnTo>
                  <a:lnTo>
                    <a:pt x="2273" y="189"/>
                  </a:lnTo>
                  <a:lnTo>
                    <a:pt x="2273" y="189"/>
                  </a:lnTo>
                  <a:lnTo>
                    <a:pt x="2262" y="189"/>
                  </a:lnTo>
                  <a:lnTo>
                    <a:pt x="2262" y="189"/>
                  </a:lnTo>
                  <a:lnTo>
                    <a:pt x="2250" y="189"/>
                  </a:lnTo>
                  <a:lnTo>
                    <a:pt x="2250" y="189"/>
                  </a:lnTo>
                  <a:lnTo>
                    <a:pt x="2224" y="189"/>
                  </a:lnTo>
                  <a:lnTo>
                    <a:pt x="2224" y="189"/>
                  </a:lnTo>
                  <a:lnTo>
                    <a:pt x="2200" y="189"/>
                  </a:lnTo>
                  <a:lnTo>
                    <a:pt x="2200" y="189"/>
                  </a:lnTo>
                  <a:lnTo>
                    <a:pt x="2188" y="189"/>
                  </a:lnTo>
                  <a:lnTo>
                    <a:pt x="2188" y="189"/>
                  </a:lnTo>
                  <a:lnTo>
                    <a:pt x="2165" y="189"/>
                  </a:lnTo>
                  <a:lnTo>
                    <a:pt x="2165" y="189"/>
                  </a:lnTo>
                  <a:lnTo>
                    <a:pt x="2153" y="189"/>
                  </a:lnTo>
                  <a:lnTo>
                    <a:pt x="2153" y="189"/>
                  </a:lnTo>
                  <a:lnTo>
                    <a:pt x="2130" y="189"/>
                  </a:lnTo>
                  <a:lnTo>
                    <a:pt x="2130" y="189"/>
                  </a:lnTo>
                  <a:lnTo>
                    <a:pt x="2118" y="189"/>
                  </a:lnTo>
                  <a:lnTo>
                    <a:pt x="2118" y="189"/>
                  </a:lnTo>
                  <a:lnTo>
                    <a:pt x="2094" y="189"/>
                  </a:lnTo>
                  <a:lnTo>
                    <a:pt x="2094" y="189"/>
                  </a:lnTo>
                  <a:lnTo>
                    <a:pt x="2047" y="189"/>
                  </a:lnTo>
                  <a:lnTo>
                    <a:pt x="2047" y="189"/>
                  </a:lnTo>
                  <a:lnTo>
                    <a:pt x="2035" y="189"/>
                  </a:lnTo>
                  <a:lnTo>
                    <a:pt x="2035" y="189"/>
                  </a:lnTo>
                  <a:lnTo>
                    <a:pt x="2035" y="177"/>
                  </a:lnTo>
                  <a:lnTo>
                    <a:pt x="2035" y="177"/>
                  </a:lnTo>
                  <a:lnTo>
                    <a:pt x="2035" y="172"/>
                  </a:lnTo>
                  <a:lnTo>
                    <a:pt x="2035" y="165"/>
                  </a:lnTo>
                  <a:lnTo>
                    <a:pt x="2035" y="165"/>
                  </a:lnTo>
                  <a:lnTo>
                    <a:pt x="2028" y="165"/>
                  </a:lnTo>
                  <a:lnTo>
                    <a:pt x="2024" y="165"/>
                  </a:lnTo>
                  <a:lnTo>
                    <a:pt x="2024" y="165"/>
                  </a:lnTo>
                  <a:lnTo>
                    <a:pt x="2012" y="165"/>
                  </a:lnTo>
                  <a:lnTo>
                    <a:pt x="2012" y="165"/>
                  </a:lnTo>
                  <a:lnTo>
                    <a:pt x="2005" y="165"/>
                  </a:lnTo>
                  <a:lnTo>
                    <a:pt x="1998" y="165"/>
                  </a:lnTo>
                  <a:lnTo>
                    <a:pt x="1998" y="165"/>
                  </a:lnTo>
                  <a:lnTo>
                    <a:pt x="1998" y="168"/>
                  </a:lnTo>
                  <a:lnTo>
                    <a:pt x="1998" y="172"/>
                  </a:lnTo>
                  <a:lnTo>
                    <a:pt x="1998" y="177"/>
                  </a:lnTo>
                  <a:lnTo>
                    <a:pt x="1998" y="177"/>
                  </a:lnTo>
                  <a:lnTo>
                    <a:pt x="1993" y="180"/>
                  </a:lnTo>
                  <a:lnTo>
                    <a:pt x="1986" y="177"/>
                  </a:lnTo>
                  <a:lnTo>
                    <a:pt x="1986" y="177"/>
                  </a:lnTo>
                  <a:lnTo>
                    <a:pt x="1986" y="165"/>
                  </a:lnTo>
                  <a:lnTo>
                    <a:pt x="1986" y="165"/>
                  </a:lnTo>
                  <a:lnTo>
                    <a:pt x="1981" y="165"/>
                  </a:lnTo>
                  <a:lnTo>
                    <a:pt x="1974" y="165"/>
                  </a:lnTo>
                  <a:lnTo>
                    <a:pt x="1974" y="165"/>
                  </a:lnTo>
                  <a:lnTo>
                    <a:pt x="1962" y="165"/>
                  </a:lnTo>
                  <a:lnTo>
                    <a:pt x="1962" y="165"/>
                  </a:lnTo>
                  <a:lnTo>
                    <a:pt x="1951" y="165"/>
                  </a:lnTo>
                  <a:lnTo>
                    <a:pt x="1951" y="165"/>
                  </a:lnTo>
                  <a:lnTo>
                    <a:pt x="1939" y="165"/>
                  </a:lnTo>
                  <a:lnTo>
                    <a:pt x="1939" y="165"/>
                  </a:lnTo>
                  <a:lnTo>
                    <a:pt x="1934" y="165"/>
                  </a:lnTo>
                  <a:lnTo>
                    <a:pt x="1927" y="165"/>
                  </a:lnTo>
                  <a:lnTo>
                    <a:pt x="1927" y="165"/>
                  </a:lnTo>
                  <a:lnTo>
                    <a:pt x="1927" y="168"/>
                  </a:lnTo>
                  <a:lnTo>
                    <a:pt x="1927" y="172"/>
                  </a:lnTo>
                  <a:lnTo>
                    <a:pt x="1927" y="177"/>
                  </a:lnTo>
                  <a:lnTo>
                    <a:pt x="1927" y="177"/>
                  </a:lnTo>
                  <a:lnTo>
                    <a:pt x="1915" y="177"/>
                  </a:lnTo>
                  <a:lnTo>
                    <a:pt x="1915" y="177"/>
                  </a:lnTo>
                  <a:lnTo>
                    <a:pt x="1892" y="177"/>
                  </a:lnTo>
                  <a:lnTo>
                    <a:pt x="1892" y="177"/>
                  </a:lnTo>
                  <a:lnTo>
                    <a:pt x="1844" y="177"/>
                  </a:lnTo>
                  <a:lnTo>
                    <a:pt x="1844" y="177"/>
                  </a:lnTo>
                  <a:lnTo>
                    <a:pt x="1844" y="172"/>
                  </a:lnTo>
                  <a:lnTo>
                    <a:pt x="1844" y="168"/>
                  </a:lnTo>
                  <a:lnTo>
                    <a:pt x="1844" y="165"/>
                  </a:lnTo>
                  <a:lnTo>
                    <a:pt x="1844" y="165"/>
                  </a:lnTo>
                  <a:lnTo>
                    <a:pt x="1837" y="165"/>
                  </a:lnTo>
                  <a:lnTo>
                    <a:pt x="1833" y="165"/>
                  </a:lnTo>
                  <a:lnTo>
                    <a:pt x="1833" y="165"/>
                  </a:lnTo>
                  <a:lnTo>
                    <a:pt x="1821" y="165"/>
                  </a:lnTo>
                  <a:lnTo>
                    <a:pt x="1821" y="165"/>
                  </a:lnTo>
                  <a:lnTo>
                    <a:pt x="1821" y="177"/>
                  </a:lnTo>
                  <a:lnTo>
                    <a:pt x="1821" y="177"/>
                  </a:lnTo>
                  <a:lnTo>
                    <a:pt x="1809" y="177"/>
                  </a:lnTo>
                  <a:lnTo>
                    <a:pt x="1809" y="177"/>
                  </a:lnTo>
                  <a:lnTo>
                    <a:pt x="1797" y="177"/>
                  </a:lnTo>
                  <a:lnTo>
                    <a:pt x="1797" y="177"/>
                  </a:lnTo>
                  <a:lnTo>
                    <a:pt x="1774" y="177"/>
                  </a:lnTo>
                  <a:lnTo>
                    <a:pt x="1774" y="177"/>
                  </a:lnTo>
                  <a:lnTo>
                    <a:pt x="1774" y="172"/>
                  </a:lnTo>
                  <a:lnTo>
                    <a:pt x="1774" y="165"/>
                  </a:lnTo>
                  <a:lnTo>
                    <a:pt x="1774" y="165"/>
                  </a:lnTo>
                  <a:lnTo>
                    <a:pt x="1767" y="165"/>
                  </a:lnTo>
                  <a:lnTo>
                    <a:pt x="1762" y="165"/>
                  </a:lnTo>
                  <a:lnTo>
                    <a:pt x="1762" y="165"/>
                  </a:lnTo>
                  <a:lnTo>
                    <a:pt x="1755" y="168"/>
                  </a:lnTo>
                  <a:lnTo>
                    <a:pt x="1748" y="165"/>
                  </a:lnTo>
                  <a:lnTo>
                    <a:pt x="1748" y="165"/>
                  </a:lnTo>
                  <a:lnTo>
                    <a:pt x="1743" y="165"/>
                  </a:lnTo>
                  <a:lnTo>
                    <a:pt x="1736" y="165"/>
                  </a:lnTo>
                  <a:lnTo>
                    <a:pt x="1736" y="165"/>
                  </a:lnTo>
                  <a:lnTo>
                    <a:pt x="1731" y="168"/>
                  </a:lnTo>
                  <a:lnTo>
                    <a:pt x="1724" y="165"/>
                  </a:lnTo>
                  <a:lnTo>
                    <a:pt x="1724" y="165"/>
                  </a:lnTo>
                  <a:lnTo>
                    <a:pt x="1724" y="161"/>
                  </a:lnTo>
                  <a:lnTo>
                    <a:pt x="1724" y="154"/>
                  </a:lnTo>
                  <a:lnTo>
                    <a:pt x="1724" y="154"/>
                  </a:lnTo>
                  <a:lnTo>
                    <a:pt x="1724" y="142"/>
                  </a:lnTo>
                  <a:lnTo>
                    <a:pt x="1724" y="142"/>
                  </a:lnTo>
                  <a:lnTo>
                    <a:pt x="1701" y="142"/>
                  </a:lnTo>
                  <a:lnTo>
                    <a:pt x="1701" y="142"/>
                  </a:lnTo>
                  <a:lnTo>
                    <a:pt x="1689" y="142"/>
                  </a:lnTo>
                  <a:lnTo>
                    <a:pt x="1689" y="142"/>
                  </a:lnTo>
                  <a:lnTo>
                    <a:pt x="1684" y="142"/>
                  </a:lnTo>
                  <a:lnTo>
                    <a:pt x="1677" y="142"/>
                  </a:lnTo>
                  <a:lnTo>
                    <a:pt x="1677" y="142"/>
                  </a:lnTo>
                  <a:lnTo>
                    <a:pt x="1677" y="149"/>
                  </a:lnTo>
                  <a:lnTo>
                    <a:pt x="1677" y="154"/>
                  </a:lnTo>
                  <a:lnTo>
                    <a:pt x="1677" y="154"/>
                  </a:lnTo>
                  <a:lnTo>
                    <a:pt x="1672" y="154"/>
                  </a:lnTo>
                  <a:lnTo>
                    <a:pt x="1665" y="154"/>
                  </a:lnTo>
                  <a:lnTo>
                    <a:pt x="1665" y="154"/>
                  </a:lnTo>
                  <a:lnTo>
                    <a:pt x="1654" y="154"/>
                  </a:lnTo>
                  <a:lnTo>
                    <a:pt x="1654" y="154"/>
                  </a:lnTo>
                  <a:lnTo>
                    <a:pt x="1642" y="154"/>
                  </a:lnTo>
                  <a:lnTo>
                    <a:pt x="1642" y="154"/>
                  </a:lnTo>
                  <a:lnTo>
                    <a:pt x="1635" y="154"/>
                  </a:lnTo>
                  <a:lnTo>
                    <a:pt x="1630" y="154"/>
                  </a:lnTo>
                  <a:lnTo>
                    <a:pt x="1630" y="154"/>
                  </a:lnTo>
                  <a:lnTo>
                    <a:pt x="1630" y="151"/>
                  </a:lnTo>
                  <a:lnTo>
                    <a:pt x="1630" y="149"/>
                  </a:lnTo>
                  <a:lnTo>
                    <a:pt x="1630" y="142"/>
                  </a:lnTo>
                  <a:lnTo>
                    <a:pt x="1630" y="142"/>
                  </a:lnTo>
                  <a:lnTo>
                    <a:pt x="1628" y="142"/>
                  </a:lnTo>
                  <a:lnTo>
                    <a:pt x="1625" y="142"/>
                  </a:lnTo>
                  <a:lnTo>
                    <a:pt x="1618" y="142"/>
                  </a:lnTo>
                  <a:lnTo>
                    <a:pt x="1618" y="142"/>
                  </a:lnTo>
                  <a:lnTo>
                    <a:pt x="1618" y="149"/>
                  </a:lnTo>
                  <a:lnTo>
                    <a:pt x="1618" y="154"/>
                  </a:lnTo>
                  <a:lnTo>
                    <a:pt x="1618" y="154"/>
                  </a:lnTo>
                  <a:lnTo>
                    <a:pt x="1614" y="154"/>
                  </a:lnTo>
                  <a:lnTo>
                    <a:pt x="1607" y="154"/>
                  </a:lnTo>
                  <a:lnTo>
                    <a:pt x="1607" y="154"/>
                  </a:lnTo>
                  <a:lnTo>
                    <a:pt x="1595" y="154"/>
                  </a:lnTo>
                  <a:lnTo>
                    <a:pt x="1595" y="154"/>
                  </a:lnTo>
                  <a:lnTo>
                    <a:pt x="1583" y="154"/>
                  </a:lnTo>
                  <a:lnTo>
                    <a:pt x="1583" y="154"/>
                  </a:lnTo>
                  <a:lnTo>
                    <a:pt x="1571" y="154"/>
                  </a:lnTo>
                  <a:lnTo>
                    <a:pt x="1571" y="154"/>
                  </a:lnTo>
                  <a:lnTo>
                    <a:pt x="1564" y="154"/>
                  </a:lnTo>
                  <a:lnTo>
                    <a:pt x="1559" y="154"/>
                  </a:lnTo>
                  <a:lnTo>
                    <a:pt x="1559" y="154"/>
                  </a:lnTo>
                  <a:lnTo>
                    <a:pt x="1557" y="156"/>
                  </a:lnTo>
                  <a:lnTo>
                    <a:pt x="1559" y="161"/>
                  </a:lnTo>
                  <a:lnTo>
                    <a:pt x="1559" y="165"/>
                  </a:lnTo>
                  <a:lnTo>
                    <a:pt x="1559" y="165"/>
                  </a:lnTo>
                  <a:lnTo>
                    <a:pt x="1510" y="165"/>
                  </a:lnTo>
                  <a:lnTo>
                    <a:pt x="1510" y="165"/>
                  </a:lnTo>
                  <a:lnTo>
                    <a:pt x="1498" y="165"/>
                  </a:lnTo>
                  <a:lnTo>
                    <a:pt x="1498" y="165"/>
                  </a:lnTo>
                  <a:lnTo>
                    <a:pt x="1475" y="165"/>
                  </a:lnTo>
                  <a:lnTo>
                    <a:pt x="1475" y="165"/>
                  </a:lnTo>
                  <a:lnTo>
                    <a:pt x="1475" y="161"/>
                  </a:lnTo>
                  <a:lnTo>
                    <a:pt x="1477" y="156"/>
                  </a:lnTo>
                  <a:lnTo>
                    <a:pt x="1475" y="154"/>
                  </a:lnTo>
                  <a:lnTo>
                    <a:pt x="1475" y="154"/>
                  </a:lnTo>
                  <a:lnTo>
                    <a:pt x="1463" y="154"/>
                  </a:lnTo>
                  <a:lnTo>
                    <a:pt x="1463" y="154"/>
                  </a:lnTo>
                  <a:lnTo>
                    <a:pt x="1451" y="154"/>
                  </a:lnTo>
                  <a:lnTo>
                    <a:pt x="1451" y="154"/>
                  </a:lnTo>
                  <a:lnTo>
                    <a:pt x="1439" y="154"/>
                  </a:lnTo>
                  <a:lnTo>
                    <a:pt x="1439" y="154"/>
                  </a:lnTo>
                  <a:lnTo>
                    <a:pt x="1427" y="154"/>
                  </a:lnTo>
                  <a:lnTo>
                    <a:pt x="1427" y="154"/>
                  </a:lnTo>
                  <a:lnTo>
                    <a:pt x="1423" y="154"/>
                  </a:lnTo>
                  <a:lnTo>
                    <a:pt x="1416" y="154"/>
                  </a:lnTo>
                  <a:lnTo>
                    <a:pt x="1416" y="154"/>
                  </a:lnTo>
                  <a:lnTo>
                    <a:pt x="1416" y="156"/>
                  </a:lnTo>
                  <a:lnTo>
                    <a:pt x="1416" y="161"/>
                  </a:lnTo>
                  <a:lnTo>
                    <a:pt x="1416" y="165"/>
                  </a:lnTo>
                  <a:lnTo>
                    <a:pt x="1416" y="165"/>
                  </a:lnTo>
                  <a:lnTo>
                    <a:pt x="1413" y="168"/>
                  </a:lnTo>
                  <a:lnTo>
                    <a:pt x="1411" y="165"/>
                  </a:lnTo>
                  <a:lnTo>
                    <a:pt x="1404" y="165"/>
                  </a:lnTo>
                  <a:lnTo>
                    <a:pt x="1404" y="165"/>
                  </a:lnTo>
                  <a:lnTo>
                    <a:pt x="1404" y="161"/>
                  </a:lnTo>
                  <a:lnTo>
                    <a:pt x="1404" y="156"/>
                  </a:lnTo>
                  <a:lnTo>
                    <a:pt x="1404" y="154"/>
                  </a:lnTo>
                  <a:lnTo>
                    <a:pt x="1404" y="154"/>
                  </a:lnTo>
                  <a:lnTo>
                    <a:pt x="1399" y="154"/>
                  </a:lnTo>
                  <a:lnTo>
                    <a:pt x="1392" y="154"/>
                  </a:lnTo>
                  <a:lnTo>
                    <a:pt x="1392" y="154"/>
                  </a:lnTo>
                  <a:lnTo>
                    <a:pt x="1380" y="154"/>
                  </a:lnTo>
                  <a:lnTo>
                    <a:pt x="1380" y="154"/>
                  </a:lnTo>
                  <a:lnTo>
                    <a:pt x="1369" y="154"/>
                  </a:lnTo>
                  <a:lnTo>
                    <a:pt x="1369" y="154"/>
                  </a:lnTo>
                  <a:lnTo>
                    <a:pt x="1357" y="154"/>
                  </a:lnTo>
                  <a:lnTo>
                    <a:pt x="1357" y="154"/>
                  </a:lnTo>
                  <a:lnTo>
                    <a:pt x="1350" y="154"/>
                  </a:lnTo>
                  <a:lnTo>
                    <a:pt x="1345" y="154"/>
                  </a:lnTo>
                  <a:lnTo>
                    <a:pt x="1345" y="154"/>
                  </a:lnTo>
                  <a:lnTo>
                    <a:pt x="1345" y="149"/>
                  </a:lnTo>
                  <a:lnTo>
                    <a:pt x="1345" y="142"/>
                  </a:lnTo>
                  <a:lnTo>
                    <a:pt x="1345" y="142"/>
                  </a:lnTo>
                  <a:lnTo>
                    <a:pt x="1343" y="142"/>
                  </a:lnTo>
                  <a:lnTo>
                    <a:pt x="1338" y="142"/>
                  </a:lnTo>
                  <a:lnTo>
                    <a:pt x="1333" y="142"/>
                  </a:lnTo>
                  <a:lnTo>
                    <a:pt x="1333" y="142"/>
                  </a:lnTo>
                  <a:lnTo>
                    <a:pt x="1310" y="142"/>
                  </a:lnTo>
                  <a:lnTo>
                    <a:pt x="1310" y="142"/>
                  </a:lnTo>
                  <a:lnTo>
                    <a:pt x="1303" y="142"/>
                  </a:lnTo>
                  <a:lnTo>
                    <a:pt x="1300" y="142"/>
                  </a:lnTo>
                  <a:lnTo>
                    <a:pt x="1298" y="142"/>
                  </a:lnTo>
                  <a:lnTo>
                    <a:pt x="1298" y="142"/>
                  </a:lnTo>
                  <a:lnTo>
                    <a:pt x="1298" y="149"/>
                  </a:lnTo>
                  <a:lnTo>
                    <a:pt x="1298" y="154"/>
                  </a:lnTo>
                  <a:lnTo>
                    <a:pt x="1298" y="154"/>
                  </a:lnTo>
                  <a:lnTo>
                    <a:pt x="1291" y="154"/>
                  </a:lnTo>
                  <a:lnTo>
                    <a:pt x="1286" y="154"/>
                  </a:lnTo>
                  <a:lnTo>
                    <a:pt x="1286" y="154"/>
                  </a:lnTo>
                  <a:lnTo>
                    <a:pt x="1279" y="154"/>
                  </a:lnTo>
                  <a:lnTo>
                    <a:pt x="1274" y="154"/>
                  </a:lnTo>
                  <a:lnTo>
                    <a:pt x="1274" y="154"/>
                  </a:lnTo>
                  <a:lnTo>
                    <a:pt x="1272" y="156"/>
                  </a:lnTo>
                  <a:lnTo>
                    <a:pt x="1272" y="161"/>
                  </a:lnTo>
                  <a:lnTo>
                    <a:pt x="1274" y="165"/>
                  </a:lnTo>
                  <a:lnTo>
                    <a:pt x="1274" y="165"/>
                  </a:lnTo>
                  <a:lnTo>
                    <a:pt x="1248" y="165"/>
                  </a:lnTo>
                  <a:lnTo>
                    <a:pt x="1248" y="165"/>
                  </a:lnTo>
                  <a:lnTo>
                    <a:pt x="1225" y="165"/>
                  </a:lnTo>
                  <a:lnTo>
                    <a:pt x="1225" y="165"/>
                  </a:lnTo>
                  <a:lnTo>
                    <a:pt x="1225" y="161"/>
                  </a:lnTo>
                  <a:lnTo>
                    <a:pt x="1227" y="156"/>
                  </a:lnTo>
                  <a:lnTo>
                    <a:pt x="1225" y="154"/>
                  </a:lnTo>
                  <a:lnTo>
                    <a:pt x="1225" y="154"/>
                  </a:lnTo>
                  <a:lnTo>
                    <a:pt x="1220" y="154"/>
                  </a:lnTo>
                  <a:lnTo>
                    <a:pt x="1213" y="154"/>
                  </a:lnTo>
                  <a:lnTo>
                    <a:pt x="1213" y="154"/>
                  </a:lnTo>
                  <a:lnTo>
                    <a:pt x="1208" y="154"/>
                  </a:lnTo>
                  <a:lnTo>
                    <a:pt x="1201" y="154"/>
                  </a:lnTo>
                  <a:lnTo>
                    <a:pt x="1201" y="154"/>
                  </a:lnTo>
                  <a:lnTo>
                    <a:pt x="1201" y="161"/>
                  </a:lnTo>
                  <a:lnTo>
                    <a:pt x="1201" y="165"/>
                  </a:lnTo>
                  <a:lnTo>
                    <a:pt x="1201" y="165"/>
                  </a:lnTo>
                  <a:lnTo>
                    <a:pt x="1199" y="168"/>
                  </a:lnTo>
                  <a:lnTo>
                    <a:pt x="1197" y="165"/>
                  </a:lnTo>
                  <a:lnTo>
                    <a:pt x="1189" y="165"/>
                  </a:lnTo>
                  <a:lnTo>
                    <a:pt x="1189" y="165"/>
                  </a:lnTo>
                  <a:lnTo>
                    <a:pt x="1178" y="165"/>
                  </a:lnTo>
                  <a:lnTo>
                    <a:pt x="1178" y="165"/>
                  </a:lnTo>
                  <a:lnTo>
                    <a:pt x="1154" y="165"/>
                  </a:lnTo>
                  <a:lnTo>
                    <a:pt x="1154" y="165"/>
                  </a:lnTo>
                  <a:lnTo>
                    <a:pt x="1147" y="165"/>
                  </a:lnTo>
                  <a:lnTo>
                    <a:pt x="1142" y="165"/>
                  </a:lnTo>
                  <a:lnTo>
                    <a:pt x="1142" y="165"/>
                  </a:lnTo>
                  <a:lnTo>
                    <a:pt x="1142" y="163"/>
                  </a:lnTo>
                  <a:lnTo>
                    <a:pt x="1142" y="161"/>
                  </a:lnTo>
                  <a:lnTo>
                    <a:pt x="1142" y="154"/>
                  </a:lnTo>
                  <a:lnTo>
                    <a:pt x="1142" y="154"/>
                  </a:lnTo>
                  <a:lnTo>
                    <a:pt x="1138" y="154"/>
                  </a:lnTo>
                  <a:lnTo>
                    <a:pt x="1131" y="154"/>
                  </a:lnTo>
                  <a:lnTo>
                    <a:pt x="1131" y="154"/>
                  </a:lnTo>
                  <a:lnTo>
                    <a:pt x="1131" y="165"/>
                  </a:lnTo>
                  <a:lnTo>
                    <a:pt x="1131" y="165"/>
                  </a:lnTo>
                  <a:lnTo>
                    <a:pt x="1126" y="165"/>
                  </a:lnTo>
                  <a:lnTo>
                    <a:pt x="1119" y="165"/>
                  </a:lnTo>
                  <a:lnTo>
                    <a:pt x="1119" y="165"/>
                  </a:lnTo>
                  <a:lnTo>
                    <a:pt x="1107" y="165"/>
                  </a:lnTo>
                  <a:lnTo>
                    <a:pt x="1107" y="165"/>
                  </a:lnTo>
                  <a:lnTo>
                    <a:pt x="1095" y="165"/>
                  </a:lnTo>
                  <a:lnTo>
                    <a:pt x="1095" y="165"/>
                  </a:lnTo>
                  <a:lnTo>
                    <a:pt x="1072" y="165"/>
                  </a:lnTo>
                  <a:lnTo>
                    <a:pt x="1072" y="165"/>
                  </a:lnTo>
                  <a:lnTo>
                    <a:pt x="1060" y="165"/>
                  </a:lnTo>
                  <a:lnTo>
                    <a:pt x="1060" y="165"/>
                  </a:lnTo>
                  <a:lnTo>
                    <a:pt x="1060" y="161"/>
                  </a:lnTo>
                  <a:lnTo>
                    <a:pt x="1060" y="154"/>
                  </a:lnTo>
                  <a:lnTo>
                    <a:pt x="1060" y="154"/>
                  </a:lnTo>
                  <a:lnTo>
                    <a:pt x="1058" y="154"/>
                  </a:lnTo>
                  <a:lnTo>
                    <a:pt x="1053" y="154"/>
                  </a:lnTo>
                  <a:lnTo>
                    <a:pt x="1048" y="154"/>
                  </a:lnTo>
                  <a:lnTo>
                    <a:pt x="1048" y="154"/>
                  </a:lnTo>
                  <a:lnTo>
                    <a:pt x="1048" y="149"/>
                  </a:lnTo>
                  <a:lnTo>
                    <a:pt x="1048" y="142"/>
                  </a:lnTo>
                  <a:lnTo>
                    <a:pt x="1048" y="142"/>
                  </a:lnTo>
                  <a:lnTo>
                    <a:pt x="1041" y="142"/>
                  </a:lnTo>
                  <a:lnTo>
                    <a:pt x="1036" y="142"/>
                  </a:lnTo>
                  <a:lnTo>
                    <a:pt x="1036" y="142"/>
                  </a:lnTo>
                  <a:lnTo>
                    <a:pt x="1010" y="142"/>
                  </a:lnTo>
                  <a:lnTo>
                    <a:pt x="1010" y="142"/>
                  </a:lnTo>
                  <a:lnTo>
                    <a:pt x="1010" y="130"/>
                  </a:lnTo>
                  <a:lnTo>
                    <a:pt x="1010" y="130"/>
                  </a:lnTo>
                  <a:lnTo>
                    <a:pt x="1010" y="106"/>
                  </a:lnTo>
                  <a:lnTo>
                    <a:pt x="1010" y="106"/>
                  </a:lnTo>
                  <a:lnTo>
                    <a:pt x="987" y="106"/>
                  </a:lnTo>
                  <a:lnTo>
                    <a:pt x="987" y="106"/>
                  </a:lnTo>
                  <a:lnTo>
                    <a:pt x="940" y="106"/>
                  </a:lnTo>
                  <a:lnTo>
                    <a:pt x="940" y="106"/>
                  </a:lnTo>
                  <a:lnTo>
                    <a:pt x="940" y="118"/>
                  </a:lnTo>
                  <a:lnTo>
                    <a:pt x="940" y="118"/>
                  </a:lnTo>
                  <a:lnTo>
                    <a:pt x="940" y="130"/>
                  </a:lnTo>
                  <a:lnTo>
                    <a:pt x="940" y="130"/>
                  </a:lnTo>
                  <a:lnTo>
                    <a:pt x="940" y="137"/>
                  </a:lnTo>
                  <a:lnTo>
                    <a:pt x="940" y="142"/>
                  </a:lnTo>
                  <a:lnTo>
                    <a:pt x="940" y="142"/>
                  </a:lnTo>
                  <a:lnTo>
                    <a:pt x="937" y="144"/>
                  </a:lnTo>
                  <a:lnTo>
                    <a:pt x="935" y="142"/>
                  </a:lnTo>
                  <a:lnTo>
                    <a:pt x="928" y="142"/>
                  </a:lnTo>
                  <a:lnTo>
                    <a:pt x="928" y="142"/>
                  </a:lnTo>
                  <a:lnTo>
                    <a:pt x="928" y="95"/>
                  </a:lnTo>
                  <a:lnTo>
                    <a:pt x="928" y="95"/>
                  </a:lnTo>
                  <a:lnTo>
                    <a:pt x="928" y="71"/>
                  </a:lnTo>
                  <a:lnTo>
                    <a:pt x="928" y="71"/>
                  </a:lnTo>
                  <a:lnTo>
                    <a:pt x="916" y="71"/>
                  </a:lnTo>
                  <a:lnTo>
                    <a:pt x="916" y="71"/>
                  </a:lnTo>
                  <a:lnTo>
                    <a:pt x="904" y="71"/>
                  </a:lnTo>
                  <a:lnTo>
                    <a:pt x="904" y="71"/>
                  </a:lnTo>
                  <a:lnTo>
                    <a:pt x="893" y="71"/>
                  </a:lnTo>
                  <a:lnTo>
                    <a:pt x="893" y="71"/>
                  </a:lnTo>
                  <a:lnTo>
                    <a:pt x="881" y="71"/>
                  </a:lnTo>
                  <a:lnTo>
                    <a:pt x="881" y="71"/>
                  </a:lnTo>
                  <a:lnTo>
                    <a:pt x="874" y="71"/>
                  </a:lnTo>
                  <a:lnTo>
                    <a:pt x="869" y="71"/>
                  </a:lnTo>
                  <a:lnTo>
                    <a:pt x="869" y="71"/>
                  </a:lnTo>
                  <a:lnTo>
                    <a:pt x="869" y="73"/>
                  </a:lnTo>
                  <a:lnTo>
                    <a:pt x="869" y="76"/>
                  </a:lnTo>
                  <a:lnTo>
                    <a:pt x="869" y="83"/>
                  </a:lnTo>
                  <a:lnTo>
                    <a:pt x="869" y="83"/>
                  </a:lnTo>
                  <a:lnTo>
                    <a:pt x="845" y="83"/>
                  </a:lnTo>
                  <a:lnTo>
                    <a:pt x="845" y="83"/>
                  </a:lnTo>
                  <a:lnTo>
                    <a:pt x="834" y="83"/>
                  </a:lnTo>
                  <a:lnTo>
                    <a:pt x="834" y="83"/>
                  </a:lnTo>
                  <a:lnTo>
                    <a:pt x="834" y="71"/>
                  </a:lnTo>
                  <a:lnTo>
                    <a:pt x="834" y="71"/>
                  </a:lnTo>
                  <a:lnTo>
                    <a:pt x="834" y="64"/>
                  </a:lnTo>
                  <a:lnTo>
                    <a:pt x="834" y="59"/>
                  </a:lnTo>
                  <a:lnTo>
                    <a:pt x="834" y="59"/>
                  </a:lnTo>
                  <a:lnTo>
                    <a:pt x="827" y="59"/>
                  </a:lnTo>
                  <a:lnTo>
                    <a:pt x="822" y="59"/>
                  </a:lnTo>
                  <a:lnTo>
                    <a:pt x="822" y="59"/>
                  </a:lnTo>
                  <a:lnTo>
                    <a:pt x="820" y="57"/>
                  </a:lnTo>
                  <a:lnTo>
                    <a:pt x="822" y="52"/>
                  </a:lnTo>
                  <a:lnTo>
                    <a:pt x="822" y="48"/>
                  </a:lnTo>
                  <a:lnTo>
                    <a:pt x="822" y="48"/>
                  </a:lnTo>
                  <a:lnTo>
                    <a:pt x="798" y="48"/>
                  </a:lnTo>
                  <a:lnTo>
                    <a:pt x="798" y="48"/>
                  </a:lnTo>
                  <a:lnTo>
                    <a:pt x="791" y="48"/>
                  </a:lnTo>
                  <a:lnTo>
                    <a:pt x="787" y="48"/>
                  </a:lnTo>
                  <a:lnTo>
                    <a:pt x="787" y="48"/>
                  </a:lnTo>
                  <a:lnTo>
                    <a:pt x="784" y="52"/>
                  </a:lnTo>
                  <a:lnTo>
                    <a:pt x="787" y="59"/>
                  </a:lnTo>
                  <a:lnTo>
                    <a:pt x="787" y="59"/>
                  </a:lnTo>
                  <a:lnTo>
                    <a:pt x="784" y="59"/>
                  </a:lnTo>
                  <a:lnTo>
                    <a:pt x="779" y="59"/>
                  </a:lnTo>
                  <a:lnTo>
                    <a:pt x="772" y="59"/>
                  </a:lnTo>
                  <a:lnTo>
                    <a:pt x="772" y="59"/>
                  </a:lnTo>
                  <a:lnTo>
                    <a:pt x="772" y="64"/>
                  </a:lnTo>
                  <a:lnTo>
                    <a:pt x="772" y="71"/>
                  </a:lnTo>
                  <a:lnTo>
                    <a:pt x="772" y="71"/>
                  </a:lnTo>
                  <a:lnTo>
                    <a:pt x="761" y="71"/>
                  </a:lnTo>
                  <a:lnTo>
                    <a:pt x="761" y="71"/>
                  </a:lnTo>
                  <a:lnTo>
                    <a:pt x="749" y="71"/>
                  </a:lnTo>
                  <a:lnTo>
                    <a:pt x="749" y="71"/>
                  </a:lnTo>
                  <a:lnTo>
                    <a:pt x="744" y="71"/>
                  </a:lnTo>
                  <a:lnTo>
                    <a:pt x="737" y="71"/>
                  </a:lnTo>
                  <a:lnTo>
                    <a:pt x="737" y="71"/>
                  </a:lnTo>
                  <a:lnTo>
                    <a:pt x="737" y="69"/>
                  </a:lnTo>
                  <a:lnTo>
                    <a:pt x="737" y="64"/>
                  </a:lnTo>
                  <a:lnTo>
                    <a:pt x="737" y="59"/>
                  </a:lnTo>
                  <a:lnTo>
                    <a:pt x="737" y="59"/>
                  </a:lnTo>
                  <a:lnTo>
                    <a:pt x="725" y="59"/>
                  </a:lnTo>
                  <a:lnTo>
                    <a:pt x="725" y="59"/>
                  </a:lnTo>
                  <a:lnTo>
                    <a:pt x="702" y="59"/>
                  </a:lnTo>
                  <a:lnTo>
                    <a:pt x="702" y="59"/>
                  </a:lnTo>
                  <a:lnTo>
                    <a:pt x="702" y="64"/>
                  </a:lnTo>
                  <a:lnTo>
                    <a:pt x="702" y="69"/>
                  </a:lnTo>
                  <a:lnTo>
                    <a:pt x="702" y="71"/>
                  </a:lnTo>
                  <a:lnTo>
                    <a:pt x="702" y="71"/>
                  </a:lnTo>
                  <a:lnTo>
                    <a:pt x="697" y="71"/>
                  </a:lnTo>
                  <a:lnTo>
                    <a:pt x="690" y="71"/>
                  </a:lnTo>
                  <a:lnTo>
                    <a:pt x="690" y="71"/>
                  </a:lnTo>
                  <a:lnTo>
                    <a:pt x="685" y="71"/>
                  </a:lnTo>
                  <a:lnTo>
                    <a:pt x="678" y="71"/>
                  </a:lnTo>
                  <a:lnTo>
                    <a:pt x="678" y="71"/>
                  </a:lnTo>
                  <a:lnTo>
                    <a:pt x="666" y="71"/>
                  </a:lnTo>
                  <a:lnTo>
                    <a:pt x="666" y="71"/>
                  </a:lnTo>
                  <a:lnTo>
                    <a:pt x="655" y="71"/>
                  </a:lnTo>
                  <a:lnTo>
                    <a:pt x="655" y="71"/>
                  </a:lnTo>
                  <a:lnTo>
                    <a:pt x="643" y="71"/>
                  </a:lnTo>
                  <a:lnTo>
                    <a:pt x="643" y="71"/>
                  </a:lnTo>
                  <a:lnTo>
                    <a:pt x="619" y="71"/>
                  </a:lnTo>
                  <a:lnTo>
                    <a:pt x="619" y="71"/>
                  </a:lnTo>
                  <a:lnTo>
                    <a:pt x="607" y="71"/>
                  </a:lnTo>
                  <a:lnTo>
                    <a:pt x="607" y="71"/>
                  </a:lnTo>
                  <a:lnTo>
                    <a:pt x="596" y="71"/>
                  </a:lnTo>
                  <a:lnTo>
                    <a:pt x="596" y="71"/>
                  </a:lnTo>
                  <a:lnTo>
                    <a:pt x="589" y="71"/>
                  </a:lnTo>
                  <a:lnTo>
                    <a:pt x="584" y="71"/>
                  </a:lnTo>
                  <a:lnTo>
                    <a:pt x="584" y="71"/>
                  </a:lnTo>
                  <a:lnTo>
                    <a:pt x="584" y="64"/>
                  </a:lnTo>
                  <a:lnTo>
                    <a:pt x="584" y="59"/>
                  </a:lnTo>
                  <a:lnTo>
                    <a:pt x="584" y="59"/>
                  </a:lnTo>
                  <a:lnTo>
                    <a:pt x="577" y="59"/>
                  </a:lnTo>
                  <a:lnTo>
                    <a:pt x="572" y="59"/>
                  </a:lnTo>
                  <a:lnTo>
                    <a:pt x="572" y="59"/>
                  </a:lnTo>
                  <a:lnTo>
                    <a:pt x="560" y="59"/>
                  </a:lnTo>
                  <a:lnTo>
                    <a:pt x="560" y="59"/>
                  </a:lnTo>
                  <a:lnTo>
                    <a:pt x="560" y="64"/>
                  </a:lnTo>
                  <a:lnTo>
                    <a:pt x="560" y="69"/>
                  </a:lnTo>
                  <a:lnTo>
                    <a:pt x="560" y="71"/>
                  </a:lnTo>
                  <a:lnTo>
                    <a:pt x="560" y="71"/>
                  </a:lnTo>
                  <a:lnTo>
                    <a:pt x="558" y="71"/>
                  </a:lnTo>
                  <a:lnTo>
                    <a:pt x="553" y="71"/>
                  </a:lnTo>
                  <a:lnTo>
                    <a:pt x="549" y="71"/>
                  </a:lnTo>
                  <a:lnTo>
                    <a:pt x="549" y="71"/>
                  </a:lnTo>
                  <a:lnTo>
                    <a:pt x="542" y="71"/>
                  </a:lnTo>
                  <a:lnTo>
                    <a:pt x="539" y="71"/>
                  </a:lnTo>
                  <a:lnTo>
                    <a:pt x="537" y="71"/>
                  </a:lnTo>
                  <a:lnTo>
                    <a:pt x="537" y="71"/>
                  </a:lnTo>
                  <a:lnTo>
                    <a:pt x="534" y="73"/>
                  </a:lnTo>
                  <a:lnTo>
                    <a:pt x="534" y="76"/>
                  </a:lnTo>
                  <a:lnTo>
                    <a:pt x="537" y="83"/>
                  </a:lnTo>
                  <a:lnTo>
                    <a:pt x="537" y="83"/>
                  </a:lnTo>
                  <a:lnTo>
                    <a:pt x="523" y="83"/>
                  </a:lnTo>
                  <a:lnTo>
                    <a:pt x="523" y="83"/>
                  </a:lnTo>
                  <a:lnTo>
                    <a:pt x="518" y="83"/>
                  </a:lnTo>
                  <a:lnTo>
                    <a:pt x="511" y="83"/>
                  </a:lnTo>
                  <a:lnTo>
                    <a:pt x="511" y="83"/>
                  </a:lnTo>
                  <a:lnTo>
                    <a:pt x="511" y="88"/>
                  </a:lnTo>
                  <a:lnTo>
                    <a:pt x="511" y="95"/>
                  </a:lnTo>
                  <a:lnTo>
                    <a:pt x="511" y="95"/>
                  </a:lnTo>
                  <a:lnTo>
                    <a:pt x="509" y="95"/>
                  </a:lnTo>
                  <a:lnTo>
                    <a:pt x="506" y="95"/>
                  </a:lnTo>
                  <a:lnTo>
                    <a:pt x="499" y="95"/>
                  </a:lnTo>
                  <a:lnTo>
                    <a:pt x="499" y="95"/>
                  </a:lnTo>
                  <a:lnTo>
                    <a:pt x="499" y="83"/>
                  </a:lnTo>
                  <a:lnTo>
                    <a:pt x="499" y="83"/>
                  </a:lnTo>
                  <a:lnTo>
                    <a:pt x="499" y="36"/>
                  </a:lnTo>
                  <a:lnTo>
                    <a:pt x="499" y="36"/>
                  </a:lnTo>
                  <a:lnTo>
                    <a:pt x="499" y="24"/>
                  </a:lnTo>
                  <a:lnTo>
                    <a:pt x="499" y="24"/>
                  </a:lnTo>
                  <a:lnTo>
                    <a:pt x="499" y="0"/>
                  </a:lnTo>
                  <a:lnTo>
                    <a:pt x="499" y="0"/>
                  </a:lnTo>
                  <a:lnTo>
                    <a:pt x="476" y="0"/>
                  </a:lnTo>
                  <a:lnTo>
                    <a:pt x="476" y="0"/>
                  </a:lnTo>
                  <a:lnTo>
                    <a:pt x="452" y="0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40" y="3"/>
                  </a:lnTo>
                  <a:lnTo>
                    <a:pt x="440" y="5"/>
                  </a:lnTo>
                  <a:lnTo>
                    <a:pt x="440" y="12"/>
                  </a:lnTo>
                  <a:lnTo>
                    <a:pt x="440" y="12"/>
                  </a:lnTo>
                  <a:lnTo>
                    <a:pt x="435" y="12"/>
                  </a:lnTo>
                  <a:lnTo>
                    <a:pt x="428" y="12"/>
                  </a:lnTo>
                  <a:lnTo>
                    <a:pt x="428" y="12"/>
                  </a:lnTo>
                  <a:lnTo>
                    <a:pt x="428" y="17"/>
                  </a:lnTo>
                  <a:lnTo>
                    <a:pt x="428" y="24"/>
                  </a:lnTo>
                  <a:lnTo>
                    <a:pt x="428" y="24"/>
                  </a:lnTo>
                  <a:lnTo>
                    <a:pt x="428" y="48"/>
                  </a:lnTo>
                  <a:lnTo>
                    <a:pt x="428" y="48"/>
                  </a:lnTo>
                  <a:lnTo>
                    <a:pt x="428" y="59"/>
                  </a:lnTo>
                  <a:lnTo>
                    <a:pt x="428" y="59"/>
                  </a:lnTo>
                  <a:lnTo>
                    <a:pt x="428" y="64"/>
                  </a:lnTo>
                  <a:lnTo>
                    <a:pt x="428" y="71"/>
                  </a:lnTo>
                  <a:lnTo>
                    <a:pt x="428" y="71"/>
                  </a:lnTo>
                  <a:lnTo>
                    <a:pt x="424" y="71"/>
                  </a:lnTo>
                  <a:lnTo>
                    <a:pt x="417" y="71"/>
                  </a:lnTo>
                  <a:lnTo>
                    <a:pt x="417" y="71"/>
                  </a:lnTo>
                  <a:lnTo>
                    <a:pt x="417" y="73"/>
                  </a:lnTo>
                  <a:lnTo>
                    <a:pt x="417" y="76"/>
                  </a:lnTo>
                  <a:lnTo>
                    <a:pt x="417" y="83"/>
                  </a:lnTo>
                  <a:lnTo>
                    <a:pt x="417" y="83"/>
                  </a:lnTo>
                  <a:lnTo>
                    <a:pt x="417" y="106"/>
                  </a:lnTo>
                  <a:lnTo>
                    <a:pt x="417" y="106"/>
                  </a:lnTo>
                  <a:lnTo>
                    <a:pt x="393" y="106"/>
                  </a:lnTo>
                  <a:lnTo>
                    <a:pt x="393" y="106"/>
                  </a:lnTo>
                  <a:lnTo>
                    <a:pt x="386" y="106"/>
                  </a:lnTo>
                  <a:lnTo>
                    <a:pt x="384" y="106"/>
                  </a:lnTo>
                  <a:lnTo>
                    <a:pt x="381" y="106"/>
                  </a:lnTo>
                  <a:lnTo>
                    <a:pt x="381" y="106"/>
                  </a:lnTo>
                  <a:lnTo>
                    <a:pt x="381" y="102"/>
                  </a:lnTo>
                  <a:lnTo>
                    <a:pt x="381" y="95"/>
                  </a:lnTo>
                  <a:lnTo>
                    <a:pt x="381" y="95"/>
                  </a:lnTo>
                  <a:lnTo>
                    <a:pt x="381" y="90"/>
                  </a:lnTo>
                  <a:lnTo>
                    <a:pt x="381" y="83"/>
                  </a:lnTo>
                  <a:lnTo>
                    <a:pt x="381" y="83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81" y="48"/>
                  </a:lnTo>
                  <a:lnTo>
                    <a:pt x="381" y="48"/>
                  </a:lnTo>
                  <a:lnTo>
                    <a:pt x="381" y="36"/>
                  </a:lnTo>
                  <a:lnTo>
                    <a:pt x="381" y="36"/>
                  </a:lnTo>
                  <a:lnTo>
                    <a:pt x="381" y="29"/>
                  </a:lnTo>
                  <a:lnTo>
                    <a:pt x="381" y="24"/>
                  </a:lnTo>
                  <a:lnTo>
                    <a:pt x="381" y="24"/>
                  </a:lnTo>
                  <a:lnTo>
                    <a:pt x="379" y="24"/>
                  </a:lnTo>
                  <a:lnTo>
                    <a:pt x="374" y="24"/>
                  </a:lnTo>
                  <a:lnTo>
                    <a:pt x="370" y="24"/>
                  </a:lnTo>
                  <a:lnTo>
                    <a:pt x="370" y="24"/>
                  </a:lnTo>
                  <a:lnTo>
                    <a:pt x="370" y="22"/>
                  </a:lnTo>
                  <a:lnTo>
                    <a:pt x="370" y="17"/>
                  </a:lnTo>
                  <a:lnTo>
                    <a:pt x="370" y="12"/>
                  </a:lnTo>
                  <a:lnTo>
                    <a:pt x="370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34" y="12"/>
                  </a:lnTo>
                  <a:lnTo>
                    <a:pt x="334" y="12"/>
                  </a:lnTo>
                  <a:lnTo>
                    <a:pt x="322" y="12"/>
                  </a:lnTo>
                  <a:lnTo>
                    <a:pt x="322" y="12"/>
                  </a:lnTo>
                  <a:lnTo>
                    <a:pt x="315" y="12"/>
                  </a:lnTo>
                  <a:lnTo>
                    <a:pt x="311" y="12"/>
                  </a:lnTo>
                  <a:lnTo>
                    <a:pt x="311" y="12"/>
                  </a:lnTo>
                  <a:lnTo>
                    <a:pt x="311" y="17"/>
                  </a:lnTo>
                  <a:lnTo>
                    <a:pt x="311" y="24"/>
                  </a:lnTo>
                  <a:lnTo>
                    <a:pt x="311" y="24"/>
                  </a:lnTo>
                  <a:lnTo>
                    <a:pt x="304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2" y="24"/>
                  </a:lnTo>
                  <a:lnTo>
                    <a:pt x="285" y="24"/>
                  </a:lnTo>
                  <a:lnTo>
                    <a:pt x="285" y="24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61" y="36"/>
                  </a:lnTo>
                  <a:lnTo>
                    <a:pt x="261" y="36"/>
                  </a:lnTo>
                  <a:lnTo>
                    <a:pt x="261" y="59"/>
                  </a:lnTo>
                  <a:lnTo>
                    <a:pt x="261" y="59"/>
                  </a:lnTo>
                  <a:lnTo>
                    <a:pt x="261" y="106"/>
                  </a:lnTo>
                  <a:lnTo>
                    <a:pt x="261" y="106"/>
                  </a:lnTo>
                  <a:lnTo>
                    <a:pt x="261" y="154"/>
                  </a:lnTo>
                  <a:lnTo>
                    <a:pt x="261" y="154"/>
                  </a:lnTo>
                  <a:lnTo>
                    <a:pt x="256" y="154"/>
                  </a:lnTo>
                  <a:lnTo>
                    <a:pt x="249" y="154"/>
                  </a:lnTo>
                  <a:lnTo>
                    <a:pt x="249" y="154"/>
                  </a:lnTo>
                  <a:lnTo>
                    <a:pt x="249" y="149"/>
                  </a:lnTo>
                  <a:lnTo>
                    <a:pt x="249" y="142"/>
                  </a:lnTo>
                  <a:lnTo>
                    <a:pt x="249" y="142"/>
                  </a:lnTo>
                  <a:lnTo>
                    <a:pt x="247" y="142"/>
                  </a:lnTo>
                  <a:lnTo>
                    <a:pt x="245" y="142"/>
                  </a:lnTo>
                  <a:lnTo>
                    <a:pt x="238" y="142"/>
                  </a:lnTo>
                  <a:lnTo>
                    <a:pt x="238" y="142"/>
                  </a:lnTo>
                  <a:lnTo>
                    <a:pt x="238" y="137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18"/>
                  </a:lnTo>
                  <a:lnTo>
                    <a:pt x="238" y="118"/>
                  </a:lnTo>
                  <a:lnTo>
                    <a:pt x="238" y="106"/>
                  </a:lnTo>
                  <a:lnTo>
                    <a:pt x="238" y="106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26" y="83"/>
                  </a:lnTo>
                  <a:lnTo>
                    <a:pt x="226" y="83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4" y="85"/>
                  </a:lnTo>
                  <a:lnTo>
                    <a:pt x="214" y="88"/>
                  </a:lnTo>
                  <a:lnTo>
                    <a:pt x="214" y="95"/>
                  </a:lnTo>
                  <a:lnTo>
                    <a:pt x="214" y="95"/>
                  </a:lnTo>
                  <a:lnTo>
                    <a:pt x="167" y="95"/>
                  </a:lnTo>
                  <a:lnTo>
                    <a:pt x="167" y="95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67" y="118"/>
                  </a:lnTo>
                  <a:lnTo>
                    <a:pt x="167" y="118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7" y="137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3" y="130"/>
                  </a:lnTo>
                  <a:lnTo>
                    <a:pt x="148" y="130"/>
                  </a:lnTo>
                  <a:lnTo>
                    <a:pt x="143" y="130"/>
                  </a:lnTo>
                  <a:lnTo>
                    <a:pt x="143" y="130"/>
                  </a:lnTo>
                  <a:lnTo>
                    <a:pt x="143" y="137"/>
                  </a:lnTo>
                  <a:lnTo>
                    <a:pt x="143" y="139"/>
                  </a:lnTo>
                  <a:lnTo>
                    <a:pt x="143" y="142"/>
                  </a:lnTo>
                  <a:lnTo>
                    <a:pt x="143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29" y="130"/>
                  </a:lnTo>
                  <a:lnTo>
                    <a:pt x="124" y="130"/>
                  </a:lnTo>
                  <a:lnTo>
                    <a:pt x="120" y="130"/>
                  </a:lnTo>
                  <a:lnTo>
                    <a:pt x="120" y="130"/>
                  </a:lnTo>
                  <a:lnTo>
                    <a:pt x="113" y="130"/>
                  </a:lnTo>
                  <a:lnTo>
                    <a:pt x="110" y="130"/>
                  </a:lnTo>
                  <a:lnTo>
                    <a:pt x="108" y="130"/>
                  </a:lnTo>
                  <a:lnTo>
                    <a:pt x="108" y="130"/>
                  </a:lnTo>
                  <a:lnTo>
                    <a:pt x="108" y="125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4"/>
                  </a:lnTo>
                  <a:lnTo>
                    <a:pt x="108" y="106"/>
                  </a:lnTo>
                  <a:lnTo>
                    <a:pt x="108" y="106"/>
                  </a:lnTo>
                  <a:lnTo>
                    <a:pt x="108" y="95"/>
                  </a:lnTo>
                  <a:lnTo>
                    <a:pt x="108" y="95"/>
                  </a:lnTo>
                  <a:lnTo>
                    <a:pt x="108" y="71"/>
                  </a:lnTo>
                  <a:lnTo>
                    <a:pt x="108" y="71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89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66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2" y="59"/>
                  </a:lnTo>
                  <a:lnTo>
                    <a:pt x="77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3" y="48"/>
                  </a:lnTo>
                  <a:lnTo>
                    <a:pt x="73" y="48"/>
                  </a:lnTo>
                  <a:lnTo>
                    <a:pt x="70" y="41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23" y="262"/>
                  </a:lnTo>
                  <a:lnTo>
                    <a:pt x="23" y="262"/>
                  </a:lnTo>
                  <a:lnTo>
                    <a:pt x="35" y="262"/>
                  </a:lnTo>
                  <a:lnTo>
                    <a:pt x="35" y="262"/>
                  </a:lnTo>
                  <a:lnTo>
                    <a:pt x="61" y="262"/>
                  </a:lnTo>
                  <a:lnTo>
                    <a:pt x="61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108" y="262"/>
                  </a:lnTo>
                  <a:lnTo>
                    <a:pt x="108" y="262"/>
                  </a:lnTo>
                  <a:lnTo>
                    <a:pt x="132" y="262"/>
                  </a:lnTo>
                  <a:lnTo>
                    <a:pt x="132" y="262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67" y="262"/>
                  </a:lnTo>
                  <a:lnTo>
                    <a:pt x="167" y="262"/>
                  </a:lnTo>
                  <a:lnTo>
                    <a:pt x="179" y="262"/>
                  </a:lnTo>
                  <a:lnTo>
                    <a:pt x="179" y="262"/>
                  </a:lnTo>
                  <a:lnTo>
                    <a:pt x="202" y="262"/>
                  </a:lnTo>
                  <a:lnTo>
                    <a:pt x="202" y="262"/>
                  </a:lnTo>
                  <a:lnTo>
                    <a:pt x="214" y="262"/>
                  </a:lnTo>
                  <a:lnTo>
                    <a:pt x="214" y="262"/>
                  </a:lnTo>
                  <a:lnTo>
                    <a:pt x="238" y="262"/>
                  </a:lnTo>
                  <a:lnTo>
                    <a:pt x="238" y="262"/>
                  </a:lnTo>
                  <a:lnTo>
                    <a:pt x="249" y="262"/>
                  </a:lnTo>
                  <a:lnTo>
                    <a:pt x="249" y="262"/>
                  </a:lnTo>
                  <a:lnTo>
                    <a:pt x="299" y="262"/>
                  </a:lnTo>
                  <a:lnTo>
                    <a:pt x="299" y="262"/>
                  </a:lnTo>
                  <a:lnTo>
                    <a:pt x="311" y="262"/>
                  </a:lnTo>
                  <a:lnTo>
                    <a:pt x="311" y="262"/>
                  </a:lnTo>
                  <a:lnTo>
                    <a:pt x="334" y="262"/>
                  </a:lnTo>
                  <a:lnTo>
                    <a:pt x="334" y="262"/>
                  </a:lnTo>
                  <a:lnTo>
                    <a:pt x="346" y="262"/>
                  </a:lnTo>
                  <a:lnTo>
                    <a:pt x="346" y="262"/>
                  </a:lnTo>
                  <a:lnTo>
                    <a:pt x="370" y="262"/>
                  </a:lnTo>
                  <a:lnTo>
                    <a:pt x="370" y="262"/>
                  </a:lnTo>
                  <a:lnTo>
                    <a:pt x="381" y="262"/>
                  </a:lnTo>
                  <a:lnTo>
                    <a:pt x="381" y="262"/>
                  </a:lnTo>
                  <a:lnTo>
                    <a:pt x="405" y="262"/>
                  </a:lnTo>
                  <a:lnTo>
                    <a:pt x="405" y="262"/>
                  </a:lnTo>
                  <a:lnTo>
                    <a:pt x="417" y="262"/>
                  </a:lnTo>
                  <a:lnTo>
                    <a:pt x="417" y="262"/>
                  </a:lnTo>
                  <a:lnTo>
                    <a:pt x="440" y="262"/>
                  </a:lnTo>
                  <a:lnTo>
                    <a:pt x="440" y="262"/>
                  </a:lnTo>
                  <a:lnTo>
                    <a:pt x="452" y="262"/>
                  </a:lnTo>
                  <a:lnTo>
                    <a:pt x="452" y="262"/>
                  </a:lnTo>
                  <a:lnTo>
                    <a:pt x="476" y="262"/>
                  </a:lnTo>
                  <a:lnTo>
                    <a:pt x="476" y="262"/>
                  </a:lnTo>
                  <a:lnTo>
                    <a:pt x="487" y="262"/>
                  </a:lnTo>
                  <a:lnTo>
                    <a:pt x="487" y="262"/>
                  </a:lnTo>
                  <a:lnTo>
                    <a:pt x="511" y="262"/>
                  </a:lnTo>
                  <a:lnTo>
                    <a:pt x="511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72" y="262"/>
                  </a:lnTo>
                  <a:lnTo>
                    <a:pt x="572" y="262"/>
                  </a:lnTo>
                  <a:lnTo>
                    <a:pt x="584" y="262"/>
                  </a:lnTo>
                  <a:lnTo>
                    <a:pt x="584" y="262"/>
                  </a:lnTo>
                  <a:lnTo>
                    <a:pt x="607" y="262"/>
                  </a:lnTo>
                  <a:lnTo>
                    <a:pt x="607" y="262"/>
                  </a:lnTo>
                  <a:lnTo>
                    <a:pt x="619" y="262"/>
                  </a:lnTo>
                  <a:lnTo>
                    <a:pt x="619" y="262"/>
                  </a:lnTo>
                  <a:lnTo>
                    <a:pt x="643" y="262"/>
                  </a:lnTo>
                  <a:lnTo>
                    <a:pt x="643" y="262"/>
                  </a:lnTo>
                  <a:lnTo>
                    <a:pt x="655" y="262"/>
                  </a:lnTo>
                  <a:lnTo>
                    <a:pt x="655" y="262"/>
                  </a:lnTo>
                  <a:lnTo>
                    <a:pt x="678" y="262"/>
                  </a:lnTo>
                  <a:lnTo>
                    <a:pt x="678" y="262"/>
                  </a:lnTo>
                  <a:lnTo>
                    <a:pt x="690" y="262"/>
                  </a:lnTo>
                  <a:lnTo>
                    <a:pt x="690" y="262"/>
                  </a:lnTo>
                  <a:lnTo>
                    <a:pt x="714" y="262"/>
                  </a:lnTo>
                  <a:lnTo>
                    <a:pt x="714" y="262"/>
                  </a:lnTo>
                  <a:lnTo>
                    <a:pt x="725" y="262"/>
                  </a:lnTo>
                  <a:lnTo>
                    <a:pt x="725" y="262"/>
                  </a:lnTo>
                  <a:lnTo>
                    <a:pt x="749" y="262"/>
                  </a:lnTo>
                  <a:lnTo>
                    <a:pt x="749" y="262"/>
                  </a:lnTo>
                  <a:lnTo>
                    <a:pt x="761" y="262"/>
                  </a:lnTo>
                  <a:lnTo>
                    <a:pt x="761" y="262"/>
                  </a:lnTo>
                  <a:lnTo>
                    <a:pt x="787" y="262"/>
                  </a:lnTo>
                  <a:lnTo>
                    <a:pt x="787" y="262"/>
                  </a:lnTo>
                  <a:lnTo>
                    <a:pt x="798" y="262"/>
                  </a:lnTo>
                  <a:lnTo>
                    <a:pt x="798" y="262"/>
                  </a:lnTo>
                  <a:lnTo>
                    <a:pt x="845" y="262"/>
                  </a:lnTo>
                  <a:lnTo>
                    <a:pt x="845" y="262"/>
                  </a:lnTo>
                  <a:lnTo>
                    <a:pt x="857" y="262"/>
                  </a:lnTo>
                  <a:lnTo>
                    <a:pt x="857" y="262"/>
                  </a:lnTo>
                  <a:lnTo>
                    <a:pt x="881" y="262"/>
                  </a:lnTo>
                  <a:lnTo>
                    <a:pt x="881" y="262"/>
                  </a:lnTo>
                  <a:lnTo>
                    <a:pt x="893" y="262"/>
                  </a:lnTo>
                  <a:lnTo>
                    <a:pt x="893" y="262"/>
                  </a:lnTo>
                  <a:lnTo>
                    <a:pt x="916" y="262"/>
                  </a:lnTo>
                  <a:lnTo>
                    <a:pt x="916" y="262"/>
                  </a:lnTo>
                  <a:lnTo>
                    <a:pt x="928" y="262"/>
                  </a:lnTo>
                  <a:lnTo>
                    <a:pt x="928" y="262"/>
                  </a:lnTo>
                  <a:lnTo>
                    <a:pt x="951" y="262"/>
                  </a:lnTo>
                  <a:lnTo>
                    <a:pt x="951" y="262"/>
                  </a:lnTo>
                  <a:lnTo>
                    <a:pt x="963" y="262"/>
                  </a:lnTo>
                  <a:lnTo>
                    <a:pt x="963" y="262"/>
                  </a:lnTo>
                  <a:lnTo>
                    <a:pt x="987" y="262"/>
                  </a:lnTo>
                  <a:lnTo>
                    <a:pt x="987" y="262"/>
                  </a:lnTo>
                  <a:lnTo>
                    <a:pt x="999" y="262"/>
                  </a:lnTo>
                  <a:lnTo>
                    <a:pt x="999" y="262"/>
                  </a:lnTo>
                  <a:lnTo>
                    <a:pt x="1022" y="262"/>
                  </a:lnTo>
                  <a:lnTo>
                    <a:pt x="1022" y="262"/>
                  </a:lnTo>
                  <a:lnTo>
                    <a:pt x="1036" y="262"/>
                  </a:lnTo>
                  <a:lnTo>
                    <a:pt x="1036" y="262"/>
                  </a:lnTo>
                  <a:lnTo>
                    <a:pt x="1060" y="262"/>
                  </a:lnTo>
                  <a:lnTo>
                    <a:pt x="1060" y="262"/>
                  </a:lnTo>
                  <a:lnTo>
                    <a:pt x="1072" y="262"/>
                  </a:lnTo>
                  <a:lnTo>
                    <a:pt x="1072" y="262"/>
                  </a:lnTo>
                  <a:lnTo>
                    <a:pt x="1119" y="262"/>
                  </a:lnTo>
                  <a:lnTo>
                    <a:pt x="1119" y="262"/>
                  </a:lnTo>
                  <a:lnTo>
                    <a:pt x="1131" y="262"/>
                  </a:lnTo>
                  <a:lnTo>
                    <a:pt x="1131" y="262"/>
                  </a:lnTo>
                  <a:lnTo>
                    <a:pt x="1154" y="262"/>
                  </a:lnTo>
                  <a:lnTo>
                    <a:pt x="1154" y="262"/>
                  </a:lnTo>
                  <a:lnTo>
                    <a:pt x="1166" y="262"/>
                  </a:lnTo>
                  <a:lnTo>
                    <a:pt x="1166" y="262"/>
                  </a:lnTo>
                  <a:lnTo>
                    <a:pt x="1189" y="262"/>
                  </a:lnTo>
                  <a:lnTo>
                    <a:pt x="1189" y="262"/>
                  </a:lnTo>
                  <a:lnTo>
                    <a:pt x="1201" y="262"/>
                  </a:lnTo>
                  <a:lnTo>
                    <a:pt x="1201" y="262"/>
                  </a:lnTo>
                  <a:lnTo>
                    <a:pt x="1225" y="262"/>
                  </a:lnTo>
                  <a:lnTo>
                    <a:pt x="1225" y="262"/>
                  </a:lnTo>
                  <a:lnTo>
                    <a:pt x="1237" y="262"/>
                  </a:lnTo>
                  <a:lnTo>
                    <a:pt x="1237" y="262"/>
                  </a:lnTo>
                  <a:lnTo>
                    <a:pt x="1260" y="262"/>
                  </a:lnTo>
                  <a:lnTo>
                    <a:pt x="1260" y="262"/>
                  </a:lnTo>
                  <a:lnTo>
                    <a:pt x="1274" y="262"/>
                  </a:lnTo>
                  <a:lnTo>
                    <a:pt x="1274" y="262"/>
                  </a:lnTo>
                  <a:lnTo>
                    <a:pt x="1298" y="262"/>
                  </a:lnTo>
                  <a:lnTo>
                    <a:pt x="1298" y="262"/>
                  </a:lnTo>
                  <a:lnTo>
                    <a:pt x="1310" y="262"/>
                  </a:lnTo>
                  <a:lnTo>
                    <a:pt x="1310" y="262"/>
                  </a:lnTo>
                  <a:lnTo>
                    <a:pt x="1333" y="262"/>
                  </a:lnTo>
                  <a:lnTo>
                    <a:pt x="1333" y="262"/>
                  </a:lnTo>
                  <a:lnTo>
                    <a:pt x="1345" y="262"/>
                  </a:lnTo>
                  <a:lnTo>
                    <a:pt x="1345" y="262"/>
                  </a:lnTo>
                  <a:lnTo>
                    <a:pt x="1392" y="262"/>
                  </a:lnTo>
                  <a:lnTo>
                    <a:pt x="1392" y="262"/>
                  </a:lnTo>
                  <a:lnTo>
                    <a:pt x="1404" y="262"/>
                  </a:lnTo>
                  <a:lnTo>
                    <a:pt x="1404" y="262"/>
                  </a:lnTo>
                  <a:lnTo>
                    <a:pt x="1427" y="262"/>
                  </a:lnTo>
                  <a:lnTo>
                    <a:pt x="1427" y="262"/>
                  </a:lnTo>
                  <a:lnTo>
                    <a:pt x="1439" y="262"/>
                  </a:lnTo>
                  <a:lnTo>
                    <a:pt x="1439" y="262"/>
                  </a:lnTo>
                  <a:lnTo>
                    <a:pt x="1463" y="262"/>
                  </a:lnTo>
                  <a:lnTo>
                    <a:pt x="1463" y="262"/>
                  </a:lnTo>
                  <a:lnTo>
                    <a:pt x="1475" y="262"/>
                  </a:lnTo>
                  <a:lnTo>
                    <a:pt x="1475" y="262"/>
                  </a:lnTo>
                  <a:lnTo>
                    <a:pt x="1498" y="262"/>
                  </a:lnTo>
                  <a:lnTo>
                    <a:pt x="1498" y="262"/>
                  </a:lnTo>
                  <a:lnTo>
                    <a:pt x="1510" y="262"/>
                  </a:lnTo>
                  <a:lnTo>
                    <a:pt x="1510" y="262"/>
                  </a:lnTo>
                  <a:lnTo>
                    <a:pt x="1536" y="262"/>
                  </a:lnTo>
                  <a:lnTo>
                    <a:pt x="1536" y="262"/>
                  </a:lnTo>
                  <a:lnTo>
                    <a:pt x="1548" y="262"/>
                  </a:lnTo>
                  <a:lnTo>
                    <a:pt x="1548" y="262"/>
                  </a:lnTo>
                  <a:lnTo>
                    <a:pt x="1571" y="262"/>
                  </a:lnTo>
                  <a:lnTo>
                    <a:pt x="1571" y="262"/>
                  </a:lnTo>
                  <a:lnTo>
                    <a:pt x="1583" y="262"/>
                  </a:lnTo>
                  <a:lnTo>
                    <a:pt x="1583" y="262"/>
                  </a:lnTo>
                  <a:lnTo>
                    <a:pt x="1607" y="262"/>
                  </a:lnTo>
                  <a:lnTo>
                    <a:pt x="1607" y="262"/>
                  </a:lnTo>
                  <a:lnTo>
                    <a:pt x="1618" y="262"/>
                  </a:lnTo>
                  <a:lnTo>
                    <a:pt x="1618" y="262"/>
                  </a:lnTo>
                  <a:lnTo>
                    <a:pt x="1665" y="262"/>
                  </a:lnTo>
                  <a:lnTo>
                    <a:pt x="1665" y="262"/>
                  </a:lnTo>
                  <a:lnTo>
                    <a:pt x="1677" y="262"/>
                  </a:lnTo>
                  <a:lnTo>
                    <a:pt x="1677" y="262"/>
                  </a:lnTo>
                  <a:lnTo>
                    <a:pt x="1701" y="262"/>
                  </a:lnTo>
                  <a:lnTo>
                    <a:pt x="1701" y="262"/>
                  </a:lnTo>
                  <a:lnTo>
                    <a:pt x="1713" y="262"/>
                  </a:lnTo>
                  <a:lnTo>
                    <a:pt x="1713" y="262"/>
                  </a:lnTo>
                  <a:lnTo>
                    <a:pt x="1736" y="262"/>
                  </a:lnTo>
                  <a:lnTo>
                    <a:pt x="1736" y="262"/>
                  </a:lnTo>
                  <a:lnTo>
                    <a:pt x="1748" y="262"/>
                  </a:lnTo>
                  <a:lnTo>
                    <a:pt x="1748" y="262"/>
                  </a:lnTo>
                  <a:lnTo>
                    <a:pt x="1774" y="262"/>
                  </a:lnTo>
                  <a:lnTo>
                    <a:pt x="1774" y="262"/>
                  </a:lnTo>
                  <a:lnTo>
                    <a:pt x="1786" y="262"/>
                  </a:lnTo>
                  <a:lnTo>
                    <a:pt x="1786" y="262"/>
                  </a:lnTo>
                  <a:lnTo>
                    <a:pt x="1809" y="262"/>
                  </a:lnTo>
                  <a:lnTo>
                    <a:pt x="1809" y="262"/>
                  </a:lnTo>
                  <a:lnTo>
                    <a:pt x="1821" y="262"/>
                  </a:lnTo>
                  <a:lnTo>
                    <a:pt x="1821" y="262"/>
                  </a:lnTo>
                  <a:lnTo>
                    <a:pt x="1844" y="262"/>
                  </a:lnTo>
                  <a:lnTo>
                    <a:pt x="1844" y="262"/>
                  </a:lnTo>
                  <a:lnTo>
                    <a:pt x="1856" y="262"/>
                  </a:lnTo>
                  <a:lnTo>
                    <a:pt x="1856" y="262"/>
                  </a:lnTo>
                  <a:lnTo>
                    <a:pt x="1880" y="262"/>
                  </a:lnTo>
                  <a:lnTo>
                    <a:pt x="1880" y="262"/>
                  </a:lnTo>
                  <a:lnTo>
                    <a:pt x="1892" y="262"/>
                  </a:lnTo>
                  <a:lnTo>
                    <a:pt x="1892" y="262"/>
                  </a:lnTo>
                  <a:lnTo>
                    <a:pt x="1939" y="262"/>
                  </a:lnTo>
                  <a:lnTo>
                    <a:pt x="1939" y="262"/>
                  </a:lnTo>
                  <a:lnTo>
                    <a:pt x="1951" y="262"/>
                  </a:lnTo>
                  <a:lnTo>
                    <a:pt x="1951" y="262"/>
                  </a:lnTo>
                  <a:lnTo>
                    <a:pt x="1974" y="262"/>
                  </a:lnTo>
                  <a:lnTo>
                    <a:pt x="1974" y="262"/>
                  </a:lnTo>
                  <a:lnTo>
                    <a:pt x="1986" y="262"/>
                  </a:lnTo>
                  <a:lnTo>
                    <a:pt x="1986" y="262"/>
                  </a:lnTo>
                  <a:lnTo>
                    <a:pt x="2012" y="262"/>
                  </a:lnTo>
                  <a:lnTo>
                    <a:pt x="2012" y="262"/>
                  </a:lnTo>
                  <a:lnTo>
                    <a:pt x="2024" y="262"/>
                  </a:lnTo>
                  <a:lnTo>
                    <a:pt x="2024" y="262"/>
                  </a:lnTo>
                  <a:lnTo>
                    <a:pt x="2047" y="262"/>
                  </a:lnTo>
                  <a:lnTo>
                    <a:pt x="2047" y="262"/>
                  </a:lnTo>
                  <a:lnTo>
                    <a:pt x="2059" y="262"/>
                  </a:lnTo>
                  <a:lnTo>
                    <a:pt x="2059" y="262"/>
                  </a:lnTo>
                  <a:lnTo>
                    <a:pt x="2082" y="262"/>
                  </a:lnTo>
                  <a:lnTo>
                    <a:pt x="2082" y="262"/>
                  </a:lnTo>
                  <a:lnTo>
                    <a:pt x="2094" y="262"/>
                  </a:lnTo>
                  <a:lnTo>
                    <a:pt x="2094" y="262"/>
                  </a:lnTo>
                  <a:lnTo>
                    <a:pt x="2118" y="262"/>
                  </a:lnTo>
                  <a:lnTo>
                    <a:pt x="2118" y="262"/>
                  </a:lnTo>
                  <a:lnTo>
                    <a:pt x="2130" y="262"/>
                  </a:lnTo>
                  <a:lnTo>
                    <a:pt x="2130" y="262"/>
                  </a:lnTo>
                  <a:lnTo>
                    <a:pt x="2153" y="262"/>
                  </a:lnTo>
                  <a:lnTo>
                    <a:pt x="2153" y="262"/>
                  </a:lnTo>
                  <a:lnTo>
                    <a:pt x="2165" y="262"/>
                  </a:lnTo>
                  <a:lnTo>
                    <a:pt x="2165" y="262"/>
                  </a:lnTo>
                  <a:lnTo>
                    <a:pt x="2188" y="262"/>
                  </a:lnTo>
                  <a:lnTo>
                    <a:pt x="2188" y="262"/>
                  </a:lnTo>
                  <a:lnTo>
                    <a:pt x="2200" y="262"/>
                  </a:lnTo>
                  <a:lnTo>
                    <a:pt x="2200" y="262"/>
                  </a:lnTo>
                  <a:lnTo>
                    <a:pt x="2224" y="262"/>
                  </a:lnTo>
                  <a:lnTo>
                    <a:pt x="2224" y="262"/>
                  </a:lnTo>
                  <a:lnTo>
                    <a:pt x="2250" y="262"/>
                  </a:lnTo>
                  <a:lnTo>
                    <a:pt x="2250" y="262"/>
                  </a:lnTo>
                  <a:lnTo>
                    <a:pt x="2297" y="262"/>
                  </a:lnTo>
                  <a:lnTo>
                    <a:pt x="2297" y="262"/>
                  </a:lnTo>
                  <a:lnTo>
                    <a:pt x="2320" y="262"/>
                  </a:lnTo>
                  <a:lnTo>
                    <a:pt x="2320" y="262"/>
                  </a:lnTo>
                  <a:lnTo>
                    <a:pt x="2344" y="262"/>
                  </a:lnTo>
                  <a:lnTo>
                    <a:pt x="2344" y="262"/>
                  </a:lnTo>
                  <a:lnTo>
                    <a:pt x="2344" y="250"/>
                  </a:lnTo>
                  <a:lnTo>
                    <a:pt x="2344" y="250"/>
                  </a:lnTo>
                  <a:lnTo>
                    <a:pt x="2344" y="238"/>
                  </a:lnTo>
                  <a:lnTo>
                    <a:pt x="2344" y="238"/>
                  </a:lnTo>
                  <a:lnTo>
                    <a:pt x="2344" y="227"/>
                  </a:lnTo>
                  <a:lnTo>
                    <a:pt x="2344" y="227"/>
                  </a:lnTo>
                  <a:lnTo>
                    <a:pt x="2344" y="201"/>
                  </a:lnTo>
                  <a:lnTo>
                    <a:pt x="2344" y="201"/>
                  </a:lnTo>
                  <a:lnTo>
                    <a:pt x="2320" y="201"/>
                  </a:lnTo>
                  <a:lnTo>
                    <a:pt x="2320" y="20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0" dirty="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947738" y="3194420"/>
              <a:ext cx="3700462" cy="602088"/>
            </a:xfrm>
            <a:custGeom>
              <a:avLst/>
              <a:gdLst>
                <a:gd name="T0" fmla="*/ 2260 w 2331"/>
                <a:gd name="T1" fmla="*/ 262 h 476"/>
                <a:gd name="T2" fmla="*/ 2236 w 2331"/>
                <a:gd name="T3" fmla="*/ 273 h 476"/>
                <a:gd name="T4" fmla="*/ 2177 w 2331"/>
                <a:gd name="T5" fmla="*/ 273 h 476"/>
                <a:gd name="T6" fmla="*/ 2135 w 2331"/>
                <a:gd name="T7" fmla="*/ 238 h 476"/>
                <a:gd name="T8" fmla="*/ 2104 w 2331"/>
                <a:gd name="T9" fmla="*/ 285 h 476"/>
                <a:gd name="T10" fmla="*/ 2076 w 2331"/>
                <a:gd name="T11" fmla="*/ 285 h 476"/>
                <a:gd name="T12" fmla="*/ 2053 w 2331"/>
                <a:gd name="T13" fmla="*/ 297 h 476"/>
                <a:gd name="T14" fmla="*/ 1998 w 2331"/>
                <a:gd name="T15" fmla="*/ 320 h 476"/>
                <a:gd name="T16" fmla="*/ 1951 w 2331"/>
                <a:gd name="T17" fmla="*/ 179 h 476"/>
                <a:gd name="T18" fmla="*/ 1904 w 2331"/>
                <a:gd name="T19" fmla="*/ 153 h 476"/>
                <a:gd name="T20" fmla="*/ 1796 w 2331"/>
                <a:gd name="T21" fmla="*/ 262 h 476"/>
                <a:gd name="T22" fmla="*/ 1737 w 2331"/>
                <a:gd name="T23" fmla="*/ 285 h 476"/>
                <a:gd name="T24" fmla="*/ 1702 w 2331"/>
                <a:gd name="T25" fmla="*/ 262 h 476"/>
                <a:gd name="T26" fmla="*/ 1654 w 2331"/>
                <a:gd name="T27" fmla="*/ 231 h 476"/>
                <a:gd name="T28" fmla="*/ 1628 w 2331"/>
                <a:gd name="T29" fmla="*/ 273 h 476"/>
                <a:gd name="T30" fmla="*/ 1581 w 2331"/>
                <a:gd name="T31" fmla="*/ 250 h 476"/>
                <a:gd name="T32" fmla="*/ 1570 w 2331"/>
                <a:gd name="T33" fmla="*/ 141 h 476"/>
                <a:gd name="T34" fmla="*/ 1534 w 2331"/>
                <a:gd name="T35" fmla="*/ 141 h 476"/>
                <a:gd name="T36" fmla="*/ 1499 w 2331"/>
                <a:gd name="T37" fmla="*/ 184 h 476"/>
                <a:gd name="T38" fmla="*/ 1475 w 2331"/>
                <a:gd name="T39" fmla="*/ 285 h 476"/>
                <a:gd name="T40" fmla="*/ 1428 w 2331"/>
                <a:gd name="T41" fmla="*/ 297 h 476"/>
                <a:gd name="T42" fmla="*/ 1428 w 2331"/>
                <a:gd name="T43" fmla="*/ 118 h 476"/>
                <a:gd name="T44" fmla="*/ 1355 w 2331"/>
                <a:gd name="T45" fmla="*/ 106 h 476"/>
                <a:gd name="T46" fmla="*/ 1343 w 2331"/>
                <a:gd name="T47" fmla="*/ 214 h 476"/>
                <a:gd name="T48" fmla="*/ 1320 w 2331"/>
                <a:gd name="T49" fmla="*/ 309 h 476"/>
                <a:gd name="T50" fmla="*/ 1296 w 2331"/>
                <a:gd name="T51" fmla="*/ 356 h 476"/>
                <a:gd name="T52" fmla="*/ 1280 w 2331"/>
                <a:gd name="T53" fmla="*/ 297 h 476"/>
                <a:gd name="T54" fmla="*/ 1237 w 2331"/>
                <a:gd name="T55" fmla="*/ 273 h 476"/>
                <a:gd name="T56" fmla="*/ 1195 w 2331"/>
                <a:gd name="T57" fmla="*/ 297 h 476"/>
                <a:gd name="T58" fmla="*/ 1171 w 2331"/>
                <a:gd name="T59" fmla="*/ 344 h 476"/>
                <a:gd name="T60" fmla="*/ 1141 w 2331"/>
                <a:gd name="T61" fmla="*/ 297 h 476"/>
                <a:gd name="T62" fmla="*/ 1105 w 2331"/>
                <a:gd name="T63" fmla="*/ 273 h 476"/>
                <a:gd name="T64" fmla="*/ 952 w 2331"/>
                <a:gd name="T65" fmla="*/ 344 h 476"/>
                <a:gd name="T66" fmla="*/ 903 w 2331"/>
                <a:gd name="T67" fmla="*/ 262 h 476"/>
                <a:gd name="T68" fmla="*/ 856 w 2331"/>
                <a:gd name="T69" fmla="*/ 59 h 476"/>
                <a:gd name="T70" fmla="*/ 750 w 2331"/>
                <a:gd name="T71" fmla="*/ 35 h 476"/>
                <a:gd name="T72" fmla="*/ 738 w 2331"/>
                <a:gd name="T73" fmla="*/ 141 h 476"/>
                <a:gd name="T74" fmla="*/ 726 w 2331"/>
                <a:gd name="T75" fmla="*/ 278 h 476"/>
                <a:gd name="T76" fmla="*/ 667 w 2331"/>
                <a:gd name="T77" fmla="*/ 273 h 476"/>
                <a:gd name="T78" fmla="*/ 618 w 2331"/>
                <a:gd name="T79" fmla="*/ 297 h 476"/>
                <a:gd name="T80" fmla="*/ 559 w 2331"/>
                <a:gd name="T81" fmla="*/ 320 h 476"/>
                <a:gd name="T82" fmla="*/ 523 w 2331"/>
                <a:gd name="T83" fmla="*/ 344 h 476"/>
                <a:gd name="T84" fmla="*/ 429 w 2331"/>
                <a:gd name="T85" fmla="*/ 339 h 476"/>
                <a:gd name="T86" fmla="*/ 380 w 2331"/>
                <a:gd name="T87" fmla="*/ 356 h 476"/>
                <a:gd name="T88" fmla="*/ 250 w 2331"/>
                <a:gd name="T89" fmla="*/ 356 h 476"/>
                <a:gd name="T90" fmla="*/ 179 w 2331"/>
                <a:gd name="T91" fmla="*/ 356 h 476"/>
                <a:gd name="T92" fmla="*/ 0 w 2331"/>
                <a:gd name="T93" fmla="*/ 415 h 476"/>
                <a:gd name="T94" fmla="*/ 142 w 2331"/>
                <a:gd name="T95" fmla="*/ 476 h 476"/>
                <a:gd name="T96" fmla="*/ 309 w 2331"/>
                <a:gd name="T97" fmla="*/ 476 h 476"/>
                <a:gd name="T98" fmla="*/ 488 w 2331"/>
                <a:gd name="T99" fmla="*/ 476 h 476"/>
                <a:gd name="T100" fmla="*/ 653 w 2331"/>
                <a:gd name="T101" fmla="*/ 476 h 476"/>
                <a:gd name="T102" fmla="*/ 832 w 2331"/>
                <a:gd name="T103" fmla="*/ 476 h 476"/>
                <a:gd name="T104" fmla="*/ 1023 w 2331"/>
                <a:gd name="T105" fmla="*/ 476 h 476"/>
                <a:gd name="T106" fmla="*/ 1178 w 2331"/>
                <a:gd name="T107" fmla="*/ 476 h 476"/>
                <a:gd name="T108" fmla="*/ 1367 w 2331"/>
                <a:gd name="T109" fmla="*/ 476 h 476"/>
                <a:gd name="T110" fmla="*/ 1546 w 2331"/>
                <a:gd name="T111" fmla="*/ 476 h 476"/>
                <a:gd name="T112" fmla="*/ 1713 w 2331"/>
                <a:gd name="T113" fmla="*/ 476 h 476"/>
                <a:gd name="T114" fmla="*/ 1892 w 2331"/>
                <a:gd name="T115" fmla="*/ 476 h 476"/>
                <a:gd name="T116" fmla="*/ 2081 w 2331"/>
                <a:gd name="T117" fmla="*/ 476 h 476"/>
                <a:gd name="T118" fmla="*/ 2236 w 2331"/>
                <a:gd name="T119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31" h="476">
                  <a:moveTo>
                    <a:pt x="2331" y="226"/>
                  </a:moveTo>
                  <a:lnTo>
                    <a:pt x="2331" y="226"/>
                  </a:lnTo>
                  <a:lnTo>
                    <a:pt x="2295" y="226"/>
                  </a:lnTo>
                  <a:lnTo>
                    <a:pt x="2295" y="226"/>
                  </a:lnTo>
                  <a:lnTo>
                    <a:pt x="2283" y="226"/>
                  </a:lnTo>
                  <a:lnTo>
                    <a:pt x="2283" y="226"/>
                  </a:lnTo>
                  <a:lnTo>
                    <a:pt x="2272" y="226"/>
                  </a:lnTo>
                  <a:lnTo>
                    <a:pt x="2272" y="226"/>
                  </a:lnTo>
                  <a:lnTo>
                    <a:pt x="2272" y="231"/>
                  </a:lnTo>
                  <a:lnTo>
                    <a:pt x="2272" y="238"/>
                  </a:lnTo>
                  <a:lnTo>
                    <a:pt x="2272" y="238"/>
                  </a:lnTo>
                  <a:lnTo>
                    <a:pt x="2267" y="238"/>
                  </a:lnTo>
                  <a:lnTo>
                    <a:pt x="2262" y="236"/>
                  </a:lnTo>
                  <a:lnTo>
                    <a:pt x="2260" y="238"/>
                  </a:lnTo>
                  <a:lnTo>
                    <a:pt x="2260" y="238"/>
                  </a:lnTo>
                  <a:lnTo>
                    <a:pt x="2260" y="250"/>
                  </a:lnTo>
                  <a:lnTo>
                    <a:pt x="2260" y="250"/>
                  </a:lnTo>
                  <a:lnTo>
                    <a:pt x="2260" y="262"/>
                  </a:lnTo>
                  <a:lnTo>
                    <a:pt x="2260" y="262"/>
                  </a:lnTo>
                  <a:lnTo>
                    <a:pt x="2260" y="273"/>
                  </a:lnTo>
                  <a:lnTo>
                    <a:pt x="2260" y="273"/>
                  </a:lnTo>
                  <a:lnTo>
                    <a:pt x="2260" y="297"/>
                  </a:lnTo>
                  <a:lnTo>
                    <a:pt x="2260" y="297"/>
                  </a:lnTo>
                  <a:lnTo>
                    <a:pt x="2260" y="344"/>
                  </a:lnTo>
                  <a:lnTo>
                    <a:pt x="2260" y="344"/>
                  </a:lnTo>
                  <a:lnTo>
                    <a:pt x="2248" y="344"/>
                  </a:lnTo>
                  <a:lnTo>
                    <a:pt x="2248" y="344"/>
                  </a:lnTo>
                  <a:lnTo>
                    <a:pt x="2241" y="344"/>
                  </a:lnTo>
                  <a:lnTo>
                    <a:pt x="2236" y="344"/>
                  </a:lnTo>
                  <a:lnTo>
                    <a:pt x="2236" y="344"/>
                  </a:lnTo>
                  <a:lnTo>
                    <a:pt x="2236" y="332"/>
                  </a:lnTo>
                  <a:lnTo>
                    <a:pt x="2236" y="332"/>
                  </a:lnTo>
                  <a:lnTo>
                    <a:pt x="2236" y="320"/>
                  </a:lnTo>
                  <a:lnTo>
                    <a:pt x="2236" y="320"/>
                  </a:lnTo>
                  <a:lnTo>
                    <a:pt x="2236" y="273"/>
                  </a:lnTo>
                  <a:lnTo>
                    <a:pt x="2236" y="273"/>
                  </a:lnTo>
                  <a:lnTo>
                    <a:pt x="2225" y="273"/>
                  </a:lnTo>
                  <a:lnTo>
                    <a:pt x="2225" y="273"/>
                  </a:lnTo>
                  <a:lnTo>
                    <a:pt x="2213" y="273"/>
                  </a:lnTo>
                  <a:lnTo>
                    <a:pt x="2213" y="273"/>
                  </a:lnTo>
                  <a:lnTo>
                    <a:pt x="2201" y="273"/>
                  </a:lnTo>
                  <a:lnTo>
                    <a:pt x="2201" y="273"/>
                  </a:lnTo>
                  <a:lnTo>
                    <a:pt x="2194" y="273"/>
                  </a:lnTo>
                  <a:lnTo>
                    <a:pt x="2189" y="273"/>
                  </a:lnTo>
                  <a:lnTo>
                    <a:pt x="2189" y="273"/>
                  </a:lnTo>
                  <a:lnTo>
                    <a:pt x="2189" y="278"/>
                  </a:lnTo>
                  <a:lnTo>
                    <a:pt x="2189" y="285"/>
                  </a:lnTo>
                  <a:lnTo>
                    <a:pt x="2189" y="285"/>
                  </a:lnTo>
                  <a:lnTo>
                    <a:pt x="2187" y="285"/>
                  </a:lnTo>
                  <a:lnTo>
                    <a:pt x="2182" y="285"/>
                  </a:lnTo>
                  <a:lnTo>
                    <a:pt x="2177" y="285"/>
                  </a:lnTo>
                  <a:lnTo>
                    <a:pt x="2177" y="285"/>
                  </a:lnTo>
                  <a:lnTo>
                    <a:pt x="2177" y="273"/>
                  </a:lnTo>
                  <a:lnTo>
                    <a:pt x="2177" y="273"/>
                  </a:lnTo>
                  <a:lnTo>
                    <a:pt x="2177" y="262"/>
                  </a:lnTo>
                  <a:lnTo>
                    <a:pt x="2177" y="262"/>
                  </a:lnTo>
                  <a:lnTo>
                    <a:pt x="2177" y="255"/>
                  </a:lnTo>
                  <a:lnTo>
                    <a:pt x="2177" y="250"/>
                  </a:lnTo>
                  <a:lnTo>
                    <a:pt x="2177" y="250"/>
                  </a:lnTo>
                  <a:lnTo>
                    <a:pt x="2170" y="250"/>
                  </a:lnTo>
                  <a:lnTo>
                    <a:pt x="2166" y="250"/>
                  </a:lnTo>
                  <a:lnTo>
                    <a:pt x="2166" y="250"/>
                  </a:lnTo>
                  <a:lnTo>
                    <a:pt x="2166" y="243"/>
                  </a:lnTo>
                  <a:lnTo>
                    <a:pt x="2166" y="238"/>
                  </a:lnTo>
                  <a:lnTo>
                    <a:pt x="2166" y="238"/>
                  </a:lnTo>
                  <a:lnTo>
                    <a:pt x="2163" y="236"/>
                  </a:lnTo>
                  <a:lnTo>
                    <a:pt x="2159" y="238"/>
                  </a:lnTo>
                  <a:lnTo>
                    <a:pt x="2154" y="238"/>
                  </a:lnTo>
                  <a:lnTo>
                    <a:pt x="2154" y="238"/>
                  </a:lnTo>
                  <a:lnTo>
                    <a:pt x="2142" y="238"/>
                  </a:lnTo>
                  <a:lnTo>
                    <a:pt x="2142" y="238"/>
                  </a:lnTo>
                  <a:lnTo>
                    <a:pt x="2135" y="238"/>
                  </a:lnTo>
                  <a:lnTo>
                    <a:pt x="2130" y="238"/>
                  </a:lnTo>
                  <a:lnTo>
                    <a:pt x="2130" y="238"/>
                  </a:lnTo>
                  <a:lnTo>
                    <a:pt x="2128" y="240"/>
                  </a:lnTo>
                  <a:lnTo>
                    <a:pt x="2128" y="243"/>
                  </a:lnTo>
                  <a:lnTo>
                    <a:pt x="2130" y="250"/>
                  </a:lnTo>
                  <a:lnTo>
                    <a:pt x="2130" y="250"/>
                  </a:lnTo>
                  <a:lnTo>
                    <a:pt x="2116" y="250"/>
                  </a:lnTo>
                  <a:lnTo>
                    <a:pt x="2116" y="250"/>
                  </a:lnTo>
                  <a:lnTo>
                    <a:pt x="2111" y="250"/>
                  </a:lnTo>
                  <a:lnTo>
                    <a:pt x="2104" y="250"/>
                  </a:lnTo>
                  <a:lnTo>
                    <a:pt x="2104" y="250"/>
                  </a:lnTo>
                  <a:lnTo>
                    <a:pt x="2104" y="255"/>
                  </a:lnTo>
                  <a:lnTo>
                    <a:pt x="2104" y="262"/>
                  </a:lnTo>
                  <a:lnTo>
                    <a:pt x="2104" y="262"/>
                  </a:lnTo>
                  <a:lnTo>
                    <a:pt x="2104" y="266"/>
                  </a:lnTo>
                  <a:lnTo>
                    <a:pt x="2104" y="273"/>
                  </a:lnTo>
                  <a:lnTo>
                    <a:pt x="2104" y="273"/>
                  </a:lnTo>
                  <a:lnTo>
                    <a:pt x="2104" y="285"/>
                  </a:lnTo>
                  <a:lnTo>
                    <a:pt x="2104" y="285"/>
                  </a:lnTo>
                  <a:lnTo>
                    <a:pt x="2104" y="309"/>
                  </a:lnTo>
                  <a:lnTo>
                    <a:pt x="2104" y="309"/>
                  </a:lnTo>
                  <a:lnTo>
                    <a:pt x="2100" y="309"/>
                  </a:lnTo>
                  <a:lnTo>
                    <a:pt x="2093" y="309"/>
                  </a:lnTo>
                  <a:lnTo>
                    <a:pt x="2093" y="309"/>
                  </a:lnTo>
                  <a:lnTo>
                    <a:pt x="2093" y="304"/>
                  </a:lnTo>
                  <a:lnTo>
                    <a:pt x="2093" y="297"/>
                  </a:lnTo>
                  <a:lnTo>
                    <a:pt x="2093" y="297"/>
                  </a:lnTo>
                  <a:lnTo>
                    <a:pt x="2088" y="297"/>
                  </a:lnTo>
                  <a:lnTo>
                    <a:pt x="2081" y="297"/>
                  </a:lnTo>
                  <a:lnTo>
                    <a:pt x="2081" y="297"/>
                  </a:lnTo>
                  <a:lnTo>
                    <a:pt x="2081" y="295"/>
                  </a:lnTo>
                  <a:lnTo>
                    <a:pt x="2081" y="292"/>
                  </a:lnTo>
                  <a:lnTo>
                    <a:pt x="2081" y="285"/>
                  </a:lnTo>
                  <a:lnTo>
                    <a:pt x="2081" y="285"/>
                  </a:lnTo>
                  <a:lnTo>
                    <a:pt x="2078" y="285"/>
                  </a:lnTo>
                  <a:lnTo>
                    <a:pt x="2076" y="285"/>
                  </a:lnTo>
                  <a:lnTo>
                    <a:pt x="2069" y="285"/>
                  </a:lnTo>
                  <a:lnTo>
                    <a:pt x="2069" y="285"/>
                  </a:lnTo>
                  <a:lnTo>
                    <a:pt x="2069" y="283"/>
                  </a:lnTo>
                  <a:lnTo>
                    <a:pt x="2069" y="278"/>
                  </a:lnTo>
                  <a:lnTo>
                    <a:pt x="2069" y="273"/>
                  </a:lnTo>
                  <a:lnTo>
                    <a:pt x="2069" y="273"/>
                  </a:lnTo>
                  <a:lnTo>
                    <a:pt x="2069" y="266"/>
                  </a:lnTo>
                  <a:lnTo>
                    <a:pt x="2071" y="264"/>
                  </a:lnTo>
                  <a:lnTo>
                    <a:pt x="2069" y="262"/>
                  </a:lnTo>
                  <a:lnTo>
                    <a:pt x="2069" y="262"/>
                  </a:lnTo>
                  <a:lnTo>
                    <a:pt x="2057" y="262"/>
                  </a:lnTo>
                  <a:lnTo>
                    <a:pt x="2057" y="262"/>
                  </a:lnTo>
                  <a:lnTo>
                    <a:pt x="2057" y="266"/>
                  </a:lnTo>
                  <a:lnTo>
                    <a:pt x="2057" y="273"/>
                  </a:lnTo>
                  <a:lnTo>
                    <a:pt x="2057" y="273"/>
                  </a:lnTo>
                  <a:lnTo>
                    <a:pt x="2057" y="297"/>
                  </a:lnTo>
                  <a:lnTo>
                    <a:pt x="2057" y="297"/>
                  </a:lnTo>
                  <a:lnTo>
                    <a:pt x="2053" y="297"/>
                  </a:lnTo>
                  <a:lnTo>
                    <a:pt x="2048" y="297"/>
                  </a:lnTo>
                  <a:lnTo>
                    <a:pt x="2046" y="297"/>
                  </a:lnTo>
                  <a:lnTo>
                    <a:pt x="2046" y="297"/>
                  </a:lnTo>
                  <a:lnTo>
                    <a:pt x="2046" y="304"/>
                  </a:lnTo>
                  <a:lnTo>
                    <a:pt x="2046" y="309"/>
                  </a:lnTo>
                  <a:lnTo>
                    <a:pt x="2046" y="309"/>
                  </a:lnTo>
                  <a:lnTo>
                    <a:pt x="2041" y="309"/>
                  </a:lnTo>
                  <a:lnTo>
                    <a:pt x="2034" y="309"/>
                  </a:lnTo>
                  <a:lnTo>
                    <a:pt x="2034" y="309"/>
                  </a:lnTo>
                  <a:lnTo>
                    <a:pt x="2027" y="309"/>
                  </a:lnTo>
                  <a:lnTo>
                    <a:pt x="2022" y="309"/>
                  </a:lnTo>
                  <a:lnTo>
                    <a:pt x="2022" y="309"/>
                  </a:lnTo>
                  <a:lnTo>
                    <a:pt x="2022" y="311"/>
                  </a:lnTo>
                  <a:lnTo>
                    <a:pt x="2022" y="316"/>
                  </a:lnTo>
                  <a:lnTo>
                    <a:pt x="2022" y="320"/>
                  </a:lnTo>
                  <a:lnTo>
                    <a:pt x="2022" y="320"/>
                  </a:lnTo>
                  <a:lnTo>
                    <a:pt x="1998" y="320"/>
                  </a:lnTo>
                  <a:lnTo>
                    <a:pt x="1998" y="320"/>
                  </a:lnTo>
                  <a:lnTo>
                    <a:pt x="1951" y="320"/>
                  </a:lnTo>
                  <a:lnTo>
                    <a:pt x="1951" y="320"/>
                  </a:lnTo>
                  <a:lnTo>
                    <a:pt x="1951" y="309"/>
                  </a:lnTo>
                  <a:lnTo>
                    <a:pt x="1951" y="309"/>
                  </a:lnTo>
                  <a:lnTo>
                    <a:pt x="1951" y="285"/>
                  </a:lnTo>
                  <a:lnTo>
                    <a:pt x="1951" y="285"/>
                  </a:lnTo>
                  <a:lnTo>
                    <a:pt x="1951" y="273"/>
                  </a:lnTo>
                  <a:lnTo>
                    <a:pt x="1951" y="273"/>
                  </a:lnTo>
                  <a:lnTo>
                    <a:pt x="1951" y="250"/>
                  </a:lnTo>
                  <a:lnTo>
                    <a:pt x="1951" y="250"/>
                  </a:lnTo>
                  <a:lnTo>
                    <a:pt x="1951" y="238"/>
                  </a:lnTo>
                  <a:lnTo>
                    <a:pt x="1951" y="238"/>
                  </a:lnTo>
                  <a:lnTo>
                    <a:pt x="1951" y="214"/>
                  </a:lnTo>
                  <a:lnTo>
                    <a:pt x="1951" y="214"/>
                  </a:lnTo>
                  <a:lnTo>
                    <a:pt x="1951" y="203"/>
                  </a:lnTo>
                  <a:lnTo>
                    <a:pt x="1951" y="203"/>
                  </a:lnTo>
                  <a:lnTo>
                    <a:pt x="1951" y="179"/>
                  </a:lnTo>
                  <a:lnTo>
                    <a:pt x="1951" y="179"/>
                  </a:lnTo>
                  <a:lnTo>
                    <a:pt x="1951" y="153"/>
                  </a:lnTo>
                  <a:lnTo>
                    <a:pt x="1951" y="153"/>
                  </a:lnTo>
                  <a:lnTo>
                    <a:pt x="1944" y="153"/>
                  </a:lnTo>
                  <a:lnTo>
                    <a:pt x="1942" y="156"/>
                  </a:lnTo>
                  <a:lnTo>
                    <a:pt x="1939" y="153"/>
                  </a:lnTo>
                  <a:lnTo>
                    <a:pt x="1939" y="153"/>
                  </a:lnTo>
                  <a:lnTo>
                    <a:pt x="1939" y="148"/>
                  </a:lnTo>
                  <a:lnTo>
                    <a:pt x="1939" y="141"/>
                  </a:lnTo>
                  <a:lnTo>
                    <a:pt x="1939" y="141"/>
                  </a:lnTo>
                  <a:lnTo>
                    <a:pt x="1932" y="141"/>
                  </a:lnTo>
                  <a:lnTo>
                    <a:pt x="1928" y="141"/>
                  </a:lnTo>
                  <a:lnTo>
                    <a:pt x="1928" y="141"/>
                  </a:lnTo>
                  <a:lnTo>
                    <a:pt x="1916" y="141"/>
                  </a:lnTo>
                  <a:lnTo>
                    <a:pt x="1916" y="141"/>
                  </a:lnTo>
                  <a:lnTo>
                    <a:pt x="1904" y="141"/>
                  </a:lnTo>
                  <a:lnTo>
                    <a:pt x="1904" y="141"/>
                  </a:lnTo>
                  <a:lnTo>
                    <a:pt x="1904" y="148"/>
                  </a:lnTo>
                  <a:lnTo>
                    <a:pt x="1904" y="153"/>
                  </a:lnTo>
                  <a:lnTo>
                    <a:pt x="1904" y="153"/>
                  </a:lnTo>
                  <a:lnTo>
                    <a:pt x="1892" y="153"/>
                  </a:lnTo>
                  <a:lnTo>
                    <a:pt x="1892" y="153"/>
                  </a:lnTo>
                  <a:lnTo>
                    <a:pt x="1878" y="153"/>
                  </a:lnTo>
                  <a:lnTo>
                    <a:pt x="1878" y="153"/>
                  </a:lnTo>
                  <a:lnTo>
                    <a:pt x="1866" y="153"/>
                  </a:lnTo>
                  <a:lnTo>
                    <a:pt x="1866" y="153"/>
                  </a:lnTo>
                  <a:lnTo>
                    <a:pt x="1843" y="153"/>
                  </a:lnTo>
                  <a:lnTo>
                    <a:pt x="1843" y="153"/>
                  </a:lnTo>
                  <a:lnTo>
                    <a:pt x="1796" y="153"/>
                  </a:lnTo>
                  <a:lnTo>
                    <a:pt x="1796" y="153"/>
                  </a:lnTo>
                  <a:lnTo>
                    <a:pt x="1796" y="165"/>
                  </a:lnTo>
                  <a:lnTo>
                    <a:pt x="1796" y="165"/>
                  </a:lnTo>
                  <a:lnTo>
                    <a:pt x="1796" y="191"/>
                  </a:lnTo>
                  <a:lnTo>
                    <a:pt x="1796" y="191"/>
                  </a:lnTo>
                  <a:lnTo>
                    <a:pt x="1796" y="238"/>
                  </a:lnTo>
                  <a:lnTo>
                    <a:pt x="1796" y="238"/>
                  </a:lnTo>
                  <a:lnTo>
                    <a:pt x="1796" y="262"/>
                  </a:lnTo>
                  <a:lnTo>
                    <a:pt x="1796" y="262"/>
                  </a:lnTo>
                  <a:lnTo>
                    <a:pt x="1796" y="273"/>
                  </a:lnTo>
                  <a:lnTo>
                    <a:pt x="1796" y="273"/>
                  </a:lnTo>
                  <a:lnTo>
                    <a:pt x="1796" y="297"/>
                  </a:lnTo>
                  <a:lnTo>
                    <a:pt x="1796" y="297"/>
                  </a:lnTo>
                  <a:lnTo>
                    <a:pt x="1784" y="297"/>
                  </a:lnTo>
                  <a:lnTo>
                    <a:pt x="1784" y="297"/>
                  </a:lnTo>
                  <a:lnTo>
                    <a:pt x="1760" y="297"/>
                  </a:lnTo>
                  <a:lnTo>
                    <a:pt x="1760" y="297"/>
                  </a:lnTo>
                  <a:lnTo>
                    <a:pt x="1760" y="290"/>
                  </a:lnTo>
                  <a:lnTo>
                    <a:pt x="1760" y="287"/>
                  </a:lnTo>
                  <a:lnTo>
                    <a:pt x="1760" y="285"/>
                  </a:lnTo>
                  <a:lnTo>
                    <a:pt x="1760" y="285"/>
                  </a:lnTo>
                  <a:lnTo>
                    <a:pt x="1756" y="285"/>
                  </a:lnTo>
                  <a:lnTo>
                    <a:pt x="1749" y="285"/>
                  </a:lnTo>
                  <a:lnTo>
                    <a:pt x="1749" y="285"/>
                  </a:lnTo>
                  <a:lnTo>
                    <a:pt x="1737" y="285"/>
                  </a:lnTo>
                  <a:lnTo>
                    <a:pt x="1737" y="285"/>
                  </a:lnTo>
                  <a:lnTo>
                    <a:pt x="1725" y="285"/>
                  </a:lnTo>
                  <a:lnTo>
                    <a:pt x="1725" y="285"/>
                  </a:lnTo>
                  <a:lnTo>
                    <a:pt x="1725" y="278"/>
                  </a:lnTo>
                  <a:lnTo>
                    <a:pt x="1725" y="276"/>
                  </a:lnTo>
                  <a:lnTo>
                    <a:pt x="1725" y="273"/>
                  </a:lnTo>
                  <a:lnTo>
                    <a:pt x="1725" y="273"/>
                  </a:lnTo>
                  <a:lnTo>
                    <a:pt x="1723" y="273"/>
                  </a:lnTo>
                  <a:lnTo>
                    <a:pt x="1718" y="273"/>
                  </a:lnTo>
                  <a:lnTo>
                    <a:pt x="1713" y="273"/>
                  </a:lnTo>
                  <a:lnTo>
                    <a:pt x="1713" y="273"/>
                  </a:lnTo>
                  <a:lnTo>
                    <a:pt x="1706" y="273"/>
                  </a:lnTo>
                  <a:lnTo>
                    <a:pt x="1704" y="273"/>
                  </a:lnTo>
                  <a:lnTo>
                    <a:pt x="1702" y="273"/>
                  </a:lnTo>
                  <a:lnTo>
                    <a:pt x="1702" y="273"/>
                  </a:lnTo>
                  <a:lnTo>
                    <a:pt x="1699" y="271"/>
                  </a:lnTo>
                  <a:lnTo>
                    <a:pt x="1702" y="266"/>
                  </a:lnTo>
                  <a:lnTo>
                    <a:pt x="1702" y="262"/>
                  </a:lnTo>
                  <a:lnTo>
                    <a:pt x="1702" y="262"/>
                  </a:lnTo>
                  <a:lnTo>
                    <a:pt x="1702" y="255"/>
                  </a:lnTo>
                  <a:lnTo>
                    <a:pt x="1702" y="250"/>
                  </a:lnTo>
                  <a:lnTo>
                    <a:pt x="1702" y="250"/>
                  </a:lnTo>
                  <a:lnTo>
                    <a:pt x="1702" y="243"/>
                  </a:lnTo>
                  <a:lnTo>
                    <a:pt x="1702" y="238"/>
                  </a:lnTo>
                  <a:lnTo>
                    <a:pt x="1702" y="238"/>
                  </a:lnTo>
                  <a:lnTo>
                    <a:pt x="1690" y="238"/>
                  </a:lnTo>
                  <a:lnTo>
                    <a:pt x="1690" y="238"/>
                  </a:lnTo>
                  <a:lnTo>
                    <a:pt x="1683" y="238"/>
                  </a:lnTo>
                  <a:lnTo>
                    <a:pt x="1678" y="238"/>
                  </a:lnTo>
                  <a:lnTo>
                    <a:pt x="1678" y="238"/>
                  </a:lnTo>
                  <a:lnTo>
                    <a:pt x="1676" y="236"/>
                  </a:lnTo>
                  <a:lnTo>
                    <a:pt x="1678" y="231"/>
                  </a:lnTo>
                  <a:lnTo>
                    <a:pt x="1678" y="226"/>
                  </a:lnTo>
                  <a:lnTo>
                    <a:pt x="1678" y="226"/>
                  </a:lnTo>
                  <a:lnTo>
                    <a:pt x="1654" y="226"/>
                  </a:lnTo>
                  <a:lnTo>
                    <a:pt x="1654" y="226"/>
                  </a:lnTo>
                  <a:lnTo>
                    <a:pt x="1654" y="231"/>
                  </a:lnTo>
                  <a:lnTo>
                    <a:pt x="1654" y="236"/>
                  </a:lnTo>
                  <a:lnTo>
                    <a:pt x="1654" y="238"/>
                  </a:lnTo>
                  <a:lnTo>
                    <a:pt x="1654" y="238"/>
                  </a:lnTo>
                  <a:lnTo>
                    <a:pt x="1652" y="238"/>
                  </a:lnTo>
                  <a:lnTo>
                    <a:pt x="1647" y="238"/>
                  </a:lnTo>
                  <a:lnTo>
                    <a:pt x="1643" y="238"/>
                  </a:lnTo>
                  <a:lnTo>
                    <a:pt x="1643" y="238"/>
                  </a:lnTo>
                  <a:lnTo>
                    <a:pt x="1636" y="238"/>
                  </a:lnTo>
                  <a:lnTo>
                    <a:pt x="1631" y="236"/>
                  </a:lnTo>
                  <a:lnTo>
                    <a:pt x="1628" y="238"/>
                  </a:lnTo>
                  <a:lnTo>
                    <a:pt x="1628" y="238"/>
                  </a:lnTo>
                  <a:lnTo>
                    <a:pt x="1628" y="243"/>
                  </a:lnTo>
                  <a:lnTo>
                    <a:pt x="1628" y="250"/>
                  </a:lnTo>
                  <a:lnTo>
                    <a:pt x="1628" y="250"/>
                  </a:lnTo>
                  <a:lnTo>
                    <a:pt x="1628" y="255"/>
                  </a:lnTo>
                  <a:lnTo>
                    <a:pt x="1628" y="262"/>
                  </a:lnTo>
                  <a:lnTo>
                    <a:pt x="1628" y="262"/>
                  </a:lnTo>
                  <a:lnTo>
                    <a:pt x="1628" y="273"/>
                  </a:lnTo>
                  <a:lnTo>
                    <a:pt x="1628" y="273"/>
                  </a:lnTo>
                  <a:lnTo>
                    <a:pt x="1631" y="280"/>
                  </a:lnTo>
                  <a:lnTo>
                    <a:pt x="1628" y="285"/>
                  </a:lnTo>
                  <a:lnTo>
                    <a:pt x="1628" y="285"/>
                  </a:lnTo>
                  <a:lnTo>
                    <a:pt x="1624" y="285"/>
                  </a:lnTo>
                  <a:lnTo>
                    <a:pt x="1617" y="285"/>
                  </a:lnTo>
                  <a:lnTo>
                    <a:pt x="1617" y="285"/>
                  </a:lnTo>
                  <a:lnTo>
                    <a:pt x="1617" y="278"/>
                  </a:lnTo>
                  <a:lnTo>
                    <a:pt x="1617" y="273"/>
                  </a:lnTo>
                  <a:lnTo>
                    <a:pt x="1617" y="273"/>
                  </a:lnTo>
                  <a:lnTo>
                    <a:pt x="1593" y="273"/>
                  </a:lnTo>
                  <a:lnTo>
                    <a:pt x="1593" y="273"/>
                  </a:lnTo>
                  <a:lnTo>
                    <a:pt x="1588" y="273"/>
                  </a:lnTo>
                  <a:lnTo>
                    <a:pt x="1581" y="273"/>
                  </a:lnTo>
                  <a:lnTo>
                    <a:pt x="1581" y="273"/>
                  </a:lnTo>
                  <a:lnTo>
                    <a:pt x="1581" y="262"/>
                  </a:lnTo>
                  <a:lnTo>
                    <a:pt x="1581" y="262"/>
                  </a:lnTo>
                  <a:lnTo>
                    <a:pt x="1581" y="250"/>
                  </a:lnTo>
                  <a:lnTo>
                    <a:pt x="1581" y="250"/>
                  </a:lnTo>
                  <a:lnTo>
                    <a:pt x="1581" y="238"/>
                  </a:lnTo>
                  <a:lnTo>
                    <a:pt x="1581" y="238"/>
                  </a:lnTo>
                  <a:lnTo>
                    <a:pt x="1581" y="191"/>
                  </a:lnTo>
                  <a:lnTo>
                    <a:pt x="1581" y="191"/>
                  </a:lnTo>
                  <a:lnTo>
                    <a:pt x="1581" y="179"/>
                  </a:lnTo>
                  <a:lnTo>
                    <a:pt x="1581" y="179"/>
                  </a:lnTo>
                  <a:lnTo>
                    <a:pt x="1581" y="172"/>
                  </a:lnTo>
                  <a:lnTo>
                    <a:pt x="1581" y="165"/>
                  </a:lnTo>
                  <a:lnTo>
                    <a:pt x="1581" y="165"/>
                  </a:lnTo>
                  <a:lnTo>
                    <a:pt x="1577" y="165"/>
                  </a:lnTo>
                  <a:lnTo>
                    <a:pt x="1570" y="165"/>
                  </a:lnTo>
                  <a:lnTo>
                    <a:pt x="1570" y="165"/>
                  </a:lnTo>
                  <a:lnTo>
                    <a:pt x="1570" y="153"/>
                  </a:lnTo>
                  <a:lnTo>
                    <a:pt x="1570" y="153"/>
                  </a:lnTo>
                  <a:lnTo>
                    <a:pt x="1570" y="148"/>
                  </a:lnTo>
                  <a:lnTo>
                    <a:pt x="1570" y="141"/>
                  </a:lnTo>
                  <a:lnTo>
                    <a:pt x="1570" y="141"/>
                  </a:lnTo>
                  <a:lnTo>
                    <a:pt x="1565" y="141"/>
                  </a:lnTo>
                  <a:lnTo>
                    <a:pt x="1558" y="141"/>
                  </a:lnTo>
                  <a:lnTo>
                    <a:pt x="1558" y="141"/>
                  </a:lnTo>
                  <a:lnTo>
                    <a:pt x="1558" y="139"/>
                  </a:lnTo>
                  <a:lnTo>
                    <a:pt x="1558" y="137"/>
                  </a:lnTo>
                  <a:lnTo>
                    <a:pt x="1558" y="130"/>
                  </a:lnTo>
                  <a:lnTo>
                    <a:pt x="1558" y="130"/>
                  </a:lnTo>
                  <a:lnTo>
                    <a:pt x="1558" y="106"/>
                  </a:lnTo>
                  <a:lnTo>
                    <a:pt x="1558" y="106"/>
                  </a:lnTo>
                  <a:lnTo>
                    <a:pt x="1534" y="106"/>
                  </a:lnTo>
                  <a:lnTo>
                    <a:pt x="1534" y="106"/>
                  </a:lnTo>
                  <a:lnTo>
                    <a:pt x="1534" y="118"/>
                  </a:lnTo>
                  <a:lnTo>
                    <a:pt x="1534" y="118"/>
                  </a:lnTo>
                  <a:lnTo>
                    <a:pt x="1534" y="130"/>
                  </a:lnTo>
                  <a:lnTo>
                    <a:pt x="1534" y="130"/>
                  </a:lnTo>
                  <a:lnTo>
                    <a:pt x="1534" y="137"/>
                  </a:lnTo>
                  <a:lnTo>
                    <a:pt x="1534" y="141"/>
                  </a:lnTo>
                  <a:lnTo>
                    <a:pt x="1534" y="141"/>
                  </a:lnTo>
                  <a:lnTo>
                    <a:pt x="1527" y="141"/>
                  </a:lnTo>
                  <a:lnTo>
                    <a:pt x="1522" y="141"/>
                  </a:lnTo>
                  <a:lnTo>
                    <a:pt x="1522" y="141"/>
                  </a:lnTo>
                  <a:lnTo>
                    <a:pt x="1522" y="148"/>
                  </a:lnTo>
                  <a:lnTo>
                    <a:pt x="1522" y="153"/>
                  </a:lnTo>
                  <a:lnTo>
                    <a:pt x="1522" y="153"/>
                  </a:lnTo>
                  <a:lnTo>
                    <a:pt x="1515" y="153"/>
                  </a:lnTo>
                  <a:lnTo>
                    <a:pt x="1511" y="153"/>
                  </a:lnTo>
                  <a:lnTo>
                    <a:pt x="1511" y="153"/>
                  </a:lnTo>
                  <a:lnTo>
                    <a:pt x="1511" y="160"/>
                  </a:lnTo>
                  <a:lnTo>
                    <a:pt x="1511" y="165"/>
                  </a:lnTo>
                  <a:lnTo>
                    <a:pt x="1511" y="165"/>
                  </a:lnTo>
                  <a:lnTo>
                    <a:pt x="1511" y="179"/>
                  </a:lnTo>
                  <a:lnTo>
                    <a:pt x="1511" y="179"/>
                  </a:lnTo>
                  <a:lnTo>
                    <a:pt x="1504" y="177"/>
                  </a:lnTo>
                  <a:lnTo>
                    <a:pt x="1499" y="179"/>
                  </a:lnTo>
                  <a:lnTo>
                    <a:pt x="1499" y="179"/>
                  </a:lnTo>
                  <a:lnTo>
                    <a:pt x="1499" y="184"/>
                  </a:lnTo>
                  <a:lnTo>
                    <a:pt x="1499" y="191"/>
                  </a:lnTo>
                  <a:lnTo>
                    <a:pt x="1499" y="191"/>
                  </a:lnTo>
                  <a:lnTo>
                    <a:pt x="1499" y="203"/>
                  </a:lnTo>
                  <a:lnTo>
                    <a:pt x="1499" y="203"/>
                  </a:lnTo>
                  <a:lnTo>
                    <a:pt x="1499" y="226"/>
                  </a:lnTo>
                  <a:lnTo>
                    <a:pt x="1499" y="226"/>
                  </a:lnTo>
                  <a:lnTo>
                    <a:pt x="1499" y="273"/>
                  </a:lnTo>
                  <a:lnTo>
                    <a:pt x="1499" y="273"/>
                  </a:lnTo>
                  <a:lnTo>
                    <a:pt x="1492" y="273"/>
                  </a:lnTo>
                  <a:lnTo>
                    <a:pt x="1489" y="273"/>
                  </a:lnTo>
                  <a:lnTo>
                    <a:pt x="1487" y="273"/>
                  </a:lnTo>
                  <a:lnTo>
                    <a:pt x="1487" y="273"/>
                  </a:lnTo>
                  <a:lnTo>
                    <a:pt x="1487" y="280"/>
                  </a:lnTo>
                  <a:lnTo>
                    <a:pt x="1487" y="285"/>
                  </a:lnTo>
                  <a:lnTo>
                    <a:pt x="1487" y="285"/>
                  </a:lnTo>
                  <a:lnTo>
                    <a:pt x="1480" y="285"/>
                  </a:lnTo>
                  <a:lnTo>
                    <a:pt x="1475" y="285"/>
                  </a:lnTo>
                  <a:lnTo>
                    <a:pt x="1475" y="285"/>
                  </a:lnTo>
                  <a:lnTo>
                    <a:pt x="1468" y="285"/>
                  </a:lnTo>
                  <a:lnTo>
                    <a:pt x="1464" y="285"/>
                  </a:lnTo>
                  <a:lnTo>
                    <a:pt x="1464" y="285"/>
                  </a:lnTo>
                  <a:lnTo>
                    <a:pt x="1464" y="287"/>
                  </a:lnTo>
                  <a:lnTo>
                    <a:pt x="1464" y="290"/>
                  </a:lnTo>
                  <a:lnTo>
                    <a:pt x="1464" y="297"/>
                  </a:lnTo>
                  <a:lnTo>
                    <a:pt x="1464" y="297"/>
                  </a:lnTo>
                  <a:lnTo>
                    <a:pt x="1456" y="297"/>
                  </a:lnTo>
                  <a:lnTo>
                    <a:pt x="1452" y="297"/>
                  </a:lnTo>
                  <a:lnTo>
                    <a:pt x="1452" y="297"/>
                  </a:lnTo>
                  <a:lnTo>
                    <a:pt x="1452" y="302"/>
                  </a:lnTo>
                  <a:lnTo>
                    <a:pt x="1452" y="309"/>
                  </a:lnTo>
                  <a:lnTo>
                    <a:pt x="1452" y="309"/>
                  </a:lnTo>
                  <a:lnTo>
                    <a:pt x="1452" y="320"/>
                  </a:lnTo>
                  <a:lnTo>
                    <a:pt x="1452" y="320"/>
                  </a:lnTo>
                  <a:lnTo>
                    <a:pt x="1428" y="320"/>
                  </a:lnTo>
                  <a:lnTo>
                    <a:pt x="1428" y="320"/>
                  </a:lnTo>
                  <a:lnTo>
                    <a:pt x="1428" y="297"/>
                  </a:lnTo>
                  <a:lnTo>
                    <a:pt x="1428" y="297"/>
                  </a:lnTo>
                  <a:lnTo>
                    <a:pt x="1428" y="285"/>
                  </a:lnTo>
                  <a:lnTo>
                    <a:pt x="1428" y="285"/>
                  </a:lnTo>
                  <a:lnTo>
                    <a:pt x="1428" y="262"/>
                  </a:lnTo>
                  <a:lnTo>
                    <a:pt x="1428" y="262"/>
                  </a:lnTo>
                  <a:lnTo>
                    <a:pt x="1428" y="214"/>
                  </a:lnTo>
                  <a:lnTo>
                    <a:pt x="1428" y="214"/>
                  </a:lnTo>
                  <a:lnTo>
                    <a:pt x="1428" y="191"/>
                  </a:lnTo>
                  <a:lnTo>
                    <a:pt x="1428" y="191"/>
                  </a:lnTo>
                  <a:lnTo>
                    <a:pt x="1428" y="179"/>
                  </a:lnTo>
                  <a:lnTo>
                    <a:pt x="1428" y="179"/>
                  </a:lnTo>
                  <a:lnTo>
                    <a:pt x="1428" y="153"/>
                  </a:lnTo>
                  <a:lnTo>
                    <a:pt x="1428" y="153"/>
                  </a:lnTo>
                  <a:lnTo>
                    <a:pt x="1428" y="141"/>
                  </a:lnTo>
                  <a:lnTo>
                    <a:pt x="1428" y="141"/>
                  </a:lnTo>
                  <a:lnTo>
                    <a:pt x="1428" y="130"/>
                  </a:lnTo>
                  <a:lnTo>
                    <a:pt x="1428" y="130"/>
                  </a:lnTo>
                  <a:lnTo>
                    <a:pt x="1428" y="118"/>
                  </a:lnTo>
                  <a:lnTo>
                    <a:pt x="1428" y="118"/>
                  </a:lnTo>
                  <a:lnTo>
                    <a:pt x="1421" y="118"/>
                  </a:lnTo>
                  <a:lnTo>
                    <a:pt x="1416" y="118"/>
                  </a:lnTo>
                  <a:lnTo>
                    <a:pt x="1416" y="118"/>
                  </a:lnTo>
                  <a:lnTo>
                    <a:pt x="1416" y="106"/>
                  </a:lnTo>
                  <a:lnTo>
                    <a:pt x="1416" y="106"/>
                  </a:lnTo>
                  <a:lnTo>
                    <a:pt x="1416" y="94"/>
                  </a:lnTo>
                  <a:lnTo>
                    <a:pt x="1416" y="94"/>
                  </a:lnTo>
                  <a:lnTo>
                    <a:pt x="1390" y="94"/>
                  </a:lnTo>
                  <a:lnTo>
                    <a:pt x="1390" y="94"/>
                  </a:lnTo>
                  <a:lnTo>
                    <a:pt x="1367" y="94"/>
                  </a:lnTo>
                  <a:lnTo>
                    <a:pt x="1367" y="94"/>
                  </a:lnTo>
                  <a:lnTo>
                    <a:pt x="1362" y="94"/>
                  </a:lnTo>
                  <a:lnTo>
                    <a:pt x="1358" y="94"/>
                  </a:lnTo>
                  <a:lnTo>
                    <a:pt x="1355" y="94"/>
                  </a:lnTo>
                  <a:lnTo>
                    <a:pt x="1355" y="94"/>
                  </a:lnTo>
                  <a:lnTo>
                    <a:pt x="1355" y="101"/>
                  </a:lnTo>
                  <a:lnTo>
                    <a:pt x="1355" y="106"/>
                  </a:lnTo>
                  <a:lnTo>
                    <a:pt x="1355" y="106"/>
                  </a:lnTo>
                  <a:lnTo>
                    <a:pt x="1358" y="113"/>
                  </a:lnTo>
                  <a:lnTo>
                    <a:pt x="1355" y="118"/>
                  </a:lnTo>
                  <a:lnTo>
                    <a:pt x="1355" y="118"/>
                  </a:lnTo>
                  <a:lnTo>
                    <a:pt x="1350" y="118"/>
                  </a:lnTo>
                  <a:lnTo>
                    <a:pt x="1343" y="118"/>
                  </a:lnTo>
                  <a:lnTo>
                    <a:pt x="1343" y="118"/>
                  </a:lnTo>
                  <a:lnTo>
                    <a:pt x="1343" y="130"/>
                  </a:lnTo>
                  <a:lnTo>
                    <a:pt x="1343" y="130"/>
                  </a:lnTo>
                  <a:lnTo>
                    <a:pt x="1343" y="141"/>
                  </a:lnTo>
                  <a:lnTo>
                    <a:pt x="1343" y="141"/>
                  </a:lnTo>
                  <a:lnTo>
                    <a:pt x="1343" y="153"/>
                  </a:lnTo>
                  <a:lnTo>
                    <a:pt x="1343" y="153"/>
                  </a:lnTo>
                  <a:lnTo>
                    <a:pt x="1343" y="179"/>
                  </a:lnTo>
                  <a:lnTo>
                    <a:pt x="1343" y="179"/>
                  </a:lnTo>
                  <a:lnTo>
                    <a:pt x="1343" y="191"/>
                  </a:lnTo>
                  <a:lnTo>
                    <a:pt x="1343" y="191"/>
                  </a:lnTo>
                  <a:lnTo>
                    <a:pt x="1343" y="214"/>
                  </a:lnTo>
                  <a:lnTo>
                    <a:pt x="1343" y="214"/>
                  </a:lnTo>
                  <a:lnTo>
                    <a:pt x="1343" y="262"/>
                  </a:lnTo>
                  <a:lnTo>
                    <a:pt x="1343" y="262"/>
                  </a:lnTo>
                  <a:lnTo>
                    <a:pt x="1343" y="273"/>
                  </a:lnTo>
                  <a:lnTo>
                    <a:pt x="1343" y="273"/>
                  </a:lnTo>
                  <a:lnTo>
                    <a:pt x="1339" y="273"/>
                  </a:lnTo>
                  <a:lnTo>
                    <a:pt x="1332" y="273"/>
                  </a:lnTo>
                  <a:lnTo>
                    <a:pt x="1332" y="273"/>
                  </a:lnTo>
                  <a:lnTo>
                    <a:pt x="1332" y="278"/>
                  </a:lnTo>
                  <a:lnTo>
                    <a:pt x="1332" y="285"/>
                  </a:lnTo>
                  <a:lnTo>
                    <a:pt x="1332" y="285"/>
                  </a:lnTo>
                  <a:lnTo>
                    <a:pt x="1329" y="285"/>
                  </a:lnTo>
                  <a:lnTo>
                    <a:pt x="1327" y="285"/>
                  </a:lnTo>
                  <a:lnTo>
                    <a:pt x="1320" y="285"/>
                  </a:lnTo>
                  <a:lnTo>
                    <a:pt x="1320" y="285"/>
                  </a:lnTo>
                  <a:lnTo>
                    <a:pt x="1320" y="297"/>
                  </a:lnTo>
                  <a:lnTo>
                    <a:pt x="1320" y="297"/>
                  </a:lnTo>
                  <a:lnTo>
                    <a:pt x="1320" y="309"/>
                  </a:lnTo>
                  <a:lnTo>
                    <a:pt x="1320" y="309"/>
                  </a:lnTo>
                  <a:lnTo>
                    <a:pt x="1320" y="320"/>
                  </a:lnTo>
                  <a:lnTo>
                    <a:pt x="1320" y="320"/>
                  </a:lnTo>
                  <a:lnTo>
                    <a:pt x="1320" y="332"/>
                  </a:lnTo>
                  <a:lnTo>
                    <a:pt x="1320" y="332"/>
                  </a:lnTo>
                  <a:lnTo>
                    <a:pt x="1320" y="344"/>
                  </a:lnTo>
                  <a:lnTo>
                    <a:pt x="1320" y="344"/>
                  </a:lnTo>
                  <a:lnTo>
                    <a:pt x="1320" y="351"/>
                  </a:lnTo>
                  <a:lnTo>
                    <a:pt x="1320" y="356"/>
                  </a:lnTo>
                  <a:lnTo>
                    <a:pt x="1320" y="356"/>
                  </a:lnTo>
                  <a:lnTo>
                    <a:pt x="1317" y="358"/>
                  </a:lnTo>
                  <a:lnTo>
                    <a:pt x="1315" y="356"/>
                  </a:lnTo>
                  <a:lnTo>
                    <a:pt x="1308" y="356"/>
                  </a:lnTo>
                  <a:lnTo>
                    <a:pt x="1308" y="356"/>
                  </a:lnTo>
                  <a:lnTo>
                    <a:pt x="1303" y="356"/>
                  </a:lnTo>
                  <a:lnTo>
                    <a:pt x="1299" y="356"/>
                  </a:lnTo>
                  <a:lnTo>
                    <a:pt x="1296" y="356"/>
                  </a:lnTo>
                  <a:lnTo>
                    <a:pt x="1296" y="356"/>
                  </a:lnTo>
                  <a:lnTo>
                    <a:pt x="1296" y="344"/>
                  </a:lnTo>
                  <a:lnTo>
                    <a:pt x="1296" y="344"/>
                  </a:lnTo>
                  <a:lnTo>
                    <a:pt x="1296" y="332"/>
                  </a:lnTo>
                  <a:lnTo>
                    <a:pt x="1296" y="332"/>
                  </a:lnTo>
                  <a:lnTo>
                    <a:pt x="1296" y="320"/>
                  </a:lnTo>
                  <a:lnTo>
                    <a:pt x="1296" y="320"/>
                  </a:lnTo>
                  <a:lnTo>
                    <a:pt x="1296" y="309"/>
                  </a:lnTo>
                  <a:lnTo>
                    <a:pt x="1296" y="309"/>
                  </a:lnTo>
                  <a:lnTo>
                    <a:pt x="1296" y="302"/>
                  </a:lnTo>
                  <a:lnTo>
                    <a:pt x="1296" y="297"/>
                  </a:lnTo>
                  <a:lnTo>
                    <a:pt x="1296" y="297"/>
                  </a:lnTo>
                  <a:lnTo>
                    <a:pt x="1294" y="297"/>
                  </a:lnTo>
                  <a:lnTo>
                    <a:pt x="1292" y="297"/>
                  </a:lnTo>
                  <a:lnTo>
                    <a:pt x="1287" y="297"/>
                  </a:lnTo>
                  <a:lnTo>
                    <a:pt x="1284" y="297"/>
                  </a:lnTo>
                  <a:lnTo>
                    <a:pt x="1284" y="297"/>
                  </a:lnTo>
                  <a:lnTo>
                    <a:pt x="1282" y="297"/>
                  </a:lnTo>
                  <a:lnTo>
                    <a:pt x="1280" y="297"/>
                  </a:lnTo>
                  <a:lnTo>
                    <a:pt x="1275" y="297"/>
                  </a:lnTo>
                  <a:lnTo>
                    <a:pt x="1273" y="297"/>
                  </a:lnTo>
                  <a:lnTo>
                    <a:pt x="1273" y="297"/>
                  </a:lnTo>
                  <a:lnTo>
                    <a:pt x="1273" y="290"/>
                  </a:lnTo>
                  <a:lnTo>
                    <a:pt x="1273" y="285"/>
                  </a:lnTo>
                  <a:lnTo>
                    <a:pt x="1273" y="285"/>
                  </a:lnTo>
                  <a:lnTo>
                    <a:pt x="1268" y="285"/>
                  </a:lnTo>
                  <a:lnTo>
                    <a:pt x="1261" y="285"/>
                  </a:lnTo>
                  <a:lnTo>
                    <a:pt x="1261" y="285"/>
                  </a:lnTo>
                  <a:lnTo>
                    <a:pt x="1254" y="285"/>
                  </a:lnTo>
                  <a:lnTo>
                    <a:pt x="1249" y="285"/>
                  </a:lnTo>
                  <a:lnTo>
                    <a:pt x="1249" y="285"/>
                  </a:lnTo>
                  <a:lnTo>
                    <a:pt x="1249" y="283"/>
                  </a:lnTo>
                  <a:lnTo>
                    <a:pt x="1249" y="278"/>
                  </a:lnTo>
                  <a:lnTo>
                    <a:pt x="1249" y="273"/>
                  </a:lnTo>
                  <a:lnTo>
                    <a:pt x="1249" y="273"/>
                  </a:lnTo>
                  <a:lnTo>
                    <a:pt x="1237" y="273"/>
                  </a:lnTo>
                  <a:lnTo>
                    <a:pt x="1237" y="273"/>
                  </a:lnTo>
                  <a:lnTo>
                    <a:pt x="1230" y="273"/>
                  </a:lnTo>
                  <a:lnTo>
                    <a:pt x="1226" y="273"/>
                  </a:lnTo>
                  <a:lnTo>
                    <a:pt x="1226" y="273"/>
                  </a:lnTo>
                  <a:lnTo>
                    <a:pt x="1226" y="280"/>
                  </a:lnTo>
                  <a:lnTo>
                    <a:pt x="1226" y="285"/>
                  </a:lnTo>
                  <a:lnTo>
                    <a:pt x="1226" y="285"/>
                  </a:lnTo>
                  <a:lnTo>
                    <a:pt x="1218" y="285"/>
                  </a:lnTo>
                  <a:lnTo>
                    <a:pt x="1214" y="285"/>
                  </a:lnTo>
                  <a:lnTo>
                    <a:pt x="1214" y="285"/>
                  </a:lnTo>
                  <a:lnTo>
                    <a:pt x="1207" y="285"/>
                  </a:lnTo>
                  <a:lnTo>
                    <a:pt x="1202" y="285"/>
                  </a:lnTo>
                  <a:lnTo>
                    <a:pt x="1202" y="285"/>
                  </a:lnTo>
                  <a:lnTo>
                    <a:pt x="1200" y="287"/>
                  </a:lnTo>
                  <a:lnTo>
                    <a:pt x="1202" y="290"/>
                  </a:lnTo>
                  <a:lnTo>
                    <a:pt x="1202" y="295"/>
                  </a:lnTo>
                  <a:lnTo>
                    <a:pt x="1202" y="297"/>
                  </a:lnTo>
                  <a:lnTo>
                    <a:pt x="1202" y="297"/>
                  </a:lnTo>
                  <a:lnTo>
                    <a:pt x="1195" y="297"/>
                  </a:lnTo>
                  <a:lnTo>
                    <a:pt x="1190" y="297"/>
                  </a:lnTo>
                  <a:lnTo>
                    <a:pt x="1190" y="297"/>
                  </a:lnTo>
                  <a:lnTo>
                    <a:pt x="1183" y="297"/>
                  </a:lnTo>
                  <a:lnTo>
                    <a:pt x="1178" y="297"/>
                  </a:lnTo>
                  <a:lnTo>
                    <a:pt x="1178" y="297"/>
                  </a:lnTo>
                  <a:lnTo>
                    <a:pt x="1178" y="302"/>
                  </a:lnTo>
                  <a:lnTo>
                    <a:pt x="1178" y="309"/>
                  </a:lnTo>
                  <a:lnTo>
                    <a:pt x="1178" y="309"/>
                  </a:lnTo>
                  <a:lnTo>
                    <a:pt x="1176" y="316"/>
                  </a:lnTo>
                  <a:lnTo>
                    <a:pt x="1178" y="320"/>
                  </a:lnTo>
                  <a:lnTo>
                    <a:pt x="1178" y="320"/>
                  </a:lnTo>
                  <a:lnTo>
                    <a:pt x="1178" y="332"/>
                  </a:lnTo>
                  <a:lnTo>
                    <a:pt x="1178" y="332"/>
                  </a:lnTo>
                  <a:lnTo>
                    <a:pt x="1178" y="339"/>
                  </a:lnTo>
                  <a:lnTo>
                    <a:pt x="1178" y="344"/>
                  </a:lnTo>
                  <a:lnTo>
                    <a:pt x="1178" y="344"/>
                  </a:lnTo>
                  <a:lnTo>
                    <a:pt x="1176" y="344"/>
                  </a:lnTo>
                  <a:lnTo>
                    <a:pt x="1171" y="344"/>
                  </a:lnTo>
                  <a:lnTo>
                    <a:pt x="1167" y="344"/>
                  </a:lnTo>
                  <a:lnTo>
                    <a:pt x="1167" y="344"/>
                  </a:lnTo>
                  <a:lnTo>
                    <a:pt x="1167" y="320"/>
                  </a:lnTo>
                  <a:lnTo>
                    <a:pt x="1167" y="320"/>
                  </a:lnTo>
                  <a:lnTo>
                    <a:pt x="1160" y="320"/>
                  </a:lnTo>
                  <a:lnTo>
                    <a:pt x="1157" y="320"/>
                  </a:lnTo>
                  <a:lnTo>
                    <a:pt x="1155" y="320"/>
                  </a:lnTo>
                  <a:lnTo>
                    <a:pt x="1155" y="320"/>
                  </a:lnTo>
                  <a:lnTo>
                    <a:pt x="1153" y="318"/>
                  </a:lnTo>
                  <a:lnTo>
                    <a:pt x="1153" y="316"/>
                  </a:lnTo>
                  <a:lnTo>
                    <a:pt x="1155" y="309"/>
                  </a:lnTo>
                  <a:lnTo>
                    <a:pt x="1155" y="309"/>
                  </a:lnTo>
                  <a:lnTo>
                    <a:pt x="1153" y="306"/>
                  </a:lnTo>
                  <a:lnTo>
                    <a:pt x="1155" y="304"/>
                  </a:lnTo>
                  <a:lnTo>
                    <a:pt x="1155" y="299"/>
                  </a:lnTo>
                  <a:lnTo>
                    <a:pt x="1155" y="297"/>
                  </a:lnTo>
                  <a:lnTo>
                    <a:pt x="1155" y="297"/>
                  </a:lnTo>
                  <a:lnTo>
                    <a:pt x="1141" y="297"/>
                  </a:lnTo>
                  <a:lnTo>
                    <a:pt x="1141" y="297"/>
                  </a:lnTo>
                  <a:lnTo>
                    <a:pt x="1136" y="297"/>
                  </a:lnTo>
                  <a:lnTo>
                    <a:pt x="1129" y="297"/>
                  </a:lnTo>
                  <a:lnTo>
                    <a:pt x="1129" y="297"/>
                  </a:lnTo>
                  <a:lnTo>
                    <a:pt x="1129" y="295"/>
                  </a:lnTo>
                  <a:lnTo>
                    <a:pt x="1129" y="292"/>
                  </a:lnTo>
                  <a:lnTo>
                    <a:pt x="1129" y="285"/>
                  </a:lnTo>
                  <a:lnTo>
                    <a:pt x="1129" y="285"/>
                  </a:lnTo>
                  <a:lnTo>
                    <a:pt x="1127" y="285"/>
                  </a:lnTo>
                  <a:lnTo>
                    <a:pt x="1124" y="285"/>
                  </a:lnTo>
                  <a:lnTo>
                    <a:pt x="1120" y="285"/>
                  </a:lnTo>
                  <a:lnTo>
                    <a:pt x="1117" y="285"/>
                  </a:lnTo>
                  <a:lnTo>
                    <a:pt x="1117" y="285"/>
                  </a:lnTo>
                  <a:lnTo>
                    <a:pt x="1117" y="283"/>
                  </a:lnTo>
                  <a:lnTo>
                    <a:pt x="1117" y="278"/>
                  </a:lnTo>
                  <a:lnTo>
                    <a:pt x="1117" y="273"/>
                  </a:lnTo>
                  <a:lnTo>
                    <a:pt x="1117" y="273"/>
                  </a:lnTo>
                  <a:lnTo>
                    <a:pt x="1105" y="273"/>
                  </a:lnTo>
                  <a:lnTo>
                    <a:pt x="1105" y="273"/>
                  </a:lnTo>
                  <a:lnTo>
                    <a:pt x="1094" y="273"/>
                  </a:lnTo>
                  <a:lnTo>
                    <a:pt x="1094" y="273"/>
                  </a:lnTo>
                  <a:lnTo>
                    <a:pt x="1046" y="273"/>
                  </a:lnTo>
                  <a:lnTo>
                    <a:pt x="1046" y="273"/>
                  </a:lnTo>
                  <a:lnTo>
                    <a:pt x="1046" y="297"/>
                  </a:lnTo>
                  <a:lnTo>
                    <a:pt x="1046" y="297"/>
                  </a:lnTo>
                  <a:lnTo>
                    <a:pt x="1023" y="297"/>
                  </a:lnTo>
                  <a:lnTo>
                    <a:pt x="1023" y="297"/>
                  </a:lnTo>
                  <a:lnTo>
                    <a:pt x="1023" y="344"/>
                  </a:lnTo>
                  <a:lnTo>
                    <a:pt x="1023" y="344"/>
                  </a:lnTo>
                  <a:lnTo>
                    <a:pt x="1011" y="344"/>
                  </a:lnTo>
                  <a:lnTo>
                    <a:pt x="1011" y="344"/>
                  </a:lnTo>
                  <a:lnTo>
                    <a:pt x="988" y="344"/>
                  </a:lnTo>
                  <a:lnTo>
                    <a:pt x="988" y="344"/>
                  </a:lnTo>
                  <a:lnTo>
                    <a:pt x="964" y="344"/>
                  </a:lnTo>
                  <a:lnTo>
                    <a:pt x="964" y="344"/>
                  </a:lnTo>
                  <a:lnTo>
                    <a:pt x="952" y="344"/>
                  </a:lnTo>
                  <a:lnTo>
                    <a:pt x="952" y="344"/>
                  </a:lnTo>
                  <a:lnTo>
                    <a:pt x="940" y="344"/>
                  </a:lnTo>
                  <a:lnTo>
                    <a:pt x="940" y="344"/>
                  </a:lnTo>
                  <a:lnTo>
                    <a:pt x="929" y="344"/>
                  </a:lnTo>
                  <a:lnTo>
                    <a:pt x="929" y="344"/>
                  </a:lnTo>
                  <a:lnTo>
                    <a:pt x="922" y="344"/>
                  </a:lnTo>
                  <a:lnTo>
                    <a:pt x="917" y="344"/>
                  </a:lnTo>
                  <a:lnTo>
                    <a:pt x="917" y="344"/>
                  </a:lnTo>
                  <a:lnTo>
                    <a:pt x="917" y="339"/>
                  </a:lnTo>
                  <a:lnTo>
                    <a:pt x="917" y="332"/>
                  </a:lnTo>
                  <a:lnTo>
                    <a:pt x="917" y="332"/>
                  </a:lnTo>
                  <a:lnTo>
                    <a:pt x="915" y="332"/>
                  </a:lnTo>
                  <a:lnTo>
                    <a:pt x="910" y="332"/>
                  </a:lnTo>
                  <a:lnTo>
                    <a:pt x="903" y="332"/>
                  </a:lnTo>
                  <a:lnTo>
                    <a:pt x="903" y="332"/>
                  </a:lnTo>
                  <a:lnTo>
                    <a:pt x="903" y="309"/>
                  </a:lnTo>
                  <a:lnTo>
                    <a:pt x="903" y="309"/>
                  </a:lnTo>
                  <a:lnTo>
                    <a:pt x="903" y="262"/>
                  </a:lnTo>
                  <a:lnTo>
                    <a:pt x="903" y="262"/>
                  </a:lnTo>
                  <a:lnTo>
                    <a:pt x="903" y="250"/>
                  </a:lnTo>
                  <a:lnTo>
                    <a:pt x="903" y="250"/>
                  </a:lnTo>
                  <a:lnTo>
                    <a:pt x="903" y="226"/>
                  </a:lnTo>
                  <a:lnTo>
                    <a:pt x="903" y="226"/>
                  </a:lnTo>
                  <a:lnTo>
                    <a:pt x="903" y="203"/>
                  </a:lnTo>
                  <a:lnTo>
                    <a:pt x="903" y="203"/>
                  </a:lnTo>
                  <a:lnTo>
                    <a:pt x="856" y="203"/>
                  </a:lnTo>
                  <a:lnTo>
                    <a:pt x="856" y="203"/>
                  </a:lnTo>
                  <a:lnTo>
                    <a:pt x="856" y="191"/>
                  </a:lnTo>
                  <a:lnTo>
                    <a:pt x="856" y="191"/>
                  </a:lnTo>
                  <a:lnTo>
                    <a:pt x="856" y="141"/>
                  </a:lnTo>
                  <a:lnTo>
                    <a:pt x="856" y="141"/>
                  </a:lnTo>
                  <a:lnTo>
                    <a:pt x="856" y="118"/>
                  </a:lnTo>
                  <a:lnTo>
                    <a:pt x="856" y="118"/>
                  </a:lnTo>
                  <a:lnTo>
                    <a:pt x="856" y="106"/>
                  </a:lnTo>
                  <a:lnTo>
                    <a:pt x="856" y="106"/>
                  </a:lnTo>
                  <a:lnTo>
                    <a:pt x="856" y="59"/>
                  </a:lnTo>
                  <a:lnTo>
                    <a:pt x="856" y="59"/>
                  </a:lnTo>
                  <a:lnTo>
                    <a:pt x="856" y="47"/>
                  </a:lnTo>
                  <a:lnTo>
                    <a:pt x="856" y="47"/>
                  </a:lnTo>
                  <a:lnTo>
                    <a:pt x="856" y="24"/>
                  </a:lnTo>
                  <a:lnTo>
                    <a:pt x="856" y="24"/>
                  </a:lnTo>
                  <a:lnTo>
                    <a:pt x="851" y="24"/>
                  </a:lnTo>
                  <a:lnTo>
                    <a:pt x="844" y="24"/>
                  </a:lnTo>
                  <a:lnTo>
                    <a:pt x="844" y="24"/>
                  </a:lnTo>
                  <a:lnTo>
                    <a:pt x="844" y="12"/>
                  </a:lnTo>
                  <a:lnTo>
                    <a:pt x="844" y="12"/>
                  </a:lnTo>
                  <a:lnTo>
                    <a:pt x="844" y="0"/>
                  </a:lnTo>
                  <a:lnTo>
                    <a:pt x="844" y="0"/>
                  </a:lnTo>
                  <a:lnTo>
                    <a:pt x="750" y="0"/>
                  </a:lnTo>
                  <a:lnTo>
                    <a:pt x="750" y="0"/>
                  </a:lnTo>
                  <a:lnTo>
                    <a:pt x="750" y="12"/>
                  </a:lnTo>
                  <a:lnTo>
                    <a:pt x="750" y="12"/>
                  </a:lnTo>
                  <a:lnTo>
                    <a:pt x="750" y="35"/>
                  </a:lnTo>
                  <a:lnTo>
                    <a:pt x="750" y="35"/>
                  </a:lnTo>
                  <a:lnTo>
                    <a:pt x="750" y="47"/>
                  </a:lnTo>
                  <a:lnTo>
                    <a:pt x="750" y="47"/>
                  </a:lnTo>
                  <a:lnTo>
                    <a:pt x="750" y="54"/>
                  </a:lnTo>
                  <a:lnTo>
                    <a:pt x="750" y="59"/>
                  </a:lnTo>
                  <a:lnTo>
                    <a:pt x="750" y="59"/>
                  </a:lnTo>
                  <a:lnTo>
                    <a:pt x="743" y="59"/>
                  </a:lnTo>
                  <a:lnTo>
                    <a:pt x="738" y="59"/>
                  </a:lnTo>
                  <a:lnTo>
                    <a:pt x="738" y="59"/>
                  </a:lnTo>
                  <a:lnTo>
                    <a:pt x="738" y="64"/>
                  </a:lnTo>
                  <a:lnTo>
                    <a:pt x="738" y="71"/>
                  </a:lnTo>
                  <a:lnTo>
                    <a:pt x="738" y="71"/>
                  </a:lnTo>
                  <a:lnTo>
                    <a:pt x="738" y="82"/>
                  </a:lnTo>
                  <a:lnTo>
                    <a:pt x="738" y="82"/>
                  </a:lnTo>
                  <a:lnTo>
                    <a:pt x="738" y="106"/>
                  </a:lnTo>
                  <a:lnTo>
                    <a:pt x="738" y="106"/>
                  </a:lnTo>
                  <a:lnTo>
                    <a:pt x="738" y="118"/>
                  </a:lnTo>
                  <a:lnTo>
                    <a:pt x="738" y="118"/>
                  </a:lnTo>
                  <a:lnTo>
                    <a:pt x="738" y="141"/>
                  </a:lnTo>
                  <a:lnTo>
                    <a:pt x="738" y="141"/>
                  </a:lnTo>
                  <a:lnTo>
                    <a:pt x="738" y="238"/>
                  </a:lnTo>
                  <a:lnTo>
                    <a:pt x="738" y="238"/>
                  </a:lnTo>
                  <a:lnTo>
                    <a:pt x="738" y="250"/>
                  </a:lnTo>
                  <a:lnTo>
                    <a:pt x="738" y="250"/>
                  </a:lnTo>
                  <a:lnTo>
                    <a:pt x="738" y="273"/>
                  </a:lnTo>
                  <a:lnTo>
                    <a:pt x="738" y="273"/>
                  </a:lnTo>
                  <a:lnTo>
                    <a:pt x="738" y="320"/>
                  </a:lnTo>
                  <a:lnTo>
                    <a:pt x="738" y="320"/>
                  </a:lnTo>
                  <a:lnTo>
                    <a:pt x="726" y="320"/>
                  </a:lnTo>
                  <a:lnTo>
                    <a:pt x="726" y="320"/>
                  </a:lnTo>
                  <a:lnTo>
                    <a:pt x="726" y="309"/>
                  </a:lnTo>
                  <a:lnTo>
                    <a:pt x="726" y="309"/>
                  </a:lnTo>
                  <a:lnTo>
                    <a:pt x="726" y="297"/>
                  </a:lnTo>
                  <a:lnTo>
                    <a:pt x="726" y="297"/>
                  </a:lnTo>
                  <a:lnTo>
                    <a:pt x="726" y="285"/>
                  </a:lnTo>
                  <a:lnTo>
                    <a:pt x="726" y="285"/>
                  </a:lnTo>
                  <a:lnTo>
                    <a:pt x="726" y="278"/>
                  </a:lnTo>
                  <a:lnTo>
                    <a:pt x="726" y="273"/>
                  </a:lnTo>
                  <a:lnTo>
                    <a:pt x="726" y="273"/>
                  </a:lnTo>
                  <a:lnTo>
                    <a:pt x="724" y="273"/>
                  </a:lnTo>
                  <a:lnTo>
                    <a:pt x="719" y="273"/>
                  </a:lnTo>
                  <a:lnTo>
                    <a:pt x="714" y="273"/>
                  </a:lnTo>
                  <a:lnTo>
                    <a:pt x="714" y="273"/>
                  </a:lnTo>
                  <a:lnTo>
                    <a:pt x="712" y="271"/>
                  </a:lnTo>
                  <a:lnTo>
                    <a:pt x="714" y="266"/>
                  </a:lnTo>
                  <a:lnTo>
                    <a:pt x="714" y="262"/>
                  </a:lnTo>
                  <a:lnTo>
                    <a:pt x="714" y="262"/>
                  </a:lnTo>
                  <a:lnTo>
                    <a:pt x="702" y="262"/>
                  </a:lnTo>
                  <a:lnTo>
                    <a:pt x="702" y="262"/>
                  </a:lnTo>
                  <a:lnTo>
                    <a:pt x="679" y="262"/>
                  </a:lnTo>
                  <a:lnTo>
                    <a:pt x="679" y="262"/>
                  </a:lnTo>
                  <a:lnTo>
                    <a:pt x="679" y="266"/>
                  </a:lnTo>
                  <a:lnTo>
                    <a:pt x="679" y="273"/>
                  </a:lnTo>
                  <a:lnTo>
                    <a:pt x="679" y="273"/>
                  </a:lnTo>
                  <a:lnTo>
                    <a:pt x="667" y="273"/>
                  </a:lnTo>
                  <a:lnTo>
                    <a:pt x="667" y="273"/>
                  </a:lnTo>
                  <a:lnTo>
                    <a:pt x="660" y="273"/>
                  </a:lnTo>
                  <a:lnTo>
                    <a:pt x="653" y="273"/>
                  </a:lnTo>
                  <a:lnTo>
                    <a:pt x="653" y="273"/>
                  </a:lnTo>
                  <a:lnTo>
                    <a:pt x="653" y="278"/>
                  </a:lnTo>
                  <a:lnTo>
                    <a:pt x="653" y="285"/>
                  </a:lnTo>
                  <a:lnTo>
                    <a:pt x="653" y="285"/>
                  </a:lnTo>
                  <a:lnTo>
                    <a:pt x="641" y="285"/>
                  </a:lnTo>
                  <a:lnTo>
                    <a:pt x="641" y="285"/>
                  </a:lnTo>
                  <a:lnTo>
                    <a:pt x="629" y="285"/>
                  </a:lnTo>
                  <a:lnTo>
                    <a:pt x="629" y="285"/>
                  </a:lnTo>
                  <a:lnTo>
                    <a:pt x="629" y="292"/>
                  </a:lnTo>
                  <a:lnTo>
                    <a:pt x="632" y="295"/>
                  </a:lnTo>
                  <a:lnTo>
                    <a:pt x="629" y="297"/>
                  </a:lnTo>
                  <a:lnTo>
                    <a:pt x="629" y="297"/>
                  </a:lnTo>
                  <a:lnTo>
                    <a:pt x="625" y="297"/>
                  </a:lnTo>
                  <a:lnTo>
                    <a:pt x="618" y="297"/>
                  </a:lnTo>
                  <a:lnTo>
                    <a:pt x="618" y="297"/>
                  </a:lnTo>
                  <a:lnTo>
                    <a:pt x="613" y="297"/>
                  </a:lnTo>
                  <a:lnTo>
                    <a:pt x="606" y="297"/>
                  </a:lnTo>
                  <a:lnTo>
                    <a:pt x="606" y="297"/>
                  </a:lnTo>
                  <a:lnTo>
                    <a:pt x="594" y="297"/>
                  </a:lnTo>
                  <a:lnTo>
                    <a:pt x="594" y="297"/>
                  </a:lnTo>
                  <a:lnTo>
                    <a:pt x="582" y="297"/>
                  </a:lnTo>
                  <a:lnTo>
                    <a:pt x="582" y="297"/>
                  </a:lnTo>
                  <a:lnTo>
                    <a:pt x="582" y="302"/>
                  </a:lnTo>
                  <a:lnTo>
                    <a:pt x="582" y="309"/>
                  </a:lnTo>
                  <a:lnTo>
                    <a:pt x="582" y="309"/>
                  </a:lnTo>
                  <a:lnTo>
                    <a:pt x="578" y="309"/>
                  </a:lnTo>
                  <a:lnTo>
                    <a:pt x="571" y="309"/>
                  </a:lnTo>
                  <a:lnTo>
                    <a:pt x="571" y="309"/>
                  </a:lnTo>
                  <a:lnTo>
                    <a:pt x="571" y="316"/>
                  </a:lnTo>
                  <a:lnTo>
                    <a:pt x="571" y="320"/>
                  </a:lnTo>
                  <a:lnTo>
                    <a:pt x="571" y="320"/>
                  </a:lnTo>
                  <a:lnTo>
                    <a:pt x="566" y="320"/>
                  </a:lnTo>
                  <a:lnTo>
                    <a:pt x="559" y="320"/>
                  </a:lnTo>
                  <a:lnTo>
                    <a:pt x="559" y="320"/>
                  </a:lnTo>
                  <a:lnTo>
                    <a:pt x="559" y="328"/>
                  </a:lnTo>
                  <a:lnTo>
                    <a:pt x="559" y="332"/>
                  </a:lnTo>
                  <a:lnTo>
                    <a:pt x="559" y="332"/>
                  </a:lnTo>
                  <a:lnTo>
                    <a:pt x="559" y="356"/>
                  </a:lnTo>
                  <a:lnTo>
                    <a:pt x="559" y="356"/>
                  </a:lnTo>
                  <a:lnTo>
                    <a:pt x="554" y="356"/>
                  </a:lnTo>
                  <a:lnTo>
                    <a:pt x="547" y="356"/>
                  </a:lnTo>
                  <a:lnTo>
                    <a:pt x="547" y="356"/>
                  </a:lnTo>
                  <a:lnTo>
                    <a:pt x="542" y="356"/>
                  </a:lnTo>
                  <a:lnTo>
                    <a:pt x="535" y="356"/>
                  </a:lnTo>
                  <a:lnTo>
                    <a:pt x="535" y="356"/>
                  </a:lnTo>
                  <a:lnTo>
                    <a:pt x="528" y="356"/>
                  </a:lnTo>
                  <a:lnTo>
                    <a:pt x="523" y="356"/>
                  </a:lnTo>
                  <a:lnTo>
                    <a:pt x="523" y="356"/>
                  </a:lnTo>
                  <a:lnTo>
                    <a:pt x="523" y="351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00" y="344"/>
                  </a:lnTo>
                  <a:lnTo>
                    <a:pt x="500" y="344"/>
                  </a:lnTo>
                  <a:lnTo>
                    <a:pt x="476" y="344"/>
                  </a:lnTo>
                  <a:lnTo>
                    <a:pt x="476" y="344"/>
                  </a:lnTo>
                  <a:lnTo>
                    <a:pt x="453" y="344"/>
                  </a:lnTo>
                  <a:lnTo>
                    <a:pt x="453" y="344"/>
                  </a:lnTo>
                  <a:lnTo>
                    <a:pt x="453" y="339"/>
                  </a:lnTo>
                  <a:lnTo>
                    <a:pt x="453" y="335"/>
                  </a:lnTo>
                  <a:lnTo>
                    <a:pt x="453" y="332"/>
                  </a:lnTo>
                  <a:lnTo>
                    <a:pt x="453" y="332"/>
                  </a:lnTo>
                  <a:lnTo>
                    <a:pt x="446" y="332"/>
                  </a:lnTo>
                  <a:lnTo>
                    <a:pt x="441" y="332"/>
                  </a:lnTo>
                  <a:lnTo>
                    <a:pt x="441" y="332"/>
                  </a:lnTo>
                  <a:lnTo>
                    <a:pt x="429" y="332"/>
                  </a:lnTo>
                  <a:lnTo>
                    <a:pt x="429" y="332"/>
                  </a:lnTo>
                  <a:lnTo>
                    <a:pt x="429" y="339"/>
                  </a:lnTo>
                  <a:lnTo>
                    <a:pt x="429" y="342"/>
                  </a:lnTo>
                  <a:lnTo>
                    <a:pt x="429" y="344"/>
                  </a:lnTo>
                  <a:lnTo>
                    <a:pt x="429" y="344"/>
                  </a:lnTo>
                  <a:lnTo>
                    <a:pt x="422" y="344"/>
                  </a:lnTo>
                  <a:lnTo>
                    <a:pt x="417" y="344"/>
                  </a:lnTo>
                  <a:lnTo>
                    <a:pt x="417" y="344"/>
                  </a:lnTo>
                  <a:lnTo>
                    <a:pt x="403" y="344"/>
                  </a:lnTo>
                  <a:lnTo>
                    <a:pt x="403" y="344"/>
                  </a:lnTo>
                  <a:lnTo>
                    <a:pt x="399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87" y="344"/>
                  </a:lnTo>
                  <a:lnTo>
                    <a:pt x="380" y="344"/>
                  </a:lnTo>
                  <a:lnTo>
                    <a:pt x="380" y="344"/>
                  </a:lnTo>
                  <a:lnTo>
                    <a:pt x="380" y="346"/>
                  </a:lnTo>
                  <a:lnTo>
                    <a:pt x="380" y="351"/>
                  </a:lnTo>
                  <a:lnTo>
                    <a:pt x="380" y="356"/>
                  </a:lnTo>
                  <a:lnTo>
                    <a:pt x="380" y="356"/>
                  </a:lnTo>
                  <a:lnTo>
                    <a:pt x="356" y="356"/>
                  </a:lnTo>
                  <a:lnTo>
                    <a:pt x="356" y="356"/>
                  </a:lnTo>
                  <a:lnTo>
                    <a:pt x="344" y="356"/>
                  </a:lnTo>
                  <a:lnTo>
                    <a:pt x="344" y="356"/>
                  </a:lnTo>
                  <a:lnTo>
                    <a:pt x="321" y="356"/>
                  </a:lnTo>
                  <a:lnTo>
                    <a:pt x="321" y="356"/>
                  </a:lnTo>
                  <a:lnTo>
                    <a:pt x="309" y="356"/>
                  </a:lnTo>
                  <a:lnTo>
                    <a:pt x="309" y="356"/>
                  </a:lnTo>
                  <a:lnTo>
                    <a:pt x="297" y="356"/>
                  </a:lnTo>
                  <a:lnTo>
                    <a:pt x="297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74" y="356"/>
                  </a:lnTo>
                  <a:lnTo>
                    <a:pt x="274" y="356"/>
                  </a:lnTo>
                  <a:lnTo>
                    <a:pt x="262" y="356"/>
                  </a:lnTo>
                  <a:lnTo>
                    <a:pt x="262" y="356"/>
                  </a:lnTo>
                  <a:lnTo>
                    <a:pt x="250" y="356"/>
                  </a:lnTo>
                  <a:lnTo>
                    <a:pt x="250" y="356"/>
                  </a:lnTo>
                  <a:lnTo>
                    <a:pt x="243" y="356"/>
                  </a:lnTo>
                  <a:lnTo>
                    <a:pt x="238" y="356"/>
                  </a:lnTo>
                  <a:lnTo>
                    <a:pt x="238" y="356"/>
                  </a:lnTo>
                  <a:lnTo>
                    <a:pt x="238" y="351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31" y="344"/>
                  </a:lnTo>
                  <a:lnTo>
                    <a:pt x="227" y="344"/>
                  </a:lnTo>
                  <a:lnTo>
                    <a:pt x="227" y="344"/>
                  </a:lnTo>
                  <a:lnTo>
                    <a:pt x="227" y="356"/>
                  </a:lnTo>
                  <a:lnTo>
                    <a:pt x="227" y="356"/>
                  </a:lnTo>
                  <a:lnTo>
                    <a:pt x="215" y="356"/>
                  </a:lnTo>
                  <a:lnTo>
                    <a:pt x="215" y="356"/>
                  </a:lnTo>
                  <a:lnTo>
                    <a:pt x="203" y="356"/>
                  </a:lnTo>
                  <a:lnTo>
                    <a:pt x="203" y="356"/>
                  </a:lnTo>
                  <a:lnTo>
                    <a:pt x="191" y="356"/>
                  </a:lnTo>
                  <a:lnTo>
                    <a:pt x="191" y="356"/>
                  </a:lnTo>
                  <a:lnTo>
                    <a:pt x="179" y="356"/>
                  </a:lnTo>
                  <a:lnTo>
                    <a:pt x="179" y="356"/>
                  </a:lnTo>
                  <a:lnTo>
                    <a:pt x="165" y="356"/>
                  </a:lnTo>
                  <a:lnTo>
                    <a:pt x="165" y="356"/>
                  </a:lnTo>
                  <a:lnTo>
                    <a:pt x="153" y="356"/>
                  </a:lnTo>
                  <a:lnTo>
                    <a:pt x="153" y="356"/>
                  </a:lnTo>
                  <a:lnTo>
                    <a:pt x="130" y="356"/>
                  </a:lnTo>
                  <a:lnTo>
                    <a:pt x="130" y="356"/>
                  </a:lnTo>
                  <a:lnTo>
                    <a:pt x="118" y="356"/>
                  </a:lnTo>
                  <a:lnTo>
                    <a:pt x="118" y="356"/>
                  </a:lnTo>
                  <a:lnTo>
                    <a:pt x="95" y="356"/>
                  </a:lnTo>
                  <a:lnTo>
                    <a:pt x="95" y="356"/>
                  </a:lnTo>
                  <a:lnTo>
                    <a:pt x="0" y="356"/>
                  </a:lnTo>
                  <a:lnTo>
                    <a:pt x="0" y="356"/>
                  </a:lnTo>
                  <a:lnTo>
                    <a:pt x="0" y="379"/>
                  </a:lnTo>
                  <a:lnTo>
                    <a:pt x="0" y="379"/>
                  </a:lnTo>
                  <a:lnTo>
                    <a:pt x="0" y="391"/>
                  </a:lnTo>
                  <a:lnTo>
                    <a:pt x="0" y="391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0" y="429"/>
                  </a:lnTo>
                  <a:lnTo>
                    <a:pt x="0" y="429"/>
                  </a:lnTo>
                  <a:lnTo>
                    <a:pt x="0" y="452"/>
                  </a:lnTo>
                  <a:lnTo>
                    <a:pt x="0" y="452"/>
                  </a:lnTo>
                  <a:lnTo>
                    <a:pt x="0" y="476"/>
                  </a:lnTo>
                  <a:lnTo>
                    <a:pt x="0" y="476"/>
                  </a:lnTo>
                  <a:lnTo>
                    <a:pt x="12" y="476"/>
                  </a:lnTo>
                  <a:lnTo>
                    <a:pt x="12" y="476"/>
                  </a:lnTo>
                  <a:lnTo>
                    <a:pt x="36" y="476"/>
                  </a:lnTo>
                  <a:lnTo>
                    <a:pt x="36" y="476"/>
                  </a:lnTo>
                  <a:lnTo>
                    <a:pt x="83" y="476"/>
                  </a:lnTo>
                  <a:lnTo>
                    <a:pt x="83" y="476"/>
                  </a:lnTo>
                  <a:lnTo>
                    <a:pt x="106" y="476"/>
                  </a:lnTo>
                  <a:lnTo>
                    <a:pt x="106" y="476"/>
                  </a:lnTo>
                  <a:lnTo>
                    <a:pt x="118" y="476"/>
                  </a:lnTo>
                  <a:lnTo>
                    <a:pt x="118" y="476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65" y="476"/>
                  </a:lnTo>
                  <a:lnTo>
                    <a:pt x="165" y="476"/>
                  </a:lnTo>
                  <a:lnTo>
                    <a:pt x="179" y="476"/>
                  </a:lnTo>
                  <a:lnTo>
                    <a:pt x="179" y="476"/>
                  </a:lnTo>
                  <a:lnTo>
                    <a:pt x="203" y="476"/>
                  </a:lnTo>
                  <a:lnTo>
                    <a:pt x="203" y="476"/>
                  </a:lnTo>
                  <a:lnTo>
                    <a:pt x="215" y="476"/>
                  </a:lnTo>
                  <a:lnTo>
                    <a:pt x="215" y="476"/>
                  </a:lnTo>
                  <a:lnTo>
                    <a:pt x="238" y="476"/>
                  </a:lnTo>
                  <a:lnTo>
                    <a:pt x="238" y="476"/>
                  </a:lnTo>
                  <a:lnTo>
                    <a:pt x="250" y="476"/>
                  </a:lnTo>
                  <a:lnTo>
                    <a:pt x="250" y="476"/>
                  </a:lnTo>
                  <a:lnTo>
                    <a:pt x="274" y="476"/>
                  </a:lnTo>
                  <a:lnTo>
                    <a:pt x="274" y="476"/>
                  </a:lnTo>
                  <a:lnTo>
                    <a:pt x="285" y="476"/>
                  </a:lnTo>
                  <a:lnTo>
                    <a:pt x="285" y="476"/>
                  </a:lnTo>
                  <a:lnTo>
                    <a:pt x="309" y="476"/>
                  </a:lnTo>
                  <a:lnTo>
                    <a:pt x="309" y="476"/>
                  </a:lnTo>
                  <a:lnTo>
                    <a:pt x="321" y="476"/>
                  </a:lnTo>
                  <a:lnTo>
                    <a:pt x="321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56" y="476"/>
                  </a:lnTo>
                  <a:lnTo>
                    <a:pt x="356" y="476"/>
                  </a:lnTo>
                  <a:lnTo>
                    <a:pt x="380" y="476"/>
                  </a:lnTo>
                  <a:lnTo>
                    <a:pt x="380" y="476"/>
                  </a:lnTo>
                  <a:lnTo>
                    <a:pt x="391" y="476"/>
                  </a:lnTo>
                  <a:lnTo>
                    <a:pt x="391" y="476"/>
                  </a:lnTo>
                  <a:lnTo>
                    <a:pt x="441" y="476"/>
                  </a:lnTo>
                  <a:lnTo>
                    <a:pt x="441" y="476"/>
                  </a:lnTo>
                  <a:lnTo>
                    <a:pt x="453" y="476"/>
                  </a:lnTo>
                  <a:lnTo>
                    <a:pt x="453" y="476"/>
                  </a:lnTo>
                  <a:lnTo>
                    <a:pt x="476" y="476"/>
                  </a:lnTo>
                  <a:lnTo>
                    <a:pt x="476" y="476"/>
                  </a:lnTo>
                  <a:lnTo>
                    <a:pt x="488" y="476"/>
                  </a:lnTo>
                  <a:lnTo>
                    <a:pt x="488" y="476"/>
                  </a:lnTo>
                  <a:lnTo>
                    <a:pt x="512" y="476"/>
                  </a:lnTo>
                  <a:lnTo>
                    <a:pt x="512" y="476"/>
                  </a:lnTo>
                  <a:lnTo>
                    <a:pt x="523" y="476"/>
                  </a:lnTo>
                  <a:lnTo>
                    <a:pt x="523" y="476"/>
                  </a:lnTo>
                  <a:lnTo>
                    <a:pt x="547" y="476"/>
                  </a:lnTo>
                  <a:lnTo>
                    <a:pt x="547" y="476"/>
                  </a:lnTo>
                  <a:lnTo>
                    <a:pt x="559" y="476"/>
                  </a:lnTo>
                  <a:lnTo>
                    <a:pt x="559" y="476"/>
                  </a:lnTo>
                  <a:lnTo>
                    <a:pt x="582" y="476"/>
                  </a:lnTo>
                  <a:lnTo>
                    <a:pt x="582" y="476"/>
                  </a:lnTo>
                  <a:lnTo>
                    <a:pt x="594" y="476"/>
                  </a:lnTo>
                  <a:lnTo>
                    <a:pt x="594" y="476"/>
                  </a:lnTo>
                  <a:lnTo>
                    <a:pt x="618" y="476"/>
                  </a:lnTo>
                  <a:lnTo>
                    <a:pt x="618" y="476"/>
                  </a:lnTo>
                  <a:lnTo>
                    <a:pt x="629" y="476"/>
                  </a:lnTo>
                  <a:lnTo>
                    <a:pt x="629" y="476"/>
                  </a:lnTo>
                  <a:lnTo>
                    <a:pt x="653" y="476"/>
                  </a:lnTo>
                  <a:lnTo>
                    <a:pt x="653" y="476"/>
                  </a:lnTo>
                  <a:lnTo>
                    <a:pt x="667" y="476"/>
                  </a:lnTo>
                  <a:lnTo>
                    <a:pt x="667" y="476"/>
                  </a:lnTo>
                  <a:lnTo>
                    <a:pt x="714" y="476"/>
                  </a:lnTo>
                  <a:lnTo>
                    <a:pt x="714" y="476"/>
                  </a:lnTo>
                  <a:lnTo>
                    <a:pt x="726" y="476"/>
                  </a:lnTo>
                  <a:lnTo>
                    <a:pt x="726" y="476"/>
                  </a:lnTo>
                  <a:lnTo>
                    <a:pt x="750" y="476"/>
                  </a:lnTo>
                  <a:lnTo>
                    <a:pt x="750" y="476"/>
                  </a:lnTo>
                  <a:lnTo>
                    <a:pt x="761" y="476"/>
                  </a:lnTo>
                  <a:lnTo>
                    <a:pt x="761" y="476"/>
                  </a:lnTo>
                  <a:lnTo>
                    <a:pt x="785" y="476"/>
                  </a:lnTo>
                  <a:lnTo>
                    <a:pt x="785" y="476"/>
                  </a:lnTo>
                  <a:lnTo>
                    <a:pt x="797" y="476"/>
                  </a:lnTo>
                  <a:lnTo>
                    <a:pt x="797" y="476"/>
                  </a:lnTo>
                  <a:lnTo>
                    <a:pt x="820" y="476"/>
                  </a:lnTo>
                  <a:lnTo>
                    <a:pt x="820" y="476"/>
                  </a:lnTo>
                  <a:lnTo>
                    <a:pt x="832" y="476"/>
                  </a:lnTo>
                  <a:lnTo>
                    <a:pt x="832" y="476"/>
                  </a:lnTo>
                  <a:lnTo>
                    <a:pt x="856" y="476"/>
                  </a:lnTo>
                  <a:lnTo>
                    <a:pt x="856" y="476"/>
                  </a:lnTo>
                  <a:lnTo>
                    <a:pt x="867" y="476"/>
                  </a:lnTo>
                  <a:lnTo>
                    <a:pt x="867" y="476"/>
                  </a:lnTo>
                  <a:lnTo>
                    <a:pt x="891" y="476"/>
                  </a:lnTo>
                  <a:lnTo>
                    <a:pt x="891" y="476"/>
                  </a:lnTo>
                  <a:lnTo>
                    <a:pt x="903" y="476"/>
                  </a:lnTo>
                  <a:lnTo>
                    <a:pt x="903" y="476"/>
                  </a:lnTo>
                  <a:lnTo>
                    <a:pt x="929" y="476"/>
                  </a:lnTo>
                  <a:lnTo>
                    <a:pt x="929" y="476"/>
                  </a:lnTo>
                  <a:lnTo>
                    <a:pt x="940" y="476"/>
                  </a:lnTo>
                  <a:lnTo>
                    <a:pt x="940" y="476"/>
                  </a:lnTo>
                  <a:lnTo>
                    <a:pt x="988" y="476"/>
                  </a:lnTo>
                  <a:lnTo>
                    <a:pt x="988" y="476"/>
                  </a:lnTo>
                  <a:lnTo>
                    <a:pt x="999" y="476"/>
                  </a:lnTo>
                  <a:lnTo>
                    <a:pt x="999" y="476"/>
                  </a:lnTo>
                  <a:lnTo>
                    <a:pt x="1023" y="476"/>
                  </a:lnTo>
                  <a:lnTo>
                    <a:pt x="1023" y="476"/>
                  </a:lnTo>
                  <a:lnTo>
                    <a:pt x="1035" y="476"/>
                  </a:lnTo>
                  <a:lnTo>
                    <a:pt x="1035" y="476"/>
                  </a:lnTo>
                  <a:lnTo>
                    <a:pt x="1058" y="476"/>
                  </a:lnTo>
                  <a:lnTo>
                    <a:pt x="1058" y="476"/>
                  </a:lnTo>
                  <a:lnTo>
                    <a:pt x="1070" y="476"/>
                  </a:lnTo>
                  <a:lnTo>
                    <a:pt x="1070" y="476"/>
                  </a:lnTo>
                  <a:lnTo>
                    <a:pt x="1094" y="476"/>
                  </a:lnTo>
                  <a:lnTo>
                    <a:pt x="1094" y="476"/>
                  </a:lnTo>
                  <a:lnTo>
                    <a:pt x="1105" y="476"/>
                  </a:lnTo>
                  <a:lnTo>
                    <a:pt x="1105" y="476"/>
                  </a:lnTo>
                  <a:lnTo>
                    <a:pt x="1129" y="476"/>
                  </a:lnTo>
                  <a:lnTo>
                    <a:pt x="1129" y="476"/>
                  </a:lnTo>
                  <a:lnTo>
                    <a:pt x="1141" y="476"/>
                  </a:lnTo>
                  <a:lnTo>
                    <a:pt x="1141" y="476"/>
                  </a:lnTo>
                  <a:lnTo>
                    <a:pt x="1167" y="476"/>
                  </a:lnTo>
                  <a:lnTo>
                    <a:pt x="1167" y="476"/>
                  </a:lnTo>
                  <a:lnTo>
                    <a:pt x="1178" y="476"/>
                  </a:lnTo>
                  <a:lnTo>
                    <a:pt x="1178" y="476"/>
                  </a:lnTo>
                  <a:lnTo>
                    <a:pt x="1202" y="476"/>
                  </a:lnTo>
                  <a:lnTo>
                    <a:pt x="1202" y="476"/>
                  </a:lnTo>
                  <a:lnTo>
                    <a:pt x="1214" y="476"/>
                  </a:lnTo>
                  <a:lnTo>
                    <a:pt x="1214" y="476"/>
                  </a:lnTo>
                  <a:lnTo>
                    <a:pt x="1261" y="476"/>
                  </a:lnTo>
                  <a:lnTo>
                    <a:pt x="1261" y="476"/>
                  </a:lnTo>
                  <a:lnTo>
                    <a:pt x="1273" y="476"/>
                  </a:lnTo>
                  <a:lnTo>
                    <a:pt x="1273" y="476"/>
                  </a:lnTo>
                  <a:lnTo>
                    <a:pt x="1296" y="476"/>
                  </a:lnTo>
                  <a:lnTo>
                    <a:pt x="1296" y="476"/>
                  </a:lnTo>
                  <a:lnTo>
                    <a:pt x="1308" y="476"/>
                  </a:lnTo>
                  <a:lnTo>
                    <a:pt x="1308" y="476"/>
                  </a:lnTo>
                  <a:lnTo>
                    <a:pt x="1332" y="476"/>
                  </a:lnTo>
                  <a:lnTo>
                    <a:pt x="1332" y="476"/>
                  </a:lnTo>
                  <a:lnTo>
                    <a:pt x="1343" y="476"/>
                  </a:lnTo>
                  <a:lnTo>
                    <a:pt x="1343" y="476"/>
                  </a:lnTo>
                  <a:lnTo>
                    <a:pt x="1367" y="476"/>
                  </a:lnTo>
                  <a:lnTo>
                    <a:pt x="1367" y="476"/>
                  </a:lnTo>
                  <a:lnTo>
                    <a:pt x="1379" y="476"/>
                  </a:lnTo>
                  <a:lnTo>
                    <a:pt x="1379" y="476"/>
                  </a:lnTo>
                  <a:lnTo>
                    <a:pt x="1405" y="476"/>
                  </a:lnTo>
                  <a:lnTo>
                    <a:pt x="1405" y="476"/>
                  </a:lnTo>
                  <a:lnTo>
                    <a:pt x="1416" y="476"/>
                  </a:lnTo>
                  <a:lnTo>
                    <a:pt x="1416" y="476"/>
                  </a:lnTo>
                  <a:lnTo>
                    <a:pt x="1440" y="476"/>
                  </a:lnTo>
                  <a:lnTo>
                    <a:pt x="1440" y="476"/>
                  </a:lnTo>
                  <a:lnTo>
                    <a:pt x="1452" y="476"/>
                  </a:lnTo>
                  <a:lnTo>
                    <a:pt x="1452" y="476"/>
                  </a:lnTo>
                  <a:lnTo>
                    <a:pt x="1475" y="476"/>
                  </a:lnTo>
                  <a:lnTo>
                    <a:pt x="1475" y="476"/>
                  </a:lnTo>
                  <a:lnTo>
                    <a:pt x="1487" y="476"/>
                  </a:lnTo>
                  <a:lnTo>
                    <a:pt x="1487" y="476"/>
                  </a:lnTo>
                  <a:lnTo>
                    <a:pt x="1534" y="476"/>
                  </a:lnTo>
                  <a:lnTo>
                    <a:pt x="1534" y="476"/>
                  </a:lnTo>
                  <a:lnTo>
                    <a:pt x="1546" y="476"/>
                  </a:lnTo>
                  <a:lnTo>
                    <a:pt x="1546" y="476"/>
                  </a:lnTo>
                  <a:lnTo>
                    <a:pt x="1570" y="476"/>
                  </a:lnTo>
                  <a:lnTo>
                    <a:pt x="1570" y="476"/>
                  </a:lnTo>
                  <a:lnTo>
                    <a:pt x="1581" y="476"/>
                  </a:lnTo>
                  <a:lnTo>
                    <a:pt x="1581" y="476"/>
                  </a:lnTo>
                  <a:lnTo>
                    <a:pt x="1605" y="476"/>
                  </a:lnTo>
                  <a:lnTo>
                    <a:pt x="1605" y="476"/>
                  </a:lnTo>
                  <a:lnTo>
                    <a:pt x="1617" y="476"/>
                  </a:lnTo>
                  <a:lnTo>
                    <a:pt x="1617" y="476"/>
                  </a:lnTo>
                  <a:lnTo>
                    <a:pt x="1643" y="476"/>
                  </a:lnTo>
                  <a:lnTo>
                    <a:pt x="1643" y="476"/>
                  </a:lnTo>
                  <a:lnTo>
                    <a:pt x="1654" y="476"/>
                  </a:lnTo>
                  <a:lnTo>
                    <a:pt x="1654" y="476"/>
                  </a:lnTo>
                  <a:lnTo>
                    <a:pt x="1678" y="476"/>
                  </a:lnTo>
                  <a:lnTo>
                    <a:pt x="1678" y="476"/>
                  </a:lnTo>
                  <a:lnTo>
                    <a:pt x="1690" y="476"/>
                  </a:lnTo>
                  <a:lnTo>
                    <a:pt x="1690" y="476"/>
                  </a:lnTo>
                  <a:lnTo>
                    <a:pt x="1713" y="476"/>
                  </a:lnTo>
                  <a:lnTo>
                    <a:pt x="1713" y="476"/>
                  </a:lnTo>
                  <a:lnTo>
                    <a:pt x="1725" y="476"/>
                  </a:lnTo>
                  <a:lnTo>
                    <a:pt x="1725" y="476"/>
                  </a:lnTo>
                  <a:lnTo>
                    <a:pt x="1749" y="476"/>
                  </a:lnTo>
                  <a:lnTo>
                    <a:pt x="1749" y="476"/>
                  </a:lnTo>
                  <a:lnTo>
                    <a:pt x="1760" y="476"/>
                  </a:lnTo>
                  <a:lnTo>
                    <a:pt x="1760" y="476"/>
                  </a:lnTo>
                  <a:lnTo>
                    <a:pt x="1808" y="476"/>
                  </a:lnTo>
                  <a:lnTo>
                    <a:pt x="1808" y="476"/>
                  </a:lnTo>
                  <a:lnTo>
                    <a:pt x="1819" y="476"/>
                  </a:lnTo>
                  <a:lnTo>
                    <a:pt x="1819" y="476"/>
                  </a:lnTo>
                  <a:lnTo>
                    <a:pt x="1843" y="476"/>
                  </a:lnTo>
                  <a:lnTo>
                    <a:pt x="1843" y="476"/>
                  </a:lnTo>
                  <a:lnTo>
                    <a:pt x="1855" y="476"/>
                  </a:lnTo>
                  <a:lnTo>
                    <a:pt x="1855" y="476"/>
                  </a:lnTo>
                  <a:lnTo>
                    <a:pt x="1878" y="476"/>
                  </a:lnTo>
                  <a:lnTo>
                    <a:pt x="1878" y="476"/>
                  </a:lnTo>
                  <a:lnTo>
                    <a:pt x="1892" y="476"/>
                  </a:lnTo>
                  <a:lnTo>
                    <a:pt x="1892" y="476"/>
                  </a:lnTo>
                  <a:lnTo>
                    <a:pt x="1916" y="476"/>
                  </a:lnTo>
                  <a:lnTo>
                    <a:pt x="1916" y="476"/>
                  </a:lnTo>
                  <a:lnTo>
                    <a:pt x="1928" y="476"/>
                  </a:lnTo>
                  <a:lnTo>
                    <a:pt x="1928" y="476"/>
                  </a:lnTo>
                  <a:lnTo>
                    <a:pt x="1951" y="476"/>
                  </a:lnTo>
                  <a:lnTo>
                    <a:pt x="1951" y="476"/>
                  </a:lnTo>
                  <a:lnTo>
                    <a:pt x="1963" y="476"/>
                  </a:lnTo>
                  <a:lnTo>
                    <a:pt x="1963" y="476"/>
                  </a:lnTo>
                  <a:lnTo>
                    <a:pt x="1987" y="476"/>
                  </a:lnTo>
                  <a:lnTo>
                    <a:pt x="1987" y="476"/>
                  </a:lnTo>
                  <a:lnTo>
                    <a:pt x="1998" y="476"/>
                  </a:lnTo>
                  <a:lnTo>
                    <a:pt x="1998" y="476"/>
                  </a:lnTo>
                  <a:lnTo>
                    <a:pt x="2022" y="476"/>
                  </a:lnTo>
                  <a:lnTo>
                    <a:pt x="2022" y="476"/>
                  </a:lnTo>
                  <a:lnTo>
                    <a:pt x="2034" y="476"/>
                  </a:lnTo>
                  <a:lnTo>
                    <a:pt x="2034" y="476"/>
                  </a:lnTo>
                  <a:lnTo>
                    <a:pt x="2081" y="476"/>
                  </a:lnTo>
                  <a:lnTo>
                    <a:pt x="2081" y="476"/>
                  </a:lnTo>
                  <a:lnTo>
                    <a:pt x="2093" y="476"/>
                  </a:lnTo>
                  <a:lnTo>
                    <a:pt x="2093" y="476"/>
                  </a:lnTo>
                  <a:lnTo>
                    <a:pt x="2116" y="476"/>
                  </a:lnTo>
                  <a:lnTo>
                    <a:pt x="2116" y="476"/>
                  </a:lnTo>
                  <a:lnTo>
                    <a:pt x="2130" y="476"/>
                  </a:lnTo>
                  <a:lnTo>
                    <a:pt x="2130" y="476"/>
                  </a:lnTo>
                  <a:lnTo>
                    <a:pt x="2154" y="476"/>
                  </a:lnTo>
                  <a:lnTo>
                    <a:pt x="2154" y="476"/>
                  </a:lnTo>
                  <a:lnTo>
                    <a:pt x="2166" y="476"/>
                  </a:lnTo>
                  <a:lnTo>
                    <a:pt x="2166" y="476"/>
                  </a:lnTo>
                  <a:lnTo>
                    <a:pt x="2189" y="476"/>
                  </a:lnTo>
                  <a:lnTo>
                    <a:pt x="2189" y="476"/>
                  </a:lnTo>
                  <a:lnTo>
                    <a:pt x="2201" y="476"/>
                  </a:lnTo>
                  <a:lnTo>
                    <a:pt x="2201" y="476"/>
                  </a:lnTo>
                  <a:lnTo>
                    <a:pt x="2225" y="476"/>
                  </a:lnTo>
                  <a:lnTo>
                    <a:pt x="2225" y="476"/>
                  </a:lnTo>
                  <a:lnTo>
                    <a:pt x="2236" y="476"/>
                  </a:lnTo>
                  <a:lnTo>
                    <a:pt x="2236" y="476"/>
                  </a:lnTo>
                  <a:lnTo>
                    <a:pt x="2260" y="476"/>
                  </a:lnTo>
                  <a:lnTo>
                    <a:pt x="2260" y="476"/>
                  </a:lnTo>
                  <a:lnTo>
                    <a:pt x="2272" y="476"/>
                  </a:lnTo>
                  <a:lnTo>
                    <a:pt x="2272" y="476"/>
                  </a:lnTo>
                  <a:lnTo>
                    <a:pt x="2295" y="476"/>
                  </a:lnTo>
                  <a:lnTo>
                    <a:pt x="2295" y="476"/>
                  </a:lnTo>
                  <a:lnTo>
                    <a:pt x="2307" y="476"/>
                  </a:lnTo>
                  <a:lnTo>
                    <a:pt x="2307" y="476"/>
                  </a:lnTo>
                  <a:lnTo>
                    <a:pt x="2331" y="476"/>
                  </a:lnTo>
                  <a:lnTo>
                    <a:pt x="2331" y="2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0" dirty="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 flipH="1">
              <a:off x="5410516" y="3194420"/>
              <a:ext cx="2948463" cy="602088"/>
            </a:xfrm>
            <a:custGeom>
              <a:avLst/>
              <a:gdLst>
                <a:gd name="T0" fmla="*/ 2260 w 2331"/>
                <a:gd name="T1" fmla="*/ 262 h 476"/>
                <a:gd name="T2" fmla="*/ 2236 w 2331"/>
                <a:gd name="T3" fmla="*/ 273 h 476"/>
                <a:gd name="T4" fmla="*/ 2177 w 2331"/>
                <a:gd name="T5" fmla="*/ 273 h 476"/>
                <a:gd name="T6" fmla="*/ 2135 w 2331"/>
                <a:gd name="T7" fmla="*/ 238 h 476"/>
                <a:gd name="T8" fmla="*/ 2104 w 2331"/>
                <a:gd name="T9" fmla="*/ 285 h 476"/>
                <a:gd name="T10" fmla="*/ 2076 w 2331"/>
                <a:gd name="T11" fmla="*/ 285 h 476"/>
                <a:gd name="T12" fmla="*/ 2053 w 2331"/>
                <a:gd name="T13" fmla="*/ 297 h 476"/>
                <a:gd name="T14" fmla="*/ 1998 w 2331"/>
                <a:gd name="T15" fmla="*/ 320 h 476"/>
                <a:gd name="T16" fmla="*/ 1951 w 2331"/>
                <a:gd name="T17" fmla="*/ 179 h 476"/>
                <a:gd name="T18" fmla="*/ 1904 w 2331"/>
                <a:gd name="T19" fmla="*/ 153 h 476"/>
                <a:gd name="T20" fmla="*/ 1796 w 2331"/>
                <a:gd name="T21" fmla="*/ 262 h 476"/>
                <a:gd name="T22" fmla="*/ 1737 w 2331"/>
                <a:gd name="T23" fmla="*/ 285 h 476"/>
                <a:gd name="T24" fmla="*/ 1702 w 2331"/>
                <a:gd name="T25" fmla="*/ 262 h 476"/>
                <a:gd name="T26" fmla="*/ 1654 w 2331"/>
                <a:gd name="T27" fmla="*/ 231 h 476"/>
                <a:gd name="T28" fmla="*/ 1628 w 2331"/>
                <a:gd name="T29" fmla="*/ 273 h 476"/>
                <a:gd name="T30" fmla="*/ 1581 w 2331"/>
                <a:gd name="T31" fmla="*/ 250 h 476"/>
                <a:gd name="T32" fmla="*/ 1570 w 2331"/>
                <a:gd name="T33" fmla="*/ 141 h 476"/>
                <a:gd name="T34" fmla="*/ 1534 w 2331"/>
                <a:gd name="T35" fmla="*/ 141 h 476"/>
                <a:gd name="T36" fmla="*/ 1499 w 2331"/>
                <a:gd name="T37" fmla="*/ 184 h 476"/>
                <a:gd name="T38" fmla="*/ 1475 w 2331"/>
                <a:gd name="T39" fmla="*/ 285 h 476"/>
                <a:gd name="T40" fmla="*/ 1428 w 2331"/>
                <a:gd name="T41" fmla="*/ 297 h 476"/>
                <a:gd name="T42" fmla="*/ 1428 w 2331"/>
                <a:gd name="T43" fmla="*/ 118 h 476"/>
                <a:gd name="T44" fmla="*/ 1355 w 2331"/>
                <a:gd name="T45" fmla="*/ 106 h 476"/>
                <a:gd name="T46" fmla="*/ 1343 w 2331"/>
                <a:gd name="T47" fmla="*/ 214 h 476"/>
                <a:gd name="T48" fmla="*/ 1320 w 2331"/>
                <a:gd name="T49" fmla="*/ 309 h 476"/>
                <a:gd name="T50" fmla="*/ 1296 w 2331"/>
                <a:gd name="T51" fmla="*/ 356 h 476"/>
                <a:gd name="T52" fmla="*/ 1280 w 2331"/>
                <a:gd name="T53" fmla="*/ 297 h 476"/>
                <a:gd name="T54" fmla="*/ 1237 w 2331"/>
                <a:gd name="T55" fmla="*/ 273 h 476"/>
                <a:gd name="T56" fmla="*/ 1195 w 2331"/>
                <a:gd name="T57" fmla="*/ 297 h 476"/>
                <a:gd name="T58" fmla="*/ 1171 w 2331"/>
                <a:gd name="T59" fmla="*/ 344 h 476"/>
                <a:gd name="T60" fmla="*/ 1141 w 2331"/>
                <a:gd name="T61" fmla="*/ 297 h 476"/>
                <a:gd name="T62" fmla="*/ 1105 w 2331"/>
                <a:gd name="T63" fmla="*/ 273 h 476"/>
                <a:gd name="T64" fmla="*/ 952 w 2331"/>
                <a:gd name="T65" fmla="*/ 344 h 476"/>
                <a:gd name="T66" fmla="*/ 903 w 2331"/>
                <a:gd name="T67" fmla="*/ 262 h 476"/>
                <a:gd name="T68" fmla="*/ 856 w 2331"/>
                <a:gd name="T69" fmla="*/ 59 h 476"/>
                <a:gd name="T70" fmla="*/ 750 w 2331"/>
                <a:gd name="T71" fmla="*/ 35 h 476"/>
                <a:gd name="T72" fmla="*/ 738 w 2331"/>
                <a:gd name="T73" fmla="*/ 141 h 476"/>
                <a:gd name="T74" fmla="*/ 726 w 2331"/>
                <a:gd name="T75" fmla="*/ 278 h 476"/>
                <a:gd name="T76" fmla="*/ 667 w 2331"/>
                <a:gd name="T77" fmla="*/ 273 h 476"/>
                <a:gd name="T78" fmla="*/ 618 w 2331"/>
                <a:gd name="T79" fmla="*/ 297 h 476"/>
                <a:gd name="T80" fmla="*/ 559 w 2331"/>
                <a:gd name="T81" fmla="*/ 320 h 476"/>
                <a:gd name="T82" fmla="*/ 523 w 2331"/>
                <a:gd name="T83" fmla="*/ 344 h 476"/>
                <a:gd name="T84" fmla="*/ 429 w 2331"/>
                <a:gd name="T85" fmla="*/ 339 h 476"/>
                <a:gd name="T86" fmla="*/ 380 w 2331"/>
                <a:gd name="T87" fmla="*/ 356 h 476"/>
                <a:gd name="T88" fmla="*/ 250 w 2331"/>
                <a:gd name="T89" fmla="*/ 356 h 476"/>
                <a:gd name="T90" fmla="*/ 179 w 2331"/>
                <a:gd name="T91" fmla="*/ 356 h 476"/>
                <a:gd name="T92" fmla="*/ 0 w 2331"/>
                <a:gd name="T93" fmla="*/ 415 h 476"/>
                <a:gd name="T94" fmla="*/ 142 w 2331"/>
                <a:gd name="T95" fmla="*/ 476 h 476"/>
                <a:gd name="T96" fmla="*/ 309 w 2331"/>
                <a:gd name="T97" fmla="*/ 476 h 476"/>
                <a:gd name="T98" fmla="*/ 488 w 2331"/>
                <a:gd name="T99" fmla="*/ 476 h 476"/>
                <a:gd name="T100" fmla="*/ 653 w 2331"/>
                <a:gd name="T101" fmla="*/ 476 h 476"/>
                <a:gd name="T102" fmla="*/ 832 w 2331"/>
                <a:gd name="T103" fmla="*/ 476 h 476"/>
                <a:gd name="T104" fmla="*/ 1023 w 2331"/>
                <a:gd name="T105" fmla="*/ 476 h 476"/>
                <a:gd name="T106" fmla="*/ 1178 w 2331"/>
                <a:gd name="T107" fmla="*/ 476 h 476"/>
                <a:gd name="T108" fmla="*/ 1367 w 2331"/>
                <a:gd name="T109" fmla="*/ 476 h 476"/>
                <a:gd name="T110" fmla="*/ 1546 w 2331"/>
                <a:gd name="T111" fmla="*/ 476 h 476"/>
                <a:gd name="T112" fmla="*/ 1713 w 2331"/>
                <a:gd name="T113" fmla="*/ 476 h 476"/>
                <a:gd name="T114" fmla="*/ 1892 w 2331"/>
                <a:gd name="T115" fmla="*/ 476 h 476"/>
                <a:gd name="T116" fmla="*/ 2081 w 2331"/>
                <a:gd name="T117" fmla="*/ 476 h 476"/>
                <a:gd name="T118" fmla="*/ 2236 w 2331"/>
                <a:gd name="T119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31" h="476">
                  <a:moveTo>
                    <a:pt x="2331" y="226"/>
                  </a:moveTo>
                  <a:lnTo>
                    <a:pt x="2331" y="226"/>
                  </a:lnTo>
                  <a:lnTo>
                    <a:pt x="2295" y="226"/>
                  </a:lnTo>
                  <a:lnTo>
                    <a:pt x="2295" y="226"/>
                  </a:lnTo>
                  <a:lnTo>
                    <a:pt x="2283" y="226"/>
                  </a:lnTo>
                  <a:lnTo>
                    <a:pt x="2283" y="226"/>
                  </a:lnTo>
                  <a:lnTo>
                    <a:pt x="2272" y="226"/>
                  </a:lnTo>
                  <a:lnTo>
                    <a:pt x="2272" y="226"/>
                  </a:lnTo>
                  <a:lnTo>
                    <a:pt x="2272" y="231"/>
                  </a:lnTo>
                  <a:lnTo>
                    <a:pt x="2272" y="238"/>
                  </a:lnTo>
                  <a:lnTo>
                    <a:pt x="2272" y="238"/>
                  </a:lnTo>
                  <a:lnTo>
                    <a:pt x="2267" y="238"/>
                  </a:lnTo>
                  <a:lnTo>
                    <a:pt x="2262" y="236"/>
                  </a:lnTo>
                  <a:lnTo>
                    <a:pt x="2260" y="238"/>
                  </a:lnTo>
                  <a:lnTo>
                    <a:pt x="2260" y="238"/>
                  </a:lnTo>
                  <a:lnTo>
                    <a:pt x="2260" y="250"/>
                  </a:lnTo>
                  <a:lnTo>
                    <a:pt x="2260" y="250"/>
                  </a:lnTo>
                  <a:lnTo>
                    <a:pt x="2260" y="262"/>
                  </a:lnTo>
                  <a:lnTo>
                    <a:pt x="2260" y="262"/>
                  </a:lnTo>
                  <a:lnTo>
                    <a:pt x="2260" y="273"/>
                  </a:lnTo>
                  <a:lnTo>
                    <a:pt x="2260" y="273"/>
                  </a:lnTo>
                  <a:lnTo>
                    <a:pt x="2260" y="297"/>
                  </a:lnTo>
                  <a:lnTo>
                    <a:pt x="2260" y="297"/>
                  </a:lnTo>
                  <a:lnTo>
                    <a:pt x="2260" y="344"/>
                  </a:lnTo>
                  <a:lnTo>
                    <a:pt x="2260" y="344"/>
                  </a:lnTo>
                  <a:lnTo>
                    <a:pt x="2248" y="344"/>
                  </a:lnTo>
                  <a:lnTo>
                    <a:pt x="2248" y="344"/>
                  </a:lnTo>
                  <a:lnTo>
                    <a:pt x="2241" y="344"/>
                  </a:lnTo>
                  <a:lnTo>
                    <a:pt x="2236" y="344"/>
                  </a:lnTo>
                  <a:lnTo>
                    <a:pt x="2236" y="344"/>
                  </a:lnTo>
                  <a:lnTo>
                    <a:pt x="2236" y="332"/>
                  </a:lnTo>
                  <a:lnTo>
                    <a:pt x="2236" y="332"/>
                  </a:lnTo>
                  <a:lnTo>
                    <a:pt x="2236" y="320"/>
                  </a:lnTo>
                  <a:lnTo>
                    <a:pt x="2236" y="320"/>
                  </a:lnTo>
                  <a:lnTo>
                    <a:pt x="2236" y="273"/>
                  </a:lnTo>
                  <a:lnTo>
                    <a:pt x="2236" y="273"/>
                  </a:lnTo>
                  <a:lnTo>
                    <a:pt x="2225" y="273"/>
                  </a:lnTo>
                  <a:lnTo>
                    <a:pt x="2225" y="273"/>
                  </a:lnTo>
                  <a:lnTo>
                    <a:pt x="2213" y="273"/>
                  </a:lnTo>
                  <a:lnTo>
                    <a:pt x="2213" y="273"/>
                  </a:lnTo>
                  <a:lnTo>
                    <a:pt x="2201" y="273"/>
                  </a:lnTo>
                  <a:lnTo>
                    <a:pt x="2201" y="273"/>
                  </a:lnTo>
                  <a:lnTo>
                    <a:pt x="2194" y="273"/>
                  </a:lnTo>
                  <a:lnTo>
                    <a:pt x="2189" y="273"/>
                  </a:lnTo>
                  <a:lnTo>
                    <a:pt x="2189" y="273"/>
                  </a:lnTo>
                  <a:lnTo>
                    <a:pt x="2189" y="278"/>
                  </a:lnTo>
                  <a:lnTo>
                    <a:pt x="2189" y="285"/>
                  </a:lnTo>
                  <a:lnTo>
                    <a:pt x="2189" y="285"/>
                  </a:lnTo>
                  <a:lnTo>
                    <a:pt x="2187" y="285"/>
                  </a:lnTo>
                  <a:lnTo>
                    <a:pt x="2182" y="285"/>
                  </a:lnTo>
                  <a:lnTo>
                    <a:pt x="2177" y="285"/>
                  </a:lnTo>
                  <a:lnTo>
                    <a:pt x="2177" y="285"/>
                  </a:lnTo>
                  <a:lnTo>
                    <a:pt x="2177" y="273"/>
                  </a:lnTo>
                  <a:lnTo>
                    <a:pt x="2177" y="273"/>
                  </a:lnTo>
                  <a:lnTo>
                    <a:pt x="2177" y="262"/>
                  </a:lnTo>
                  <a:lnTo>
                    <a:pt x="2177" y="262"/>
                  </a:lnTo>
                  <a:lnTo>
                    <a:pt x="2177" y="255"/>
                  </a:lnTo>
                  <a:lnTo>
                    <a:pt x="2177" y="250"/>
                  </a:lnTo>
                  <a:lnTo>
                    <a:pt x="2177" y="250"/>
                  </a:lnTo>
                  <a:lnTo>
                    <a:pt x="2170" y="250"/>
                  </a:lnTo>
                  <a:lnTo>
                    <a:pt x="2166" y="250"/>
                  </a:lnTo>
                  <a:lnTo>
                    <a:pt x="2166" y="250"/>
                  </a:lnTo>
                  <a:lnTo>
                    <a:pt x="2166" y="243"/>
                  </a:lnTo>
                  <a:lnTo>
                    <a:pt x="2166" y="238"/>
                  </a:lnTo>
                  <a:lnTo>
                    <a:pt x="2166" y="238"/>
                  </a:lnTo>
                  <a:lnTo>
                    <a:pt x="2163" y="236"/>
                  </a:lnTo>
                  <a:lnTo>
                    <a:pt x="2159" y="238"/>
                  </a:lnTo>
                  <a:lnTo>
                    <a:pt x="2154" y="238"/>
                  </a:lnTo>
                  <a:lnTo>
                    <a:pt x="2154" y="238"/>
                  </a:lnTo>
                  <a:lnTo>
                    <a:pt x="2142" y="238"/>
                  </a:lnTo>
                  <a:lnTo>
                    <a:pt x="2142" y="238"/>
                  </a:lnTo>
                  <a:lnTo>
                    <a:pt x="2135" y="238"/>
                  </a:lnTo>
                  <a:lnTo>
                    <a:pt x="2130" y="238"/>
                  </a:lnTo>
                  <a:lnTo>
                    <a:pt x="2130" y="238"/>
                  </a:lnTo>
                  <a:lnTo>
                    <a:pt x="2128" y="240"/>
                  </a:lnTo>
                  <a:lnTo>
                    <a:pt x="2128" y="243"/>
                  </a:lnTo>
                  <a:lnTo>
                    <a:pt x="2130" y="250"/>
                  </a:lnTo>
                  <a:lnTo>
                    <a:pt x="2130" y="250"/>
                  </a:lnTo>
                  <a:lnTo>
                    <a:pt x="2116" y="250"/>
                  </a:lnTo>
                  <a:lnTo>
                    <a:pt x="2116" y="250"/>
                  </a:lnTo>
                  <a:lnTo>
                    <a:pt x="2111" y="250"/>
                  </a:lnTo>
                  <a:lnTo>
                    <a:pt x="2104" y="250"/>
                  </a:lnTo>
                  <a:lnTo>
                    <a:pt x="2104" y="250"/>
                  </a:lnTo>
                  <a:lnTo>
                    <a:pt x="2104" y="255"/>
                  </a:lnTo>
                  <a:lnTo>
                    <a:pt x="2104" y="262"/>
                  </a:lnTo>
                  <a:lnTo>
                    <a:pt x="2104" y="262"/>
                  </a:lnTo>
                  <a:lnTo>
                    <a:pt x="2104" y="266"/>
                  </a:lnTo>
                  <a:lnTo>
                    <a:pt x="2104" y="273"/>
                  </a:lnTo>
                  <a:lnTo>
                    <a:pt x="2104" y="273"/>
                  </a:lnTo>
                  <a:lnTo>
                    <a:pt x="2104" y="285"/>
                  </a:lnTo>
                  <a:lnTo>
                    <a:pt x="2104" y="285"/>
                  </a:lnTo>
                  <a:lnTo>
                    <a:pt x="2104" y="309"/>
                  </a:lnTo>
                  <a:lnTo>
                    <a:pt x="2104" y="309"/>
                  </a:lnTo>
                  <a:lnTo>
                    <a:pt x="2100" y="309"/>
                  </a:lnTo>
                  <a:lnTo>
                    <a:pt x="2093" y="309"/>
                  </a:lnTo>
                  <a:lnTo>
                    <a:pt x="2093" y="309"/>
                  </a:lnTo>
                  <a:lnTo>
                    <a:pt x="2093" y="304"/>
                  </a:lnTo>
                  <a:lnTo>
                    <a:pt x="2093" y="297"/>
                  </a:lnTo>
                  <a:lnTo>
                    <a:pt x="2093" y="297"/>
                  </a:lnTo>
                  <a:lnTo>
                    <a:pt x="2088" y="297"/>
                  </a:lnTo>
                  <a:lnTo>
                    <a:pt x="2081" y="297"/>
                  </a:lnTo>
                  <a:lnTo>
                    <a:pt x="2081" y="297"/>
                  </a:lnTo>
                  <a:lnTo>
                    <a:pt x="2081" y="295"/>
                  </a:lnTo>
                  <a:lnTo>
                    <a:pt x="2081" y="292"/>
                  </a:lnTo>
                  <a:lnTo>
                    <a:pt x="2081" y="285"/>
                  </a:lnTo>
                  <a:lnTo>
                    <a:pt x="2081" y="285"/>
                  </a:lnTo>
                  <a:lnTo>
                    <a:pt x="2078" y="285"/>
                  </a:lnTo>
                  <a:lnTo>
                    <a:pt x="2076" y="285"/>
                  </a:lnTo>
                  <a:lnTo>
                    <a:pt x="2069" y="285"/>
                  </a:lnTo>
                  <a:lnTo>
                    <a:pt x="2069" y="285"/>
                  </a:lnTo>
                  <a:lnTo>
                    <a:pt x="2069" y="283"/>
                  </a:lnTo>
                  <a:lnTo>
                    <a:pt x="2069" y="278"/>
                  </a:lnTo>
                  <a:lnTo>
                    <a:pt x="2069" y="273"/>
                  </a:lnTo>
                  <a:lnTo>
                    <a:pt x="2069" y="273"/>
                  </a:lnTo>
                  <a:lnTo>
                    <a:pt x="2069" y="266"/>
                  </a:lnTo>
                  <a:lnTo>
                    <a:pt x="2071" y="264"/>
                  </a:lnTo>
                  <a:lnTo>
                    <a:pt x="2069" y="262"/>
                  </a:lnTo>
                  <a:lnTo>
                    <a:pt x="2069" y="262"/>
                  </a:lnTo>
                  <a:lnTo>
                    <a:pt x="2057" y="262"/>
                  </a:lnTo>
                  <a:lnTo>
                    <a:pt x="2057" y="262"/>
                  </a:lnTo>
                  <a:lnTo>
                    <a:pt x="2057" y="266"/>
                  </a:lnTo>
                  <a:lnTo>
                    <a:pt x="2057" y="273"/>
                  </a:lnTo>
                  <a:lnTo>
                    <a:pt x="2057" y="273"/>
                  </a:lnTo>
                  <a:lnTo>
                    <a:pt x="2057" y="297"/>
                  </a:lnTo>
                  <a:lnTo>
                    <a:pt x="2057" y="297"/>
                  </a:lnTo>
                  <a:lnTo>
                    <a:pt x="2053" y="297"/>
                  </a:lnTo>
                  <a:lnTo>
                    <a:pt x="2048" y="297"/>
                  </a:lnTo>
                  <a:lnTo>
                    <a:pt x="2046" y="297"/>
                  </a:lnTo>
                  <a:lnTo>
                    <a:pt x="2046" y="297"/>
                  </a:lnTo>
                  <a:lnTo>
                    <a:pt x="2046" y="304"/>
                  </a:lnTo>
                  <a:lnTo>
                    <a:pt x="2046" y="309"/>
                  </a:lnTo>
                  <a:lnTo>
                    <a:pt x="2046" y="309"/>
                  </a:lnTo>
                  <a:lnTo>
                    <a:pt x="2041" y="309"/>
                  </a:lnTo>
                  <a:lnTo>
                    <a:pt x="2034" y="309"/>
                  </a:lnTo>
                  <a:lnTo>
                    <a:pt x="2034" y="309"/>
                  </a:lnTo>
                  <a:lnTo>
                    <a:pt x="2027" y="309"/>
                  </a:lnTo>
                  <a:lnTo>
                    <a:pt x="2022" y="309"/>
                  </a:lnTo>
                  <a:lnTo>
                    <a:pt x="2022" y="309"/>
                  </a:lnTo>
                  <a:lnTo>
                    <a:pt x="2022" y="311"/>
                  </a:lnTo>
                  <a:lnTo>
                    <a:pt x="2022" y="316"/>
                  </a:lnTo>
                  <a:lnTo>
                    <a:pt x="2022" y="320"/>
                  </a:lnTo>
                  <a:lnTo>
                    <a:pt x="2022" y="320"/>
                  </a:lnTo>
                  <a:lnTo>
                    <a:pt x="1998" y="320"/>
                  </a:lnTo>
                  <a:lnTo>
                    <a:pt x="1998" y="320"/>
                  </a:lnTo>
                  <a:lnTo>
                    <a:pt x="1951" y="320"/>
                  </a:lnTo>
                  <a:lnTo>
                    <a:pt x="1951" y="320"/>
                  </a:lnTo>
                  <a:lnTo>
                    <a:pt x="1951" y="309"/>
                  </a:lnTo>
                  <a:lnTo>
                    <a:pt x="1951" y="309"/>
                  </a:lnTo>
                  <a:lnTo>
                    <a:pt x="1951" y="285"/>
                  </a:lnTo>
                  <a:lnTo>
                    <a:pt x="1951" y="285"/>
                  </a:lnTo>
                  <a:lnTo>
                    <a:pt x="1951" y="273"/>
                  </a:lnTo>
                  <a:lnTo>
                    <a:pt x="1951" y="273"/>
                  </a:lnTo>
                  <a:lnTo>
                    <a:pt x="1951" y="250"/>
                  </a:lnTo>
                  <a:lnTo>
                    <a:pt x="1951" y="250"/>
                  </a:lnTo>
                  <a:lnTo>
                    <a:pt x="1951" y="238"/>
                  </a:lnTo>
                  <a:lnTo>
                    <a:pt x="1951" y="238"/>
                  </a:lnTo>
                  <a:lnTo>
                    <a:pt x="1951" y="214"/>
                  </a:lnTo>
                  <a:lnTo>
                    <a:pt x="1951" y="214"/>
                  </a:lnTo>
                  <a:lnTo>
                    <a:pt x="1951" y="203"/>
                  </a:lnTo>
                  <a:lnTo>
                    <a:pt x="1951" y="203"/>
                  </a:lnTo>
                  <a:lnTo>
                    <a:pt x="1951" y="179"/>
                  </a:lnTo>
                  <a:lnTo>
                    <a:pt x="1951" y="179"/>
                  </a:lnTo>
                  <a:lnTo>
                    <a:pt x="1951" y="153"/>
                  </a:lnTo>
                  <a:lnTo>
                    <a:pt x="1951" y="153"/>
                  </a:lnTo>
                  <a:lnTo>
                    <a:pt x="1944" y="153"/>
                  </a:lnTo>
                  <a:lnTo>
                    <a:pt x="1942" y="156"/>
                  </a:lnTo>
                  <a:lnTo>
                    <a:pt x="1939" y="153"/>
                  </a:lnTo>
                  <a:lnTo>
                    <a:pt x="1939" y="153"/>
                  </a:lnTo>
                  <a:lnTo>
                    <a:pt x="1939" y="148"/>
                  </a:lnTo>
                  <a:lnTo>
                    <a:pt x="1939" y="141"/>
                  </a:lnTo>
                  <a:lnTo>
                    <a:pt x="1939" y="141"/>
                  </a:lnTo>
                  <a:lnTo>
                    <a:pt x="1932" y="141"/>
                  </a:lnTo>
                  <a:lnTo>
                    <a:pt x="1928" y="141"/>
                  </a:lnTo>
                  <a:lnTo>
                    <a:pt x="1928" y="141"/>
                  </a:lnTo>
                  <a:lnTo>
                    <a:pt x="1916" y="141"/>
                  </a:lnTo>
                  <a:lnTo>
                    <a:pt x="1916" y="141"/>
                  </a:lnTo>
                  <a:lnTo>
                    <a:pt x="1904" y="141"/>
                  </a:lnTo>
                  <a:lnTo>
                    <a:pt x="1904" y="141"/>
                  </a:lnTo>
                  <a:lnTo>
                    <a:pt x="1904" y="148"/>
                  </a:lnTo>
                  <a:lnTo>
                    <a:pt x="1904" y="153"/>
                  </a:lnTo>
                  <a:lnTo>
                    <a:pt x="1904" y="153"/>
                  </a:lnTo>
                  <a:lnTo>
                    <a:pt x="1892" y="153"/>
                  </a:lnTo>
                  <a:lnTo>
                    <a:pt x="1892" y="153"/>
                  </a:lnTo>
                  <a:lnTo>
                    <a:pt x="1878" y="153"/>
                  </a:lnTo>
                  <a:lnTo>
                    <a:pt x="1878" y="153"/>
                  </a:lnTo>
                  <a:lnTo>
                    <a:pt x="1866" y="153"/>
                  </a:lnTo>
                  <a:lnTo>
                    <a:pt x="1866" y="153"/>
                  </a:lnTo>
                  <a:lnTo>
                    <a:pt x="1843" y="153"/>
                  </a:lnTo>
                  <a:lnTo>
                    <a:pt x="1843" y="153"/>
                  </a:lnTo>
                  <a:lnTo>
                    <a:pt x="1796" y="153"/>
                  </a:lnTo>
                  <a:lnTo>
                    <a:pt x="1796" y="153"/>
                  </a:lnTo>
                  <a:lnTo>
                    <a:pt x="1796" y="165"/>
                  </a:lnTo>
                  <a:lnTo>
                    <a:pt x="1796" y="165"/>
                  </a:lnTo>
                  <a:lnTo>
                    <a:pt x="1796" y="191"/>
                  </a:lnTo>
                  <a:lnTo>
                    <a:pt x="1796" y="191"/>
                  </a:lnTo>
                  <a:lnTo>
                    <a:pt x="1796" y="238"/>
                  </a:lnTo>
                  <a:lnTo>
                    <a:pt x="1796" y="238"/>
                  </a:lnTo>
                  <a:lnTo>
                    <a:pt x="1796" y="262"/>
                  </a:lnTo>
                  <a:lnTo>
                    <a:pt x="1796" y="262"/>
                  </a:lnTo>
                  <a:lnTo>
                    <a:pt x="1796" y="273"/>
                  </a:lnTo>
                  <a:lnTo>
                    <a:pt x="1796" y="273"/>
                  </a:lnTo>
                  <a:lnTo>
                    <a:pt x="1796" y="297"/>
                  </a:lnTo>
                  <a:lnTo>
                    <a:pt x="1796" y="297"/>
                  </a:lnTo>
                  <a:lnTo>
                    <a:pt x="1784" y="297"/>
                  </a:lnTo>
                  <a:lnTo>
                    <a:pt x="1784" y="297"/>
                  </a:lnTo>
                  <a:lnTo>
                    <a:pt x="1760" y="297"/>
                  </a:lnTo>
                  <a:lnTo>
                    <a:pt x="1760" y="297"/>
                  </a:lnTo>
                  <a:lnTo>
                    <a:pt x="1760" y="290"/>
                  </a:lnTo>
                  <a:lnTo>
                    <a:pt x="1760" y="287"/>
                  </a:lnTo>
                  <a:lnTo>
                    <a:pt x="1760" y="285"/>
                  </a:lnTo>
                  <a:lnTo>
                    <a:pt x="1760" y="285"/>
                  </a:lnTo>
                  <a:lnTo>
                    <a:pt x="1756" y="285"/>
                  </a:lnTo>
                  <a:lnTo>
                    <a:pt x="1749" y="285"/>
                  </a:lnTo>
                  <a:lnTo>
                    <a:pt x="1749" y="285"/>
                  </a:lnTo>
                  <a:lnTo>
                    <a:pt x="1737" y="285"/>
                  </a:lnTo>
                  <a:lnTo>
                    <a:pt x="1737" y="285"/>
                  </a:lnTo>
                  <a:lnTo>
                    <a:pt x="1725" y="285"/>
                  </a:lnTo>
                  <a:lnTo>
                    <a:pt x="1725" y="285"/>
                  </a:lnTo>
                  <a:lnTo>
                    <a:pt x="1725" y="278"/>
                  </a:lnTo>
                  <a:lnTo>
                    <a:pt x="1725" y="276"/>
                  </a:lnTo>
                  <a:lnTo>
                    <a:pt x="1725" y="273"/>
                  </a:lnTo>
                  <a:lnTo>
                    <a:pt x="1725" y="273"/>
                  </a:lnTo>
                  <a:lnTo>
                    <a:pt x="1723" y="273"/>
                  </a:lnTo>
                  <a:lnTo>
                    <a:pt x="1718" y="273"/>
                  </a:lnTo>
                  <a:lnTo>
                    <a:pt x="1713" y="273"/>
                  </a:lnTo>
                  <a:lnTo>
                    <a:pt x="1713" y="273"/>
                  </a:lnTo>
                  <a:lnTo>
                    <a:pt x="1706" y="273"/>
                  </a:lnTo>
                  <a:lnTo>
                    <a:pt x="1704" y="273"/>
                  </a:lnTo>
                  <a:lnTo>
                    <a:pt x="1702" y="273"/>
                  </a:lnTo>
                  <a:lnTo>
                    <a:pt x="1702" y="273"/>
                  </a:lnTo>
                  <a:lnTo>
                    <a:pt x="1699" y="271"/>
                  </a:lnTo>
                  <a:lnTo>
                    <a:pt x="1702" y="266"/>
                  </a:lnTo>
                  <a:lnTo>
                    <a:pt x="1702" y="262"/>
                  </a:lnTo>
                  <a:lnTo>
                    <a:pt x="1702" y="262"/>
                  </a:lnTo>
                  <a:lnTo>
                    <a:pt x="1702" y="255"/>
                  </a:lnTo>
                  <a:lnTo>
                    <a:pt x="1702" y="250"/>
                  </a:lnTo>
                  <a:lnTo>
                    <a:pt x="1702" y="250"/>
                  </a:lnTo>
                  <a:lnTo>
                    <a:pt x="1702" y="243"/>
                  </a:lnTo>
                  <a:lnTo>
                    <a:pt x="1702" y="238"/>
                  </a:lnTo>
                  <a:lnTo>
                    <a:pt x="1702" y="238"/>
                  </a:lnTo>
                  <a:lnTo>
                    <a:pt x="1690" y="238"/>
                  </a:lnTo>
                  <a:lnTo>
                    <a:pt x="1690" y="238"/>
                  </a:lnTo>
                  <a:lnTo>
                    <a:pt x="1683" y="238"/>
                  </a:lnTo>
                  <a:lnTo>
                    <a:pt x="1678" y="238"/>
                  </a:lnTo>
                  <a:lnTo>
                    <a:pt x="1678" y="238"/>
                  </a:lnTo>
                  <a:lnTo>
                    <a:pt x="1676" y="236"/>
                  </a:lnTo>
                  <a:lnTo>
                    <a:pt x="1678" y="231"/>
                  </a:lnTo>
                  <a:lnTo>
                    <a:pt x="1678" y="226"/>
                  </a:lnTo>
                  <a:lnTo>
                    <a:pt x="1678" y="226"/>
                  </a:lnTo>
                  <a:lnTo>
                    <a:pt x="1654" y="226"/>
                  </a:lnTo>
                  <a:lnTo>
                    <a:pt x="1654" y="226"/>
                  </a:lnTo>
                  <a:lnTo>
                    <a:pt x="1654" y="231"/>
                  </a:lnTo>
                  <a:lnTo>
                    <a:pt x="1654" y="236"/>
                  </a:lnTo>
                  <a:lnTo>
                    <a:pt x="1654" y="238"/>
                  </a:lnTo>
                  <a:lnTo>
                    <a:pt x="1654" y="238"/>
                  </a:lnTo>
                  <a:lnTo>
                    <a:pt x="1652" y="238"/>
                  </a:lnTo>
                  <a:lnTo>
                    <a:pt x="1647" y="238"/>
                  </a:lnTo>
                  <a:lnTo>
                    <a:pt x="1643" y="238"/>
                  </a:lnTo>
                  <a:lnTo>
                    <a:pt x="1643" y="238"/>
                  </a:lnTo>
                  <a:lnTo>
                    <a:pt x="1636" y="238"/>
                  </a:lnTo>
                  <a:lnTo>
                    <a:pt x="1631" y="236"/>
                  </a:lnTo>
                  <a:lnTo>
                    <a:pt x="1628" y="238"/>
                  </a:lnTo>
                  <a:lnTo>
                    <a:pt x="1628" y="238"/>
                  </a:lnTo>
                  <a:lnTo>
                    <a:pt x="1628" y="243"/>
                  </a:lnTo>
                  <a:lnTo>
                    <a:pt x="1628" y="250"/>
                  </a:lnTo>
                  <a:lnTo>
                    <a:pt x="1628" y="250"/>
                  </a:lnTo>
                  <a:lnTo>
                    <a:pt x="1628" y="255"/>
                  </a:lnTo>
                  <a:lnTo>
                    <a:pt x="1628" y="262"/>
                  </a:lnTo>
                  <a:lnTo>
                    <a:pt x="1628" y="262"/>
                  </a:lnTo>
                  <a:lnTo>
                    <a:pt x="1628" y="273"/>
                  </a:lnTo>
                  <a:lnTo>
                    <a:pt x="1628" y="273"/>
                  </a:lnTo>
                  <a:lnTo>
                    <a:pt x="1631" y="280"/>
                  </a:lnTo>
                  <a:lnTo>
                    <a:pt x="1628" y="285"/>
                  </a:lnTo>
                  <a:lnTo>
                    <a:pt x="1628" y="285"/>
                  </a:lnTo>
                  <a:lnTo>
                    <a:pt x="1624" y="285"/>
                  </a:lnTo>
                  <a:lnTo>
                    <a:pt x="1617" y="285"/>
                  </a:lnTo>
                  <a:lnTo>
                    <a:pt x="1617" y="285"/>
                  </a:lnTo>
                  <a:lnTo>
                    <a:pt x="1617" y="278"/>
                  </a:lnTo>
                  <a:lnTo>
                    <a:pt x="1617" y="273"/>
                  </a:lnTo>
                  <a:lnTo>
                    <a:pt x="1617" y="273"/>
                  </a:lnTo>
                  <a:lnTo>
                    <a:pt x="1593" y="273"/>
                  </a:lnTo>
                  <a:lnTo>
                    <a:pt x="1593" y="273"/>
                  </a:lnTo>
                  <a:lnTo>
                    <a:pt x="1588" y="273"/>
                  </a:lnTo>
                  <a:lnTo>
                    <a:pt x="1581" y="273"/>
                  </a:lnTo>
                  <a:lnTo>
                    <a:pt x="1581" y="273"/>
                  </a:lnTo>
                  <a:lnTo>
                    <a:pt x="1581" y="262"/>
                  </a:lnTo>
                  <a:lnTo>
                    <a:pt x="1581" y="262"/>
                  </a:lnTo>
                  <a:lnTo>
                    <a:pt x="1581" y="250"/>
                  </a:lnTo>
                  <a:lnTo>
                    <a:pt x="1581" y="250"/>
                  </a:lnTo>
                  <a:lnTo>
                    <a:pt x="1581" y="238"/>
                  </a:lnTo>
                  <a:lnTo>
                    <a:pt x="1581" y="238"/>
                  </a:lnTo>
                  <a:lnTo>
                    <a:pt x="1581" y="191"/>
                  </a:lnTo>
                  <a:lnTo>
                    <a:pt x="1581" y="191"/>
                  </a:lnTo>
                  <a:lnTo>
                    <a:pt x="1581" y="179"/>
                  </a:lnTo>
                  <a:lnTo>
                    <a:pt x="1581" y="179"/>
                  </a:lnTo>
                  <a:lnTo>
                    <a:pt x="1581" y="172"/>
                  </a:lnTo>
                  <a:lnTo>
                    <a:pt x="1581" y="165"/>
                  </a:lnTo>
                  <a:lnTo>
                    <a:pt x="1581" y="165"/>
                  </a:lnTo>
                  <a:lnTo>
                    <a:pt x="1577" y="165"/>
                  </a:lnTo>
                  <a:lnTo>
                    <a:pt x="1570" y="165"/>
                  </a:lnTo>
                  <a:lnTo>
                    <a:pt x="1570" y="165"/>
                  </a:lnTo>
                  <a:lnTo>
                    <a:pt x="1570" y="153"/>
                  </a:lnTo>
                  <a:lnTo>
                    <a:pt x="1570" y="153"/>
                  </a:lnTo>
                  <a:lnTo>
                    <a:pt x="1570" y="148"/>
                  </a:lnTo>
                  <a:lnTo>
                    <a:pt x="1570" y="141"/>
                  </a:lnTo>
                  <a:lnTo>
                    <a:pt x="1570" y="141"/>
                  </a:lnTo>
                  <a:lnTo>
                    <a:pt x="1565" y="141"/>
                  </a:lnTo>
                  <a:lnTo>
                    <a:pt x="1558" y="141"/>
                  </a:lnTo>
                  <a:lnTo>
                    <a:pt x="1558" y="141"/>
                  </a:lnTo>
                  <a:lnTo>
                    <a:pt x="1558" y="139"/>
                  </a:lnTo>
                  <a:lnTo>
                    <a:pt x="1558" y="137"/>
                  </a:lnTo>
                  <a:lnTo>
                    <a:pt x="1558" y="130"/>
                  </a:lnTo>
                  <a:lnTo>
                    <a:pt x="1558" y="130"/>
                  </a:lnTo>
                  <a:lnTo>
                    <a:pt x="1558" y="106"/>
                  </a:lnTo>
                  <a:lnTo>
                    <a:pt x="1558" y="106"/>
                  </a:lnTo>
                  <a:lnTo>
                    <a:pt x="1534" y="106"/>
                  </a:lnTo>
                  <a:lnTo>
                    <a:pt x="1534" y="106"/>
                  </a:lnTo>
                  <a:lnTo>
                    <a:pt x="1534" y="118"/>
                  </a:lnTo>
                  <a:lnTo>
                    <a:pt x="1534" y="118"/>
                  </a:lnTo>
                  <a:lnTo>
                    <a:pt x="1534" y="130"/>
                  </a:lnTo>
                  <a:lnTo>
                    <a:pt x="1534" y="130"/>
                  </a:lnTo>
                  <a:lnTo>
                    <a:pt x="1534" y="137"/>
                  </a:lnTo>
                  <a:lnTo>
                    <a:pt x="1534" y="141"/>
                  </a:lnTo>
                  <a:lnTo>
                    <a:pt x="1534" y="141"/>
                  </a:lnTo>
                  <a:lnTo>
                    <a:pt x="1527" y="141"/>
                  </a:lnTo>
                  <a:lnTo>
                    <a:pt x="1522" y="141"/>
                  </a:lnTo>
                  <a:lnTo>
                    <a:pt x="1522" y="141"/>
                  </a:lnTo>
                  <a:lnTo>
                    <a:pt x="1522" y="148"/>
                  </a:lnTo>
                  <a:lnTo>
                    <a:pt x="1522" y="153"/>
                  </a:lnTo>
                  <a:lnTo>
                    <a:pt x="1522" y="153"/>
                  </a:lnTo>
                  <a:lnTo>
                    <a:pt x="1515" y="153"/>
                  </a:lnTo>
                  <a:lnTo>
                    <a:pt x="1511" y="153"/>
                  </a:lnTo>
                  <a:lnTo>
                    <a:pt x="1511" y="153"/>
                  </a:lnTo>
                  <a:lnTo>
                    <a:pt x="1511" y="160"/>
                  </a:lnTo>
                  <a:lnTo>
                    <a:pt x="1511" y="165"/>
                  </a:lnTo>
                  <a:lnTo>
                    <a:pt x="1511" y="165"/>
                  </a:lnTo>
                  <a:lnTo>
                    <a:pt x="1511" y="179"/>
                  </a:lnTo>
                  <a:lnTo>
                    <a:pt x="1511" y="179"/>
                  </a:lnTo>
                  <a:lnTo>
                    <a:pt x="1504" y="177"/>
                  </a:lnTo>
                  <a:lnTo>
                    <a:pt x="1499" y="179"/>
                  </a:lnTo>
                  <a:lnTo>
                    <a:pt x="1499" y="179"/>
                  </a:lnTo>
                  <a:lnTo>
                    <a:pt x="1499" y="184"/>
                  </a:lnTo>
                  <a:lnTo>
                    <a:pt x="1499" y="191"/>
                  </a:lnTo>
                  <a:lnTo>
                    <a:pt x="1499" y="191"/>
                  </a:lnTo>
                  <a:lnTo>
                    <a:pt x="1499" y="203"/>
                  </a:lnTo>
                  <a:lnTo>
                    <a:pt x="1499" y="203"/>
                  </a:lnTo>
                  <a:lnTo>
                    <a:pt x="1499" y="226"/>
                  </a:lnTo>
                  <a:lnTo>
                    <a:pt x="1499" y="226"/>
                  </a:lnTo>
                  <a:lnTo>
                    <a:pt x="1499" y="273"/>
                  </a:lnTo>
                  <a:lnTo>
                    <a:pt x="1499" y="273"/>
                  </a:lnTo>
                  <a:lnTo>
                    <a:pt x="1492" y="273"/>
                  </a:lnTo>
                  <a:lnTo>
                    <a:pt x="1489" y="273"/>
                  </a:lnTo>
                  <a:lnTo>
                    <a:pt x="1487" y="273"/>
                  </a:lnTo>
                  <a:lnTo>
                    <a:pt x="1487" y="273"/>
                  </a:lnTo>
                  <a:lnTo>
                    <a:pt x="1487" y="280"/>
                  </a:lnTo>
                  <a:lnTo>
                    <a:pt x="1487" y="285"/>
                  </a:lnTo>
                  <a:lnTo>
                    <a:pt x="1487" y="285"/>
                  </a:lnTo>
                  <a:lnTo>
                    <a:pt x="1480" y="285"/>
                  </a:lnTo>
                  <a:lnTo>
                    <a:pt x="1475" y="285"/>
                  </a:lnTo>
                  <a:lnTo>
                    <a:pt x="1475" y="285"/>
                  </a:lnTo>
                  <a:lnTo>
                    <a:pt x="1468" y="285"/>
                  </a:lnTo>
                  <a:lnTo>
                    <a:pt x="1464" y="285"/>
                  </a:lnTo>
                  <a:lnTo>
                    <a:pt x="1464" y="285"/>
                  </a:lnTo>
                  <a:lnTo>
                    <a:pt x="1464" y="287"/>
                  </a:lnTo>
                  <a:lnTo>
                    <a:pt x="1464" y="290"/>
                  </a:lnTo>
                  <a:lnTo>
                    <a:pt x="1464" y="297"/>
                  </a:lnTo>
                  <a:lnTo>
                    <a:pt x="1464" y="297"/>
                  </a:lnTo>
                  <a:lnTo>
                    <a:pt x="1456" y="297"/>
                  </a:lnTo>
                  <a:lnTo>
                    <a:pt x="1452" y="297"/>
                  </a:lnTo>
                  <a:lnTo>
                    <a:pt x="1452" y="297"/>
                  </a:lnTo>
                  <a:lnTo>
                    <a:pt x="1452" y="302"/>
                  </a:lnTo>
                  <a:lnTo>
                    <a:pt x="1452" y="309"/>
                  </a:lnTo>
                  <a:lnTo>
                    <a:pt x="1452" y="309"/>
                  </a:lnTo>
                  <a:lnTo>
                    <a:pt x="1452" y="320"/>
                  </a:lnTo>
                  <a:lnTo>
                    <a:pt x="1452" y="320"/>
                  </a:lnTo>
                  <a:lnTo>
                    <a:pt x="1428" y="320"/>
                  </a:lnTo>
                  <a:lnTo>
                    <a:pt x="1428" y="320"/>
                  </a:lnTo>
                  <a:lnTo>
                    <a:pt x="1428" y="297"/>
                  </a:lnTo>
                  <a:lnTo>
                    <a:pt x="1428" y="297"/>
                  </a:lnTo>
                  <a:lnTo>
                    <a:pt x="1428" y="285"/>
                  </a:lnTo>
                  <a:lnTo>
                    <a:pt x="1428" y="285"/>
                  </a:lnTo>
                  <a:lnTo>
                    <a:pt x="1428" y="262"/>
                  </a:lnTo>
                  <a:lnTo>
                    <a:pt x="1428" y="262"/>
                  </a:lnTo>
                  <a:lnTo>
                    <a:pt x="1428" y="214"/>
                  </a:lnTo>
                  <a:lnTo>
                    <a:pt x="1428" y="214"/>
                  </a:lnTo>
                  <a:lnTo>
                    <a:pt x="1428" y="191"/>
                  </a:lnTo>
                  <a:lnTo>
                    <a:pt x="1428" y="191"/>
                  </a:lnTo>
                  <a:lnTo>
                    <a:pt x="1428" y="179"/>
                  </a:lnTo>
                  <a:lnTo>
                    <a:pt x="1428" y="179"/>
                  </a:lnTo>
                  <a:lnTo>
                    <a:pt x="1428" y="153"/>
                  </a:lnTo>
                  <a:lnTo>
                    <a:pt x="1428" y="153"/>
                  </a:lnTo>
                  <a:lnTo>
                    <a:pt x="1428" y="141"/>
                  </a:lnTo>
                  <a:lnTo>
                    <a:pt x="1428" y="141"/>
                  </a:lnTo>
                  <a:lnTo>
                    <a:pt x="1428" y="130"/>
                  </a:lnTo>
                  <a:lnTo>
                    <a:pt x="1428" y="130"/>
                  </a:lnTo>
                  <a:lnTo>
                    <a:pt x="1428" y="118"/>
                  </a:lnTo>
                  <a:lnTo>
                    <a:pt x="1428" y="118"/>
                  </a:lnTo>
                  <a:lnTo>
                    <a:pt x="1421" y="118"/>
                  </a:lnTo>
                  <a:lnTo>
                    <a:pt x="1416" y="118"/>
                  </a:lnTo>
                  <a:lnTo>
                    <a:pt x="1416" y="118"/>
                  </a:lnTo>
                  <a:lnTo>
                    <a:pt x="1416" y="106"/>
                  </a:lnTo>
                  <a:lnTo>
                    <a:pt x="1416" y="106"/>
                  </a:lnTo>
                  <a:lnTo>
                    <a:pt x="1416" y="94"/>
                  </a:lnTo>
                  <a:lnTo>
                    <a:pt x="1416" y="94"/>
                  </a:lnTo>
                  <a:lnTo>
                    <a:pt x="1390" y="94"/>
                  </a:lnTo>
                  <a:lnTo>
                    <a:pt x="1390" y="94"/>
                  </a:lnTo>
                  <a:lnTo>
                    <a:pt x="1367" y="94"/>
                  </a:lnTo>
                  <a:lnTo>
                    <a:pt x="1367" y="94"/>
                  </a:lnTo>
                  <a:lnTo>
                    <a:pt x="1362" y="94"/>
                  </a:lnTo>
                  <a:lnTo>
                    <a:pt x="1358" y="94"/>
                  </a:lnTo>
                  <a:lnTo>
                    <a:pt x="1355" y="94"/>
                  </a:lnTo>
                  <a:lnTo>
                    <a:pt x="1355" y="94"/>
                  </a:lnTo>
                  <a:lnTo>
                    <a:pt x="1355" y="101"/>
                  </a:lnTo>
                  <a:lnTo>
                    <a:pt x="1355" y="106"/>
                  </a:lnTo>
                  <a:lnTo>
                    <a:pt x="1355" y="106"/>
                  </a:lnTo>
                  <a:lnTo>
                    <a:pt x="1358" y="113"/>
                  </a:lnTo>
                  <a:lnTo>
                    <a:pt x="1355" y="118"/>
                  </a:lnTo>
                  <a:lnTo>
                    <a:pt x="1355" y="118"/>
                  </a:lnTo>
                  <a:lnTo>
                    <a:pt x="1350" y="118"/>
                  </a:lnTo>
                  <a:lnTo>
                    <a:pt x="1343" y="118"/>
                  </a:lnTo>
                  <a:lnTo>
                    <a:pt x="1343" y="118"/>
                  </a:lnTo>
                  <a:lnTo>
                    <a:pt x="1343" y="130"/>
                  </a:lnTo>
                  <a:lnTo>
                    <a:pt x="1343" y="130"/>
                  </a:lnTo>
                  <a:lnTo>
                    <a:pt x="1343" y="141"/>
                  </a:lnTo>
                  <a:lnTo>
                    <a:pt x="1343" y="141"/>
                  </a:lnTo>
                  <a:lnTo>
                    <a:pt x="1343" y="153"/>
                  </a:lnTo>
                  <a:lnTo>
                    <a:pt x="1343" y="153"/>
                  </a:lnTo>
                  <a:lnTo>
                    <a:pt x="1343" y="179"/>
                  </a:lnTo>
                  <a:lnTo>
                    <a:pt x="1343" y="179"/>
                  </a:lnTo>
                  <a:lnTo>
                    <a:pt x="1343" y="191"/>
                  </a:lnTo>
                  <a:lnTo>
                    <a:pt x="1343" y="191"/>
                  </a:lnTo>
                  <a:lnTo>
                    <a:pt x="1343" y="214"/>
                  </a:lnTo>
                  <a:lnTo>
                    <a:pt x="1343" y="214"/>
                  </a:lnTo>
                  <a:lnTo>
                    <a:pt x="1343" y="262"/>
                  </a:lnTo>
                  <a:lnTo>
                    <a:pt x="1343" y="262"/>
                  </a:lnTo>
                  <a:lnTo>
                    <a:pt x="1343" y="273"/>
                  </a:lnTo>
                  <a:lnTo>
                    <a:pt x="1343" y="273"/>
                  </a:lnTo>
                  <a:lnTo>
                    <a:pt x="1339" y="273"/>
                  </a:lnTo>
                  <a:lnTo>
                    <a:pt x="1332" y="273"/>
                  </a:lnTo>
                  <a:lnTo>
                    <a:pt x="1332" y="273"/>
                  </a:lnTo>
                  <a:lnTo>
                    <a:pt x="1332" y="278"/>
                  </a:lnTo>
                  <a:lnTo>
                    <a:pt x="1332" y="285"/>
                  </a:lnTo>
                  <a:lnTo>
                    <a:pt x="1332" y="285"/>
                  </a:lnTo>
                  <a:lnTo>
                    <a:pt x="1329" y="285"/>
                  </a:lnTo>
                  <a:lnTo>
                    <a:pt x="1327" y="285"/>
                  </a:lnTo>
                  <a:lnTo>
                    <a:pt x="1320" y="285"/>
                  </a:lnTo>
                  <a:lnTo>
                    <a:pt x="1320" y="285"/>
                  </a:lnTo>
                  <a:lnTo>
                    <a:pt x="1320" y="297"/>
                  </a:lnTo>
                  <a:lnTo>
                    <a:pt x="1320" y="297"/>
                  </a:lnTo>
                  <a:lnTo>
                    <a:pt x="1320" y="309"/>
                  </a:lnTo>
                  <a:lnTo>
                    <a:pt x="1320" y="309"/>
                  </a:lnTo>
                  <a:lnTo>
                    <a:pt x="1320" y="320"/>
                  </a:lnTo>
                  <a:lnTo>
                    <a:pt x="1320" y="320"/>
                  </a:lnTo>
                  <a:lnTo>
                    <a:pt x="1320" y="332"/>
                  </a:lnTo>
                  <a:lnTo>
                    <a:pt x="1320" y="332"/>
                  </a:lnTo>
                  <a:lnTo>
                    <a:pt x="1320" y="344"/>
                  </a:lnTo>
                  <a:lnTo>
                    <a:pt x="1320" y="344"/>
                  </a:lnTo>
                  <a:lnTo>
                    <a:pt x="1320" y="351"/>
                  </a:lnTo>
                  <a:lnTo>
                    <a:pt x="1320" y="356"/>
                  </a:lnTo>
                  <a:lnTo>
                    <a:pt x="1320" y="356"/>
                  </a:lnTo>
                  <a:lnTo>
                    <a:pt x="1317" y="358"/>
                  </a:lnTo>
                  <a:lnTo>
                    <a:pt x="1315" y="356"/>
                  </a:lnTo>
                  <a:lnTo>
                    <a:pt x="1308" y="356"/>
                  </a:lnTo>
                  <a:lnTo>
                    <a:pt x="1308" y="356"/>
                  </a:lnTo>
                  <a:lnTo>
                    <a:pt x="1303" y="356"/>
                  </a:lnTo>
                  <a:lnTo>
                    <a:pt x="1299" y="356"/>
                  </a:lnTo>
                  <a:lnTo>
                    <a:pt x="1296" y="356"/>
                  </a:lnTo>
                  <a:lnTo>
                    <a:pt x="1296" y="356"/>
                  </a:lnTo>
                  <a:lnTo>
                    <a:pt x="1296" y="344"/>
                  </a:lnTo>
                  <a:lnTo>
                    <a:pt x="1296" y="344"/>
                  </a:lnTo>
                  <a:lnTo>
                    <a:pt x="1296" y="332"/>
                  </a:lnTo>
                  <a:lnTo>
                    <a:pt x="1296" y="332"/>
                  </a:lnTo>
                  <a:lnTo>
                    <a:pt x="1296" y="320"/>
                  </a:lnTo>
                  <a:lnTo>
                    <a:pt x="1296" y="320"/>
                  </a:lnTo>
                  <a:lnTo>
                    <a:pt x="1296" y="309"/>
                  </a:lnTo>
                  <a:lnTo>
                    <a:pt x="1296" y="309"/>
                  </a:lnTo>
                  <a:lnTo>
                    <a:pt x="1296" y="302"/>
                  </a:lnTo>
                  <a:lnTo>
                    <a:pt x="1296" y="297"/>
                  </a:lnTo>
                  <a:lnTo>
                    <a:pt x="1296" y="297"/>
                  </a:lnTo>
                  <a:lnTo>
                    <a:pt x="1294" y="297"/>
                  </a:lnTo>
                  <a:lnTo>
                    <a:pt x="1292" y="297"/>
                  </a:lnTo>
                  <a:lnTo>
                    <a:pt x="1287" y="297"/>
                  </a:lnTo>
                  <a:lnTo>
                    <a:pt x="1284" y="297"/>
                  </a:lnTo>
                  <a:lnTo>
                    <a:pt x="1284" y="297"/>
                  </a:lnTo>
                  <a:lnTo>
                    <a:pt x="1282" y="297"/>
                  </a:lnTo>
                  <a:lnTo>
                    <a:pt x="1280" y="297"/>
                  </a:lnTo>
                  <a:lnTo>
                    <a:pt x="1275" y="297"/>
                  </a:lnTo>
                  <a:lnTo>
                    <a:pt x="1273" y="297"/>
                  </a:lnTo>
                  <a:lnTo>
                    <a:pt x="1273" y="297"/>
                  </a:lnTo>
                  <a:lnTo>
                    <a:pt x="1273" y="290"/>
                  </a:lnTo>
                  <a:lnTo>
                    <a:pt x="1273" y="285"/>
                  </a:lnTo>
                  <a:lnTo>
                    <a:pt x="1273" y="285"/>
                  </a:lnTo>
                  <a:lnTo>
                    <a:pt x="1268" y="285"/>
                  </a:lnTo>
                  <a:lnTo>
                    <a:pt x="1261" y="285"/>
                  </a:lnTo>
                  <a:lnTo>
                    <a:pt x="1261" y="285"/>
                  </a:lnTo>
                  <a:lnTo>
                    <a:pt x="1254" y="285"/>
                  </a:lnTo>
                  <a:lnTo>
                    <a:pt x="1249" y="285"/>
                  </a:lnTo>
                  <a:lnTo>
                    <a:pt x="1249" y="285"/>
                  </a:lnTo>
                  <a:lnTo>
                    <a:pt x="1249" y="283"/>
                  </a:lnTo>
                  <a:lnTo>
                    <a:pt x="1249" y="278"/>
                  </a:lnTo>
                  <a:lnTo>
                    <a:pt x="1249" y="273"/>
                  </a:lnTo>
                  <a:lnTo>
                    <a:pt x="1249" y="273"/>
                  </a:lnTo>
                  <a:lnTo>
                    <a:pt x="1237" y="273"/>
                  </a:lnTo>
                  <a:lnTo>
                    <a:pt x="1237" y="273"/>
                  </a:lnTo>
                  <a:lnTo>
                    <a:pt x="1230" y="273"/>
                  </a:lnTo>
                  <a:lnTo>
                    <a:pt x="1226" y="273"/>
                  </a:lnTo>
                  <a:lnTo>
                    <a:pt x="1226" y="273"/>
                  </a:lnTo>
                  <a:lnTo>
                    <a:pt x="1226" y="280"/>
                  </a:lnTo>
                  <a:lnTo>
                    <a:pt x="1226" y="285"/>
                  </a:lnTo>
                  <a:lnTo>
                    <a:pt x="1226" y="285"/>
                  </a:lnTo>
                  <a:lnTo>
                    <a:pt x="1218" y="285"/>
                  </a:lnTo>
                  <a:lnTo>
                    <a:pt x="1214" y="285"/>
                  </a:lnTo>
                  <a:lnTo>
                    <a:pt x="1214" y="285"/>
                  </a:lnTo>
                  <a:lnTo>
                    <a:pt x="1207" y="285"/>
                  </a:lnTo>
                  <a:lnTo>
                    <a:pt x="1202" y="285"/>
                  </a:lnTo>
                  <a:lnTo>
                    <a:pt x="1202" y="285"/>
                  </a:lnTo>
                  <a:lnTo>
                    <a:pt x="1200" y="287"/>
                  </a:lnTo>
                  <a:lnTo>
                    <a:pt x="1202" y="290"/>
                  </a:lnTo>
                  <a:lnTo>
                    <a:pt x="1202" y="295"/>
                  </a:lnTo>
                  <a:lnTo>
                    <a:pt x="1202" y="297"/>
                  </a:lnTo>
                  <a:lnTo>
                    <a:pt x="1202" y="297"/>
                  </a:lnTo>
                  <a:lnTo>
                    <a:pt x="1195" y="297"/>
                  </a:lnTo>
                  <a:lnTo>
                    <a:pt x="1190" y="297"/>
                  </a:lnTo>
                  <a:lnTo>
                    <a:pt x="1190" y="297"/>
                  </a:lnTo>
                  <a:lnTo>
                    <a:pt x="1183" y="297"/>
                  </a:lnTo>
                  <a:lnTo>
                    <a:pt x="1178" y="297"/>
                  </a:lnTo>
                  <a:lnTo>
                    <a:pt x="1178" y="297"/>
                  </a:lnTo>
                  <a:lnTo>
                    <a:pt x="1178" y="302"/>
                  </a:lnTo>
                  <a:lnTo>
                    <a:pt x="1178" y="309"/>
                  </a:lnTo>
                  <a:lnTo>
                    <a:pt x="1178" y="309"/>
                  </a:lnTo>
                  <a:lnTo>
                    <a:pt x="1176" y="316"/>
                  </a:lnTo>
                  <a:lnTo>
                    <a:pt x="1178" y="320"/>
                  </a:lnTo>
                  <a:lnTo>
                    <a:pt x="1178" y="320"/>
                  </a:lnTo>
                  <a:lnTo>
                    <a:pt x="1178" y="332"/>
                  </a:lnTo>
                  <a:lnTo>
                    <a:pt x="1178" y="332"/>
                  </a:lnTo>
                  <a:lnTo>
                    <a:pt x="1178" y="339"/>
                  </a:lnTo>
                  <a:lnTo>
                    <a:pt x="1178" y="344"/>
                  </a:lnTo>
                  <a:lnTo>
                    <a:pt x="1178" y="344"/>
                  </a:lnTo>
                  <a:lnTo>
                    <a:pt x="1176" y="344"/>
                  </a:lnTo>
                  <a:lnTo>
                    <a:pt x="1171" y="344"/>
                  </a:lnTo>
                  <a:lnTo>
                    <a:pt x="1167" y="344"/>
                  </a:lnTo>
                  <a:lnTo>
                    <a:pt x="1167" y="344"/>
                  </a:lnTo>
                  <a:lnTo>
                    <a:pt x="1167" y="320"/>
                  </a:lnTo>
                  <a:lnTo>
                    <a:pt x="1167" y="320"/>
                  </a:lnTo>
                  <a:lnTo>
                    <a:pt x="1160" y="320"/>
                  </a:lnTo>
                  <a:lnTo>
                    <a:pt x="1157" y="320"/>
                  </a:lnTo>
                  <a:lnTo>
                    <a:pt x="1155" y="320"/>
                  </a:lnTo>
                  <a:lnTo>
                    <a:pt x="1155" y="320"/>
                  </a:lnTo>
                  <a:lnTo>
                    <a:pt x="1153" y="318"/>
                  </a:lnTo>
                  <a:lnTo>
                    <a:pt x="1153" y="316"/>
                  </a:lnTo>
                  <a:lnTo>
                    <a:pt x="1155" y="309"/>
                  </a:lnTo>
                  <a:lnTo>
                    <a:pt x="1155" y="309"/>
                  </a:lnTo>
                  <a:lnTo>
                    <a:pt x="1153" y="306"/>
                  </a:lnTo>
                  <a:lnTo>
                    <a:pt x="1155" y="304"/>
                  </a:lnTo>
                  <a:lnTo>
                    <a:pt x="1155" y="299"/>
                  </a:lnTo>
                  <a:lnTo>
                    <a:pt x="1155" y="297"/>
                  </a:lnTo>
                  <a:lnTo>
                    <a:pt x="1155" y="297"/>
                  </a:lnTo>
                  <a:lnTo>
                    <a:pt x="1141" y="297"/>
                  </a:lnTo>
                  <a:lnTo>
                    <a:pt x="1141" y="297"/>
                  </a:lnTo>
                  <a:lnTo>
                    <a:pt x="1136" y="297"/>
                  </a:lnTo>
                  <a:lnTo>
                    <a:pt x="1129" y="297"/>
                  </a:lnTo>
                  <a:lnTo>
                    <a:pt x="1129" y="297"/>
                  </a:lnTo>
                  <a:lnTo>
                    <a:pt x="1129" y="295"/>
                  </a:lnTo>
                  <a:lnTo>
                    <a:pt x="1129" y="292"/>
                  </a:lnTo>
                  <a:lnTo>
                    <a:pt x="1129" y="285"/>
                  </a:lnTo>
                  <a:lnTo>
                    <a:pt x="1129" y="285"/>
                  </a:lnTo>
                  <a:lnTo>
                    <a:pt x="1127" y="285"/>
                  </a:lnTo>
                  <a:lnTo>
                    <a:pt x="1124" y="285"/>
                  </a:lnTo>
                  <a:lnTo>
                    <a:pt x="1120" y="285"/>
                  </a:lnTo>
                  <a:lnTo>
                    <a:pt x="1117" y="285"/>
                  </a:lnTo>
                  <a:lnTo>
                    <a:pt x="1117" y="285"/>
                  </a:lnTo>
                  <a:lnTo>
                    <a:pt x="1117" y="283"/>
                  </a:lnTo>
                  <a:lnTo>
                    <a:pt x="1117" y="278"/>
                  </a:lnTo>
                  <a:lnTo>
                    <a:pt x="1117" y="273"/>
                  </a:lnTo>
                  <a:lnTo>
                    <a:pt x="1117" y="273"/>
                  </a:lnTo>
                  <a:lnTo>
                    <a:pt x="1105" y="273"/>
                  </a:lnTo>
                  <a:lnTo>
                    <a:pt x="1105" y="273"/>
                  </a:lnTo>
                  <a:lnTo>
                    <a:pt x="1094" y="273"/>
                  </a:lnTo>
                  <a:lnTo>
                    <a:pt x="1094" y="273"/>
                  </a:lnTo>
                  <a:lnTo>
                    <a:pt x="1046" y="273"/>
                  </a:lnTo>
                  <a:lnTo>
                    <a:pt x="1046" y="273"/>
                  </a:lnTo>
                  <a:lnTo>
                    <a:pt x="1046" y="297"/>
                  </a:lnTo>
                  <a:lnTo>
                    <a:pt x="1046" y="297"/>
                  </a:lnTo>
                  <a:lnTo>
                    <a:pt x="1023" y="297"/>
                  </a:lnTo>
                  <a:lnTo>
                    <a:pt x="1023" y="297"/>
                  </a:lnTo>
                  <a:lnTo>
                    <a:pt x="1023" y="344"/>
                  </a:lnTo>
                  <a:lnTo>
                    <a:pt x="1023" y="344"/>
                  </a:lnTo>
                  <a:lnTo>
                    <a:pt x="1011" y="344"/>
                  </a:lnTo>
                  <a:lnTo>
                    <a:pt x="1011" y="344"/>
                  </a:lnTo>
                  <a:lnTo>
                    <a:pt x="988" y="344"/>
                  </a:lnTo>
                  <a:lnTo>
                    <a:pt x="988" y="344"/>
                  </a:lnTo>
                  <a:lnTo>
                    <a:pt x="964" y="344"/>
                  </a:lnTo>
                  <a:lnTo>
                    <a:pt x="964" y="344"/>
                  </a:lnTo>
                  <a:lnTo>
                    <a:pt x="952" y="344"/>
                  </a:lnTo>
                  <a:lnTo>
                    <a:pt x="952" y="344"/>
                  </a:lnTo>
                  <a:lnTo>
                    <a:pt x="940" y="344"/>
                  </a:lnTo>
                  <a:lnTo>
                    <a:pt x="940" y="344"/>
                  </a:lnTo>
                  <a:lnTo>
                    <a:pt x="929" y="344"/>
                  </a:lnTo>
                  <a:lnTo>
                    <a:pt x="929" y="344"/>
                  </a:lnTo>
                  <a:lnTo>
                    <a:pt x="922" y="344"/>
                  </a:lnTo>
                  <a:lnTo>
                    <a:pt x="917" y="344"/>
                  </a:lnTo>
                  <a:lnTo>
                    <a:pt x="917" y="344"/>
                  </a:lnTo>
                  <a:lnTo>
                    <a:pt x="917" y="339"/>
                  </a:lnTo>
                  <a:lnTo>
                    <a:pt x="917" y="332"/>
                  </a:lnTo>
                  <a:lnTo>
                    <a:pt x="917" y="332"/>
                  </a:lnTo>
                  <a:lnTo>
                    <a:pt x="915" y="332"/>
                  </a:lnTo>
                  <a:lnTo>
                    <a:pt x="910" y="332"/>
                  </a:lnTo>
                  <a:lnTo>
                    <a:pt x="903" y="332"/>
                  </a:lnTo>
                  <a:lnTo>
                    <a:pt x="903" y="332"/>
                  </a:lnTo>
                  <a:lnTo>
                    <a:pt x="903" y="309"/>
                  </a:lnTo>
                  <a:lnTo>
                    <a:pt x="903" y="309"/>
                  </a:lnTo>
                  <a:lnTo>
                    <a:pt x="903" y="262"/>
                  </a:lnTo>
                  <a:lnTo>
                    <a:pt x="903" y="262"/>
                  </a:lnTo>
                  <a:lnTo>
                    <a:pt x="903" y="250"/>
                  </a:lnTo>
                  <a:lnTo>
                    <a:pt x="903" y="250"/>
                  </a:lnTo>
                  <a:lnTo>
                    <a:pt x="903" y="226"/>
                  </a:lnTo>
                  <a:lnTo>
                    <a:pt x="903" y="226"/>
                  </a:lnTo>
                  <a:lnTo>
                    <a:pt x="903" y="203"/>
                  </a:lnTo>
                  <a:lnTo>
                    <a:pt x="903" y="203"/>
                  </a:lnTo>
                  <a:lnTo>
                    <a:pt x="856" y="203"/>
                  </a:lnTo>
                  <a:lnTo>
                    <a:pt x="856" y="203"/>
                  </a:lnTo>
                  <a:lnTo>
                    <a:pt x="856" y="191"/>
                  </a:lnTo>
                  <a:lnTo>
                    <a:pt x="856" y="191"/>
                  </a:lnTo>
                  <a:lnTo>
                    <a:pt x="856" y="141"/>
                  </a:lnTo>
                  <a:lnTo>
                    <a:pt x="856" y="141"/>
                  </a:lnTo>
                  <a:lnTo>
                    <a:pt x="856" y="118"/>
                  </a:lnTo>
                  <a:lnTo>
                    <a:pt x="856" y="118"/>
                  </a:lnTo>
                  <a:lnTo>
                    <a:pt x="856" y="106"/>
                  </a:lnTo>
                  <a:lnTo>
                    <a:pt x="856" y="106"/>
                  </a:lnTo>
                  <a:lnTo>
                    <a:pt x="856" y="59"/>
                  </a:lnTo>
                  <a:lnTo>
                    <a:pt x="856" y="59"/>
                  </a:lnTo>
                  <a:lnTo>
                    <a:pt x="856" y="47"/>
                  </a:lnTo>
                  <a:lnTo>
                    <a:pt x="856" y="47"/>
                  </a:lnTo>
                  <a:lnTo>
                    <a:pt x="856" y="24"/>
                  </a:lnTo>
                  <a:lnTo>
                    <a:pt x="856" y="24"/>
                  </a:lnTo>
                  <a:lnTo>
                    <a:pt x="851" y="24"/>
                  </a:lnTo>
                  <a:lnTo>
                    <a:pt x="844" y="24"/>
                  </a:lnTo>
                  <a:lnTo>
                    <a:pt x="844" y="24"/>
                  </a:lnTo>
                  <a:lnTo>
                    <a:pt x="844" y="12"/>
                  </a:lnTo>
                  <a:lnTo>
                    <a:pt x="844" y="12"/>
                  </a:lnTo>
                  <a:lnTo>
                    <a:pt x="844" y="0"/>
                  </a:lnTo>
                  <a:lnTo>
                    <a:pt x="844" y="0"/>
                  </a:lnTo>
                  <a:lnTo>
                    <a:pt x="750" y="0"/>
                  </a:lnTo>
                  <a:lnTo>
                    <a:pt x="750" y="0"/>
                  </a:lnTo>
                  <a:lnTo>
                    <a:pt x="750" y="12"/>
                  </a:lnTo>
                  <a:lnTo>
                    <a:pt x="750" y="12"/>
                  </a:lnTo>
                  <a:lnTo>
                    <a:pt x="750" y="35"/>
                  </a:lnTo>
                  <a:lnTo>
                    <a:pt x="750" y="35"/>
                  </a:lnTo>
                  <a:lnTo>
                    <a:pt x="750" y="47"/>
                  </a:lnTo>
                  <a:lnTo>
                    <a:pt x="750" y="47"/>
                  </a:lnTo>
                  <a:lnTo>
                    <a:pt x="750" y="54"/>
                  </a:lnTo>
                  <a:lnTo>
                    <a:pt x="750" y="59"/>
                  </a:lnTo>
                  <a:lnTo>
                    <a:pt x="750" y="59"/>
                  </a:lnTo>
                  <a:lnTo>
                    <a:pt x="743" y="59"/>
                  </a:lnTo>
                  <a:lnTo>
                    <a:pt x="738" y="59"/>
                  </a:lnTo>
                  <a:lnTo>
                    <a:pt x="738" y="59"/>
                  </a:lnTo>
                  <a:lnTo>
                    <a:pt x="738" y="64"/>
                  </a:lnTo>
                  <a:lnTo>
                    <a:pt x="738" y="71"/>
                  </a:lnTo>
                  <a:lnTo>
                    <a:pt x="738" y="71"/>
                  </a:lnTo>
                  <a:lnTo>
                    <a:pt x="738" y="82"/>
                  </a:lnTo>
                  <a:lnTo>
                    <a:pt x="738" y="82"/>
                  </a:lnTo>
                  <a:lnTo>
                    <a:pt x="738" y="106"/>
                  </a:lnTo>
                  <a:lnTo>
                    <a:pt x="738" y="106"/>
                  </a:lnTo>
                  <a:lnTo>
                    <a:pt x="738" y="118"/>
                  </a:lnTo>
                  <a:lnTo>
                    <a:pt x="738" y="118"/>
                  </a:lnTo>
                  <a:lnTo>
                    <a:pt x="738" y="141"/>
                  </a:lnTo>
                  <a:lnTo>
                    <a:pt x="738" y="141"/>
                  </a:lnTo>
                  <a:lnTo>
                    <a:pt x="738" y="238"/>
                  </a:lnTo>
                  <a:lnTo>
                    <a:pt x="738" y="238"/>
                  </a:lnTo>
                  <a:lnTo>
                    <a:pt x="738" y="250"/>
                  </a:lnTo>
                  <a:lnTo>
                    <a:pt x="738" y="250"/>
                  </a:lnTo>
                  <a:lnTo>
                    <a:pt x="738" y="273"/>
                  </a:lnTo>
                  <a:lnTo>
                    <a:pt x="738" y="273"/>
                  </a:lnTo>
                  <a:lnTo>
                    <a:pt x="738" y="320"/>
                  </a:lnTo>
                  <a:lnTo>
                    <a:pt x="738" y="320"/>
                  </a:lnTo>
                  <a:lnTo>
                    <a:pt x="726" y="320"/>
                  </a:lnTo>
                  <a:lnTo>
                    <a:pt x="726" y="320"/>
                  </a:lnTo>
                  <a:lnTo>
                    <a:pt x="726" y="309"/>
                  </a:lnTo>
                  <a:lnTo>
                    <a:pt x="726" y="309"/>
                  </a:lnTo>
                  <a:lnTo>
                    <a:pt x="726" y="297"/>
                  </a:lnTo>
                  <a:lnTo>
                    <a:pt x="726" y="297"/>
                  </a:lnTo>
                  <a:lnTo>
                    <a:pt x="726" y="285"/>
                  </a:lnTo>
                  <a:lnTo>
                    <a:pt x="726" y="285"/>
                  </a:lnTo>
                  <a:lnTo>
                    <a:pt x="726" y="278"/>
                  </a:lnTo>
                  <a:lnTo>
                    <a:pt x="726" y="273"/>
                  </a:lnTo>
                  <a:lnTo>
                    <a:pt x="726" y="273"/>
                  </a:lnTo>
                  <a:lnTo>
                    <a:pt x="724" y="273"/>
                  </a:lnTo>
                  <a:lnTo>
                    <a:pt x="719" y="273"/>
                  </a:lnTo>
                  <a:lnTo>
                    <a:pt x="714" y="273"/>
                  </a:lnTo>
                  <a:lnTo>
                    <a:pt x="714" y="273"/>
                  </a:lnTo>
                  <a:lnTo>
                    <a:pt x="712" y="271"/>
                  </a:lnTo>
                  <a:lnTo>
                    <a:pt x="714" y="266"/>
                  </a:lnTo>
                  <a:lnTo>
                    <a:pt x="714" y="262"/>
                  </a:lnTo>
                  <a:lnTo>
                    <a:pt x="714" y="262"/>
                  </a:lnTo>
                  <a:lnTo>
                    <a:pt x="702" y="262"/>
                  </a:lnTo>
                  <a:lnTo>
                    <a:pt x="702" y="262"/>
                  </a:lnTo>
                  <a:lnTo>
                    <a:pt x="679" y="262"/>
                  </a:lnTo>
                  <a:lnTo>
                    <a:pt x="679" y="262"/>
                  </a:lnTo>
                  <a:lnTo>
                    <a:pt x="679" y="266"/>
                  </a:lnTo>
                  <a:lnTo>
                    <a:pt x="679" y="273"/>
                  </a:lnTo>
                  <a:lnTo>
                    <a:pt x="679" y="273"/>
                  </a:lnTo>
                  <a:lnTo>
                    <a:pt x="667" y="273"/>
                  </a:lnTo>
                  <a:lnTo>
                    <a:pt x="667" y="273"/>
                  </a:lnTo>
                  <a:lnTo>
                    <a:pt x="660" y="273"/>
                  </a:lnTo>
                  <a:lnTo>
                    <a:pt x="653" y="273"/>
                  </a:lnTo>
                  <a:lnTo>
                    <a:pt x="653" y="273"/>
                  </a:lnTo>
                  <a:lnTo>
                    <a:pt x="653" y="278"/>
                  </a:lnTo>
                  <a:lnTo>
                    <a:pt x="653" y="285"/>
                  </a:lnTo>
                  <a:lnTo>
                    <a:pt x="653" y="285"/>
                  </a:lnTo>
                  <a:lnTo>
                    <a:pt x="641" y="285"/>
                  </a:lnTo>
                  <a:lnTo>
                    <a:pt x="641" y="285"/>
                  </a:lnTo>
                  <a:lnTo>
                    <a:pt x="629" y="285"/>
                  </a:lnTo>
                  <a:lnTo>
                    <a:pt x="629" y="285"/>
                  </a:lnTo>
                  <a:lnTo>
                    <a:pt x="629" y="292"/>
                  </a:lnTo>
                  <a:lnTo>
                    <a:pt x="632" y="295"/>
                  </a:lnTo>
                  <a:lnTo>
                    <a:pt x="629" y="297"/>
                  </a:lnTo>
                  <a:lnTo>
                    <a:pt x="629" y="297"/>
                  </a:lnTo>
                  <a:lnTo>
                    <a:pt x="625" y="297"/>
                  </a:lnTo>
                  <a:lnTo>
                    <a:pt x="618" y="297"/>
                  </a:lnTo>
                  <a:lnTo>
                    <a:pt x="618" y="297"/>
                  </a:lnTo>
                  <a:lnTo>
                    <a:pt x="613" y="297"/>
                  </a:lnTo>
                  <a:lnTo>
                    <a:pt x="606" y="297"/>
                  </a:lnTo>
                  <a:lnTo>
                    <a:pt x="606" y="297"/>
                  </a:lnTo>
                  <a:lnTo>
                    <a:pt x="594" y="297"/>
                  </a:lnTo>
                  <a:lnTo>
                    <a:pt x="594" y="297"/>
                  </a:lnTo>
                  <a:lnTo>
                    <a:pt x="582" y="297"/>
                  </a:lnTo>
                  <a:lnTo>
                    <a:pt x="582" y="297"/>
                  </a:lnTo>
                  <a:lnTo>
                    <a:pt x="582" y="302"/>
                  </a:lnTo>
                  <a:lnTo>
                    <a:pt x="582" y="309"/>
                  </a:lnTo>
                  <a:lnTo>
                    <a:pt x="582" y="309"/>
                  </a:lnTo>
                  <a:lnTo>
                    <a:pt x="578" y="309"/>
                  </a:lnTo>
                  <a:lnTo>
                    <a:pt x="571" y="309"/>
                  </a:lnTo>
                  <a:lnTo>
                    <a:pt x="571" y="309"/>
                  </a:lnTo>
                  <a:lnTo>
                    <a:pt x="571" y="316"/>
                  </a:lnTo>
                  <a:lnTo>
                    <a:pt x="571" y="320"/>
                  </a:lnTo>
                  <a:lnTo>
                    <a:pt x="571" y="320"/>
                  </a:lnTo>
                  <a:lnTo>
                    <a:pt x="566" y="320"/>
                  </a:lnTo>
                  <a:lnTo>
                    <a:pt x="559" y="320"/>
                  </a:lnTo>
                  <a:lnTo>
                    <a:pt x="559" y="320"/>
                  </a:lnTo>
                  <a:lnTo>
                    <a:pt x="559" y="328"/>
                  </a:lnTo>
                  <a:lnTo>
                    <a:pt x="559" y="332"/>
                  </a:lnTo>
                  <a:lnTo>
                    <a:pt x="559" y="332"/>
                  </a:lnTo>
                  <a:lnTo>
                    <a:pt x="559" y="356"/>
                  </a:lnTo>
                  <a:lnTo>
                    <a:pt x="559" y="356"/>
                  </a:lnTo>
                  <a:lnTo>
                    <a:pt x="554" y="356"/>
                  </a:lnTo>
                  <a:lnTo>
                    <a:pt x="547" y="356"/>
                  </a:lnTo>
                  <a:lnTo>
                    <a:pt x="547" y="356"/>
                  </a:lnTo>
                  <a:lnTo>
                    <a:pt x="542" y="356"/>
                  </a:lnTo>
                  <a:lnTo>
                    <a:pt x="535" y="356"/>
                  </a:lnTo>
                  <a:lnTo>
                    <a:pt x="535" y="356"/>
                  </a:lnTo>
                  <a:lnTo>
                    <a:pt x="528" y="356"/>
                  </a:lnTo>
                  <a:lnTo>
                    <a:pt x="523" y="356"/>
                  </a:lnTo>
                  <a:lnTo>
                    <a:pt x="523" y="356"/>
                  </a:lnTo>
                  <a:lnTo>
                    <a:pt x="523" y="351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00" y="344"/>
                  </a:lnTo>
                  <a:lnTo>
                    <a:pt x="500" y="344"/>
                  </a:lnTo>
                  <a:lnTo>
                    <a:pt x="476" y="344"/>
                  </a:lnTo>
                  <a:lnTo>
                    <a:pt x="476" y="344"/>
                  </a:lnTo>
                  <a:lnTo>
                    <a:pt x="453" y="344"/>
                  </a:lnTo>
                  <a:lnTo>
                    <a:pt x="453" y="344"/>
                  </a:lnTo>
                  <a:lnTo>
                    <a:pt x="453" y="339"/>
                  </a:lnTo>
                  <a:lnTo>
                    <a:pt x="453" y="335"/>
                  </a:lnTo>
                  <a:lnTo>
                    <a:pt x="453" y="332"/>
                  </a:lnTo>
                  <a:lnTo>
                    <a:pt x="453" y="332"/>
                  </a:lnTo>
                  <a:lnTo>
                    <a:pt x="446" y="332"/>
                  </a:lnTo>
                  <a:lnTo>
                    <a:pt x="441" y="332"/>
                  </a:lnTo>
                  <a:lnTo>
                    <a:pt x="441" y="332"/>
                  </a:lnTo>
                  <a:lnTo>
                    <a:pt x="429" y="332"/>
                  </a:lnTo>
                  <a:lnTo>
                    <a:pt x="429" y="332"/>
                  </a:lnTo>
                  <a:lnTo>
                    <a:pt x="429" y="339"/>
                  </a:lnTo>
                  <a:lnTo>
                    <a:pt x="429" y="342"/>
                  </a:lnTo>
                  <a:lnTo>
                    <a:pt x="429" y="344"/>
                  </a:lnTo>
                  <a:lnTo>
                    <a:pt x="429" y="344"/>
                  </a:lnTo>
                  <a:lnTo>
                    <a:pt x="422" y="344"/>
                  </a:lnTo>
                  <a:lnTo>
                    <a:pt x="417" y="344"/>
                  </a:lnTo>
                  <a:lnTo>
                    <a:pt x="417" y="344"/>
                  </a:lnTo>
                  <a:lnTo>
                    <a:pt x="403" y="344"/>
                  </a:lnTo>
                  <a:lnTo>
                    <a:pt x="403" y="344"/>
                  </a:lnTo>
                  <a:lnTo>
                    <a:pt x="399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87" y="344"/>
                  </a:lnTo>
                  <a:lnTo>
                    <a:pt x="380" y="344"/>
                  </a:lnTo>
                  <a:lnTo>
                    <a:pt x="380" y="344"/>
                  </a:lnTo>
                  <a:lnTo>
                    <a:pt x="380" y="346"/>
                  </a:lnTo>
                  <a:lnTo>
                    <a:pt x="380" y="351"/>
                  </a:lnTo>
                  <a:lnTo>
                    <a:pt x="380" y="356"/>
                  </a:lnTo>
                  <a:lnTo>
                    <a:pt x="380" y="356"/>
                  </a:lnTo>
                  <a:lnTo>
                    <a:pt x="356" y="356"/>
                  </a:lnTo>
                  <a:lnTo>
                    <a:pt x="356" y="356"/>
                  </a:lnTo>
                  <a:lnTo>
                    <a:pt x="344" y="356"/>
                  </a:lnTo>
                  <a:lnTo>
                    <a:pt x="344" y="356"/>
                  </a:lnTo>
                  <a:lnTo>
                    <a:pt x="321" y="356"/>
                  </a:lnTo>
                  <a:lnTo>
                    <a:pt x="321" y="356"/>
                  </a:lnTo>
                  <a:lnTo>
                    <a:pt x="309" y="356"/>
                  </a:lnTo>
                  <a:lnTo>
                    <a:pt x="309" y="356"/>
                  </a:lnTo>
                  <a:lnTo>
                    <a:pt x="297" y="356"/>
                  </a:lnTo>
                  <a:lnTo>
                    <a:pt x="297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74" y="356"/>
                  </a:lnTo>
                  <a:lnTo>
                    <a:pt x="274" y="356"/>
                  </a:lnTo>
                  <a:lnTo>
                    <a:pt x="262" y="356"/>
                  </a:lnTo>
                  <a:lnTo>
                    <a:pt x="262" y="356"/>
                  </a:lnTo>
                  <a:lnTo>
                    <a:pt x="250" y="356"/>
                  </a:lnTo>
                  <a:lnTo>
                    <a:pt x="250" y="356"/>
                  </a:lnTo>
                  <a:lnTo>
                    <a:pt x="243" y="356"/>
                  </a:lnTo>
                  <a:lnTo>
                    <a:pt x="238" y="356"/>
                  </a:lnTo>
                  <a:lnTo>
                    <a:pt x="238" y="356"/>
                  </a:lnTo>
                  <a:lnTo>
                    <a:pt x="238" y="351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31" y="344"/>
                  </a:lnTo>
                  <a:lnTo>
                    <a:pt x="227" y="344"/>
                  </a:lnTo>
                  <a:lnTo>
                    <a:pt x="227" y="344"/>
                  </a:lnTo>
                  <a:lnTo>
                    <a:pt x="227" y="356"/>
                  </a:lnTo>
                  <a:lnTo>
                    <a:pt x="227" y="356"/>
                  </a:lnTo>
                  <a:lnTo>
                    <a:pt x="215" y="356"/>
                  </a:lnTo>
                  <a:lnTo>
                    <a:pt x="215" y="356"/>
                  </a:lnTo>
                  <a:lnTo>
                    <a:pt x="203" y="356"/>
                  </a:lnTo>
                  <a:lnTo>
                    <a:pt x="203" y="356"/>
                  </a:lnTo>
                  <a:lnTo>
                    <a:pt x="191" y="356"/>
                  </a:lnTo>
                  <a:lnTo>
                    <a:pt x="191" y="356"/>
                  </a:lnTo>
                  <a:lnTo>
                    <a:pt x="179" y="356"/>
                  </a:lnTo>
                  <a:lnTo>
                    <a:pt x="179" y="356"/>
                  </a:lnTo>
                  <a:lnTo>
                    <a:pt x="165" y="356"/>
                  </a:lnTo>
                  <a:lnTo>
                    <a:pt x="165" y="356"/>
                  </a:lnTo>
                  <a:lnTo>
                    <a:pt x="153" y="356"/>
                  </a:lnTo>
                  <a:lnTo>
                    <a:pt x="153" y="356"/>
                  </a:lnTo>
                  <a:lnTo>
                    <a:pt x="130" y="356"/>
                  </a:lnTo>
                  <a:lnTo>
                    <a:pt x="130" y="356"/>
                  </a:lnTo>
                  <a:lnTo>
                    <a:pt x="118" y="356"/>
                  </a:lnTo>
                  <a:lnTo>
                    <a:pt x="118" y="356"/>
                  </a:lnTo>
                  <a:lnTo>
                    <a:pt x="95" y="356"/>
                  </a:lnTo>
                  <a:lnTo>
                    <a:pt x="95" y="356"/>
                  </a:lnTo>
                  <a:lnTo>
                    <a:pt x="0" y="356"/>
                  </a:lnTo>
                  <a:lnTo>
                    <a:pt x="0" y="356"/>
                  </a:lnTo>
                  <a:lnTo>
                    <a:pt x="0" y="379"/>
                  </a:lnTo>
                  <a:lnTo>
                    <a:pt x="0" y="379"/>
                  </a:lnTo>
                  <a:lnTo>
                    <a:pt x="0" y="391"/>
                  </a:lnTo>
                  <a:lnTo>
                    <a:pt x="0" y="391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0" y="429"/>
                  </a:lnTo>
                  <a:lnTo>
                    <a:pt x="0" y="429"/>
                  </a:lnTo>
                  <a:lnTo>
                    <a:pt x="0" y="452"/>
                  </a:lnTo>
                  <a:lnTo>
                    <a:pt x="0" y="452"/>
                  </a:lnTo>
                  <a:lnTo>
                    <a:pt x="0" y="476"/>
                  </a:lnTo>
                  <a:lnTo>
                    <a:pt x="0" y="476"/>
                  </a:lnTo>
                  <a:lnTo>
                    <a:pt x="12" y="476"/>
                  </a:lnTo>
                  <a:lnTo>
                    <a:pt x="12" y="476"/>
                  </a:lnTo>
                  <a:lnTo>
                    <a:pt x="36" y="476"/>
                  </a:lnTo>
                  <a:lnTo>
                    <a:pt x="36" y="476"/>
                  </a:lnTo>
                  <a:lnTo>
                    <a:pt x="83" y="476"/>
                  </a:lnTo>
                  <a:lnTo>
                    <a:pt x="83" y="476"/>
                  </a:lnTo>
                  <a:lnTo>
                    <a:pt x="106" y="476"/>
                  </a:lnTo>
                  <a:lnTo>
                    <a:pt x="106" y="476"/>
                  </a:lnTo>
                  <a:lnTo>
                    <a:pt x="118" y="476"/>
                  </a:lnTo>
                  <a:lnTo>
                    <a:pt x="118" y="476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65" y="476"/>
                  </a:lnTo>
                  <a:lnTo>
                    <a:pt x="165" y="476"/>
                  </a:lnTo>
                  <a:lnTo>
                    <a:pt x="179" y="476"/>
                  </a:lnTo>
                  <a:lnTo>
                    <a:pt x="179" y="476"/>
                  </a:lnTo>
                  <a:lnTo>
                    <a:pt x="203" y="476"/>
                  </a:lnTo>
                  <a:lnTo>
                    <a:pt x="203" y="476"/>
                  </a:lnTo>
                  <a:lnTo>
                    <a:pt x="215" y="476"/>
                  </a:lnTo>
                  <a:lnTo>
                    <a:pt x="215" y="476"/>
                  </a:lnTo>
                  <a:lnTo>
                    <a:pt x="238" y="476"/>
                  </a:lnTo>
                  <a:lnTo>
                    <a:pt x="238" y="476"/>
                  </a:lnTo>
                  <a:lnTo>
                    <a:pt x="250" y="476"/>
                  </a:lnTo>
                  <a:lnTo>
                    <a:pt x="250" y="476"/>
                  </a:lnTo>
                  <a:lnTo>
                    <a:pt x="274" y="476"/>
                  </a:lnTo>
                  <a:lnTo>
                    <a:pt x="274" y="476"/>
                  </a:lnTo>
                  <a:lnTo>
                    <a:pt x="285" y="476"/>
                  </a:lnTo>
                  <a:lnTo>
                    <a:pt x="285" y="476"/>
                  </a:lnTo>
                  <a:lnTo>
                    <a:pt x="309" y="476"/>
                  </a:lnTo>
                  <a:lnTo>
                    <a:pt x="309" y="476"/>
                  </a:lnTo>
                  <a:lnTo>
                    <a:pt x="321" y="476"/>
                  </a:lnTo>
                  <a:lnTo>
                    <a:pt x="321" y="476"/>
                  </a:lnTo>
                  <a:lnTo>
                    <a:pt x="344" y="476"/>
                  </a:lnTo>
                  <a:lnTo>
                    <a:pt x="344" y="476"/>
                  </a:lnTo>
                  <a:lnTo>
                    <a:pt x="356" y="476"/>
                  </a:lnTo>
                  <a:lnTo>
                    <a:pt x="356" y="476"/>
                  </a:lnTo>
                  <a:lnTo>
                    <a:pt x="380" y="476"/>
                  </a:lnTo>
                  <a:lnTo>
                    <a:pt x="380" y="476"/>
                  </a:lnTo>
                  <a:lnTo>
                    <a:pt x="391" y="476"/>
                  </a:lnTo>
                  <a:lnTo>
                    <a:pt x="391" y="476"/>
                  </a:lnTo>
                  <a:lnTo>
                    <a:pt x="441" y="476"/>
                  </a:lnTo>
                  <a:lnTo>
                    <a:pt x="441" y="476"/>
                  </a:lnTo>
                  <a:lnTo>
                    <a:pt x="453" y="476"/>
                  </a:lnTo>
                  <a:lnTo>
                    <a:pt x="453" y="476"/>
                  </a:lnTo>
                  <a:lnTo>
                    <a:pt x="476" y="476"/>
                  </a:lnTo>
                  <a:lnTo>
                    <a:pt x="476" y="476"/>
                  </a:lnTo>
                  <a:lnTo>
                    <a:pt x="488" y="476"/>
                  </a:lnTo>
                  <a:lnTo>
                    <a:pt x="488" y="476"/>
                  </a:lnTo>
                  <a:lnTo>
                    <a:pt x="512" y="476"/>
                  </a:lnTo>
                  <a:lnTo>
                    <a:pt x="512" y="476"/>
                  </a:lnTo>
                  <a:lnTo>
                    <a:pt x="523" y="476"/>
                  </a:lnTo>
                  <a:lnTo>
                    <a:pt x="523" y="476"/>
                  </a:lnTo>
                  <a:lnTo>
                    <a:pt x="547" y="476"/>
                  </a:lnTo>
                  <a:lnTo>
                    <a:pt x="547" y="476"/>
                  </a:lnTo>
                  <a:lnTo>
                    <a:pt x="559" y="476"/>
                  </a:lnTo>
                  <a:lnTo>
                    <a:pt x="559" y="476"/>
                  </a:lnTo>
                  <a:lnTo>
                    <a:pt x="582" y="476"/>
                  </a:lnTo>
                  <a:lnTo>
                    <a:pt x="582" y="476"/>
                  </a:lnTo>
                  <a:lnTo>
                    <a:pt x="594" y="476"/>
                  </a:lnTo>
                  <a:lnTo>
                    <a:pt x="594" y="476"/>
                  </a:lnTo>
                  <a:lnTo>
                    <a:pt x="618" y="476"/>
                  </a:lnTo>
                  <a:lnTo>
                    <a:pt x="618" y="476"/>
                  </a:lnTo>
                  <a:lnTo>
                    <a:pt x="629" y="476"/>
                  </a:lnTo>
                  <a:lnTo>
                    <a:pt x="629" y="476"/>
                  </a:lnTo>
                  <a:lnTo>
                    <a:pt x="653" y="476"/>
                  </a:lnTo>
                  <a:lnTo>
                    <a:pt x="653" y="476"/>
                  </a:lnTo>
                  <a:lnTo>
                    <a:pt x="667" y="476"/>
                  </a:lnTo>
                  <a:lnTo>
                    <a:pt x="667" y="476"/>
                  </a:lnTo>
                  <a:lnTo>
                    <a:pt x="714" y="476"/>
                  </a:lnTo>
                  <a:lnTo>
                    <a:pt x="714" y="476"/>
                  </a:lnTo>
                  <a:lnTo>
                    <a:pt x="726" y="476"/>
                  </a:lnTo>
                  <a:lnTo>
                    <a:pt x="726" y="476"/>
                  </a:lnTo>
                  <a:lnTo>
                    <a:pt x="750" y="476"/>
                  </a:lnTo>
                  <a:lnTo>
                    <a:pt x="750" y="476"/>
                  </a:lnTo>
                  <a:lnTo>
                    <a:pt x="761" y="476"/>
                  </a:lnTo>
                  <a:lnTo>
                    <a:pt x="761" y="476"/>
                  </a:lnTo>
                  <a:lnTo>
                    <a:pt x="785" y="476"/>
                  </a:lnTo>
                  <a:lnTo>
                    <a:pt x="785" y="476"/>
                  </a:lnTo>
                  <a:lnTo>
                    <a:pt x="797" y="476"/>
                  </a:lnTo>
                  <a:lnTo>
                    <a:pt x="797" y="476"/>
                  </a:lnTo>
                  <a:lnTo>
                    <a:pt x="820" y="476"/>
                  </a:lnTo>
                  <a:lnTo>
                    <a:pt x="820" y="476"/>
                  </a:lnTo>
                  <a:lnTo>
                    <a:pt x="832" y="476"/>
                  </a:lnTo>
                  <a:lnTo>
                    <a:pt x="832" y="476"/>
                  </a:lnTo>
                  <a:lnTo>
                    <a:pt x="856" y="476"/>
                  </a:lnTo>
                  <a:lnTo>
                    <a:pt x="856" y="476"/>
                  </a:lnTo>
                  <a:lnTo>
                    <a:pt x="867" y="476"/>
                  </a:lnTo>
                  <a:lnTo>
                    <a:pt x="867" y="476"/>
                  </a:lnTo>
                  <a:lnTo>
                    <a:pt x="891" y="476"/>
                  </a:lnTo>
                  <a:lnTo>
                    <a:pt x="891" y="476"/>
                  </a:lnTo>
                  <a:lnTo>
                    <a:pt x="903" y="476"/>
                  </a:lnTo>
                  <a:lnTo>
                    <a:pt x="903" y="476"/>
                  </a:lnTo>
                  <a:lnTo>
                    <a:pt x="929" y="476"/>
                  </a:lnTo>
                  <a:lnTo>
                    <a:pt x="929" y="476"/>
                  </a:lnTo>
                  <a:lnTo>
                    <a:pt x="940" y="476"/>
                  </a:lnTo>
                  <a:lnTo>
                    <a:pt x="940" y="476"/>
                  </a:lnTo>
                  <a:lnTo>
                    <a:pt x="988" y="476"/>
                  </a:lnTo>
                  <a:lnTo>
                    <a:pt x="988" y="476"/>
                  </a:lnTo>
                  <a:lnTo>
                    <a:pt x="999" y="476"/>
                  </a:lnTo>
                  <a:lnTo>
                    <a:pt x="999" y="476"/>
                  </a:lnTo>
                  <a:lnTo>
                    <a:pt x="1023" y="476"/>
                  </a:lnTo>
                  <a:lnTo>
                    <a:pt x="1023" y="476"/>
                  </a:lnTo>
                  <a:lnTo>
                    <a:pt x="1035" y="476"/>
                  </a:lnTo>
                  <a:lnTo>
                    <a:pt x="1035" y="476"/>
                  </a:lnTo>
                  <a:lnTo>
                    <a:pt x="1058" y="476"/>
                  </a:lnTo>
                  <a:lnTo>
                    <a:pt x="1058" y="476"/>
                  </a:lnTo>
                  <a:lnTo>
                    <a:pt x="1070" y="476"/>
                  </a:lnTo>
                  <a:lnTo>
                    <a:pt x="1070" y="476"/>
                  </a:lnTo>
                  <a:lnTo>
                    <a:pt x="1094" y="476"/>
                  </a:lnTo>
                  <a:lnTo>
                    <a:pt x="1094" y="476"/>
                  </a:lnTo>
                  <a:lnTo>
                    <a:pt x="1105" y="476"/>
                  </a:lnTo>
                  <a:lnTo>
                    <a:pt x="1105" y="476"/>
                  </a:lnTo>
                  <a:lnTo>
                    <a:pt x="1129" y="476"/>
                  </a:lnTo>
                  <a:lnTo>
                    <a:pt x="1129" y="476"/>
                  </a:lnTo>
                  <a:lnTo>
                    <a:pt x="1141" y="476"/>
                  </a:lnTo>
                  <a:lnTo>
                    <a:pt x="1141" y="476"/>
                  </a:lnTo>
                  <a:lnTo>
                    <a:pt x="1167" y="476"/>
                  </a:lnTo>
                  <a:lnTo>
                    <a:pt x="1167" y="476"/>
                  </a:lnTo>
                  <a:lnTo>
                    <a:pt x="1178" y="476"/>
                  </a:lnTo>
                  <a:lnTo>
                    <a:pt x="1178" y="476"/>
                  </a:lnTo>
                  <a:lnTo>
                    <a:pt x="1202" y="476"/>
                  </a:lnTo>
                  <a:lnTo>
                    <a:pt x="1202" y="476"/>
                  </a:lnTo>
                  <a:lnTo>
                    <a:pt x="1214" y="476"/>
                  </a:lnTo>
                  <a:lnTo>
                    <a:pt x="1214" y="476"/>
                  </a:lnTo>
                  <a:lnTo>
                    <a:pt x="1261" y="476"/>
                  </a:lnTo>
                  <a:lnTo>
                    <a:pt x="1261" y="476"/>
                  </a:lnTo>
                  <a:lnTo>
                    <a:pt x="1273" y="476"/>
                  </a:lnTo>
                  <a:lnTo>
                    <a:pt x="1273" y="476"/>
                  </a:lnTo>
                  <a:lnTo>
                    <a:pt x="1296" y="476"/>
                  </a:lnTo>
                  <a:lnTo>
                    <a:pt x="1296" y="476"/>
                  </a:lnTo>
                  <a:lnTo>
                    <a:pt x="1308" y="476"/>
                  </a:lnTo>
                  <a:lnTo>
                    <a:pt x="1308" y="476"/>
                  </a:lnTo>
                  <a:lnTo>
                    <a:pt x="1332" y="476"/>
                  </a:lnTo>
                  <a:lnTo>
                    <a:pt x="1332" y="476"/>
                  </a:lnTo>
                  <a:lnTo>
                    <a:pt x="1343" y="476"/>
                  </a:lnTo>
                  <a:lnTo>
                    <a:pt x="1343" y="476"/>
                  </a:lnTo>
                  <a:lnTo>
                    <a:pt x="1367" y="476"/>
                  </a:lnTo>
                  <a:lnTo>
                    <a:pt x="1367" y="476"/>
                  </a:lnTo>
                  <a:lnTo>
                    <a:pt x="1379" y="476"/>
                  </a:lnTo>
                  <a:lnTo>
                    <a:pt x="1379" y="476"/>
                  </a:lnTo>
                  <a:lnTo>
                    <a:pt x="1405" y="476"/>
                  </a:lnTo>
                  <a:lnTo>
                    <a:pt x="1405" y="476"/>
                  </a:lnTo>
                  <a:lnTo>
                    <a:pt x="1416" y="476"/>
                  </a:lnTo>
                  <a:lnTo>
                    <a:pt x="1416" y="476"/>
                  </a:lnTo>
                  <a:lnTo>
                    <a:pt x="1440" y="476"/>
                  </a:lnTo>
                  <a:lnTo>
                    <a:pt x="1440" y="476"/>
                  </a:lnTo>
                  <a:lnTo>
                    <a:pt x="1452" y="476"/>
                  </a:lnTo>
                  <a:lnTo>
                    <a:pt x="1452" y="476"/>
                  </a:lnTo>
                  <a:lnTo>
                    <a:pt x="1475" y="476"/>
                  </a:lnTo>
                  <a:lnTo>
                    <a:pt x="1475" y="476"/>
                  </a:lnTo>
                  <a:lnTo>
                    <a:pt x="1487" y="476"/>
                  </a:lnTo>
                  <a:lnTo>
                    <a:pt x="1487" y="476"/>
                  </a:lnTo>
                  <a:lnTo>
                    <a:pt x="1534" y="476"/>
                  </a:lnTo>
                  <a:lnTo>
                    <a:pt x="1534" y="476"/>
                  </a:lnTo>
                  <a:lnTo>
                    <a:pt x="1546" y="476"/>
                  </a:lnTo>
                  <a:lnTo>
                    <a:pt x="1546" y="476"/>
                  </a:lnTo>
                  <a:lnTo>
                    <a:pt x="1570" y="476"/>
                  </a:lnTo>
                  <a:lnTo>
                    <a:pt x="1570" y="476"/>
                  </a:lnTo>
                  <a:lnTo>
                    <a:pt x="1581" y="476"/>
                  </a:lnTo>
                  <a:lnTo>
                    <a:pt x="1581" y="476"/>
                  </a:lnTo>
                  <a:lnTo>
                    <a:pt x="1605" y="476"/>
                  </a:lnTo>
                  <a:lnTo>
                    <a:pt x="1605" y="476"/>
                  </a:lnTo>
                  <a:lnTo>
                    <a:pt x="1617" y="476"/>
                  </a:lnTo>
                  <a:lnTo>
                    <a:pt x="1617" y="476"/>
                  </a:lnTo>
                  <a:lnTo>
                    <a:pt x="1643" y="476"/>
                  </a:lnTo>
                  <a:lnTo>
                    <a:pt x="1643" y="476"/>
                  </a:lnTo>
                  <a:lnTo>
                    <a:pt x="1654" y="476"/>
                  </a:lnTo>
                  <a:lnTo>
                    <a:pt x="1654" y="476"/>
                  </a:lnTo>
                  <a:lnTo>
                    <a:pt x="1678" y="476"/>
                  </a:lnTo>
                  <a:lnTo>
                    <a:pt x="1678" y="476"/>
                  </a:lnTo>
                  <a:lnTo>
                    <a:pt x="1690" y="476"/>
                  </a:lnTo>
                  <a:lnTo>
                    <a:pt x="1690" y="476"/>
                  </a:lnTo>
                  <a:lnTo>
                    <a:pt x="1713" y="476"/>
                  </a:lnTo>
                  <a:lnTo>
                    <a:pt x="1713" y="476"/>
                  </a:lnTo>
                  <a:lnTo>
                    <a:pt x="1725" y="476"/>
                  </a:lnTo>
                  <a:lnTo>
                    <a:pt x="1725" y="476"/>
                  </a:lnTo>
                  <a:lnTo>
                    <a:pt x="1749" y="476"/>
                  </a:lnTo>
                  <a:lnTo>
                    <a:pt x="1749" y="476"/>
                  </a:lnTo>
                  <a:lnTo>
                    <a:pt x="1760" y="476"/>
                  </a:lnTo>
                  <a:lnTo>
                    <a:pt x="1760" y="476"/>
                  </a:lnTo>
                  <a:lnTo>
                    <a:pt x="1808" y="476"/>
                  </a:lnTo>
                  <a:lnTo>
                    <a:pt x="1808" y="476"/>
                  </a:lnTo>
                  <a:lnTo>
                    <a:pt x="1819" y="476"/>
                  </a:lnTo>
                  <a:lnTo>
                    <a:pt x="1819" y="476"/>
                  </a:lnTo>
                  <a:lnTo>
                    <a:pt x="1843" y="476"/>
                  </a:lnTo>
                  <a:lnTo>
                    <a:pt x="1843" y="476"/>
                  </a:lnTo>
                  <a:lnTo>
                    <a:pt x="1855" y="476"/>
                  </a:lnTo>
                  <a:lnTo>
                    <a:pt x="1855" y="476"/>
                  </a:lnTo>
                  <a:lnTo>
                    <a:pt x="1878" y="476"/>
                  </a:lnTo>
                  <a:lnTo>
                    <a:pt x="1878" y="476"/>
                  </a:lnTo>
                  <a:lnTo>
                    <a:pt x="1892" y="476"/>
                  </a:lnTo>
                  <a:lnTo>
                    <a:pt x="1892" y="476"/>
                  </a:lnTo>
                  <a:lnTo>
                    <a:pt x="1916" y="476"/>
                  </a:lnTo>
                  <a:lnTo>
                    <a:pt x="1916" y="476"/>
                  </a:lnTo>
                  <a:lnTo>
                    <a:pt x="1928" y="476"/>
                  </a:lnTo>
                  <a:lnTo>
                    <a:pt x="1928" y="476"/>
                  </a:lnTo>
                  <a:lnTo>
                    <a:pt x="1951" y="476"/>
                  </a:lnTo>
                  <a:lnTo>
                    <a:pt x="1951" y="476"/>
                  </a:lnTo>
                  <a:lnTo>
                    <a:pt x="1963" y="476"/>
                  </a:lnTo>
                  <a:lnTo>
                    <a:pt x="1963" y="476"/>
                  </a:lnTo>
                  <a:lnTo>
                    <a:pt x="1987" y="476"/>
                  </a:lnTo>
                  <a:lnTo>
                    <a:pt x="1987" y="476"/>
                  </a:lnTo>
                  <a:lnTo>
                    <a:pt x="1998" y="476"/>
                  </a:lnTo>
                  <a:lnTo>
                    <a:pt x="1998" y="476"/>
                  </a:lnTo>
                  <a:lnTo>
                    <a:pt x="2022" y="476"/>
                  </a:lnTo>
                  <a:lnTo>
                    <a:pt x="2022" y="476"/>
                  </a:lnTo>
                  <a:lnTo>
                    <a:pt x="2034" y="476"/>
                  </a:lnTo>
                  <a:lnTo>
                    <a:pt x="2034" y="476"/>
                  </a:lnTo>
                  <a:lnTo>
                    <a:pt x="2081" y="476"/>
                  </a:lnTo>
                  <a:lnTo>
                    <a:pt x="2081" y="476"/>
                  </a:lnTo>
                  <a:lnTo>
                    <a:pt x="2093" y="476"/>
                  </a:lnTo>
                  <a:lnTo>
                    <a:pt x="2093" y="476"/>
                  </a:lnTo>
                  <a:lnTo>
                    <a:pt x="2116" y="476"/>
                  </a:lnTo>
                  <a:lnTo>
                    <a:pt x="2116" y="476"/>
                  </a:lnTo>
                  <a:lnTo>
                    <a:pt x="2130" y="476"/>
                  </a:lnTo>
                  <a:lnTo>
                    <a:pt x="2130" y="476"/>
                  </a:lnTo>
                  <a:lnTo>
                    <a:pt x="2154" y="476"/>
                  </a:lnTo>
                  <a:lnTo>
                    <a:pt x="2154" y="476"/>
                  </a:lnTo>
                  <a:lnTo>
                    <a:pt x="2166" y="476"/>
                  </a:lnTo>
                  <a:lnTo>
                    <a:pt x="2166" y="476"/>
                  </a:lnTo>
                  <a:lnTo>
                    <a:pt x="2189" y="476"/>
                  </a:lnTo>
                  <a:lnTo>
                    <a:pt x="2189" y="476"/>
                  </a:lnTo>
                  <a:lnTo>
                    <a:pt x="2201" y="476"/>
                  </a:lnTo>
                  <a:lnTo>
                    <a:pt x="2201" y="476"/>
                  </a:lnTo>
                  <a:lnTo>
                    <a:pt x="2225" y="476"/>
                  </a:lnTo>
                  <a:lnTo>
                    <a:pt x="2225" y="476"/>
                  </a:lnTo>
                  <a:lnTo>
                    <a:pt x="2236" y="476"/>
                  </a:lnTo>
                  <a:lnTo>
                    <a:pt x="2236" y="476"/>
                  </a:lnTo>
                  <a:lnTo>
                    <a:pt x="2260" y="476"/>
                  </a:lnTo>
                  <a:lnTo>
                    <a:pt x="2260" y="476"/>
                  </a:lnTo>
                  <a:lnTo>
                    <a:pt x="2272" y="476"/>
                  </a:lnTo>
                  <a:lnTo>
                    <a:pt x="2272" y="476"/>
                  </a:lnTo>
                  <a:lnTo>
                    <a:pt x="2295" y="476"/>
                  </a:lnTo>
                  <a:lnTo>
                    <a:pt x="2295" y="476"/>
                  </a:lnTo>
                  <a:lnTo>
                    <a:pt x="2307" y="476"/>
                  </a:lnTo>
                  <a:lnTo>
                    <a:pt x="2307" y="476"/>
                  </a:lnTo>
                  <a:lnTo>
                    <a:pt x="2331" y="476"/>
                  </a:lnTo>
                  <a:lnTo>
                    <a:pt x="2331" y="2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0" dirty="0"/>
            </a:p>
          </p:txBody>
        </p:sp>
      </p:grpSp>
      <p:grpSp>
        <p:nvGrpSpPr>
          <p:cNvPr id="10" name="Group 9"/>
          <p:cNvGrpSpPr/>
          <p:nvPr userDrawn="1"/>
        </p:nvGrpSpPr>
        <p:grpSpPr>
          <a:xfrm>
            <a:off x="14656596" y="2361758"/>
            <a:ext cx="8142444" cy="9086036"/>
            <a:chOff x="1370180" y="1037677"/>
            <a:chExt cx="3449632" cy="3849394"/>
          </a:xfrm>
        </p:grpSpPr>
        <p:sp>
          <p:nvSpPr>
            <p:cNvPr id="14" name="Oval 13"/>
            <p:cNvSpPr/>
            <p:nvPr/>
          </p:nvSpPr>
          <p:spPr bwMode="gray">
            <a:xfrm>
              <a:off x="1370180" y="1037677"/>
              <a:ext cx="3100381" cy="3100375"/>
            </a:xfrm>
            <a:prstGeom prst="ellipse">
              <a:avLst/>
            </a:prstGeom>
            <a:solidFill>
              <a:schemeClr val="bg1">
                <a:alpha val="25000"/>
              </a:schemeClr>
            </a:solidFill>
            <a:ln w="6350">
              <a:noFill/>
              <a:headEnd/>
              <a:tailEnd/>
            </a:ln>
            <a:effec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642837" y="2144892"/>
              <a:ext cx="3176975" cy="2742179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0000"/>
            </a:p>
          </p:txBody>
        </p:sp>
        <p:sp>
          <p:nvSpPr>
            <p:cNvPr id="16" name="Oval 15"/>
            <p:cNvSpPr/>
            <p:nvPr/>
          </p:nvSpPr>
          <p:spPr bwMode="gray">
            <a:xfrm>
              <a:off x="1639225" y="1306724"/>
              <a:ext cx="2562297" cy="2562293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headEnd/>
              <a:tailEnd/>
            </a:ln>
            <a:effec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ＭＳ Ｐゴシック" charset="-128"/>
              </a:endParaRPr>
            </a:p>
          </p:txBody>
        </p:sp>
      </p:grpSp>
      <p:sp>
        <p:nvSpPr>
          <p:cNvPr id="2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5626928" y="3380428"/>
            <a:ext cx="5437792" cy="54377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803140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592553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" y="3235327"/>
            <a:ext cx="12490450" cy="78041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CF92851C-896A-4F6F-AF3A-66868FE93392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146633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429073" y="5072024"/>
            <a:ext cx="9038338" cy="626172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EC6F632A-BD13-4C67-AD6B-A25C20296976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30258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50075" y="3736759"/>
            <a:ext cx="9281558" cy="524658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B957362-925C-4C45-A5F8-35B10EF66481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178253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3120070"/>
            <a:ext cx="10464800" cy="868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3919200" y="3120070"/>
            <a:ext cx="10464800" cy="868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8E7D724-5675-446C-85BE-A18FCAC3B4CC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853718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8686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0E34D234-15DA-4CCF-8BA8-F0E2177BA46F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201207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wn Arrow Callout 15"/>
          <p:cNvSpPr/>
          <p:nvPr userDrawn="1"/>
        </p:nvSpPr>
        <p:spPr bwMode="auto">
          <a:xfrm>
            <a:off x="0" y="1"/>
            <a:ext cx="10509504" cy="7269370"/>
          </a:xfrm>
          <a:prstGeom prst="downArrowCallout">
            <a:avLst>
              <a:gd name="adj1" fmla="val 20412"/>
              <a:gd name="adj2" fmla="val 10206"/>
              <a:gd name="adj3" fmla="val 10498"/>
              <a:gd name="adj4" fmla="val 92638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82880" tIns="91440" rIns="182880" bIns="9144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000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9341104" y="0"/>
            <a:ext cx="1168400" cy="1168400"/>
            <a:chOff x="11607800" y="0"/>
            <a:chExt cx="584200" cy="584200"/>
          </a:xfrm>
        </p:grpSpPr>
        <p:sp>
          <p:nvSpPr>
            <p:cNvPr id="18" name="Right Triangle 17"/>
            <p:cNvSpPr/>
            <p:nvPr/>
          </p:nvSpPr>
          <p:spPr>
            <a:xfrm rot="16200000" flipV="1">
              <a:off x="11607800" y="0"/>
              <a:ext cx="584200" cy="584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sp>
          <p:nvSpPr>
            <p:cNvPr id="19" name="Right Triangle 18"/>
            <p:cNvSpPr/>
            <p:nvPr/>
          </p:nvSpPr>
          <p:spPr>
            <a:xfrm rot="16200000" flipH="1">
              <a:off x="11607800" y="0"/>
              <a:ext cx="584200" cy="5842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</p:grpSp>
      <p:sp>
        <p:nvSpPr>
          <p:cNvPr id="8" name="Oval 7"/>
          <p:cNvSpPr/>
          <p:nvPr/>
        </p:nvSpPr>
        <p:spPr>
          <a:xfrm>
            <a:off x="2842433" y="6074557"/>
            <a:ext cx="6353950" cy="5484358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0E34D234-15DA-4CCF-8BA8-F0E2177BA46F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 bwMode="gray">
          <a:xfrm>
            <a:off x="2297119" y="3860127"/>
            <a:ext cx="6200762" cy="6200750"/>
          </a:xfrm>
          <a:prstGeom prst="ellipse">
            <a:avLst/>
          </a:prstGeom>
          <a:solidFill>
            <a:schemeClr val="bg1">
              <a:alpha val="25000"/>
            </a:schemeClr>
          </a:solidFill>
          <a:ln w="6350">
            <a:noFill/>
            <a:headEnd/>
            <a:tailEnd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b="1" dirty="0">
              <a:solidFill>
                <a:schemeClr val="tx1">
                  <a:lumMod val="65000"/>
                  <a:lumOff val="35000"/>
                </a:schemeClr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0777728" y="10060876"/>
            <a:ext cx="13606272" cy="36551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5" name="Rectangle 14"/>
          <p:cNvSpPr/>
          <p:nvPr userDrawn="1"/>
        </p:nvSpPr>
        <p:spPr>
          <a:xfrm>
            <a:off x="10777728" y="9853295"/>
            <a:ext cx="13606272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9" name="Oval 8"/>
          <p:cNvSpPr/>
          <p:nvPr/>
        </p:nvSpPr>
        <p:spPr bwMode="gray">
          <a:xfrm>
            <a:off x="2835209" y="4398221"/>
            <a:ext cx="5124594" cy="5124586"/>
          </a:xfrm>
          <a:prstGeom prst="ellipse">
            <a:avLst/>
          </a:prstGeom>
          <a:solidFill>
            <a:schemeClr val="bg1"/>
          </a:solidFill>
          <a:ln w="6350">
            <a:noFill/>
            <a:headEnd/>
            <a:tailEnd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b="1" dirty="0">
              <a:solidFill>
                <a:schemeClr val="tx1">
                  <a:lumMod val="65000"/>
                  <a:lumOff val="35000"/>
                </a:schemeClr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4" name="Picture Placeholder 3"/>
          <p:cNvSpPr>
            <a:spLocks noGrp="1"/>
          </p:cNvSpPr>
          <p:nvPr userDrawn="1">
            <p:ph type="pic" sz="quarter" idx="13"/>
          </p:nvPr>
        </p:nvSpPr>
        <p:spPr>
          <a:xfrm>
            <a:off x="3141487" y="4769585"/>
            <a:ext cx="4512026" cy="4512026"/>
          </a:xfrm>
          <a:prstGeom prst="ellipse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53476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108364" y="3251201"/>
            <a:ext cx="11083636" cy="654173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2192000" y="3251201"/>
            <a:ext cx="11083636" cy="654173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BD6E2BD8-EE1C-44A1-9870-7709DB0A285C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8040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737601" y="2530589"/>
            <a:ext cx="7880670" cy="712383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6618271" y="2530589"/>
            <a:ext cx="7765730" cy="7123830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611620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974052" y="4460960"/>
            <a:ext cx="3456736" cy="620253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B9757A9A-B807-4375-B443-4C6EB962A634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82858" y="4868564"/>
            <a:ext cx="3456736" cy="614412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87959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70738" y="4546098"/>
            <a:ext cx="7057916" cy="39896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AD474A30-A030-4438-A26F-7CD1F7278AC0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113714" y="7503603"/>
            <a:ext cx="4556440" cy="254952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560618" y="8425710"/>
            <a:ext cx="1475532" cy="1951492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927482" y="9435788"/>
            <a:ext cx="573884" cy="102974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712144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16" y="4744778"/>
            <a:ext cx="11303564" cy="5198488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767586" y="5105544"/>
            <a:ext cx="7629512" cy="42692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AD474A30-A030-4438-A26F-7CD1F7278AC0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326850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368510" y="4546098"/>
            <a:ext cx="7057916" cy="39896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798980" y="7503603"/>
            <a:ext cx="4556440" cy="254952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 userDrawn="1"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AD474A30-A030-4438-A26F-7CD1F7278AC0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 userDrawn="1"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 userDrawn="1"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331285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5649" y="3839338"/>
            <a:ext cx="5076826" cy="4470400"/>
          </a:xfrm>
          <a:prstGeom prst="snip2Diag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642475" y="3839338"/>
            <a:ext cx="5076826" cy="4470400"/>
          </a:xfrm>
          <a:prstGeom prst="snip2Diag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4719301" y="3839338"/>
            <a:ext cx="5076826" cy="4470400"/>
          </a:xfrm>
          <a:prstGeom prst="snip2Diag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B5D07D69-9FEB-41A2-959F-A633A0F61AA5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626937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203070" y="3154166"/>
            <a:ext cx="7209592" cy="4560112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595316" y="3154166"/>
            <a:ext cx="7209592" cy="4560112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5987560" y="3154166"/>
            <a:ext cx="7209592" cy="4560112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203070" y="7884950"/>
            <a:ext cx="7209592" cy="4560112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595316" y="7884950"/>
            <a:ext cx="7209592" cy="4560112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5987560" y="7884950"/>
            <a:ext cx="7209592" cy="4560112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B5D07D69-9FEB-41A2-959F-A633A0F61AA5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45920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0"/>
            <a:ext cx="24384000" cy="13716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2324735" cy="24745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2324735" y="2474532"/>
              <a:ext cx="4457065" cy="19089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6785187" y="0"/>
              <a:ext cx="5406813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6781800" y="0"/>
              <a:ext cx="5410200" cy="247453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</p:grp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" y="4949060"/>
            <a:ext cx="4656244" cy="876694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42694" y="0"/>
            <a:ext cx="8927680" cy="494905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642694" y="8766944"/>
            <a:ext cx="8927680" cy="494905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3543273" y="4949062"/>
            <a:ext cx="10840726" cy="381787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78438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946577" y="0"/>
            <a:ext cx="5326506" cy="4572000"/>
          </a:xfrm>
          <a:prstGeom prst="snip2DiagRect">
            <a:avLst>
              <a:gd name="adj1" fmla="val 0"/>
              <a:gd name="adj2" fmla="val 0"/>
            </a:avLst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946577" y="4572000"/>
            <a:ext cx="5326506" cy="4572000"/>
          </a:xfrm>
          <a:prstGeom prst="snip2DiagRect">
            <a:avLst>
              <a:gd name="adj1" fmla="val 0"/>
              <a:gd name="adj2" fmla="val 0"/>
            </a:avLst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9946577" y="9144000"/>
            <a:ext cx="5326506" cy="4572000"/>
          </a:xfrm>
          <a:prstGeom prst="snip2DiagRect">
            <a:avLst>
              <a:gd name="adj1" fmla="val 0"/>
              <a:gd name="adj2" fmla="val 0"/>
            </a:avLst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B5D07D69-9FEB-41A2-959F-A633A0F61AA5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54108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2302192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42694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2954000"/>
            <a:ext cx="24384000" cy="76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3276916" y="13058644"/>
            <a:ext cx="831428" cy="603512"/>
          </a:xfrm>
        </p:spPr>
        <p:txBody>
          <a:bodyPr/>
          <a:lstStyle>
            <a:lvl1pPr algn="ctr">
              <a:defRPr sz="2000"/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940255" y="13089265"/>
            <a:ext cx="3194018" cy="430888"/>
            <a:chOff x="10343323" y="6544632"/>
            <a:chExt cx="1597009" cy="215444"/>
          </a:xfrm>
        </p:grpSpPr>
        <p:sp>
          <p:nvSpPr>
            <p:cNvPr id="9" name="Rectangle 8"/>
            <p:cNvSpPr/>
            <p:nvPr userDrawn="1"/>
          </p:nvSpPr>
          <p:spPr>
            <a:xfrm>
              <a:off x="10343323" y="6544632"/>
              <a:ext cx="1158330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defRPr/>
              </a:pPr>
              <a:r>
                <a:rPr lang="en-US" sz="2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Source Sans Pro Light" panose="020B0403030403020204" pitchFamily="34" charset="0"/>
                  <a:ea typeface="Roboto" panose="02000000000000000000" pitchFamily="2" charset="0"/>
                </a:rPr>
                <a:t>www.comany.com</a:t>
              </a:r>
            </a:p>
          </p:txBody>
        </p:sp>
        <p:sp>
          <p:nvSpPr>
            <p:cNvPr id="10" name="Freeform 453"/>
            <p:cNvSpPr>
              <a:spLocks/>
            </p:cNvSpPr>
            <p:nvPr userDrawn="1"/>
          </p:nvSpPr>
          <p:spPr bwMode="auto">
            <a:xfrm>
              <a:off x="11497787" y="6619655"/>
              <a:ext cx="72243" cy="134554"/>
            </a:xfrm>
            <a:custGeom>
              <a:avLst/>
              <a:gdLst>
                <a:gd name="T0" fmla="*/ 307 w 317"/>
                <a:gd name="T1" fmla="*/ 596 h 596"/>
                <a:gd name="T2" fmla="*/ 303 w 317"/>
                <a:gd name="T3" fmla="*/ 595 h 596"/>
                <a:gd name="T4" fmla="*/ 300 w 317"/>
                <a:gd name="T5" fmla="*/ 593 h 596"/>
                <a:gd name="T6" fmla="*/ 3 w 317"/>
                <a:gd name="T7" fmla="*/ 304 h 596"/>
                <a:gd name="T8" fmla="*/ 0 w 317"/>
                <a:gd name="T9" fmla="*/ 301 h 596"/>
                <a:gd name="T10" fmla="*/ 0 w 317"/>
                <a:gd name="T11" fmla="*/ 298 h 596"/>
                <a:gd name="T12" fmla="*/ 0 w 317"/>
                <a:gd name="T13" fmla="*/ 293 h 596"/>
                <a:gd name="T14" fmla="*/ 3 w 317"/>
                <a:gd name="T15" fmla="*/ 290 h 596"/>
                <a:gd name="T16" fmla="*/ 300 w 317"/>
                <a:gd name="T17" fmla="*/ 2 h 596"/>
                <a:gd name="T18" fmla="*/ 303 w 317"/>
                <a:gd name="T19" fmla="*/ 0 h 596"/>
                <a:gd name="T20" fmla="*/ 307 w 317"/>
                <a:gd name="T21" fmla="*/ 0 h 596"/>
                <a:gd name="T22" fmla="*/ 311 w 317"/>
                <a:gd name="T23" fmla="*/ 1 h 596"/>
                <a:gd name="T24" fmla="*/ 314 w 317"/>
                <a:gd name="T25" fmla="*/ 3 h 596"/>
                <a:gd name="T26" fmla="*/ 316 w 317"/>
                <a:gd name="T27" fmla="*/ 6 h 596"/>
                <a:gd name="T28" fmla="*/ 317 w 317"/>
                <a:gd name="T29" fmla="*/ 9 h 596"/>
                <a:gd name="T30" fmla="*/ 316 w 317"/>
                <a:gd name="T31" fmla="*/ 14 h 596"/>
                <a:gd name="T32" fmla="*/ 314 w 317"/>
                <a:gd name="T33" fmla="*/ 17 h 596"/>
                <a:gd name="T34" fmla="*/ 23 w 317"/>
                <a:gd name="T35" fmla="*/ 298 h 596"/>
                <a:gd name="T36" fmla="*/ 314 w 317"/>
                <a:gd name="T37" fmla="*/ 578 h 596"/>
                <a:gd name="T38" fmla="*/ 316 w 317"/>
                <a:gd name="T39" fmla="*/ 582 h 596"/>
                <a:gd name="T40" fmla="*/ 317 w 317"/>
                <a:gd name="T41" fmla="*/ 585 h 596"/>
                <a:gd name="T42" fmla="*/ 316 w 317"/>
                <a:gd name="T43" fmla="*/ 589 h 596"/>
                <a:gd name="T44" fmla="*/ 314 w 317"/>
                <a:gd name="T45" fmla="*/ 593 h 596"/>
                <a:gd name="T46" fmla="*/ 311 w 317"/>
                <a:gd name="T47" fmla="*/ 595 h 596"/>
                <a:gd name="T48" fmla="*/ 307 w 317"/>
                <a:gd name="T49" fmla="*/ 596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7" h="596">
                  <a:moveTo>
                    <a:pt x="307" y="596"/>
                  </a:moveTo>
                  <a:lnTo>
                    <a:pt x="303" y="595"/>
                  </a:lnTo>
                  <a:lnTo>
                    <a:pt x="300" y="593"/>
                  </a:lnTo>
                  <a:lnTo>
                    <a:pt x="3" y="304"/>
                  </a:lnTo>
                  <a:lnTo>
                    <a:pt x="0" y="301"/>
                  </a:lnTo>
                  <a:lnTo>
                    <a:pt x="0" y="298"/>
                  </a:lnTo>
                  <a:lnTo>
                    <a:pt x="0" y="293"/>
                  </a:lnTo>
                  <a:lnTo>
                    <a:pt x="3" y="290"/>
                  </a:lnTo>
                  <a:lnTo>
                    <a:pt x="300" y="2"/>
                  </a:lnTo>
                  <a:lnTo>
                    <a:pt x="303" y="0"/>
                  </a:lnTo>
                  <a:lnTo>
                    <a:pt x="307" y="0"/>
                  </a:lnTo>
                  <a:lnTo>
                    <a:pt x="311" y="1"/>
                  </a:lnTo>
                  <a:lnTo>
                    <a:pt x="314" y="3"/>
                  </a:lnTo>
                  <a:lnTo>
                    <a:pt x="316" y="6"/>
                  </a:lnTo>
                  <a:lnTo>
                    <a:pt x="317" y="9"/>
                  </a:lnTo>
                  <a:lnTo>
                    <a:pt x="316" y="14"/>
                  </a:lnTo>
                  <a:lnTo>
                    <a:pt x="314" y="17"/>
                  </a:lnTo>
                  <a:lnTo>
                    <a:pt x="23" y="298"/>
                  </a:lnTo>
                  <a:lnTo>
                    <a:pt x="314" y="578"/>
                  </a:lnTo>
                  <a:lnTo>
                    <a:pt x="316" y="582"/>
                  </a:lnTo>
                  <a:lnTo>
                    <a:pt x="317" y="585"/>
                  </a:lnTo>
                  <a:lnTo>
                    <a:pt x="316" y="589"/>
                  </a:lnTo>
                  <a:lnTo>
                    <a:pt x="314" y="593"/>
                  </a:lnTo>
                  <a:lnTo>
                    <a:pt x="311" y="595"/>
                  </a:lnTo>
                  <a:lnTo>
                    <a:pt x="307" y="59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 dirty="0"/>
            </a:p>
          </p:txBody>
        </p:sp>
        <p:sp>
          <p:nvSpPr>
            <p:cNvPr id="14" name="Freeform 454"/>
            <p:cNvSpPr>
              <a:spLocks/>
            </p:cNvSpPr>
            <p:nvPr userDrawn="1"/>
          </p:nvSpPr>
          <p:spPr bwMode="auto">
            <a:xfrm>
              <a:off x="11868991" y="6619655"/>
              <a:ext cx="71341" cy="134554"/>
            </a:xfrm>
            <a:custGeom>
              <a:avLst/>
              <a:gdLst>
                <a:gd name="T0" fmla="*/ 10 w 318"/>
                <a:gd name="T1" fmla="*/ 596 h 596"/>
                <a:gd name="T2" fmla="*/ 6 w 318"/>
                <a:gd name="T3" fmla="*/ 595 h 596"/>
                <a:gd name="T4" fmla="*/ 2 w 318"/>
                <a:gd name="T5" fmla="*/ 593 h 596"/>
                <a:gd name="T6" fmla="*/ 0 w 318"/>
                <a:gd name="T7" fmla="*/ 589 h 596"/>
                <a:gd name="T8" fmla="*/ 0 w 318"/>
                <a:gd name="T9" fmla="*/ 585 h 596"/>
                <a:gd name="T10" fmla="*/ 0 w 318"/>
                <a:gd name="T11" fmla="*/ 582 h 596"/>
                <a:gd name="T12" fmla="*/ 2 w 318"/>
                <a:gd name="T13" fmla="*/ 578 h 596"/>
                <a:gd name="T14" fmla="*/ 293 w 318"/>
                <a:gd name="T15" fmla="*/ 298 h 596"/>
                <a:gd name="T16" fmla="*/ 2 w 318"/>
                <a:gd name="T17" fmla="*/ 17 h 596"/>
                <a:gd name="T18" fmla="*/ 0 w 318"/>
                <a:gd name="T19" fmla="*/ 14 h 596"/>
                <a:gd name="T20" fmla="*/ 0 w 318"/>
                <a:gd name="T21" fmla="*/ 9 h 596"/>
                <a:gd name="T22" fmla="*/ 0 w 318"/>
                <a:gd name="T23" fmla="*/ 6 h 596"/>
                <a:gd name="T24" fmla="*/ 2 w 318"/>
                <a:gd name="T25" fmla="*/ 3 h 596"/>
                <a:gd name="T26" fmla="*/ 6 w 318"/>
                <a:gd name="T27" fmla="*/ 1 h 596"/>
                <a:gd name="T28" fmla="*/ 10 w 318"/>
                <a:gd name="T29" fmla="*/ 0 h 596"/>
                <a:gd name="T30" fmla="*/ 13 w 318"/>
                <a:gd name="T31" fmla="*/ 0 h 596"/>
                <a:gd name="T32" fmla="*/ 17 w 318"/>
                <a:gd name="T33" fmla="*/ 2 h 596"/>
                <a:gd name="T34" fmla="*/ 315 w 318"/>
                <a:gd name="T35" fmla="*/ 290 h 596"/>
                <a:gd name="T36" fmla="*/ 317 w 318"/>
                <a:gd name="T37" fmla="*/ 293 h 596"/>
                <a:gd name="T38" fmla="*/ 318 w 318"/>
                <a:gd name="T39" fmla="*/ 298 h 596"/>
                <a:gd name="T40" fmla="*/ 317 w 318"/>
                <a:gd name="T41" fmla="*/ 301 h 596"/>
                <a:gd name="T42" fmla="*/ 315 w 318"/>
                <a:gd name="T43" fmla="*/ 304 h 596"/>
                <a:gd name="T44" fmla="*/ 17 w 318"/>
                <a:gd name="T45" fmla="*/ 593 h 596"/>
                <a:gd name="T46" fmla="*/ 13 w 318"/>
                <a:gd name="T47" fmla="*/ 595 h 596"/>
                <a:gd name="T48" fmla="*/ 10 w 318"/>
                <a:gd name="T49" fmla="*/ 596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8" h="596">
                  <a:moveTo>
                    <a:pt x="10" y="596"/>
                  </a:moveTo>
                  <a:lnTo>
                    <a:pt x="6" y="595"/>
                  </a:lnTo>
                  <a:lnTo>
                    <a:pt x="2" y="593"/>
                  </a:lnTo>
                  <a:lnTo>
                    <a:pt x="0" y="589"/>
                  </a:lnTo>
                  <a:lnTo>
                    <a:pt x="0" y="585"/>
                  </a:lnTo>
                  <a:lnTo>
                    <a:pt x="0" y="582"/>
                  </a:lnTo>
                  <a:lnTo>
                    <a:pt x="2" y="578"/>
                  </a:lnTo>
                  <a:lnTo>
                    <a:pt x="293" y="298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9"/>
                  </a:lnTo>
                  <a:lnTo>
                    <a:pt x="0" y="6"/>
                  </a:lnTo>
                  <a:lnTo>
                    <a:pt x="2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315" y="290"/>
                  </a:lnTo>
                  <a:lnTo>
                    <a:pt x="317" y="293"/>
                  </a:lnTo>
                  <a:lnTo>
                    <a:pt x="318" y="298"/>
                  </a:lnTo>
                  <a:lnTo>
                    <a:pt x="317" y="301"/>
                  </a:lnTo>
                  <a:lnTo>
                    <a:pt x="315" y="304"/>
                  </a:lnTo>
                  <a:lnTo>
                    <a:pt x="17" y="593"/>
                  </a:lnTo>
                  <a:lnTo>
                    <a:pt x="13" y="595"/>
                  </a:lnTo>
                  <a:lnTo>
                    <a:pt x="10" y="59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5125761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7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23215600" y="0"/>
            <a:ext cx="1168400" cy="1168400"/>
            <a:chOff x="11607800" y="0"/>
            <a:chExt cx="584200" cy="584200"/>
          </a:xfrm>
        </p:grpSpPr>
        <p:sp>
          <p:nvSpPr>
            <p:cNvPr id="4" name="Right Triangle 3"/>
            <p:cNvSpPr/>
            <p:nvPr/>
          </p:nvSpPr>
          <p:spPr>
            <a:xfrm rot="16200000" flipV="1">
              <a:off x="11607800" y="0"/>
              <a:ext cx="584200" cy="584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sp>
          <p:nvSpPr>
            <p:cNvPr id="5" name="Right Triangle 4"/>
            <p:cNvSpPr/>
            <p:nvPr/>
          </p:nvSpPr>
          <p:spPr>
            <a:xfrm rot="16200000" flipH="1">
              <a:off x="11607800" y="0"/>
              <a:ext cx="584200" cy="5842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54639" y="5674621"/>
            <a:ext cx="14266762" cy="145415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6400" b="1" spc="-3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3642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24384000" cy="9702798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110788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8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8429468"/>
          </a:xfrm>
          <a:prstGeom prst="snip2DiagRect">
            <a:avLst>
              <a:gd name="adj1" fmla="val 0"/>
              <a:gd name="adj2" fmla="val 0"/>
            </a:avLst>
          </a:prstGeom>
          <a:noFill/>
        </p:spPr>
        <p:txBody>
          <a:bodyPr/>
          <a:lstStyle/>
          <a:p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23215600" y="0"/>
            <a:ext cx="1168400" cy="1168400"/>
            <a:chOff x="11607800" y="0"/>
            <a:chExt cx="584200" cy="584200"/>
          </a:xfrm>
        </p:grpSpPr>
        <p:sp>
          <p:nvSpPr>
            <p:cNvPr id="4" name="Right Triangle 3"/>
            <p:cNvSpPr/>
            <p:nvPr/>
          </p:nvSpPr>
          <p:spPr>
            <a:xfrm rot="16200000" flipV="1">
              <a:off x="11607800" y="0"/>
              <a:ext cx="584200" cy="584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  <p:sp>
          <p:nvSpPr>
            <p:cNvPr id="5" name="Right Triangle 4"/>
            <p:cNvSpPr/>
            <p:nvPr/>
          </p:nvSpPr>
          <p:spPr>
            <a:xfrm rot="16200000" flipH="1">
              <a:off x="11607800" y="0"/>
              <a:ext cx="584200" cy="5842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/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54639" y="9086895"/>
            <a:ext cx="14266762" cy="145415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6400" b="1" spc="-3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1709305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477003"/>
            <a:ext cx="5394064" cy="723899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0"/>
          </a:p>
        </p:txBody>
      </p:sp>
      <p:sp>
        <p:nvSpPr>
          <p:cNvPr id="11" name="Freeform 10"/>
          <p:cNvSpPr/>
          <p:nvPr userDrawn="1"/>
        </p:nvSpPr>
        <p:spPr>
          <a:xfrm flipV="1">
            <a:off x="2329411" y="5630797"/>
            <a:ext cx="3064654" cy="3193386"/>
          </a:xfrm>
          <a:custGeom>
            <a:avLst/>
            <a:gdLst>
              <a:gd name="connsiteX0" fmla="*/ 880278 w 1254073"/>
              <a:gd name="connsiteY0" fmla="*/ 0 h 1306751"/>
              <a:gd name="connsiteX1" fmla="*/ 1254073 w 1254073"/>
              <a:gd name="connsiteY1" fmla="*/ 0 h 1306751"/>
              <a:gd name="connsiteX2" fmla="*/ 1254073 w 1254073"/>
              <a:gd name="connsiteY2" fmla="*/ 1306751 h 1306751"/>
              <a:gd name="connsiteX3" fmla="*/ 0 w 1254073"/>
              <a:gd name="connsiteY3" fmla="*/ 1306751 h 1306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4073" h="1306751">
                <a:moveTo>
                  <a:pt x="880278" y="0"/>
                </a:moveTo>
                <a:lnTo>
                  <a:pt x="1254073" y="0"/>
                </a:lnTo>
                <a:lnTo>
                  <a:pt x="1254073" y="1306751"/>
                </a:lnTo>
                <a:lnTo>
                  <a:pt x="0" y="130675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5936077" y="5651005"/>
            <a:ext cx="15344506" cy="3083921"/>
          </a:xfrm>
          <a:noFill/>
        </p:spPr>
        <p:txBody>
          <a:bodyPr wrap="square">
            <a:spAutoFit/>
          </a:bodyPr>
          <a:lstStyle>
            <a:lvl1pPr>
              <a:defRPr lang="en-US" sz="10800" spc="-3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defTabSz="1828800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5936076" y="9043226"/>
            <a:ext cx="4830168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buNone/>
              <a:defRPr lang="en-US" sz="240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1828800"/>
            <a:r>
              <a:rPr lang="en-US" dirty="0"/>
              <a:t>Click to edit Master subtitle sty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2480" y="-37440"/>
            <a:ext cx="3410464" cy="191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3989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/>
          <p:cNvSpPr/>
          <p:nvPr userDrawn="1"/>
        </p:nvSpPr>
        <p:spPr>
          <a:xfrm>
            <a:off x="0" y="0"/>
            <a:ext cx="10120880" cy="13716000"/>
          </a:xfrm>
          <a:prstGeom prst="parallelogram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11" name="Oval 10"/>
          <p:cNvSpPr/>
          <p:nvPr userDrawn="1"/>
        </p:nvSpPr>
        <p:spPr>
          <a:xfrm>
            <a:off x="1828871" y="1519993"/>
            <a:ext cx="6446918" cy="64469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107942" y="1772942"/>
            <a:ext cx="5907604" cy="59076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 marL="0" indent="0" algn="ctr">
              <a:buNone/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defTabSz="584172"/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11442700" y="6940550"/>
            <a:ext cx="10718800" cy="46259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637572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24384000" cy="67437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652049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2694817"/>
            <a:ext cx="24384000" cy="100197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247241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926939" y="3694681"/>
            <a:ext cx="7444526" cy="5135682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183032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705939" y="3694681"/>
            <a:ext cx="7444526" cy="5135682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18352801" y="7938987"/>
            <a:ext cx="5504982" cy="3846614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89792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2" y="1"/>
            <a:ext cx="24384000" cy="9829798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473422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1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4034972" y="5970199"/>
            <a:ext cx="18288000" cy="3358390"/>
          </a:xfrm>
          <a:custGeom>
            <a:avLst/>
            <a:gdLst>
              <a:gd name="connsiteX0" fmla="*/ 0 w 10174514"/>
              <a:gd name="connsiteY0" fmla="*/ 0 h 1679195"/>
              <a:gd name="connsiteX1" fmla="*/ 10174514 w 10174514"/>
              <a:gd name="connsiteY1" fmla="*/ 0 h 1679195"/>
              <a:gd name="connsiteX2" fmla="*/ 10174514 w 10174514"/>
              <a:gd name="connsiteY2" fmla="*/ 1 h 1679195"/>
              <a:gd name="connsiteX3" fmla="*/ 9093554 w 10174514"/>
              <a:gd name="connsiteY3" fmla="*/ 1 h 1679195"/>
              <a:gd name="connsiteX4" fmla="*/ 10121055 w 10174514"/>
              <a:gd name="connsiteY4" fmla="*/ 1679195 h 1679195"/>
              <a:gd name="connsiteX5" fmla="*/ 0 w 10174514"/>
              <a:gd name="connsiteY5" fmla="*/ 1679195 h 1679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74514" h="1679195">
                <a:moveTo>
                  <a:pt x="0" y="0"/>
                </a:moveTo>
                <a:lnTo>
                  <a:pt x="10174514" y="0"/>
                </a:lnTo>
                <a:lnTo>
                  <a:pt x="10174514" y="1"/>
                </a:lnTo>
                <a:lnTo>
                  <a:pt x="9093554" y="1"/>
                </a:lnTo>
                <a:lnTo>
                  <a:pt x="10121055" y="1679195"/>
                </a:lnTo>
                <a:lnTo>
                  <a:pt x="0" y="1679195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0" name="Rectangle 17"/>
          <p:cNvSpPr/>
          <p:nvPr userDrawn="1"/>
        </p:nvSpPr>
        <p:spPr>
          <a:xfrm flipH="1">
            <a:off x="249894" y="5970199"/>
            <a:ext cx="6654800" cy="3358390"/>
          </a:xfrm>
          <a:custGeom>
            <a:avLst/>
            <a:gdLst>
              <a:gd name="connsiteX0" fmla="*/ 0 w 383764"/>
              <a:gd name="connsiteY0" fmla="*/ 0 h 323421"/>
              <a:gd name="connsiteX1" fmla="*/ 383764 w 383764"/>
              <a:gd name="connsiteY1" fmla="*/ 0 h 323421"/>
              <a:gd name="connsiteX2" fmla="*/ 383764 w 383764"/>
              <a:gd name="connsiteY2" fmla="*/ 323421 h 323421"/>
              <a:gd name="connsiteX3" fmla="*/ 0 w 383764"/>
              <a:gd name="connsiteY3" fmla="*/ 323421 h 323421"/>
              <a:gd name="connsiteX4" fmla="*/ 0 w 383764"/>
              <a:gd name="connsiteY4" fmla="*/ 0 h 323421"/>
              <a:gd name="connsiteX0" fmla="*/ 171450 w 555214"/>
              <a:gd name="connsiteY0" fmla="*/ 0 h 323421"/>
              <a:gd name="connsiteX1" fmla="*/ 555214 w 555214"/>
              <a:gd name="connsiteY1" fmla="*/ 0 h 323421"/>
              <a:gd name="connsiteX2" fmla="*/ 555214 w 555214"/>
              <a:gd name="connsiteY2" fmla="*/ 323421 h 323421"/>
              <a:gd name="connsiteX3" fmla="*/ 0 w 555214"/>
              <a:gd name="connsiteY3" fmla="*/ 323421 h 323421"/>
              <a:gd name="connsiteX4" fmla="*/ 171450 w 555214"/>
              <a:gd name="connsiteY4" fmla="*/ 0 h 323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5214" h="323421">
                <a:moveTo>
                  <a:pt x="171450" y="0"/>
                </a:moveTo>
                <a:lnTo>
                  <a:pt x="555214" y="0"/>
                </a:lnTo>
                <a:lnTo>
                  <a:pt x="555214" y="323421"/>
                </a:lnTo>
                <a:lnTo>
                  <a:pt x="0" y="323421"/>
                </a:lnTo>
                <a:lnTo>
                  <a:pt x="1714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1" name="Rectangle 17"/>
          <p:cNvSpPr/>
          <p:nvPr userDrawn="1"/>
        </p:nvSpPr>
        <p:spPr>
          <a:xfrm flipH="1">
            <a:off x="-2" y="5970200"/>
            <a:ext cx="6654800" cy="3358388"/>
          </a:xfrm>
          <a:custGeom>
            <a:avLst/>
            <a:gdLst>
              <a:gd name="connsiteX0" fmla="*/ 0 w 383764"/>
              <a:gd name="connsiteY0" fmla="*/ 0 h 323421"/>
              <a:gd name="connsiteX1" fmla="*/ 383764 w 383764"/>
              <a:gd name="connsiteY1" fmla="*/ 0 h 323421"/>
              <a:gd name="connsiteX2" fmla="*/ 383764 w 383764"/>
              <a:gd name="connsiteY2" fmla="*/ 323421 h 323421"/>
              <a:gd name="connsiteX3" fmla="*/ 0 w 383764"/>
              <a:gd name="connsiteY3" fmla="*/ 323421 h 323421"/>
              <a:gd name="connsiteX4" fmla="*/ 0 w 383764"/>
              <a:gd name="connsiteY4" fmla="*/ 0 h 323421"/>
              <a:gd name="connsiteX0" fmla="*/ 171450 w 555214"/>
              <a:gd name="connsiteY0" fmla="*/ 0 h 323421"/>
              <a:gd name="connsiteX1" fmla="*/ 555214 w 555214"/>
              <a:gd name="connsiteY1" fmla="*/ 0 h 323421"/>
              <a:gd name="connsiteX2" fmla="*/ 555214 w 555214"/>
              <a:gd name="connsiteY2" fmla="*/ 323421 h 323421"/>
              <a:gd name="connsiteX3" fmla="*/ 0 w 555214"/>
              <a:gd name="connsiteY3" fmla="*/ 323421 h 323421"/>
              <a:gd name="connsiteX4" fmla="*/ 171450 w 555214"/>
              <a:gd name="connsiteY4" fmla="*/ 0 h 323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5214" h="323421">
                <a:moveTo>
                  <a:pt x="171450" y="0"/>
                </a:moveTo>
                <a:lnTo>
                  <a:pt x="555214" y="0"/>
                </a:lnTo>
                <a:lnTo>
                  <a:pt x="555214" y="323421"/>
                </a:lnTo>
                <a:lnTo>
                  <a:pt x="0" y="323421"/>
                </a:lnTo>
                <a:lnTo>
                  <a:pt x="17145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9202085" y="6510239"/>
            <a:ext cx="10823498" cy="960262"/>
          </a:xfrm>
        </p:spPr>
        <p:txBody>
          <a:bodyPr anchor="ctr"/>
          <a:lstStyle>
            <a:lvl1pPr algn="l">
              <a:defRPr lang="en-US" sz="5600" kern="1200" dirty="0">
                <a:solidFill>
                  <a:schemeClr val="bg1"/>
                </a:solidFill>
              </a:defRPr>
            </a:lvl1pPr>
          </a:lstStyle>
          <a:p>
            <a:pPr marL="0" lvl="0" algn="l" defTabSz="1828800">
              <a:spcBef>
                <a:spcPts val="2000"/>
              </a:spcBef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9202084" y="7543787"/>
            <a:ext cx="48621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lang="en-US" sz="2400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  <a:cs typeface="Arial" charset="0"/>
              </a:defRPr>
            </a:lvl1pPr>
          </a:lstStyle>
          <a:p>
            <a:pPr marL="0" lvl="0" defTabSz="1828800">
              <a:buClr>
                <a:srgbClr val="E24848"/>
              </a:buClr>
            </a:pPr>
            <a:r>
              <a:rPr lang="en-US" dirty="0"/>
              <a:t>Click to edit Master subtitle style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2480" y="-37440"/>
            <a:ext cx="3410464" cy="191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74529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2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Single Corner Rectangle 7"/>
          <p:cNvSpPr/>
          <p:nvPr userDrawn="1"/>
        </p:nvSpPr>
        <p:spPr>
          <a:xfrm>
            <a:off x="2961888" y="7218427"/>
            <a:ext cx="17165632" cy="3358390"/>
          </a:xfrm>
          <a:prstGeom prst="snip1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2" name="Rectangle 17"/>
          <p:cNvSpPr/>
          <p:nvPr userDrawn="1"/>
        </p:nvSpPr>
        <p:spPr>
          <a:xfrm flipH="1">
            <a:off x="-2" y="7218428"/>
            <a:ext cx="6654800" cy="3358388"/>
          </a:xfrm>
          <a:custGeom>
            <a:avLst/>
            <a:gdLst>
              <a:gd name="connsiteX0" fmla="*/ 0 w 383764"/>
              <a:gd name="connsiteY0" fmla="*/ 0 h 323421"/>
              <a:gd name="connsiteX1" fmla="*/ 383764 w 383764"/>
              <a:gd name="connsiteY1" fmla="*/ 0 h 323421"/>
              <a:gd name="connsiteX2" fmla="*/ 383764 w 383764"/>
              <a:gd name="connsiteY2" fmla="*/ 323421 h 323421"/>
              <a:gd name="connsiteX3" fmla="*/ 0 w 383764"/>
              <a:gd name="connsiteY3" fmla="*/ 323421 h 323421"/>
              <a:gd name="connsiteX4" fmla="*/ 0 w 383764"/>
              <a:gd name="connsiteY4" fmla="*/ 0 h 323421"/>
              <a:gd name="connsiteX0" fmla="*/ 171450 w 555214"/>
              <a:gd name="connsiteY0" fmla="*/ 0 h 323421"/>
              <a:gd name="connsiteX1" fmla="*/ 555214 w 555214"/>
              <a:gd name="connsiteY1" fmla="*/ 0 h 323421"/>
              <a:gd name="connsiteX2" fmla="*/ 555214 w 555214"/>
              <a:gd name="connsiteY2" fmla="*/ 323421 h 323421"/>
              <a:gd name="connsiteX3" fmla="*/ 0 w 555214"/>
              <a:gd name="connsiteY3" fmla="*/ 323421 h 323421"/>
              <a:gd name="connsiteX4" fmla="*/ 171450 w 555214"/>
              <a:gd name="connsiteY4" fmla="*/ 0 h 323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5214" h="323421">
                <a:moveTo>
                  <a:pt x="171450" y="0"/>
                </a:moveTo>
                <a:lnTo>
                  <a:pt x="555214" y="0"/>
                </a:lnTo>
                <a:lnTo>
                  <a:pt x="555214" y="323421"/>
                </a:lnTo>
                <a:lnTo>
                  <a:pt x="0" y="323421"/>
                </a:lnTo>
                <a:lnTo>
                  <a:pt x="1714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8721805" y="7719927"/>
            <a:ext cx="10823498" cy="960262"/>
          </a:xfrm>
        </p:spPr>
        <p:txBody>
          <a:bodyPr anchor="ctr"/>
          <a:lstStyle>
            <a:lvl1pPr algn="l">
              <a:defRPr lang="en-US" sz="5600" kern="1200" dirty="0">
                <a:solidFill>
                  <a:schemeClr val="bg1"/>
                </a:solidFill>
              </a:defRPr>
            </a:lvl1pPr>
          </a:lstStyle>
          <a:p>
            <a:pPr marL="0" lvl="0" algn="l" defTabSz="1828800">
              <a:spcBef>
                <a:spcPts val="2000"/>
              </a:spcBef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8721804" y="8753475"/>
            <a:ext cx="48621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lang="en-US" sz="2400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  <a:cs typeface="Arial" charset="0"/>
              </a:defRPr>
            </a:lvl1pPr>
          </a:lstStyle>
          <a:p>
            <a:pPr marL="0" lvl="0" defTabSz="1828800">
              <a:buClr>
                <a:srgbClr val="E24848"/>
              </a:buClr>
            </a:pPr>
            <a:r>
              <a:rPr lang="en-US" dirty="0"/>
              <a:t>Click to edit Master sub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2480" y="-37440"/>
            <a:ext cx="3410464" cy="191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8382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1887200" y="15811"/>
            <a:ext cx="12039600" cy="13321398"/>
          </a:xfrm>
          <a:custGeom>
            <a:avLst/>
            <a:gdLst>
              <a:gd name="connsiteX0" fmla="*/ 0 w 6019800"/>
              <a:gd name="connsiteY0" fmla="*/ 0 h 6660699"/>
              <a:gd name="connsiteX1" fmla="*/ 3758101 w 6019800"/>
              <a:gd name="connsiteY1" fmla="*/ 0 h 6660699"/>
              <a:gd name="connsiteX2" fmla="*/ 6019800 w 6019800"/>
              <a:gd name="connsiteY2" fmla="*/ 6660699 h 6660699"/>
              <a:gd name="connsiteX3" fmla="*/ 2261699 w 6019800"/>
              <a:gd name="connsiteY3" fmla="*/ 6660699 h 666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9800" h="6660699">
                <a:moveTo>
                  <a:pt x="0" y="0"/>
                </a:moveTo>
                <a:lnTo>
                  <a:pt x="3758101" y="0"/>
                </a:lnTo>
                <a:lnTo>
                  <a:pt x="6019800" y="6660699"/>
                </a:lnTo>
                <a:lnTo>
                  <a:pt x="2261699" y="66606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24110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3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2480" y="-37440"/>
            <a:ext cx="3410464" cy="1912200"/>
          </a:xfrm>
          <a:prstGeom prst="rect">
            <a:avLst/>
          </a:prstGeom>
        </p:spPr>
      </p:pic>
      <p:sp>
        <p:nvSpPr>
          <p:cNvPr id="10" name="Snip Diagonal Corner Rectangle 9"/>
          <p:cNvSpPr/>
          <p:nvPr userDrawn="1"/>
        </p:nvSpPr>
        <p:spPr>
          <a:xfrm>
            <a:off x="8969829" y="8746902"/>
            <a:ext cx="15414174" cy="3394896"/>
          </a:xfrm>
          <a:prstGeom prst="snip2DiagRect">
            <a:avLst>
              <a:gd name="adj1" fmla="val 0"/>
              <a:gd name="adj2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0"/>
          </a:p>
        </p:txBody>
      </p:sp>
      <p:sp>
        <p:nvSpPr>
          <p:cNvPr id="19" name="Title 1"/>
          <p:cNvSpPr>
            <a:spLocks noGrp="1"/>
          </p:cNvSpPr>
          <p:nvPr userDrawn="1">
            <p:ph type="ctrTitle"/>
          </p:nvPr>
        </p:nvSpPr>
        <p:spPr>
          <a:xfrm>
            <a:off x="13013288" y="9287471"/>
            <a:ext cx="9890256" cy="960262"/>
          </a:xfrm>
        </p:spPr>
        <p:txBody>
          <a:bodyPr anchor="ctr"/>
          <a:lstStyle>
            <a:lvl1pPr algn="l">
              <a:defRPr lang="en-US" sz="5600" kern="1200" dirty="0">
                <a:solidFill>
                  <a:schemeClr val="bg1"/>
                </a:solidFill>
              </a:defRPr>
            </a:lvl1pPr>
          </a:lstStyle>
          <a:p>
            <a:pPr marL="0" lvl="0" algn="l" defTabSz="1828800">
              <a:spcBef>
                <a:spcPts val="2000"/>
              </a:spcBef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 userDrawn="1">
            <p:ph type="subTitle" idx="1"/>
          </p:nvPr>
        </p:nvSpPr>
        <p:spPr>
          <a:xfrm>
            <a:off x="13013286" y="10321019"/>
            <a:ext cx="48621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lang="en-US" sz="2400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  <a:cs typeface="Arial" charset="0"/>
              </a:defRPr>
            </a:lvl1pPr>
          </a:lstStyle>
          <a:p>
            <a:pPr marL="0" lvl="0" defTabSz="1828800">
              <a:buClr>
                <a:srgbClr val="E24848"/>
              </a:buClr>
            </a:pPr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1222631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2214573" y="0"/>
            <a:ext cx="12169422" cy="137160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380198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8540883" y="2946402"/>
            <a:ext cx="7105522" cy="92202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8735790" y="3193143"/>
            <a:ext cx="6680200" cy="8726718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961754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2386691" y="4699002"/>
            <a:ext cx="19610614" cy="42164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40014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24384000" cy="9601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0571" y="3328120"/>
            <a:ext cx="10073670" cy="5793284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8307983" y="3718134"/>
            <a:ext cx="7629422" cy="477598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99429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2" y="2"/>
            <a:ext cx="24384000" cy="7231072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451964" y="4785367"/>
            <a:ext cx="4010168" cy="3415670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08009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12267392" y="4510182"/>
            <a:ext cx="3876064" cy="3569952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8208917" y="4510182"/>
            <a:ext cx="3893750" cy="3569952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167858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2" y="5983044"/>
            <a:ext cx="4064000" cy="5505832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8127998" y="5983044"/>
            <a:ext cx="4064000" cy="5505832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16255998" y="5983044"/>
            <a:ext cx="4064000" cy="5505832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067399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13178144" y="4130127"/>
            <a:ext cx="3453812" cy="3166602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18702162" y="4130127"/>
            <a:ext cx="3453812" cy="3166602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2138920" y="4130127"/>
            <a:ext cx="3453812" cy="3166602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7658532" y="4130127"/>
            <a:ext cx="3453812" cy="3166602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53582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Diagonal Corner Rectangle 13"/>
          <p:cNvSpPr/>
          <p:nvPr userDrawn="1"/>
        </p:nvSpPr>
        <p:spPr>
          <a:xfrm>
            <a:off x="16473169" y="4111657"/>
            <a:ext cx="3036602" cy="250073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1515607" y="4111657"/>
            <a:ext cx="3036602" cy="250073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8994389" y="4111657"/>
            <a:ext cx="3036602" cy="250073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1515607" y="8434273"/>
            <a:ext cx="3036602" cy="250073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8994389" y="8434273"/>
            <a:ext cx="3036602" cy="250073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16473169" y="8434273"/>
            <a:ext cx="3036602" cy="250073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330367" y="3895545"/>
            <a:ext cx="3036602" cy="2500730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8809147" y="3895545"/>
            <a:ext cx="3036602" cy="2500730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16287927" y="3895545"/>
            <a:ext cx="3036602" cy="2500730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1330367" y="8218161"/>
            <a:ext cx="3036602" cy="2500730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8809147" y="8218161"/>
            <a:ext cx="3036602" cy="2500730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16287927" y="8218161"/>
            <a:ext cx="3036602" cy="2500730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337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499602" y="2"/>
            <a:ext cx="6686840" cy="7533624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arallelogram 6"/>
          <p:cNvSpPr/>
          <p:nvPr userDrawn="1"/>
        </p:nvSpPr>
        <p:spPr>
          <a:xfrm>
            <a:off x="1499602" y="7533627"/>
            <a:ext cx="6686840" cy="5208642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 dirty="0"/>
          </a:p>
        </p:txBody>
      </p:sp>
    </p:spTree>
    <p:extLst>
      <p:ext uri="{BB962C8B-B14F-4D97-AF65-F5344CB8AC3E}">
        <p14:creationId xmlns:p14="http://schemas.microsoft.com/office/powerpoint/2010/main" val="4039503154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Diagonal Corner Rectangle 15"/>
          <p:cNvSpPr/>
          <p:nvPr userDrawn="1"/>
        </p:nvSpPr>
        <p:spPr>
          <a:xfrm>
            <a:off x="3485242" y="38354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8558590" y="38354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13631938" y="38354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18705286" y="38354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3485242" y="82550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8558590" y="82550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13631938" y="82550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18705286" y="8255002"/>
            <a:ext cx="2498272" cy="20574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3332840" y="3657602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8406194" y="3657602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13479538" y="3657602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18552882" y="3657602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3332840" y="8083146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406194" y="8083146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13479538" y="8083146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18552882" y="8083146"/>
            <a:ext cx="2498268" cy="20574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29520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 Diagonal Corner Rectangle 30"/>
          <p:cNvSpPr/>
          <p:nvPr userDrawn="1"/>
        </p:nvSpPr>
        <p:spPr>
          <a:xfrm>
            <a:off x="10766321" y="3495129"/>
            <a:ext cx="3036602" cy="250073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4781126" y="7899705"/>
            <a:ext cx="2743264" cy="2259158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10904040" y="7899705"/>
            <a:ext cx="2743264" cy="2259158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17026958" y="7899705"/>
            <a:ext cx="2743264" cy="2259158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0581079" y="3279014"/>
            <a:ext cx="3036602" cy="2500732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4613780" y="7704466"/>
            <a:ext cx="2743260" cy="225915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10727748" y="7704466"/>
            <a:ext cx="2743260" cy="225915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16859618" y="7704466"/>
            <a:ext cx="2743260" cy="225915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6035042" y="5883689"/>
            <a:ext cx="12176760" cy="1482362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3350063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2"/>
            <a:ext cx="24384000" cy="9474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496421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ular Callout 2"/>
          <p:cNvSpPr/>
          <p:nvPr userDrawn="1"/>
        </p:nvSpPr>
        <p:spPr>
          <a:xfrm>
            <a:off x="2489200" y="3713209"/>
            <a:ext cx="4546600" cy="3919490"/>
          </a:xfrm>
          <a:prstGeom prst="wedgeRoundRectCallout">
            <a:avLst>
              <a:gd name="adj1" fmla="val 37473"/>
              <a:gd name="adj2" fmla="val 70924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lvl="0" defTabSz="584172"/>
            <a:endParaRPr lang="en-US" sz="4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2666921" y="3933495"/>
            <a:ext cx="4078558" cy="3394406"/>
          </a:xfrm>
          <a:prstGeom prst="wedgeRoundRectCallout">
            <a:avLst>
              <a:gd name="adj1" fmla="val -37738"/>
              <a:gd name="adj2" fmla="val 73974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937482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" y="4150667"/>
            <a:ext cx="13611192" cy="6563530"/>
          </a:xfrm>
          <a:custGeom>
            <a:avLst/>
            <a:gdLst>
              <a:gd name="connsiteX0" fmla="*/ 4688111 w 6805596"/>
              <a:gd name="connsiteY0" fmla="*/ 0 h 3281765"/>
              <a:gd name="connsiteX1" fmla="*/ 6805596 w 6805596"/>
              <a:gd name="connsiteY1" fmla="*/ 0 h 3281765"/>
              <a:gd name="connsiteX2" fmla="*/ 4688112 w 6805596"/>
              <a:gd name="connsiteY2" fmla="*/ 3281762 h 3281765"/>
              <a:gd name="connsiteX3" fmla="*/ 4688112 w 6805596"/>
              <a:gd name="connsiteY3" fmla="*/ 3281765 h 3281765"/>
              <a:gd name="connsiteX4" fmla="*/ 0 w 6805596"/>
              <a:gd name="connsiteY4" fmla="*/ 3281765 h 3281765"/>
              <a:gd name="connsiteX5" fmla="*/ 0 w 6805596"/>
              <a:gd name="connsiteY5" fmla="*/ 6 h 3281765"/>
              <a:gd name="connsiteX6" fmla="*/ 4688111 w 6805596"/>
              <a:gd name="connsiteY6" fmla="*/ 6 h 3281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05596" h="3281765">
                <a:moveTo>
                  <a:pt x="4688111" y="0"/>
                </a:moveTo>
                <a:lnTo>
                  <a:pt x="6805596" y="0"/>
                </a:lnTo>
                <a:lnTo>
                  <a:pt x="4688112" y="3281762"/>
                </a:lnTo>
                <a:lnTo>
                  <a:pt x="4688112" y="3281765"/>
                </a:lnTo>
                <a:lnTo>
                  <a:pt x="0" y="3281765"/>
                </a:lnTo>
                <a:lnTo>
                  <a:pt x="0" y="6"/>
                </a:lnTo>
                <a:lnTo>
                  <a:pt x="4688111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44781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70"/>
          <a:stretch/>
        </p:blipFill>
        <p:spPr>
          <a:xfrm>
            <a:off x="1371027" y="3115470"/>
            <a:ext cx="4775082" cy="9031472"/>
          </a:xfrm>
          <a:prstGeom prst="rect">
            <a:avLst/>
          </a:prstGeom>
          <a:effectLst>
            <a:outerShdw blurRad="266700" dist="292100" dir="8100000" algn="tr" rotWithShape="0">
              <a:prstClr val="black">
                <a:alpha val="15000"/>
              </a:prstClr>
            </a:outerShdw>
          </a:effectLst>
        </p:spPr>
      </p:pic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1943591" y="4480119"/>
            <a:ext cx="3664222" cy="64392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167828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154552" y="4979824"/>
            <a:ext cx="2750404" cy="48434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3414755" y="4598933"/>
            <a:ext cx="3259018" cy="57271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628101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190558" y="4979824"/>
            <a:ext cx="2750404" cy="48434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154552" y="4979824"/>
            <a:ext cx="2750404" cy="48434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3414755" y="4598933"/>
            <a:ext cx="3259018" cy="57271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5682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7670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2827244" y="3806373"/>
            <a:ext cx="7450752" cy="546460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452881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278" y="3716760"/>
            <a:ext cx="10149444" cy="6282484"/>
          </a:xfrm>
          <a:prstGeom prst="rect">
            <a:avLst/>
          </a:prstGeom>
        </p:spPr>
      </p:pic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8146471" y="4452881"/>
            <a:ext cx="8041706" cy="47927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793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4022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8982076"/>
            <a:ext cx="18288000" cy="3311524"/>
          </a:xfrm>
        </p:spPr>
        <p:txBody>
          <a:bodyPr>
            <a:normAutofit/>
          </a:bodyPr>
          <a:lstStyle>
            <a:lvl1pPr marL="0" indent="0" algn="ctr">
              <a:buNone/>
              <a:defRPr sz="4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4447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328228" y="4064004"/>
            <a:ext cx="18055772" cy="5638796"/>
          </a:xfrm>
          <a:noFill/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3" y="4064004"/>
            <a:ext cx="6328226" cy="56025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82600579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773144" y="4148023"/>
            <a:ext cx="8526556" cy="47927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611338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52"/>
          <p:cNvSpPr>
            <a:spLocks noGrp="1"/>
          </p:cNvSpPr>
          <p:nvPr>
            <p:ph type="pic" sz="quarter" idx="19"/>
          </p:nvPr>
        </p:nvSpPr>
        <p:spPr>
          <a:xfrm>
            <a:off x="16171743" y="4289598"/>
            <a:ext cx="3648926" cy="31181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54" name="Picture Placeholder 53"/>
          <p:cNvSpPr>
            <a:spLocks noGrp="1"/>
          </p:cNvSpPr>
          <p:nvPr>
            <p:ph type="pic" sz="quarter" idx="20"/>
          </p:nvPr>
        </p:nvSpPr>
        <p:spPr>
          <a:xfrm>
            <a:off x="19820673" y="7407772"/>
            <a:ext cx="3648926" cy="31181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55" name="Rectangle 54"/>
          <p:cNvSpPr/>
          <p:nvPr userDrawn="1"/>
        </p:nvSpPr>
        <p:spPr>
          <a:xfrm>
            <a:off x="16171743" y="7407772"/>
            <a:ext cx="3648930" cy="3118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6" name="Rectangle 55"/>
          <p:cNvSpPr/>
          <p:nvPr userDrawn="1"/>
        </p:nvSpPr>
        <p:spPr>
          <a:xfrm>
            <a:off x="19820673" y="4289596"/>
            <a:ext cx="3648930" cy="3118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7"/>
          </p:nvPr>
        </p:nvSpPr>
        <p:spPr>
          <a:xfrm>
            <a:off x="8501735" y="4289598"/>
            <a:ext cx="3648926" cy="31181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4" name="Picture Placeholder 43"/>
          <p:cNvSpPr>
            <a:spLocks noGrp="1"/>
          </p:cNvSpPr>
          <p:nvPr>
            <p:ph type="pic" sz="quarter" idx="18"/>
          </p:nvPr>
        </p:nvSpPr>
        <p:spPr>
          <a:xfrm>
            <a:off x="12150665" y="7407772"/>
            <a:ext cx="3648926" cy="31181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5" name="Rectangle 44"/>
          <p:cNvSpPr/>
          <p:nvPr userDrawn="1"/>
        </p:nvSpPr>
        <p:spPr>
          <a:xfrm>
            <a:off x="8501735" y="7407772"/>
            <a:ext cx="3648930" cy="3118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46" name="Rectangle 45"/>
          <p:cNvSpPr/>
          <p:nvPr userDrawn="1"/>
        </p:nvSpPr>
        <p:spPr>
          <a:xfrm>
            <a:off x="12150665" y="4289596"/>
            <a:ext cx="3648930" cy="3118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831735" y="4289598"/>
            <a:ext cx="3648926" cy="31181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2" name="Picture Placeholder 41"/>
          <p:cNvSpPr>
            <a:spLocks noGrp="1"/>
          </p:cNvSpPr>
          <p:nvPr>
            <p:ph type="pic" sz="quarter" idx="16"/>
          </p:nvPr>
        </p:nvSpPr>
        <p:spPr>
          <a:xfrm>
            <a:off x="4480665" y="7407772"/>
            <a:ext cx="3648926" cy="31181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831735" y="7407772"/>
            <a:ext cx="3648930" cy="3118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480665" y="4289596"/>
            <a:ext cx="3648930" cy="31181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1881999096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-7993" y="5876546"/>
            <a:ext cx="6099998" cy="49265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6089339" y="5876546"/>
            <a:ext cx="6099998" cy="49265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7"/>
          </p:nvPr>
        </p:nvSpPr>
        <p:spPr>
          <a:xfrm>
            <a:off x="12186671" y="5876546"/>
            <a:ext cx="6099998" cy="49265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8"/>
          </p:nvPr>
        </p:nvSpPr>
        <p:spPr>
          <a:xfrm>
            <a:off x="18284003" y="5876546"/>
            <a:ext cx="6099998" cy="49265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555891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24384000" cy="73732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0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8"/>
          </p:nvPr>
        </p:nvSpPr>
        <p:spPr>
          <a:xfrm>
            <a:off x="1384069" y="3640588"/>
            <a:ext cx="5486802" cy="522632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9448599" y="3640588"/>
            <a:ext cx="5486802" cy="522632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17513129" y="3640588"/>
            <a:ext cx="5486802" cy="522632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09525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24384000" cy="7670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12589618" y="4607778"/>
            <a:ext cx="5070824" cy="500876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8"/>
          </p:nvPr>
        </p:nvSpPr>
        <p:spPr>
          <a:xfrm>
            <a:off x="1538518" y="4607778"/>
            <a:ext cx="5070824" cy="500876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76400" y="557117"/>
            <a:ext cx="21031200" cy="1173082"/>
          </a:xfrm>
        </p:spPr>
        <p:txBody>
          <a:bodyPr wrap="square" anchor="ctr">
            <a:noAutofit/>
          </a:bodyPr>
          <a:lstStyle>
            <a:lvl1pPr algn="ctr">
              <a:defRPr lang="en-US" sz="7200" kern="0" spc="-302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algn="ctr" defTabSz="18288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584891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13364196" y="4123202"/>
            <a:ext cx="5070824" cy="500876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253914" cy="1371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anchor="t">
            <a:noAutofit/>
          </a:bodyPr>
          <a:lstStyle>
            <a:lvl1pPr>
              <a:defRPr lang="en-US" sz="32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584172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180818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90286" y="416134"/>
            <a:ext cx="10508340" cy="6911080"/>
          </a:xfrm>
          <a:prstGeom prst="rect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buNone/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290287" y="7327214"/>
            <a:ext cx="5486802" cy="5226328"/>
          </a:xfrm>
          <a:prstGeom prst="rect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buNone/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5777089" y="7327214"/>
            <a:ext cx="5021538" cy="5226328"/>
          </a:xfrm>
          <a:prstGeom prst="rect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buNone/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D6550BC7-7D90-49D1-9B51-C16C704E9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412129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477003"/>
            <a:ext cx="10189028" cy="7238998"/>
          </a:xfrm>
          <a:prstGeom prst="rect">
            <a:avLst/>
          </a:prstGeom>
          <a:pattFill prst="pct3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0"/>
          </a:p>
        </p:txBody>
      </p:sp>
      <p:sp>
        <p:nvSpPr>
          <p:cNvPr id="7" name="Rectangle 17"/>
          <p:cNvSpPr/>
          <p:nvPr userDrawn="1"/>
        </p:nvSpPr>
        <p:spPr>
          <a:xfrm>
            <a:off x="1799774" y="5674157"/>
            <a:ext cx="5701288" cy="2613502"/>
          </a:xfrm>
          <a:custGeom>
            <a:avLst/>
            <a:gdLst>
              <a:gd name="connsiteX0" fmla="*/ 0 w 383764"/>
              <a:gd name="connsiteY0" fmla="*/ 0 h 323421"/>
              <a:gd name="connsiteX1" fmla="*/ 383764 w 383764"/>
              <a:gd name="connsiteY1" fmla="*/ 0 h 323421"/>
              <a:gd name="connsiteX2" fmla="*/ 383764 w 383764"/>
              <a:gd name="connsiteY2" fmla="*/ 323421 h 323421"/>
              <a:gd name="connsiteX3" fmla="*/ 0 w 383764"/>
              <a:gd name="connsiteY3" fmla="*/ 323421 h 323421"/>
              <a:gd name="connsiteX4" fmla="*/ 0 w 383764"/>
              <a:gd name="connsiteY4" fmla="*/ 0 h 323421"/>
              <a:gd name="connsiteX0" fmla="*/ 171450 w 555214"/>
              <a:gd name="connsiteY0" fmla="*/ 0 h 323421"/>
              <a:gd name="connsiteX1" fmla="*/ 555214 w 555214"/>
              <a:gd name="connsiteY1" fmla="*/ 0 h 323421"/>
              <a:gd name="connsiteX2" fmla="*/ 555214 w 555214"/>
              <a:gd name="connsiteY2" fmla="*/ 323421 h 323421"/>
              <a:gd name="connsiteX3" fmla="*/ 0 w 555214"/>
              <a:gd name="connsiteY3" fmla="*/ 323421 h 323421"/>
              <a:gd name="connsiteX4" fmla="*/ 171450 w 555214"/>
              <a:gd name="connsiteY4" fmla="*/ 0 h 323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5214" h="323421">
                <a:moveTo>
                  <a:pt x="171450" y="0"/>
                </a:moveTo>
                <a:lnTo>
                  <a:pt x="555214" y="0"/>
                </a:lnTo>
                <a:lnTo>
                  <a:pt x="555214" y="323421"/>
                </a:lnTo>
                <a:lnTo>
                  <a:pt x="0" y="323421"/>
                </a:lnTo>
                <a:lnTo>
                  <a:pt x="17145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827005" y="4007675"/>
            <a:ext cx="5678814" cy="5678814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</a:defRPr>
            </a:lvl1pPr>
          </a:lstStyle>
          <a:p>
            <a:pPr marL="0" lvl="0" algn="ctr" defTabSz="18288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277119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646203" y="3928585"/>
            <a:ext cx="7145538" cy="4434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393764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0684192" y="4781337"/>
            <a:ext cx="3391760" cy="586111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3703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1026" y="1519132"/>
            <a:ext cx="6354488" cy="11923816"/>
          </a:xfrm>
          <a:custGeom>
            <a:avLst/>
            <a:gdLst>
              <a:gd name="connsiteX0" fmla="*/ 193573 w 3177244"/>
              <a:gd name="connsiteY0" fmla="*/ 0 h 5961908"/>
              <a:gd name="connsiteX1" fmla="*/ 3177244 w 3177244"/>
              <a:gd name="connsiteY1" fmla="*/ 2983670 h 5961908"/>
              <a:gd name="connsiteX2" fmla="*/ 498636 w 3177244"/>
              <a:gd name="connsiteY2" fmla="*/ 5951936 h 5961908"/>
              <a:gd name="connsiteX3" fmla="*/ 301148 w 3177244"/>
              <a:gd name="connsiteY3" fmla="*/ 5961908 h 5961908"/>
              <a:gd name="connsiteX4" fmla="*/ 19652 w 3177244"/>
              <a:gd name="connsiteY4" fmla="*/ 5961908 h 5961908"/>
              <a:gd name="connsiteX5" fmla="*/ 0 w 3177244"/>
              <a:gd name="connsiteY5" fmla="*/ 5960414 h 5961908"/>
              <a:gd name="connsiteX6" fmla="*/ 0 w 3177244"/>
              <a:gd name="connsiteY6" fmla="*/ 6927 h 5961908"/>
              <a:gd name="connsiteX7" fmla="*/ 40035 w 3177244"/>
              <a:gd name="connsiteY7" fmla="*/ 3882 h 5961908"/>
              <a:gd name="connsiteX8" fmla="*/ 193573 w 3177244"/>
              <a:gd name="connsiteY8" fmla="*/ 0 h 5961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77244" h="5961908">
                <a:moveTo>
                  <a:pt x="193573" y="0"/>
                </a:moveTo>
                <a:cubicBezTo>
                  <a:pt x="1841409" y="0"/>
                  <a:pt x="3177244" y="1335835"/>
                  <a:pt x="3177244" y="2983670"/>
                </a:cubicBezTo>
                <a:cubicBezTo>
                  <a:pt x="3177244" y="4528516"/>
                  <a:pt x="2003171" y="5799142"/>
                  <a:pt x="498636" y="5951936"/>
                </a:cubicBezTo>
                <a:lnTo>
                  <a:pt x="301148" y="5961908"/>
                </a:lnTo>
                <a:lnTo>
                  <a:pt x="19652" y="5961908"/>
                </a:lnTo>
                <a:lnTo>
                  <a:pt x="0" y="5960414"/>
                </a:lnTo>
                <a:lnTo>
                  <a:pt x="0" y="6927"/>
                </a:lnTo>
                <a:lnTo>
                  <a:pt x="40035" y="3882"/>
                </a:lnTo>
                <a:cubicBezTo>
                  <a:pt x="90889" y="1305"/>
                  <a:pt x="142079" y="0"/>
                  <a:pt x="193573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3173861" y="4071262"/>
            <a:ext cx="9914738" cy="3643496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654206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718178" y="4654551"/>
            <a:ext cx="15389224" cy="46704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8161952" y="4654551"/>
            <a:ext cx="3663000" cy="647897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367355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958180" y="4495188"/>
            <a:ext cx="8519852" cy="64051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850873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3959227"/>
            <a:ext cx="4876800" cy="4984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876800" y="3959227"/>
            <a:ext cx="4876800" cy="4984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9753600" y="3959227"/>
            <a:ext cx="4876800" cy="4984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14630400" y="3959227"/>
            <a:ext cx="4876800" cy="4984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19507200" y="3959227"/>
            <a:ext cx="4876800" cy="4984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82478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 userDrawn="1">
            <p:ph type="pic" sz="quarter" idx="13"/>
          </p:nvPr>
        </p:nvSpPr>
        <p:spPr>
          <a:xfrm>
            <a:off x="533400" y="3708400"/>
            <a:ext cx="11506200" cy="5029200"/>
          </a:xfrm>
          <a:prstGeom prst="rect">
            <a:avLst/>
          </a:prstGeom>
          <a:noFill/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defTabSz="182880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 userDrawn="1">
            <p:ph type="pic" sz="quarter" idx="14"/>
          </p:nvPr>
        </p:nvSpPr>
        <p:spPr>
          <a:xfrm>
            <a:off x="12369800" y="3708400"/>
            <a:ext cx="11506200" cy="5029200"/>
          </a:xfrm>
          <a:prstGeom prst="rect">
            <a:avLst/>
          </a:prstGeom>
          <a:noFill/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defTabSz="182880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592674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867744" y="4303426"/>
            <a:ext cx="3329492" cy="3329492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32082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327818" y="3949700"/>
            <a:ext cx="1919072" cy="1919072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399503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4051904" y="8745072"/>
            <a:ext cx="1806280" cy="1806280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4051904" y="4241800"/>
            <a:ext cx="1806280" cy="1806280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4051904" y="6493436"/>
            <a:ext cx="1806280" cy="1806280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60997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18551802" y="5037152"/>
            <a:ext cx="3138248" cy="2705392"/>
          </a:xfrm>
          <a:prstGeom prst="hexagon">
            <a:avLst>
              <a:gd name="adj" fmla="val 23992"/>
              <a:gd name="vf" fmla="val 115470"/>
            </a:avLst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2931814" y="5037152"/>
            <a:ext cx="3138248" cy="2705392"/>
          </a:xfrm>
          <a:prstGeom prst="hexagon">
            <a:avLst>
              <a:gd name="adj" fmla="val 23992"/>
              <a:gd name="vf" fmla="val 115470"/>
            </a:avLst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8138478" y="5037152"/>
            <a:ext cx="3138248" cy="2705392"/>
          </a:xfrm>
          <a:prstGeom prst="hexagon">
            <a:avLst>
              <a:gd name="adj" fmla="val 23992"/>
              <a:gd name="vf" fmla="val 115470"/>
            </a:avLst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3345142" y="5037152"/>
            <a:ext cx="3138248" cy="2705392"/>
          </a:xfrm>
          <a:prstGeom prst="hexagon">
            <a:avLst>
              <a:gd name="adj" fmla="val 23992"/>
              <a:gd name="vf" fmla="val 115470"/>
            </a:avLst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202404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17835248" y="4602480"/>
            <a:ext cx="3329492" cy="3329492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2775584" y="4602480"/>
            <a:ext cx="3329492" cy="3329492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7831802" y="4602480"/>
            <a:ext cx="3329492" cy="3329492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801154" y="4602480"/>
            <a:ext cx="3329492" cy="3329492"/>
          </a:xfrm>
          <a:prstGeom prst="ellipse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213501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17392449" y="4111626"/>
            <a:ext cx="4527550" cy="69818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2470151" y="4111626"/>
            <a:ext cx="4527550" cy="69818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419545" y="4111626"/>
            <a:ext cx="4527550" cy="69818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2408581" y="4111626"/>
            <a:ext cx="4527550" cy="69818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8336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" y="3225800"/>
            <a:ext cx="12975184" cy="9099548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647382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3847791"/>
            <a:ext cx="24384000" cy="654398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363214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705601" y="3511551"/>
            <a:ext cx="5254626" cy="8680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8537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13716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3683000"/>
            <a:ext cx="24384000" cy="78994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978417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3683000"/>
            <a:ext cx="24384000" cy="78994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0322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4384000" cy="2463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876800" cy="129381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876800" y="1"/>
            <a:ext cx="4876800" cy="129381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9753600" y="1"/>
            <a:ext cx="4876800" cy="129381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4630400" y="1"/>
            <a:ext cx="4876800" cy="129381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2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19507200" y="1"/>
            <a:ext cx="4876800" cy="129381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012927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4384000" cy="2463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49573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4384000" cy="2463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2495820" y="2082447"/>
            <a:ext cx="8749712" cy="491509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354478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18196685" y="2556515"/>
            <a:ext cx="3367470" cy="319496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24384000" cy="2463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46518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24384000" cy="2463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4093826" y="339727"/>
            <a:ext cx="9839324" cy="1214437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513240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7645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372393" y="6697922"/>
            <a:ext cx="2325730" cy="232572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88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24383998" cy="1371600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189085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933576" y="3990976"/>
            <a:ext cx="5635624" cy="1040719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7373603" y="2358725"/>
            <a:ext cx="6460754" cy="303697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255510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4506577" y="1595076"/>
            <a:ext cx="9388474" cy="4025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616726" y="5810156"/>
            <a:ext cx="14277148" cy="305930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9616726" y="9084000"/>
            <a:ext cx="4567528" cy="305930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9326346" y="9084000"/>
            <a:ext cx="4567528" cy="305930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37732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66600" cy="137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7543799" y="7899400"/>
            <a:ext cx="4318002" cy="457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136821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19729530" y="10634258"/>
            <a:ext cx="1204964" cy="1038436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10658763" y="2868819"/>
            <a:ext cx="4419802" cy="3808974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4104565" y="4773908"/>
            <a:ext cx="4976090" cy="4300328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2818280" y="8120095"/>
            <a:ext cx="2194636" cy="1891330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2005855" y="9530184"/>
            <a:ext cx="1186994" cy="1022948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8109011" y="3845118"/>
            <a:ext cx="2173466" cy="1873088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20114674" y="3884548"/>
            <a:ext cx="990412" cy="853536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20114674" y="4771526"/>
            <a:ext cx="1204964" cy="1038436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18116888" y="7740449"/>
            <a:ext cx="3233536" cy="2786654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20759124" y="10041658"/>
            <a:ext cx="1204964" cy="1038436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21119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6835" y="0"/>
            <a:ext cx="7415166" cy="137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16504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346077" y="8621482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4551193" y="8621482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8757981" y="8621482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346077" y="288926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4551193" y="288926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8757981" y="288926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346077" y="4438958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4551193" y="4438958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8757981" y="4438958"/>
            <a:ext cx="4105274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226641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002536"/>
            <a:ext cx="24384000" cy="1292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Rectangle 4"/>
          <p:cNvSpPr/>
          <p:nvPr/>
        </p:nvSpPr>
        <p:spPr>
          <a:xfrm>
            <a:off x="0" y="7"/>
            <a:ext cx="24384000" cy="10099194"/>
          </a:xfrm>
          <a:prstGeom prst="rect">
            <a:avLst/>
          </a:prstGeom>
          <a:gradFill>
            <a:gsLst>
              <a:gs pos="51700">
                <a:srgbClr val="D45F31"/>
              </a:gs>
              <a:gs pos="0">
                <a:srgbClr val="BF4033">
                  <a:lumMod val="97000"/>
                </a:srgbClr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2"/>
          </a:p>
        </p:txBody>
      </p:sp>
      <p:sp>
        <p:nvSpPr>
          <p:cNvPr id="6" name="Round Same Side Corner Rectangle 5"/>
          <p:cNvSpPr/>
          <p:nvPr/>
        </p:nvSpPr>
        <p:spPr>
          <a:xfrm>
            <a:off x="9832510" y="10100018"/>
            <a:ext cx="4718980" cy="268224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51700">
                <a:srgbClr val="D45F31"/>
              </a:gs>
              <a:gs pos="0">
                <a:srgbClr val="BF4033">
                  <a:lumMod val="97000"/>
                </a:srgbClr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2"/>
          </a:p>
        </p:txBody>
      </p:sp>
      <p:sp>
        <p:nvSpPr>
          <p:cNvPr id="7" name="Rectangle 9"/>
          <p:cNvSpPr/>
          <p:nvPr/>
        </p:nvSpPr>
        <p:spPr>
          <a:xfrm>
            <a:off x="0" y="5"/>
            <a:ext cx="24384000" cy="10094978"/>
          </a:xfrm>
          <a:custGeom>
            <a:avLst/>
            <a:gdLst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12192000 w 12192000"/>
              <a:gd name="connsiteY2" fmla="*/ 5047489 h 5047489"/>
              <a:gd name="connsiteX3" fmla="*/ 0 w 12192000"/>
              <a:gd name="connsiteY3" fmla="*/ 5047489 h 5047489"/>
              <a:gd name="connsiteX4" fmla="*/ 0 w 12192000"/>
              <a:gd name="connsiteY4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47489">
                <a:moveTo>
                  <a:pt x="0" y="0"/>
                </a:moveTo>
                <a:lnTo>
                  <a:pt x="12192000" y="0"/>
                </a:lnTo>
                <a:cubicBezTo>
                  <a:pt x="5448300" y="412496"/>
                  <a:pt x="4064000" y="3364993"/>
                  <a:pt x="0" y="504748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Rectangle 9"/>
          <p:cNvSpPr/>
          <p:nvPr/>
        </p:nvSpPr>
        <p:spPr>
          <a:xfrm flipH="1">
            <a:off x="12420229" y="5"/>
            <a:ext cx="11963770" cy="4953002"/>
          </a:xfrm>
          <a:custGeom>
            <a:avLst/>
            <a:gdLst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12192000 w 12192000"/>
              <a:gd name="connsiteY2" fmla="*/ 5047489 h 5047489"/>
              <a:gd name="connsiteX3" fmla="*/ 0 w 12192000"/>
              <a:gd name="connsiteY3" fmla="*/ 5047489 h 5047489"/>
              <a:gd name="connsiteX4" fmla="*/ 0 w 12192000"/>
              <a:gd name="connsiteY4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47489">
                <a:moveTo>
                  <a:pt x="0" y="0"/>
                </a:moveTo>
                <a:lnTo>
                  <a:pt x="12192000" y="0"/>
                </a:lnTo>
                <a:cubicBezTo>
                  <a:pt x="5448300" y="412496"/>
                  <a:pt x="4064000" y="3364993"/>
                  <a:pt x="0" y="504748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2480075421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573213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725072" y="2263429"/>
            <a:ext cx="12542960" cy="9184922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947501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468978" y="9094638"/>
            <a:ext cx="2526760" cy="25496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2468978" y="2778740"/>
            <a:ext cx="2526760" cy="25496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5485870" y="5965006"/>
            <a:ext cx="2526760" cy="25496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0590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0114729" y="0"/>
            <a:ext cx="14269270" cy="1371600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100458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8763004"/>
            <a:ext cx="24384000" cy="49529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1108364" y="1808402"/>
            <a:ext cx="22167272" cy="10099196"/>
            <a:chOff x="0" y="2"/>
            <a:chExt cx="12192000" cy="5049598"/>
          </a:xfrm>
        </p:grpSpPr>
        <p:sp>
          <p:nvSpPr>
            <p:cNvPr id="5" name="Rectangle 4"/>
            <p:cNvSpPr/>
            <p:nvPr/>
          </p:nvSpPr>
          <p:spPr>
            <a:xfrm>
              <a:off x="0" y="3"/>
              <a:ext cx="12192000" cy="5049597"/>
            </a:xfrm>
            <a:prstGeom prst="rect">
              <a:avLst/>
            </a:prstGeom>
            <a:gradFill>
              <a:gsLst>
                <a:gs pos="51700">
                  <a:srgbClr val="D45F31"/>
                </a:gs>
                <a:gs pos="0">
                  <a:srgbClr val="BF4033">
                    <a:lumMod val="97000"/>
                  </a:srgbClr>
                </a:gs>
                <a:gs pos="100000">
                  <a:schemeClr val="accent2"/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000"/>
            </a:p>
          </p:txBody>
        </p:sp>
        <p:sp>
          <p:nvSpPr>
            <p:cNvPr id="6" name="Rectangle 9"/>
            <p:cNvSpPr/>
            <p:nvPr/>
          </p:nvSpPr>
          <p:spPr>
            <a:xfrm>
              <a:off x="0" y="2"/>
              <a:ext cx="12192000" cy="5047489"/>
            </a:xfrm>
            <a:custGeom>
              <a:avLst/>
              <a:gdLst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12192000 w 12192000"/>
                <a:gd name="connsiteY2" fmla="*/ 5047489 h 5047489"/>
                <a:gd name="connsiteX3" fmla="*/ 0 w 12192000"/>
                <a:gd name="connsiteY3" fmla="*/ 5047489 h 5047489"/>
                <a:gd name="connsiteX4" fmla="*/ 0 w 12192000"/>
                <a:gd name="connsiteY4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000" h="5047489">
                  <a:moveTo>
                    <a:pt x="0" y="0"/>
                  </a:moveTo>
                  <a:lnTo>
                    <a:pt x="12192000" y="0"/>
                  </a:lnTo>
                  <a:cubicBezTo>
                    <a:pt x="5448300" y="412496"/>
                    <a:pt x="4064000" y="3364993"/>
                    <a:pt x="0" y="504748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7" name="Rectangle 9"/>
            <p:cNvSpPr/>
            <p:nvPr/>
          </p:nvSpPr>
          <p:spPr>
            <a:xfrm flipH="1">
              <a:off x="6210114" y="2"/>
              <a:ext cx="5981885" cy="2476501"/>
            </a:xfrm>
            <a:custGeom>
              <a:avLst/>
              <a:gdLst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12192000 w 12192000"/>
                <a:gd name="connsiteY2" fmla="*/ 5047489 h 5047489"/>
                <a:gd name="connsiteX3" fmla="*/ 0 w 12192000"/>
                <a:gd name="connsiteY3" fmla="*/ 5047489 h 5047489"/>
                <a:gd name="connsiteX4" fmla="*/ 0 w 12192000"/>
                <a:gd name="connsiteY4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000" h="5047489">
                  <a:moveTo>
                    <a:pt x="0" y="0"/>
                  </a:moveTo>
                  <a:lnTo>
                    <a:pt x="12192000" y="0"/>
                  </a:lnTo>
                  <a:cubicBezTo>
                    <a:pt x="5448300" y="412496"/>
                    <a:pt x="4064000" y="3364993"/>
                    <a:pt x="0" y="504748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</p:grpSp>
      <p:sp>
        <p:nvSpPr>
          <p:cNvPr id="9" name="Round Same Side Corner Rectangle 8"/>
          <p:cNvSpPr/>
          <p:nvPr userDrawn="1"/>
        </p:nvSpPr>
        <p:spPr>
          <a:xfrm flipV="1">
            <a:off x="9832510" y="11769270"/>
            <a:ext cx="4718980" cy="268224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51700">
                <a:srgbClr val="D45F31"/>
              </a:gs>
              <a:gs pos="0">
                <a:srgbClr val="BF4033">
                  <a:lumMod val="97000"/>
                </a:srgbClr>
              </a:gs>
              <a:gs pos="100000">
                <a:schemeClr val="accent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00351797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 flip="none" rotWithShape="1">
            <a:gsLst>
              <a:gs pos="51700">
                <a:srgbClr val="D45F31"/>
              </a:gs>
              <a:gs pos="0">
                <a:srgbClr val="BF4033">
                  <a:lumMod val="97000"/>
                </a:srgbClr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2"/>
          </a:p>
        </p:txBody>
      </p:sp>
    </p:spTree>
    <p:extLst>
      <p:ext uri="{BB962C8B-B14F-4D97-AF65-F5344CB8AC3E}">
        <p14:creationId xmlns:p14="http://schemas.microsoft.com/office/powerpoint/2010/main" val="2521883559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676400" y="12712709"/>
            <a:ext cx="54864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077200" y="12712709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 flipV="1">
            <a:off x="0" y="0"/>
            <a:ext cx="24384000" cy="13716000"/>
          </a:xfrm>
          <a:prstGeom prst="rect">
            <a:avLst/>
          </a:prstGeom>
          <a:gradFill flip="none" rotWithShape="1">
            <a:gsLst>
              <a:gs pos="51700">
                <a:srgbClr val="D45F31"/>
              </a:gs>
              <a:gs pos="0">
                <a:srgbClr val="BF4033">
                  <a:lumMod val="97000"/>
                </a:srgbClr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2"/>
          </a:p>
        </p:txBody>
      </p:sp>
    </p:spTree>
    <p:extLst>
      <p:ext uri="{BB962C8B-B14F-4D97-AF65-F5344CB8AC3E}">
        <p14:creationId xmlns:p14="http://schemas.microsoft.com/office/powerpoint/2010/main" val="172887909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3573518" y="4730530"/>
            <a:ext cx="3657600" cy="36576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071946" y="4730530"/>
            <a:ext cx="3657600" cy="36576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968418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97332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8"/>
            <a:ext cx="24384000" cy="796420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677066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8142638" y="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4572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9144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074638" y="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074638" y="9144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8142638" y="9144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2217278" y="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2217278" y="9144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16278638" y="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6278638" y="9144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353278" y="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20353278" y="4572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353278" y="9144000"/>
            <a:ext cx="4068000" cy="457200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51728995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164918" y="-15875"/>
            <a:ext cx="4092576" cy="45942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164918" y="9096217"/>
            <a:ext cx="4092576" cy="45942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5875"/>
            <a:ext cx="4092576" cy="45942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9096217"/>
            <a:ext cx="4092576" cy="459422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2257493" y="-15875"/>
            <a:ext cx="12126506" cy="1370631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816155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73403"/>
            <a:ext cx="24384000" cy="99821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bIns="457200" anchor="b"/>
          <a:lstStyle>
            <a:lvl1pPr algn="ctr">
              <a:buNone/>
              <a:defRPr sz="293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4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2093024" y="4965890"/>
            <a:ext cx="8583804" cy="539928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bIns="457200" anchor="b"/>
          <a:lstStyle>
            <a:lvl1pPr algn="ctr" rtl="0">
              <a:buNone/>
              <a:defRPr sz="293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777609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281762" y="1342571"/>
            <a:ext cx="7600980" cy="6295034"/>
          </a:xfrm>
          <a:custGeom>
            <a:avLst/>
            <a:gdLst>
              <a:gd name="connsiteX0" fmla="*/ 0 w 2651372"/>
              <a:gd name="connsiteY0" fmla="*/ 0 h 1987349"/>
              <a:gd name="connsiteX1" fmla="*/ 2651372 w 2651372"/>
              <a:gd name="connsiteY1" fmla="*/ 0 h 1987349"/>
              <a:gd name="connsiteX2" fmla="*/ 2651372 w 2651372"/>
              <a:gd name="connsiteY2" fmla="*/ 1987349 h 1987349"/>
              <a:gd name="connsiteX3" fmla="*/ 0 w 2651372"/>
              <a:gd name="connsiteY3" fmla="*/ 1987349 h 1987349"/>
              <a:gd name="connsiteX4" fmla="*/ 0 w 2651372"/>
              <a:gd name="connsiteY4" fmla="*/ 0 h 1987349"/>
              <a:gd name="connsiteX0" fmla="*/ 0 w 2675185"/>
              <a:gd name="connsiteY0" fmla="*/ 0 h 2063549"/>
              <a:gd name="connsiteX1" fmla="*/ 2675185 w 2675185"/>
              <a:gd name="connsiteY1" fmla="*/ 76200 h 2063549"/>
              <a:gd name="connsiteX2" fmla="*/ 2675185 w 2675185"/>
              <a:gd name="connsiteY2" fmla="*/ 2063549 h 2063549"/>
              <a:gd name="connsiteX3" fmla="*/ 23813 w 2675185"/>
              <a:gd name="connsiteY3" fmla="*/ 2063549 h 2063549"/>
              <a:gd name="connsiteX4" fmla="*/ 0 w 2675185"/>
              <a:gd name="connsiteY4" fmla="*/ 0 h 2063549"/>
              <a:gd name="connsiteX0" fmla="*/ 0 w 2675185"/>
              <a:gd name="connsiteY0" fmla="*/ 0 h 2063549"/>
              <a:gd name="connsiteX1" fmla="*/ 2332285 w 2675185"/>
              <a:gd name="connsiteY1" fmla="*/ 862013 h 2063549"/>
              <a:gd name="connsiteX2" fmla="*/ 2675185 w 2675185"/>
              <a:gd name="connsiteY2" fmla="*/ 2063549 h 2063549"/>
              <a:gd name="connsiteX3" fmla="*/ 23813 w 2675185"/>
              <a:gd name="connsiteY3" fmla="*/ 2063549 h 2063549"/>
              <a:gd name="connsiteX4" fmla="*/ 0 w 2675185"/>
              <a:gd name="connsiteY4" fmla="*/ 0 h 2063549"/>
              <a:gd name="connsiteX0" fmla="*/ 0 w 2670422"/>
              <a:gd name="connsiteY0" fmla="*/ 0 h 2225474"/>
              <a:gd name="connsiteX1" fmla="*/ 2332285 w 2670422"/>
              <a:gd name="connsiteY1" fmla="*/ 862013 h 2225474"/>
              <a:gd name="connsiteX2" fmla="*/ 2670422 w 2670422"/>
              <a:gd name="connsiteY2" fmla="*/ 2225474 h 2225474"/>
              <a:gd name="connsiteX3" fmla="*/ 23813 w 2670422"/>
              <a:gd name="connsiteY3" fmla="*/ 2063549 h 2225474"/>
              <a:gd name="connsiteX4" fmla="*/ 0 w 2670422"/>
              <a:gd name="connsiteY4" fmla="*/ 0 h 2225474"/>
              <a:gd name="connsiteX0" fmla="*/ 0 w 2670422"/>
              <a:gd name="connsiteY0" fmla="*/ 0 h 2225474"/>
              <a:gd name="connsiteX1" fmla="*/ 2332285 w 2670422"/>
              <a:gd name="connsiteY1" fmla="*/ 862013 h 2225474"/>
              <a:gd name="connsiteX2" fmla="*/ 2670422 w 2670422"/>
              <a:gd name="connsiteY2" fmla="*/ 2225474 h 2225474"/>
              <a:gd name="connsiteX3" fmla="*/ 133350 w 2670422"/>
              <a:gd name="connsiteY3" fmla="*/ 1987349 h 2225474"/>
              <a:gd name="connsiteX4" fmla="*/ 0 w 2670422"/>
              <a:gd name="connsiteY4" fmla="*/ 0 h 2225474"/>
              <a:gd name="connsiteX0" fmla="*/ 0 w 2670422"/>
              <a:gd name="connsiteY0" fmla="*/ 0 h 2225474"/>
              <a:gd name="connsiteX1" fmla="*/ 2332285 w 2670422"/>
              <a:gd name="connsiteY1" fmla="*/ 862013 h 2225474"/>
              <a:gd name="connsiteX2" fmla="*/ 2670422 w 2670422"/>
              <a:gd name="connsiteY2" fmla="*/ 2225474 h 2225474"/>
              <a:gd name="connsiteX3" fmla="*/ 152400 w 2670422"/>
              <a:gd name="connsiteY3" fmla="*/ 1996874 h 2225474"/>
              <a:gd name="connsiteX4" fmla="*/ 0 w 2670422"/>
              <a:gd name="connsiteY4" fmla="*/ 0 h 2225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422" h="2225474">
                <a:moveTo>
                  <a:pt x="0" y="0"/>
                </a:moveTo>
                <a:lnTo>
                  <a:pt x="2332285" y="862013"/>
                </a:lnTo>
                <a:lnTo>
                  <a:pt x="2670422" y="2225474"/>
                </a:lnTo>
                <a:lnTo>
                  <a:pt x="152400" y="199687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bIns="457200" anchor="b"/>
          <a:lstStyle>
            <a:lvl1pPr algn="ctr">
              <a:buNone/>
              <a:defRPr sz="293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7500060" y="5261687"/>
            <a:ext cx="3858372" cy="3255638"/>
          </a:xfrm>
          <a:custGeom>
            <a:avLst/>
            <a:gdLst>
              <a:gd name="connsiteX0" fmla="*/ 0 w 2651372"/>
              <a:gd name="connsiteY0" fmla="*/ 0 h 1987349"/>
              <a:gd name="connsiteX1" fmla="*/ 2651372 w 2651372"/>
              <a:gd name="connsiteY1" fmla="*/ 0 h 1987349"/>
              <a:gd name="connsiteX2" fmla="*/ 2651372 w 2651372"/>
              <a:gd name="connsiteY2" fmla="*/ 1987349 h 1987349"/>
              <a:gd name="connsiteX3" fmla="*/ 0 w 2651372"/>
              <a:gd name="connsiteY3" fmla="*/ 1987349 h 1987349"/>
              <a:gd name="connsiteX4" fmla="*/ 0 w 2651372"/>
              <a:gd name="connsiteY4" fmla="*/ 0 h 1987349"/>
              <a:gd name="connsiteX0" fmla="*/ 0 w 2675185"/>
              <a:gd name="connsiteY0" fmla="*/ 0 h 2063549"/>
              <a:gd name="connsiteX1" fmla="*/ 2675185 w 2675185"/>
              <a:gd name="connsiteY1" fmla="*/ 76200 h 2063549"/>
              <a:gd name="connsiteX2" fmla="*/ 2675185 w 2675185"/>
              <a:gd name="connsiteY2" fmla="*/ 2063549 h 2063549"/>
              <a:gd name="connsiteX3" fmla="*/ 23813 w 2675185"/>
              <a:gd name="connsiteY3" fmla="*/ 2063549 h 2063549"/>
              <a:gd name="connsiteX4" fmla="*/ 0 w 2675185"/>
              <a:gd name="connsiteY4" fmla="*/ 0 h 2063549"/>
              <a:gd name="connsiteX0" fmla="*/ 0 w 2675185"/>
              <a:gd name="connsiteY0" fmla="*/ 0 h 2063549"/>
              <a:gd name="connsiteX1" fmla="*/ 2332285 w 2675185"/>
              <a:gd name="connsiteY1" fmla="*/ 862013 h 2063549"/>
              <a:gd name="connsiteX2" fmla="*/ 2675185 w 2675185"/>
              <a:gd name="connsiteY2" fmla="*/ 2063549 h 2063549"/>
              <a:gd name="connsiteX3" fmla="*/ 23813 w 2675185"/>
              <a:gd name="connsiteY3" fmla="*/ 2063549 h 2063549"/>
              <a:gd name="connsiteX4" fmla="*/ 0 w 2675185"/>
              <a:gd name="connsiteY4" fmla="*/ 0 h 2063549"/>
              <a:gd name="connsiteX0" fmla="*/ 0 w 2670422"/>
              <a:gd name="connsiteY0" fmla="*/ 0 h 2225474"/>
              <a:gd name="connsiteX1" fmla="*/ 2332285 w 2670422"/>
              <a:gd name="connsiteY1" fmla="*/ 862013 h 2225474"/>
              <a:gd name="connsiteX2" fmla="*/ 2670422 w 2670422"/>
              <a:gd name="connsiteY2" fmla="*/ 2225474 h 2225474"/>
              <a:gd name="connsiteX3" fmla="*/ 23813 w 2670422"/>
              <a:gd name="connsiteY3" fmla="*/ 2063549 h 2225474"/>
              <a:gd name="connsiteX4" fmla="*/ 0 w 2670422"/>
              <a:gd name="connsiteY4" fmla="*/ 0 h 2225474"/>
              <a:gd name="connsiteX0" fmla="*/ 0 w 2670422"/>
              <a:gd name="connsiteY0" fmla="*/ 0 h 2225474"/>
              <a:gd name="connsiteX1" fmla="*/ 2332285 w 2670422"/>
              <a:gd name="connsiteY1" fmla="*/ 862013 h 2225474"/>
              <a:gd name="connsiteX2" fmla="*/ 2670422 w 2670422"/>
              <a:gd name="connsiteY2" fmla="*/ 2225474 h 2225474"/>
              <a:gd name="connsiteX3" fmla="*/ 133350 w 2670422"/>
              <a:gd name="connsiteY3" fmla="*/ 1987349 h 2225474"/>
              <a:gd name="connsiteX4" fmla="*/ 0 w 2670422"/>
              <a:gd name="connsiteY4" fmla="*/ 0 h 2225474"/>
              <a:gd name="connsiteX0" fmla="*/ 0 w 2670422"/>
              <a:gd name="connsiteY0" fmla="*/ 0 h 2225474"/>
              <a:gd name="connsiteX1" fmla="*/ 2332285 w 2670422"/>
              <a:gd name="connsiteY1" fmla="*/ 862013 h 2225474"/>
              <a:gd name="connsiteX2" fmla="*/ 2670422 w 2670422"/>
              <a:gd name="connsiteY2" fmla="*/ 2225474 h 2225474"/>
              <a:gd name="connsiteX3" fmla="*/ 152400 w 2670422"/>
              <a:gd name="connsiteY3" fmla="*/ 1996874 h 2225474"/>
              <a:gd name="connsiteX4" fmla="*/ 0 w 2670422"/>
              <a:gd name="connsiteY4" fmla="*/ 0 h 2225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422" h="2225474">
                <a:moveTo>
                  <a:pt x="0" y="0"/>
                </a:moveTo>
                <a:lnTo>
                  <a:pt x="2332285" y="862013"/>
                </a:lnTo>
                <a:lnTo>
                  <a:pt x="2670422" y="2225474"/>
                </a:lnTo>
                <a:lnTo>
                  <a:pt x="152400" y="199687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bIns="457200" anchor="b"/>
          <a:lstStyle>
            <a:lvl1pPr algn="ctr">
              <a:buNone/>
              <a:defRPr sz="293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102302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7874000"/>
            <a:ext cx="24384000" cy="584200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28904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24384000" cy="7663542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542294" y="3749540"/>
            <a:ext cx="11104124" cy="310846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191722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 rot="20454814">
            <a:off x="16445153" y="3293691"/>
            <a:ext cx="2777034" cy="4613702"/>
          </a:xfrm>
          <a:custGeom>
            <a:avLst/>
            <a:gdLst>
              <a:gd name="connsiteX0" fmla="*/ 0 w 914400"/>
              <a:gd name="connsiteY0" fmla="*/ 0 h 1481021"/>
              <a:gd name="connsiteX1" fmla="*/ 914400 w 914400"/>
              <a:gd name="connsiteY1" fmla="*/ 0 h 1481021"/>
              <a:gd name="connsiteX2" fmla="*/ 914400 w 914400"/>
              <a:gd name="connsiteY2" fmla="*/ 1481021 h 1481021"/>
              <a:gd name="connsiteX3" fmla="*/ 0 w 914400"/>
              <a:gd name="connsiteY3" fmla="*/ 1481021 h 1481021"/>
              <a:gd name="connsiteX4" fmla="*/ 0 w 914400"/>
              <a:gd name="connsiteY4" fmla="*/ 0 h 1481021"/>
              <a:gd name="connsiteX0" fmla="*/ 0 w 914400"/>
              <a:gd name="connsiteY0" fmla="*/ 0 h 1481021"/>
              <a:gd name="connsiteX1" fmla="*/ 686469 w 914400"/>
              <a:gd name="connsiteY1" fmla="*/ 91167 h 1481021"/>
              <a:gd name="connsiteX2" fmla="*/ 914400 w 914400"/>
              <a:gd name="connsiteY2" fmla="*/ 1481021 h 1481021"/>
              <a:gd name="connsiteX3" fmla="*/ 0 w 914400"/>
              <a:gd name="connsiteY3" fmla="*/ 1481021 h 1481021"/>
              <a:gd name="connsiteX4" fmla="*/ 0 w 914400"/>
              <a:gd name="connsiteY4" fmla="*/ 0 h 1481021"/>
              <a:gd name="connsiteX0" fmla="*/ 0 w 981793"/>
              <a:gd name="connsiteY0" fmla="*/ 0 h 1638728"/>
              <a:gd name="connsiteX1" fmla="*/ 686469 w 981793"/>
              <a:gd name="connsiteY1" fmla="*/ 91167 h 1638728"/>
              <a:gd name="connsiteX2" fmla="*/ 981793 w 981793"/>
              <a:gd name="connsiteY2" fmla="*/ 1638728 h 1638728"/>
              <a:gd name="connsiteX3" fmla="*/ 0 w 981793"/>
              <a:gd name="connsiteY3" fmla="*/ 1481021 h 1638728"/>
              <a:gd name="connsiteX4" fmla="*/ 0 w 981793"/>
              <a:gd name="connsiteY4" fmla="*/ 0 h 1638728"/>
              <a:gd name="connsiteX0" fmla="*/ 0 w 981793"/>
              <a:gd name="connsiteY0" fmla="*/ 0 h 1638728"/>
              <a:gd name="connsiteX1" fmla="*/ 686469 w 981793"/>
              <a:gd name="connsiteY1" fmla="*/ 91167 h 1638728"/>
              <a:gd name="connsiteX2" fmla="*/ 981793 w 981793"/>
              <a:gd name="connsiteY2" fmla="*/ 1638728 h 1638728"/>
              <a:gd name="connsiteX3" fmla="*/ 259432 w 981793"/>
              <a:gd name="connsiteY3" fmla="*/ 1624543 h 1638728"/>
              <a:gd name="connsiteX4" fmla="*/ 0 w 981793"/>
              <a:gd name="connsiteY4" fmla="*/ 0 h 1638728"/>
              <a:gd name="connsiteX0" fmla="*/ 0 w 981793"/>
              <a:gd name="connsiteY0" fmla="*/ 0 h 1638728"/>
              <a:gd name="connsiteX1" fmla="*/ 709229 w 981793"/>
              <a:gd name="connsiteY1" fmla="*/ 76365 h 1638728"/>
              <a:gd name="connsiteX2" fmla="*/ 981793 w 981793"/>
              <a:gd name="connsiteY2" fmla="*/ 1638728 h 1638728"/>
              <a:gd name="connsiteX3" fmla="*/ 259432 w 981793"/>
              <a:gd name="connsiteY3" fmla="*/ 1624543 h 1638728"/>
              <a:gd name="connsiteX4" fmla="*/ 0 w 981793"/>
              <a:gd name="connsiteY4" fmla="*/ 0 h 1638728"/>
              <a:gd name="connsiteX0" fmla="*/ 0 w 990908"/>
              <a:gd name="connsiteY0" fmla="*/ 0 h 1631803"/>
              <a:gd name="connsiteX1" fmla="*/ 709229 w 990908"/>
              <a:gd name="connsiteY1" fmla="*/ 76365 h 1631803"/>
              <a:gd name="connsiteX2" fmla="*/ 990908 w 990908"/>
              <a:gd name="connsiteY2" fmla="*/ 1631803 h 1631803"/>
              <a:gd name="connsiteX3" fmla="*/ 259432 w 990908"/>
              <a:gd name="connsiteY3" fmla="*/ 1624543 h 1631803"/>
              <a:gd name="connsiteX4" fmla="*/ 0 w 990908"/>
              <a:gd name="connsiteY4" fmla="*/ 0 h 1631803"/>
              <a:gd name="connsiteX0" fmla="*/ 0 w 990908"/>
              <a:gd name="connsiteY0" fmla="*/ 0 h 1631803"/>
              <a:gd name="connsiteX1" fmla="*/ 710381 w 990908"/>
              <a:gd name="connsiteY1" fmla="*/ 63325 h 1631803"/>
              <a:gd name="connsiteX2" fmla="*/ 990908 w 990908"/>
              <a:gd name="connsiteY2" fmla="*/ 1631803 h 1631803"/>
              <a:gd name="connsiteX3" fmla="*/ 259432 w 990908"/>
              <a:gd name="connsiteY3" fmla="*/ 1624543 h 1631803"/>
              <a:gd name="connsiteX4" fmla="*/ 0 w 990908"/>
              <a:gd name="connsiteY4" fmla="*/ 0 h 1631803"/>
              <a:gd name="connsiteX0" fmla="*/ 0 w 990908"/>
              <a:gd name="connsiteY0" fmla="*/ 0 h 1631803"/>
              <a:gd name="connsiteX1" fmla="*/ 687073 w 990908"/>
              <a:gd name="connsiteY1" fmla="*/ 82137 h 1631803"/>
              <a:gd name="connsiteX2" fmla="*/ 990908 w 990908"/>
              <a:gd name="connsiteY2" fmla="*/ 1631803 h 1631803"/>
              <a:gd name="connsiteX3" fmla="*/ 259432 w 990908"/>
              <a:gd name="connsiteY3" fmla="*/ 1624543 h 1631803"/>
              <a:gd name="connsiteX4" fmla="*/ 0 w 990908"/>
              <a:gd name="connsiteY4" fmla="*/ 0 h 1631803"/>
              <a:gd name="connsiteX0" fmla="*/ 0 w 988945"/>
              <a:gd name="connsiteY0" fmla="*/ 0 h 1627764"/>
              <a:gd name="connsiteX1" fmla="*/ 685110 w 988945"/>
              <a:gd name="connsiteY1" fmla="*/ 78098 h 1627764"/>
              <a:gd name="connsiteX2" fmla="*/ 988945 w 988945"/>
              <a:gd name="connsiteY2" fmla="*/ 1627764 h 1627764"/>
              <a:gd name="connsiteX3" fmla="*/ 257469 w 988945"/>
              <a:gd name="connsiteY3" fmla="*/ 1620504 h 1627764"/>
              <a:gd name="connsiteX4" fmla="*/ 0 w 988945"/>
              <a:gd name="connsiteY4" fmla="*/ 0 h 1627764"/>
              <a:gd name="connsiteX0" fmla="*/ 0 w 985944"/>
              <a:gd name="connsiteY0" fmla="*/ 0 h 1626725"/>
              <a:gd name="connsiteX1" fmla="*/ 685110 w 985944"/>
              <a:gd name="connsiteY1" fmla="*/ 78098 h 1626725"/>
              <a:gd name="connsiteX2" fmla="*/ 985944 w 985944"/>
              <a:gd name="connsiteY2" fmla="*/ 1626725 h 1626725"/>
              <a:gd name="connsiteX3" fmla="*/ 257469 w 985944"/>
              <a:gd name="connsiteY3" fmla="*/ 1620504 h 1626725"/>
              <a:gd name="connsiteX4" fmla="*/ 0 w 985944"/>
              <a:gd name="connsiteY4" fmla="*/ 0 h 1626725"/>
              <a:gd name="connsiteX0" fmla="*/ 0 w 973018"/>
              <a:gd name="connsiteY0" fmla="*/ 0 h 1620504"/>
              <a:gd name="connsiteX1" fmla="*/ 685110 w 973018"/>
              <a:gd name="connsiteY1" fmla="*/ 78098 h 1620504"/>
              <a:gd name="connsiteX2" fmla="*/ 973018 w 973018"/>
              <a:gd name="connsiteY2" fmla="*/ 1615533 h 1620504"/>
              <a:gd name="connsiteX3" fmla="*/ 257469 w 973018"/>
              <a:gd name="connsiteY3" fmla="*/ 1620504 h 1620504"/>
              <a:gd name="connsiteX4" fmla="*/ 0 w 973018"/>
              <a:gd name="connsiteY4" fmla="*/ 0 h 1620504"/>
              <a:gd name="connsiteX0" fmla="*/ 0 w 973018"/>
              <a:gd name="connsiteY0" fmla="*/ 0 h 1620504"/>
              <a:gd name="connsiteX1" fmla="*/ 707265 w 973018"/>
              <a:gd name="connsiteY1" fmla="*/ 72325 h 1620504"/>
              <a:gd name="connsiteX2" fmla="*/ 973018 w 973018"/>
              <a:gd name="connsiteY2" fmla="*/ 1615533 h 1620504"/>
              <a:gd name="connsiteX3" fmla="*/ 257469 w 973018"/>
              <a:gd name="connsiteY3" fmla="*/ 1620504 h 1620504"/>
              <a:gd name="connsiteX4" fmla="*/ 0 w 973018"/>
              <a:gd name="connsiteY4" fmla="*/ 0 h 1620504"/>
              <a:gd name="connsiteX0" fmla="*/ 0 w 978905"/>
              <a:gd name="connsiteY0" fmla="*/ 0 h 1627649"/>
              <a:gd name="connsiteX1" fmla="*/ 707265 w 978905"/>
              <a:gd name="connsiteY1" fmla="*/ 72325 h 1627649"/>
              <a:gd name="connsiteX2" fmla="*/ 978905 w 978905"/>
              <a:gd name="connsiteY2" fmla="*/ 1627649 h 1627649"/>
              <a:gd name="connsiteX3" fmla="*/ 257469 w 978905"/>
              <a:gd name="connsiteY3" fmla="*/ 1620504 h 1627649"/>
              <a:gd name="connsiteX4" fmla="*/ 0 w 978905"/>
              <a:gd name="connsiteY4" fmla="*/ 0 h 16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8905" h="1627649">
                <a:moveTo>
                  <a:pt x="0" y="0"/>
                </a:moveTo>
                <a:lnTo>
                  <a:pt x="707265" y="72325"/>
                </a:lnTo>
                <a:lnTo>
                  <a:pt x="978905" y="1627649"/>
                </a:lnTo>
                <a:lnTo>
                  <a:pt x="257469" y="162050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txBody>
          <a:bodyPr bIns="457200" anchor="b"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914225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4673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 rot="2320164" flipH="1">
            <a:off x="8152289" y="1505651"/>
            <a:ext cx="2208258" cy="2208258"/>
          </a:xfrm>
          <a:prstGeom prst="wedgeEllipseCallout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bg1">
                <a:alpha val="3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defTabSz="1828800"/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 rot="20195227" flipH="1">
            <a:off x="4158685" y="1677569"/>
            <a:ext cx="3079882" cy="3079882"/>
          </a:xfrm>
          <a:prstGeom prst="wedgeEllipseCallout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bg1">
                <a:alpha val="3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>
                <a:solidFill>
                  <a:schemeClr val="lt1"/>
                </a:solidFill>
              </a:defRPr>
            </a:lvl1pPr>
          </a:lstStyle>
          <a:p>
            <a:pPr marL="0" lvl="0" defTabSz="1828800"/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786075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Pic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31" hasCustomPrompt="1"/>
          </p:nvPr>
        </p:nvSpPr>
        <p:spPr>
          <a:xfrm>
            <a:off x="2082166" y="4876800"/>
            <a:ext cx="5213984" cy="455612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tIns="0" bIns="182880" anchor="b"/>
          <a:lstStyle>
            <a:lvl1pPr algn="ctr" rtl="0"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8162926" y="3654427"/>
            <a:ext cx="8058152" cy="65849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tIns="0" bIns="182880" anchor="b"/>
          <a:lstStyle>
            <a:lvl1pPr algn="ctr" rtl="0"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32" hasCustomPrompt="1"/>
          </p:nvPr>
        </p:nvSpPr>
        <p:spPr>
          <a:xfrm>
            <a:off x="17087853" y="4876801"/>
            <a:ext cx="5518042" cy="455612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tIns="0" bIns="182880" anchor="b"/>
          <a:lstStyle>
            <a:lvl1pPr algn="ctr" rtl="0"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4073598410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24384000" cy="683673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#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677245" y="6836732"/>
            <a:ext cx="4772246" cy="305154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#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13334999" y="6836732"/>
            <a:ext cx="4772246" cy="305154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#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22741125" y="12936545"/>
            <a:ext cx="897070" cy="730250"/>
          </a:xfrm>
          <a:prstGeom prst="rect">
            <a:avLst/>
          </a:prstGeo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352644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ortfolio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 hasCustomPrompt="1"/>
          </p:nvPr>
        </p:nvSpPr>
        <p:spPr>
          <a:xfrm>
            <a:off x="7562849" y="-1"/>
            <a:ext cx="5505450" cy="66770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Image #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8954751" y="3019427"/>
            <a:ext cx="5429250" cy="749617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Image #</a:t>
            </a:r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13258802" y="3019427"/>
            <a:ext cx="5508624" cy="36575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Image #</a:t>
            </a:r>
          </a:p>
        </p:txBody>
      </p:sp>
      <p:sp>
        <p:nvSpPr>
          <p:cNvPr id="19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3258802" y="6857999"/>
            <a:ext cx="5508624" cy="36575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Image #</a:t>
            </a:r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15" hasCustomPrompt="1"/>
          </p:nvPr>
        </p:nvSpPr>
        <p:spPr>
          <a:xfrm>
            <a:off x="7559672" y="6857999"/>
            <a:ext cx="5508624" cy="36575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Image #</a:t>
            </a:r>
          </a:p>
        </p:txBody>
      </p:sp>
    </p:spTree>
    <p:extLst>
      <p:ext uri="{BB962C8B-B14F-4D97-AF65-F5344CB8AC3E}">
        <p14:creationId xmlns:p14="http://schemas.microsoft.com/office/powerpoint/2010/main" val="2955001035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009169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268971" y="4749056"/>
            <a:ext cx="4702458" cy="6241552"/>
          </a:xfrm>
          <a:prstGeom prst="roundRect">
            <a:avLst>
              <a:gd name="adj" fmla="val 2706"/>
            </a:avLst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3637507" y="4749056"/>
            <a:ext cx="4702458" cy="6241552"/>
          </a:xfrm>
          <a:prstGeom prst="roundRect">
            <a:avLst>
              <a:gd name="adj" fmla="val 2706"/>
            </a:avLst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957707" y="4749056"/>
            <a:ext cx="4702458" cy="6241552"/>
          </a:xfrm>
          <a:prstGeom prst="roundRect">
            <a:avLst>
              <a:gd name="adj" fmla="val 2706"/>
            </a:avLst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8326103" y="4749056"/>
            <a:ext cx="4702458" cy="6241552"/>
          </a:xfrm>
          <a:prstGeom prst="roundRect">
            <a:avLst>
              <a:gd name="adj" fmla="val 2706"/>
            </a:avLst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0708505" y="4749056"/>
            <a:ext cx="4702458" cy="6241552"/>
          </a:xfrm>
          <a:prstGeom prst="roundRect">
            <a:avLst>
              <a:gd name="adj" fmla="val 2706"/>
            </a:avLst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115455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6909853" y="3867099"/>
            <a:ext cx="5706354" cy="3819214"/>
          </a:xfrm>
          <a:prstGeom prst="parallelogram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767795" y="5776711"/>
            <a:ext cx="5706354" cy="3819214"/>
          </a:xfrm>
          <a:prstGeom prst="parallelogram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137157" y="3867101"/>
            <a:ext cx="5706354" cy="3819214"/>
          </a:xfrm>
          <a:prstGeom prst="parallelogram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1540487" y="5776707"/>
            <a:ext cx="5706354" cy="3819214"/>
          </a:xfrm>
          <a:prstGeom prst="parallelogram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508982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3123319" y="8074884"/>
            <a:ext cx="3097266" cy="41425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1" y="4071224"/>
            <a:ext cx="4605874" cy="52917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605872" y="4071223"/>
            <a:ext cx="8517448" cy="81461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8319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3402442"/>
            <a:ext cx="24384000" cy="8528216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006646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641154" y="3468881"/>
            <a:ext cx="6541240" cy="4219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184954" y="3468881"/>
            <a:ext cx="6541240" cy="4219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6201608" y="3468881"/>
            <a:ext cx="6541240" cy="4219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199152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7320915" y="3429000"/>
            <a:ext cx="4763770" cy="76454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2299315" y="3429000"/>
            <a:ext cx="4763770" cy="76454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554218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rapezoid 2"/>
          <p:cNvSpPr/>
          <p:nvPr userDrawn="1"/>
        </p:nvSpPr>
        <p:spPr>
          <a:xfrm rot="16200000" flipH="1">
            <a:off x="17290535" y="3331424"/>
            <a:ext cx="6363726" cy="7823204"/>
          </a:xfrm>
          <a:prstGeom prst="trapezoid">
            <a:avLst>
              <a:gd name="adj" fmla="val 498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" name="Trapezoid 5"/>
          <p:cNvSpPr/>
          <p:nvPr userDrawn="1"/>
        </p:nvSpPr>
        <p:spPr>
          <a:xfrm rot="5400000">
            <a:off x="729741" y="3331424"/>
            <a:ext cx="6363726" cy="7823204"/>
          </a:xfrm>
          <a:prstGeom prst="trapezoid">
            <a:avLst>
              <a:gd name="adj" fmla="val 498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 userDrawn="1">
            <p:ph type="pic" sz="quarter" idx="13"/>
          </p:nvPr>
        </p:nvSpPr>
        <p:spPr>
          <a:xfrm>
            <a:off x="164700" y="4276037"/>
            <a:ext cx="7510276" cy="5970302"/>
          </a:xfrm>
          <a:custGeom>
            <a:avLst/>
            <a:gdLst>
              <a:gd name="connsiteX0" fmla="*/ 0 w 3755138"/>
              <a:gd name="connsiteY0" fmla="*/ 0 h 2985151"/>
              <a:gd name="connsiteX1" fmla="*/ 3755138 w 3755138"/>
              <a:gd name="connsiteY1" fmla="*/ 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8788 w 3755138"/>
              <a:gd name="connsiteY1" fmla="*/ 20955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270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8454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138" h="2985151">
                <a:moveTo>
                  <a:pt x="0" y="0"/>
                </a:moveTo>
                <a:lnTo>
                  <a:pt x="3742438" y="139700"/>
                </a:lnTo>
                <a:cubicBezTo>
                  <a:pt x="3744555" y="1064900"/>
                  <a:pt x="3753021" y="1920251"/>
                  <a:pt x="3755138" y="2845451"/>
                </a:cubicBezTo>
                <a:lnTo>
                  <a:pt x="0" y="29851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 userDrawn="1">
            <p:ph type="pic" sz="quarter" idx="14"/>
          </p:nvPr>
        </p:nvSpPr>
        <p:spPr>
          <a:xfrm flipH="1">
            <a:off x="16709024" y="4276037"/>
            <a:ext cx="7510276" cy="5970302"/>
          </a:xfrm>
          <a:custGeom>
            <a:avLst/>
            <a:gdLst>
              <a:gd name="connsiteX0" fmla="*/ 0 w 3755138"/>
              <a:gd name="connsiteY0" fmla="*/ 0 h 2985151"/>
              <a:gd name="connsiteX1" fmla="*/ 3755138 w 3755138"/>
              <a:gd name="connsiteY1" fmla="*/ 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8788 w 3755138"/>
              <a:gd name="connsiteY1" fmla="*/ 20955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270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8454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138" h="2985151">
                <a:moveTo>
                  <a:pt x="0" y="0"/>
                </a:moveTo>
                <a:lnTo>
                  <a:pt x="3742438" y="139700"/>
                </a:lnTo>
                <a:cubicBezTo>
                  <a:pt x="3744555" y="1064900"/>
                  <a:pt x="3753021" y="1920251"/>
                  <a:pt x="3755138" y="2845451"/>
                </a:cubicBezTo>
                <a:lnTo>
                  <a:pt x="0" y="29851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lang="en-US" sz="320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901233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rapezoid 2"/>
          <p:cNvSpPr/>
          <p:nvPr userDrawn="1"/>
        </p:nvSpPr>
        <p:spPr>
          <a:xfrm rot="5400000">
            <a:off x="2047832" y="2636781"/>
            <a:ext cx="7734352" cy="9508174"/>
          </a:xfrm>
          <a:prstGeom prst="trapezoid">
            <a:avLst>
              <a:gd name="adj" fmla="val 10682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361090" y="3784846"/>
            <a:ext cx="9129072" cy="7256192"/>
          </a:xfrm>
          <a:custGeom>
            <a:avLst/>
            <a:gdLst>
              <a:gd name="connsiteX0" fmla="*/ 0 w 4563925"/>
              <a:gd name="connsiteY0" fmla="*/ 0 h 3628096"/>
              <a:gd name="connsiteX1" fmla="*/ 4563925 w 4563925"/>
              <a:gd name="connsiteY1" fmla="*/ 0 h 3628096"/>
              <a:gd name="connsiteX2" fmla="*/ 4563925 w 4563925"/>
              <a:gd name="connsiteY2" fmla="*/ 3628096 h 3628096"/>
              <a:gd name="connsiteX3" fmla="*/ 0 w 4563925"/>
              <a:gd name="connsiteY3" fmla="*/ 3628096 h 3628096"/>
              <a:gd name="connsiteX4" fmla="*/ 0 w 4563925"/>
              <a:gd name="connsiteY4" fmla="*/ 0 h 3628096"/>
              <a:gd name="connsiteX0" fmla="*/ 0 w 4570275"/>
              <a:gd name="connsiteY0" fmla="*/ 0 h 3628096"/>
              <a:gd name="connsiteX1" fmla="*/ 4570275 w 4570275"/>
              <a:gd name="connsiteY1" fmla="*/ 546100 h 3628096"/>
              <a:gd name="connsiteX2" fmla="*/ 4563925 w 4570275"/>
              <a:gd name="connsiteY2" fmla="*/ 3628096 h 3628096"/>
              <a:gd name="connsiteX3" fmla="*/ 0 w 4570275"/>
              <a:gd name="connsiteY3" fmla="*/ 3628096 h 3628096"/>
              <a:gd name="connsiteX4" fmla="*/ 0 w 4570275"/>
              <a:gd name="connsiteY4" fmla="*/ 0 h 3628096"/>
              <a:gd name="connsiteX0" fmla="*/ 0 w 4564536"/>
              <a:gd name="connsiteY0" fmla="*/ 0 h 3628096"/>
              <a:gd name="connsiteX1" fmla="*/ 4563925 w 4564536"/>
              <a:gd name="connsiteY1" fmla="*/ 393700 h 3628096"/>
              <a:gd name="connsiteX2" fmla="*/ 4563925 w 4564536"/>
              <a:gd name="connsiteY2" fmla="*/ 3628096 h 3628096"/>
              <a:gd name="connsiteX3" fmla="*/ 0 w 4564536"/>
              <a:gd name="connsiteY3" fmla="*/ 3628096 h 3628096"/>
              <a:gd name="connsiteX4" fmla="*/ 0 w 4564536"/>
              <a:gd name="connsiteY4" fmla="*/ 0 h 3628096"/>
              <a:gd name="connsiteX0" fmla="*/ 0 w 4563925"/>
              <a:gd name="connsiteY0" fmla="*/ 0 h 3628096"/>
              <a:gd name="connsiteX1" fmla="*/ 4563925 w 4563925"/>
              <a:gd name="connsiteY1" fmla="*/ 393700 h 3628096"/>
              <a:gd name="connsiteX2" fmla="*/ 4551225 w 4563925"/>
              <a:gd name="connsiteY2" fmla="*/ 3177246 h 3628096"/>
              <a:gd name="connsiteX3" fmla="*/ 0 w 4563925"/>
              <a:gd name="connsiteY3" fmla="*/ 3628096 h 3628096"/>
              <a:gd name="connsiteX4" fmla="*/ 0 w 4563925"/>
              <a:gd name="connsiteY4" fmla="*/ 0 h 3628096"/>
              <a:gd name="connsiteX0" fmla="*/ 0 w 4564536"/>
              <a:gd name="connsiteY0" fmla="*/ 0 h 3628096"/>
              <a:gd name="connsiteX1" fmla="*/ 4563925 w 4564536"/>
              <a:gd name="connsiteY1" fmla="*/ 393700 h 3628096"/>
              <a:gd name="connsiteX2" fmla="*/ 4563925 w 4564536"/>
              <a:gd name="connsiteY2" fmla="*/ 3234396 h 3628096"/>
              <a:gd name="connsiteX3" fmla="*/ 0 w 4564536"/>
              <a:gd name="connsiteY3" fmla="*/ 3628096 h 3628096"/>
              <a:gd name="connsiteX4" fmla="*/ 0 w 4564536"/>
              <a:gd name="connsiteY4" fmla="*/ 0 h 362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4536" h="3628096">
                <a:moveTo>
                  <a:pt x="0" y="0"/>
                </a:moveTo>
                <a:lnTo>
                  <a:pt x="4563925" y="393700"/>
                </a:lnTo>
                <a:cubicBezTo>
                  <a:pt x="4561808" y="1421032"/>
                  <a:pt x="4566042" y="2207064"/>
                  <a:pt x="4563925" y="3234396"/>
                </a:cubicBezTo>
                <a:lnTo>
                  <a:pt x="0" y="362809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53829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908" y="4064599"/>
            <a:ext cx="6440240" cy="5190746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 userDrawn="1">
            <p:ph type="pic" sz="quarter" idx="13"/>
          </p:nvPr>
        </p:nvSpPr>
        <p:spPr>
          <a:xfrm>
            <a:off x="9218182" y="4314077"/>
            <a:ext cx="6024392" cy="33804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18373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3702" y="3708769"/>
            <a:ext cx="9998308" cy="805850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3481051" y="4095750"/>
            <a:ext cx="9353550" cy="52482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20648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4089399"/>
            <a:ext cx="24384000" cy="45234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24384000" cy="4119240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60000" sy="60000" flip="none" algn="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173634" y="3204575"/>
            <a:ext cx="7314908" cy="110197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049323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209980" y="3231932"/>
            <a:ext cx="4711520" cy="70723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188149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3379142" y="3813628"/>
            <a:ext cx="3910452" cy="58910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6022867" y="5740174"/>
            <a:ext cx="2956818" cy="44989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98242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638271" y="4315760"/>
            <a:ext cx="12579178" cy="437429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8924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167468" y="2450530"/>
            <a:ext cx="8827912" cy="8958196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381754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8416926" cy="1371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376325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20460724" y="4753208"/>
            <a:ext cx="2232260" cy="22322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69956" y="4753208"/>
            <a:ext cx="2232260" cy="22322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17192" y="4753208"/>
            <a:ext cx="2232260" cy="22322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1415542" y="4753208"/>
            <a:ext cx="2232260" cy="22322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5797650" y="4753208"/>
            <a:ext cx="2232260" cy="223226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176783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91341" y="4982705"/>
            <a:ext cx="4986946" cy="498694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2470893" y="4982705"/>
            <a:ext cx="4986946" cy="498694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505108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332088" y="3409241"/>
            <a:ext cx="10047112" cy="49272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3004802" y="3409241"/>
            <a:ext cx="10047112" cy="49272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637305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3"/>
          <p:cNvSpPr>
            <a:spLocks/>
          </p:cNvSpPr>
          <p:nvPr userDrawn="1"/>
        </p:nvSpPr>
        <p:spPr bwMode="auto">
          <a:xfrm>
            <a:off x="6891201" y="7888427"/>
            <a:ext cx="1754910" cy="175491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indent="0" defTabSz="584200">
              <a:buFont typeface="Arial" panose="020B0604020202020204" pitchFamily="34" charset="0"/>
              <a:buNone/>
            </a:pPr>
            <a:endParaRPr lang="id-ID" sz="21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" name="AutoShape 25"/>
          <p:cNvSpPr>
            <a:spLocks/>
          </p:cNvSpPr>
          <p:nvPr userDrawn="1"/>
        </p:nvSpPr>
        <p:spPr bwMode="auto">
          <a:xfrm>
            <a:off x="14626656" y="9920428"/>
            <a:ext cx="1926648" cy="1926648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indent="0" defTabSz="584200">
              <a:buFont typeface="Arial" panose="020B0604020202020204" pitchFamily="34" charset="0"/>
              <a:buNone/>
            </a:pPr>
            <a:endParaRPr lang="id-ID" sz="21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8" name="AutoShape 36"/>
          <p:cNvSpPr>
            <a:spLocks/>
          </p:cNvSpPr>
          <p:nvPr userDrawn="1"/>
        </p:nvSpPr>
        <p:spPr bwMode="auto">
          <a:xfrm>
            <a:off x="10676666" y="6859438"/>
            <a:ext cx="2759364" cy="2759364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1"/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indent="0" defTabSz="584200">
              <a:buFont typeface="Arial" panose="020B0604020202020204" pitchFamily="34" charset="0"/>
              <a:buNone/>
            </a:pPr>
            <a:endParaRPr lang="id-ID" sz="21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0" name="AutoShape 72"/>
          <p:cNvSpPr>
            <a:spLocks/>
          </p:cNvSpPr>
          <p:nvPr userDrawn="1"/>
        </p:nvSpPr>
        <p:spPr bwMode="auto">
          <a:xfrm>
            <a:off x="8345928" y="3558882"/>
            <a:ext cx="1926648" cy="1926648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indent="0" defTabSz="584200">
              <a:buFont typeface="Arial" panose="020B0604020202020204" pitchFamily="34" charset="0"/>
              <a:buNone/>
            </a:pPr>
            <a:endParaRPr lang="id-ID" sz="21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2" name="AutoShape 75"/>
          <p:cNvSpPr>
            <a:spLocks/>
          </p:cNvSpPr>
          <p:nvPr userDrawn="1"/>
        </p:nvSpPr>
        <p:spPr bwMode="auto">
          <a:xfrm>
            <a:off x="13264292" y="3674336"/>
            <a:ext cx="1926648" cy="1926648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indent="0" defTabSz="584200">
              <a:buFont typeface="Arial" panose="020B0604020202020204" pitchFamily="34" charset="0"/>
              <a:buNone/>
            </a:pPr>
            <a:endParaRPr lang="id-ID" sz="21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 userDrawn="1">
            <p:ph type="pic" sz="quarter" idx="13"/>
          </p:nvPr>
        </p:nvSpPr>
        <p:spPr>
          <a:xfrm>
            <a:off x="10832242" y="7034064"/>
            <a:ext cx="2429168" cy="242916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  <p:sp>
        <p:nvSpPr>
          <p:cNvPr id="15" name="Picture Placeholder 6"/>
          <p:cNvSpPr>
            <a:spLocks noGrp="1"/>
          </p:cNvSpPr>
          <p:nvPr userDrawn="1">
            <p:ph type="pic" sz="quarter" idx="14"/>
          </p:nvPr>
        </p:nvSpPr>
        <p:spPr>
          <a:xfrm>
            <a:off x="8432034" y="3654516"/>
            <a:ext cx="1744332" cy="174432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 userDrawn="1">
            <p:ph type="pic" sz="quarter" idx="15"/>
          </p:nvPr>
        </p:nvSpPr>
        <p:spPr>
          <a:xfrm>
            <a:off x="13391206" y="3810006"/>
            <a:ext cx="1683312" cy="16833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 userDrawn="1">
            <p:ph type="pic" sz="quarter" idx="16"/>
          </p:nvPr>
        </p:nvSpPr>
        <p:spPr>
          <a:xfrm>
            <a:off x="14738025" y="10035569"/>
            <a:ext cx="1700146" cy="1700142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  <p:sp>
        <p:nvSpPr>
          <p:cNvPr id="18" name="Picture Placeholder 6"/>
          <p:cNvSpPr>
            <a:spLocks noGrp="1"/>
          </p:cNvSpPr>
          <p:nvPr userDrawn="1">
            <p:ph type="pic" sz="quarter" idx="17"/>
          </p:nvPr>
        </p:nvSpPr>
        <p:spPr>
          <a:xfrm>
            <a:off x="6984233" y="7986222"/>
            <a:ext cx="1567398" cy="1567392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495552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0610483" y="3946385"/>
            <a:ext cx="12859118" cy="305096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969940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reeform 2"/>
          <p:cNvSpPr>
            <a:spLocks/>
          </p:cNvSpPr>
          <p:nvPr userDrawn="1"/>
        </p:nvSpPr>
        <p:spPr bwMode="auto">
          <a:xfrm flipH="1">
            <a:off x="9630533" y="4641027"/>
            <a:ext cx="5122942" cy="6285778"/>
          </a:xfrm>
          <a:custGeom>
            <a:avLst/>
            <a:gdLst/>
            <a:ahLst/>
            <a:cxnLst>
              <a:cxn ang="0">
                <a:pos x="169" y="528"/>
              </a:cxn>
              <a:cxn ang="0">
                <a:pos x="121" y="430"/>
              </a:cxn>
              <a:cxn ang="0">
                <a:pos x="54" y="428"/>
              </a:cxn>
              <a:cxn ang="0">
                <a:pos x="46" y="390"/>
              </a:cxn>
              <a:cxn ang="0">
                <a:pos x="28" y="376"/>
              </a:cxn>
              <a:cxn ang="0">
                <a:pos x="42" y="366"/>
              </a:cxn>
              <a:cxn ang="0">
                <a:pos x="24" y="356"/>
              </a:cxn>
              <a:cxn ang="0">
                <a:pos x="19" y="332"/>
              </a:cxn>
              <a:cxn ang="0">
                <a:pos x="9" y="305"/>
              </a:cxn>
              <a:cxn ang="0">
                <a:pos x="49" y="233"/>
              </a:cxn>
              <a:cxn ang="0">
                <a:pos x="133" y="58"/>
              </a:cxn>
              <a:cxn ang="0">
                <a:pos x="404" y="174"/>
              </a:cxn>
              <a:cxn ang="0">
                <a:pos x="336" y="387"/>
              </a:cxn>
              <a:cxn ang="0">
                <a:pos x="347" y="534"/>
              </a:cxn>
              <a:cxn ang="0">
                <a:pos x="168" y="534"/>
              </a:cxn>
              <a:cxn ang="0">
                <a:pos x="169" y="528"/>
              </a:cxn>
            </a:cxnLst>
            <a:rect l="0" t="0" r="r" b="b"/>
            <a:pathLst>
              <a:path w="436" h="534">
                <a:moveTo>
                  <a:pt x="169" y="528"/>
                </a:moveTo>
                <a:cubicBezTo>
                  <a:pt x="169" y="528"/>
                  <a:pt x="171" y="428"/>
                  <a:pt x="121" y="430"/>
                </a:cubicBezTo>
                <a:cubicBezTo>
                  <a:pt x="71" y="432"/>
                  <a:pt x="66" y="446"/>
                  <a:pt x="54" y="428"/>
                </a:cubicBezTo>
                <a:cubicBezTo>
                  <a:pt x="42" y="409"/>
                  <a:pt x="54" y="398"/>
                  <a:pt x="46" y="390"/>
                </a:cubicBezTo>
                <a:cubicBezTo>
                  <a:pt x="46" y="390"/>
                  <a:pt x="28" y="384"/>
                  <a:pt x="28" y="376"/>
                </a:cubicBezTo>
                <a:cubicBezTo>
                  <a:pt x="28" y="368"/>
                  <a:pt x="42" y="366"/>
                  <a:pt x="42" y="366"/>
                </a:cubicBezTo>
                <a:cubicBezTo>
                  <a:pt x="42" y="366"/>
                  <a:pt x="24" y="365"/>
                  <a:pt x="24" y="356"/>
                </a:cubicBezTo>
                <a:cubicBezTo>
                  <a:pt x="23" y="348"/>
                  <a:pt x="33" y="338"/>
                  <a:pt x="19" y="332"/>
                </a:cubicBezTo>
                <a:cubicBezTo>
                  <a:pt x="5" y="326"/>
                  <a:pt x="0" y="320"/>
                  <a:pt x="9" y="305"/>
                </a:cubicBezTo>
                <a:cubicBezTo>
                  <a:pt x="18" y="290"/>
                  <a:pt x="52" y="251"/>
                  <a:pt x="49" y="233"/>
                </a:cubicBezTo>
                <a:cubicBezTo>
                  <a:pt x="46" y="216"/>
                  <a:pt x="29" y="117"/>
                  <a:pt x="133" y="58"/>
                </a:cubicBezTo>
                <a:cubicBezTo>
                  <a:pt x="238" y="0"/>
                  <a:pt x="372" y="49"/>
                  <a:pt x="404" y="174"/>
                </a:cubicBezTo>
                <a:cubicBezTo>
                  <a:pt x="436" y="300"/>
                  <a:pt x="336" y="387"/>
                  <a:pt x="336" y="387"/>
                </a:cubicBezTo>
                <a:cubicBezTo>
                  <a:pt x="336" y="387"/>
                  <a:pt x="302" y="480"/>
                  <a:pt x="347" y="534"/>
                </a:cubicBezTo>
                <a:cubicBezTo>
                  <a:pt x="168" y="534"/>
                  <a:pt x="168" y="534"/>
                  <a:pt x="168" y="534"/>
                </a:cubicBezTo>
                <a:lnTo>
                  <a:pt x="169" y="528"/>
                </a:lnTo>
                <a:close/>
              </a:path>
            </a:pathLst>
          </a:cu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</p:spTree>
    <p:extLst>
      <p:ext uri="{BB962C8B-B14F-4D97-AF65-F5344CB8AC3E}">
        <p14:creationId xmlns:p14="http://schemas.microsoft.com/office/powerpoint/2010/main" val="231158639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9539254" y="8755394"/>
            <a:ext cx="2429168" cy="242916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413674" y="5562600"/>
            <a:ext cx="2429168" cy="242916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677860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9539254" y="4792288"/>
            <a:ext cx="2429168" cy="242916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413674" y="1599494"/>
            <a:ext cx="2429168" cy="242916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099905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306249" y="2260603"/>
            <a:ext cx="6938694" cy="37599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5152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197125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42618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210205" y="2068547"/>
            <a:ext cx="10489670" cy="98323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701594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3120921" y="3860183"/>
            <a:ext cx="3236010" cy="323601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3120921" y="8210415"/>
            <a:ext cx="3236010" cy="323601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025087" y="3860183"/>
            <a:ext cx="3236010" cy="323601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025087" y="8210415"/>
            <a:ext cx="3236010" cy="323601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33470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3519169" y="3742047"/>
            <a:ext cx="4992914" cy="3860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9702257" y="3742047"/>
            <a:ext cx="4992914" cy="3860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5871921" y="3742047"/>
            <a:ext cx="4992914" cy="3860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519171" y="7602853"/>
            <a:ext cx="4992914" cy="914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indent="0" defTabSz="584186">
              <a:buFont typeface="Arial" panose="020B0604020202020204" pitchFamily="34" charset="0"/>
              <a:buNone/>
            </a:pPr>
            <a:endParaRPr lang="en-US" sz="24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9702257" y="7602853"/>
            <a:ext cx="4992914" cy="914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indent="0" defTabSz="584186">
              <a:buFont typeface="Arial" panose="020B0604020202020204" pitchFamily="34" charset="0"/>
              <a:buNone/>
            </a:pPr>
            <a:endParaRPr lang="en-US" sz="24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5871923" y="7602853"/>
            <a:ext cx="4992914" cy="914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indent="0" defTabSz="584186">
              <a:buFont typeface="Arial" panose="020B0604020202020204" pitchFamily="34" charset="0"/>
              <a:buNone/>
            </a:pPr>
            <a:endParaRPr lang="en-US" sz="24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519171" y="3670933"/>
            <a:ext cx="4992914" cy="914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indent="0" defTabSz="584186">
              <a:buFont typeface="Arial" panose="020B0604020202020204" pitchFamily="34" charset="0"/>
              <a:buNone/>
            </a:pPr>
            <a:endParaRPr lang="en-US" sz="24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702257" y="3670933"/>
            <a:ext cx="4992914" cy="914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indent="0" defTabSz="584186">
              <a:buFont typeface="Arial" panose="020B0604020202020204" pitchFamily="34" charset="0"/>
              <a:buNone/>
            </a:pPr>
            <a:endParaRPr lang="en-US" sz="24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5871923" y="3670933"/>
            <a:ext cx="4992914" cy="914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indent="0" defTabSz="584186">
              <a:buFont typeface="Arial" panose="020B0604020202020204" pitchFamily="34" charset="0"/>
              <a:buNone/>
            </a:pPr>
            <a:endParaRPr lang="en-US" sz="24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07794892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705102" y="7273607"/>
            <a:ext cx="3411672" cy="3651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6" name="Rectangle 5"/>
          <p:cNvSpPr/>
          <p:nvPr/>
        </p:nvSpPr>
        <p:spPr>
          <a:xfrm>
            <a:off x="7408178" y="7273607"/>
            <a:ext cx="3411672" cy="3651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7" name="Rectangle 6"/>
          <p:cNvSpPr/>
          <p:nvPr/>
        </p:nvSpPr>
        <p:spPr>
          <a:xfrm>
            <a:off x="11134806" y="7273607"/>
            <a:ext cx="3411672" cy="3651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8" name="Rectangle 7"/>
          <p:cNvSpPr/>
          <p:nvPr/>
        </p:nvSpPr>
        <p:spPr>
          <a:xfrm>
            <a:off x="14863418" y="7273607"/>
            <a:ext cx="3411672" cy="3651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9" name="Rectangle 8"/>
          <p:cNvSpPr/>
          <p:nvPr/>
        </p:nvSpPr>
        <p:spPr>
          <a:xfrm>
            <a:off x="18495758" y="7273607"/>
            <a:ext cx="3411672" cy="3651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5" name="Rectangle 24"/>
          <p:cNvSpPr/>
          <p:nvPr/>
        </p:nvSpPr>
        <p:spPr>
          <a:xfrm>
            <a:off x="3705102" y="10855427"/>
            <a:ext cx="3411672" cy="7575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6" name="Rectangle 25"/>
          <p:cNvSpPr/>
          <p:nvPr/>
        </p:nvSpPr>
        <p:spPr>
          <a:xfrm>
            <a:off x="7408178" y="10855427"/>
            <a:ext cx="3411672" cy="7575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7" name="Rectangle 26"/>
          <p:cNvSpPr/>
          <p:nvPr/>
        </p:nvSpPr>
        <p:spPr>
          <a:xfrm>
            <a:off x="11134806" y="10855427"/>
            <a:ext cx="3411672" cy="757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8" name="Rectangle 27"/>
          <p:cNvSpPr/>
          <p:nvPr/>
        </p:nvSpPr>
        <p:spPr>
          <a:xfrm>
            <a:off x="14863418" y="10855427"/>
            <a:ext cx="3411672" cy="757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29" name="Rectangle 28"/>
          <p:cNvSpPr/>
          <p:nvPr/>
        </p:nvSpPr>
        <p:spPr>
          <a:xfrm>
            <a:off x="18495758" y="10855427"/>
            <a:ext cx="3411672" cy="7575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55" name="Picture Placeholder 54"/>
          <p:cNvSpPr>
            <a:spLocks noGrp="1"/>
          </p:cNvSpPr>
          <p:nvPr userDrawn="1">
            <p:ph type="pic" sz="quarter" idx="13"/>
          </p:nvPr>
        </p:nvSpPr>
        <p:spPr>
          <a:xfrm>
            <a:off x="2542804" y="3870756"/>
            <a:ext cx="4595864" cy="3409196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56" name="Picture Placeholder 54"/>
          <p:cNvSpPr>
            <a:spLocks noGrp="1"/>
          </p:cNvSpPr>
          <p:nvPr userDrawn="1">
            <p:ph type="pic" sz="quarter" idx="14"/>
          </p:nvPr>
        </p:nvSpPr>
        <p:spPr>
          <a:xfrm>
            <a:off x="6233434" y="3870756"/>
            <a:ext cx="4595864" cy="3409196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57" name="Picture Placeholder 54"/>
          <p:cNvSpPr>
            <a:spLocks noGrp="1"/>
          </p:cNvSpPr>
          <p:nvPr userDrawn="1">
            <p:ph type="pic" sz="quarter" idx="15"/>
          </p:nvPr>
        </p:nvSpPr>
        <p:spPr>
          <a:xfrm>
            <a:off x="9968734" y="3870756"/>
            <a:ext cx="4595864" cy="3409196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58" name="Picture Placeholder 54"/>
          <p:cNvSpPr>
            <a:spLocks noGrp="1"/>
          </p:cNvSpPr>
          <p:nvPr userDrawn="1">
            <p:ph type="pic" sz="quarter" idx="16"/>
          </p:nvPr>
        </p:nvSpPr>
        <p:spPr>
          <a:xfrm>
            <a:off x="13679226" y="3870756"/>
            <a:ext cx="4595864" cy="3409196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59" name="Picture Placeholder 54"/>
          <p:cNvSpPr>
            <a:spLocks noGrp="1"/>
          </p:cNvSpPr>
          <p:nvPr userDrawn="1">
            <p:ph type="pic" sz="quarter" idx="17"/>
          </p:nvPr>
        </p:nvSpPr>
        <p:spPr>
          <a:xfrm>
            <a:off x="17356176" y="3870756"/>
            <a:ext cx="4595864" cy="3409196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049750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18543143" y="4877751"/>
            <a:ext cx="3161042" cy="30353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18543143" y="8014651"/>
            <a:ext cx="3161042" cy="30353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5825001" y="4877751"/>
            <a:ext cx="3161042" cy="30353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5825001" y="8014651"/>
            <a:ext cx="3161042" cy="30353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244649" y="4877751"/>
            <a:ext cx="3161042" cy="30353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12244649" y="8014651"/>
            <a:ext cx="3161042" cy="30353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485597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3193145"/>
            <a:ext cx="24384000" cy="87376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886594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290050" y="1654176"/>
            <a:ext cx="6238876" cy="51149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290050" y="6992282"/>
            <a:ext cx="6238876" cy="51149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060426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763000" y="7484830"/>
            <a:ext cx="3406236" cy="3419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12233820" y="7484830"/>
            <a:ext cx="3406236" cy="3419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763000" y="3962400"/>
            <a:ext cx="3406236" cy="3419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233820" y="3962400"/>
            <a:ext cx="3406236" cy="3419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434646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24384000" cy="85924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643092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3048001"/>
            <a:ext cx="24384000" cy="93472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7841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677400" y="6829944"/>
            <a:ext cx="14071600" cy="4913768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5197125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9282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3867103"/>
            <a:ext cx="24384000" cy="7976558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86347" y="4781191"/>
            <a:ext cx="11511494" cy="61870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63627" y="4997451"/>
            <a:ext cx="11141074" cy="581025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60717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895908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3024841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2"/>
            <a:ext cx="24384000" cy="8432800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100000" sy="75000" flip="x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</p:spTree>
    <p:extLst>
      <p:ext uri="{BB962C8B-B14F-4D97-AF65-F5344CB8AC3E}">
        <p14:creationId xmlns:p14="http://schemas.microsoft.com/office/powerpoint/2010/main" val="2708215988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5204687" y="3463115"/>
            <a:ext cx="7916574" cy="89114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87023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65151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121427" y="8186059"/>
            <a:ext cx="7916574" cy="37820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87023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121427" y="3945637"/>
            <a:ext cx="7916574" cy="37820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953939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6256000" y="3396691"/>
            <a:ext cx="8128000" cy="47598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2842419" y="164713"/>
            <a:ext cx="874390" cy="461665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3396691"/>
            <a:ext cx="8128000" cy="47598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128000" y="3396691"/>
            <a:ext cx="8128000" cy="47598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639434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9706414" y="1089229"/>
            <a:ext cx="3959724" cy="37325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1545518" y="4991731"/>
            <a:ext cx="3959724" cy="37325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19706414" y="8894231"/>
            <a:ext cx="3959724" cy="37325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976581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24384000" cy="821508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36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" y="7895771"/>
            <a:ext cx="24384002" cy="5820230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100000" sy="100000" flip="x" algn="t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</p:spTree>
    <p:extLst>
      <p:ext uri="{BB962C8B-B14F-4D97-AF65-F5344CB8AC3E}">
        <p14:creationId xmlns:p14="http://schemas.microsoft.com/office/powerpoint/2010/main" val="97138090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16114310" y="6372740"/>
            <a:ext cx="3157492" cy="27828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12192000" cy="13716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798255"/>
            <a:ext cx="11328398" cy="12128354"/>
          </a:xfrm>
          <a:prstGeom prst="rect">
            <a:avLst/>
          </a:prstGeom>
          <a:effectLst>
            <a:outerShdw blurRad="177800" dist="228600" dir="4680000" sx="99000" sy="99000" algn="t" rotWithShape="0">
              <a:prstClr val="black">
                <a:alpha val="11000"/>
              </a:prstClr>
            </a:outerShdw>
          </a:effec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2956820" y="3589868"/>
            <a:ext cx="3157492" cy="27828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19271804" y="3589868"/>
            <a:ext cx="3157492" cy="27828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12956820" y="9155614"/>
            <a:ext cx="3157492" cy="27828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19271804" y="9155614"/>
            <a:ext cx="3157492" cy="27828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06089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979313" y="1981199"/>
            <a:ext cx="13163298" cy="525649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80412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3906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676400" y="730252"/>
            <a:ext cx="21031200" cy="1536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429750" y="2266952"/>
            <a:ext cx="5524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10764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570193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816078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 userDrawn="1"/>
        </p:nvSpPr>
        <p:spPr>
          <a:xfrm>
            <a:off x="15714533" y="0"/>
            <a:ext cx="13018166" cy="13716000"/>
          </a:xfrm>
          <a:prstGeom prst="parallelogram">
            <a:avLst>
              <a:gd name="adj" fmla="val 37259"/>
            </a:avLst>
          </a:prstGeom>
          <a:gradFill>
            <a:gsLst>
              <a:gs pos="3000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6251779" y="-49728"/>
            <a:ext cx="13018166" cy="13765728"/>
          </a:xfrm>
          <a:prstGeom prst="parallelogram">
            <a:avLst>
              <a:gd name="adj" fmla="val 370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>
              <a:defRPr lang="en-US" sz="2800">
                <a:solidFill>
                  <a:schemeClr val="lt1"/>
                </a:solidFill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721146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7155887" y="8911772"/>
            <a:ext cx="2808514" cy="27051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10" name="Parallelogram 9"/>
          <p:cNvSpPr/>
          <p:nvPr userDrawn="1"/>
        </p:nvSpPr>
        <p:spPr>
          <a:xfrm>
            <a:off x="-4422035" y="0"/>
            <a:ext cx="13018166" cy="13716000"/>
          </a:xfrm>
          <a:prstGeom prst="parallelogram">
            <a:avLst>
              <a:gd name="adj" fmla="val 37259"/>
            </a:avLst>
          </a:prstGeom>
          <a:gradFill>
            <a:gsLst>
              <a:gs pos="3000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00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793933" y="-49728"/>
            <a:ext cx="13018166" cy="13765728"/>
          </a:xfrm>
          <a:prstGeom prst="parallelogram">
            <a:avLst>
              <a:gd name="adj" fmla="val 370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>
              <a:defRPr lang="en-US" sz="2800">
                <a:solidFill>
                  <a:schemeClr val="lt1"/>
                </a:solidFill>
              </a:defRPr>
            </a:lvl1pPr>
          </a:lstStyle>
          <a:p>
            <a:pPr marL="0" lvl="0" algn="ctr" defTabSz="1828754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7155887" y="3048002"/>
            <a:ext cx="2808514" cy="27051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7155887" y="5979886"/>
            <a:ext cx="2808514" cy="27051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29892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36626" y="3486150"/>
            <a:ext cx="12773024" cy="84232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734216" y="5029429"/>
            <a:ext cx="11104124" cy="30913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903594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 dirty="0"/>
          </a:p>
        </p:txBody>
      </p:sp>
      <p:pic>
        <p:nvPicPr>
          <p:cNvPr id="5" name="Picture 4" descr="iphone-mockup-white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2192000" y="833120"/>
            <a:ext cx="12192000" cy="12882880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3924276" y="2171700"/>
            <a:ext cx="5087624" cy="5562600"/>
          </a:xfrm>
          <a:custGeom>
            <a:avLst/>
            <a:gdLst>
              <a:gd name="connsiteX0" fmla="*/ 0 w 2200912"/>
              <a:gd name="connsiteY0" fmla="*/ 0 h 2159000"/>
              <a:gd name="connsiteX1" fmla="*/ 2200912 w 2200912"/>
              <a:gd name="connsiteY1" fmla="*/ 0 h 2159000"/>
              <a:gd name="connsiteX2" fmla="*/ 2200912 w 2200912"/>
              <a:gd name="connsiteY2" fmla="*/ 2159000 h 2159000"/>
              <a:gd name="connsiteX3" fmla="*/ 0 w 2200912"/>
              <a:gd name="connsiteY3" fmla="*/ 2159000 h 2159000"/>
              <a:gd name="connsiteX4" fmla="*/ 0 w 2200912"/>
              <a:gd name="connsiteY4" fmla="*/ 0 h 2159000"/>
              <a:gd name="connsiteX0" fmla="*/ 0 w 2200912"/>
              <a:gd name="connsiteY0" fmla="*/ 285750 h 2444750"/>
              <a:gd name="connsiteX1" fmla="*/ 1210312 w 2200912"/>
              <a:gd name="connsiteY1" fmla="*/ 0 h 2444750"/>
              <a:gd name="connsiteX2" fmla="*/ 2200912 w 2200912"/>
              <a:gd name="connsiteY2" fmla="*/ 2444750 h 2444750"/>
              <a:gd name="connsiteX3" fmla="*/ 0 w 2200912"/>
              <a:gd name="connsiteY3" fmla="*/ 2444750 h 2444750"/>
              <a:gd name="connsiteX4" fmla="*/ 0 w 2200912"/>
              <a:gd name="connsiteY4" fmla="*/ 285750 h 2444750"/>
              <a:gd name="connsiteX0" fmla="*/ 0 w 2524762"/>
              <a:gd name="connsiteY0" fmla="*/ 285750 h 2444750"/>
              <a:gd name="connsiteX1" fmla="*/ 1210312 w 2524762"/>
              <a:gd name="connsiteY1" fmla="*/ 0 h 2444750"/>
              <a:gd name="connsiteX2" fmla="*/ 2524762 w 2524762"/>
              <a:gd name="connsiteY2" fmla="*/ 2406650 h 2444750"/>
              <a:gd name="connsiteX3" fmla="*/ 0 w 2524762"/>
              <a:gd name="connsiteY3" fmla="*/ 2444750 h 2444750"/>
              <a:gd name="connsiteX4" fmla="*/ 0 w 2524762"/>
              <a:gd name="connsiteY4" fmla="*/ 285750 h 2444750"/>
              <a:gd name="connsiteX0" fmla="*/ 0 w 2524762"/>
              <a:gd name="connsiteY0" fmla="*/ 285750 h 2781300"/>
              <a:gd name="connsiteX1" fmla="*/ 1210312 w 2524762"/>
              <a:gd name="connsiteY1" fmla="*/ 0 h 2781300"/>
              <a:gd name="connsiteX2" fmla="*/ 2524762 w 2524762"/>
              <a:gd name="connsiteY2" fmla="*/ 2406650 h 2781300"/>
              <a:gd name="connsiteX3" fmla="*/ 1352550 w 2524762"/>
              <a:gd name="connsiteY3" fmla="*/ 2781300 h 2781300"/>
              <a:gd name="connsiteX4" fmla="*/ 0 w 2524762"/>
              <a:gd name="connsiteY4" fmla="*/ 285750 h 2781300"/>
              <a:gd name="connsiteX0" fmla="*/ 0 w 2543812"/>
              <a:gd name="connsiteY0" fmla="*/ 266700 h 2781300"/>
              <a:gd name="connsiteX1" fmla="*/ 1229362 w 2543812"/>
              <a:gd name="connsiteY1" fmla="*/ 0 h 2781300"/>
              <a:gd name="connsiteX2" fmla="*/ 2543812 w 2543812"/>
              <a:gd name="connsiteY2" fmla="*/ 2406650 h 2781300"/>
              <a:gd name="connsiteX3" fmla="*/ 1371600 w 2543812"/>
              <a:gd name="connsiteY3" fmla="*/ 2781300 h 2781300"/>
              <a:gd name="connsiteX4" fmla="*/ 0 w 2543812"/>
              <a:gd name="connsiteY4" fmla="*/ 266700 h 278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3812" h="2781300">
                <a:moveTo>
                  <a:pt x="0" y="266700"/>
                </a:moveTo>
                <a:lnTo>
                  <a:pt x="1229362" y="0"/>
                </a:lnTo>
                <a:lnTo>
                  <a:pt x="2543812" y="2406650"/>
                </a:lnTo>
                <a:lnTo>
                  <a:pt x="1371600" y="2781300"/>
                </a:lnTo>
                <a:lnTo>
                  <a:pt x="0" y="2667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743566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85136" y="4966948"/>
            <a:ext cx="3377636" cy="406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250336" y="4966948"/>
            <a:ext cx="3377636" cy="406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8405856" y="4966948"/>
            <a:ext cx="3377636" cy="406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12538794" y="4966948"/>
            <a:ext cx="3377636" cy="406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16694310" y="4966948"/>
            <a:ext cx="3377636" cy="406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20849826" y="4966948"/>
            <a:ext cx="3377636" cy="406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5B33820B-4E4C-49F5-B1C6-E1E1AAF4A3B2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9545302" y="12802259"/>
            <a:ext cx="860016" cy="730250"/>
          </a:xfrm>
          <a:prstGeom prst="rect">
            <a:avLst/>
          </a:prstGeom>
        </p:spPr>
        <p:txBody>
          <a:bodyPr/>
          <a:lstStyle/>
          <a:p>
            <a:fld id="{255AE59D-626F-49C3-B0B6-17561EE098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657685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088" y="939270"/>
            <a:ext cx="17907824" cy="99983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38088" y="2025283"/>
            <a:ext cx="17907824" cy="56126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dirty="0"/>
              <a:t>This Is Example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17631F48-F3D8-477F-9D86-16C8264BDEC1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943669" y="13008618"/>
            <a:ext cx="931070" cy="548648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fld id="{4702770A-EA85-44D5-9F41-80F9885CC4D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238103" y="3512459"/>
            <a:ext cx="17907822" cy="89698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8882429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088" y="939270"/>
            <a:ext cx="17907824" cy="99983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38088" y="2025283"/>
            <a:ext cx="17907824" cy="56126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dirty="0"/>
              <a:t>This Is Example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17631F48-F3D8-477F-9D86-16C8264BDEC1}" type="datetime1">
              <a:rPr lang="en-US" smtClean="0"/>
              <a:t>7/24/2019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238103" y="3512459"/>
            <a:ext cx="17907822" cy="89698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7026785"/>
            <a:ext cx="24384000" cy="668921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702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4047" y="13328567"/>
            <a:ext cx="24379966" cy="4128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8372915" y="12997335"/>
            <a:ext cx="7609158" cy="575798"/>
            <a:chOff x="4359391" y="6507535"/>
            <a:chExt cx="3458708" cy="261725"/>
          </a:xfrm>
        </p:grpSpPr>
        <p:sp>
          <p:nvSpPr>
            <p:cNvPr id="20" name="Rounded Rectangle 19"/>
            <p:cNvSpPr/>
            <p:nvPr userDrawn="1"/>
          </p:nvSpPr>
          <p:spPr>
            <a:xfrm>
              <a:off x="4359391" y="6515357"/>
              <a:ext cx="3458708" cy="245215"/>
            </a:xfrm>
            <a:prstGeom prst="roundRect">
              <a:avLst>
                <a:gd name="adj" fmla="val 50000"/>
              </a:avLst>
            </a:prstGeom>
            <a:solidFill>
              <a:srgbClr val="EF41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1" name="Footer Placeholder 2"/>
            <p:cNvSpPr txBox="1">
              <a:spLocks/>
            </p:cNvSpPr>
            <p:nvPr userDrawn="1">
              <p:custDataLst>
                <p:tags r:id="rId1"/>
              </p:custDataLst>
            </p:nvPr>
          </p:nvSpPr>
          <p:spPr>
            <a:xfrm>
              <a:off x="6064655" y="6508240"/>
              <a:ext cx="1354658" cy="260228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>
                  <a:solidFill>
                    <a:schemeClr val="bg1"/>
                  </a:solidFill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Logo Company</a:t>
              </a:r>
            </a:p>
          </p:txBody>
        </p:sp>
        <p:sp>
          <p:nvSpPr>
            <p:cNvPr id="22" name="Date Placeholder 1"/>
            <p:cNvSpPr txBox="1">
              <a:spLocks/>
            </p:cNvSpPr>
            <p:nvPr userDrawn="1">
              <p:custDataLst>
                <p:tags r:id="rId2"/>
              </p:custDataLst>
            </p:nvPr>
          </p:nvSpPr>
          <p:spPr>
            <a:xfrm>
              <a:off x="4421666" y="6507535"/>
              <a:ext cx="1821723" cy="2617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>
                  <a:solidFill>
                    <a:schemeClr val="bg1"/>
                  </a:solidFill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www.yourcompanyname.com</a:t>
              </a:r>
            </a:p>
          </p:txBody>
        </p:sp>
        <p:sp>
          <p:nvSpPr>
            <p:cNvPr id="23" name="Isosceles Triangle 22"/>
            <p:cNvSpPr/>
            <p:nvPr userDrawn="1"/>
          </p:nvSpPr>
          <p:spPr>
            <a:xfrm rot="10800000" flipV="1">
              <a:off x="6145935" y="6534399"/>
              <a:ext cx="148057" cy="223706"/>
            </a:xfrm>
            <a:prstGeom prst="triangle">
              <a:avLst/>
            </a:pr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4" name="Isosceles Triangle 23"/>
            <p:cNvSpPr/>
            <p:nvPr userDrawn="1"/>
          </p:nvSpPr>
          <p:spPr>
            <a:xfrm rot="10800000">
              <a:off x="6145935" y="6515990"/>
              <a:ext cx="148057" cy="223706"/>
            </a:xfrm>
            <a:prstGeom prst="triangle">
              <a:avLst/>
            </a:pr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5" name="Isosceles Triangle 24"/>
            <p:cNvSpPr/>
            <p:nvPr userDrawn="1"/>
          </p:nvSpPr>
          <p:spPr>
            <a:xfrm rot="10800000" flipV="1">
              <a:off x="7183616" y="6534399"/>
              <a:ext cx="148057" cy="223706"/>
            </a:xfrm>
            <a:prstGeom prst="triangle">
              <a:avLst/>
            </a:pr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6" name="Isosceles Triangle 25"/>
            <p:cNvSpPr/>
            <p:nvPr userDrawn="1"/>
          </p:nvSpPr>
          <p:spPr>
            <a:xfrm rot="10800000">
              <a:off x="7183616" y="6515990"/>
              <a:ext cx="148057" cy="223706"/>
            </a:xfrm>
            <a:prstGeom prst="triangle">
              <a:avLst/>
            </a:pr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943669" y="13008618"/>
            <a:ext cx="931070" cy="548648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fld id="{4702770A-EA85-44D5-9F41-80F9885CC4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642572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24384000" cy="80264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702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088" y="939270"/>
            <a:ext cx="17907824" cy="99983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38088" y="2025283"/>
            <a:ext cx="17907824" cy="56126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dirty="0"/>
              <a:t>This Is Example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17631F48-F3D8-477F-9D86-16C8264BDEC1}" type="datetime1">
              <a:rPr lang="en-US" smtClean="0"/>
              <a:t>7/24/2019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238103" y="3512459"/>
            <a:ext cx="17907822" cy="89698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47" y="13328567"/>
            <a:ext cx="24379966" cy="4128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8372915" y="12997335"/>
            <a:ext cx="7609158" cy="575798"/>
            <a:chOff x="4359391" y="6507535"/>
            <a:chExt cx="3458708" cy="261725"/>
          </a:xfrm>
        </p:grpSpPr>
        <p:sp>
          <p:nvSpPr>
            <p:cNvPr id="20" name="Rounded Rectangle 19"/>
            <p:cNvSpPr/>
            <p:nvPr userDrawn="1"/>
          </p:nvSpPr>
          <p:spPr>
            <a:xfrm>
              <a:off x="4359391" y="6515357"/>
              <a:ext cx="3458708" cy="245215"/>
            </a:xfrm>
            <a:prstGeom prst="roundRect">
              <a:avLst>
                <a:gd name="adj" fmla="val 50000"/>
              </a:avLst>
            </a:prstGeom>
            <a:solidFill>
              <a:srgbClr val="EF41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1" name="Footer Placeholder 2"/>
            <p:cNvSpPr txBox="1">
              <a:spLocks/>
            </p:cNvSpPr>
            <p:nvPr userDrawn="1">
              <p:custDataLst>
                <p:tags r:id="rId1"/>
              </p:custDataLst>
            </p:nvPr>
          </p:nvSpPr>
          <p:spPr>
            <a:xfrm>
              <a:off x="6064655" y="6508240"/>
              <a:ext cx="1354658" cy="260228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>
                  <a:solidFill>
                    <a:schemeClr val="bg1"/>
                  </a:solidFill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Logo Company</a:t>
              </a:r>
            </a:p>
          </p:txBody>
        </p:sp>
        <p:sp>
          <p:nvSpPr>
            <p:cNvPr id="22" name="Date Placeholder 1"/>
            <p:cNvSpPr txBox="1">
              <a:spLocks/>
            </p:cNvSpPr>
            <p:nvPr userDrawn="1">
              <p:custDataLst>
                <p:tags r:id="rId2"/>
              </p:custDataLst>
            </p:nvPr>
          </p:nvSpPr>
          <p:spPr>
            <a:xfrm>
              <a:off x="4421666" y="6507535"/>
              <a:ext cx="1821723" cy="2617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>
                  <a:solidFill>
                    <a:schemeClr val="bg1"/>
                  </a:solidFill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www.yourcompanyname.com</a:t>
              </a:r>
            </a:p>
          </p:txBody>
        </p:sp>
        <p:sp>
          <p:nvSpPr>
            <p:cNvPr id="23" name="Isosceles Triangle 22"/>
            <p:cNvSpPr/>
            <p:nvPr userDrawn="1"/>
          </p:nvSpPr>
          <p:spPr>
            <a:xfrm rot="10800000" flipV="1">
              <a:off x="6145935" y="6534399"/>
              <a:ext cx="148057" cy="223706"/>
            </a:xfrm>
            <a:prstGeom prst="triangle">
              <a:avLst/>
            </a:pr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4" name="Isosceles Triangle 23"/>
            <p:cNvSpPr/>
            <p:nvPr userDrawn="1"/>
          </p:nvSpPr>
          <p:spPr>
            <a:xfrm rot="10800000">
              <a:off x="6145935" y="6515990"/>
              <a:ext cx="148057" cy="223706"/>
            </a:xfrm>
            <a:prstGeom prst="triangle">
              <a:avLst/>
            </a:pr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5" name="Isosceles Triangle 24"/>
            <p:cNvSpPr/>
            <p:nvPr userDrawn="1"/>
          </p:nvSpPr>
          <p:spPr>
            <a:xfrm rot="10800000" flipV="1">
              <a:off x="7183616" y="6534399"/>
              <a:ext cx="148057" cy="223706"/>
            </a:xfrm>
            <a:prstGeom prst="triangle">
              <a:avLst/>
            </a:pr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  <p:sp>
          <p:nvSpPr>
            <p:cNvPr id="26" name="Isosceles Triangle 25"/>
            <p:cNvSpPr/>
            <p:nvPr userDrawn="1"/>
          </p:nvSpPr>
          <p:spPr>
            <a:xfrm rot="10800000">
              <a:off x="7183616" y="6515990"/>
              <a:ext cx="148057" cy="223706"/>
            </a:xfrm>
            <a:prstGeom prst="triangle">
              <a:avLst/>
            </a:pr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+mj-lt"/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943669" y="13008618"/>
            <a:ext cx="931070" cy="548648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fld id="{4702770A-EA85-44D5-9F41-80F9885CC4D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11475853" y="7"/>
            <a:ext cx="1403298" cy="775366"/>
            <a:chOff x="4931858" y="2621736"/>
            <a:chExt cx="701649" cy="387682"/>
          </a:xfrm>
          <a:solidFill>
            <a:srgbClr val="EF4136">
              <a:alpha val="32000"/>
            </a:srgbClr>
          </a:solidFill>
        </p:grpSpPr>
        <p:sp>
          <p:nvSpPr>
            <p:cNvPr id="28" name="Isosceles Triangle 27"/>
            <p:cNvSpPr/>
            <p:nvPr/>
          </p:nvSpPr>
          <p:spPr>
            <a:xfrm rot="10800000">
              <a:off x="5377876" y="2621736"/>
              <a:ext cx="255631" cy="2203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dirty="0"/>
            </a:p>
          </p:txBody>
        </p:sp>
        <p:sp>
          <p:nvSpPr>
            <p:cNvPr id="29" name="Isosceles Triangle 28"/>
            <p:cNvSpPr/>
            <p:nvPr/>
          </p:nvSpPr>
          <p:spPr>
            <a:xfrm rot="10800000">
              <a:off x="4931858" y="2621736"/>
              <a:ext cx="255631" cy="2203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dirty="0"/>
            </a:p>
          </p:txBody>
        </p:sp>
        <p:sp>
          <p:nvSpPr>
            <p:cNvPr id="30" name="Isosceles Triangle 29"/>
            <p:cNvSpPr/>
            <p:nvPr/>
          </p:nvSpPr>
          <p:spPr>
            <a:xfrm rot="10800000">
              <a:off x="5057827" y="2621736"/>
              <a:ext cx="449711" cy="38768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41724464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B69E169-7EB5-4F4F-A473-82E2FA7C7F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66495" y="0"/>
            <a:ext cx="12317505" cy="137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5869737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063110" y="1757673"/>
            <a:ext cx="13518444" cy="10200654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1" y="4180116"/>
            <a:ext cx="6567714" cy="3549716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70992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646A178-73B0-4F56-9B52-387387B5FD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025210A-B1AD-4B1F-802D-9EF2B202AB7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945075" y="1652716"/>
            <a:ext cx="6493851" cy="10410568"/>
          </a:xfrm>
          <a:custGeom>
            <a:avLst/>
            <a:gdLst>
              <a:gd name="connsiteX0" fmla="*/ 10168 w 5187048"/>
              <a:gd name="connsiteY0" fmla="*/ 0 h 8328454"/>
              <a:gd name="connsiteX1" fmla="*/ 5176881 w 5187048"/>
              <a:gd name="connsiteY1" fmla="*/ 0 h 8328454"/>
              <a:gd name="connsiteX2" fmla="*/ 5187048 w 5187048"/>
              <a:gd name="connsiteY2" fmla="*/ 10167 h 8328454"/>
              <a:gd name="connsiteX3" fmla="*/ 5187048 w 5187048"/>
              <a:gd name="connsiteY3" fmla="*/ 8318287 h 8328454"/>
              <a:gd name="connsiteX4" fmla="*/ 5176881 w 5187048"/>
              <a:gd name="connsiteY4" fmla="*/ 8328454 h 8328454"/>
              <a:gd name="connsiteX5" fmla="*/ 10168 w 5187048"/>
              <a:gd name="connsiteY5" fmla="*/ 8328454 h 8328454"/>
              <a:gd name="connsiteX6" fmla="*/ 0 w 5187048"/>
              <a:gd name="connsiteY6" fmla="*/ 8318287 h 8328454"/>
              <a:gd name="connsiteX7" fmla="*/ 0 w 5187048"/>
              <a:gd name="connsiteY7" fmla="*/ 10167 h 8328454"/>
              <a:gd name="connsiteX8" fmla="*/ 10168 w 5187048"/>
              <a:gd name="connsiteY8" fmla="*/ 0 h 8328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87048" h="8328454">
                <a:moveTo>
                  <a:pt x="10168" y="0"/>
                </a:moveTo>
                <a:lnTo>
                  <a:pt x="5176881" y="0"/>
                </a:lnTo>
                <a:cubicBezTo>
                  <a:pt x="5182496" y="0"/>
                  <a:pt x="5187048" y="4552"/>
                  <a:pt x="5187048" y="10167"/>
                </a:cubicBezTo>
                <a:lnTo>
                  <a:pt x="5187048" y="8318287"/>
                </a:lnTo>
                <a:cubicBezTo>
                  <a:pt x="5187048" y="8323902"/>
                  <a:pt x="5182496" y="8328454"/>
                  <a:pt x="5176881" y="8328454"/>
                </a:cubicBezTo>
                <a:lnTo>
                  <a:pt x="10168" y="8328454"/>
                </a:lnTo>
                <a:cubicBezTo>
                  <a:pt x="4552" y="8328454"/>
                  <a:pt x="0" y="8323902"/>
                  <a:pt x="0" y="8318287"/>
                </a:cubicBezTo>
                <a:lnTo>
                  <a:pt x="0" y="10167"/>
                </a:lnTo>
                <a:cubicBezTo>
                  <a:pt x="0" y="4552"/>
                  <a:pt x="4552" y="0"/>
                  <a:pt x="10168" y="0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effectLst>
            <a:outerShdw blurRad="127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01065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4B085EE-AE9A-4AC0-965E-A7A80F9D5D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59723" y="2100651"/>
            <a:ext cx="3739750" cy="55318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A9F24EE0-500A-47CF-8B73-54A1E6640D3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063259" y="6083549"/>
            <a:ext cx="3739750" cy="55318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552E6711-8459-469A-AD4D-98383C7ACAC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262640" y="2100649"/>
            <a:ext cx="5540369" cy="37339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3E1CE34-AA85-4E96-9262-CBA5463F341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259722" y="7881386"/>
            <a:ext cx="5540369" cy="37339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51713707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3772FE-827B-4E50-AF07-37B289588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8860" y="1954161"/>
            <a:ext cx="5012236" cy="55318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C90DCD91-7F02-4A72-8900-68821CA3910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89555" y="6230036"/>
            <a:ext cx="5012236" cy="55318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01451501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16837981-DE9B-4679-910E-913311741D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01210" y="2378676"/>
            <a:ext cx="13675361" cy="89586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67710957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11293F0F-DFA3-4C89-8840-B572DCF52F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38595983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8B49FDB8-EAEF-4B6C-A430-50AE9105DB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3186792" y="3212756"/>
            <a:ext cx="7549294" cy="74140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06313A21-3D9E-4E87-A0A0-FC4BE42E0E4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45256" y="3212756"/>
            <a:ext cx="7549294" cy="74140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2EB792F-ACD0-4C82-A841-D36E916A894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0609353" y="3212756"/>
            <a:ext cx="7549294" cy="74140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0850966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F49E69C-CC64-44D7-B911-2063F169C8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5363957"/>
            <a:ext cx="8012673" cy="31086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6831760-7537-4DB3-96FA-5A69DAC9CFA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85665" y="5363957"/>
            <a:ext cx="8012673" cy="31086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2BF6621-9CE6-4B2F-8502-E2248D830D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371328" y="5363957"/>
            <a:ext cx="8012673" cy="31086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C7237F73-6D70-429D-9DD8-2B6AF49BAB0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8646453"/>
            <a:ext cx="8012673" cy="31086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C10361EF-B1F1-46A8-8B84-32020E2668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5665" y="8646453"/>
            <a:ext cx="8012673" cy="31086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27D47AAC-3D9B-4F38-83E1-6299D9F5FC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371328" y="8646453"/>
            <a:ext cx="8012673" cy="31086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25193704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A72D8C4E-2C10-4119-99F8-EDFD3A17F29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36740" y="1"/>
            <a:ext cx="4497840" cy="4605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3171680E-7776-466C-A28B-C95B13E901C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36740" y="4735090"/>
            <a:ext cx="4497840" cy="4605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104082D2-1650-4EF4-8DBB-7FE44FC264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76254" y="-2302661"/>
            <a:ext cx="4497840" cy="4605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A4C95BD4-70BD-4C6B-909D-BA3051C600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76254" y="2432428"/>
            <a:ext cx="4497840" cy="4605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6701269-B15C-4EEB-B4D1-3F9495D054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76254" y="7193386"/>
            <a:ext cx="4497840" cy="4605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19855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4FFBA269-CE4D-44E7-96BB-8DB1FE7FB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078727"/>
            <a:ext cx="24384000" cy="75585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31126215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D26309D-C847-4502-AEEA-ABD5BFF648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30408" y="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6385B593-E62D-42AB-9F3F-CECA5143B7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09489" y="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CFA8685-5C8C-4BE7-AC2A-FB620852AD9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88569" y="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24EA3E5-E1B4-42F7-AFC5-EA06540BA5B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30408" y="457200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717F0B7-54F2-4078-B5E9-586DD237BFD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09489" y="457200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39DF3A9-86DF-40FB-B560-55CF2F7B612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488569" y="457200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1DA4BC06-A31B-4DD3-9831-E6FBD78E50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30408" y="914400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B42C7E43-765C-43AD-9876-E39A7FA78F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09489" y="914400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30D86CF8-9D28-4FB1-BBA5-13C9AEDEDBB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88569" y="9144000"/>
            <a:ext cx="457908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205050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7"/>
          <p:cNvSpPr>
            <a:spLocks noGrp="1"/>
          </p:cNvSpPr>
          <p:nvPr userDrawn="1">
            <p:ph type="pic" sz="quarter" idx="14"/>
          </p:nvPr>
        </p:nvSpPr>
        <p:spPr>
          <a:xfrm>
            <a:off x="0" y="1"/>
            <a:ext cx="24384000" cy="9090318"/>
          </a:xfrm>
          <a:noFill/>
          <a:ln>
            <a:noFill/>
          </a:ln>
          <a:effectLst>
            <a:outerShdw blurRad="1244600" dist="457200" dir="8460000" algn="tr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47DB-CF39-4949-BB30-DC9FAE67F510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1592578" y="1556105"/>
            <a:ext cx="7683812" cy="16338562"/>
          </a:xfrm>
          <a:custGeom>
            <a:avLst/>
            <a:gdLst>
              <a:gd name="connsiteX0" fmla="*/ 372089 w 3841906"/>
              <a:gd name="connsiteY0" fmla="*/ 0 h 8169281"/>
              <a:gd name="connsiteX1" fmla="*/ 3469817 w 3841906"/>
              <a:gd name="connsiteY1" fmla="*/ 0 h 8169281"/>
              <a:gd name="connsiteX2" fmla="*/ 3841906 w 3841906"/>
              <a:gd name="connsiteY2" fmla="*/ 372089 h 8169281"/>
              <a:gd name="connsiteX3" fmla="*/ 3841906 w 3841906"/>
              <a:gd name="connsiteY3" fmla="*/ 7797192 h 8169281"/>
              <a:gd name="connsiteX4" fmla="*/ 3469817 w 3841906"/>
              <a:gd name="connsiteY4" fmla="*/ 8169281 h 8169281"/>
              <a:gd name="connsiteX5" fmla="*/ 372089 w 3841906"/>
              <a:gd name="connsiteY5" fmla="*/ 8169281 h 8169281"/>
              <a:gd name="connsiteX6" fmla="*/ 0 w 3841906"/>
              <a:gd name="connsiteY6" fmla="*/ 7797192 h 8169281"/>
              <a:gd name="connsiteX7" fmla="*/ 0 w 3841906"/>
              <a:gd name="connsiteY7" fmla="*/ 372089 h 8169281"/>
              <a:gd name="connsiteX8" fmla="*/ 372089 w 3841906"/>
              <a:gd name="connsiteY8" fmla="*/ 0 h 8169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41906" h="8169281">
                <a:moveTo>
                  <a:pt x="372089" y="0"/>
                </a:moveTo>
                <a:lnTo>
                  <a:pt x="3469817" y="0"/>
                </a:lnTo>
                <a:cubicBezTo>
                  <a:pt x="3675316" y="0"/>
                  <a:pt x="3841906" y="166590"/>
                  <a:pt x="3841906" y="372089"/>
                </a:cubicBezTo>
                <a:lnTo>
                  <a:pt x="3841906" y="7797192"/>
                </a:lnTo>
                <a:cubicBezTo>
                  <a:pt x="3841906" y="8002691"/>
                  <a:pt x="3675316" y="8169281"/>
                  <a:pt x="3469817" y="8169281"/>
                </a:cubicBezTo>
                <a:lnTo>
                  <a:pt x="372089" y="8169281"/>
                </a:lnTo>
                <a:cubicBezTo>
                  <a:pt x="166590" y="8169281"/>
                  <a:pt x="0" y="8002691"/>
                  <a:pt x="0" y="7797192"/>
                </a:cubicBezTo>
                <a:lnTo>
                  <a:pt x="0" y="372089"/>
                </a:lnTo>
                <a:cubicBezTo>
                  <a:pt x="0" y="166590"/>
                  <a:pt x="166590" y="0"/>
                  <a:pt x="372089" y="0"/>
                </a:cubicBezTo>
                <a:close/>
              </a:path>
            </a:pathLst>
          </a:custGeom>
          <a:noFill/>
          <a:ln>
            <a:noFill/>
          </a:ln>
          <a:effectLst>
            <a:outerShdw blurRad="1244600" dist="457200" dir="8460000" algn="tr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1233422" y="1283483"/>
            <a:ext cx="8402132" cy="16846066"/>
            <a:chOff x="8726116" y="959059"/>
            <a:chExt cx="2450804" cy="4913811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6116" y="959059"/>
              <a:ext cx="2450804" cy="4913811"/>
            </a:xfrm>
            <a:prstGeom prst="rect">
              <a:avLst/>
            </a:prstGeom>
          </p:spPr>
        </p:pic>
        <p:grpSp>
          <p:nvGrpSpPr>
            <p:cNvPr id="45" name="Group 44"/>
            <p:cNvGrpSpPr/>
            <p:nvPr/>
          </p:nvGrpSpPr>
          <p:grpSpPr>
            <a:xfrm>
              <a:off x="9013329" y="1157946"/>
              <a:ext cx="281298" cy="50449"/>
              <a:chOff x="5050020" y="1151936"/>
              <a:chExt cx="306540" cy="54976"/>
            </a:xfrm>
          </p:grpSpPr>
          <p:sp>
            <p:nvSpPr>
              <p:cNvPr id="53" name="Oval 86"/>
              <p:cNvSpPr>
                <a:spLocks noChangeArrowheads="1"/>
              </p:cNvSpPr>
              <p:nvPr/>
            </p:nvSpPr>
            <p:spPr bwMode="auto">
              <a:xfrm>
                <a:off x="5050020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4" name="Oval 87"/>
              <p:cNvSpPr>
                <a:spLocks noChangeArrowheads="1"/>
              </p:cNvSpPr>
              <p:nvPr/>
            </p:nvSpPr>
            <p:spPr bwMode="auto">
              <a:xfrm>
                <a:off x="5091411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5" name="Oval 88"/>
              <p:cNvSpPr>
                <a:spLocks noChangeArrowheads="1"/>
              </p:cNvSpPr>
              <p:nvPr/>
            </p:nvSpPr>
            <p:spPr bwMode="auto">
              <a:xfrm>
                <a:off x="5132489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6" name="Oval 89"/>
              <p:cNvSpPr>
                <a:spLocks noChangeArrowheads="1"/>
              </p:cNvSpPr>
              <p:nvPr/>
            </p:nvSpPr>
            <p:spPr bwMode="auto">
              <a:xfrm>
                <a:off x="5173880" y="1162606"/>
                <a:ext cx="32366" cy="336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7" name="Freeform 90"/>
              <p:cNvSpPr>
                <a:spLocks noEditPoints="1"/>
              </p:cNvSpPr>
              <p:nvPr/>
            </p:nvSpPr>
            <p:spPr bwMode="auto">
              <a:xfrm>
                <a:off x="5214960" y="1162606"/>
                <a:ext cx="32366" cy="33633"/>
              </a:xfrm>
              <a:custGeom>
                <a:avLst/>
                <a:gdLst>
                  <a:gd name="T0" fmla="*/ 22 w 44"/>
                  <a:gd name="T1" fmla="*/ 4 h 44"/>
                  <a:gd name="T2" fmla="*/ 40 w 44"/>
                  <a:gd name="T3" fmla="*/ 22 h 44"/>
                  <a:gd name="T4" fmla="*/ 22 w 44"/>
                  <a:gd name="T5" fmla="*/ 40 h 44"/>
                  <a:gd name="T6" fmla="*/ 4 w 44"/>
                  <a:gd name="T7" fmla="*/ 22 h 44"/>
                  <a:gd name="T8" fmla="*/ 9 w 44"/>
                  <a:gd name="T9" fmla="*/ 9 h 44"/>
                  <a:gd name="T10" fmla="*/ 22 w 44"/>
                  <a:gd name="T11" fmla="*/ 4 h 44"/>
                  <a:gd name="T12" fmla="*/ 22 w 44"/>
                  <a:gd name="T13" fmla="*/ 0 h 44"/>
                  <a:gd name="T14" fmla="*/ 0 w 44"/>
                  <a:gd name="T15" fmla="*/ 22 h 44"/>
                  <a:gd name="T16" fmla="*/ 22 w 44"/>
                  <a:gd name="T17" fmla="*/ 44 h 44"/>
                  <a:gd name="T18" fmla="*/ 44 w 44"/>
                  <a:gd name="T19" fmla="*/ 22 h 44"/>
                  <a:gd name="T20" fmla="*/ 22 w 44"/>
                  <a:gd name="T21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44">
                    <a:moveTo>
                      <a:pt x="22" y="4"/>
                    </a:moveTo>
                    <a:cubicBezTo>
                      <a:pt x="32" y="4"/>
                      <a:pt x="40" y="12"/>
                      <a:pt x="40" y="22"/>
                    </a:cubicBezTo>
                    <a:cubicBezTo>
                      <a:pt x="40" y="32"/>
                      <a:pt x="32" y="40"/>
                      <a:pt x="22" y="40"/>
                    </a:cubicBezTo>
                    <a:cubicBezTo>
                      <a:pt x="12" y="40"/>
                      <a:pt x="4" y="32"/>
                      <a:pt x="4" y="22"/>
                    </a:cubicBezTo>
                    <a:cubicBezTo>
                      <a:pt x="4" y="17"/>
                      <a:pt x="6" y="13"/>
                      <a:pt x="9" y="9"/>
                    </a:cubicBezTo>
                    <a:cubicBezTo>
                      <a:pt x="13" y="6"/>
                      <a:pt x="17" y="4"/>
                      <a:pt x="22" y="4"/>
                    </a:cubicBezTo>
                    <a:moveTo>
                      <a:pt x="22" y="0"/>
                    </a:moveTo>
                    <a:cubicBezTo>
                      <a:pt x="10" y="0"/>
                      <a:pt x="0" y="10"/>
                      <a:pt x="0" y="22"/>
                    </a:cubicBezTo>
                    <a:cubicBezTo>
                      <a:pt x="0" y="34"/>
                      <a:pt x="10" y="44"/>
                      <a:pt x="22" y="44"/>
                    </a:cubicBez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8" name="Freeform 91"/>
              <p:cNvSpPr>
                <a:spLocks noEditPoints="1"/>
              </p:cNvSpPr>
              <p:nvPr/>
            </p:nvSpPr>
            <p:spPr bwMode="auto">
              <a:xfrm>
                <a:off x="5288094" y="1151936"/>
                <a:ext cx="68466" cy="54976"/>
              </a:xfrm>
              <a:custGeom>
                <a:avLst/>
                <a:gdLst>
                  <a:gd name="T0" fmla="*/ 46 w 93"/>
                  <a:gd name="T1" fmla="*/ 48 h 72"/>
                  <a:gd name="T2" fmla="*/ 30 w 93"/>
                  <a:gd name="T3" fmla="*/ 54 h 72"/>
                  <a:gd name="T4" fmla="*/ 46 w 93"/>
                  <a:gd name="T5" fmla="*/ 72 h 72"/>
                  <a:gd name="T6" fmla="*/ 62 w 93"/>
                  <a:gd name="T7" fmla="*/ 54 h 72"/>
                  <a:gd name="T8" fmla="*/ 46 w 93"/>
                  <a:gd name="T9" fmla="*/ 48 h 72"/>
                  <a:gd name="T10" fmla="*/ 47 w 93"/>
                  <a:gd name="T11" fmla="*/ 12 h 72"/>
                  <a:gd name="T12" fmla="*/ 86 w 93"/>
                  <a:gd name="T13" fmla="*/ 27 h 72"/>
                  <a:gd name="T14" fmla="*/ 93 w 93"/>
                  <a:gd name="T15" fmla="*/ 19 h 72"/>
                  <a:gd name="T16" fmla="*/ 47 w 93"/>
                  <a:gd name="T17" fmla="*/ 0 h 72"/>
                  <a:gd name="T18" fmla="*/ 0 w 93"/>
                  <a:gd name="T19" fmla="*/ 19 h 72"/>
                  <a:gd name="T20" fmla="*/ 7 w 93"/>
                  <a:gd name="T21" fmla="*/ 27 h 72"/>
                  <a:gd name="T22" fmla="*/ 47 w 93"/>
                  <a:gd name="T23" fmla="*/ 12 h 72"/>
                  <a:gd name="T24" fmla="*/ 46 w 93"/>
                  <a:gd name="T25" fmla="*/ 36 h 72"/>
                  <a:gd name="T26" fmla="*/ 70 w 93"/>
                  <a:gd name="T27" fmla="*/ 45 h 72"/>
                  <a:gd name="T28" fmla="*/ 78 w 93"/>
                  <a:gd name="T29" fmla="*/ 36 h 72"/>
                  <a:gd name="T30" fmla="*/ 46 w 93"/>
                  <a:gd name="T31" fmla="*/ 24 h 72"/>
                  <a:gd name="T32" fmla="*/ 15 w 93"/>
                  <a:gd name="T33" fmla="*/ 36 h 72"/>
                  <a:gd name="T34" fmla="*/ 23 w 93"/>
                  <a:gd name="T35" fmla="*/ 45 h 72"/>
                  <a:gd name="T36" fmla="*/ 46 w 93"/>
                  <a:gd name="T37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3" h="72">
                    <a:moveTo>
                      <a:pt x="46" y="48"/>
                    </a:moveTo>
                    <a:cubicBezTo>
                      <a:pt x="40" y="48"/>
                      <a:pt x="34" y="51"/>
                      <a:pt x="30" y="54"/>
                    </a:cubicBezTo>
                    <a:cubicBezTo>
                      <a:pt x="46" y="72"/>
                      <a:pt x="46" y="72"/>
                      <a:pt x="46" y="72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58" y="51"/>
                      <a:pt x="52" y="48"/>
                      <a:pt x="46" y="48"/>
                    </a:cubicBezTo>
                    <a:close/>
                    <a:moveTo>
                      <a:pt x="47" y="12"/>
                    </a:moveTo>
                    <a:cubicBezTo>
                      <a:pt x="62" y="12"/>
                      <a:pt x="75" y="18"/>
                      <a:pt x="86" y="27"/>
                    </a:cubicBezTo>
                    <a:cubicBezTo>
                      <a:pt x="93" y="19"/>
                      <a:pt x="93" y="19"/>
                      <a:pt x="93" y="19"/>
                    </a:cubicBezTo>
                    <a:cubicBezTo>
                      <a:pt x="81" y="8"/>
                      <a:pt x="64" y="0"/>
                      <a:pt x="47" y="0"/>
                    </a:cubicBezTo>
                    <a:cubicBezTo>
                      <a:pt x="29" y="0"/>
                      <a:pt x="12" y="8"/>
                      <a:pt x="0" y="19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8" y="18"/>
                      <a:pt x="32" y="12"/>
                      <a:pt x="47" y="12"/>
                    </a:cubicBezTo>
                    <a:close/>
                    <a:moveTo>
                      <a:pt x="46" y="36"/>
                    </a:moveTo>
                    <a:cubicBezTo>
                      <a:pt x="55" y="36"/>
                      <a:pt x="64" y="40"/>
                      <a:pt x="70" y="45"/>
                    </a:cubicBezTo>
                    <a:cubicBezTo>
                      <a:pt x="78" y="36"/>
                      <a:pt x="78" y="36"/>
                      <a:pt x="78" y="36"/>
                    </a:cubicBezTo>
                    <a:cubicBezTo>
                      <a:pt x="69" y="29"/>
                      <a:pt x="58" y="24"/>
                      <a:pt x="46" y="24"/>
                    </a:cubicBezTo>
                    <a:cubicBezTo>
                      <a:pt x="34" y="24"/>
                      <a:pt x="23" y="29"/>
                      <a:pt x="15" y="36"/>
                    </a:cubicBezTo>
                    <a:cubicBezTo>
                      <a:pt x="23" y="45"/>
                      <a:pt x="23" y="45"/>
                      <a:pt x="23" y="45"/>
                    </a:cubicBezTo>
                    <a:cubicBezTo>
                      <a:pt x="29" y="40"/>
                      <a:pt x="37" y="36"/>
                      <a:pt x="46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10615472" y="1132313"/>
              <a:ext cx="279675" cy="64231"/>
              <a:chOff x="6777604" y="1126614"/>
              <a:chExt cx="409473" cy="94041"/>
            </a:xfrm>
          </p:grpSpPr>
          <p:sp>
            <p:nvSpPr>
              <p:cNvPr id="47" name="Freeform 92"/>
              <p:cNvSpPr>
                <a:spLocks noEditPoints="1"/>
              </p:cNvSpPr>
              <p:nvPr/>
            </p:nvSpPr>
            <p:spPr bwMode="auto">
              <a:xfrm>
                <a:off x="6777604" y="1138191"/>
                <a:ext cx="46992" cy="82464"/>
              </a:xfrm>
              <a:custGeom>
                <a:avLst/>
                <a:gdLst>
                  <a:gd name="T0" fmla="*/ 90 w 151"/>
                  <a:gd name="T1" fmla="*/ 213 h 255"/>
                  <a:gd name="T2" fmla="*/ 90 w 151"/>
                  <a:gd name="T3" fmla="*/ 144 h 255"/>
                  <a:gd name="T4" fmla="*/ 123 w 151"/>
                  <a:gd name="T5" fmla="*/ 180 h 255"/>
                  <a:gd name="T6" fmla="*/ 90 w 151"/>
                  <a:gd name="T7" fmla="*/ 213 h 255"/>
                  <a:gd name="T8" fmla="*/ 90 w 151"/>
                  <a:gd name="T9" fmla="*/ 111 h 255"/>
                  <a:gd name="T10" fmla="*/ 90 w 151"/>
                  <a:gd name="T11" fmla="*/ 45 h 255"/>
                  <a:gd name="T12" fmla="*/ 125 w 151"/>
                  <a:gd name="T13" fmla="*/ 76 h 255"/>
                  <a:gd name="T14" fmla="*/ 90 w 151"/>
                  <a:gd name="T15" fmla="*/ 111 h 255"/>
                  <a:gd name="T16" fmla="*/ 71 w 151"/>
                  <a:gd name="T17" fmla="*/ 0 h 255"/>
                  <a:gd name="T18" fmla="*/ 68 w 151"/>
                  <a:gd name="T19" fmla="*/ 0 h 255"/>
                  <a:gd name="T20" fmla="*/ 68 w 151"/>
                  <a:gd name="T21" fmla="*/ 104 h 255"/>
                  <a:gd name="T22" fmla="*/ 16 w 151"/>
                  <a:gd name="T23" fmla="*/ 50 h 255"/>
                  <a:gd name="T24" fmla="*/ 0 w 151"/>
                  <a:gd name="T25" fmla="*/ 66 h 255"/>
                  <a:gd name="T26" fmla="*/ 66 w 151"/>
                  <a:gd name="T27" fmla="*/ 128 h 255"/>
                  <a:gd name="T28" fmla="*/ 0 w 151"/>
                  <a:gd name="T29" fmla="*/ 189 h 255"/>
                  <a:gd name="T30" fmla="*/ 16 w 151"/>
                  <a:gd name="T31" fmla="*/ 206 h 255"/>
                  <a:gd name="T32" fmla="*/ 68 w 151"/>
                  <a:gd name="T33" fmla="*/ 151 h 255"/>
                  <a:gd name="T34" fmla="*/ 68 w 151"/>
                  <a:gd name="T35" fmla="*/ 255 h 255"/>
                  <a:gd name="T36" fmla="*/ 73 w 151"/>
                  <a:gd name="T37" fmla="*/ 255 h 255"/>
                  <a:gd name="T38" fmla="*/ 151 w 151"/>
                  <a:gd name="T39" fmla="*/ 180 h 255"/>
                  <a:gd name="T40" fmla="*/ 97 w 151"/>
                  <a:gd name="T41" fmla="*/ 128 h 255"/>
                  <a:gd name="T42" fmla="*/ 151 w 151"/>
                  <a:gd name="T43" fmla="*/ 76 h 255"/>
                  <a:gd name="T44" fmla="*/ 71 w 151"/>
                  <a:gd name="T45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1" h="255">
                    <a:moveTo>
                      <a:pt x="90" y="213"/>
                    </a:moveTo>
                    <a:lnTo>
                      <a:pt x="90" y="144"/>
                    </a:lnTo>
                    <a:lnTo>
                      <a:pt x="123" y="180"/>
                    </a:lnTo>
                    <a:lnTo>
                      <a:pt x="90" y="213"/>
                    </a:lnTo>
                    <a:close/>
                    <a:moveTo>
                      <a:pt x="90" y="111"/>
                    </a:moveTo>
                    <a:lnTo>
                      <a:pt x="90" y="45"/>
                    </a:lnTo>
                    <a:lnTo>
                      <a:pt x="125" y="76"/>
                    </a:lnTo>
                    <a:lnTo>
                      <a:pt x="90" y="111"/>
                    </a:lnTo>
                    <a:close/>
                    <a:moveTo>
                      <a:pt x="71" y="0"/>
                    </a:moveTo>
                    <a:lnTo>
                      <a:pt x="68" y="0"/>
                    </a:lnTo>
                    <a:lnTo>
                      <a:pt x="68" y="104"/>
                    </a:lnTo>
                    <a:lnTo>
                      <a:pt x="16" y="50"/>
                    </a:lnTo>
                    <a:lnTo>
                      <a:pt x="0" y="66"/>
                    </a:lnTo>
                    <a:lnTo>
                      <a:pt x="66" y="128"/>
                    </a:lnTo>
                    <a:lnTo>
                      <a:pt x="0" y="189"/>
                    </a:lnTo>
                    <a:lnTo>
                      <a:pt x="16" y="206"/>
                    </a:lnTo>
                    <a:lnTo>
                      <a:pt x="68" y="151"/>
                    </a:lnTo>
                    <a:lnTo>
                      <a:pt x="68" y="255"/>
                    </a:lnTo>
                    <a:lnTo>
                      <a:pt x="73" y="255"/>
                    </a:lnTo>
                    <a:lnTo>
                      <a:pt x="151" y="180"/>
                    </a:lnTo>
                    <a:lnTo>
                      <a:pt x="97" y="128"/>
                    </a:lnTo>
                    <a:lnTo>
                      <a:pt x="151" y="7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8" name="Freeform 93"/>
              <p:cNvSpPr>
                <a:spLocks noEditPoints="1"/>
              </p:cNvSpPr>
              <p:nvPr/>
            </p:nvSpPr>
            <p:spPr bwMode="auto">
              <a:xfrm>
                <a:off x="6777604" y="1138191"/>
                <a:ext cx="46992" cy="82464"/>
              </a:xfrm>
              <a:custGeom>
                <a:avLst/>
                <a:gdLst>
                  <a:gd name="T0" fmla="*/ 90 w 151"/>
                  <a:gd name="T1" fmla="*/ 213 h 255"/>
                  <a:gd name="T2" fmla="*/ 90 w 151"/>
                  <a:gd name="T3" fmla="*/ 144 h 255"/>
                  <a:gd name="T4" fmla="*/ 123 w 151"/>
                  <a:gd name="T5" fmla="*/ 180 h 255"/>
                  <a:gd name="T6" fmla="*/ 90 w 151"/>
                  <a:gd name="T7" fmla="*/ 213 h 255"/>
                  <a:gd name="T8" fmla="*/ 90 w 151"/>
                  <a:gd name="T9" fmla="*/ 111 h 255"/>
                  <a:gd name="T10" fmla="*/ 90 w 151"/>
                  <a:gd name="T11" fmla="*/ 45 h 255"/>
                  <a:gd name="T12" fmla="*/ 125 w 151"/>
                  <a:gd name="T13" fmla="*/ 76 h 255"/>
                  <a:gd name="T14" fmla="*/ 90 w 151"/>
                  <a:gd name="T15" fmla="*/ 111 h 255"/>
                  <a:gd name="T16" fmla="*/ 71 w 151"/>
                  <a:gd name="T17" fmla="*/ 0 h 255"/>
                  <a:gd name="T18" fmla="*/ 68 w 151"/>
                  <a:gd name="T19" fmla="*/ 0 h 255"/>
                  <a:gd name="T20" fmla="*/ 68 w 151"/>
                  <a:gd name="T21" fmla="*/ 104 h 255"/>
                  <a:gd name="T22" fmla="*/ 16 w 151"/>
                  <a:gd name="T23" fmla="*/ 50 h 255"/>
                  <a:gd name="T24" fmla="*/ 0 w 151"/>
                  <a:gd name="T25" fmla="*/ 66 h 255"/>
                  <a:gd name="T26" fmla="*/ 66 w 151"/>
                  <a:gd name="T27" fmla="*/ 128 h 255"/>
                  <a:gd name="T28" fmla="*/ 0 w 151"/>
                  <a:gd name="T29" fmla="*/ 189 h 255"/>
                  <a:gd name="T30" fmla="*/ 16 w 151"/>
                  <a:gd name="T31" fmla="*/ 206 h 255"/>
                  <a:gd name="T32" fmla="*/ 68 w 151"/>
                  <a:gd name="T33" fmla="*/ 151 h 255"/>
                  <a:gd name="T34" fmla="*/ 68 w 151"/>
                  <a:gd name="T35" fmla="*/ 255 h 255"/>
                  <a:gd name="T36" fmla="*/ 73 w 151"/>
                  <a:gd name="T37" fmla="*/ 255 h 255"/>
                  <a:gd name="T38" fmla="*/ 151 w 151"/>
                  <a:gd name="T39" fmla="*/ 180 h 255"/>
                  <a:gd name="T40" fmla="*/ 97 w 151"/>
                  <a:gd name="T41" fmla="*/ 128 h 255"/>
                  <a:gd name="T42" fmla="*/ 151 w 151"/>
                  <a:gd name="T43" fmla="*/ 76 h 255"/>
                  <a:gd name="T44" fmla="*/ 71 w 151"/>
                  <a:gd name="T45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1" h="255">
                    <a:moveTo>
                      <a:pt x="90" y="213"/>
                    </a:moveTo>
                    <a:lnTo>
                      <a:pt x="90" y="144"/>
                    </a:lnTo>
                    <a:lnTo>
                      <a:pt x="123" y="180"/>
                    </a:lnTo>
                    <a:lnTo>
                      <a:pt x="90" y="213"/>
                    </a:lnTo>
                    <a:moveTo>
                      <a:pt x="90" y="111"/>
                    </a:moveTo>
                    <a:lnTo>
                      <a:pt x="90" y="45"/>
                    </a:lnTo>
                    <a:lnTo>
                      <a:pt x="125" y="76"/>
                    </a:lnTo>
                    <a:lnTo>
                      <a:pt x="90" y="111"/>
                    </a:lnTo>
                    <a:moveTo>
                      <a:pt x="71" y="0"/>
                    </a:moveTo>
                    <a:lnTo>
                      <a:pt x="68" y="0"/>
                    </a:lnTo>
                    <a:lnTo>
                      <a:pt x="68" y="104"/>
                    </a:lnTo>
                    <a:lnTo>
                      <a:pt x="16" y="50"/>
                    </a:lnTo>
                    <a:lnTo>
                      <a:pt x="0" y="66"/>
                    </a:lnTo>
                    <a:lnTo>
                      <a:pt x="66" y="128"/>
                    </a:lnTo>
                    <a:lnTo>
                      <a:pt x="0" y="189"/>
                    </a:lnTo>
                    <a:lnTo>
                      <a:pt x="16" y="206"/>
                    </a:lnTo>
                    <a:lnTo>
                      <a:pt x="68" y="151"/>
                    </a:lnTo>
                    <a:lnTo>
                      <a:pt x="68" y="255"/>
                    </a:lnTo>
                    <a:lnTo>
                      <a:pt x="73" y="255"/>
                    </a:lnTo>
                    <a:lnTo>
                      <a:pt x="151" y="180"/>
                    </a:lnTo>
                    <a:lnTo>
                      <a:pt x="97" y="128"/>
                    </a:lnTo>
                    <a:lnTo>
                      <a:pt x="151" y="76"/>
                    </a:lnTo>
                    <a:lnTo>
                      <a:pt x="71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9" name="Freeform 94"/>
              <p:cNvSpPr>
                <a:spLocks/>
              </p:cNvSpPr>
              <p:nvPr/>
            </p:nvSpPr>
            <p:spPr bwMode="auto">
              <a:xfrm>
                <a:off x="7178363" y="1168752"/>
                <a:ext cx="8714" cy="21343"/>
              </a:xfrm>
              <a:custGeom>
                <a:avLst/>
                <a:gdLst>
                  <a:gd name="T0" fmla="*/ 4 w 12"/>
                  <a:gd name="T1" fmla="*/ 28 h 28"/>
                  <a:gd name="T2" fmla="*/ 12 w 12"/>
                  <a:gd name="T3" fmla="*/ 19 h 28"/>
                  <a:gd name="T4" fmla="*/ 12 w 12"/>
                  <a:gd name="T5" fmla="*/ 9 h 28"/>
                  <a:gd name="T6" fmla="*/ 4 w 12"/>
                  <a:gd name="T7" fmla="*/ 0 h 28"/>
                  <a:gd name="T8" fmla="*/ 0 w 12"/>
                  <a:gd name="T9" fmla="*/ 0 h 28"/>
                  <a:gd name="T10" fmla="*/ 0 w 12"/>
                  <a:gd name="T11" fmla="*/ 28 h 28"/>
                  <a:gd name="T12" fmla="*/ 4 w 12"/>
                  <a:gd name="T13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8">
                    <a:moveTo>
                      <a:pt x="4" y="28"/>
                    </a:moveTo>
                    <a:cubicBezTo>
                      <a:pt x="8" y="28"/>
                      <a:pt x="12" y="24"/>
                      <a:pt x="12" y="1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4"/>
                      <a:pt x="8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4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0" name="Rectangle 95"/>
              <p:cNvSpPr>
                <a:spLocks noChangeArrowheads="1"/>
              </p:cNvSpPr>
              <p:nvPr/>
            </p:nvSpPr>
            <p:spPr bwMode="auto">
              <a:xfrm>
                <a:off x="7048901" y="1156463"/>
                <a:ext cx="41080" cy="4592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1" name="Freeform 96"/>
              <p:cNvSpPr>
                <a:spLocks noEditPoints="1"/>
              </p:cNvSpPr>
              <p:nvPr/>
            </p:nvSpPr>
            <p:spPr bwMode="auto">
              <a:xfrm>
                <a:off x="7042988" y="1150319"/>
                <a:ext cx="132264" cy="58210"/>
              </a:xfrm>
              <a:custGeom>
                <a:avLst/>
                <a:gdLst>
                  <a:gd name="T0" fmla="*/ 170 w 180"/>
                  <a:gd name="T1" fmla="*/ 4 h 76"/>
                  <a:gd name="T2" fmla="*/ 176 w 180"/>
                  <a:gd name="T3" fmla="*/ 10 h 76"/>
                  <a:gd name="T4" fmla="*/ 176 w 180"/>
                  <a:gd name="T5" fmla="*/ 66 h 76"/>
                  <a:gd name="T6" fmla="*/ 170 w 180"/>
                  <a:gd name="T7" fmla="*/ 72 h 76"/>
                  <a:gd name="T8" fmla="*/ 10 w 180"/>
                  <a:gd name="T9" fmla="*/ 72 h 76"/>
                  <a:gd name="T10" fmla="*/ 4 w 180"/>
                  <a:gd name="T11" fmla="*/ 66 h 76"/>
                  <a:gd name="T12" fmla="*/ 4 w 180"/>
                  <a:gd name="T13" fmla="*/ 10 h 76"/>
                  <a:gd name="T14" fmla="*/ 10 w 180"/>
                  <a:gd name="T15" fmla="*/ 4 h 76"/>
                  <a:gd name="T16" fmla="*/ 170 w 180"/>
                  <a:gd name="T17" fmla="*/ 4 h 76"/>
                  <a:gd name="T18" fmla="*/ 170 w 180"/>
                  <a:gd name="T19" fmla="*/ 0 h 76"/>
                  <a:gd name="T20" fmla="*/ 10 w 180"/>
                  <a:gd name="T21" fmla="*/ 0 h 76"/>
                  <a:gd name="T22" fmla="*/ 0 w 180"/>
                  <a:gd name="T23" fmla="*/ 10 h 76"/>
                  <a:gd name="T24" fmla="*/ 0 w 180"/>
                  <a:gd name="T25" fmla="*/ 66 h 76"/>
                  <a:gd name="T26" fmla="*/ 10 w 180"/>
                  <a:gd name="T27" fmla="*/ 76 h 76"/>
                  <a:gd name="T28" fmla="*/ 170 w 180"/>
                  <a:gd name="T29" fmla="*/ 76 h 76"/>
                  <a:gd name="T30" fmla="*/ 180 w 180"/>
                  <a:gd name="T31" fmla="*/ 66 h 76"/>
                  <a:gd name="T32" fmla="*/ 180 w 180"/>
                  <a:gd name="T33" fmla="*/ 10 h 76"/>
                  <a:gd name="T34" fmla="*/ 170 w 180"/>
                  <a:gd name="T3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0" h="76">
                    <a:moveTo>
                      <a:pt x="170" y="4"/>
                    </a:moveTo>
                    <a:cubicBezTo>
                      <a:pt x="173" y="4"/>
                      <a:pt x="176" y="7"/>
                      <a:pt x="176" y="10"/>
                    </a:cubicBezTo>
                    <a:cubicBezTo>
                      <a:pt x="176" y="66"/>
                      <a:pt x="176" y="66"/>
                      <a:pt x="176" y="66"/>
                    </a:cubicBezTo>
                    <a:cubicBezTo>
                      <a:pt x="176" y="69"/>
                      <a:pt x="173" y="72"/>
                      <a:pt x="170" y="72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7" y="72"/>
                      <a:pt x="4" y="69"/>
                      <a:pt x="4" y="6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7"/>
                      <a:pt x="7" y="4"/>
                      <a:pt x="10" y="4"/>
                    </a:cubicBezTo>
                    <a:cubicBezTo>
                      <a:pt x="170" y="4"/>
                      <a:pt x="170" y="4"/>
                      <a:pt x="170" y="4"/>
                    </a:cubicBezTo>
                    <a:moveTo>
                      <a:pt x="170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71"/>
                      <a:pt x="4" y="76"/>
                      <a:pt x="10" y="76"/>
                    </a:cubicBezTo>
                    <a:cubicBezTo>
                      <a:pt x="170" y="76"/>
                      <a:pt x="170" y="76"/>
                      <a:pt x="170" y="76"/>
                    </a:cubicBezTo>
                    <a:cubicBezTo>
                      <a:pt x="176" y="76"/>
                      <a:pt x="180" y="71"/>
                      <a:pt x="180" y="66"/>
                    </a:cubicBezTo>
                    <a:cubicBezTo>
                      <a:pt x="180" y="10"/>
                      <a:pt x="180" y="10"/>
                      <a:pt x="180" y="10"/>
                    </a:cubicBezTo>
                    <a:cubicBezTo>
                      <a:pt x="180" y="5"/>
                      <a:pt x="176" y="0"/>
                      <a:pt x="1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2" name="Rectangle 97"/>
              <p:cNvSpPr>
                <a:spLocks noChangeArrowheads="1"/>
              </p:cNvSpPr>
              <p:nvPr/>
            </p:nvSpPr>
            <p:spPr bwMode="auto">
              <a:xfrm>
                <a:off x="6853739" y="1126614"/>
                <a:ext cx="174465" cy="6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828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b="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+mj-lt"/>
                  </a:rPr>
                  <a:t>22%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03976752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AE263F5-EDD2-4206-9289-BAE007BF90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53613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BEC8AFD-5701-45B8-A5D7-26F91C058ED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74505" y="1253613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5A3C08-BE15-425A-B2E6-F5F40D2BF7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49009" y="1253613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E013F5D-46FB-4496-94F7-FC557257A3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623514" y="1253613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7171AAE6-9238-41C2-9B14-ACE6A39E9C4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9498018" y="1253613"/>
            <a:ext cx="4885982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50AA84DB-058A-43E8-8F39-CCE6772DAD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4664178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1AC43C5C-B5E4-464E-AC48-3360B5DF14F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74505" y="4664178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0FFD3D0F-C816-4CF3-9847-71460898ED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749009" y="4664178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B6DE33AC-4F61-4D11-98EC-4DCA308F6A0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4623514" y="4664178"/>
            <a:ext cx="4874504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9CB89555-A056-4D63-BDFF-8ED4FCA5BE1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9498018" y="4664178"/>
            <a:ext cx="4885982" cy="34105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05405147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47E148BB-A2D0-42EB-8FCB-D00364EF9ED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11082" y="3889888"/>
            <a:ext cx="20361836" cy="59362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32646414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3CF2C8D-9263-415F-9430-406F87287A57}"/>
              </a:ext>
            </a:extLst>
          </p:cNvPr>
          <p:cNvSpPr/>
          <p:nvPr userDrawn="1"/>
        </p:nvSpPr>
        <p:spPr>
          <a:xfrm>
            <a:off x="0" y="7152967"/>
            <a:ext cx="24384000" cy="6563033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25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0EB342C-D6A0-4354-A664-0A6ABDF7D73C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E7B0C8C-2F04-4674-9843-AADE65EF5D08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1" name="Freeform 85">
                <a:extLst>
                  <a:ext uri="{FF2B5EF4-FFF2-40B4-BE49-F238E27FC236}">
                    <a16:creationId xmlns:a16="http://schemas.microsoft.com/office/drawing/2014/main" id="{C291DDF4-6C04-4321-951F-C62B54C1087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>
                  <a:lumMod val="95000"/>
                  <a:alpha val="35000"/>
                </a:schemeClr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2843ADC3-A3E9-4CF5-8CBB-680398480BA8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B7CB7AD-0724-4099-A96F-C67B9C009C0E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19" name="Freeform 75">
                <a:extLst>
                  <a:ext uri="{FF2B5EF4-FFF2-40B4-BE49-F238E27FC236}">
                    <a16:creationId xmlns:a16="http://schemas.microsoft.com/office/drawing/2014/main" id="{E39F4BA0-BE88-4414-AC20-8227CF4A003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>
                  <a:lumMod val="95000"/>
                  <a:alpha val="35000"/>
                </a:schemeClr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E5BCB56-A93D-48D9-A5FB-EB4C2C0228B8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413F4BF-597E-4313-BA25-2EA6124F3CB1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17" name="Freeform 74">
                <a:extLst>
                  <a:ext uri="{FF2B5EF4-FFF2-40B4-BE49-F238E27FC236}">
                    <a16:creationId xmlns:a16="http://schemas.microsoft.com/office/drawing/2014/main" id="{2EBCF942-4473-4043-821F-E1CA33ADF9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35000"/>
                </a:schemeClr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9E318427-7413-4714-A241-71B9A9698EF6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18A6137-6E0A-4090-A04C-0FFE1A38BB32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DB26EF8-13E0-4629-9D55-1BED49443017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AFE5AE95-A47E-491C-AF1D-2F96D4D8BEC5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1AC5CB0F-75A3-4F89-85D5-1227D757FF08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5" name="Freeform 5">
                    <a:extLst>
                      <a:ext uri="{FF2B5EF4-FFF2-40B4-BE49-F238E27FC236}">
                        <a16:creationId xmlns:a16="http://schemas.microsoft.com/office/drawing/2014/main" id="{9F7008CC-1B53-4678-9DFA-AC7B2DEB6F2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16" name="Freeform 10">
                    <a:extLst>
                      <a:ext uri="{FF2B5EF4-FFF2-40B4-BE49-F238E27FC236}">
                        <a16:creationId xmlns:a16="http://schemas.microsoft.com/office/drawing/2014/main" id="{FCC7B82B-C87C-4DB0-A9AF-D7DF022DC0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DD4C74E0-6C8D-4EB6-9112-0C3BED9D16BC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F356BD7-BA02-4055-9C3F-A20DDFFC3719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25475C96-994E-4895-B8B0-3276AC7F0C18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1C329E23-5BC2-4131-859F-FC8631E12E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0909B57-06A1-4330-AA4C-0326EC370F51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D2D0826-3F39-4514-AD59-B535B4FA9885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29" name="Freeform 62">
                <a:extLst>
                  <a:ext uri="{FF2B5EF4-FFF2-40B4-BE49-F238E27FC236}">
                    <a16:creationId xmlns:a16="http://schemas.microsoft.com/office/drawing/2014/main" id="{F9B8C527-1B54-4D4E-B337-1C637F497F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42BB232-A004-4F18-9AF0-DCA7F537EEB3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21DFEC7-D356-4FBC-BCA4-8A1A4A2E6483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4C10FB0-7C05-4365-A3B3-E0DFA1F586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46406" y="1875694"/>
            <a:ext cx="7422540" cy="9964618"/>
          </a:xfrm>
          <a:custGeom>
            <a:avLst/>
            <a:gdLst>
              <a:gd name="connsiteX0" fmla="*/ 73755 w 5928851"/>
              <a:gd name="connsiteY0" fmla="*/ 0 h 7197213"/>
              <a:gd name="connsiteX1" fmla="*/ 5855097 w 5928851"/>
              <a:gd name="connsiteY1" fmla="*/ 0 h 7197213"/>
              <a:gd name="connsiteX2" fmla="*/ 5928851 w 5928851"/>
              <a:gd name="connsiteY2" fmla="*/ 73755 h 7197213"/>
              <a:gd name="connsiteX3" fmla="*/ 5928851 w 5928851"/>
              <a:gd name="connsiteY3" fmla="*/ 7123458 h 7197213"/>
              <a:gd name="connsiteX4" fmla="*/ 5855097 w 5928851"/>
              <a:gd name="connsiteY4" fmla="*/ 7197213 h 7197213"/>
              <a:gd name="connsiteX5" fmla="*/ 73755 w 5928851"/>
              <a:gd name="connsiteY5" fmla="*/ 7197213 h 7197213"/>
              <a:gd name="connsiteX6" fmla="*/ 0 w 5928851"/>
              <a:gd name="connsiteY6" fmla="*/ 7123458 h 7197213"/>
              <a:gd name="connsiteX7" fmla="*/ 0 w 5928851"/>
              <a:gd name="connsiteY7" fmla="*/ 73755 h 7197213"/>
              <a:gd name="connsiteX8" fmla="*/ 73755 w 5928851"/>
              <a:gd name="connsiteY8" fmla="*/ 0 h 719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28851" h="7197213">
                <a:moveTo>
                  <a:pt x="73755" y="0"/>
                </a:moveTo>
                <a:lnTo>
                  <a:pt x="5855097" y="0"/>
                </a:lnTo>
                <a:cubicBezTo>
                  <a:pt x="5895830" y="0"/>
                  <a:pt x="5928851" y="33021"/>
                  <a:pt x="5928851" y="73755"/>
                </a:cubicBezTo>
                <a:lnTo>
                  <a:pt x="5928851" y="7123458"/>
                </a:lnTo>
                <a:cubicBezTo>
                  <a:pt x="5928851" y="7164192"/>
                  <a:pt x="5895830" y="7197213"/>
                  <a:pt x="5855097" y="7197213"/>
                </a:cubicBezTo>
                <a:lnTo>
                  <a:pt x="73755" y="7197213"/>
                </a:lnTo>
                <a:cubicBezTo>
                  <a:pt x="33021" y="7197213"/>
                  <a:pt x="0" y="7164192"/>
                  <a:pt x="0" y="7123458"/>
                </a:cubicBezTo>
                <a:lnTo>
                  <a:pt x="0" y="73755"/>
                </a:lnTo>
                <a:cubicBezTo>
                  <a:pt x="0" y="33021"/>
                  <a:pt x="33021" y="0"/>
                  <a:pt x="7375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dist="1828800" dir="5400000" sx="80000" sy="80000" algn="t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1875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</p:bldLst>
      </p:timing>
    </mc:Fallback>
  </mc:AlternateConten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D3D1425B-961E-45CB-A8B3-2953667370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18329" y="6271055"/>
            <a:ext cx="5380021" cy="744494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1FCE703-60CD-4B7A-AD18-ADFA3CCDEC0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501990" y="556055"/>
            <a:ext cx="5380021" cy="744494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1270000" dist="1524000" dir="5400000" sx="80000" sy="8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53BEBBAE-7BB7-4800-A410-951849FB33B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785650" y="3521676"/>
            <a:ext cx="5380021" cy="74449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5869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66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6667">
                                          <p:cBhvr additive="base">
                                            <p:cTn id="7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6667">
                                          <p:cBhvr additive="base">
                                            <p:cTn id="8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 p14:presetBounceEnd="66667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6667">
                                          <p:cBhvr additive="base">
                                            <p:cTn id="11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6667">
                                          <p:cBhvr additive="base">
                                            <p:cTn id="12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66667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6667">
                                          <p:cBhvr additive="base">
                                            <p:cTn id="15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6667">
                                          <p:cBhvr additive="base">
                                            <p:cTn id="16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</p:bldLst>
      </p:timing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28D264C-CEE8-4B80-AD1F-979B6CB997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275450" y="2461138"/>
            <a:ext cx="4108549" cy="8793726"/>
          </a:xfrm>
          <a:prstGeom prst="rect">
            <a:avLst/>
          </a:prstGeom>
          <a:solidFill>
            <a:schemeClr val="bg1">
              <a:lumMod val="95000"/>
              <a:alpha val="33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ECE8CC2D-D334-457D-BDF9-766ACB3A72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6175466" y="2461138"/>
            <a:ext cx="4108549" cy="8793726"/>
          </a:xfrm>
          <a:prstGeom prst="rect">
            <a:avLst/>
          </a:prstGeom>
          <a:solidFill>
            <a:schemeClr val="bg1">
              <a:lumMod val="95000"/>
              <a:alpha val="33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310162-9C6C-4B27-8D20-1ADD52C3F1A5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93B29F-B894-4713-8C9E-1445948884F5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40453F-B6CD-49DB-8B42-9437732154E7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01B7DD-620C-41A8-A057-A5A520C1B7F4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72787E1-988F-4C5F-8784-8FDBB39E19DB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9430314-6BB9-43A2-9D37-4E640E442526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5" name="Freeform 85">
                <a:extLst>
                  <a:ext uri="{FF2B5EF4-FFF2-40B4-BE49-F238E27FC236}">
                    <a16:creationId xmlns:a16="http://schemas.microsoft.com/office/drawing/2014/main" id="{2548BCCF-76B0-486D-BC11-5086F4D6657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D28DD5D4-D512-447A-BF3A-A707A9DB060F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4B49914-4CED-4E66-9A47-7AC057B91273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23" name="Freeform 75">
                <a:extLst>
                  <a:ext uri="{FF2B5EF4-FFF2-40B4-BE49-F238E27FC236}">
                    <a16:creationId xmlns:a16="http://schemas.microsoft.com/office/drawing/2014/main" id="{5AB8E44E-88FA-4E3A-810C-E0B6531AF5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CC6CA52-56B7-418B-9675-E994F68BFDFC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25A8B9D-316C-4AEF-A141-6AD5AD20250D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21" name="Freeform 74">
                <a:extLst>
                  <a:ext uri="{FF2B5EF4-FFF2-40B4-BE49-F238E27FC236}">
                    <a16:creationId xmlns:a16="http://schemas.microsoft.com/office/drawing/2014/main" id="{9F8A98FF-5AC8-4576-AB72-622CC6A6DF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D7E984E-2E46-4D4A-836D-B5F5FBEA3042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0DC55A2-3290-4EB0-A828-13E64C08D856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EDC5C353-57E1-4768-9B2E-4D55ED6E72E6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E8309DB8-9F29-41D0-960F-3AC0F8387774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AFDDB71F-771F-4E24-B537-F9A7412362AD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9" name="Freeform 5">
                    <a:extLst>
                      <a:ext uri="{FF2B5EF4-FFF2-40B4-BE49-F238E27FC236}">
                        <a16:creationId xmlns:a16="http://schemas.microsoft.com/office/drawing/2014/main" id="{4BA84E0C-22F2-4961-9C2A-0516BE4D8AA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20" name="Freeform 10">
                    <a:extLst>
                      <a:ext uri="{FF2B5EF4-FFF2-40B4-BE49-F238E27FC236}">
                        <a16:creationId xmlns:a16="http://schemas.microsoft.com/office/drawing/2014/main" id="{E0BBC98B-5E6B-452E-9AAB-18B4BFEC1E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238AD614-9D0F-4A5E-A722-97CE99BCDB5F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78CF84B-7906-4D6A-9A1C-9D532D5BA83F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9" name="Rectangle: Top Corners Rounded 8">
              <a:extLst>
                <a:ext uri="{FF2B5EF4-FFF2-40B4-BE49-F238E27FC236}">
                  <a16:creationId xmlns:a16="http://schemas.microsoft.com/office/drawing/2014/main" id="{AB07E3B6-8127-429B-8499-50EB23EB2781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1478D7D-E476-4F4B-A9E8-C6B1B3879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D251E3D-F45E-47DA-B277-A9E85CF3B77D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A8E7902-A498-438F-A755-474FC8AAA40F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30" name="Freeform 62">
                <a:extLst>
                  <a:ext uri="{FF2B5EF4-FFF2-40B4-BE49-F238E27FC236}">
                    <a16:creationId xmlns:a16="http://schemas.microsoft.com/office/drawing/2014/main" id="{60384D21-EEC9-4A06-8307-51AB723565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284B168-BBAB-4456-8D1F-C1DEE7E87D0B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AEA83C2-3B29-42C6-B84B-3EE8243005C3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5B367A03-F3DE-4CCD-87DD-01DC66FAEF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209322" y="1524978"/>
            <a:ext cx="4966144" cy="10666045"/>
          </a:xfrm>
          <a:prstGeom prst="rect">
            <a:avLst/>
          </a:prstGeom>
          <a:solidFill>
            <a:schemeClr val="bg1">
              <a:lumMod val="95000"/>
              <a:alpha val="71000"/>
            </a:schemeClr>
          </a:solidFill>
          <a:effectLst>
            <a:outerShdw blurRad="1270000" dist="457200" sx="95000" sy="950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8886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5" grpId="0" animBg="1"/>
          <p:bldP spid="36" grpId="0" animBg="1"/>
          <p:bldP spid="3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5" grpId="0" animBg="1"/>
          <p:bldP spid="36" grpId="0" animBg="1"/>
          <p:bldP spid="37" grpId="0" animBg="1"/>
        </p:bldLst>
      </p:timing>
    </mc:Fallback>
  </mc:AlternateConten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A7D1E114-A503-40E4-871A-4E067DE1A5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568571" y="-1054584"/>
            <a:ext cx="4468296" cy="518131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B6780BD0-4E48-429B-9BDA-3D30DADFAC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518136" y="4208861"/>
            <a:ext cx="4569165" cy="529828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F10324B1-5A8A-47DB-BE94-CAADE87CDAF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568571" y="9589271"/>
            <a:ext cx="4468296" cy="518131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5FBB324-9A7B-4C0C-AEC3-F69D51073F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923099" y="1606380"/>
            <a:ext cx="4468296" cy="518131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653B5314-28FE-42E1-9E0F-0BF15B6B7B6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923099" y="6928307"/>
            <a:ext cx="4468296" cy="518131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11657356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B46109D-A24B-4637-8471-EDD1CC34D1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645" y="6606095"/>
            <a:ext cx="3450370" cy="408691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1D0123A6-7BBF-48FE-8F06-30A2602ED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47515" y="6486944"/>
            <a:ext cx="7464031" cy="632418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1270000" dist="774700" dir="5400000" sx="90000" sy="9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FCF2CB58-FE86-4229-A28C-7B4B50F66E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73051" y="6606095"/>
            <a:ext cx="3450370" cy="408691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00BB52CD-DEB7-46BA-A878-7E97F52D92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6185518" y="6606095"/>
            <a:ext cx="3450370" cy="408691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2C31B82D-C74B-4F27-A209-E6910A3001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9997987" y="6606095"/>
            <a:ext cx="3450370" cy="408691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08CFDF-F7D6-4937-B1FA-B9FFACD1CA18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4CBC92-2D51-4D2A-B44F-2562FDB98F87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CAF769-3415-4FF7-8A55-F21BA4424878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B44281-212B-47E3-9FF4-419C5B623C69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4DAE845-65F5-4A02-B2A4-B025C907F89D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BE2464A-6E67-4DBC-AEC5-3D92BF2C297D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1" name="Freeform 85">
                <a:extLst>
                  <a:ext uri="{FF2B5EF4-FFF2-40B4-BE49-F238E27FC236}">
                    <a16:creationId xmlns:a16="http://schemas.microsoft.com/office/drawing/2014/main" id="{708F01B8-4D43-442A-B960-5791324092B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D5AFD382-371C-4616-9EB2-B2670DDE9E94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64F852D-15B0-4685-AF65-9FCC6A98D19F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19" name="Freeform 75">
                <a:extLst>
                  <a:ext uri="{FF2B5EF4-FFF2-40B4-BE49-F238E27FC236}">
                    <a16:creationId xmlns:a16="http://schemas.microsoft.com/office/drawing/2014/main" id="{3B837ACD-D96B-41EC-AB65-BDB1F9E4E14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A5666479-B005-4BE0-809A-092D8DD56034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B96C569-8D21-46B9-9901-C774F2FE4CE4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17" name="Freeform 74">
                <a:extLst>
                  <a:ext uri="{FF2B5EF4-FFF2-40B4-BE49-F238E27FC236}">
                    <a16:creationId xmlns:a16="http://schemas.microsoft.com/office/drawing/2014/main" id="{04296C4D-293C-4437-A25C-ECC4C5445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EA68529C-D63B-4A7D-B898-F1D6CD308362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A223A60-91EE-4A17-BD3F-C68197C20C40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E10546F-64FD-40A1-A5FE-4D548BE73FD0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2DA4148B-DD35-46AF-A94F-3955F11FB9DB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8D0AC5A2-EC9D-4C1B-9404-07EFD43F9633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5" name="Freeform 5">
                    <a:extLst>
                      <a:ext uri="{FF2B5EF4-FFF2-40B4-BE49-F238E27FC236}">
                        <a16:creationId xmlns:a16="http://schemas.microsoft.com/office/drawing/2014/main" id="{76CBA85F-C0F6-49F8-92C1-D2F92DBE218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16" name="Freeform 10">
                    <a:extLst>
                      <a:ext uri="{FF2B5EF4-FFF2-40B4-BE49-F238E27FC236}">
                        <a16:creationId xmlns:a16="http://schemas.microsoft.com/office/drawing/2014/main" id="{174674F6-5496-419B-AD6C-CA56FFDD206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F111C116-88A5-462F-B4C3-C29E33EE3EDE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245F644-6CD1-49CD-881D-4243FB6540D7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F25287B6-DD81-4F61-B62B-E6771A7B7374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88733F62-FAC2-45A9-B9A5-22ACA7F49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0153E8F-8BE7-4B55-95A4-220D977E85A3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72E8F16-9CD5-4C50-9A14-FC2E0FB724CE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29" name="Freeform 62">
                <a:extLst>
                  <a:ext uri="{FF2B5EF4-FFF2-40B4-BE49-F238E27FC236}">
                    <a16:creationId xmlns:a16="http://schemas.microsoft.com/office/drawing/2014/main" id="{C16AF630-8EF6-4AB0-A410-B6B21C27A3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DB423AD5-3BAE-4AD5-85CB-B1161677CDB6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4E8910E-5ED7-4BD0-BE44-2521602AB137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321468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0000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50000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50000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50000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6" grpId="0" animBg="1"/>
          <p:bldP spid="37" grpId="0" animBg="1"/>
          <p:bldP spid="38" grpId="0" animBg="1"/>
          <p:bldP spid="39" grpId="0" animBg="1"/>
          <p:bldP spid="4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6" grpId="0" animBg="1"/>
          <p:bldP spid="37" grpId="0" animBg="1"/>
          <p:bldP spid="38" grpId="0" animBg="1"/>
          <p:bldP spid="39" grpId="0" animBg="1"/>
          <p:bldP spid="40" grpId="0" animBg="1"/>
        </p:bldLst>
      </p:timing>
    </mc:Fallback>
  </mc:AlternateConten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AEB52F1-811D-43C4-9511-73EB801347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042520" y="2163527"/>
            <a:ext cx="10716134" cy="463903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5754267-8E58-4C5D-9BD3-7A67DEA26B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907150" y="2163527"/>
            <a:ext cx="5812785" cy="649684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0389DA95-C7F6-4D83-B579-D687484D9E3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042523" y="6913435"/>
            <a:ext cx="3473046" cy="46390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96722FF-3D64-4632-9C27-1C33E0A481E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64066" y="6913435"/>
            <a:ext cx="3473046" cy="46390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03DCFFE4-07F5-42E1-A4FA-976177E5E8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85609" y="6913435"/>
            <a:ext cx="3473046" cy="46390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3D5E25D-B94D-473B-A238-9523E0C3A74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868434" y="6913435"/>
            <a:ext cx="3473046" cy="46390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455B8270-3391-4FBA-B529-5DDAF14668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8868434" y="2163526"/>
            <a:ext cx="3473046" cy="46390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83EB8791-86DA-4676-A1CB-AD7421A2EDC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907152" y="8780722"/>
            <a:ext cx="5812783" cy="27717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50749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1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0229A95B-5366-461E-BF3C-7C687F8B19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56384" y="2000294"/>
            <a:ext cx="9158160" cy="387635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A052FD7A-D6CB-4C9C-A2E8-207B669476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56385" y="5966912"/>
            <a:ext cx="4114984" cy="574879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DB76C6ED-DB7A-4DC8-9809-E7F9A341E7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9299" y="5966910"/>
            <a:ext cx="4925245" cy="281159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C69C58F-75D5-458D-9574-16AAD6E10C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89299" y="8904116"/>
            <a:ext cx="4925245" cy="2811593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37172532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8C84F2C1-2345-4017-B6C7-F37A15DBEE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6888" y="3058066"/>
            <a:ext cx="4560332" cy="308877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4" name="Picture Placeholder 3">
            <a:extLst>
              <a:ext uri="{FF2B5EF4-FFF2-40B4-BE49-F238E27FC236}">
                <a16:creationId xmlns:a16="http://schemas.microsoft.com/office/drawing/2014/main" id="{CD2F09AE-9905-4273-9C1A-1F944B2D72D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54180" y="3058066"/>
            <a:ext cx="4560332" cy="308877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5" name="Picture Placeholder 3">
            <a:extLst>
              <a:ext uri="{FF2B5EF4-FFF2-40B4-BE49-F238E27FC236}">
                <a16:creationId xmlns:a16="http://schemas.microsoft.com/office/drawing/2014/main" id="{5291FA71-D625-4A69-B834-C847240E34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75534" y="8209511"/>
            <a:ext cx="4560332" cy="308877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76D4960-C4A6-40C5-A257-F69E4B1A172A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AF7997-804D-4F09-87DB-3B775498A878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alpha val="87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84C5F6-F72A-4103-B597-FA56B8FF6661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29C574B-F4AE-4BC6-9013-CFC1F1879B55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A119BBB-A288-4BCF-B129-76242C81A4DC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B03009D-7500-4485-86DC-60344B9809CD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50" name="Freeform 85">
                <a:extLst>
                  <a:ext uri="{FF2B5EF4-FFF2-40B4-BE49-F238E27FC236}">
                    <a16:creationId xmlns:a16="http://schemas.microsoft.com/office/drawing/2014/main" id="{CBF45B34-DFBC-42E0-AE6B-D48A099E92D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12A1EC68-E690-44B3-8B69-85BF76015FF0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194E263-90FD-480E-BDC1-61EAEA81D15F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48" name="Freeform 75">
                <a:extLst>
                  <a:ext uri="{FF2B5EF4-FFF2-40B4-BE49-F238E27FC236}">
                    <a16:creationId xmlns:a16="http://schemas.microsoft.com/office/drawing/2014/main" id="{F919ED68-B5F2-4E2F-976C-C9ECCCC98F8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63C9932D-AA4D-40D8-9501-A20E185FC89A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EFC7221-3787-492D-8639-4AEE77D9FDF3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46" name="Freeform 74">
                <a:extLst>
                  <a:ext uri="{FF2B5EF4-FFF2-40B4-BE49-F238E27FC236}">
                    <a16:creationId xmlns:a16="http://schemas.microsoft.com/office/drawing/2014/main" id="{FB644CFE-A9DE-42FA-95A2-CC8DD5A311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D048ED3-D596-4153-8783-30CED9F4689A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0935799-FA4D-4F75-BFC5-8009A33F1227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DEDB5C6A-5F80-4AF8-9D04-145F09CEAB74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1D8D36D9-405C-44A1-94D9-5C6D1F775EB5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7806B5EC-0331-43D5-A93C-E8498CA1DB96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44" name="Freeform 5">
                    <a:extLst>
                      <a:ext uri="{FF2B5EF4-FFF2-40B4-BE49-F238E27FC236}">
                        <a16:creationId xmlns:a16="http://schemas.microsoft.com/office/drawing/2014/main" id="{47ACEA74-B3B9-41B6-8037-3A38DA6F5FA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45" name="Freeform 10">
                    <a:extLst>
                      <a:ext uri="{FF2B5EF4-FFF2-40B4-BE49-F238E27FC236}">
                        <a16:creationId xmlns:a16="http://schemas.microsoft.com/office/drawing/2014/main" id="{58A68291-F798-4993-BFD3-D7400AB636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24BDDA01-87B9-42E8-A7FE-BBDDE62386A2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A66D998-16BD-4B3A-9735-1F4E69BCBF32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53" name="Rectangle: Top Corners Rounded 52">
              <a:extLst>
                <a:ext uri="{FF2B5EF4-FFF2-40B4-BE49-F238E27FC236}">
                  <a16:creationId xmlns:a16="http://schemas.microsoft.com/office/drawing/2014/main" id="{4DEE174B-7117-4665-B121-59565E9DB509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404425F5-F236-46B3-9E28-AA6108ED3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4C84496-F59B-4D7A-858B-1794B70EA490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C26EF1A-9301-4FF7-AC94-62B6F1A6D604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58" name="Freeform 62">
                <a:extLst>
                  <a:ext uri="{FF2B5EF4-FFF2-40B4-BE49-F238E27FC236}">
                    <a16:creationId xmlns:a16="http://schemas.microsoft.com/office/drawing/2014/main" id="{CB054894-D29C-4001-89CF-9C15F45EEC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960DB08E-F9B4-46F3-B966-F7266AB5490A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71067A6-C48F-43F1-9E62-536446BCD29A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338817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3" grpId="0" animBg="1"/>
          <p:bldP spid="64" grpId="0" animBg="1"/>
          <p:bldP spid="6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3" grpId="0" animBg="1"/>
          <p:bldP spid="64" grpId="0" animBg="1"/>
          <p:bldP spid="65" grpId="0" animBg="1"/>
        </p:bldLst>
      </p:timing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099597" y="927024"/>
            <a:ext cx="22184802" cy="11861952"/>
          </a:xfrm>
          <a:solidFill>
            <a:schemeClr val="bg1"/>
          </a:solidFill>
          <a:ln>
            <a:noFill/>
          </a:ln>
          <a:effectLst>
            <a:outerShdw blurRad="1244600" dist="457200" dir="8460000" algn="tr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47DB-CF39-4949-BB30-DC9FAE67F510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99841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5F3F9B09-A082-4318-8512-5BE98AD742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454193" y="0"/>
            <a:ext cx="10791674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D61FA960-8C8E-412D-AF1E-0FE4FB2B79A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906401" y="3893344"/>
            <a:ext cx="5884098" cy="378993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81DE461-9097-401F-B632-73F811FB1860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85000"/>
                    <a:alpha val="6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85000"/>
                  <a:alpha val="6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89C06D-6653-4E5E-8B4D-D0EE17AD303E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655450-D0BC-4320-8622-9EA588296710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tx1">
                    <a:lumMod val="65000"/>
                    <a:lumOff val="3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tx1">
                  <a:lumMod val="65000"/>
                  <a:lumOff val="3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4FE9C6-379D-4C6B-A299-869DEFEC061C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A185479-21E0-480C-A11D-64C70C619DA5}"/>
              </a:ext>
            </a:extLst>
          </p:cNvPr>
          <p:cNvGrpSpPr/>
          <p:nvPr userDrawn="1"/>
        </p:nvGrpSpPr>
        <p:grpSpPr>
          <a:xfrm>
            <a:off x="19540081" y="12305298"/>
            <a:ext cx="3724881" cy="488970"/>
            <a:chOff x="16061023" y="9902075"/>
            <a:chExt cx="2522168" cy="33160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9CCDD87-BB1B-4836-B88D-81603C907CE1}"/>
                </a:ext>
              </a:extLst>
            </p:cNvPr>
            <p:cNvGrpSpPr/>
            <p:nvPr userDrawn="1"/>
          </p:nvGrpSpPr>
          <p:grpSpPr>
            <a:xfrm>
              <a:off x="16061023" y="9902075"/>
              <a:ext cx="1960657" cy="331601"/>
              <a:chOff x="11556938" y="7296986"/>
              <a:chExt cx="2013012" cy="340456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657D358A-F088-47A0-BEE3-9E02721D356D}"/>
                  </a:ext>
                </a:extLst>
              </p:cNvPr>
              <p:cNvGrpSpPr/>
              <p:nvPr/>
            </p:nvGrpSpPr>
            <p:grpSpPr>
              <a:xfrm>
                <a:off x="12114457" y="7296986"/>
                <a:ext cx="340456" cy="340456"/>
                <a:chOff x="12097470" y="7200012"/>
                <a:chExt cx="495300" cy="495300"/>
              </a:xfrm>
            </p:grpSpPr>
            <p:sp>
              <p:nvSpPr>
                <p:cNvPr id="25" name="Freeform 85">
                  <a:extLst>
                    <a:ext uri="{FF2B5EF4-FFF2-40B4-BE49-F238E27FC236}">
                      <a16:creationId xmlns:a16="http://schemas.microsoft.com/office/drawing/2014/main" id="{308B33C6-24EE-45D0-AE17-02AC854AA341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12232137" y="7356848"/>
                  <a:ext cx="225966" cy="181629"/>
                </a:xfrm>
                <a:custGeom>
                  <a:avLst/>
                  <a:gdLst>
                    <a:gd name="T0" fmla="*/ 250282 w 462"/>
                    <a:gd name="T1" fmla="*/ 24258 h 374"/>
                    <a:gd name="T2" fmla="*/ 250282 w 462"/>
                    <a:gd name="T3" fmla="*/ 24258 h 374"/>
                    <a:gd name="T4" fmla="*/ 221508 w 462"/>
                    <a:gd name="T5" fmla="*/ 33962 h 374"/>
                    <a:gd name="T6" fmla="*/ 240510 w 462"/>
                    <a:gd name="T7" fmla="*/ 5391 h 374"/>
                    <a:gd name="T8" fmla="*/ 211192 w 462"/>
                    <a:gd name="T9" fmla="*/ 19407 h 374"/>
                    <a:gd name="T10" fmla="*/ 173189 w 462"/>
                    <a:gd name="T11" fmla="*/ 0 h 374"/>
                    <a:gd name="T12" fmla="*/ 119983 w 462"/>
                    <a:gd name="T13" fmla="*/ 52829 h 374"/>
                    <a:gd name="T14" fmla="*/ 124870 w 462"/>
                    <a:gd name="T15" fmla="*/ 62532 h 374"/>
                    <a:gd name="T16" fmla="*/ 19002 w 462"/>
                    <a:gd name="T17" fmla="*/ 10242 h 374"/>
                    <a:gd name="T18" fmla="*/ 9229 w 462"/>
                    <a:gd name="T19" fmla="*/ 38813 h 374"/>
                    <a:gd name="T20" fmla="*/ 33118 w 462"/>
                    <a:gd name="T21" fmla="*/ 81400 h 374"/>
                    <a:gd name="T22" fmla="*/ 9229 w 462"/>
                    <a:gd name="T23" fmla="*/ 72236 h 374"/>
                    <a:gd name="T24" fmla="*/ 9229 w 462"/>
                    <a:gd name="T25" fmla="*/ 72236 h 374"/>
                    <a:gd name="T26" fmla="*/ 53205 w 462"/>
                    <a:gd name="T27" fmla="*/ 124526 h 374"/>
                    <a:gd name="T28" fmla="*/ 38004 w 462"/>
                    <a:gd name="T29" fmla="*/ 124526 h 374"/>
                    <a:gd name="T30" fmla="*/ 28774 w 462"/>
                    <a:gd name="T31" fmla="*/ 124526 h 374"/>
                    <a:gd name="T32" fmla="*/ 77093 w 462"/>
                    <a:gd name="T33" fmla="*/ 158487 h 374"/>
                    <a:gd name="T34" fmla="*/ 14116 w 462"/>
                    <a:gd name="T35" fmla="*/ 182206 h 374"/>
                    <a:gd name="T36" fmla="*/ 0 w 462"/>
                    <a:gd name="T37" fmla="*/ 182206 h 374"/>
                    <a:gd name="T38" fmla="*/ 77093 w 462"/>
                    <a:gd name="T39" fmla="*/ 201074 h 374"/>
                    <a:gd name="T40" fmla="*/ 221508 w 462"/>
                    <a:gd name="T41" fmla="*/ 57681 h 374"/>
                    <a:gd name="T42" fmla="*/ 221508 w 462"/>
                    <a:gd name="T43" fmla="*/ 52829 h 374"/>
                    <a:gd name="T44" fmla="*/ 250282 w 462"/>
                    <a:gd name="T45" fmla="*/ 24258 h 37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462" h="374">
                      <a:moveTo>
                        <a:pt x="461" y="45"/>
                      </a:moveTo>
                      <a:lnTo>
                        <a:pt x="461" y="45"/>
                      </a:lnTo>
                      <a:cubicBezTo>
                        <a:pt x="443" y="54"/>
                        <a:pt x="425" y="63"/>
                        <a:pt x="408" y="63"/>
                      </a:cubicBezTo>
                      <a:cubicBezTo>
                        <a:pt x="425" y="54"/>
                        <a:pt x="443" y="36"/>
                        <a:pt x="443" y="10"/>
                      </a:cubicBezTo>
                      <a:cubicBezTo>
                        <a:pt x="425" y="19"/>
                        <a:pt x="408" y="27"/>
                        <a:pt x="389" y="36"/>
                      </a:cubicBezTo>
                      <a:cubicBezTo>
                        <a:pt x="372" y="19"/>
                        <a:pt x="345" y="0"/>
                        <a:pt x="319" y="0"/>
                      </a:cubicBezTo>
                      <a:cubicBezTo>
                        <a:pt x="265" y="0"/>
                        <a:pt x="221" y="45"/>
                        <a:pt x="221" y="98"/>
                      </a:cubicBezTo>
                      <a:cubicBezTo>
                        <a:pt x="221" y="107"/>
                        <a:pt x="221" y="116"/>
                        <a:pt x="230" y="116"/>
                      </a:cubicBezTo>
                      <a:cubicBezTo>
                        <a:pt x="151" y="116"/>
                        <a:pt x="79" y="81"/>
                        <a:pt x="35" y="19"/>
                      </a:cubicBezTo>
                      <a:cubicBezTo>
                        <a:pt x="26" y="36"/>
                        <a:pt x="17" y="54"/>
                        <a:pt x="17" y="72"/>
                      </a:cubicBezTo>
                      <a:cubicBezTo>
                        <a:pt x="17" y="98"/>
                        <a:pt x="35" y="134"/>
                        <a:pt x="61" y="151"/>
                      </a:cubicBezTo>
                      <a:cubicBezTo>
                        <a:pt x="44" y="143"/>
                        <a:pt x="35" y="143"/>
                        <a:pt x="17" y="134"/>
                      </a:cubicBezTo>
                      <a:cubicBezTo>
                        <a:pt x="17" y="178"/>
                        <a:pt x="53" y="222"/>
                        <a:pt x="98" y="231"/>
                      </a:cubicBezTo>
                      <a:cubicBezTo>
                        <a:pt x="89" y="231"/>
                        <a:pt x="79" y="231"/>
                        <a:pt x="70" y="231"/>
                      </a:cubicBezTo>
                      <a:cubicBezTo>
                        <a:pt x="61" y="231"/>
                        <a:pt x="61" y="231"/>
                        <a:pt x="53" y="231"/>
                      </a:cubicBezTo>
                      <a:cubicBezTo>
                        <a:pt x="61" y="266"/>
                        <a:pt x="98" y="294"/>
                        <a:pt x="142" y="294"/>
                      </a:cubicBezTo>
                      <a:cubicBezTo>
                        <a:pt x="106" y="319"/>
                        <a:pt x="70" y="338"/>
                        <a:pt x="26" y="338"/>
                      </a:cubicBezTo>
                      <a:cubicBezTo>
                        <a:pt x="17" y="338"/>
                        <a:pt x="8" y="338"/>
                        <a:pt x="0" y="338"/>
                      </a:cubicBezTo>
                      <a:cubicBezTo>
                        <a:pt x="44" y="364"/>
                        <a:pt x="89" y="373"/>
                        <a:pt x="142" y="373"/>
                      </a:cubicBezTo>
                      <a:cubicBezTo>
                        <a:pt x="319" y="373"/>
                        <a:pt x="408" y="231"/>
                        <a:pt x="408" y="107"/>
                      </a:cubicBezTo>
                      <a:lnTo>
                        <a:pt x="408" y="98"/>
                      </a:lnTo>
                      <a:cubicBezTo>
                        <a:pt x="434" y="81"/>
                        <a:pt x="443" y="72"/>
                        <a:pt x="461" y="45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>
                    <a:solidFill>
                      <a:schemeClr val="bg1">
                        <a:lumMod val="85000"/>
                      </a:schemeClr>
                    </a:solidFill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ABE7B712-37BC-4134-9D36-AF2087D2E79C}"/>
                    </a:ext>
                  </a:extLst>
                </p:cNvPr>
                <p:cNvSpPr/>
                <p:nvPr/>
              </p:nvSpPr>
              <p:spPr>
                <a:xfrm>
                  <a:off x="12097470" y="7200012"/>
                  <a:ext cx="495300" cy="49530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86D55966-FD78-407F-BB86-7678D7CCAF1D}"/>
                  </a:ext>
                </a:extLst>
              </p:cNvPr>
              <p:cNvGrpSpPr/>
              <p:nvPr/>
            </p:nvGrpSpPr>
            <p:grpSpPr>
              <a:xfrm>
                <a:off x="12671975" y="7296986"/>
                <a:ext cx="340456" cy="340456"/>
                <a:chOff x="12898290" y="7257882"/>
                <a:chExt cx="379560" cy="379560"/>
              </a:xfrm>
            </p:grpSpPr>
            <p:sp>
              <p:nvSpPr>
                <p:cNvPr id="23" name="Freeform 75">
                  <a:extLst>
                    <a:ext uri="{FF2B5EF4-FFF2-40B4-BE49-F238E27FC236}">
                      <a16:creationId xmlns:a16="http://schemas.microsoft.com/office/drawing/2014/main" id="{320FDAB1-6006-4679-BDFA-08E57699E8EE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13042040" y="7362177"/>
                  <a:ext cx="92061" cy="170970"/>
                </a:xfrm>
                <a:custGeom>
                  <a:avLst/>
                  <a:gdLst>
                    <a:gd name="T0" fmla="*/ 132814 w 249"/>
                    <a:gd name="T1" fmla="*/ 43735 h 453"/>
                    <a:gd name="T2" fmla="*/ 132814 w 249"/>
                    <a:gd name="T3" fmla="*/ 43735 h 453"/>
                    <a:gd name="T4" fmla="*/ 94791 w 249"/>
                    <a:gd name="T5" fmla="*/ 43735 h 453"/>
                    <a:gd name="T6" fmla="*/ 85687 w 249"/>
                    <a:gd name="T7" fmla="*/ 58496 h 453"/>
                    <a:gd name="T8" fmla="*/ 85687 w 249"/>
                    <a:gd name="T9" fmla="*/ 87470 h 453"/>
                    <a:gd name="T10" fmla="*/ 132814 w 249"/>
                    <a:gd name="T11" fmla="*/ 87470 h 453"/>
                    <a:gd name="T12" fmla="*/ 132814 w 249"/>
                    <a:gd name="T13" fmla="*/ 126285 h 453"/>
                    <a:gd name="T14" fmla="*/ 85687 w 249"/>
                    <a:gd name="T15" fmla="*/ 126285 h 453"/>
                    <a:gd name="T16" fmla="*/ 85687 w 249"/>
                    <a:gd name="T17" fmla="*/ 247103 h 453"/>
                    <a:gd name="T18" fmla="*/ 42308 w 249"/>
                    <a:gd name="T19" fmla="*/ 247103 h 453"/>
                    <a:gd name="T20" fmla="*/ 42308 w 249"/>
                    <a:gd name="T21" fmla="*/ 126285 h 453"/>
                    <a:gd name="T22" fmla="*/ 0 w 249"/>
                    <a:gd name="T23" fmla="*/ 126285 h 453"/>
                    <a:gd name="T24" fmla="*/ 0 w 249"/>
                    <a:gd name="T25" fmla="*/ 87470 h 453"/>
                    <a:gd name="T26" fmla="*/ 42308 w 249"/>
                    <a:gd name="T27" fmla="*/ 87470 h 453"/>
                    <a:gd name="T28" fmla="*/ 42308 w 249"/>
                    <a:gd name="T29" fmla="*/ 63416 h 453"/>
                    <a:gd name="T30" fmla="*/ 94791 w 249"/>
                    <a:gd name="T31" fmla="*/ 0 h 453"/>
                    <a:gd name="T32" fmla="*/ 132814 w 249"/>
                    <a:gd name="T33" fmla="*/ 0 h 453"/>
                    <a:gd name="T34" fmla="*/ 132814 w 249"/>
                    <a:gd name="T35" fmla="*/ 43735 h 45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49" h="453">
                      <a:moveTo>
                        <a:pt x="248" y="80"/>
                      </a:moveTo>
                      <a:lnTo>
                        <a:pt x="248" y="80"/>
                      </a:lnTo>
                      <a:cubicBezTo>
                        <a:pt x="177" y="80"/>
                        <a:pt x="177" y="80"/>
                        <a:pt x="177" y="80"/>
                      </a:cubicBezTo>
                      <a:cubicBezTo>
                        <a:pt x="169" y="80"/>
                        <a:pt x="160" y="89"/>
                        <a:pt x="160" y="107"/>
                      </a:cubicBezTo>
                      <a:cubicBezTo>
                        <a:pt x="160" y="160"/>
                        <a:pt x="160" y="160"/>
                        <a:pt x="160" y="160"/>
                      </a:cubicBezTo>
                      <a:cubicBezTo>
                        <a:pt x="248" y="160"/>
                        <a:pt x="248" y="160"/>
                        <a:pt x="248" y="160"/>
                      </a:cubicBezTo>
                      <a:cubicBezTo>
                        <a:pt x="248" y="231"/>
                        <a:pt x="248" y="231"/>
                        <a:pt x="248" y="231"/>
                      </a:cubicBezTo>
                      <a:cubicBezTo>
                        <a:pt x="160" y="231"/>
                        <a:pt x="160" y="231"/>
                        <a:pt x="160" y="231"/>
                      </a:cubicBezTo>
                      <a:cubicBezTo>
                        <a:pt x="160" y="452"/>
                        <a:pt x="160" y="452"/>
                        <a:pt x="160" y="452"/>
                      </a:cubicBezTo>
                      <a:cubicBezTo>
                        <a:pt x="79" y="452"/>
                        <a:pt x="79" y="452"/>
                        <a:pt x="79" y="452"/>
                      </a:cubicBezTo>
                      <a:cubicBezTo>
                        <a:pt x="79" y="231"/>
                        <a:pt x="79" y="231"/>
                        <a:pt x="79" y="231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160"/>
                        <a:pt x="0" y="160"/>
                        <a:pt x="0" y="160"/>
                      </a:cubicBezTo>
                      <a:cubicBezTo>
                        <a:pt x="79" y="160"/>
                        <a:pt x="79" y="160"/>
                        <a:pt x="79" y="160"/>
                      </a:cubicBezTo>
                      <a:cubicBezTo>
                        <a:pt x="79" y="116"/>
                        <a:pt x="79" y="116"/>
                        <a:pt x="79" y="116"/>
                      </a:cubicBezTo>
                      <a:cubicBezTo>
                        <a:pt x="79" y="54"/>
                        <a:pt x="115" y="0"/>
                        <a:pt x="177" y="0"/>
                      </a:cubicBezTo>
                      <a:cubicBezTo>
                        <a:pt x="248" y="0"/>
                        <a:pt x="248" y="0"/>
                        <a:pt x="248" y="0"/>
                      </a:cubicBezTo>
                      <a:lnTo>
                        <a:pt x="248" y="8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>
                    <a:solidFill>
                      <a:schemeClr val="bg1">
                        <a:lumMod val="85000"/>
                      </a:schemeClr>
                    </a:solidFill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CD4FDB83-6B97-4961-A666-C08AA457F32E}"/>
                    </a:ext>
                  </a:extLst>
                </p:cNvPr>
                <p:cNvSpPr/>
                <p:nvPr/>
              </p:nvSpPr>
              <p:spPr>
                <a:xfrm>
                  <a:off x="12898290" y="7257882"/>
                  <a:ext cx="379560" cy="37956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953B8FCB-D06B-47BF-9C73-27AB69477ADE}"/>
                  </a:ext>
                </a:extLst>
              </p:cNvPr>
              <p:cNvGrpSpPr/>
              <p:nvPr/>
            </p:nvGrpSpPr>
            <p:grpSpPr>
              <a:xfrm>
                <a:off x="13229494" y="7296986"/>
                <a:ext cx="340456" cy="340456"/>
                <a:chOff x="13421600" y="7257882"/>
                <a:chExt cx="379560" cy="379560"/>
              </a:xfrm>
            </p:grpSpPr>
            <p:sp>
              <p:nvSpPr>
                <p:cNvPr id="21" name="Freeform 74">
                  <a:extLst>
                    <a:ext uri="{FF2B5EF4-FFF2-40B4-BE49-F238E27FC236}">
                      <a16:creationId xmlns:a16="http://schemas.microsoft.com/office/drawing/2014/main" id="{593845BA-75E6-4B20-A343-86108258C4C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16515" y="7354045"/>
                  <a:ext cx="189730" cy="187234"/>
                </a:xfrm>
                <a:custGeom>
                  <a:avLst/>
                  <a:gdLst>
                    <a:gd name="T0" fmla="*/ 14641 w 445"/>
                    <a:gd name="T1" fmla="*/ 58439 h 436"/>
                    <a:gd name="T2" fmla="*/ 14641 w 445"/>
                    <a:gd name="T3" fmla="*/ 58439 h 436"/>
                    <a:gd name="T4" fmla="*/ 33619 w 445"/>
                    <a:gd name="T5" fmla="*/ 101585 h 436"/>
                    <a:gd name="T6" fmla="*/ 62901 w 445"/>
                    <a:gd name="T7" fmla="*/ 111416 h 436"/>
                    <a:gd name="T8" fmla="*/ 67781 w 445"/>
                    <a:gd name="T9" fmla="*/ 111416 h 436"/>
                    <a:gd name="T10" fmla="*/ 72661 w 445"/>
                    <a:gd name="T11" fmla="*/ 135447 h 436"/>
                    <a:gd name="T12" fmla="*/ 72661 w 445"/>
                    <a:gd name="T13" fmla="*/ 135447 h 436"/>
                    <a:gd name="T14" fmla="*/ 0 w 445"/>
                    <a:gd name="T15" fmla="*/ 188425 h 436"/>
                    <a:gd name="T16" fmla="*/ 62901 w 445"/>
                    <a:gd name="T17" fmla="*/ 237579 h 436"/>
                    <a:gd name="T18" fmla="*/ 62901 w 445"/>
                    <a:gd name="T19" fmla="*/ 237579 h 436"/>
                    <a:gd name="T20" fmla="*/ 67781 w 445"/>
                    <a:gd name="T21" fmla="*/ 237579 h 436"/>
                    <a:gd name="T22" fmla="*/ 106280 w 445"/>
                    <a:gd name="T23" fmla="*/ 227748 h 436"/>
                    <a:gd name="T24" fmla="*/ 135020 w 445"/>
                    <a:gd name="T25" fmla="*/ 174771 h 436"/>
                    <a:gd name="T26" fmla="*/ 111161 w 445"/>
                    <a:gd name="T27" fmla="*/ 125616 h 436"/>
                    <a:gd name="T28" fmla="*/ 96520 w 445"/>
                    <a:gd name="T29" fmla="*/ 111416 h 436"/>
                    <a:gd name="T30" fmla="*/ 106280 w 445"/>
                    <a:gd name="T31" fmla="*/ 96670 h 436"/>
                    <a:gd name="T32" fmla="*/ 125259 w 445"/>
                    <a:gd name="T33" fmla="*/ 53524 h 436"/>
                    <a:gd name="T34" fmla="*/ 106280 w 445"/>
                    <a:gd name="T35" fmla="*/ 9831 h 436"/>
                    <a:gd name="T36" fmla="*/ 115499 w 445"/>
                    <a:gd name="T37" fmla="*/ 9831 h 436"/>
                    <a:gd name="T38" fmla="*/ 135020 w 445"/>
                    <a:gd name="T39" fmla="*/ 0 h 436"/>
                    <a:gd name="T40" fmla="*/ 135020 w 445"/>
                    <a:gd name="T41" fmla="*/ 0 h 436"/>
                    <a:gd name="T42" fmla="*/ 77541 w 445"/>
                    <a:gd name="T43" fmla="*/ 0 h 436"/>
                    <a:gd name="T44" fmla="*/ 14641 w 445"/>
                    <a:gd name="T45" fmla="*/ 58439 h 436"/>
                    <a:gd name="T46" fmla="*/ 111161 w 445"/>
                    <a:gd name="T47" fmla="*/ 179140 h 436"/>
                    <a:gd name="T48" fmla="*/ 111161 w 445"/>
                    <a:gd name="T49" fmla="*/ 179140 h 436"/>
                    <a:gd name="T50" fmla="*/ 72661 w 445"/>
                    <a:gd name="T51" fmla="*/ 213002 h 436"/>
                    <a:gd name="T52" fmla="*/ 29281 w 445"/>
                    <a:gd name="T53" fmla="*/ 188425 h 436"/>
                    <a:gd name="T54" fmla="*/ 38500 w 445"/>
                    <a:gd name="T55" fmla="*/ 159478 h 436"/>
                    <a:gd name="T56" fmla="*/ 67781 w 445"/>
                    <a:gd name="T57" fmla="*/ 150194 h 436"/>
                    <a:gd name="T58" fmla="*/ 72661 w 445"/>
                    <a:gd name="T59" fmla="*/ 150194 h 436"/>
                    <a:gd name="T60" fmla="*/ 111161 w 445"/>
                    <a:gd name="T61" fmla="*/ 179140 h 436"/>
                    <a:gd name="T62" fmla="*/ 96520 w 445"/>
                    <a:gd name="T63" fmla="*/ 43693 h 436"/>
                    <a:gd name="T64" fmla="*/ 96520 w 445"/>
                    <a:gd name="T65" fmla="*/ 43693 h 436"/>
                    <a:gd name="T66" fmla="*/ 77541 w 445"/>
                    <a:gd name="T67" fmla="*/ 92301 h 436"/>
                    <a:gd name="T68" fmla="*/ 72661 w 445"/>
                    <a:gd name="T69" fmla="*/ 92301 h 436"/>
                    <a:gd name="T70" fmla="*/ 43922 w 445"/>
                    <a:gd name="T71" fmla="*/ 63354 h 436"/>
                    <a:gd name="T72" fmla="*/ 43922 w 445"/>
                    <a:gd name="T73" fmla="*/ 33862 h 436"/>
                    <a:gd name="T74" fmla="*/ 58020 w 445"/>
                    <a:gd name="T75" fmla="*/ 14200 h 436"/>
                    <a:gd name="T76" fmla="*/ 62901 w 445"/>
                    <a:gd name="T77" fmla="*/ 14200 h 436"/>
                    <a:gd name="T78" fmla="*/ 96520 w 445"/>
                    <a:gd name="T79" fmla="*/ 43693 h 436"/>
                    <a:gd name="T80" fmla="*/ 202258 w 445"/>
                    <a:gd name="T81" fmla="*/ 92301 h 436"/>
                    <a:gd name="T82" fmla="*/ 202258 w 445"/>
                    <a:gd name="T83" fmla="*/ 92301 h 436"/>
                    <a:gd name="T84" fmla="*/ 202258 w 445"/>
                    <a:gd name="T85" fmla="*/ 53524 h 436"/>
                    <a:gd name="T86" fmla="*/ 172977 w 445"/>
                    <a:gd name="T87" fmla="*/ 53524 h 436"/>
                    <a:gd name="T88" fmla="*/ 172977 w 445"/>
                    <a:gd name="T89" fmla="*/ 92301 h 436"/>
                    <a:gd name="T90" fmla="*/ 135020 w 445"/>
                    <a:gd name="T91" fmla="*/ 92301 h 436"/>
                    <a:gd name="T92" fmla="*/ 135020 w 445"/>
                    <a:gd name="T93" fmla="*/ 116332 h 436"/>
                    <a:gd name="T94" fmla="*/ 172977 w 445"/>
                    <a:gd name="T95" fmla="*/ 116332 h 436"/>
                    <a:gd name="T96" fmla="*/ 172977 w 445"/>
                    <a:gd name="T97" fmla="*/ 159478 h 436"/>
                    <a:gd name="T98" fmla="*/ 202258 w 445"/>
                    <a:gd name="T99" fmla="*/ 159478 h 436"/>
                    <a:gd name="T100" fmla="*/ 202258 w 445"/>
                    <a:gd name="T101" fmla="*/ 116332 h 436"/>
                    <a:gd name="T102" fmla="*/ 240758 w 445"/>
                    <a:gd name="T103" fmla="*/ 116332 h 436"/>
                    <a:gd name="T104" fmla="*/ 240758 w 445"/>
                    <a:gd name="T105" fmla="*/ 92301 h 436"/>
                    <a:gd name="T106" fmla="*/ 202258 w 445"/>
                    <a:gd name="T107" fmla="*/ 92301 h 4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445" h="436">
                      <a:moveTo>
                        <a:pt x="27" y="107"/>
                      </a:moveTo>
                      <a:lnTo>
                        <a:pt x="27" y="107"/>
                      </a:lnTo>
                      <a:cubicBezTo>
                        <a:pt x="27" y="142"/>
                        <a:pt x="36" y="169"/>
                        <a:pt x="62" y="186"/>
                      </a:cubicBezTo>
                      <a:cubicBezTo>
                        <a:pt x="81" y="195"/>
                        <a:pt x="107" y="204"/>
                        <a:pt x="116" y="204"/>
                      </a:cubicBezTo>
                      <a:lnTo>
                        <a:pt x="125" y="204"/>
                      </a:lnTo>
                      <a:cubicBezTo>
                        <a:pt x="125" y="204"/>
                        <a:pt x="116" y="222"/>
                        <a:pt x="134" y="248"/>
                      </a:cubicBezTo>
                      <a:cubicBezTo>
                        <a:pt x="107" y="248"/>
                        <a:pt x="0" y="257"/>
                        <a:pt x="0" y="345"/>
                      </a:cubicBezTo>
                      <a:cubicBezTo>
                        <a:pt x="0" y="435"/>
                        <a:pt x="98" y="435"/>
                        <a:pt x="116" y="435"/>
                      </a:cubicBezTo>
                      <a:cubicBezTo>
                        <a:pt x="116" y="435"/>
                        <a:pt x="116" y="435"/>
                        <a:pt x="125" y="435"/>
                      </a:cubicBezTo>
                      <a:cubicBezTo>
                        <a:pt x="134" y="435"/>
                        <a:pt x="169" y="435"/>
                        <a:pt x="196" y="417"/>
                      </a:cubicBezTo>
                      <a:cubicBezTo>
                        <a:pt x="231" y="399"/>
                        <a:pt x="249" y="364"/>
                        <a:pt x="249" y="320"/>
                      </a:cubicBezTo>
                      <a:cubicBezTo>
                        <a:pt x="249" y="275"/>
                        <a:pt x="222" y="248"/>
                        <a:pt x="205" y="230"/>
                      </a:cubicBezTo>
                      <a:cubicBezTo>
                        <a:pt x="187" y="222"/>
                        <a:pt x="178" y="213"/>
                        <a:pt x="178" y="204"/>
                      </a:cubicBezTo>
                      <a:cubicBezTo>
                        <a:pt x="178" y="195"/>
                        <a:pt x="187" y="186"/>
                        <a:pt x="196" y="177"/>
                      </a:cubicBezTo>
                      <a:cubicBezTo>
                        <a:pt x="213" y="160"/>
                        <a:pt x="231" y="142"/>
                        <a:pt x="231" y="98"/>
                      </a:cubicBezTo>
                      <a:cubicBezTo>
                        <a:pt x="231" y="62"/>
                        <a:pt x="222" y="36"/>
                        <a:pt x="196" y="18"/>
                      </a:cubicBezTo>
                      <a:lnTo>
                        <a:pt x="213" y="18"/>
                      </a:lnTo>
                      <a:cubicBezTo>
                        <a:pt x="231" y="18"/>
                        <a:pt x="249" y="9"/>
                        <a:pt x="249" y="0"/>
                      </a:cubicBezTo>
                      <a:cubicBezTo>
                        <a:pt x="143" y="0"/>
                        <a:pt x="143" y="0"/>
                        <a:pt x="143" y="0"/>
                      </a:cubicBezTo>
                      <a:cubicBezTo>
                        <a:pt x="134" y="0"/>
                        <a:pt x="27" y="0"/>
                        <a:pt x="27" y="107"/>
                      </a:cubicBezTo>
                      <a:close/>
                      <a:moveTo>
                        <a:pt x="205" y="328"/>
                      </a:moveTo>
                      <a:lnTo>
                        <a:pt x="205" y="328"/>
                      </a:lnTo>
                      <a:cubicBezTo>
                        <a:pt x="213" y="364"/>
                        <a:pt x="178" y="390"/>
                        <a:pt x="134" y="390"/>
                      </a:cubicBezTo>
                      <a:cubicBezTo>
                        <a:pt x="90" y="399"/>
                        <a:pt x="54" y="381"/>
                        <a:pt x="54" y="345"/>
                      </a:cubicBezTo>
                      <a:cubicBezTo>
                        <a:pt x="45" y="328"/>
                        <a:pt x="54" y="310"/>
                        <a:pt x="71" y="292"/>
                      </a:cubicBezTo>
                      <a:cubicBezTo>
                        <a:pt x="90" y="283"/>
                        <a:pt x="107" y="275"/>
                        <a:pt x="125" y="275"/>
                      </a:cubicBezTo>
                      <a:cubicBezTo>
                        <a:pt x="134" y="275"/>
                        <a:pt x="134" y="275"/>
                        <a:pt x="134" y="275"/>
                      </a:cubicBezTo>
                      <a:cubicBezTo>
                        <a:pt x="178" y="275"/>
                        <a:pt x="205" y="301"/>
                        <a:pt x="205" y="328"/>
                      </a:cubicBezTo>
                      <a:close/>
                      <a:moveTo>
                        <a:pt x="178" y="80"/>
                      </a:moveTo>
                      <a:lnTo>
                        <a:pt x="178" y="80"/>
                      </a:lnTo>
                      <a:cubicBezTo>
                        <a:pt x="187" y="124"/>
                        <a:pt x="169" y="160"/>
                        <a:pt x="143" y="169"/>
                      </a:cubicBezTo>
                      <a:cubicBezTo>
                        <a:pt x="143" y="169"/>
                        <a:pt x="143" y="169"/>
                        <a:pt x="134" y="169"/>
                      </a:cubicBezTo>
                      <a:cubicBezTo>
                        <a:pt x="107" y="169"/>
                        <a:pt x="90" y="151"/>
                        <a:pt x="81" y="116"/>
                      </a:cubicBezTo>
                      <a:cubicBezTo>
                        <a:pt x="71" y="98"/>
                        <a:pt x="71" y="80"/>
                        <a:pt x="81" y="62"/>
                      </a:cubicBezTo>
                      <a:cubicBezTo>
                        <a:pt x="81" y="45"/>
                        <a:pt x="98" y="36"/>
                        <a:pt x="107" y="26"/>
                      </a:cubicBezTo>
                      <a:lnTo>
                        <a:pt x="116" y="26"/>
                      </a:lnTo>
                      <a:cubicBezTo>
                        <a:pt x="151" y="26"/>
                        <a:pt x="169" y="45"/>
                        <a:pt x="178" y="80"/>
                      </a:cubicBezTo>
                      <a:close/>
                      <a:moveTo>
                        <a:pt x="373" y="169"/>
                      </a:moveTo>
                      <a:lnTo>
                        <a:pt x="373" y="169"/>
                      </a:lnTo>
                      <a:cubicBezTo>
                        <a:pt x="373" y="98"/>
                        <a:pt x="373" y="98"/>
                        <a:pt x="373" y="98"/>
                      </a:cubicBezTo>
                      <a:cubicBezTo>
                        <a:pt x="319" y="98"/>
                        <a:pt x="319" y="98"/>
                        <a:pt x="319" y="98"/>
                      </a:cubicBezTo>
                      <a:cubicBezTo>
                        <a:pt x="319" y="169"/>
                        <a:pt x="319" y="169"/>
                        <a:pt x="319" y="169"/>
                      </a:cubicBezTo>
                      <a:cubicBezTo>
                        <a:pt x="249" y="169"/>
                        <a:pt x="249" y="169"/>
                        <a:pt x="249" y="169"/>
                      </a:cubicBezTo>
                      <a:cubicBezTo>
                        <a:pt x="249" y="213"/>
                        <a:pt x="249" y="213"/>
                        <a:pt x="249" y="213"/>
                      </a:cubicBezTo>
                      <a:cubicBezTo>
                        <a:pt x="319" y="213"/>
                        <a:pt x="319" y="213"/>
                        <a:pt x="319" y="213"/>
                      </a:cubicBezTo>
                      <a:cubicBezTo>
                        <a:pt x="319" y="292"/>
                        <a:pt x="319" y="292"/>
                        <a:pt x="319" y="292"/>
                      </a:cubicBezTo>
                      <a:cubicBezTo>
                        <a:pt x="373" y="292"/>
                        <a:pt x="373" y="292"/>
                        <a:pt x="373" y="292"/>
                      </a:cubicBezTo>
                      <a:cubicBezTo>
                        <a:pt x="373" y="213"/>
                        <a:pt x="373" y="213"/>
                        <a:pt x="373" y="213"/>
                      </a:cubicBezTo>
                      <a:cubicBezTo>
                        <a:pt x="444" y="213"/>
                        <a:pt x="444" y="213"/>
                        <a:pt x="444" y="213"/>
                      </a:cubicBezTo>
                      <a:cubicBezTo>
                        <a:pt x="444" y="169"/>
                        <a:pt x="444" y="169"/>
                        <a:pt x="444" y="169"/>
                      </a:cubicBezTo>
                      <a:lnTo>
                        <a:pt x="373" y="169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/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F031C2BC-B92B-4FA9-AF3C-1B1A36681064}"/>
                    </a:ext>
                  </a:extLst>
                </p:cNvPr>
                <p:cNvSpPr/>
                <p:nvPr/>
              </p:nvSpPr>
              <p:spPr>
                <a:xfrm>
                  <a:off x="13421600" y="7257882"/>
                  <a:ext cx="379560" cy="37956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CC76F9DB-4DEE-416D-B817-60B9225B1783}"/>
                  </a:ext>
                </a:extLst>
              </p:cNvPr>
              <p:cNvGrpSpPr/>
              <p:nvPr/>
            </p:nvGrpSpPr>
            <p:grpSpPr>
              <a:xfrm>
                <a:off x="11556938" y="7296986"/>
                <a:ext cx="340456" cy="340456"/>
                <a:chOff x="11556938" y="7296986"/>
                <a:chExt cx="340456" cy="340456"/>
              </a:xfrm>
              <a:effectLst>
                <a:outerShdw blurRad="266700" dist="177800" dir="5400000" sx="70000" sy="70000" algn="t" rotWithShape="0">
                  <a:schemeClr val="bg1">
                    <a:lumMod val="50000"/>
                    <a:alpha val="40000"/>
                  </a:schemeClr>
                </a:outerShdw>
              </a:effectLst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B00EE368-60A3-4B78-A22D-3D9ED8DC3CFE}"/>
                    </a:ext>
                  </a:extLst>
                </p:cNvPr>
                <p:cNvSpPr/>
                <p:nvPr/>
              </p:nvSpPr>
              <p:spPr>
                <a:xfrm>
                  <a:off x="11556938" y="7296986"/>
                  <a:ext cx="340456" cy="340456"/>
                </a:xfrm>
                <a:prstGeom prst="ellipse">
                  <a:avLst/>
                </a:prstGeom>
                <a:gradFill>
                  <a:gsLst>
                    <a:gs pos="100000">
                      <a:srgbClr val="FFC53F"/>
                    </a:gs>
                    <a:gs pos="0">
                      <a:srgbClr val="4658AC"/>
                    </a:gs>
                  </a:gsLst>
                  <a:lin ang="66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E994E3AC-46CB-4257-9899-A65F540734DE}"/>
                    </a:ext>
                  </a:extLst>
                </p:cNvPr>
                <p:cNvGrpSpPr/>
                <p:nvPr/>
              </p:nvGrpSpPr>
              <p:grpSpPr>
                <a:xfrm>
                  <a:off x="11643056" y="7383242"/>
                  <a:ext cx="168220" cy="167945"/>
                  <a:chOff x="910648" y="5598469"/>
                  <a:chExt cx="730034" cy="728842"/>
                </a:xfrm>
                <a:solidFill>
                  <a:schemeClr val="bg1"/>
                </a:solidFill>
              </p:grpSpPr>
              <p:grpSp>
                <p:nvGrpSpPr>
                  <p:cNvPr id="17" name="Group 16">
                    <a:extLst>
                      <a:ext uri="{FF2B5EF4-FFF2-40B4-BE49-F238E27FC236}">
                        <a16:creationId xmlns:a16="http://schemas.microsoft.com/office/drawing/2014/main" id="{09B88CC1-F017-4252-AF4A-A5AA6B36B859}"/>
                      </a:ext>
                    </a:extLst>
                  </p:cNvPr>
                  <p:cNvGrpSpPr/>
                  <p:nvPr/>
                </p:nvGrpSpPr>
                <p:grpSpPr>
                  <a:xfrm>
                    <a:off x="910648" y="5598469"/>
                    <a:ext cx="730034" cy="728842"/>
                    <a:chOff x="2110189" y="863994"/>
                    <a:chExt cx="724256" cy="723073"/>
                  </a:xfrm>
                  <a:grpFill/>
                </p:grpSpPr>
                <p:sp>
                  <p:nvSpPr>
                    <p:cNvPr id="19" name="Freeform 5">
                      <a:extLst>
                        <a:ext uri="{FF2B5EF4-FFF2-40B4-BE49-F238E27FC236}">
                          <a16:creationId xmlns:a16="http://schemas.microsoft.com/office/drawing/2014/main" id="{46B52BC8-3F2E-42B2-9D2D-81E9F621A4D5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10189" y="863994"/>
                      <a:ext cx="724256" cy="723073"/>
                    </a:xfrm>
                    <a:custGeom>
                      <a:avLst/>
                      <a:gdLst>
                        <a:gd name="T0" fmla="*/ 1263 w 4293"/>
                        <a:gd name="T1" fmla="*/ 4274 h 4286"/>
                        <a:gd name="T2" fmla="*/ 919 w 4293"/>
                        <a:gd name="T3" fmla="*/ 4230 h 4286"/>
                        <a:gd name="T4" fmla="*/ 634 w 4293"/>
                        <a:gd name="T5" fmla="*/ 4126 h 4286"/>
                        <a:gd name="T6" fmla="*/ 360 w 4293"/>
                        <a:gd name="T7" fmla="*/ 3926 h 4286"/>
                        <a:gd name="T8" fmla="*/ 188 w 4293"/>
                        <a:gd name="T9" fmla="*/ 3702 h 4286"/>
                        <a:gd name="T10" fmla="*/ 74 w 4293"/>
                        <a:gd name="T11" fmla="*/ 3430 h 4286"/>
                        <a:gd name="T12" fmla="*/ 14 w 4293"/>
                        <a:gd name="T13" fmla="*/ 3027 h 4286"/>
                        <a:gd name="T14" fmla="*/ 0 w 4293"/>
                        <a:gd name="T15" fmla="*/ 2143 h 4286"/>
                        <a:gd name="T16" fmla="*/ 18 w 4293"/>
                        <a:gd name="T17" fmla="*/ 1183 h 4286"/>
                        <a:gd name="T18" fmla="*/ 92 w 4293"/>
                        <a:gd name="T19" fmla="*/ 796 h 4286"/>
                        <a:gd name="T20" fmla="*/ 216 w 4293"/>
                        <a:gd name="T21" fmla="*/ 536 h 4286"/>
                        <a:gd name="T22" fmla="*/ 404 w 4293"/>
                        <a:gd name="T23" fmla="*/ 318 h 4286"/>
                        <a:gd name="T24" fmla="*/ 686 w 4293"/>
                        <a:gd name="T25" fmla="*/ 134 h 4286"/>
                        <a:gd name="T26" fmla="*/ 981 w 4293"/>
                        <a:gd name="T27" fmla="*/ 44 h 4286"/>
                        <a:gd name="T28" fmla="*/ 1415 w 4293"/>
                        <a:gd name="T29" fmla="*/ 6 h 4286"/>
                        <a:gd name="T30" fmla="*/ 2722 w 4293"/>
                        <a:gd name="T31" fmla="*/ 2 h 4286"/>
                        <a:gd name="T32" fmla="*/ 3248 w 4293"/>
                        <a:gd name="T33" fmla="*/ 32 h 4286"/>
                        <a:gd name="T34" fmla="*/ 3552 w 4293"/>
                        <a:gd name="T35" fmla="*/ 112 h 4286"/>
                        <a:gd name="T36" fmla="*/ 3847 w 4293"/>
                        <a:gd name="T37" fmla="*/ 280 h 4286"/>
                        <a:gd name="T38" fmla="*/ 4045 w 4293"/>
                        <a:gd name="T39" fmla="*/ 490 h 4286"/>
                        <a:gd name="T40" fmla="*/ 4181 w 4293"/>
                        <a:gd name="T41" fmla="*/ 740 h 4286"/>
                        <a:gd name="T42" fmla="*/ 4269 w 4293"/>
                        <a:gd name="T43" fmla="*/ 1111 h 4286"/>
                        <a:gd name="T44" fmla="*/ 4293 w 4293"/>
                        <a:gd name="T45" fmla="*/ 1793 h 4286"/>
                        <a:gd name="T46" fmla="*/ 4281 w 4293"/>
                        <a:gd name="T47" fmla="*/ 3027 h 4286"/>
                        <a:gd name="T48" fmla="*/ 4237 w 4293"/>
                        <a:gd name="T49" fmla="*/ 3370 h 4286"/>
                        <a:gd name="T50" fmla="*/ 4133 w 4293"/>
                        <a:gd name="T51" fmla="*/ 3654 h 4286"/>
                        <a:gd name="T52" fmla="*/ 3933 w 4293"/>
                        <a:gd name="T53" fmla="*/ 3926 h 4286"/>
                        <a:gd name="T54" fmla="*/ 3709 w 4293"/>
                        <a:gd name="T55" fmla="*/ 4100 h 4286"/>
                        <a:gd name="T56" fmla="*/ 3436 w 4293"/>
                        <a:gd name="T57" fmla="*/ 4214 h 4286"/>
                        <a:gd name="T58" fmla="*/ 3032 w 4293"/>
                        <a:gd name="T59" fmla="*/ 4274 h 4286"/>
                        <a:gd name="T60" fmla="*/ 2148 w 4293"/>
                        <a:gd name="T61" fmla="*/ 4286 h 4286"/>
                        <a:gd name="T62" fmla="*/ 1281 w 4293"/>
                        <a:gd name="T63" fmla="*/ 400 h 4286"/>
                        <a:gd name="T64" fmla="*/ 987 w 4293"/>
                        <a:gd name="T65" fmla="*/ 440 h 4286"/>
                        <a:gd name="T66" fmla="*/ 813 w 4293"/>
                        <a:gd name="T67" fmla="*/ 504 h 4286"/>
                        <a:gd name="T68" fmla="*/ 634 w 4293"/>
                        <a:gd name="T69" fmla="*/ 634 h 4286"/>
                        <a:gd name="T70" fmla="*/ 522 w 4293"/>
                        <a:gd name="T71" fmla="*/ 778 h 4286"/>
                        <a:gd name="T72" fmla="*/ 452 w 4293"/>
                        <a:gd name="T73" fmla="*/ 944 h 4286"/>
                        <a:gd name="T74" fmla="*/ 400 w 4293"/>
                        <a:gd name="T75" fmla="*/ 1277 h 4286"/>
                        <a:gd name="T76" fmla="*/ 388 w 4293"/>
                        <a:gd name="T77" fmla="*/ 2143 h 4286"/>
                        <a:gd name="T78" fmla="*/ 406 w 4293"/>
                        <a:gd name="T79" fmla="*/ 3083 h 4286"/>
                        <a:gd name="T80" fmla="*/ 464 w 4293"/>
                        <a:gd name="T81" fmla="*/ 3376 h 4286"/>
                        <a:gd name="T82" fmla="*/ 542 w 4293"/>
                        <a:gd name="T83" fmla="*/ 3538 h 4286"/>
                        <a:gd name="T84" fmla="*/ 662 w 4293"/>
                        <a:gd name="T85" fmla="*/ 3680 h 4286"/>
                        <a:gd name="T86" fmla="*/ 847 w 4293"/>
                        <a:gd name="T87" fmla="*/ 3798 h 4286"/>
                        <a:gd name="T88" fmla="*/ 1031 w 4293"/>
                        <a:gd name="T89" fmla="*/ 3858 h 4286"/>
                        <a:gd name="T90" fmla="*/ 1431 w 4293"/>
                        <a:gd name="T91" fmla="*/ 3892 h 4286"/>
                        <a:gd name="T92" fmla="*/ 2712 w 4293"/>
                        <a:gd name="T93" fmla="*/ 3896 h 4286"/>
                        <a:gd name="T94" fmla="*/ 3212 w 4293"/>
                        <a:gd name="T95" fmla="*/ 3866 h 4286"/>
                        <a:gd name="T96" fmla="*/ 3412 w 4293"/>
                        <a:gd name="T97" fmla="*/ 3812 h 4286"/>
                        <a:gd name="T98" fmla="*/ 3603 w 4293"/>
                        <a:gd name="T99" fmla="*/ 3704 h 4286"/>
                        <a:gd name="T100" fmla="*/ 3733 w 4293"/>
                        <a:gd name="T101" fmla="*/ 3568 h 4286"/>
                        <a:gd name="T102" fmla="*/ 3819 w 4293"/>
                        <a:gd name="T103" fmla="*/ 3406 h 4286"/>
                        <a:gd name="T104" fmla="*/ 3881 w 4293"/>
                        <a:gd name="T105" fmla="*/ 3149 h 4286"/>
                        <a:gd name="T106" fmla="*/ 3905 w 4293"/>
                        <a:gd name="T107" fmla="*/ 2487 h 4286"/>
                        <a:gd name="T108" fmla="*/ 3893 w 4293"/>
                        <a:gd name="T109" fmla="*/ 1277 h 4286"/>
                        <a:gd name="T110" fmla="*/ 3853 w 4293"/>
                        <a:gd name="T111" fmla="*/ 984 h 4286"/>
                        <a:gd name="T112" fmla="*/ 3789 w 4293"/>
                        <a:gd name="T113" fmla="*/ 810 h 4286"/>
                        <a:gd name="T114" fmla="*/ 3659 w 4293"/>
                        <a:gd name="T115" fmla="*/ 634 h 4286"/>
                        <a:gd name="T116" fmla="*/ 3514 w 4293"/>
                        <a:gd name="T117" fmla="*/ 520 h 4286"/>
                        <a:gd name="T118" fmla="*/ 3348 w 4293"/>
                        <a:gd name="T119" fmla="*/ 450 h 4286"/>
                        <a:gd name="T120" fmla="*/ 3014 w 4293"/>
                        <a:gd name="T121" fmla="*/ 400 h 4286"/>
                        <a:gd name="T122" fmla="*/ 2148 w 4293"/>
                        <a:gd name="T123" fmla="*/ 386 h 4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4293" h="4286">
                          <a:moveTo>
                            <a:pt x="2148" y="4286"/>
                          </a:moveTo>
                          <a:lnTo>
                            <a:pt x="2148" y="4286"/>
                          </a:lnTo>
                          <a:lnTo>
                            <a:pt x="1797" y="4286"/>
                          </a:lnTo>
                          <a:lnTo>
                            <a:pt x="1573" y="4284"/>
                          </a:lnTo>
                          <a:lnTo>
                            <a:pt x="1415" y="4280"/>
                          </a:lnTo>
                          <a:lnTo>
                            <a:pt x="1263" y="4274"/>
                          </a:lnTo>
                          <a:lnTo>
                            <a:pt x="1263" y="4274"/>
                          </a:lnTo>
                          <a:lnTo>
                            <a:pt x="1187" y="4270"/>
                          </a:lnTo>
                          <a:lnTo>
                            <a:pt x="1115" y="4262"/>
                          </a:lnTo>
                          <a:lnTo>
                            <a:pt x="1047" y="4254"/>
                          </a:lnTo>
                          <a:lnTo>
                            <a:pt x="981" y="4242"/>
                          </a:lnTo>
                          <a:lnTo>
                            <a:pt x="919" y="4230"/>
                          </a:lnTo>
                          <a:lnTo>
                            <a:pt x="859" y="4214"/>
                          </a:lnTo>
                          <a:lnTo>
                            <a:pt x="799" y="4196"/>
                          </a:lnTo>
                          <a:lnTo>
                            <a:pt x="741" y="4174"/>
                          </a:lnTo>
                          <a:lnTo>
                            <a:pt x="741" y="4174"/>
                          </a:lnTo>
                          <a:lnTo>
                            <a:pt x="686" y="4152"/>
                          </a:lnTo>
                          <a:lnTo>
                            <a:pt x="634" y="4126"/>
                          </a:lnTo>
                          <a:lnTo>
                            <a:pt x="584" y="4100"/>
                          </a:lnTo>
                          <a:lnTo>
                            <a:pt x="536" y="4070"/>
                          </a:lnTo>
                          <a:lnTo>
                            <a:pt x="492" y="4040"/>
                          </a:lnTo>
                          <a:lnTo>
                            <a:pt x="446" y="4004"/>
                          </a:lnTo>
                          <a:lnTo>
                            <a:pt x="404" y="3968"/>
                          </a:lnTo>
                          <a:lnTo>
                            <a:pt x="360" y="3926"/>
                          </a:lnTo>
                          <a:lnTo>
                            <a:pt x="360" y="3926"/>
                          </a:lnTo>
                          <a:lnTo>
                            <a:pt x="320" y="3884"/>
                          </a:lnTo>
                          <a:lnTo>
                            <a:pt x="282" y="3840"/>
                          </a:lnTo>
                          <a:lnTo>
                            <a:pt x="248" y="3796"/>
                          </a:lnTo>
                          <a:lnTo>
                            <a:pt x="216" y="3750"/>
                          </a:lnTo>
                          <a:lnTo>
                            <a:pt x="188" y="3702"/>
                          </a:lnTo>
                          <a:lnTo>
                            <a:pt x="160" y="3654"/>
                          </a:lnTo>
                          <a:lnTo>
                            <a:pt x="136" y="3602"/>
                          </a:lnTo>
                          <a:lnTo>
                            <a:pt x="114" y="3546"/>
                          </a:lnTo>
                          <a:lnTo>
                            <a:pt x="114" y="3546"/>
                          </a:lnTo>
                          <a:lnTo>
                            <a:pt x="92" y="3488"/>
                          </a:lnTo>
                          <a:lnTo>
                            <a:pt x="74" y="3430"/>
                          </a:lnTo>
                          <a:lnTo>
                            <a:pt x="58" y="3370"/>
                          </a:lnTo>
                          <a:lnTo>
                            <a:pt x="44" y="3306"/>
                          </a:lnTo>
                          <a:lnTo>
                            <a:pt x="34" y="3242"/>
                          </a:lnTo>
                          <a:lnTo>
                            <a:pt x="24" y="3175"/>
                          </a:lnTo>
                          <a:lnTo>
                            <a:pt x="18" y="3103"/>
                          </a:lnTo>
                          <a:lnTo>
                            <a:pt x="14" y="3027"/>
                          </a:lnTo>
                          <a:lnTo>
                            <a:pt x="14" y="3027"/>
                          </a:lnTo>
                          <a:lnTo>
                            <a:pt x="8" y="2873"/>
                          </a:lnTo>
                          <a:lnTo>
                            <a:pt x="4" y="2717"/>
                          </a:lnTo>
                          <a:lnTo>
                            <a:pt x="2" y="2493"/>
                          </a:lnTo>
                          <a:lnTo>
                            <a:pt x="0" y="2143"/>
                          </a:lnTo>
                          <a:lnTo>
                            <a:pt x="0" y="2143"/>
                          </a:lnTo>
                          <a:lnTo>
                            <a:pt x="2" y="1793"/>
                          </a:lnTo>
                          <a:lnTo>
                            <a:pt x="4" y="1569"/>
                          </a:lnTo>
                          <a:lnTo>
                            <a:pt x="8" y="1411"/>
                          </a:lnTo>
                          <a:lnTo>
                            <a:pt x="14" y="1259"/>
                          </a:lnTo>
                          <a:lnTo>
                            <a:pt x="14" y="1259"/>
                          </a:lnTo>
                          <a:lnTo>
                            <a:pt x="18" y="1183"/>
                          </a:lnTo>
                          <a:lnTo>
                            <a:pt x="24" y="1111"/>
                          </a:lnTo>
                          <a:lnTo>
                            <a:pt x="34" y="1044"/>
                          </a:lnTo>
                          <a:lnTo>
                            <a:pt x="44" y="980"/>
                          </a:lnTo>
                          <a:lnTo>
                            <a:pt x="58" y="916"/>
                          </a:lnTo>
                          <a:lnTo>
                            <a:pt x="74" y="856"/>
                          </a:lnTo>
                          <a:lnTo>
                            <a:pt x="92" y="796"/>
                          </a:lnTo>
                          <a:lnTo>
                            <a:pt x="114" y="740"/>
                          </a:lnTo>
                          <a:lnTo>
                            <a:pt x="114" y="740"/>
                          </a:lnTo>
                          <a:lnTo>
                            <a:pt x="136" y="684"/>
                          </a:lnTo>
                          <a:lnTo>
                            <a:pt x="160" y="632"/>
                          </a:lnTo>
                          <a:lnTo>
                            <a:pt x="188" y="582"/>
                          </a:lnTo>
                          <a:lnTo>
                            <a:pt x="216" y="536"/>
                          </a:lnTo>
                          <a:lnTo>
                            <a:pt x="248" y="490"/>
                          </a:lnTo>
                          <a:lnTo>
                            <a:pt x="282" y="444"/>
                          </a:lnTo>
                          <a:lnTo>
                            <a:pt x="320" y="402"/>
                          </a:lnTo>
                          <a:lnTo>
                            <a:pt x="360" y="360"/>
                          </a:lnTo>
                          <a:lnTo>
                            <a:pt x="360" y="360"/>
                          </a:lnTo>
                          <a:lnTo>
                            <a:pt x="404" y="318"/>
                          </a:lnTo>
                          <a:lnTo>
                            <a:pt x="446" y="280"/>
                          </a:lnTo>
                          <a:lnTo>
                            <a:pt x="492" y="246"/>
                          </a:lnTo>
                          <a:lnTo>
                            <a:pt x="536" y="214"/>
                          </a:lnTo>
                          <a:lnTo>
                            <a:pt x="584" y="186"/>
                          </a:lnTo>
                          <a:lnTo>
                            <a:pt x="634" y="158"/>
                          </a:lnTo>
                          <a:lnTo>
                            <a:pt x="686" y="134"/>
                          </a:lnTo>
                          <a:lnTo>
                            <a:pt x="741" y="112"/>
                          </a:lnTo>
                          <a:lnTo>
                            <a:pt x="741" y="112"/>
                          </a:lnTo>
                          <a:lnTo>
                            <a:pt x="799" y="90"/>
                          </a:lnTo>
                          <a:lnTo>
                            <a:pt x="859" y="72"/>
                          </a:lnTo>
                          <a:lnTo>
                            <a:pt x="919" y="56"/>
                          </a:lnTo>
                          <a:lnTo>
                            <a:pt x="981" y="44"/>
                          </a:lnTo>
                          <a:lnTo>
                            <a:pt x="1047" y="32"/>
                          </a:lnTo>
                          <a:lnTo>
                            <a:pt x="1115" y="24"/>
                          </a:lnTo>
                          <a:lnTo>
                            <a:pt x="1187" y="16"/>
                          </a:lnTo>
                          <a:lnTo>
                            <a:pt x="1263" y="12"/>
                          </a:lnTo>
                          <a:lnTo>
                            <a:pt x="1263" y="12"/>
                          </a:lnTo>
                          <a:lnTo>
                            <a:pt x="1415" y="6"/>
                          </a:lnTo>
                          <a:lnTo>
                            <a:pt x="1573" y="2"/>
                          </a:lnTo>
                          <a:lnTo>
                            <a:pt x="1795" y="0"/>
                          </a:lnTo>
                          <a:lnTo>
                            <a:pt x="2148" y="0"/>
                          </a:lnTo>
                          <a:lnTo>
                            <a:pt x="2148" y="0"/>
                          </a:lnTo>
                          <a:lnTo>
                            <a:pt x="2498" y="0"/>
                          </a:lnTo>
                          <a:lnTo>
                            <a:pt x="2722" y="2"/>
                          </a:lnTo>
                          <a:lnTo>
                            <a:pt x="2878" y="6"/>
                          </a:lnTo>
                          <a:lnTo>
                            <a:pt x="3032" y="12"/>
                          </a:lnTo>
                          <a:lnTo>
                            <a:pt x="3032" y="12"/>
                          </a:lnTo>
                          <a:lnTo>
                            <a:pt x="3108" y="16"/>
                          </a:lnTo>
                          <a:lnTo>
                            <a:pt x="3178" y="24"/>
                          </a:lnTo>
                          <a:lnTo>
                            <a:pt x="3248" y="32"/>
                          </a:lnTo>
                          <a:lnTo>
                            <a:pt x="3312" y="44"/>
                          </a:lnTo>
                          <a:lnTo>
                            <a:pt x="3374" y="56"/>
                          </a:lnTo>
                          <a:lnTo>
                            <a:pt x="3436" y="72"/>
                          </a:lnTo>
                          <a:lnTo>
                            <a:pt x="3494" y="90"/>
                          </a:lnTo>
                          <a:lnTo>
                            <a:pt x="3552" y="112"/>
                          </a:lnTo>
                          <a:lnTo>
                            <a:pt x="3552" y="112"/>
                          </a:lnTo>
                          <a:lnTo>
                            <a:pt x="3609" y="134"/>
                          </a:lnTo>
                          <a:lnTo>
                            <a:pt x="3661" y="158"/>
                          </a:lnTo>
                          <a:lnTo>
                            <a:pt x="3709" y="186"/>
                          </a:lnTo>
                          <a:lnTo>
                            <a:pt x="3757" y="214"/>
                          </a:lnTo>
                          <a:lnTo>
                            <a:pt x="3803" y="246"/>
                          </a:lnTo>
                          <a:lnTo>
                            <a:pt x="3847" y="280"/>
                          </a:lnTo>
                          <a:lnTo>
                            <a:pt x="3891" y="318"/>
                          </a:lnTo>
                          <a:lnTo>
                            <a:pt x="3933" y="360"/>
                          </a:lnTo>
                          <a:lnTo>
                            <a:pt x="3933" y="360"/>
                          </a:lnTo>
                          <a:lnTo>
                            <a:pt x="3973" y="402"/>
                          </a:lnTo>
                          <a:lnTo>
                            <a:pt x="4011" y="444"/>
                          </a:lnTo>
                          <a:lnTo>
                            <a:pt x="4045" y="490"/>
                          </a:lnTo>
                          <a:lnTo>
                            <a:pt x="4077" y="536"/>
                          </a:lnTo>
                          <a:lnTo>
                            <a:pt x="4107" y="582"/>
                          </a:lnTo>
                          <a:lnTo>
                            <a:pt x="4133" y="632"/>
                          </a:lnTo>
                          <a:lnTo>
                            <a:pt x="4159" y="684"/>
                          </a:lnTo>
                          <a:lnTo>
                            <a:pt x="4181" y="740"/>
                          </a:lnTo>
                          <a:lnTo>
                            <a:pt x="4181" y="740"/>
                          </a:lnTo>
                          <a:lnTo>
                            <a:pt x="4201" y="796"/>
                          </a:lnTo>
                          <a:lnTo>
                            <a:pt x="4221" y="856"/>
                          </a:lnTo>
                          <a:lnTo>
                            <a:pt x="4237" y="916"/>
                          </a:lnTo>
                          <a:lnTo>
                            <a:pt x="4249" y="980"/>
                          </a:lnTo>
                          <a:lnTo>
                            <a:pt x="4261" y="1044"/>
                          </a:lnTo>
                          <a:lnTo>
                            <a:pt x="4269" y="1111"/>
                          </a:lnTo>
                          <a:lnTo>
                            <a:pt x="4275" y="1183"/>
                          </a:lnTo>
                          <a:lnTo>
                            <a:pt x="4281" y="1259"/>
                          </a:lnTo>
                          <a:lnTo>
                            <a:pt x="4281" y="1259"/>
                          </a:lnTo>
                          <a:lnTo>
                            <a:pt x="4287" y="1411"/>
                          </a:lnTo>
                          <a:lnTo>
                            <a:pt x="4291" y="1569"/>
                          </a:lnTo>
                          <a:lnTo>
                            <a:pt x="4293" y="1793"/>
                          </a:lnTo>
                          <a:lnTo>
                            <a:pt x="4293" y="2143"/>
                          </a:lnTo>
                          <a:lnTo>
                            <a:pt x="4293" y="2143"/>
                          </a:lnTo>
                          <a:lnTo>
                            <a:pt x="4293" y="2493"/>
                          </a:lnTo>
                          <a:lnTo>
                            <a:pt x="4291" y="2717"/>
                          </a:lnTo>
                          <a:lnTo>
                            <a:pt x="4287" y="2873"/>
                          </a:lnTo>
                          <a:lnTo>
                            <a:pt x="4281" y="3027"/>
                          </a:lnTo>
                          <a:lnTo>
                            <a:pt x="4281" y="3027"/>
                          </a:lnTo>
                          <a:lnTo>
                            <a:pt x="4275" y="3103"/>
                          </a:lnTo>
                          <a:lnTo>
                            <a:pt x="4269" y="3175"/>
                          </a:lnTo>
                          <a:lnTo>
                            <a:pt x="4261" y="3242"/>
                          </a:lnTo>
                          <a:lnTo>
                            <a:pt x="4249" y="3306"/>
                          </a:lnTo>
                          <a:lnTo>
                            <a:pt x="4237" y="3370"/>
                          </a:lnTo>
                          <a:lnTo>
                            <a:pt x="4221" y="3430"/>
                          </a:lnTo>
                          <a:lnTo>
                            <a:pt x="4201" y="3488"/>
                          </a:lnTo>
                          <a:lnTo>
                            <a:pt x="4181" y="3546"/>
                          </a:lnTo>
                          <a:lnTo>
                            <a:pt x="4181" y="3546"/>
                          </a:lnTo>
                          <a:lnTo>
                            <a:pt x="4159" y="3602"/>
                          </a:lnTo>
                          <a:lnTo>
                            <a:pt x="4133" y="3654"/>
                          </a:lnTo>
                          <a:lnTo>
                            <a:pt x="4107" y="3702"/>
                          </a:lnTo>
                          <a:lnTo>
                            <a:pt x="4077" y="3750"/>
                          </a:lnTo>
                          <a:lnTo>
                            <a:pt x="4045" y="3796"/>
                          </a:lnTo>
                          <a:lnTo>
                            <a:pt x="4011" y="3840"/>
                          </a:lnTo>
                          <a:lnTo>
                            <a:pt x="3975" y="3884"/>
                          </a:lnTo>
                          <a:lnTo>
                            <a:pt x="3933" y="3926"/>
                          </a:lnTo>
                          <a:lnTo>
                            <a:pt x="3933" y="3926"/>
                          </a:lnTo>
                          <a:lnTo>
                            <a:pt x="3891" y="3968"/>
                          </a:lnTo>
                          <a:lnTo>
                            <a:pt x="3847" y="4004"/>
                          </a:lnTo>
                          <a:lnTo>
                            <a:pt x="3803" y="4040"/>
                          </a:lnTo>
                          <a:lnTo>
                            <a:pt x="3757" y="4070"/>
                          </a:lnTo>
                          <a:lnTo>
                            <a:pt x="3709" y="4100"/>
                          </a:lnTo>
                          <a:lnTo>
                            <a:pt x="3661" y="4126"/>
                          </a:lnTo>
                          <a:lnTo>
                            <a:pt x="3609" y="4152"/>
                          </a:lnTo>
                          <a:lnTo>
                            <a:pt x="3552" y="4174"/>
                          </a:lnTo>
                          <a:lnTo>
                            <a:pt x="3552" y="4174"/>
                          </a:lnTo>
                          <a:lnTo>
                            <a:pt x="3494" y="4196"/>
                          </a:lnTo>
                          <a:lnTo>
                            <a:pt x="3436" y="4214"/>
                          </a:lnTo>
                          <a:lnTo>
                            <a:pt x="3374" y="4230"/>
                          </a:lnTo>
                          <a:lnTo>
                            <a:pt x="3312" y="4242"/>
                          </a:lnTo>
                          <a:lnTo>
                            <a:pt x="3248" y="4254"/>
                          </a:lnTo>
                          <a:lnTo>
                            <a:pt x="3178" y="4262"/>
                          </a:lnTo>
                          <a:lnTo>
                            <a:pt x="3108" y="4270"/>
                          </a:lnTo>
                          <a:lnTo>
                            <a:pt x="3032" y="4274"/>
                          </a:lnTo>
                          <a:lnTo>
                            <a:pt x="3032" y="4274"/>
                          </a:lnTo>
                          <a:lnTo>
                            <a:pt x="2878" y="4280"/>
                          </a:lnTo>
                          <a:lnTo>
                            <a:pt x="2722" y="4284"/>
                          </a:lnTo>
                          <a:lnTo>
                            <a:pt x="2498" y="4286"/>
                          </a:lnTo>
                          <a:lnTo>
                            <a:pt x="2148" y="4286"/>
                          </a:lnTo>
                          <a:lnTo>
                            <a:pt x="2148" y="4286"/>
                          </a:lnTo>
                          <a:close/>
                          <a:moveTo>
                            <a:pt x="2148" y="386"/>
                          </a:moveTo>
                          <a:lnTo>
                            <a:pt x="2148" y="386"/>
                          </a:lnTo>
                          <a:lnTo>
                            <a:pt x="1801" y="388"/>
                          </a:lnTo>
                          <a:lnTo>
                            <a:pt x="1583" y="388"/>
                          </a:lnTo>
                          <a:lnTo>
                            <a:pt x="1431" y="392"/>
                          </a:lnTo>
                          <a:lnTo>
                            <a:pt x="1281" y="400"/>
                          </a:lnTo>
                          <a:lnTo>
                            <a:pt x="1281" y="400"/>
                          </a:lnTo>
                          <a:lnTo>
                            <a:pt x="1207" y="404"/>
                          </a:lnTo>
                          <a:lnTo>
                            <a:pt x="1141" y="410"/>
                          </a:lnTo>
                          <a:lnTo>
                            <a:pt x="1083" y="418"/>
                          </a:lnTo>
                          <a:lnTo>
                            <a:pt x="1031" y="428"/>
                          </a:lnTo>
                          <a:lnTo>
                            <a:pt x="987" y="440"/>
                          </a:lnTo>
                          <a:lnTo>
                            <a:pt x="947" y="450"/>
                          </a:lnTo>
                          <a:lnTo>
                            <a:pt x="913" y="462"/>
                          </a:lnTo>
                          <a:lnTo>
                            <a:pt x="883" y="472"/>
                          </a:lnTo>
                          <a:lnTo>
                            <a:pt x="883" y="472"/>
                          </a:lnTo>
                          <a:lnTo>
                            <a:pt x="845" y="488"/>
                          </a:lnTo>
                          <a:lnTo>
                            <a:pt x="813" y="504"/>
                          </a:lnTo>
                          <a:lnTo>
                            <a:pt x="781" y="520"/>
                          </a:lnTo>
                          <a:lnTo>
                            <a:pt x="749" y="540"/>
                          </a:lnTo>
                          <a:lnTo>
                            <a:pt x="721" y="560"/>
                          </a:lnTo>
                          <a:lnTo>
                            <a:pt x="690" y="582"/>
                          </a:lnTo>
                          <a:lnTo>
                            <a:pt x="662" y="606"/>
                          </a:lnTo>
                          <a:lnTo>
                            <a:pt x="634" y="634"/>
                          </a:lnTo>
                          <a:lnTo>
                            <a:pt x="634" y="634"/>
                          </a:lnTo>
                          <a:lnTo>
                            <a:pt x="608" y="662"/>
                          </a:lnTo>
                          <a:lnTo>
                            <a:pt x="584" y="690"/>
                          </a:lnTo>
                          <a:lnTo>
                            <a:pt x="562" y="718"/>
                          </a:lnTo>
                          <a:lnTo>
                            <a:pt x="542" y="746"/>
                          </a:lnTo>
                          <a:lnTo>
                            <a:pt x="522" y="778"/>
                          </a:lnTo>
                          <a:lnTo>
                            <a:pt x="506" y="810"/>
                          </a:lnTo>
                          <a:lnTo>
                            <a:pt x="490" y="844"/>
                          </a:lnTo>
                          <a:lnTo>
                            <a:pt x="474" y="880"/>
                          </a:lnTo>
                          <a:lnTo>
                            <a:pt x="474" y="880"/>
                          </a:lnTo>
                          <a:lnTo>
                            <a:pt x="464" y="910"/>
                          </a:lnTo>
                          <a:lnTo>
                            <a:pt x="452" y="944"/>
                          </a:lnTo>
                          <a:lnTo>
                            <a:pt x="440" y="984"/>
                          </a:lnTo>
                          <a:lnTo>
                            <a:pt x="430" y="1028"/>
                          </a:lnTo>
                          <a:lnTo>
                            <a:pt x="420" y="1079"/>
                          </a:lnTo>
                          <a:lnTo>
                            <a:pt x="412" y="1137"/>
                          </a:lnTo>
                          <a:lnTo>
                            <a:pt x="406" y="1203"/>
                          </a:lnTo>
                          <a:lnTo>
                            <a:pt x="400" y="1277"/>
                          </a:lnTo>
                          <a:lnTo>
                            <a:pt x="400" y="1277"/>
                          </a:lnTo>
                          <a:lnTo>
                            <a:pt x="394" y="1427"/>
                          </a:lnTo>
                          <a:lnTo>
                            <a:pt x="390" y="1579"/>
                          </a:lnTo>
                          <a:lnTo>
                            <a:pt x="388" y="1797"/>
                          </a:lnTo>
                          <a:lnTo>
                            <a:pt x="388" y="2143"/>
                          </a:lnTo>
                          <a:lnTo>
                            <a:pt x="388" y="2143"/>
                          </a:lnTo>
                          <a:lnTo>
                            <a:pt x="388" y="2489"/>
                          </a:lnTo>
                          <a:lnTo>
                            <a:pt x="390" y="2707"/>
                          </a:lnTo>
                          <a:lnTo>
                            <a:pt x="394" y="2859"/>
                          </a:lnTo>
                          <a:lnTo>
                            <a:pt x="400" y="3009"/>
                          </a:lnTo>
                          <a:lnTo>
                            <a:pt x="400" y="3009"/>
                          </a:lnTo>
                          <a:lnTo>
                            <a:pt x="406" y="3083"/>
                          </a:lnTo>
                          <a:lnTo>
                            <a:pt x="412" y="3149"/>
                          </a:lnTo>
                          <a:lnTo>
                            <a:pt x="420" y="3207"/>
                          </a:lnTo>
                          <a:lnTo>
                            <a:pt x="430" y="3258"/>
                          </a:lnTo>
                          <a:lnTo>
                            <a:pt x="440" y="3302"/>
                          </a:lnTo>
                          <a:lnTo>
                            <a:pt x="452" y="3342"/>
                          </a:lnTo>
                          <a:lnTo>
                            <a:pt x="464" y="3376"/>
                          </a:lnTo>
                          <a:lnTo>
                            <a:pt x="474" y="3406"/>
                          </a:lnTo>
                          <a:lnTo>
                            <a:pt x="474" y="3406"/>
                          </a:lnTo>
                          <a:lnTo>
                            <a:pt x="490" y="3442"/>
                          </a:lnTo>
                          <a:lnTo>
                            <a:pt x="506" y="3476"/>
                          </a:lnTo>
                          <a:lnTo>
                            <a:pt x="522" y="3508"/>
                          </a:lnTo>
                          <a:lnTo>
                            <a:pt x="542" y="3538"/>
                          </a:lnTo>
                          <a:lnTo>
                            <a:pt x="562" y="3568"/>
                          </a:lnTo>
                          <a:lnTo>
                            <a:pt x="584" y="3596"/>
                          </a:lnTo>
                          <a:lnTo>
                            <a:pt x="608" y="3624"/>
                          </a:lnTo>
                          <a:lnTo>
                            <a:pt x="634" y="3652"/>
                          </a:lnTo>
                          <a:lnTo>
                            <a:pt x="634" y="3652"/>
                          </a:lnTo>
                          <a:lnTo>
                            <a:pt x="662" y="3680"/>
                          </a:lnTo>
                          <a:lnTo>
                            <a:pt x="690" y="3704"/>
                          </a:lnTo>
                          <a:lnTo>
                            <a:pt x="721" y="3726"/>
                          </a:lnTo>
                          <a:lnTo>
                            <a:pt x="749" y="3746"/>
                          </a:lnTo>
                          <a:lnTo>
                            <a:pt x="781" y="3764"/>
                          </a:lnTo>
                          <a:lnTo>
                            <a:pt x="813" y="3782"/>
                          </a:lnTo>
                          <a:lnTo>
                            <a:pt x="847" y="3798"/>
                          </a:lnTo>
                          <a:lnTo>
                            <a:pt x="883" y="3812"/>
                          </a:lnTo>
                          <a:lnTo>
                            <a:pt x="883" y="3812"/>
                          </a:lnTo>
                          <a:lnTo>
                            <a:pt x="913" y="3824"/>
                          </a:lnTo>
                          <a:lnTo>
                            <a:pt x="947" y="3836"/>
                          </a:lnTo>
                          <a:lnTo>
                            <a:pt x="987" y="3846"/>
                          </a:lnTo>
                          <a:lnTo>
                            <a:pt x="1031" y="3858"/>
                          </a:lnTo>
                          <a:lnTo>
                            <a:pt x="1083" y="3866"/>
                          </a:lnTo>
                          <a:lnTo>
                            <a:pt x="1141" y="3876"/>
                          </a:lnTo>
                          <a:lnTo>
                            <a:pt x="1207" y="3882"/>
                          </a:lnTo>
                          <a:lnTo>
                            <a:pt x="1281" y="3886"/>
                          </a:lnTo>
                          <a:lnTo>
                            <a:pt x="1281" y="3886"/>
                          </a:lnTo>
                          <a:lnTo>
                            <a:pt x="1431" y="3892"/>
                          </a:lnTo>
                          <a:lnTo>
                            <a:pt x="1583" y="3896"/>
                          </a:lnTo>
                          <a:lnTo>
                            <a:pt x="1801" y="3898"/>
                          </a:lnTo>
                          <a:lnTo>
                            <a:pt x="2148" y="3900"/>
                          </a:lnTo>
                          <a:lnTo>
                            <a:pt x="2148" y="3900"/>
                          </a:lnTo>
                          <a:lnTo>
                            <a:pt x="2492" y="3898"/>
                          </a:lnTo>
                          <a:lnTo>
                            <a:pt x="2712" y="3896"/>
                          </a:lnTo>
                          <a:lnTo>
                            <a:pt x="2864" y="3892"/>
                          </a:lnTo>
                          <a:lnTo>
                            <a:pt x="3014" y="3886"/>
                          </a:lnTo>
                          <a:lnTo>
                            <a:pt x="3014" y="3886"/>
                          </a:lnTo>
                          <a:lnTo>
                            <a:pt x="3088" y="3882"/>
                          </a:lnTo>
                          <a:lnTo>
                            <a:pt x="3154" y="3876"/>
                          </a:lnTo>
                          <a:lnTo>
                            <a:pt x="3212" y="3866"/>
                          </a:lnTo>
                          <a:lnTo>
                            <a:pt x="3264" y="3858"/>
                          </a:lnTo>
                          <a:lnTo>
                            <a:pt x="3308" y="3846"/>
                          </a:lnTo>
                          <a:lnTo>
                            <a:pt x="3348" y="3836"/>
                          </a:lnTo>
                          <a:lnTo>
                            <a:pt x="3382" y="3824"/>
                          </a:lnTo>
                          <a:lnTo>
                            <a:pt x="3412" y="3812"/>
                          </a:lnTo>
                          <a:lnTo>
                            <a:pt x="3412" y="3812"/>
                          </a:lnTo>
                          <a:lnTo>
                            <a:pt x="3448" y="3798"/>
                          </a:lnTo>
                          <a:lnTo>
                            <a:pt x="3482" y="3782"/>
                          </a:lnTo>
                          <a:lnTo>
                            <a:pt x="3514" y="3764"/>
                          </a:lnTo>
                          <a:lnTo>
                            <a:pt x="3544" y="3746"/>
                          </a:lnTo>
                          <a:lnTo>
                            <a:pt x="3574" y="3726"/>
                          </a:lnTo>
                          <a:lnTo>
                            <a:pt x="3603" y="3704"/>
                          </a:lnTo>
                          <a:lnTo>
                            <a:pt x="3631" y="3680"/>
                          </a:lnTo>
                          <a:lnTo>
                            <a:pt x="3659" y="3652"/>
                          </a:lnTo>
                          <a:lnTo>
                            <a:pt x="3659" y="3652"/>
                          </a:lnTo>
                          <a:lnTo>
                            <a:pt x="3687" y="3624"/>
                          </a:lnTo>
                          <a:lnTo>
                            <a:pt x="3711" y="3596"/>
                          </a:lnTo>
                          <a:lnTo>
                            <a:pt x="3733" y="3568"/>
                          </a:lnTo>
                          <a:lnTo>
                            <a:pt x="3753" y="3538"/>
                          </a:lnTo>
                          <a:lnTo>
                            <a:pt x="3771" y="3508"/>
                          </a:lnTo>
                          <a:lnTo>
                            <a:pt x="3789" y="3476"/>
                          </a:lnTo>
                          <a:lnTo>
                            <a:pt x="3805" y="3442"/>
                          </a:lnTo>
                          <a:lnTo>
                            <a:pt x="3819" y="3406"/>
                          </a:lnTo>
                          <a:lnTo>
                            <a:pt x="3819" y="3406"/>
                          </a:lnTo>
                          <a:lnTo>
                            <a:pt x="3831" y="3376"/>
                          </a:lnTo>
                          <a:lnTo>
                            <a:pt x="3843" y="3342"/>
                          </a:lnTo>
                          <a:lnTo>
                            <a:pt x="3853" y="3302"/>
                          </a:lnTo>
                          <a:lnTo>
                            <a:pt x="3863" y="3258"/>
                          </a:lnTo>
                          <a:lnTo>
                            <a:pt x="3873" y="3207"/>
                          </a:lnTo>
                          <a:lnTo>
                            <a:pt x="3881" y="3149"/>
                          </a:lnTo>
                          <a:lnTo>
                            <a:pt x="3889" y="3083"/>
                          </a:lnTo>
                          <a:lnTo>
                            <a:pt x="3893" y="3009"/>
                          </a:lnTo>
                          <a:lnTo>
                            <a:pt x="3893" y="3009"/>
                          </a:lnTo>
                          <a:lnTo>
                            <a:pt x="3899" y="2859"/>
                          </a:lnTo>
                          <a:lnTo>
                            <a:pt x="3903" y="2705"/>
                          </a:lnTo>
                          <a:lnTo>
                            <a:pt x="3905" y="2487"/>
                          </a:lnTo>
                          <a:lnTo>
                            <a:pt x="3905" y="2143"/>
                          </a:lnTo>
                          <a:lnTo>
                            <a:pt x="3905" y="2143"/>
                          </a:lnTo>
                          <a:lnTo>
                            <a:pt x="3905" y="1797"/>
                          </a:lnTo>
                          <a:lnTo>
                            <a:pt x="3903" y="1579"/>
                          </a:lnTo>
                          <a:lnTo>
                            <a:pt x="3899" y="1427"/>
                          </a:lnTo>
                          <a:lnTo>
                            <a:pt x="3893" y="1277"/>
                          </a:lnTo>
                          <a:lnTo>
                            <a:pt x="3893" y="1277"/>
                          </a:lnTo>
                          <a:lnTo>
                            <a:pt x="3889" y="1203"/>
                          </a:lnTo>
                          <a:lnTo>
                            <a:pt x="3881" y="1137"/>
                          </a:lnTo>
                          <a:lnTo>
                            <a:pt x="3873" y="1079"/>
                          </a:lnTo>
                          <a:lnTo>
                            <a:pt x="3863" y="1028"/>
                          </a:lnTo>
                          <a:lnTo>
                            <a:pt x="3853" y="984"/>
                          </a:lnTo>
                          <a:lnTo>
                            <a:pt x="3843" y="944"/>
                          </a:lnTo>
                          <a:lnTo>
                            <a:pt x="3831" y="910"/>
                          </a:lnTo>
                          <a:lnTo>
                            <a:pt x="3819" y="880"/>
                          </a:lnTo>
                          <a:lnTo>
                            <a:pt x="3819" y="880"/>
                          </a:lnTo>
                          <a:lnTo>
                            <a:pt x="3805" y="844"/>
                          </a:lnTo>
                          <a:lnTo>
                            <a:pt x="3789" y="810"/>
                          </a:lnTo>
                          <a:lnTo>
                            <a:pt x="3771" y="778"/>
                          </a:lnTo>
                          <a:lnTo>
                            <a:pt x="3753" y="746"/>
                          </a:lnTo>
                          <a:lnTo>
                            <a:pt x="3733" y="718"/>
                          </a:lnTo>
                          <a:lnTo>
                            <a:pt x="3711" y="690"/>
                          </a:lnTo>
                          <a:lnTo>
                            <a:pt x="3687" y="662"/>
                          </a:lnTo>
                          <a:lnTo>
                            <a:pt x="3659" y="634"/>
                          </a:lnTo>
                          <a:lnTo>
                            <a:pt x="3659" y="634"/>
                          </a:lnTo>
                          <a:lnTo>
                            <a:pt x="3631" y="606"/>
                          </a:lnTo>
                          <a:lnTo>
                            <a:pt x="3603" y="582"/>
                          </a:lnTo>
                          <a:lnTo>
                            <a:pt x="3574" y="560"/>
                          </a:lnTo>
                          <a:lnTo>
                            <a:pt x="3544" y="540"/>
                          </a:lnTo>
                          <a:lnTo>
                            <a:pt x="3514" y="520"/>
                          </a:lnTo>
                          <a:lnTo>
                            <a:pt x="3482" y="504"/>
                          </a:lnTo>
                          <a:lnTo>
                            <a:pt x="3448" y="488"/>
                          </a:lnTo>
                          <a:lnTo>
                            <a:pt x="3412" y="472"/>
                          </a:lnTo>
                          <a:lnTo>
                            <a:pt x="3412" y="472"/>
                          </a:lnTo>
                          <a:lnTo>
                            <a:pt x="3382" y="462"/>
                          </a:lnTo>
                          <a:lnTo>
                            <a:pt x="3348" y="450"/>
                          </a:lnTo>
                          <a:lnTo>
                            <a:pt x="3308" y="440"/>
                          </a:lnTo>
                          <a:lnTo>
                            <a:pt x="3264" y="428"/>
                          </a:lnTo>
                          <a:lnTo>
                            <a:pt x="3212" y="418"/>
                          </a:lnTo>
                          <a:lnTo>
                            <a:pt x="3154" y="410"/>
                          </a:lnTo>
                          <a:lnTo>
                            <a:pt x="3088" y="404"/>
                          </a:lnTo>
                          <a:lnTo>
                            <a:pt x="3014" y="400"/>
                          </a:lnTo>
                          <a:lnTo>
                            <a:pt x="3014" y="400"/>
                          </a:lnTo>
                          <a:lnTo>
                            <a:pt x="2864" y="392"/>
                          </a:lnTo>
                          <a:lnTo>
                            <a:pt x="2712" y="388"/>
                          </a:lnTo>
                          <a:lnTo>
                            <a:pt x="2492" y="388"/>
                          </a:lnTo>
                          <a:lnTo>
                            <a:pt x="2148" y="386"/>
                          </a:lnTo>
                          <a:lnTo>
                            <a:pt x="2148" y="386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6250"/>
                    </a:p>
                  </p:txBody>
                </p:sp>
                <p:sp>
                  <p:nvSpPr>
                    <p:cNvPr id="20" name="Freeform 10">
                      <a:extLst>
                        <a:ext uri="{FF2B5EF4-FFF2-40B4-BE49-F238E27FC236}">
                          <a16:creationId xmlns:a16="http://schemas.microsoft.com/office/drawing/2014/main" id="{D9ECBCFA-6BE9-42F3-A813-F589E839BA5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22044" y="989172"/>
                      <a:ext cx="87052" cy="86546"/>
                    </a:xfrm>
                    <a:custGeom>
                      <a:avLst/>
                      <a:gdLst>
                        <a:gd name="T0" fmla="*/ 516 w 516"/>
                        <a:gd name="T1" fmla="*/ 258 h 513"/>
                        <a:gd name="T2" fmla="*/ 510 w 516"/>
                        <a:gd name="T3" fmla="*/ 310 h 513"/>
                        <a:gd name="T4" fmla="*/ 496 w 516"/>
                        <a:gd name="T5" fmla="*/ 357 h 513"/>
                        <a:gd name="T6" fmla="*/ 472 w 516"/>
                        <a:gd name="T7" fmla="*/ 401 h 513"/>
                        <a:gd name="T8" fmla="*/ 440 w 516"/>
                        <a:gd name="T9" fmla="*/ 439 h 513"/>
                        <a:gd name="T10" fmla="*/ 402 w 516"/>
                        <a:gd name="T11" fmla="*/ 469 h 513"/>
                        <a:gd name="T12" fmla="*/ 358 w 516"/>
                        <a:gd name="T13" fmla="*/ 493 h 513"/>
                        <a:gd name="T14" fmla="*/ 310 w 516"/>
                        <a:gd name="T15" fmla="*/ 509 h 513"/>
                        <a:gd name="T16" fmla="*/ 258 w 516"/>
                        <a:gd name="T17" fmla="*/ 513 h 513"/>
                        <a:gd name="T18" fmla="*/ 232 w 516"/>
                        <a:gd name="T19" fmla="*/ 513 h 513"/>
                        <a:gd name="T20" fmla="*/ 182 w 516"/>
                        <a:gd name="T21" fmla="*/ 501 h 513"/>
                        <a:gd name="T22" fmla="*/ 136 w 516"/>
                        <a:gd name="T23" fmla="*/ 483 h 513"/>
                        <a:gd name="T24" fmla="*/ 94 w 516"/>
                        <a:gd name="T25" fmla="*/ 455 h 513"/>
                        <a:gd name="T26" fmla="*/ 60 w 516"/>
                        <a:gd name="T27" fmla="*/ 419 h 513"/>
                        <a:gd name="T28" fmla="*/ 32 w 516"/>
                        <a:gd name="T29" fmla="*/ 379 h 513"/>
                        <a:gd name="T30" fmla="*/ 12 w 516"/>
                        <a:gd name="T31" fmla="*/ 333 h 513"/>
                        <a:gd name="T32" fmla="*/ 2 w 516"/>
                        <a:gd name="T33" fmla="*/ 284 h 513"/>
                        <a:gd name="T34" fmla="*/ 0 w 516"/>
                        <a:gd name="T35" fmla="*/ 258 h 513"/>
                        <a:gd name="T36" fmla="*/ 6 w 516"/>
                        <a:gd name="T37" fmla="*/ 206 h 513"/>
                        <a:gd name="T38" fmla="*/ 22 w 516"/>
                        <a:gd name="T39" fmla="*/ 158 h 513"/>
                        <a:gd name="T40" fmla="*/ 44 w 516"/>
                        <a:gd name="T41" fmla="*/ 114 h 513"/>
                        <a:gd name="T42" fmla="*/ 76 w 516"/>
                        <a:gd name="T43" fmla="*/ 76 h 513"/>
                        <a:gd name="T44" fmla="*/ 114 w 516"/>
                        <a:gd name="T45" fmla="*/ 44 h 513"/>
                        <a:gd name="T46" fmla="*/ 158 w 516"/>
                        <a:gd name="T47" fmla="*/ 20 h 513"/>
                        <a:gd name="T48" fmla="*/ 206 w 516"/>
                        <a:gd name="T49" fmla="*/ 6 h 513"/>
                        <a:gd name="T50" fmla="*/ 258 w 516"/>
                        <a:gd name="T51" fmla="*/ 0 h 513"/>
                        <a:gd name="T52" fmla="*/ 284 w 516"/>
                        <a:gd name="T53" fmla="*/ 2 h 513"/>
                        <a:gd name="T54" fmla="*/ 334 w 516"/>
                        <a:gd name="T55" fmla="*/ 12 h 513"/>
                        <a:gd name="T56" fmla="*/ 380 w 516"/>
                        <a:gd name="T57" fmla="*/ 30 h 513"/>
                        <a:gd name="T58" fmla="*/ 422 w 516"/>
                        <a:gd name="T59" fmla="*/ 58 h 513"/>
                        <a:gd name="T60" fmla="*/ 456 w 516"/>
                        <a:gd name="T61" fmla="*/ 94 h 513"/>
                        <a:gd name="T62" fmla="*/ 484 w 516"/>
                        <a:gd name="T63" fmla="*/ 134 h 513"/>
                        <a:gd name="T64" fmla="*/ 504 w 516"/>
                        <a:gd name="T65" fmla="*/ 180 h 513"/>
                        <a:gd name="T66" fmla="*/ 514 w 516"/>
                        <a:gd name="T67" fmla="*/ 230 h 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516" h="513">
                          <a:moveTo>
                            <a:pt x="516" y="258"/>
                          </a:moveTo>
                          <a:lnTo>
                            <a:pt x="516" y="258"/>
                          </a:lnTo>
                          <a:lnTo>
                            <a:pt x="514" y="284"/>
                          </a:lnTo>
                          <a:lnTo>
                            <a:pt x="510" y="310"/>
                          </a:lnTo>
                          <a:lnTo>
                            <a:pt x="504" y="333"/>
                          </a:lnTo>
                          <a:lnTo>
                            <a:pt x="496" y="357"/>
                          </a:lnTo>
                          <a:lnTo>
                            <a:pt x="484" y="379"/>
                          </a:lnTo>
                          <a:lnTo>
                            <a:pt x="472" y="401"/>
                          </a:lnTo>
                          <a:lnTo>
                            <a:pt x="456" y="419"/>
                          </a:lnTo>
                          <a:lnTo>
                            <a:pt x="440" y="439"/>
                          </a:lnTo>
                          <a:lnTo>
                            <a:pt x="422" y="455"/>
                          </a:lnTo>
                          <a:lnTo>
                            <a:pt x="402" y="469"/>
                          </a:lnTo>
                          <a:lnTo>
                            <a:pt x="380" y="483"/>
                          </a:lnTo>
                          <a:lnTo>
                            <a:pt x="358" y="493"/>
                          </a:lnTo>
                          <a:lnTo>
                            <a:pt x="334" y="501"/>
                          </a:lnTo>
                          <a:lnTo>
                            <a:pt x="310" y="509"/>
                          </a:lnTo>
                          <a:lnTo>
                            <a:pt x="284" y="513"/>
                          </a:lnTo>
                          <a:lnTo>
                            <a:pt x="258" y="513"/>
                          </a:lnTo>
                          <a:lnTo>
                            <a:pt x="258" y="513"/>
                          </a:lnTo>
                          <a:lnTo>
                            <a:pt x="232" y="513"/>
                          </a:lnTo>
                          <a:lnTo>
                            <a:pt x="206" y="509"/>
                          </a:lnTo>
                          <a:lnTo>
                            <a:pt x="182" y="501"/>
                          </a:lnTo>
                          <a:lnTo>
                            <a:pt x="158" y="493"/>
                          </a:lnTo>
                          <a:lnTo>
                            <a:pt x="136" y="483"/>
                          </a:lnTo>
                          <a:lnTo>
                            <a:pt x="114" y="469"/>
                          </a:lnTo>
                          <a:lnTo>
                            <a:pt x="94" y="455"/>
                          </a:lnTo>
                          <a:lnTo>
                            <a:pt x="76" y="439"/>
                          </a:lnTo>
                          <a:lnTo>
                            <a:pt x="60" y="419"/>
                          </a:lnTo>
                          <a:lnTo>
                            <a:pt x="44" y="401"/>
                          </a:lnTo>
                          <a:lnTo>
                            <a:pt x="32" y="379"/>
                          </a:lnTo>
                          <a:lnTo>
                            <a:pt x="22" y="357"/>
                          </a:lnTo>
                          <a:lnTo>
                            <a:pt x="12" y="333"/>
                          </a:lnTo>
                          <a:lnTo>
                            <a:pt x="6" y="310"/>
                          </a:lnTo>
                          <a:lnTo>
                            <a:pt x="2" y="284"/>
                          </a:lnTo>
                          <a:lnTo>
                            <a:pt x="0" y="258"/>
                          </a:lnTo>
                          <a:lnTo>
                            <a:pt x="0" y="258"/>
                          </a:lnTo>
                          <a:lnTo>
                            <a:pt x="2" y="230"/>
                          </a:lnTo>
                          <a:lnTo>
                            <a:pt x="6" y="206"/>
                          </a:lnTo>
                          <a:lnTo>
                            <a:pt x="12" y="180"/>
                          </a:lnTo>
                          <a:lnTo>
                            <a:pt x="22" y="158"/>
                          </a:lnTo>
                          <a:lnTo>
                            <a:pt x="32" y="134"/>
                          </a:lnTo>
                          <a:lnTo>
                            <a:pt x="44" y="114"/>
                          </a:lnTo>
                          <a:lnTo>
                            <a:pt x="60" y="94"/>
                          </a:lnTo>
                          <a:lnTo>
                            <a:pt x="76" y="76"/>
                          </a:lnTo>
                          <a:lnTo>
                            <a:pt x="94" y="58"/>
                          </a:lnTo>
                          <a:lnTo>
                            <a:pt x="114" y="44"/>
                          </a:lnTo>
                          <a:lnTo>
                            <a:pt x="136" y="30"/>
                          </a:lnTo>
                          <a:lnTo>
                            <a:pt x="158" y="20"/>
                          </a:lnTo>
                          <a:lnTo>
                            <a:pt x="182" y="12"/>
                          </a:lnTo>
                          <a:lnTo>
                            <a:pt x="206" y="6"/>
                          </a:lnTo>
                          <a:lnTo>
                            <a:pt x="232" y="2"/>
                          </a:lnTo>
                          <a:lnTo>
                            <a:pt x="258" y="0"/>
                          </a:lnTo>
                          <a:lnTo>
                            <a:pt x="258" y="0"/>
                          </a:lnTo>
                          <a:lnTo>
                            <a:pt x="284" y="2"/>
                          </a:lnTo>
                          <a:lnTo>
                            <a:pt x="310" y="6"/>
                          </a:lnTo>
                          <a:lnTo>
                            <a:pt x="334" y="12"/>
                          </a:lnTo>
                          <a:lnTo>
                            <a:pt x="358" y="20"/>
                          </a:lnTo>
                          <a:lnTo>
                            <a:pt x="380" y="30"/>
                          </a:lnTo>
                          <a:lnTo>
                            <a:pt x="402" y="44"/>
                          </a:lnTo>
                          <a:lnTo>
                            <a:pt x="422" y="58"/>
                          </a:lnTo>
                          <a:lnTo>
                            <a:pt x="440" y="76"/>
                          </a:lnTo>
                          <a:lnTo>
                            <a:pt x="456" y="94"/>
                          </a:lnTo>
                          <a:lnTo>
                            <a:pt x="472" y="114"/>
                          </a:lnTo>
                          <a:lnTo>
                            <a:pt x="484" y="134"/>
                          </a:lnTo>
                          <a:lnTo>
                            <a:pt x="496" y="158"/>
                          </a:lnTo>
                          <a:lnTo>
                            <a:pt x="504" y="180"/>
                          </a:lnTo>
                          <a:lnTo>
                            <a:pt x="510" y="206"/>
                          </a:lnTo>
                          <a:lnTo>
                            <a:pt x="514" y="230"/>
                          </a:lnTo>
                          <a:lnTo>
                            <a:pt x="516" y="258"/>
                          </a:lnTo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6250"/>
                    </a:p>
                  </p:txBody>
                </p:sp>
              </p:grpSp>
              <p:sp>
                <p:nvSpPr>
                  <p:cNvPr id="18" name="Freeform: Shape 17">
                    <a:extLst>
                      <a:ext uri="{FF2B5EF4-FFF2-40B4-BE49-F238E27FC236}">
                        <a16:creationId xmlns:a16="http://schemas.microsoft.com/office/drawing/2014/main" id="{5D2B2E84-0B45-40F1-B236-FF77B222A3C1}"/>
                      </a:ext>
                    </a:extLst>
                  </p:cNvPr>
                  <p:cNvSpPr/>
                  <p:nvPr/>
                </p:nvSpPr>
                <p:spPr>
                  <a:xfrm>
                    <a:off x="1101879" y="5789104"/>
                    <a:ext cx="358205" cy="358205"/>
                  </a:xfrm>
                  <a:custGeom>
                    <a:avLst/>
                    <a:gdLst>
                      <a:gd name="connsiteX0" fmla="*/ 152792 w 305584"/>
                      <a:gd name="connsiteY0" fmla="*/ 59791 h 305584"/>
                      <a:gd name="connsiteX1" fmla="*/ 59791 w 305584"/>
                      <a:gd name="connsiteY1" fmla="*/ 152790 h 305584"/>
                      <a:gd name="connsiteX2" fmla="*/ 152792 w 305584"/>
                      <a:gd name="connsiteY2" fmla="*/ 245789 h 305584"/>
                      <a:gd name="connsiteX3" fmla="*/ 245793 w 305584"/>
                      <a:gd name="connsiteY3" fmla="*/ 152790 h 305584"/>
                      <a:gd name="connsiteX4" fmla="*/ 152792 w 305584"/>
                      <a:gd name="connsiteY4" fmla="*/ 59791 h 305584"/>
                      <a:gd name="connsiteX5" fmla="*/ 152792 w 305584"/>
                      <a:gd name="connsiteY5" fmla="*/ 0 h 305584"/>
                      <a:gd name="connsiteX6" fmla="*/ 305584 w 305584"/>
                      <a:gd name="connsiteY6" fmla="*/ 152792 h 305584"/>
                      <a:gd name="connsiteX7" fmla="*/ 152792 w 305584"/>
                      <a:gd name="connsiteY7" fmla="*/ 305584 h 305584"/>
                      <a:gd name="connsiteX8" fmla="*/ 0 w 305584"/>
                      <a:gd name="connsiteY8" fmla="*/ 152792 h 305584"/>
                      <a:gd name="connsiteX9" fmla="*/ 152792 w 305584"/>
                      <a:gd name="connsiteY9" fmla="*/ 0 h 3055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05584" h="305584">
                        <a:moveTo>
                          <a:pt x="152792" y="59791"/>
                        </a:moveTo>
                        <a:cubicBezTo>
                          <a:pt x="101429" y="59791"/>
                          <a:pt x="59791" y="101428"/>
                          <a:pt x="59791" y="152790"/>
                        </a:cubicBezTo>
                        <a:cubicBezTo>
                          <a:pt x="59791" y="204152"/>
                          <a:pt x="101429" y="245789"/>
                          <a:pt x="152792" y="245789"/>
                        </a:cubicBezTo>
                        <a:cubicBezTo>
                          <a:pt x="204155" y="245789"/>
                          <a:pt x="245793" y="204152"/>
                          <a:pt x="245793" y="152790"/>
                        </a:cubicBezTo>
                        <a:cubicBezTo>
                          <a:pt x="245793" y="101428"/>
                          <a:pt x="204155" y="59791"/>
                          <a:pt x="152792" y="59791"/>
                        </a:cubicBezTo>
                        <a:close/>
                        <a:moveTo>
                          <a:pt x="152792" y="0"/>
                        </a:moveTo>
                        <a:cubicBezTo>
                          <a:pt x="237177" y="0"/>
                          <a:pt x="305584" y="68407"/>
                          <a:pt x="305584" y="152792"/>
                        </a:cubicBezTo>
                        <a:cubicBezTo>
                          <a:pt x="305584" y="237177"/>
                          <a:pt x="237177" y="305584"/>
                          <a:pt x="152792" y="305584"/>
                        </a:cubicBezTo>
                        <a:cubicBezTo>
                          <a:pt x="68407" y="305584"/>
                          <a:pt x="0" y="237177"/>
                          <a:pt x="0" y="152792"/>
                        </a:cubicBezTo>
                        <a:cubicBezTo>
                          <a:pt x="0" y="68407"/>
                          <a:pt x="68407" y="0"/>
                          <a:pt x="152792" y="0"/>
                        </a:cubicBezTo>
                        <a:close/>
                      </a:path>
                    </a:pathLst>
                  </a:custGeom>
                  <a:grpFill/>
                  <a:ln w="285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id-ID" sz="6250"/>
                  </a:p>
                </p:txBody>
              </p:sp>
            </p:grp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79DF70D-AFC7-4CC1-AEEF-F2B5F9F0E71B}"/>
                </a:ext>
              </a:extLst>
            </p:cNvPr>
            <p:cNvGrpSpPr/>
            <p:nvPr userDrawn="1"/>
          </p:nvGrpSpPr>
          <p:grpSpPr>
            <a:xfrm>
              <a:off x="18297807" y="9925183"/>
              <a:ext cx="285384" cy="285384"/>
              <a:chOff x="12991645" y="6161514"/>
              <a:chExt cx="552389" cy="552389"/>
            </a:xfrm>
            <a:effectLst>
              <a:outerShdw blurRad="254000" dist="165100" dir="6600000" sx="70000" sy="70000" algn="t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9" name="Rectangle: Top Corners Rounded 8">
                <a:extLst>
                  <a:ext uri="{FF2B5EF4-FFF2-40B4-BE49-F238E27FC236}">
                    <a16:creationId xmlns:a16="http://schemas.microsoft.com/office/drawing/2014/main" id="{270BC8CC-6955-487B-856D-6B7CAF8C9A83}"/>
                  </a:ext>
                </a:extLst>
              </p:cNvPr>
              <p:cNvSpPr/>
              <p:nvPr/>
            </p:nvSpPr>
            <p:spPr>
              <a:xfrm rot="5400000">
                <a:off x="12991645" y="6161514"/>
                <a:ext cx="552389" cy="552389"/>
              </a:xfrm>
              <a:prstGeom prst="round2Same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  <a:alpha val="76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D9113FED-9548-4927-8130-56D0EBF1B1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10801" y="6338988"/>
                <a:ext cx="114076" cy="197440"/>
              </a:xfrm>
              <a:custGeom>
                <a:avLst/>
                <a:gdLst>
                  <a:gd name="T0" fmla="*/ 917464 w 228"/>
                  <a:gd name="T1" fmla="*/ 6378503 h 396"/>
                  <a:gd name="T2" fmla="*/ 917464 w 228"/>
                  <a:gd name="T3" fmla="*/ 6378503 h 396"/>
                  <a:gd name="T4" fmla="*/ 20449952 w 228"/>
                  <a:gd name="T5" fmla="*/ 25644259 h 396"/>
                  <a:gd name="T6" fmla="*/ 917464 w 228"/>
                  <a:gd name="T7" fmla="*/ 45951270 h 396"/>
                  <a:gd name="T8" fmla="*/ 917464 w 228"/>
                  <a:gd name="T9" fmla="*/ 45951270 h 396"/>
                  <a:gd name="T10" fmla="*/ 0 w 228"/>
                  <a:gd name="T11" fmla="*/ 47773648 h 396"/>
                  <a:gd name="T12" fmla="*/ 3801645 w 228"/>
                  <a:gd name="T13" fmla="*/ 51418403 h 396"/>
                  <a:gd name="T14" fmla="*/ 6554398 w 228"/>
                  <a:gd name="T15" fmla="*/ 50507395 h 396"/>
                  <a:gd name="T16" fmla="*/ 6554398 w 228"/>
                  <a:gd name="T17" fmla="*/ 50507395 h 396"/>
                  <a:gd name="T18" fmla="*/ 28839639 w 228"/>
                  <a:gd name="T19" fmla="*/ 28507892 h 396"/>
                  <a:gd name="T20" fmla="*/ 28839639 w 228"/>
                  <a:gd name="T21" fmla="*/ 28507892 h 396"/>
                  <a:gd name="T22" fmla="*/ 29757103 w 228"/>
                  <a:gd name="T23" fmla="*/ 25644259 h 396"/>
                  <a:gd name="T24" fmla="*/ 29757103 w 228"/>
                  <a:gd name="T25" fmla="*/ 25644259 h 396"/>
                  <a:gd name="T26" fmla="*/ 29757103 w 228"/>
                  <a:gd name="T27" fmla="*/ 25644259 h 396"/>
                  <a:gd name="T28" fmla="*/ 28839639 w 228"/>
                  <a:gd name="T29" fmla="*/ 22910511 h 396"/>
                  <a:gd name="T30" fmla="*/ 28839639 w 228"/>
                  <a:gd name="T31" fmla="*/ 22910511 h 396"/>
                  <a:gd name="T32" fmla="*/ 6554398 w 228"/>
                  <a:gd name="T33" fmla="*/ 911369 h 396"/>
                  <a:gd name="T34" fmla="*/ 6554398 w 228"/>
                  <a:gd name="T35" fmla="*/ 911369 h 396"/>
                  <a:gd name="T36" fmla="*/ 3801645 w 228"/>
                  <a:gd name="T37" fmla="*/ 0 h 396"/>
                  <a:gd name="T38" fmla="*/ 0 w 228"/>
                  <a:gd name="T39" fmla="*/ 3644756 h 396"/>
                  <a:gd name="T40" fmla="*/ 917464 w 228"/>
                  <a:gd name="T41" fmla="*/ 6378503 h 39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28" h="396">
                    <a:moveTo>
                      <a:pt x="7" y="49"/>
                    </a:moveTo>
                    <a:lnTo>
                      <a:pt x="7" y="49"/>
                    </a:lnTo>
                    <a:cubicBezTo>
                      <a:pt x="156" y="197"/>
                      <a:pt x="156" y="197"/>
                      <a:pt x="156" y="197"/>
                    </a:cubicBezTo>
                    <a:cubicBezTo>
                      <a:pt x="7" y="353"/>
                      <a:pt x="7" y="353"/>
                      <a:pt x="7" y="353"/>
                    </a:cubicBezTo>
                    <a:cubicBezTo>
                      <a:pt x="0" y="353"/>
                      <a:pt x="0" y="360"/>
                      <a:pt x="0" y="367"/>
                    </a:cubicBezTo>
                    <a:cubicBezTo>
                      <a:pt x="0" y="388"/>
                      <a:pt x="15" y="395"/>
                      <a:pt x="29" y="395"/>
                    </a:cubicBezTo>
                    <a:cubicBezTo>
                      <a:pt x="36" y="395"/>
                      <a:pt x="43" y="395"/>
                      <a:pt x="50" y="388"/>
                    </a:cubicBezTo>
                    <a:cubicBezTo>
                      <a:pt x="220" y="219"/>
                      <a:pt x="220" y="219"/>
                      <a:pt x="220" y="219"/>
                    </a:cubicBezTo>
                    <a:cubicBezTo>
                      <a:pt x="227" y="212"/>
                      <a:pt x="227" y="205"/>
                      <a:pt x="227" y="197"/>
                    </a:cubicBezTo>
                    <a:cubicBezTo>
                      <a:pt x="227" y="190"/>
                      <a:pt x="227" y="183"/>
                      <a:pt x="220" y="176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3" y="7"/>
                      <a:pt x="36" y="0"/>
                      <a:pt x="29" y="0"/>
                    </a:cubicBezTo>
                    <a:cubicBezTo>
                      <a:pt x="15" y="0"/>
                      <a:pt x="0" y="14"/>
                      <a:pt x="0" y="28"/>
                    </a:cubicBezTo>
                    <a:cubicBezTo>
                      <a:pt x="0" y="42"/>
                      <a:pt x="7" y="49"/>
                      <a:pt x="7" y="49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sz="6250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6EBA6DE-92FC-4403-984B-088EE6A9BC5E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07DBA50-4519-4077-B7B0-93D3F6CF9274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30" name="Freeform 62">
                <a:extLst>
                  <a:ext uri="{FF2B5EF4-FFF2-40B4-BE49-F238E27FC236}">
                    <a16:creationId xmlns:a16="http://schemas.microsoft.com/office/drawing/2014/main" id="{CAEA5514-0327-4C23-B2A4-5D8EE78304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26A2E73-16F4-47CC-A689-780D4B65FD8B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9545763-7DE7-4FD7-961B-D7F8F6078A81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404361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" presetClass="entr" presetSubtype="4" fill="hold" grpId="0" nodeType="withEffect" p14:presetBounceEnd="50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0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 animBg="1"/>
          <p:bldP spid="3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 animBg="1"/>
          <p:bldP spid="33" grpId="0" animBg="1"/>
        </p:bldLst>
      </p:timing>
    </mc:Fallback>
  </mc:AlternateConten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BDAB790-66FA-4ACA-9AC3-AEA3AABE88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310742"/>
            <a:ext cx="9158160" cy="940525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13F4B55-E29F-4FFA-BB22-913DD753662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1788" y="5225141"/>
            <a:ext cx="7505913" cy="7576458"/>
          </a:xfrm>
          <a:custGeom>
            <a:avLst/>
            <a:gdLst>
              <a:gd name="connsiteX0" fmla="*/ 94488 w 5995446"/>
              <a:gd name="connsiteY0" fmla="*/ 0 h 6061166"/>
              <a:gd name="connsiteX1" fmla="*/ 5900958 w 5995446"/>
              <a:gd name="connsiteY1" fmla="*/ 0 h 6061166"/>
              <a:gd name="connsiteX2" fmla="*/ 5995446 w 5995446"/>
              <a:gd name="connsiteY2" fmla="*/ 94488 h 6061166"/>
              <a:gd name="connsiteX3" fmla="*/ 5995446 w 5995446"/>
              <a:gd name="connsiteY3" fmla="*/ 5966678 h 6061166"/>
              <a:gd name="connsiteX4" fmla="*/ 5900958 w 5995446"/>
              <a:gd name="connsiteY4" fmla="*/ 6061166 h 6061166"/>
              <a:gd name="connsiteX5" fmla="*/ 94488 w 5995446"/>
              <a:gd name="connsiteY5" fmla="*/ 6061166 h 6061166"/>
              <a:gd name="connsiteX6" fmla="*/ 0 w 5995446"/>
              <a:gd name="connsiteY6" fmla="*/ 5966678 h 6061166"/>
              <a:gd name="connsiteX7" fmla="*/ 0 w 5995446"/>
              <a:gd name="connsiteY7" fmla="*/ 94488 h 6061166"/>
              <a:gd name="connsiteX8" fmla="*/ 94488 w 5995446"/>
              <a:gd name="connsiteY8" fmla="*/ 0 h 6061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95446" h="6061166">
                <a:moveTo>
                  <a:pt x="94488" y="0"/>
                </a:moveTo>
                <a:lnTo>
                  <a:pt x="5900958" y="0"/>
                </a:lnTo>
                <a:cubicBezTo>
                  <a:pt x="5953142" y="0"/>
                  <a:pt x="5995446" y="42304"/>
                  <a:pt x="5995446" y="94488"/>
                </a:cubicBezTo>
                <a:lnTo>
                  <a:pt x="5995446" y="5966678"/>
                </a:lnTo>
                <a:cubicBezTo>
                  <a:pt x="5995446" y="6018862"/>
                  <a:pt x="5953142" y="6061166"/>
                  <a:pt x="5900958" y="6061166"/>
                </a:cubicBezTo>
                <a:lnTo>
                  <a:pt x="94488" y="6061166"/>
                </a:lnTo>
                <a:cubicBezTo>
                  <a:pt x="42304" y="6061166"/>
                  <a:pt x="0" y="6018862"/>
                  <a:pt x="0" y="5966678"/>
                </a:cubicBezTo>
                <a:lnTo>
                  <a:pt x="0" y="94488"/>
                </a:lnTo>
                <a:cubicBezTo>
                  <a:pt x="0" y="42304"/>
                  <a:pt x="42304" y="0"/>
                  <a:pt x="9448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dist="635000" dir="8100000" sx="95000" sy="95000" algn="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79101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31C64BAF-AFF8-41F3-BF94-A0F76265CB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73126" y="1698172"/>
            <a:ext cx="10429167" cy="506866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BB5B36F-FAE4-463B-A316-85C5253658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281708" y="1698172"/>
            <a:ext cx="10429167" cy="506866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463F119F-E155-4345-A5DE-6D4B9ABCB2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73126" y="6949168"/>
            <a:ext cx="10429167" cy="506866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EA7F786-4872-4E07-9DE6-3DBDDFA5D2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281708" y="6949168"/>
            <a:ext cx="10429167" cy="506866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56242020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3168444-211A-4264-9C41-D338A0F33A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0DD8179E-EAAE-4FC4-8432-4C55FD52AA5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661762" y="6378680"/>
            <a:ext cx="4135944" cy="575187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>
            <a:outerShdw blurRad="1270000" dist="457200" dir="5400000" sx="90000" sy="9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8000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</p:bldLst>
      </p:timing>
    </mc:Fallback>
  </mc:AlternateConten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4124052-8A39-43A3-B0A0-2526730C18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94143" y="5309418"/>
            <a:ext cx="4789959" cy="624886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>
            <a:outerShdw blurRad="1270000" dist="457200" dir="5400000" sx="90000" sy="9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1848302C-1250-4D99-96CD-5A764CF2885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186142" y="5309418"/>
            <a:ext cx="4789959" cy="624886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>
            <a:outerShdw blurRad="1270000" dist="457200" dir="5400000" sx="90000" sy="9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4852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  <p:bldP spid="5" grpId="0" animBg="1"/>
        </p:bldLst>
      </p:timing>
    </mc:Fallback>
  </mc:AlternateConten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1C784D85-BA2D-4C03-8DD0-D87F6EDE4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096542" y="2359647"/>
            <a:ext cx="5287458" cy="37241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DDB842A-0FCC-45A5-B206-C564514316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96542" y="7632195"/>
            <a:ext cx="5287458" cy="37241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5E89E00D-319A-46E3-A5D5-B5231225F2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949981" y="4239966"/>
            <a:ext cx="7434018" cy="5236068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1270000" dist="762000" dir="2700000" sx="90000" sy="9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66164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C50B6D3-8D26-4727-B80C-EE47040D25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75368" y="6012805"/>
            <a:ext cx="3052720" cy="3048000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2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1B9A3FF-03D0-4C42-BEC6-F4E54DE7540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090672" y="6012805"/>
            <a:ext cx="3052720" cy="3048000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2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78500-5907-442A-AD80-DA856A56EAB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398324" y="6012805"/>
            <a:ext cx="3052720" cy="3048000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2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225EC9D-3137-4E6F-8CE3-EB08161592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705974" y="6012805"/>
            <a:ext cx="3052720" cy="3048000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2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8788487-88A4-4A40-BCBD-191622DA35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363275" y="5593709"/>
            <a:ext cx="3892211" cy="3886193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sx="85000" sy="85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22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1355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2" fill="hold" grpId="0" nodeType="withEffect" p14:presetBounceEnd="50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2" fill="hold" grpId="0" nodeType="withEffect" p14:presetBounceEnd="50000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9" grpId="0" animBg="1"/>
          <p:bldP spid="10" grpId="0" animBg="1"/>
          <p:bldP spid="11" grpId="0" animBg="1"/>
          <p:bldP spid="1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2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2" fill="hold" grpId="0" nodeType="withEffect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9" grpId="0" animBg="1"/>
          <p:bldP spid="10" grpId="0" animBg="1"/>
          <p:bldP spid="11" grpId="0" animBg="1"/>
          <p:bldP spid="12" grpId="0" animBg="1"/>
        </p:bldLst>
      </p:timing>
    </mc:Fallback>
  </mc:AlternateConten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275ECDC0-B9FC-4BBF-945A-27B81FF37A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768589" y="2667002"/>
            <a:ext cx="9128807" cy="2686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43ECD4-1B3C-429A-B043-82DB0A1960A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768589" y="5514565"/>
            <a:ext cx="9128807" cy="2686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85E878C-D138-41DA-B07D-1E13162448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768589" y="8362129"/>
            <a:ext cx="9128807" cy="2686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33113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20CAC107-F04A-4613-9E66-5FBD7A992E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85017" y="2667002"/>
            <a:ext cx="9128807" cy="2686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65762E54-07B7-4A88-AFF6-C0E6E3A31D3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085017" y="5514565"/>
            <a:ext cx="9128807" cy="2686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10C7068C-DE8C-4F1A-B435-1A67D3ACBF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085017" y="8362129"/>
            <a:ext cx="9128807" cy="2686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86310826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A39EC7CB-0265-4FA5-800F-EC7571D7F2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568152" y="2315997"/>
            <a:ext cx="4298440" cy="2450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3858761A-26AF-4534-8D42-7D8B20E206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417807" y="2315997"/>
            <a:ext cx="4298440" cy="2450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8DC5BD10-6740-430E-B60F-B91DEF50FB2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568152" y="7094489"/>
            <a:ext cx="4298440" cy="2450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9E9F296F-CA12-45BF-93D1-32463A9748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417807" y="7094489"/>
            <a:ext cx="4298440" cy="2450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80760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47DB-CF39-4949-BB30-DC9FAE67F510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6" name="Freeform: Shape 21">
            <a:extLst>
              <a:ext uri="{FF2B5EF4-FFF2-40B4-BE49-F238E27FC236}">
                <a16:creationId xmlns:a16="http://schemas.microsoft.com/office/drawing/2014/main" id="{67C41435-3C26-4A13-B120-57F7150B67F3}"/>
              </a:ext>
            </a:extLst>
          </p:cNvPr>
          <p:cNvSpPr/>
          <p:nvPr userDrawn="1"/>
        </p:nvSpPr>
        <p:spPr>
          <a:xfrm>
            <a:off x="2107247" y="1520609"/>
            <a:ext cx="20779110" cy="10200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2159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180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683338" y="2460978"/>
            <a:ext cx="3922212" cy="8173156"/>
          </a:xfrm>
          <a:custGeom>
            <a:avLst/>
            <a:gdLst>
              <a:gd name="connsiteX0" fmla="*/ 270417 w 1961106"/>
              <a:gd name="connsiteY0" fmla="*/ 0 h 4086578"/>
              <a:gd name="connsiteX1" fmla="*/ 1690689 w 1961106"/>
              <a:gd name="connsiteY1" fmla="*/ 0 h 4086578"/>
              <a:gd name="connsiteX2" fmla="*/ 1961106 w 1961106"/>
              <a:gd name="connsiteY2" fmla="*/ 270417 h 4086578"/>
              <a:gd name="connsiteX3" fmla="*/ 1961106 w 1961106"/>
              <a:gd name="connsiteY3" fmla="*/ 3816161 h 4086578"/>
              <a:gd name="connsiteX4" fmla="*/ 1690689 w 1961106"/>
              <a:gd name="connsiteY4" fmla="*/ 4086578 h 4086578"/>
              <a:gd name="connsiteX5" fmla="*/ 270417 w 1961106"/>
              <a:gd name="connsiteY5" fmla="*/ 4086578 h 4086578"/>
              <a:gd name="connsiteX6" fmla="*/ 0 w 1961106"/>
              <a:gd name="connsiteY6" fmla="*/ 3816161 h 4086578"/>
              <a:gd name="connsiteX7" fmla="*/ 0 w 1961106"/>
              <a:gd name="connsiteY7" fmla="*/ 270417 h 4086578"/>
              <a:gd name="connsiteX8" fmla="*/ 270417 w 1961106"/>
              <a:gd name="connsiteY8" fmla="*/ 0 h 4086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61106" h="4086578">
                <a:moveTo>
                  <a:pt x="270417" y="0"/>
                </a:moveTo>
                <a:lnTo>
                  <a:pt x="1690689" y="0"/>
                </a:lnTo>
                <a:cubicBezTo>
                  <a:pt x="1840036" y="0"/>
                  <a:pt x="1961106" y="121070"/>
                  <a:pt x="1961106" y="270417"/>
                </a:cubicBezTo>
                <a:lnTo>
                  <a:pt x="1961106" y="3816161"/>
                </a:lnTo>
                <a:cubicBezTo>
                  <a:pt x="1961106" y="3965508"/>
                  <a:pt x="1840036" y="4086578"/>
                  <a:pt x="1690689" y="4086578"/>
                </a:cubicBezTo>
                <a:lnTo>
                  <a:pt x="270417" y="4086578"/>
                </a:lnTo>
                <a:cubicBezTo>
                  <a:pt x="121070" y="4086578"/>
                  <a:pt x="0" y="3965508"/>
                  <a:pt x="0" y="3816161"/>
                </a:cubicBezTo>
                <a:lnTo>
                  <a:pt x="0" y="270417"/>
                </a:lnTo>
                <a:cubicBezTo>
                  <a:pt x="0" y="121070"/>
                  <a:pt x="121070" y="0"/>
                  <a:pt x="270417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2192001" y="2322288"/>
            <a:ext cx="6567714" cy="3549716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4778741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F458C617-F6BC-45DB-A95A-781F099B0CA7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0">
                <a:schemeClr val="tx1">
                  <a:lumMod val="75000"/>
                  <a:lumOff val="25000"/>
                  <a:alpha val="30000"/>
                </a:schemeClr>
              </a:gs>
              <a:gs pos="100000">
                <a:schemeClr val="accent6">
                  <a:alpha val="3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25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30B975-212F-4887-AE5D-FDACB7B3217F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A99546-4BE0-4C92-A753-06E097159B4E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alpha val="87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F61633-C25D-4505-975F-EEDF3D0D7353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3BAD6D-DE26-4DAF-9EA2-C32B3E7529B4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04EFB20-D54A-4F90-95D8-D1AEAE264056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FDDDE1D-55B8-46E7-AE5F-5FCF407A7A0C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1" name="Freeform 85">
                <a:extLst>
                  <a:ext uri="{FF2B5EF4-FFF2-40B4-BE49-F238E27FC236}">
                    <a16:creationId xmlns:a16="http://schemas.microsoft.com/office/drawing/2014/main" id="{0C9C4F35-A477-4E44-98F0-A24F74C4D90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701E0AAB-3660-453F-AF03-AB961EABA58C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E659786-B284-4C92-BEF0-8A62863B9BC0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19" name="Freeform 75">
                <a:extLst>
                  <a:ext uri="{FF2B5EF4-FFF2-40B4-BE49-F238E27FC236}">
                    <a16:creationId xmlns:a16="http://schemas.microsoft.com/office/drawing/2014/main" id="{E0B000C6-2C56-4892-8A8D-C08BF37BCDC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81E282A2-CC10-417A-9978-193DF1B0F14D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96DACAE-6C63-48E4-BDE2-B59DF959307B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17" name="Freeform 74">
                <a:extLst>
                  <a:ext uri="{FF2B5EF4-FFF2-40B4-BE49-F238E27FC236}">
                    <a16:creationId xmlns:a16="http://schemas.microsoft.com/office/drawing/2014/main" id="{4F9D5087-FD76-4E72-B8B1-22F8F5322D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BE83844E-85F2-4153-A7BD-0A0BFCD3108F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080B64-84E6-4E2A-916C-B7E9C3B93620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A1AD85E-C7CE-48FF-9ACF-FAF291DD4398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7FD1F1B4-5310-42A3-9F26-69C8360FA7CD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AA659B54-525E-43C1-B319-BA3E55706B1F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5" name="Freeform 5">
                    <a:extLst>
                      <a:ext uri="{FF2B5EF4-FFF2-40B4-BE49-F238E27FC236}">
                        <a16:creationId xmlns:a16="http://schemas.microsoft.com/office/drawing/2014/main" id="{324343B7-40B3-42B6-A3B4-C37891F0FF7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16" name="Freeform 10">
                    <a:extLst>
                      <a:ext uri="{FF2B5EF4-FFF2-40B4-BE49-F238E27FC236}">
                        <a16:creationId xmlns:a16="http://schemas.microsoft.com/office/drawing/2014/main" id="{A8DFC1DB-D4B2-4026-955E-0FB2A8C94F3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ABBF0B36-1B52-4A7F-92DC-B7D92F8D4960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2E3906E-55FD-4285-AE59-197C1ABC7C8F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7D04FCE8-C056-4906-8B27-85CE7C53B30E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C43C9670-B674-4097-8789-E6E57A721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F48E56A-BE7B-4469-96E5-0D0ED006B4DD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0E35957-EABB-4436-AC00-042518B342BC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29" name="Freeform 62">
                <a:extLst>
                  <a:ext uri="{FF2B5EF4-FFF2-40B4-BE49-F238E27FC236}">
                    <a16:creationId xmlns:a16="http://schemas.microsoft.com/office/drawing/2014/main" id="{4F11940F-6C37-4404-A30E-1F9641CB47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874F7FE-2417-4033-85D7-B9119BE60ABA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483F04B-66C1-4BEC-88A7-9E32416A7064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1052199927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1B0AC14-CC57-4092-AA4E-C8BB0DE02A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96279" y="559468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AFF170D-2699-4436-8BC1-A8A3D309701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03242" y="559468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E6CABD5-0945-4472-9D30-72EF56BB7C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410207" y="559468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F9212F5-3133-45E7-B24D-EAFCD047AC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717171" y="559468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D83E589-1F0A-4354-B522-DA051B3027E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8866" y="766075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5A538F4-041B-47C3-9987-06231472DF3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756725" y="766075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4B0500D-2E37-454B-884A-7AD97A9BD52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5164584" y="766075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EA4212A-1A14-4E16-A844-F6D3CF36711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03242" y="972682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5F6CA5F-DD8E-48B7-B2FE-35F8DFAED65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410207" y="9726822"/>
            <a:ext cx="4870552" cy="1550223"/>
          </a:xfrm>
          <a:custGeom>
            <a:avLst/>
            <a:gdLst>
              <a:gd name="connsiteX0" fmla="*/ 620089 w 3890417"/>
              <a:gd name="connsiteY0" fmla="*/ 0 h 1240178"/>
              <a:gd name="connsiteX1" fmla="*/ 3270328 w 3890417"/>
              <a:gd name="connsiteY1" fmla="*/ 0 h 1240178"/>
              <a:gd name="connsiteX2" fmla="*/ 3890417 w 3890417"/>
              <a:gd name="connsiteY2" fmla="*/ 620089 h 1240178"/>
              <a:gd name="connsiteX3" fmla="*/ 3270328 w 3890417"/>
              <a:gd name="connsiteY3" fmla="*/ 1240178 h 1240178"/>
              <a:gd name="connsiteX4" fmla="*/ 620089 w 3890417"/>
              <a:gd name="connsiteY4" fmla="*/ 1240178 h 1240178"/>
              <a:gd name="connsiteX5" fmla="*/ 0 w 3890417"/>
              <a:gd name="connsiteY5" fmla="*/ 620089 h 1240178"/>
              <a:gd name="connsiteX6" fmla="*/ 620089 w 3890417"/>
              <a:gd name="connsiteY6" fmla="*/ 0 h 124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0417" h="1240178">
                <a:moveTo>
                  <a:pt x="620089" y="0"/>
                </a:moveTo>
                <a:lnTo>
                  <a:pt x="3270328" y="0"/>
                </a:lnTo>
                <a:cubicBezTo>
                  <a:pt x="3612794" y="0"/>
                  <a:pt x="3890417" y="277623"/>
                  <a:pt x="3890417" y="620089"/>
                </a:cubicBezTo>
                <a:cubicBezTo>
                  <a:pt x="3890417" y="962555"/>
                  <a:pt x="3612794" y="1240178"/>
                  <a:pt x="3270328" y="1240178"/>
                </a:cubicBezTo>
                <a:lnTo>
                  <a:pt x="620089" y="1240178"/>
                </a:lnTo>
                <a:cubicBezTo>
                  <a:pt x="277623" y="1240178"/>
                  <a:pt x="0" y="962555"/>
                  <a:pt x="0" y="620089"/>
                </a:cubicBezTo>
                <a:cubicBezTo>
                  <a:pt x="0" y="277623"/>
                  <a:pt x="277623" y="0"/>
                  <a:pt x="62008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4783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7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8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1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2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5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6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0" grpId="0" animBg="1"/>
        </p:bldLst>
      </p:timing>
    </mc:Fallback>
  </mc:AlternateConten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6C45BE9-84C4-4D51-97A8-E45DA737017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9041" y="2094905"/>
            <a:ext cx="6705920" cy="9526190"/>
          </a:xfrm>
          <a:custGeom>
            <a:avLst/>
            <a:gdLst>
              <a:gd name="connsiteX0" fmla="*/ 0 w 5356441"/>
              <a:gd name="connsiteY0" fmla="*/ 0 h 7620952"/>
              <a:gd name="connsiteX1" fmla="*/ 1197578 w 5356441"/>
              <a:gd name="connsiteY1" fmla="*/ 0 h 7620952"/>
              <a:gd name="connsiteX2" fmla="*/ 4147976 w 5356441"/>
              <a:gd name="connsiteY2" fmla="*/ 5116925 h 7620952"/>
              <a:gd name="connsiteX3" fmla="*/ 4147976 w 5356441"/>
              <a:gd name="connsiteY3" fmla="*/ 0 h 7620952"/>
              <a:gd name="connsiteX4" fmla="*/ 5356441 w 5356441"/>
              <a:gd name="connsiteY4" fmla="*/ 0 h 7620952"/>
              <a:gd name="connsiteX5" fmla="*/ 5356441 w 5356441"/>
              <a:gd name="connsiteY5" fmla="*/ 7620952 h 7620952"/>
              <a:gd name="connsiteX6" fmla="*/ 4147976 w 5356441"/>
              <a:gd name="connsiteY6" fmla="*/ 7620952 h 7620952"/>
              <a:gd name="connsiteX7" fmla="*/ 1197578 w 5356441"/>
              <a:gd name="connsiteY7" fmla="*/ 2471366 h 7620952"/>
              <a:gd name="connsiteX8" fmla="*/ 1197578 w 5356441"/>
              <a:gd name="connsiteY8" fmla="*/ 7620952 h 7620952"/>
              <a:gd name="connsiteX9" fmla="*/ 0 w 5356441"/>
              <a:gd name="connsiteY9" fmla="*/ 7620952 h 7620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56441" h="7620952">
                <a:moveTo>
                  <a:pt x="0" y="0"/>
                </a:moveTo>
                <a:lnTo>
                  <a:pt x="1197578" y="0"/>
                </a:lnTo>
                <a:lnTo>
                  <a:pt x="4147976" y="5116925"/>
                </a:lnTo>
                <a:lnTo>
                  <a:pt x="4147976" y="0"/>
                </a:lnTo>
                <a:lnTo>
                  <a:pt x="5356441" y="0"/>
                </a:lnTo>
                <a:lnTo>
                  <a:pt x="5356441" y="7620952"/>
                </a:lnTo>
                <a:lnTo>
                  <a:pt x="4147976" y="7620952"/>
                </a:lnTo>
                <a:lnTo>
                  <a:pt x="1197578" y="2471366"/>
                </a:lnTo>
                <a:lnTo>
                  <a:pt x="1197578" y="7620952"/>
                </a:lnTo>
                <a:lnTo>
                  <a:pt x="0" y="76209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01686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10">
            <a:extLst>
              <a:ext uri="{FF2B5EF4-FFF2-40B4-BE49-F238E27FC236}">
                <a16:creationId xmlns:a16="http://schemas.microsoft.com/office/drawing/2014/main" id="{7B3594F4-CFA2-4B04-B771-D784725CD80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46593" y="9117439"/>
            <a:ext cx="1151260" cy="1149480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3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6" name="Picture Placeholder 10">
            <a:extLst>
              <a:ext uri="{FF2B5EF4-FFF2-40B4-BE49-F238E27FC236}">
                <a16:creationId xmlns:a16="http://schemas.microsoft.com/office/drawing/2014/main" id="{F854A880-C8AB-4890-B024-A6607C8BBA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81737" y="9117439"/>
            <a:ext cx="1151260" cy="1149480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3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37" name="Picture Placeholder 10">
            <a:extLst>
              <a:ext uri="{FF2B5EF4-FFF2-40B4-BE49-F238E27FC236}">
                <a16:creationId xmlns:a16="http://schemas.microsoft.com/office/drawing/2014/main" id="{CC972E7E-5FEA-4684-9C4E-A26E369A45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316880" y="9117439"/>
            <a:ext cx="1151260" cy="1149480"/>
          </a:xfrm>
          <a:custGeom>
            <a:avLst/>
            <a:gdLst>
              <a:gd name="connsiteX0" fmla="*/ 1219200 w 2438400"/>
              <a:gd name="connsiteY0" fmla="*/ 0 h 2438400"/>
              <a:gd name="connsiteX1" fmla="*/ 2438400 w 2438400"/>
              <a:gd name="connsiteY1" fmla="*/ 1219200 h 2438400"/>
              <a:gd name="connsiteX2" fmla="*/ 1219200 w 2438400"/>
              <a:gd name="connsiteY2" fmla="*/ 2438400 h 2438400"/>
              <a:gd name="connsiteX3" fmla="*/ 0 w 2438400"/>
              <a:gd name="connsiteY3" fmla="*/ 1219200 h 2438400"/>
              <a:gd name="connsiteX4" fmla="*/ 1219200 w 2438400"/>
              <a:gd name="connsiteY4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400" h="2438400">
                <a:moveTo>
                  <a:pt x="1219200" y="0"/>
                </a:moveTo>
                <a:cubicBezTo>
                  <a:pt x="1892546" y="0"/>
                  <a:pt x="2438400" y="545854"/>
                  <a:pt x="2438400" y="1219200"/>
                </a:cubicBezTo>
                <a:cubicBezTo>
                  <a:pt x="2438400" y="1892546"/>
                  <a:pt x="1892546" y="2438400"/>
                  <a:pt x="1219200" y="2438400"/>
                </a:cubicBezTo>
                <a:cubicBezTo>
                  <a:pt x="545854" y="2438400"/>
                  <a:pt x="0" y="1892546"/>
                  <a:pt x="0" y="1219200"/>
                </a:cubicBezTo>
                <a:cubicBezTo>
                  <a:pt x="0" y="545854"/>
                  <a:pt x="545854" y="0"/>
                  <a:pt x="12192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3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868F18-BB32-491A-988E-F5B0932F59A4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85000"/>
                    <a:alpha val="6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85000"/>
                  <a:alpha val="6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948FE7-A315-4F2F-B3F5-D0FB22A74924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E8E727-FAE5-4DCF-91DD-EC69CF176AFC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tx1">
                    <a:lumMod val="65000"/>
                    <a:lumOff val="3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tx1">
                  <a:lumMod val="65000"/>
                  <a:lumOff val="3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E0A99A-F629-4EE7-9A66-CE66EC58D5C4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A7F85E4-9829-48DF-84FF-0AB3B1007D0C}"/>
              </a:ext>
            </a:extLst>
          </p:cNvPr>
          <p:cNvGrpSpPr/>
          <p:nvPr userDrawn="1"/>
        </p:nvGrpSpPr>
        <p:grpSpPr>
          <a:xfrm>
            <a:off x="19540081" y="12305298"/>
            <a:ext cx="3724881" cy="488970"/>
            <a:chOff x="16061023" y="9902075"/>
            <a:chExt cx="2522168" cy="33160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6180911-2E51-45AE-8CBA-10F7B0BC2E1F}"/>
                </a:ext>
              </a:extLst>
            </p:cNvPr>
            <p:cNvGrpSpPr/>
            <p:nvPr userDrawn="1"/>
          </p:nvGrpSpPr>
          <p:grpSpPr>
            <a:xfrm>
              <a:off x="16061023" y="9902075"/>
              <a:ext cx="1960657" cy="331601"/>
              <a:chOff x="11556938" y="7296986"/>
              <a:chExt cx="2013012" cy="340456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618C3CAC-0C25-4012-B177-C35B306C1FDB}"/>
                  </a:ext>
                </a:extLst>
              </p:cNvPr>
              <p:cNvGrpSpPr/>
              <p:nvPr/>
            </p:nvGrpSpPr>
            <p:grpSpPr>
              <a:xfrm>
                <a:off x="12114457" y="7296986"/>
                <a:ext cx="340456" cy="340456"/>
                <a:chOff x="12097470" y="7200012"/>
                <a:chExt cx="495300" cy="495300"/>
              </a:xfrm>
            </p:grpSpPr>
            <p:sp>
              <p:nvSpPr>
                <p:cNvPr id="25" name="Freeform 85">
                  <a:extLst>
                    <a:ext uri="{FF2B5EF4-FFF2-40B4-BE49-F238E27FC236}">
                      <a16:creationId xmlns:a16="http://schemas.microsoft.com/office/drawing/2014/main" id="{E84F91DF-A69A-4DED-ADFA-0B1CFB26E0E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12232137" y="7356848"/>
                  <a:ext cx="225966" cy="181629"/>
                </a:xfrm>
                <a:custGeom>
                  <a:avLst/>
                  <a:gdLst>
                    <a:gd name="T0" fmla="*/ 250282 w 462"/>
                    <a:gd name="T1" fmla="*/ 24258 h 374"/>
                    <a:gd name="T2" fmla="*/ 250282 w 462"/>
                    <a:gd name="T3" fmla="*/ 24258 h 374"/>
                    <a:gd name="T4" fmla="*/ 221508 w 462"/>
                    <a:gd name="T5" fmla="*/ 33962 h 374"/>
                    <a:gd name="T6" fmla="*/ 240510 w 462"/>
                    <a:gd name="T7" fmla="*/ 5391 h 374"/>
                    <a:gd name="T8" fmla="*/ 211192 w 462"/>
                    <a:gd name="T9" fmla="*/ 19407 h 374"/>
                    <a:gd name="T10" fmla="*/ 173189 w 462"/>
                    <a:gd name="T11" fmla="*/ 0 h 374"/>
                    <a:gd name="T12" fmla="*/ 119983 w 462"/>
                    <a:gd name="T13" fmla="*/ 52829 h 374"/>
                    <a:gd name="T14" fmla="*/ 124870 w 462"/>
                    <a:gd name="T15" fmla="*/ 62532 h 374"/>
                    <a:gd name="T16" fmla="*/ 19002 w 462"/>
                    <a:gd name="T17" fmla="*/ 10242 h 374"/>
                    <a:gd name="T18" fmla="*/ 9229 w 462"/>
                    <a:gd name="T19" fmla="*/ 38813 h 374"/>
                    <a:gd name="T20" fmla="*/ 33118 w 462"/>
                    <a:gd name="T21" fmla="*/ 81400 h 374"/>
                    <a:gd name="T22" fmla="*/ 9229 w 462"/>
                    <a:gd name="T23" fmla="*/ 72236 h 374"/>
                    <a:gd name="T24" fmla="*/ 9229 w 462"/>
                    <a:gd name="T25" fmla="*/ 72236 h 374"/>
                    <a:gd name="T26" fmla="*/ 53205 w 462"/>
                    <a:gd name="T27" fmla="*/ 124526 h 374"/>
                    <a:gd name="T28" fmla="*/ 38004 w 462"/>
                    <a:gd name="T29" fmla="*/ 124526 h 374"/>
                    <a:gd name="T30" fmla="*/ 28774 w 462"/>
                    <a:gd name="T31" fmla="*/ 124526 h 374"/>
                    <a:gd name="T32" fmla="*/ 77093 w 462"/>
                    <a:gd name="T33" fmla="*/ 158487 h 374"/>
                    <a:gd name="T34" fmla="*/ 14116 w 462"/>
                    <a:gd name="T35" fmla="*/ 182206 h 374"/>
                    <a:gd name="T36" fmla="*/ 0 w 462"/>
                    <a:gd name="T37" fmla="*/ 182206 h 374"/>
                    <a:gd name="T38" fmla="*/ 77093 w 462"/>
                    <a:gd name="T39" fmla="*/ 201074 h 374"/>
                    <a:gd name="T40" fmla="*/ 221508 w 462"/>
                    <a:gd name="T41" fmla="*/ 57681 h 374"/>
                    <a:gd name="T42" fmla="*/ 221508 w 462"/>
                    <a:gd name="T43" fmla="*/ 52829 h 374"/>
                    <a:gd name="T44" fmla="*/ 250282 w 462"/>
                    <a:gd name="T45" fmla="*/ 24258 h 37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462" h="374">
                      <a:moveTo>
                        <a:pt x="461" y="45"/>
                      </a:moveTo>
                      <a:lnTo>
                        <a:pt x="461" y="45"/>
                      </a:lnTo>
                      <a:cubicBezTo>
                        <a:pt x="443" y="54"/>
                        <a:pt x="425" y="63"/>
                        <a:pt x="408" y="63"/>
                      </a:cubicBezTo>
                      <a:cubicBezTo>
                        <a:pt x="425" y="54"/>
                        <a:pt x="443" y="36"/>
                        <a:pt x="443" y="10"/>
                      </a:cubicBezTo>
                      <a:cubicBezTo>
                        <a:pt x="425" y="19"/>
                        <a:pt x="408" y="27"/>
                        <a:pt x="389" y="36"/>
                      </a:cubicBezTo>
                      <a:cubicBezTo>
                        <a:pt x="372" y="19"/>
                        <a:pt x="345" y="0"/>
                        <a:pt x="319" y="0"/>
                      </a:cubicBezTo>
                      <a:cubicBezTo>
                        <a:pt x="265" y="0"/>
                        <a:pt x="221" y="45"/>
                        <a:pt x="221" y="98"/>
                      </a:cubicBezTo>
                      <a:cubicBezTo>
                        <a:pt x="221" y="107"/>
                        <a:pt x="221" y="116"/>
                        <a:pt x="230" y="116"/>
                      </a:cubicBezTo>
                      <a:cubicBezTo>
                        <a:pt x="151" y="116"/>
                        <a:pt x="79" y="81"/>
                        <a:pt x="35" y="19"/>
                      </a:cubicBezTo>
                      <a:cubicBezTo>
                        <a:pt x="26" y="36"/>
                        <a:pt x="17" y="54"/>
                        <a:pt x="17" y="72"/>
                      </a:cubicBezTo>
                      <a:cubicBezTo>
                        <a:pt x="17" y="98"/>
                        <a:pt x="35" y="134"/>
                        <a:pt x="61" y="151"/>
                      </a:cubicBezTo>
                      <a:cubicBezTo>
                        <a:pt x="44" y="143"/>
                        <a:pt x="35" y="143"/>
                        <a:pt x="17" y="134"/>
                      </a:cubicBezTo>
                      <a:cubicBezTo>
                        <a:pt x="17" y="178"/>
                        <a:pt x="53" y="222"/>
                        <a:pt x="98" y="231"/>
                      </a:cubicBezTo>
                      <a:cubicBezTo>
                        <a:pt x="89" y="231"/>
                        <a:pt x="79" y="231"/>
                        <a:pt x="70" y="231"/>
                      </a:cubicBezTo>
                      <a:cubicBezTo>
                        <a:pt x="61" y="231"/>
                        <a:pt x="61" y="231"/>
                        <a:pt x="53" y="231"/>
                      </a:cubicBezTo>
                      <a:cubicBezTo>
                        <a:pt x="61" y="266"/>
                        <a:pt x="98" y="294"/>
                        <a:pt x="142" y="294"/>
                      </a:cubicBezTo>
                      <a:cubicBezTo>
                        <a:pt x="106" y="319"/>
                        <a:pt x="70" y="338"/>
                        <a:pt x="26" y="338"/>
                      </a:cubicBezTo>
                      <a:cubicBezTo>
                        <a:pt x="17" y="338"/>
                        <a:pt x="8" y="338"/>
                        <a:pt x="0" y="338"/>
                      </a:cubicBezTo>
                      <a:cubicBezTo>
                        <a:pt x="44" y="364"/>
                        <a:pt x="89" y="373"/>
                        <a:pt x="142" y="373"/>
                      </a:cubicBezTo>
                      <a:cubicBezTo>
                        <a:pt x="319" y="373"/>
                        <a:pt x="408" y="231"/>
                        <a:pt x="408" y="107"/>
                      </a:cubicBezTo>
                      <a:lnTo>
                        <a:pt x="408" y="98"/>
                      </a:lnTo>
                      <a:cubicBezTo>
                        <a:pt x="434" y="81"/>
                        <a:pt x="443" y="72"/>
                        <a:pt x="461" y="45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>
                    <a:solidFill>
                      <a:schemeClr val="bg1">
                        <a:lumMod val="85000"/>
                      </a:schemeClr>
                    </a:solidFill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B24B9E0F-AF45-401E-B4D6-535C7EE7CFC7}"/>
                    </a:ext>
                  </a:extLst>
                </p:cNvPr>
                <p:cNvSpPr/>
                <p:nvPr/>
              </p:nvSpPr>
              <p:spPr>
                <a:xfrm>
                  <a:off x="12097470" y="7200012"/>
                  <a:ext cx="495300" cy="49530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F3BB1B7-AF00-49BF-9510-710928D1221D}"/>
                  </a:ext>
                </a:extLst>
              </p:cNvPr>
              <p:cNvGrpSpPr/>
              <p:nvPr/>
            </p:nvGrpSpPr>
            <p:grpSpPr>
              <a:xfrm>
                <a:off x="12671975" y="7296986"/>
                <a:ext cx="340456" cy="340456"/>
                <a:chOff x="12898290" y="7257882"/>
                <a:chExt cx="379560" cy="379560"/>
              </a:xfrm>
            </p:grpSpPr>
            <p:sp>
              <p:nvSpPr>
                <p:cNvPr id="23" name="Freeform 75">
                  <a:extLst>
                    <a:ext uri="{FF2B5EF4-FFF2-40B4-BE49-F238E27FC236}">
                      <a16:creationId xmlns:a16="http://schemas.microsoft.com/office/drawing/2014/main" id="{0BDE2548-1298-4801-A2E8-FD7DE4E96F22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13042040" y="7362177"/>
                  <a:ext cx="92061" cy="170970"/>
                </a:xfrm>
                <a:custGeom>
                  <a:avLst/>
                  <a:gdLst>
                    <a:gd name="T0" fmla="*/ 132814 w 249"/>
                    <a:gd name="T1" fmla="*/ 43735 h 453"/>
                    <a:gd name="T2" fmla="*/ 132814 w 249"/>
                    <a:gd name="T3" fmla="*/ 43735 h 453"/>
                    <a:gd name="T4" fmla="*/ 94791 w 249"/>
                    <a:gd name="T5" fmla="*/ 43735 h 453"/>
                    <a:gd name="T6" fmla="*/ 85687 w 249"/>
                    <a:gd name="T7" fmla="*/ 58496 h 453"/>
                    <a:gd name="T8" fmla="*/ 85687 w 249"/>
                    <a:gd name="T9" fmla="*/ 87470 h 453"/>
                    <a:gd name="T10" fmla="*/ 132814 w 249"/>
                    <a:gd name="T11" fmla="*/ 87470 h 453"/>
                    <a:gd name="T12" fmla="*/ 132814 w 249"/>
                    <a:gd name="T13" fmla="*/ 126285 h 453"/>
                    <a:gd name="T14" fmla="*/ 85687 w 249"/>
                    <a:gd name="T15" fmla="*/ 126285 h 453"/>
                    <a:gd name="T16" fmla="*/ 85687 w 249"/>
                    <a:gd name="T17" fmla="*/ 247103 h 453"/>
                    <a:gd name="T18" fmla="*/ 42308 w 249"/>
                    <a:gd name="T19" fmla="*/ 247103 h 453"/>
                    <a:gd name="T20" fmla="*/ 42308 w 249"/>
                    <a:gd name="T21" fmla="*/ 126285 h 453"/>
                    <a:gd name="T22" fmla="*/ 0 w 249"/>
                    <a:gd name="T23" fmla="*/ 126285 h 453"/>
                    <a:gd name="T24" fmla="*/ 0 w 249"/>
                    <a:gd name="T25" fmla="*/ 87470 h 453"/>
                    <a:gd name="T26" fmla="*/ 42308 w 249"/>
                    <a:gd name="T27" fmla="*/ 87470 h 453"/>
                    <a:gd name="T28" fmla="*/ 42308 w 249"/>
                    <a:gd name="T29" fmla="*/ 63416 h 453"/>
                    <a:gd name="T30" fmla="*/ 94791 w 249"/>
                    <a:gd name="T31" fmla="*/ 0 h 453"/>
                    <a:gd name="T32" fmla="*/ 132814 w 249"/>
                    <a:gd name="T33" fmla="*/ 0 h 453"/>
                    <a:gd name="T34" fmla="*/ 132814 w 249"/>
                    <a:gd name="T35" fmla="*/ 43735 h 45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49" h="453">
                      <a:moveTo>
                        <a:pt x="248" y="80"/>
                      </a:moveTo>
                      <a:lnTo>
                        <a:pt x="248" y="80"/>
                      </a:lnTo>
                      <a:cubicBezTo>
                        <a:pt x="177" y="80"/>
                        <a:pt x="177" y="80"/>
                        <a:pt x="177" y="80"/>
                      </a:cubicBezTo>
                      <a:cubicBezTo>
                        <a:pt x="169" y="80"/>
                        <a:pt x="160" y="89"/>
                        <a:pt x="160" y="107"/>
                      </a:cubicBezTo>
                      <a:cubicBezTo>
                        <a:pt x="160" y="160"/>
                        <a:pt x="160" y="160"/>
                        <a:pt x="160" y="160"/>
                      </a:cubicBezTo>
                      <a:cubicBezTo>
                        <a:pt x="248" y="160"/>
                        <a:pt x="248" y="160"/>
                        <a:pt x="248" y="160"/>
                      </a:cubicBezTo>
                      <a:cubicBezTo>
                        <a:pt x="248" y="231"/>
                        <a:pt x="248" y="231"/>
                        <a:pt x="248" y="231"/>
                      </a:cubicBezTo>
                      <a:cubicBezTo>
                        <a:pt x="160" y="231"/>
                        <a:pt x="160" y="231"/>
                        <a:pt x="160" y="231"/>
                      </a:cubicBezTo>
                      <a:cubicBezTo>
                        <a:pt x="160" y="452"/>
                        <a:pt x="160" y="452"/>
                        <a:pt x="160" y="452"/>
                      </a:cubicBezTo>
                      <a:cubicBezTo>
                        <a:pt x="79" y="452"/>
                        <a:pt x="79" y="452"/>
                        <a:pt x="79" y="452"/>
                      </a:cubicBezTo>
                      <a:cubicBezTo>
                        <a:pt x="79" y="231"/>
                        <a:pt x="79" y="231"/>
                        <a:pt x="79" y="231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160"/>
                        <a:pt x="0" y="160"/>
                        <a:pt x="0" y="160"/>
                      </a:cubicBezTo>
                      <a:cubicBezTo>
                        <a:pt x="79" y="160"/>
                        <a:pt x="79" y="160"/>
                        <a:pt x="79" y="160"/>
                      </a:cubicBezTo>
                      <a:cubicBezTo>
                        <a:pt x="79" y="116"/>
                        <a:pt x="79" y="116"/>
                        <a:pt x="79" y="116"/>
                      </a:cubicBezTo>
                      <a:cubicBezTo>
                        <a:pt x="79" y="54"/>
                        <a:pt x="115" y="0"/>
                        <a:pt x="177" y="0"/>
                      </a:cubicBezTo>
                      <a:cubicBezTo>
                        <a:pt x="248" y="0"/>
                        <a:pt x="248" y="0"/>
                        <a:pt x="248" y="0"/>
                      </a:cubicBezTo>
                      <a:lnTo>
                        <a:pt x="248" y="8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>
                    <a:solidFill>
                      <a:schemeClr val="bg1">
                        <a:lumMod val="85000"/>
                      </a:schemeClr>
                    </a:solidFill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D3B17279-6B88-4030-B183-E122219BBCAC}"/>
                    </a:ext>
                  </a:extLst>
                </p:cNvPr>
                <p:cNvSpPr/>
                <p:nvPr/>
              </p:nvSpPr>
              <p:spPr>
                <a:xfrm>
                  <a:off x="12898290" y="7257882"/>
                  <a:ext cx="379560" cy="37956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41F7F7A2-163A-45D9-B0E0-2B37D54CA7C6}"/>
                  </a:ext>
                </a:extLst>
              </p:cNvPr>
              <p:cNvGrpSpPr/>
              <p:nvPr/>
            </p:nvGrpSpPr>
            <p:grpSpPr>
              <a:xfrm>
                <a:off x="13229494" y="7296986"/>
                <a:ext cx="340456" cy="340456"/>
                <a:chOff x="13421600" y="7257882"/>
                <a:chExt cx="379560" cy="379560"/>
              </a:xfrm>
            </p:grpSpPr>
            <p:sp>
              <p:nvSpPr>
                <p:cNvPr id="21" name="Freeform 74">
                  <a:extLst>
                    <a:ext uri="{FF2B5EF4-FFF2-40B4-BE49-F238E27FC236}">
                      <a16:creationId xmlns:a16="http://schemas.microsoft.com/office/drawing/2014/main" id="{5DA3638D-1CF2-46DB-9231-36A042B380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16515" y="7354045"/>
                  <a:ext cx="189730" cy="187234"/>
                </a:xfrm>
                <a:custGeom>
                  <a:avLst/>
                  <a:gdLst>
                    <a:gd name="T0" fmla="*/ 14641 w 445"/>
                    <a:gd name="T1" fmla="*/ 58439 h 436"/>
                    <a:gd name="T2" fmla="*/ 14641 w 445"/>
                    <a:gd name="T3" fmla="*/ 58439 h 436"/>
                    <a:gd name="T4" fmla="*/ 33619 w 445"/>
                    <a:gd name="T5" fmla="*/ 101585 h 436"/>
                    <a:gd name="T6" fmla="*/ 62901 w 445"/>
                    <a:gd name="T7" fmla="*/ 111416 h 436"/>
                    <a:gd name="T8" fmla="*/ 67781 w 445"/>
                    <a:gd name="T9" fmla="*/ 111416 h 436"/>
                    <a:gd name="T10" fmla="*/ 72661 w 445"/>
                    <a:gd name="T11" fmla="*/ 135447 h 436"/>
                    <a:gd name="T12" fmla="*/ 72661 w 445"/>
                    <a:gd name="T13" fmla="*/ 135447 h 436"/>
                    <a:gd name="T14" fmla="*/ 0 w 445"/>
                    <a:gd name="T15" fmla="*/ 188425 h 436"/>
                    <a:gd name="T16" fmla="*/ 62901 w 445"/>
                    <a:gd name="T17" fmla="*/ 237579 h 436"/>
                    <a:gd name="T18" fmla="*/ 62901 w 445"/>
                    <a:gd name="T19" fmla="*/ 237579 h 436"/>
                    <a:gd name="T20" fmla="*/ 67781 w 445"/>
                    <a:gd name="T21" fmla="*/ 237579 h 436"/>
                    <a:gd name="T22" fmla="*/ 106280 w 445"/>
                    <a:gd name="T23" fmla="*/ 227748 h 436"/>
                    <a:gd name="T24" fmla="*/ 135020 w 445"/>
                    <a:gd name="T25" fmla="*/ 174771 h 436"/>
                    <a:gd name="T26" fmla="*/ 111161 w 445"/>
                    <a:gd name="T27" fmla="*/ 125616 h 436"/>
                    <a:gd name="T28" fmla="*/ 96520 w 445"/>
                    <a:gd name="T29" fmla="*/ 111416 h 436"/>
                    <a:gd name="T30" fmla="*/ 106280 w 445"/>
                    <a:gd name="T31" fmla="*/ 96670 h 436"/>
                    <a:gd name="T32" fmla="*/ 125259 w 445"/>
                    <a:gd name="T33" fmla="*/ 53524 h 436"/>
                    <a:gd name="T34" fmla="*/ 106280 w 445"/>
                    <a:gd name="T35" fmla="*/ 9831 h 436"/>
                    <a:gd name="T36" fmla="*/ 115499 w 445"/>
                    <a:gd name="T37" fmla="*/ 9831 h 436"/>
                    <a:gd name="T38" fmla="*/ 135020 w 445"/>
                    <a:gd name="T39" fmla="*/ 0 h 436"/>
                    <a:gd name="T40" fmla="*/ 135020 w 445"/>
                    <a:gd name="T41" fmla="*/ 0 h 436"/>
                    <a:gd name="T42" fmla="*/ 77541 w 445"/>
                    <a:gd name="T43" fmla="*/ 0 h 436"/>
                    <a:gd name="T44" fmla="*/ 14641 w 445"/>
                    <a:gd name="T45" fmla="*/ 58439 h 436"/>
                    <a:gd name="T46" fmla="*/ 111161 w 445"/>
                    <a:gd name="T47" fmla="*/ 179140 h 436"/>
                    <a:gd name="T48" fmla="*/ 111161 w 445"/>
                    <a:gd name="T49" fmla="*/ 179140 h 436"/>
                    <a:gd name="T50" fmla="*/ 72661 w 445"/>
                    <a:gd name="T51" fmla="*/ 213002 h 436"/>
                    <a:gd name="T52" fmla="*/ 29281 w 445"/>
                    <a:gd name="T53" fmla="*/ 188425 h 436"/>
                    <a:gd name="T54" fmla="*/ 38500 w 445"/>
                    <a:gd name="T55" fmla="*/ 159478 h 436"/>
                    <a:gd name="T56" fmla="*/ 67781 w 445"/>
                    <a:gd name="T57" fmla="*/ 150194 h 436"/>
                    <a:gd name="T58" fmla="*/ 72661 w 445"/>
                    <a:gd name="T59" fmla="*/ 150194 h 436"/>
                    <a:gd name="T60" fmla="*/ 111161 w 445"/>
                    <a:gd name="T61" fmla="*/ 179140 h 436"/>
                    <a:gd name="T62" fmla="*/ 96520 w 445"/>
                    <a:gd name="T63" fmla="*/ 43693 h 436"/>
                    <a:gd name="T64" fmla="*/ 96520 w 445"/>
                    <a:gd name="T65" fmla="*/ 43693 h 436"/>
                    <a:gd name="T66" fmla="*/ 77541 w 445"/>
                    <a:gd name="T67" fmla="*/ 92301 h 436"/>
                    <a:gd name="T68" fmla="*/ 72661 w 445"/>
                    <a:gd name="T69" fmla="*/ 92301 h 436"/>
                    <a:gd name="T70" fmla="*/ 43922 w 445"/>
                    <a:gd name="T71" fmla="*/ 63354 h 436"/>
                    <a:gd name="T72" fmla="*/ 43922 w 445"/>
                    <a:gd name="T73" fmla="*/ 33862 h 436"/>
                    <a:gd name="T74" fmla="*/ 58020 w 445"/>
                    <a:gd name="T75" fmla="*/ 14200 h 436"/>
                    <a:gd name="T76" fmla="*/ 62901 w 445"/>
                    <a:gd name="T77" fmla="*/ 14200 h 436"/>
                    <a:gd name="T78" fmla="*/ 96520 w 445"/>
                    <a:gd name="T79" fmla="*/ 43693 h 436"/>
                    <a:gd name="T80" fmla="*/ 202258 w 445"/>
                    <a:gd name="T81" fmla="*/ 92301 h 436"/>
                    <a:gd name="T82" fmla="*/ 202258 w 445"/>
                    <a:gd name="T83" fmla="*/ 92301 h 436"/>
                    <a:gd name="T84" fmla="*/ 202258 w 445"/>
                    <a:gd name="T85" fmla="*/ 53524 h 436"/>
                    <a:gd name="T86" fmla="*/ 172977 w 445"/>
                    <a:gd name="T87" fmla="*/ 53524 h 436"/>
                    <a:gd name="T88" fmla="*/ 172977 w 445"/>
                    <a:gd name="T89" fmla="*/ 92301 h 436"/>
                    <a:gd name="T90" fmla="*/ 135020 w 445"/>
                    <a:gd name="T91" fmla="*/ 92301 h 436"/>
                    <a:gd name="T92" fmla="*/ 135020 w 445"/>
                    <a:gd name="T93" fmla="*/ 116332 h 436"/>
                    <a:gd name="T94" fmla="*/ 172977 w 445"/>
                    <a:gd name="T95" fmla="*/ 116332 h 436"/>
                    <a:gd name="T96" fmla="*/ 172977 w 445"/>
                    <a:gd name="T97" fmla="*/ 159478 h 436"/>
                    <a:gd name="T98" fmla="*/ 202258 w 445"/>
                    <a:gd name="T99" fmla="*/ 159478 h 436"/>
                    <a:gd name="T100" fmla="*/ 202258 w 445"/>
                    <a:gd name="T101" fmla="*/ 116332 h 436"/>
                    <a:gd name="T102" fmla="*/ 240758 w 445"/>
                    <a:gd name="T103" fmla="*/ 116332 h 436"/>
                    <a:gd name="T104" fmla="*/ 240758 w 445"/>
                    <a:gd name="T105" fmla="*/ 92301 h 436"/>
                    <a:gd name="T106" fmla="*/ 202258 w 445"/>
                    <a:gd name="T107" fmla="*/ 92301 h 4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445" h="436">
                      <a:moveTo>
                        <a:pt x="27" y="107"/>
                      </a:moveTo>
                      <a:lnTo>
                        <a:pt x="27" y="107"/>
                      </a:lnTo>
                      <a:cubicBezTo>
                        <a:pt x="27" y="142"/>
                        <a:pt x="36" y="169"/>
                        <a:pt x="62" y="186"/>
                      </a:cubicBezTo>
                      <a:cubicBezTo>
                        <a:pt x="81" y="195"/>
                        <a:pt x="107" y="204"/>
                        <a:pt x="116" y="204"/>
                      </a:cubicBezTo>
                      <a:lnTo>
                        <a:pt x="125" y="204"/>
                      </a:lnTo>
                      <a:cubicBezTo>
                        <a:pt x="125" y="204"/>
                        <a:pt x="116" y="222"/>
                        <a:pt x="134" y="248"/>
                      </a:cubicBezTo>
                      <a:cubicBezTo>
                        <a:pt x="107" y="248"/>
                        <a:pt x="0" y="257"/>
                        <a:pt x="0" y="345"/>
                      </a:cubicBezTo>
                      <a:cubicBezTo>
                        <a:pt x="0" y="435"/>
                        <a:pt x="98" y="435"/>
                        <a:pt x="116" y="435"/>
                      </a:cubicBezTo>
                      <a:cubicBezTo>
                        <a:pt x="116" y="435"/>
                        <a:pt x="116" y="435"/>
                        <a:pt x="125" y="435"/>
                      </a:cubicBezTo>
                      <a:cubicBezTo>
                        <a:pt x="134" y="435"/>
                        <a:pt x="169" y="435"/>
                        <a:pt x="196" y="417"/>
                      </a:cubicBezTo>
                      <a:cubicBezTo>
                        <a:pt x="231" y="399"/>
                        <a:pt x="249" y="364"/>
                        <a:pt x="249" y="320"/>
                      </a:cubicBezTo>
                      <a:cubicBezTo>
                        <a:pt x="249" y="275"/>
                        <a:pt x="222" y="248"/>
                        <a:pt x="205" y="230"/>
                      </a:cubicBezTo>
                      <a:cubicBezTo>
                        <a:pt x="187" y="222"/>
                        <a:pt x="178" y="213"/>
                        <a:pt x="178" y="204"/>
                      </a:cubicBezTo>
                      <a:cubicBezTo>
                        <a:pt x="178" y="195"/>
                        <a:pt x="187" y="186"/>
                        <a:pt x="196" y="177"/>
                      </a:cubicBezTo>
                      <a:cubicBezTo>
                        <a:pt x="213" y="160"/>
                        <a:pt x="231" y="142"/>
                        <a:pt x="231" y="98"/>
                      </a:cubicBezTo>
                      <a:cubicBezTo>
                        <a:pt x="231" y="62"/>
                        <a:pt x="222" y="36"/>
                        <a:pt x="196" y="18"/>
                      </a:cubicBezTo>
                      <a:lnTo>
                        <a:pt x="213" y="18"/>
                      </a:lnTo>
                      <a:cubicBezTo>
                        <a:pt x="231" y="18"/>
                        <a:pt x="249" y="9"/>
                        <a:pt x="249" y="0"/>
                      </a:cubicBezTo>
                      <a:cubicBezTo>
                        <a:pt x="143" y="0"/>
                        <a:pt x="143" y="0"/>
                        <a:pt x="143" y="0"/>
                      </a:cubicBezTo>
                      <a:cubicBezTo>
                        <a:pt x="134" y="0"/>
                        <a:pt x="27" y="0"/>
                        <a:pt x="27" y="107"/>
                      </a:cubicBezTo>
                      <a:close/>
                      <a:moveTo>
                        <a:pt x="205" y="328"/>
                      </a:moveTo>
                      <a:lnTo>
                        <a:pt x="205" y="328"/>
                      </a:lnTo>
                      <a:cubicBezTo>
                        <a:pt x="213" y="364"/>
                        <a:pt x="178" y="390"/>
                        <a:pt x="134" y="390"/>
                      </a:cubicBezTo>
                      <a:cubicBezTo>
                        <a:pt x="90" y="399"/>
                        <a:pt x="54" y="381"/>
                        <a:pt x="54" y="345"/>
                      </a:cubicBezTo>
                      <a:cubicBezTo>
                        <a:pt x="45" y="328"/>
                        <a:pt x="54" y="310"/>
                        <a:pt x="71" y="292"/>
                      </a:cubicBezTo>
                      <a:cubicBezTo>
                        <a:pt x="90" y="283"/>
                        <a:pt x="107" y="275"/>
                        <a:pt x="125" y="275"/>
                      </a:cubicBezTo>
                      <a:cubicBezTo>
                        <a:pt x="134" y="275"/>
                        <a:pt x="134" y="275"/>
                        <a:pt x="134" y="275"/>
                      </a:cubicBezTo>
                      <a:cubicBezTo>
                        <a:pt x="178" y="275"/>
                        <a:pt x="205" y="301"/>
                        <a:pt x="205" y="328"/>
                      </a:cubicBezTo>
                      <a:close/>
                      <a:moveTo>
                        <a:pt x="178" y="80"/>
                      </a:moveTo>
                      <a:lnTo>
                        <a:pt x="178" y="80"/>
                      </a:lnTo>
                      <a:cubicBezTo>
                        <a:pt x="187" y="124"/>
                        <a:pt x="169" y="160"/>
                        <a:pt x="143" y="169"/>
                      </a:cubicBezTo>
                      <a:cubicBezTo>
                        <a:pt x="143" y="169"/>
                        <a:pt x="143" y="169"/>
                        <a:pt x="134" y="169"/>
                      </a:cubicBezTo>
                      <a:cubicBezTo>
                        <a:pt x="107" y="169"/>
                        <a:pt x="90" y="151"/>
                        <a:pt x="81" y="116"/>
                      </a:cubicBezTo>
                      <a:cubicBezTo>
                        <a:pt x="71" y="98"/>
                        <a:pt x="71" y="80"/>
                        <a:pt x="81" y="62"/>
                      </a:cubicBezTo>
                      <a:cubicBezTo>
                        <a:pt x="81" y="45"/>
                        <a:pt x="98" y="36"/>
                        <a:pt x="107" y="26"/>
                      </a:cubicBezTo>
                      <a:lnTo>
                        <a:pt x="116" y="26"/>
                      </a:lnTo>
                      <a:cubicBezTo>
                        <a:pt x="151" y="26"/>
                        <a:pt x="169" y="45"/>
                        <a:pt x="178" y="80"/>
                      </a:cubicBezTo>
                      <a:close/>
                      <a:moveTo>
                        <a:pt x="373" y="169"/>
                      </a:moveTo>
                      <a:lnTo>
                        <a:pt x="373" y="169"/>
                      </a:lnTo>
                      <a:cubicBezTo>
                        <a:pt x="373" y="98"/>
                        <a:pt x="373" y="98"/>
                        <a:pt x="373" y="98"/>
                      </a:cubicBezTo>
                      <a:cubicBezTo>
                        <a:pt x="319" y="98"/>
                        <a:pt x="319" y="98"/>
                        <a:pt x="319" y="98"/>
                      </a:cubicBezTo>
                      <a:cubicBezTo>
                        <a:pt x="319" y="169"/>
                        <a:pt x="319" y="169"/>
                        <a:pt x="319" y="169"/>
                      </a:cubicBezTo>
                      <a:cubicBezTo>
                        <a:pt x="249" y="169"/>
                        <a:pt x="249" y="169"/>
                        <a:pt x="249" y="169"/>
                      </a:cubicBezTo>
                      <a:cubicBezTo>
                        <a:pt x="249" y="213"/>
                        <a:pt x="249" y="213"/>
                        <a:pt x="249" y="213"/>
                      </a:cubicBezTo>
                      <a:cubicBezTo>
                        <a:pt x="319" y="213"/>
                        <a:pt x="319" y="213"/>
                        <a:pt x="319" y="213"/>
                      </a:cubicBezTo>
                      <a:cubicBezTo>
                        <a:pt x="319" y="292"/>
                        <a:pt x="319" y="292"/>
                        <a:pt x="319" y="292"/>
                      </a:cubicBezTo>
                      <a:cubicBezTo>
                        <a:pt x="373" y="292"/>
                        <a:pt x="373" y="292"/>
                        <a:pt x="373" y="292"/>
                      </a:cubicBezTo>
                      <a:cubicBezTo>
                        <a:pt x="373" y="213"/>
                        <a:pt x="373" y="213"/>
                        <a:pt x="373" y="213"/>
                      </a:cubicBezTo>
                      <a:cubicBezTo>
                        <a:pt x="444" y="213"/>
                        <a:pt x="444" y="213"/>
                        <a:pt x="444" y="213"/>
                      </a:cubicBezTo>
                      <a:cubicBezTo>
                        <a:pt x="444" y="169"/>
                        <a:pt x="444" y="169"/>
                        <a:pt x="444" y="169"/>
                      </a:cubicBezTo>
                      <a:lnTo>
                        <a:pt x="373" y="169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/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49B4F06F-137C-4170-A6A2-460A61BA9F16}"/>
                    </a:ext>
                  </a:extLst>
                </p:cNvPr>
                <p:cNvSpPr/>
                <p:nvPr/>
              </p:nvSpPr>
              <p:spPr>
                <a:xfrm>
                  <a:off x="13421600" y="7257882"/>
                  <a:ext cx="379560" cy="37956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C80D9B2D-B2C6-4881-8A95-78A85BA76310}"/>
                  </a:ext>
                </a:extLst>
              </p:cNvPr>
              <p:cNvGrpSpPr/>
              <p:nvPr/>
            </p:nvGrpSpPr>
            <p:grpSpPr>
              <a:xfrm>
                <a:off x="11556938" y="7296986"/>
                <a:ext cx="340456" cy="340456"/>
                <a:chOff x="11556938" y="7296986"/>
                <a:chExt cx="340456" cy="340456"/>
              </a:xfrm>
              <a:effectLst>
                <a:outerShdw blurRad="266700" dist="177800" dir="5400000" sx="70000" sy="70000" algn="t" rotWithShape="0">
                  <a:schemeClr val="bg1">
                    <a:lumMod val="50000"/>
                    <a:alpha val="40000"/>
                  </a:schemeClr>
                </a:outerShdw>
              </a:effectLst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818F4FCF-833D-4B66-AA88-6F5D1DB97EAB}"/>
                    </a:ext>
                  </a:extLst>
                </p:cNvPr>
                <p:cNvSpPr/>
                <p:nvPr/>
              </p:nvSpPr>
              <p:spPr>
                <a:xfrm>
                  <a:off x="11556938" y="7296986"/>
                  <a:ext cx="340456" cy="340456"/>
                </a:xfrm>
                <a:prstGeom prst="ellipse">
                  <a:avLst/>
                </a:prstGeom>
                <a:gradFill>
                  <a:gsLst>
                    <a:gs pos="100000">
                      <a:srgbClr val="FFC53F"/>
                    </a:gs>
                    <a:gs pos="0">
                      <a:srgbClr val="4658AC"/>
                    </a:gs>
                  </a:gsLst>
                  <a:lin ang="66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7B038EEE-1ABC-4FAD-9531-138138EF57DD}"/>
                    </a:ext>
                  </a:extLst>
                </p:cNvPr>
                <p:cNvGrpSpPr/>
                <p:nvPr/>
              </p:nvGrpSpPr>
              <p:grpSpPr>
                <a:xfrm>
                  <a:off x="11643056" y="7383242"/>
                  <a:ext cx="168220" cy="167945"/>
                  <a:chOff x="910648" y="5598469"/>
                  <a:chExt cx="730034" cy="728842"/>
                </a:xfrm>
                <a:solidFill>
                  <a:schemeClr val="bg1"/>
                </a:solidFill>
              </p:grpSpPr>
              <p:grpSp>
                <p:nvGrpSpPr>
                  <p:cNvPr id="17" name="Group 16">
                    <a:extLst>
                      <a:ext uri="{FF2B5EF4-FFF2-40B4-BE49-F238E27FC236}">
                        <a16:creationId xmlns:a16="http://schemas.microsoft.com/office/drawing/2014/main" id="{CD7AE8EE-D4DF-4389-9346-BBCCD2F48B5F}"/>
                      </a:ext>
                    </a:extLst>
                  </p:cNvPr>
                  <p:cNvGrpSpPr/>
                  <p:nvPr/>
                </p:nvGrpSpPr>
                <p:grpSpPr>
                  <a:xfrm>
                    <a:off x="910648" y="5598469"/>
                    <a:ext cx="730034" cy="728842"/>
                    <a:chOff x="2110189" y="863994"/>
                    <a:chExt cx="724256" cy="723073"/>
                  </a:xfrm>
                  <a:grpFill/>
                </p:grpSpPr>
                <p:sp>
                  <p:nvSpPr>
                    <p:cNvPr id="19" name="Freeform 5">
                      <a:extLst>
                        <a:ext uri="{FF2B5EF4-FFF2-40B4-BE49-F238E27FC236}">
                          <a16:creationId xmlns:a16="http://schemas.microsoft.com/office/drawing/2014/main" id="{0BB9952E-FA83-467E-A489-55F8C6CE9518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10189" y="863994"/>
                      <a:ext cx="724256" cy="723073"/>
                    </a:xfrm>
                    <a:custGeom>
                      <a:avLst/>
                      <a:gdLst>
                        <a:gd name="T0" fmla="*/ 1263 w 4293"/>
                        <a:gd name="T1" fmla="*/ 4274 h 4286"/>
                        <a:gd name="T2" fmla="*/ 919 w 4293"/>
                        <a:gd name="T3" fmla="*/ 4230 h 4286"/>
                        <a:gd name="T4" fmla="*/ 634 w 4293"/>
                        <a:gd name="T5" fmla="*/ 4126 h 4286"/>
                        <a:gd name="T6" fmla="*/ 360 w 4293"/>
                        <a:gd name="T7" fmla="*/ 3926 h 4286"/>
                        <a:gd name="T8" fmla="*/ 188 w 4293"/>
                        <a:gd name="T9" fmla="*/ 3702 h 4286"/>
                        <a:gd name="T10" fmla="*/ 74 w 4293"/>
                        <a:gd name="T11" fmla="*/ 3430 h 4286"/>
                        <a:gd name="T12" fmla="*/ 14 w 4293"/>
                        <a:gd name="T13" fmla="*/ 3027 h 4286"/>
                        <a:gd name="T14" fmla="*/ 0 w 4293"/>
                        <a:gd name="T15" fmla="*/ 2143 h 4286"/>
                        <a:gd name="T16" fmla="*/ 18 w 4293"/>
                        <a:gd name="T17" fmla="*/ 1183 h 4286"/>
                        <a:gd name="T18" fmla="*/ 92 w 4293"/>
                        <a:gd name="T19" fmla="*/ 796 h 4286"/>
                        <a:gd name="T20" fmla="*/ 216 w 4293"/>
                        <a:gd name="T21" fmla="*/ 536 h 4286"/>
                        <a:gd name="T22" fmla="*/ 404 w 4293"/>
                        <a:gd name="T23" fmla="*/ 318 h 4286"/>
                        <a:gd name="T24" fmla="*/ 686 w 4293"/>
                        <a:gd name="T25" fmla="*/ 134 h 4286"/>
                        <a:gd name="T26" fmla="*/ 981 w 4293"/>
                        <a:gd name="T27" fmla="*/ 44 h 4286"/>
                        <a:gd name="T28" fmla="*/ 1415 w 4293"/>
                        <a:gd name="T29" fmla="*/ 6 h 4286"/>
                        <a:gd name="T30" fmla="*/ 2722 w 4293"/>
                        <a:gd name="T31" fmla="*/ 2 h 4286"/>
                        <a:gd name="T32" fmla="*/ 3248 w 4293"/>
                        <a:gd name="T33" fmla="*/ 32 h 4286"/>
                        <a:gd name="T34" fmla="*/ 3552 w 4293"/>
                        <a:gd name="T35" fmla="*/ 112 h 4286"/>
                        <a:gd name="T36" fmla="*/ 3847 w 4293"/>
                        <a:gd name="T37" fmla="*/ 280 h 4286"/>
                        <a:gd name="T38" fmla="*/ 4045 w 4293"/>
                        <a:gd name="T39" fmla="*/ 490 h 4286"/>
                        <a:gd name="T40" fmla="*/ 4181 w 4293"/>
                        <a:gd name="T41" fmla="*/ 740 h 4286"/>
                        <a:gd name="T42" fmla="*/ 4269 w 4293"/>
                        <a:gd name="T43" fmla="*/ 1111 h 4286"/>
                        <a:gd name="T44" fmla="*/ 4293 w 4293"/>
                        <a:gd name="T45" fmla="*/ 1793 h 4286"/>
                        <a:gd name="T46" fmla="*/ 4281 w 4293"/>
                        <a:gd name="T47" fmla="*/ 3027 h 4286"/>
                        <a:gd name="T48" fmla="*/ 4237 w 4293"/>
                        <a:gd name="T49" fmla="*/ 3370 h 4286"/>
                        <a:gd name="T50" fmla="*/ 4133 w 4293"/>
                        <a:gd name="T51" fmla="*/ 3654 h 4286"/>
                        <a:gd name="T52" fmla="*/ 3933 w 4293"/>
                        <a:gd name="T53" fmla="*/ 3926 h 4286"/>
                        <a:gd name="T54" fmla="*/ 3709 w 4293"/>
                        <a:gd name="T55" fmla="*/ 4100 h 4286"/>
                        <a:gd name="T56" fmla="*/ 3436 w 4293"/>
                        <a:gd name="T57" fmla="*/ 4214 h 4286"/>
                        <a:gd name="T58" fmla="*/ 3032 w 4293"/>
                        <a:gd name="T59" fmla="*/ 4274 h 4286"/>
                        <a:gd name="T60" fmla="*/ 2148 w 4293"/>
                        <a:gd name="T61" fmla="*/ 4286 h 4286"/>
                        <a:gd name="T62" fmla="*/ 1281 w 4293"/>
                        <a:gd name="T63" fmla="*/ 400 h 4286"/>
                        <a:gd name="T64" fmla="*/ 987 w 4293"/>
                        <a:gd name="T65" fmla="*/ 440 h 4286"/>
                        <a:gd name="T66" fmla="*/ 813 w 4293"/>
                        <a:gd name="T67" fmla="*/ 504 h 4286"/>
                        <a:gd name="T68" fmla="*/ 634 w 4293"/>
                        <a:gd name="T69" fmla="*/ 634 h 4286"/>
                        <a:gd name="T70" fmla="*/ 522 w 4293"/>
                        <a:gd name="T71" fmla="*/ 778 h 4286"/>
                        <a:gd name="T72" fmla="*/ 452 w 4293"/>
                        <a:gd name="T73" fmla="*/ 944 h 4286"/>
                        <a:gd name="T74" fmla="*/ 400 w 4293"/>
                        <a:gd name="T75" fmla="*/ 1277 h 4286"/>
                        <a:gd name="T76" fmla="*/ 388 w 4293"/>
                        <a:gd name="T77" fmla="*/ 2143 h 4286"/>
                        <a:gd name="T78" fmla="*/ 406 w 4293"/>
                        <a:gd name="T79" fmla="*/ 3083 h 4286"/>
                        <a:gd name="T80" fmla="*/ 464 w 4293"/>
                        <a:gd name="T81" fmla="*/ 3376 h 4286"/>
                        <a:gd name="T82" fmla="*/ 542 w 4293"/>
                        <a:gd name="T83" fmla="*/ 3538 h 4286"/>
                        <a:gd name="T84" fmla="*/ 662 w 4293"/>
                        <a:gd name="T85" fmla="*/ 3680 h 4286"/>
                        <a:gd name="T86" fmla="*/ 847 w 4293"/>
                        <a:gd name="T87" fmla="*/ 3798 h 4286"/>
                        <a:gd name="T88" fmla="*/ 1031 w 4293"/>
                        <a:gd name="T89" fmla="*/ 3858 h 4286"/>
                        <a:gd name="T90" fmla="*/ 1431 w 4293"/>
                        <a:gd name="T91" fmla="*/ 3892 h 4286"/>
                        <a:gd name="T92" fmla="*/ 2712 w 4293"/>
                        <a:gd name="T93" fmla="*/ 3896 h 4286"/>
                        <a:gd name="T94" fmla="*/ 3212 w 4293"/>
                        <a:gd name="T95" fmla="*/ 3866 h 4286"/>
                        <a:gd name="T96" fmla="*/ 3412 w 4293"/>
                        <a:gd name="T97" fmla="*/ 3812 h 4286"/>
                        <a:gd name="T98" fmla="*/ 3603 w 4293"/>
                        <a:gd name="T99" fmla="*/ 3704 h 4286"/>
                        <a:gd name="T100" fmla="*/ 3733 w 4293"/>
                        <a:gd name="T101" fmla="*/ 3568 h 4286"/>
                        <a:gd name="T102" fmla="*/ 3819 w 4293"/>
                        <a:gd name="T103" fmla="*/ 3406 h 4286"/>
                        <a:gd name="T104" fmla="*/ 3881 w 4293"/>
                        <a:gd name="T105" fmla="*/ 3149 h 4286"/>
                        <a:gd name="T106" fmla="*/ 3905 w 4293"/>
                        <a:gd name="T107" fmla="*/ 2487 h 4286"/>
                        <a:gd name="T108" fmla="*/ 3893 w 4293"/>
                        <a:gd name="T109" fmla="*/ 1277 h 4286"/>
                        <a:gd name="T110" fmla="*/ 3853 w 4293"/>
                        <a:gd name="T111" fmla="*/ 984 h 4286"/>
                        <a:gd name="T112" fmla="*/ 3789 w 4293"/>
                        <a:gd name="T113" fmla="*/ 810 h 4286"/>
                        <a:gd name="T114" fmla="*/ 3659 w 4293"/>
                        <a:gd name="T115" fmla="*/ 634 h 4286"/>
                        <a:gd name="T116" fmla="*/ 3514 w 4293"/>
                        <a:gd name="T117" fmla="*/ 520 h 4286"/>
                        <a:gd name="T118" fmla="*/ 3348 w 4293"/>
                        <a:gd name="T119" fmla="*/ 450 h 4286"/>
                        <a:gd name="T120" fmla="*/ 3014 w 4293"/>
                        <a:gd name="T121" fmla="*/ 400 h 4286"/>
                        <a:gd name="T122" fmla="*/ 2148 w 4293"/>
                        <a:gd name="T123" fmla="*/ 386 h 4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4293" h="4286">
                          <a:moveTo>
                            <a:pt x="2148" y="4286"/>
                          </a:moveTo>
                          <a:lnTo>
                            <a:pt x="2148" y="4286"/>
                          </a:lnTo>
                          <a:lnTo>
                            <a:pt x="1797" y="4286"/>
                          </a:lnTo>
                          <a:lnTo>
                            <a:pt x="1573" y="4284"/>
                          </a:lnTo>
                          <a:lnTo>
                            <a:pt x="1415" y="4280"/>
                          </a:lnTo>
                          <a:lnTo>
                            <a:pt x="1263" y="4274"/>
                          </a:lnTo>
                          <a:lnTo>
                            <a:pt x="1263" y="4274"/>
                          </a:lnTo>
                          <a:lnTo>
                            <a:pt x="1187" y="4270"/>
                          </a:lnTo>
                          <a:lnTo>
                            <a:pt x="1115" y="4262"/>
                          </a:lnTo>
                          <a:lnTo>
                            <a:pt x="1047" y="4254"/>
                          </a:lnTo>
                          <a:lnTo>
                            <a:pt x="981" y="4242"/>
                          </a:lnTo>
                          <a:lnTo>
                            <a:pt x="919" y="4230"/>
                          </a:lnTo>
                          <a:lnTo>
                            <a:pt x="859" y="4214"/>
                          </a:lnTo>
                          <a:lnTo>
                            <a:pt x="799" y="4196"/>
                          </a:lnTo>
                          <a:lnTo>
                            <a:pt x="741" y="4174"/>
                          </a:lnTo>
                          <a:lnTo>
                            <a:pt x="741" y="4174"/>
                          </a:lnTo>
                          <a:lnTo>
                            <a:pt x="686" y="4152"/>
                          </a:lnTo>
                          <a:lnTo>
                            <a:pt x="634" y="4126"/>
                          </a:lnTo>
                          <a:lnTo>
                            <a:pt x="584" y="4100"/>
                          </a:lnTo>
                          <a:lnTo>
                            <a:pt x="536" y="4070"/>
                          </a:lnTo>
                          <a:lnTo>
                            <a:pt x="492" y="4040"/>
                          </a:lnTo>
                          <a:lnTo>
                            <a:pt x="446" y="4004"/>
                          </a:lnTo>
                          <a:lnTo>
                            <a:pt x="404" y="3968"/>
                          </a:lnTo>
                          <a:lnTo>
                            <a:pt x="360" y="3926"/>
                          </a:lnTo>
                          <a:lnTo>
                            <a:pt x="360" y="3926"/>
                          </a:lnTo>
                          <a:lnTo>
                            <a:pt x="320" y="3884"/>
                          </a:lnTo>
                          <a:lnTo>
                            <a:pt x="282" y="3840"/>
                          </a:lnTo>
                          <a:lnTo>
                            <a:pt x="248" y="3796"/>
                          </a:lnTo>
                          <a:lnTo>
                            <a:pt x="216" y="3750"/>
                          </a:lnTo>
                          <a:lnTo>
                            <a:pt x="188" y="3702"/>
                          </a:lnTo>
                          <a:lnTo>
                            <a:pt x="160" y="3654"/>
                          </a:lnTo>
                          <a:lnTo>
                            <a:pt x="136" y="3602"/>
                          </a:lnTo>
                          <a:lnTo>
                            <a:pt x="114" y="3546"/>
                          </a:lnTo>
                          <a:lnTo>
                            <a:pt x="114" y="3546"/>
                          </a:lnTo>
                          <a:lnTo>
                            <a:pt x="92" y="3488"/>
                          </a:lnTo>
                          <a:lnTo>
                            <a:pt x="74" y="3430"/>
                          </a:lnTo>
                          <a:lnTo>
                            <a:pt x="58" y="3370"/>
                          </a:lnTo>
                          <a:lnTo>
                            <a:pt x="44" y="3306"/>
                          </a:lnTo>
                          <a:lnTo>
                            <a:pt x="34" y="3242"/>
                          </a:lnTo>
                          <a:lnTo>
                            <a:pt x="24" y="3175"/>
                          </a:lnTo>
                          <a:lnTo>
                            <a:pt x="18" y="3103"/>
                          </a:lnTo>
                          <a:lnTo>
                            <a:pt x="14" y="3027"/>
                          </a:lnTo>
                          <a:lnTo>
                            <a:pt x="14" y="3027"/>
                          </a:lnTo>
                          <a:lnTo>
                            <a:pt x="8" y="2873"/>
                          </a:lnTo>
                          <a:lnTo>
                            <a:pt x="4" y="2717"/>
                          </a:lnTo>
                          <a:lnTo>
                            <a:pt x="2" y="2493"/>
                          </a:lnTo>
                          <a:lnTo>
                            <a:pt x="0" y="2143"/>
                          </a:lnTo>
                          <a:lnTo>
                            <a:pt x="0" y="2143"/>
                          </a:lnTo>
                          <a:lnTo>
                            <a:pt x="2" y="1793"/>
                          </a:lnTo>
                          <a:lnTo>
                            <a:pt x="4" y="1569"/>
                          </a:lnTo>
                          <a:lnTo>
                            <a:pt x="8" y="1411"/>
                          </a:lnTo>
                          <a:lnTo>
                            <a:pt x="14" y="1259"/>
                          </a:lnTo>
                          <a:lnTo>
                            <a:pt x="14" y="1259"/>
                          </a:lnTo>
                          <a:lnTo>
                            <a:pt x="18" y="1183"/>
                          </a:lnTo>
                          <a:lnTo>
                            <a:pt x="24" y="1111"/>
                          </a:lnTo>
                          <a:lnTo>
                            <a:pt x="34" y="1044"/>
                          </a:lnTo>
                          <a:lnTo>
                            <a:pt x="44" y="980"/>
                          </a:lnTo>
                          <a:lnTo>
                            <a:pt x="58" y="916"/>
                          </a:lnTo>
                          <a:lnTo>
                            <a:pt x="74" y="856"/>
                          </a:lnTo>
                          <a:lnTo>
                            <a:pt x="92" y="796"/>
                          </a:lnTo>
                          <a:lnTo>
                            <a:pt x="114" y="740"/>
                          </a:lnTo>
                          <a:lnTo>
                            <a:pt x="114" y="740"/>
                          </a:lnTo>
                          <a:lnTo>
                            <a:pt x="136" y="684"/>
                          </a:lnTo>
                          <a:lnTo>
                            <a:pt x="160" y="632"/>
                          </a:lnTo>
                          <a:lnTo>
                            <a:pt x="188" y="582"/>
                          </a:lnTo>
                          <a:lnTo>
                            <a:pt x="216" y="536"/>
                          </a:lnTo>
                          <a:lnTo>
                            <a:pt x="248" y="490"/>
                          </a:lnTo>
                          <a:lnTo>
                            <a:pt x="282" y="444"/>
                          </a:lnTo>
                          <a:lnTo>
                            <a:pt x="320" y="402"/>
                          </a:lnTo>
                          <a:lnTo>
                            <a:pt x="360" y="360"/>
                          </a:lnTo>
                          <a:lnTo>
                            <a:pt x="360" y="360"/>
                          </a:lnTo>
                          <a:lnTo>
                            <a:pt x="404" y="318"/>
                          </a:lnTo>
                          <a:lnTo>
                            <a:pt x="446" y="280"/>
                          </a:lnTo>
                          <a:lnTo>
                            <a:pt x="492" y="246"/>
                          </a:lnTo>
                          <a:lnTo>
                            <a:pt x="536" y="214"/>
                          </a:lnTo>
                          <a:lnTo>
                            <a:pt x="584" y="186"/>
                          </a:lnTo>
                          <a:lnTo>
                            <a:pt x="634" y="158"/>
                          </a:lnTo>
                          <a:lnTo>
                            <a:pt x="686" y="134"/>
                          </a:lnTo>
                          <a:lnTo>
                            <a:pt x="741" y="112"/>
                          </a:lnTo>
                          <a:lnTo>
                            <a:pt x="741" y="112"/>
                          </a:lnTo>
                          <a:lnTo>
                            <a:pt x="799" y="90"/>
                          </a:lnTo>
                          <a:lnTo>
                            <a:pt x="859" y="72"/>
                          </a:lnTo>
                          <a:lnTo>
                            <a:pt x="919" y="56"/>
                          </a:lnTo>
                          <a:lnTo>
                            <a:pt x="981" y="44"/>
                          </a:lnTo>
                          <a:lnTo>
                            <a:pt x="1047" y="32"/>
                          </a:lnTo>
                          <a:lnTo>
                            <a:pt x="1115" y="24"/>
                          </a:lnTo>
                          <a:lnTo>
                            <a:pt x="1187" y="16"/>
                          </a:lnTo>
                          <a:lnTo>
                            <a:pt x="1263" y="12"/>
                          </a:lnTo>
                          <a:lnTo>
                            <a:pt x="1263" y="12"/>
                          </a:lnTo>
                          <a:lnTo>
                            <a:pt x="1415" y="6"/>
                          </a:lnTo>
                          <a:lnTo>
                            <a:pt x="1573" y="2"/>
                          </a:lnTo>
                          <a:lnTo>
                            <a:pt x="1795" y="0"/>
                          </a:lnTo>
                          <a:lnTo>
                            <a:pt x="2148" y="0"/>
                          </a:lnTo>
                          <a:lnTo>
                            <a:pt x="2148" y="0"/>
                          </a:lnTo>
                          <a:lnTo>
                            <a:pt x="2498" y="0"/>
                          </a:lnTo>
                          <a:lnTo>
                            <a:pt x="2722" y="2"/>
                          </a:lnTo>
                          <a:lnTo>
                            <a:pt x="2878" y="6"/>
                          </a:lnTo>
                          <a:lnTo>
                            <a:pt x="3032" y="12"/>
                          </a:lnTo>
                          <a:lnTo>
                            <a:pt x="3032" y="12"/>
                          </a:lnTo>
                          <a:lnTo>
                            <a:pt x="3108" y="16"/>
                          </a:lnTo>
                          <a:lnTo>
                            <a:pt x="3178" y="24"/>
                          </a:lnTo>
                          <a:lnTo>
                            <a:pt x="3248" y="32"/>
                          </a:lnTo>
                          <a:lnTo>
                            <a:pt x="3312" y="44"/>
                          </a:lnTo>
                          <a:lnTo>
                            <a:pt x="3374" y="56"/>
                          </a:lnTo>
                          <a:lnTo>
                            <a:pt x="3436" y="72"/>
                          </a:lnTo>
                          <a:lnTo>
                            <a:pt x="3494" y="90"/>
                          </a:lnTo>
                          <a:lnTo>
                            <a:pt x="3552" y="112"/>
                          </a:lnTo>
                          <a:lnTo>
                            <a:pt x="3552" y="112"/>
                          </a:lnTo>
                          <a:lnTo>
                            <a:pt x="3609" y="134"/>
                          </a:lnTo>
                          <a:lnTo>
                            <a:pt x="3661" y="158"/>
                          </a:lnTo>
                          <a:lnTo>
                            <a:pt x="3709" y="186"/>
                          </a:lnTo>
                          <a:lnTo>
                            <a:pt x="3757" y="214"/>
                          </a:lnTo>
                          <a:lnTo>
                            <a:pt x="3803" y="246"/>
                          </a:lnTo>
                          <a:lnTo>
                            <a:pt x="3847" y="280"/>
                          </a:lnTo>
                          <a:lnTo>
                            <a:pt x="3891" y="318"/>
                          </a:lnTo>
                          <a:lnTo>
                            <a:pt x="3933" y="360"/>
                          </a:lnTo>
                          <a:lnTo>
                            <a:pt x="3933" y="360"/>
                          </a:lnTo>
                          <a:lnTo>
                            <a:pt x="3973" y="402"/>
                          </a:lnTo>
                          <a:lnTo>
                            <a:pt x="4011" y="444"/>
                          </a:lnTo>
                          <a:lnTo>
                            <a:pt x="4045" y="490"/>
                          </a:lnTo>
                          <a:lnTo>
                            <a:pt x="4077" y="536"/>
                          </a:lnTo>
                          <a:lnTo>
                            <a:pt x="4107" y="582"/>
                          </a:lnTo>
                          <a:lnTo>
                            <a:pt x="4133" y="632"/>
                          </a:lnTo>
                          <a:lnTo>
                            <a:pt x="4159" y="684"/>
                          </a:lnTo>
                          <a:lnTo>
                            <a:pt x="4181" y="740"/>
                          </a:lnTo>
                          <a:lnTo>
                            <a:pt x="4181" y="740"/>
                          </a:lnTo>
                          <a:lnTo>
                            <a:pt x="4201" y="796"/>
                          </a:lnTo>
                          <a:lnTo>
                            <a:pt x="4221" y="856"/>
                          </a:lnTo>
                          <a:lnTo>
                            <a:pt x="4237" y="916"/>
                          </a:lnTo>
                          <a:lnTo>
                            <a:pt x="4249" y="980"/>
                          </a:lnTo>
                          <a:lnTo>
                            <a:pt x="4261" y="1044"/>
                          </a:lnTo>
                          <a:lnTo>
                            <a:pt x="4269" y="1111"/>
                          </a:lnTo>
                          <a:lnTo>
                            <a:pt x="4275" y="1183"/>
                          </a:lnTo>
                          <a:lnTo>
                            <a:pt x="4281" y="1259"/>
                          </a:lnTo>
                          <a:lnTo>
                            <a:pt x="4281" y="1259"/>
                          </a:lnTo>
                          <a:lnTo>
                            <a:pt x="4287" y="1411"/>
                          </a:lnTo>
                          <a:lnTo>
                            <a:pt x="4291" y="1569"/>
                          </a:lnTo>
                          <a:lnTo>
                            <a:pt x="4293" y="1793"/>
                          </a:lnTo>
                          <a:lnTo>
                            <a:pt x="4293" y="2143"/>
                          </a:lnTo>
                          <a:lnTo>
                            <a:pt x="4293" y="2143"/>
                          </a:lnTo>
                          <a:lnTo>
                            <a:pt x="4293" y="2493"/>
                          </a:lnTo>
                          <a:lnTo>
                            <a:pt x="4291" y="2717"/>
                          </a:lnTo>
                          <a:lnTo>
                            <a:pt x="4287" y="2873"/>
                          </a:lnTo>
                          <a:lnTo>
                            <a:pt x="4281" y="3027"/>
                          </a:lnTo>
                          <a:lnTo>
                            <a:pt x="4281" y="3027"/>
                          </a:lnTo>
                          <a:lnTo>
                            <a:pt x="4275" y="3103"/>
                          </a:lnTo>
                          <a:lnTo>
                            <a:pt x="4269" y="3175"/>
                          </a:lnTo>
                          <a:lnTo>
                            <a:pt x="4261" y="3242"/>
                          </a:lnTo>
                          <a:lnTo>
                            <a:pt x="4249" y="3306"/>
                          </a:lnTo>
                          <a:lnTo>
                            <a:pt x="4237" y="3370"/>
                          </a:lnTo>
                          <a:lnTo>
                            <a:pt x="4221" y="3430"/>
                          </a:lnTo>
                          <a:lnTo>
                            <a:pt x="4201" y="3488"/>
                          </a:lnTo>
                          <a:lnTo>
                            <a:pt x="4181" y="3546"/>
                          </a:lnTo>
                          <a:lnTo>
                            <a:pt x="4181" y="3546"/>
                          </a:lnTo>
                          <a:lnTo>
                            <a:pt x="4159" y="3602"/>
                          </a:lnTo>
                          <a:lnTo>
                            <a:pt x="4133" y="3654"/>
                          </a:lnTo>
                          <a:lnTo>
                            <a:pt x="4107" y="3702"/>
                          </a:lnTo>
                          <a:lnTo>
                            <a:pt x="4077" y="3750"/>
                          </a:lnTo>
                          <a:lnTo>
                            <a:pt x="4045" y="3796"/>
                          </a:lnTo>
                          <a:lnTo>
                            <a:pt x="4011" y="3840"/>
                          </a:lnTo>
                          <a:lnTo>
                            <a:pt x="3975" y="3884"/>
                          </a:lnTo>
                          <a:lnTo>
                            <a:pt x="3933" y="3926"/>
                          </a:lnTo>
                          <a:lnTo>
                            <a:pt x="3933" y="3926"/>
                          </a:lnTo>
                          <a:lnTo>
                            <a:pt x="3891" y="3968"/>
                          </a:lnTo>
                          <a:lnTo>
                            <a:pt x="3847" y="4004"/>
                          </a:lnTo>
                          <a:lnTo>
                            <a:pt x="3803" y="4040"/>
                          </a:lnTo>
                          <a:lnTo>
                            <a:pt x="3757" y="4070"/>
                          </a:lnTo>
                          <a:lnTo>
                            <a:pt x="3709" y="4100"/>
                          </a:lnTo>
                          <a:lnTo>
                            <a:pt x="3661" y="4126"/>
                          </a:lnTo>
                          <a:lnTo>
                            <a:pt x="3609" y="4152"/>
                          </a:lnTo>
                          <a:lnTo>
                            <a:pt x="3552" y="4174"/>
                          </a:lnTo>
                          <a:lnTo>
                            <a:pt x="3552" y="4174"/>
                          </a:lnTo>
                          <a:lnTo>
                            <a:pt x="3494" y="4196"/>
                          </a:lnTo>
                          <a:lnTo>
                            <a:pt x="3436" y="4214"/>
                          </a:lnTo>
                          <a:lnTo>
                            <a:pt x="3374" y="4230"/>
                          </a:lnTo>
                          <a:lnTo>
                            <a:pt x="3312" y="4242"/>
                          </a:lnTo>
                          <a:lnTo>
                            <a:pt x="3248" y="4254"/>
                          </a:lnTo>
                          <a:lnTo>
                            <a:pt x="3178" y="4262"/>
                          </a:lnTo>
                          <a:lnTo>
                            <a:pt x="3108" y="4270"/>
                          </a:lnTo>
                          <a:lnTo>
                            <a:pt x="3032" y="4274"/>
                          </a:lnTo>
                          <a:lnTo>
                            <a:pt x="3032" y="4274"/>
                          </a:lnTo>
                          <a:lnTo>
                            <a:pt x="2878" y="4280"/>
                          </a:lnTo>
                          <a:lnTo>
                            <a:pt x="2722" y="4284"/>
                          </a:lnTo>
                          <a:lnTo>
                            <a:pt x="2498" y="4286"/>
                          </a:lnTo>
                          <a:lnTo>
                            <a:pt x="2148" y="4286"/>
                          </a:lnTo>
                          <a:lnTo>
                            <a:pt x="2148" y="4286"/>
                          </a:lnTo>
                          <a:close/>
                          <a:moveTo>
                            <a:pt x="2148" y="386"/>
                          </a:moveTo>
                          <a:lnTo>
                            <a:pt x="2148" y="386"/>
                          </a:lnTo>
                          <a:lnTo>
                            <a:pt x="1801" y="388"/>
                          </a:lnTo>
                          <a:lnTo>
                            <a:pt x="1583" y="388"/>
                          </a:lnTo>
                          <a:lnTo>
                            <a:pt x="1431" y="392"/>
                          </a:lnTo>
                          <a:lnTo>
                            <a:pt x="1281" y="400"/>
                          </a:lnTo>
                          <a:lnTo>
                            <a:pt x="1281" y="400"/>
                          </a:lnTo>
                          <a:lnTo>
                            <a:pt x="1207" y="404"/>
                          </a:lnTo>
                          <a:lnTo>
                            <a:pt x="1141" y="410"/>
                          </a:lnTo>
                          <a:lnTo>
                            <a:pt x="1083" y="418"/>
                          </a:lnTo>
                          <a:lnTo>
                            <a:pt x="1031" y="428"/>
                          </a:lnTo>
                          <a:lnTo>
                            <a:pt x="987" y="440"/>
                          </a:lnTo>
                          <a:lnTo>
                            <a:pt x="947" y="450"/>
                          </a:lnTo>
                          <a:lnTo>
                            <a:pt x="913" y="462"/>
                          </a:lnTo>
                          <a:lnTo>
                            <a:pt x="883" y="472"/>
                          </a:lnTo>
                          <a:lnTo>
                            <a:pt x="883" y="472"/>
                          </a:lnTo>
                          <a:lnTo>
                            <a:pt x="845" y="488"/>
                          </a:lnTo>
                          <a:lnTo>
                            <a:pt x="813" y="504"/>
                          </a:lnTo>
                          <a:lnTo>
                            <a:pt x="781" y="520"/>
                          </a:lnTo>
                          <a:lnTo>
                            <a:pt x="749" y="540"/>
                          </a:lnTo>
                          <a:lnTo>
                            <a:pt x="721" y="560"/>
                          </a:lnTo>
                          <a:lnTo>
                            <a:pt x="690" y="582"/>
                          </a:lnTo>
                          <a:lnTo>
                            <a:pt x="662" y="606"/>
                          </a:lnTo>
                          <a:lnTo>
                            <a:pt x="634" y="634"/>
                          </a:lnTo>
                          <a:lnTo>
                            <a:pt x="634" y="634"/>
                          </a:lnTo>
                          <a:lnTo>
                            <a:pt x="608" y="662"/>
                          </a:lnTo>
                          <a:lnTo>
                            <a:pt x="584" y="690"/>
                          </a:lnTo>
                          <a:lnTo>
                            <a:pt x="562" y="718"/>
                          </a:lnTo>
                          <a:lnTo>
                            <a:pt x="542" y="746"/>
                          </a:lnTo>
                          <a:lnTo>
                            <a:pt x="522" y="778"/>
                          </a:lnTo>
                          <a:lnTo>
                            <a:pt x="506" y="810"/>
                          </a:lnTo>
                          <a:lnTo>
                            <a:pt x="490" y="844"/>
                          </a:lnTo>
                          <a:lnTo>
                            <a:pt x="474" y="880"/>
                          </a:lnTo>
                          <a:lnTo>
                            <a:pt x="474" y="880"/>
                          </a:lnTo>
                          <a:lnTo>
                            <a:pt x="464" y="910"/>
                          </a:lnTo>
                          <a:lnTo>
                            <a:pt x="452" y="944"/>
                          </a:lnTo>
                          <a:lnTo>
                            <a:pt x="440" y="984"/>
                          </a:lnTo>
                          <a:lnTo>
                            <a:pt x="430" y="1028"/>
                          </a:lnTo>
                          <a:lnTo>
                            <a:pt x="420" y="1079"/>
                          </a:lnTo>
                          <a:lnTo>
                            <a:pt x="412" y="1137"/>
                          </a:lnTo>
                          <a:lnTo>
                            <a:pt x="406" y="1203"/>
                          </a:lnTo>
                          <a:lnTo>
                            <a:pt x="400" y="1277"/>
                          </a:lnTo>
                          <a:lnTo>
                            <a:pt x="400" y="1277"/>
                          </a:lnTo>
                          <a:lnTo>
                            <a:pt x="394" y="1427"/>
                          </a:lnTo>
                          <a:lnTo>
                            <a:pt x="390" y="1579"/>
                          </a:lnTo>
                          <a:lnTo>
                            <a:pt x="388" y="1797"/>
                          </a:lnTo>
                          <a:lnTo>
                            <a:pt x="388" y="2143"/>
                          </a:lnTo>
                          <a:lnTo>
                            <a:pt x="388" y="2143"/>
                          </a:lnTo>
                          <a:lnTo>
                            <a:pt x="388" y="2489"/>
                          </a:lnTo>
                          <a:lnTo>
                            <a:pt x="390" y="2707"/>
                          </a:lnTo>
                          <a:lnTo>
                            <a:pt x="394" y="2859"/>
                          </a:lnTo>
                          <a:lnTo>
                            <a:pt x="400" y="3009"/>
                          </a:lnTo>
                          <a:lnTo>
                            <a:pt x="400" y="3009"/>
                          </a:lnTo>
                          <a:lnTo>
                            <a:pt x="406" y="3083"/>
                          </a:lnTo>
                          <a:lnTo>
                            <a:pt x="412" y="3149"/>
                          </a:lnTo>
                          <a:lnTo>
                            <a:pt x="420" y="3207"/>
                          </a:lnTo>
                          <a:lnTo>
                            <a:pt x="430" y="3258"/>
                          </a:lnTo>
                          <a:lnTo>
                            <a:pt x="440" y="3302"/>
                          </a:lnTo>
                          <a:lnTo>
                            <a:pt x="452" y="3342"/>
                          </a:lnTo>
                          <a:lnTo>
                            <a:pt x="464" y="3376"/>
                          </a:lnTo>
                          <a:lnTo>
                            <a:pt x="474" y="3406"/>
                          </a:lnTo>
                          <a:lnTo>
                            <a:pt x="474" y="3406"/>
                          </a:lnTo>
                          <a:lnTo>
                            <a:pt x="490" y="3442"/>
                          </a:lnTo>
                          <a:lnTo>
                            <a:pt x="506" y="3476"/>
                          </a:lnTo>
                          <a:lnTo>
                            <a:pt x="522" y="3508"/>
                          </a:lnTo>
                          <a:lnTo>
                            <a:pt x="542" y="3538"/>
                          </a:lnTo>
                          <a:lnTo>
                            <a:pt x="562" y="3568"/>
                          </a:lnTo>
                          <a:lnTo>
                            <a:pt x="584" y="3596"/>
                          </a:lnTo>
                          <a:lnTo>
                            <a:pt x="608" y="3624"/>
                          </a:lnTo>
                          <a:lnTo>
                            <a:pt x="634" y="3652"/>
                          </a:lnTo>
                          <a:lnTo>
                            <a:pt x="634" y="3652"/>
                          </a:lnTo>
                          <a:lnTo>
                            <a:pt x="662" y="3680"/>
                          </a:lnTo>
                          <a:lnTo>
                            <a:pt x="690" y="3704"/>
                          </a:lnTo>
                          <a:lnTo>
                            <a:pt x="721" y="3726"/>
                          </a:lnTo>
                          <a:lnTo>
                            <a:pt x="749" y="3746"/>
                          </a:lnTo>
                          <a:lnTo>
                            <a:pt x="781" y="3764"/>
                          </a:lnTo>
                          <a:lnTo>
                            <a:pt x="813" y="3782"/>
                          </a:lnTo>
                          <a:lnTo>
                            <a:pt x="847" y="3798"/>
                          </a:lnTo>
                          <a:lnTo>
                            <a:pt x="883" y="3812"/>
                          </a:lnTo>
                          <a:lnTo>
                            <a:pt x="883" y="3812"/>
                          </a:lnTo>
                          <a:lnTo>
                            <a:pt x="913" y="3824"/>
                          </a:lnTo>
                          <a:lnTo>
                            <a:pt x="947" y="3836"/>
                          </a:lnTo>
                          <a:lnTo>
                            <a:pt x="987" y="3846"/>
                          </a:lnTo>
                          <a:lnTo>
                            <a:pt x="1031" y="3858"/>
                          </a:lnTo>
                          <a:lnTo>
                            <a:pt x="1083" y="3866"/>
                          </a:lnTo>
                          <a:lnTo>
                            <a:pt x="1141" y="3876"/>
                          </a:lnTo>
                          <a:lnTo>
                            <a:pt x="1207" y="3882"/>
                          </a:lnTo>
                          <a:lnTo>
                            <a:pt x="1281" y="3886"/>
                          </a:lnTo>
                          <a:lnTo>
                            <a:pt x="1281" y="3886"/>
                          </a:lnTo>
                          <a:lnTo>
                            <a:pt x="1431" y="3892"/>
                          </a:lnTo>
                          <a:lnTo>
                            <a:pt x="1583" y="3896"/>
                          </a:lnTo>
                          <a:lnTo>
                            <a:pt x="1801" y="3898"/>
                          </a:lnTo>
                          <a:lnTo>
                            <a:pt x="2148" y="3900"/>
                          </a:lnTo>
                          <a:lnTo>
                            <a:pt x="2148" y="3900"/>
                          </a:lnTo>
                          <a:lnTo>
                            <a:pt x="2492" y="3898"/>
                          </a:lnTo>
                          <a:lnTo>
                            <a:pt x="2712" y="3896"/>
                          </a:lnTo>
                          <a:lnTo>
                            <a:pt x="2864" y="3892"/>
                          </a:lnTo>
                          <a:lnTo>
                            <a:pt x="3014" y="3886"/>
                          </a:lnTo>
                          <a:lnTo>
                            <a:pt x="3014" y="3886"/>
                          </a:lnTo>
                          <a:lnTo>
                            <a:pt x="3088" y="3882"/>
                          </a:lnTo>
                          <a:lnTo>
                            <a:pt x="3154" y="3876"/>
                          </a:lnTo>
                          <a:lnTo>
                            <a:pt x="3212" y="3866"/>
                          </a:lnTo>
                          <a:lnTo>
                            <a:pt x="3264" y="3858"/>
                          </a:lnTo>
                          <a:lnTo>
                            <a:pt x="3308" y="3846"/>
                          </a:lnTo>
                          <a:lnTo>
                            <a:pt x="3348" y="3836"/>
                          </a:lnTo>
                          <a:lnTo>
                            <a:pt x="3382" y="3824"/>
                          </a:lnTo>
                          <a:lnTo>
                            <a:pt x="3412" y="3812"/>
                          </a:lnTo>
                          <a:lnTo>
                            <a:pt x="3412" y="3812"/>
                          </a:lnTo>
                          <a:lnTo>
                            <a:pt x="3448" y="3798"/>
                          </a:lnTo>
                          <a:lnTo>
                            <a:pt x="3482" y="3782"/>
                          </a:lnTo>
                          <a:lnTo>
                            <a:pt x="3514" y="3764"/>
                          </a:lnTo>
                          <a:lnTo>
                            <a:pt x="3544" y="3746"/>
                          </a:lnTo>
                          <a:lnTo>
                            <a:pt x="3574" y="3726"/>
                          </a:lnTo>
                          <a:lnTo>
                            <a:pt x="3603" y="3704"/>
                          </a:lnTo>
                          <a:lnTo>
                            <a:pt x="3631" y="3680"/>
                          </a:lnTo>
                          <a:lnTo>
                            <a:pt x="3659" y="3652"/>
                          </a:lnTo>
                          <a:lnTo>
                            <a:pt x="3659" y="3652"/>
                          </a:lnTo>
                          <a:lnTo>
                            <a:pt x="3687" y="3624"/>
                          </a:lnTo>
                          <a:lnTo>
                            <a:pt x="3711" y="3596"/>
                          </a:lnTo>
                          <a:lnTo>
                            <a:pt x="3733" y="3568"/>
                          </a:lnTo>
                          <a:lnTo>
                            <a:pt x="3753" y="3538"/>
                          </a:lnTo>
                          <a:lnTo>
                            <a:pt x="3771" y="3508"/>
                          </a:lnTo>
                          <a:lnTo>
                            <a:pt x="3789" y="3476"/>
                          </a:lnTo>
                          <a:lnTo>
                            <a:pt x="3805" y="3442"/>
                          </a:lnTo>
                          <a:lnTo>
                            <a:pt x="3819" y="3406"/>
                          </a:lnTo>
                          <a:lnTo>
                            <a:pt x="3819" y="3406"/>
                          </a:lnTo>
                          <a:lnTo>
                            <a:pt x="3831" y="3376"/>
                          </a:lnTo>
                          <a:lnTo>
                            <a:pt x="3843" y="3342"/>
                          </a:lnTo>
                          <a:lnTo>
                            <a:pt x="3853" y="3302"/>
                          </a:lnTo>
                          <a:lnTo>
                            <a:pt x="3863" y="3258"/>
                          </a:lnTo>
                          <a:lnTo>
                            <a:pt x="3873" y="3207"/>
                          </a:lnTo>
                          <a:lnTo>
                            <a:pt x="3881" y="3149"/>
                          </a:lnTo>
                          <a:lnTo>
                            <a:pt x="3889" y="3083"/>
                          </a:lnTo>
                          <a:lnTo>
                            <a:pt x="3893" y="3009"/>
                          </a:lnTo>
                          <a:lnTo>
                            <a:pt x="3893" y="3009"/>
                          </a:lnTo>
                          <a:lnTo>
                            <a:pt x="3899" y="2859"/>
                          </a:lnTo>
                          <a:lnTo>
                            <a:pt x="3903" y="2705"/>
                          </a:lnTo>
                          <a:lnTo>
                            <a:pt x="3905" y="2487"/>
                          </a:lnTo>
                          <a:lnTo>
                            <a:pt x="3905" y="2143"/>
                          </a:lnTo>
                          <a:lnTo>
                            <a:pt x="3905" y="2143"/>
                          </a:lnTo>
                          <a:lnTo>
                            <a:pt x="3905" y="1797"/>
                          </a:lnTo>
                          <a:lnTo>
                            <a:pt x="3903" y="1579"/>
                          </a:lnTo>
                          <a:lnTo>
                            <a:pt x="3899" y="1427"/>
                          </a:lnTo>
                          <a:lnTo>
                            <a:pt x="3893" y="1277"/>
                          </a:lnTo>
                          <a:lnTo>
                            <a:pt x="3893" y="1277"/>
                          </a:lnTo>
                          <a:lnTo>
                            <a:pt x="3889" y="1203"/>
                          </a:lnTo>
                          <a:lnTo>
                            <a:pt x="3881" y="1137"/>
                          </a:lnTo>
                          <a:lnTo>
                            <a:pt x="3873" y="1079"/>
                          </a:lnTo>
                          <a:lnTo>
                            <a:pt x="3863" y="1028"/>
                          </a:lnTo>
                          <a:lnTo>
                            <a:pt x="3853" y="984"/>
                          </a:lnTo>
                          <a:lnTo>
                            <a:pt x="3843" y="944"/>
                          </a:lnTo>
                          <a:lnTo>
                            <a:pt x="3831" y="910"/>
                          </a:lnTo>
                          <a:lnTo>
                            <a:pt x="3819" y="880"/>
                          </a:lnTo>
                          <a:lnTo>
                            <a:pt x="3819" y="880"/>
                          </a:lnTo>
                          <a:lnTo>
                            <a:pt x="3805" y="844"/>
                          </a:lnTo>
                          <a:lnTo>
                            <a:pt x="3789" y="810"/>
                          </a:lnTo>
                          <a:lnTo>
                            <a:pt x="3771" y="778"/>
                          </a:lnTo>
                          <a:lnTo>
                            <a:pt x="3753" y="746"/>
                          </a:lnTo>
                          <a:lnTo>
                            <a:pt x="3733" y="718"/>
                          </a:lnTo>
                          <a:lnTo>
                            <a:pt x="3711" y="690"/>
                          </a:lnTo>
                          <a:lnTo>
                            <a:pt x="3687" y="662"/>
                          </a:lnTo>
                          <a:lnTo>
                            <a:pt x="3659" y="634"/>
                          </a:lnTo>
                          <a:lnTo>
                            <a:pt x="3659" y="634"/>
                          </a:lnTo>
                          <a:lnTo>
                            <a:pt x="3631" y="606"/>
                          </a:lnTo>
                          <a:lnTo>
                            <a:pt x="3603" y="582"/>
                          </a:lnTo>
                          <a:lnTo>
                            <a:pt x="3574" y="560"/>
                          </a:lnTo>
                          <a:lnTo>
                            <a:pt x="3544" y="540"/>
                          </a:lnTo>
                          <a:lnTo>
                            <a:pt x="3514" y="520"/>
                          </a:lnTo>
                          <a:lnTo>
                            <a:pt x="3482" y="504"/>
                          </a:lnTo>
                          <a:lnTo>
                            <a:pt x="3448" y="488"/>
                          </a:lnTo>
                          <a:lnTo>
                            <a:pt x="3412" y="472"/>
                          </a:lnTo>
                          <a:lnTo>
                            <a:pt x="3412" y="472"/>
                          </a:lnTo>
                          <a:lnTo>
                            <a:pt x="3382" y="462"/>
                          </a:lnTo>
                          <a:lnTo>
                            <a:pt x="3348" y="450"/>
                          </a:lnTo>
                          <a:lnTo>
                            <a:pt x="3308" y="440"/>
                          </a:lnTo>
                          <a:lnTo>
                            <a:pt x="3264" y="428"/>
                          </a:lnTo>
                          <a:lnTo>
                            <a:pt x="3212" y="418"/>
                          </a:lnTo>
                          <a:lnTo>
                            <a:pt x="3154" y="410"/>
                          </a:lnTo>
                          <a:lnTo>
                            <a:pt x="3088" y="404"/>
                          </a:lnTo>
                          <a:lnTo>
                            <a:pt x="3014" y="400"/>
                          </a:lnTo>
                          <a:lnTo>
                            <a:pt x="3014" y="400"/>
                          </a:lnTo>
                          <a:lnTo>
                            <a:pt x="2864" y="392"/>
                          </a:lnTo>
                          <a:lnTo>
                            <a:pt x="2712" y="388"/>
                          </a:lnTo>
                          <a:lnTo>
                            <a:pt x="2492" y="388"/>
                          </a:lnTo>
                          <a:lnTo>
                            <a:pt x="2148" y="386"/>
                          </a:lnTo>
                          <a:lnTo>
                            <a:pt x="2148" y="386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6250"/>
                    </a:p>
                  </p:txBody>
                </p:sp>
                <p:sp>
                  <p:nvSpPr>
                    <p:cNvPr id="20" name="Freeform 10">
                      <a:extLst>
                        <a:ext uri="{FF2B5EF4-FFF2-40B4-BE49-F238E27FC236}">
                          <a16:creationId xmlns:a16="http://schemas.microsoft.com/office/drawing/2014/main" id="{E05A6F49-2262-4488-B330-DBD07B672F3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22044" y="989172"/>
                      <a:ext cx="87052" cy="86546"/>
                    </a:xfrm>
                    <a:custGeom>
                      <a:avLst/>
                      <a:gdLst>
                        <a:gd name="T0" fmla="*/ 516 w 516"/>
                        <a:gd name="T1" fmla="*/ 258 h 513"/>
                        <a:gd name="T2" fmla="*/ 510 w 516"/>
                        <a:gd name="T3" fmla="*/ 310 h 513"/>
                        <a:gd name="T4" fmla="*/ 496 w 516"/>
                        <a:gd name="T5" fmla="*/ 357 h 513"/>
                        <a:gd name="T6" fmla="*/ 472 w 516"/>
                        <a:gd name="T7" fmla="*/ 401 h 513"/>
                        <a:gd name="T8" fmla="*/ 440 w 516"/>
                        <a:gd name="T9" fmla="*/ 439 h 513"/>
                        <a:gd name="T10" fmla="*/ 402 w 516"/>
                        <a:gd name="T11" fmla="*/ 469 h 513"/>
                        <a:gd name="T12" fmla="*/ 358 w 516"/>
                        <a:gd name="T13" fmla="*/ 493 h 513"/>
                        <a:gd name="T14" fmla="*/ 310 w 516"/>
                        <a:gd name="T15" fmla="*/ 509 h 513"/>
                        <a:gd name="T16" fmla="*/ 258 w 516"/>
                        <a:gd name="T17" fmla="*/ 513 h 513"/>
                        <a:gd name="T18" fmla="*/ 232 w 516"/>
                        <a:gd name="T19" fmla="*/ 513 h 513"/>
                        <a:gd name="T20" fmla="*/ 182 w 516"/>
                        <a:gd name="T21" fmla="*/ 501 h 513"/>
                        <a:gd name="T22" fmla="*/ 136 w 516"/>
                        <a:gd name="T23" fmla="*/ 483 h 513"/>
                        <a:gd name="T24" fmla="*/ 94 w 516"/>
                        <a:gd name="T25" fmla="*/ 455 h 513"/>
                        <a:gd name="T26" fmla="*/ 60 w 516"/>
                        <a:gd name="T27" fmla="*/ 419 h 513"/>
                        <a:gd name="T28" fmla="*/ 32 w 516"/>
                        <a:gd name="T29" fmla="*/ 379 h 513"/>
                        <a:gd name="T30" fmla="*/ 12 w 516"/>
                        <a:gd name="T31" fmla="*/ 333 h 513"/>
                        <a:gd name="T32" fmla="*/ 2 w 516"/>
                        <a:gd name="T33" fmla="*/ 284 h 513"/>
                        <a:gd name="T34" fmla="*/ 0 w 516"/>
                        <a:gd name="T35" fmla="*/ 258 h 513"/>
                        <a:gd name="T36" fmla="*/ 6 w 516"/>
                        <a:gd name="T37" fmla="*/ 206 h 513"/>
                        <a:gd name="T38" fmla="*/ 22 w 516"/>
                        <a:gd name="T39" fmla="*/ 158 h 513"/>
                        <a:gd name="T40" fmla="*/ 44 w 516"/>
                        <a:gd name="T41" fmla="*/ 114 h 513"/>
                        <a:gd name="T42" fmla="*/ 76 w 516"/>
                        <a:gd name="T43" fmla="*/ 76 h 513"/>
                        <a:gd name="T44" fmla="*/ 114 w 516"/>
                        <a:gd name="T45" fmla="*/ 44 h 513"/>
                        <a:gd name="T46" fmla="*/ 158 w 516"/>
                        <a:gd name="T47" fmla="*/ 20 h 513"/>
                        <a:gd name="T48" fmla="*/ 206 w 516"/>
                        <a:gd name="T49" fmla="*/ 6 h 513"/>
                        <a:gd name="T50" fmla="*/ 258 w 516"/>
                        <a:gd name="T51" fmla="*/ 0 h 513"/>
                        <a:gd name="T52" fmla="*/ 284 w 516"/>
                        <a:gd name="T53" fmla="*/ 2 h 513"/>
                        <a:gd name="T54" fmla="*/ 334 w 516"/>
                        <a:gd name="T55" fmla="*/ 12 h 513"/>
                        <a:gd name="T56" fmla="*/ 380 w 516"/>
                        <a:gd name="T57" fmla="*/ 30 h 513"/>
                        <a:gd name="T58" fmla="*/ 422 w 516"/>
                        <a:gd name="T59" fmla="*/ 58 h 513"/>
                        <a:gd name="T60" fmla="*/ 456 w 516"/>
                        <a:gd name="T61" fmla="*/ 94 h 513"/>
                        <a:gd name="T62" fmla="*/ 484 w 516"/>
                        <a:gd name="T63" fmla="*/ 134 h 513"/>
                        <a:gd name="T64" fmla="*/ 504 w 516"/>
                        <a:gd name="T65" fmla="*/ 180 h 513"/>
                        <a:gd name="T66" fmla="*/ 514 w 516"/>
                        <a:gd name="T67" fmla="*/ 230 h 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516" h="513">
                          <a:moveTo>
                            <a:pt x="516" y="258"/>
                          </a:moveTo>
                          <a:lnTo>
                            <a:pt x="516" y="258"/>
                          </a:lnTo>
                          <a:lnTo>
                            <a:pt x="514" y="284"/>
                          </a:lnTo>
                          <a:lnTo>
                            <a:pt x="510" y="310"/>
                          </a:lnTo>
                          <a:lnTo>
                            <a:pt x="504" y="333"/>
                          </a:lnTo>
                          <a:lnTo>
                            <a:pt x="496" y="357"/>
                          </a:lnTo>
                          <a:lnTo>
                            <a:pt x="484" y="379"/>
                          </a:lnTo>
                          <a:lnTo>
                            <a:pt x="472" y="401"/>
                          </a:lnTo>
                          <a:lnTo>
                            <a:pt x="456" y="419"/>
                          </a:lnTo>
                          <a:lnTo>
                            <a:pt x="440" y="439"/>
                          </a:lnTo>
                          <a:lnTo>
                            <a:pt x="422" y="455"/>
                          </a:lnTo>
                          <a:lnTo>
                            <a:pt x="402" y="469"/>
                          </a:lnTo>
                          <a:lnTo>
                            <a:pt x="380" y="483"/>
                          </a:lnTo>
                          <a:lnTo>
                            <a:pt x="358" y="493"/>
                          </a:lnTo>
                          <a:lnTo>
                            <a:pt x="334" y="501"/>
                          </a:lnTo>
                          <a:lnTo>
                            <a:pt x="310" y="509"/>
                          </a:lnTo>
                          <a:lnTo>
                            <a:pt x="284" y="513"/>
                          </a:lnTo>
                          <a:lnTo>
                            <a:pt x="258" y="513"/>
                          </a:lnTo>
                          <a:lnTo>
                            <a:pt x="258" y="513"/>
                          </a:lnTo>
                          <a:lnTo>
                            <a:pt x="232" y="513"/>
                          </a:lnTo>
                          <a:lnTo>
                            <a:pt x="206" y="509"/>
                          </a:lnTo>
                          <a:lnTo>
                            <a:pt x="182" y="501"/>
                          </a:lnTo>
                          <a:lnTo>
                            <a:pt x="158" y="493"/>
                          </a:lnTo>
                          <a:lnTo>
                            <a:pt x="136" y="483"/>
                          </a:lnTo>
                          <a:lnTo>
                            <a:pt x="114" y="469"/>
                          </a:lnTo>
                          <a:lnTo>
                            <a:pt x="94" y="455"/>
                          </a:lnTo>
                          <a:lnTo>
                            <a:pt x="76" y="439"/>
                          </a:lnTo>
                          <a:lnTo>
                            <a:pt x="60" y="419"/>
                          </a:lnTo>
                          <a:lnTo>
                            <a:pt x="44" y="401"/>
                          </a:lnTo>
                          <a:lnTo>
                            <a:pt x="32" y="379"/>
                          </a:lnTo>
                          <a:lnTo>
                            <a:pt x="22" y="357"/>
                          </a:lnTo>
                          <a:lnTo>
                            <a:pt x="12" y="333"/>
                          </a:lnTo>
                          <a:lnTo>
                            <a:pt x="6" y="310"/>
                          </a:lnTo>
                          <a:lnTo>
                            <a:pt x="2" y="284"/>
                          </a:lnTo>
                          <a:lnTo>
                            <a:pt x="0" y="258"/>
                          </a:lnTo>
                          <a:lnTo>
                            <a:pt x="0" y="258"/>
                          </a:lnTo>
                          <a:lnTo>
                            <a:pt x="2" y="230"/>
                          </a:lnTo>
                          <a:lnTo>
                            <a:pt x="6" y="206"/>
                          </a:lnTo>
                          <a:lnTo>
                            <a:pt x="12" y="180"/>
                          </a:lnTo>
                          <a:lnTo>
                            <a:pt x="22" y="158"/>
                          </a:lnTo>
                          <a:lnTo>
                            <a:pt x="32" y="134"/>
                          </a:lnTo>
                          <a:lnTo>
                            <a:pt x="44" y="114"/>
                          </a:lnTo>
                          <a:lnTo>
                            <a:pt x="60" y="94"/>
                          </a:lnTo>
                          <a:lnTo>
                            <a:pt x="76" y="76"/>
                          </a:lnTo>
                          <a:lnTo>
                            <a:pt x="94" y="58"/>
                          </a:lnTo>
                          <a:lnTo>
                            <a:pt x="114" y="44"/>
                          </a:lnTo>
                          <a:lnTo>
                            <a:pt x="136" y="30"/>
                          </a:lnTo>
                          <a:lnTo>
                            <a:pt x="158" y="20"/>
                          </a:lnTo>
                          <a:lnTo>
                            <a:pt x="182" y="12"/>
                          </a:lnTo>
                          <a:lnTo>
                            <a:pt x="206" y="6"/>
                          </a:lnTo>
                          <a:lnTo>
                            <a:pt x="232" y="2"/>
                          </a:lnTo>
                          <a:lnTo>
                            <a:pt x="258" y="0"/>
                          </a:lnTo>
                          <a:lnTo>
                            <a:pt x="258" y="0"/>
                          </a:lnTo>
                          <a:lnTo>
                            <a:pt x="284" y="2"/>
                          </a:lnTo>
                          <a:lnTo>
                            <a:pt x="310" y="6"/>
                          </a:lnTo>
                          <a:lnTo>
                            <a:pt x="334" y="12"/>
                          </a:lnTo>
                          <a:lnTo>
                            <a:pt x="358" y="20"/>
                          </a:lnTo>
                          <a:lnTo>
                            <a:pt x="380" y="30"/>
                          </a:lnTo>
                          <a:lnTo>
                            <a:pt x="402" y="44"/>
                          </a:lnTo>
                          <a:lnTo>
                            <a:pt x="422" y="58"/>
                          </a:lnTo>
                          <a:lnTo>
                            <a:pt x="440" y="76"/>
                          </a:lnTo>
                          <a:lnTo>
                            <a:pt x="456" y="94"/>
                          </a:lnTo>
                          <a:lnTo>
                            <a:pt x="472" y="114"/>
                          </a:lnTo>
                          <a:lnTo>
                            <a:pt x="484" y="134"/>
                          </a:lnTo>
                          <a:lnTo>
                            <a:pt x="496" y="158"/>
                          </a:lnTo>
                          <a:lnTo>
                            <a:pt x="504" y="180"/>
                          </a:lnTo>
                          <a:lnTo>
                            <a:pt x="510" y="206"/>
                          </a:lnTo>
                          <a:lnTo>
                            <a:pt x="514" y="230"/>
                          </a:lnTo>
                          <a:lnTo>
                            <a:pt x="516" y="258"/>
                          </a:lnTo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6250"/>
                    </a:p>
                  </p:txBody>
                </p:sp>
              </p:grpSp>
              <p:sp>
                <p:nvSpPr>
                  <p:cNvPr id="18" name="Freeform: Shape 17">
                    <a:extLst>
                      <a:ext uri="{FF2B5EF4-FFF2-40B4-BE49-F238E27FC236}">
                        <a16:creationId xmlns:a16="http://schemas.microsoft.com/office/drawing/2014/main" id="{1B89B4AF-599B-46D9-ABD3-4EC6CE7378D8}"/>
                      </a:ext>
                    </a:extLst>
                  </p:cNvPr>
                  <p:cNvSpPr/>
                  <p:nvPr/>
                </p:nvSpPr>
                <p:spPr>
                  <a:xfrm>
                    <a:off x="1101879" y="5789104"/>
                    <a:ext cx="358205" cy="358205"/>
                  </a:xfrm>
                  <a:custGeom>
                    <a:avLst/>
                    <a:gdLst>
                      <a:gd name="connsiteX0" fmla="*/ 152792 w 305584"/>
                      <a:gd name="connsiteY0" fmla="*/ 59791 h 305584"/>
                      <a:gd name="connsiteX1" fmla="*/ 59791 w 305584"/>
                      <a:gd name="connsiteY1" fmla="*/ 152790 h 305584"/>
                      <a:gd name="connsiteX2" fmla="*/ 152792 w 305584"/>
                      <a:gd name="connsiteY2" fmla="*/ 245789 h 305584"/>
                      <a:gd name="connsiteX3" fmla="*/ 245793 w 305584"/>
                      <a:gd name="connsiteY3" fmla="*/ 152790 h 305584"/>
                      <a:gd name="connsiteX4" fmla="*/ 152792 w 305584"/>
                      <a:gd name="connsiteY4" fmla="*/ 59791 h 305584"/>
                      <a:gd name="connsiteX5" fmla="*/ 152792 w 305584"/>
                      <a:gd name="connsiteY5" fmla="*/ 0 h 305584"/>
                      <a:gd name="connsiteX6" fmla="*/ 305584 w 305584"/>
                      <a:gd name="connsiteY6" fmla="*/ 152792 h 305584"/>
                      <a:gd name="connsiteX7" fmla="*/ 152792 w 305584"/>
                      <a:gd name="connsiteY7" fmla="*/ 305584 h 305584"/>
                      <a:gd name="connsiteX8" fmla="*/ 0 w 305584"/>
                      <a:gd name="connsiteY8" fmla="*/ 152792 h 305584"/>
                      <a:gd name="connsiteX9" fmla="*/ 152792 w 305584"/>
                      <a:gd name="connsiteY9" fmla="*/ 0 h 3055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05584" h="305584">
                        <a:moveTo>
                          <a:pt x="152792" y="59791"/>
                        </a:moveTo>
                        <a:cubicBezTo>
                          <a:pt x="101429" y="59791"/>
                          <a:pt x="59791" y="101428"/>
                          <a:pt x="59791" y="152790"/>
                        </a:cubicBezTo>
                        <a:cubicBezTo>
                          <a:pt x="59791" y="204152"/>
                          <a:pt x="101429" y="245789"/>
                          <a:pt x="152792" y="245789"/>
                        </a:cubicBezTo>
                        <a:cubicBezTo>
                          <a:pt x="204155" y="245789"/>
                          <a:pt x="245793" y="204152"/>
                          <a:pt x="245793" y="152790"/>
                        </a:cubicBezTo>
                        <a:cubicBezTo>
                          <a:pt x="245793" y="101428"/>
                          <a:pt x="204155" y="59791"/>
                          <a:pt x="152792" y="59791"/>
                        </a:cubicBezTo>
                        <a:close/>
                        <a:moveTo>
                          <a:pt x="152792" y="0"/>
                        </a:moveTo>
                        <a:cubicBezTo>
                          <a:pt x="237177" y="0"/>
                          <a:pt x="305584" y="68407"/>
                          <a:pt x="305584" y="152792"/>
                        </a:cubicBezTo>
                        <a:cubicBezTo>
                          <a:pt x="305584" y="237177"/>
                          <a:pt x="237177" y="305584"/>
                          <a:pt x="152792" y="305584"/>
                        </a:cubicBezTo>
                        <a:cubicBezTo>
                          <a:pt x="68407" y="305584"/>
                          <a:pt x="0" y="237177"/>
                          <a:pt x="0" y="152792"/>
                        </a:cubicBezTo>
                        <a:cubicBezTo>
                          <a:pt x="0" y="68407"/>
                          <a:pt x="68407" y="0"/>
                          <a:pt x="152792" y="0"/>
                        </a:cubicBezTo>
                        <a:close/>
                      </a:path>
                    </a:pathLst>
                  </a:custGeom>
                  <a:grpFill/>
                  <a:ln w="285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id-ID" sz="6250"/>
                  </a:p>
                </p:txBody>
              </p:sp>
            </p:grp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6CB61A4-48BF-4B21-9CB9-52F70C2EC6DD}"/>
                </a:ext>
              </a:extLst>
            </p:cNvPr>
            <p:cNvGrpSpPr/>
            <p:nvPr userDrawn="1"/>
          </p:nvGrpSpPr>
          <p:grpSpPr>
            <a:xfrm>
              <a:off x="18297807" y="9925183"/>
              <a:ext cx="285384" cy="285384"/>
              <a:chOff x="12991645" y="6161514"/>
              <a:chExt cx="552389" cy="552389"/>
            </a:xfrm>
            <a:effectLst>
              <a:outerShdw blurRad="254000" dist="165100" dir="6600000" sx="70000" sy="70000" algn="t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9" name="Rectangle: Top Corners Rounded 8">
                <a:extLst>
                  <a:ext uri="{FF2B5EF4-FFF2-40B4-BE49-F238E27FC236}">
                    <a16:creationId xmlns:a16="http://schemas.microsoft.com/office/drawing/2014/main" id="{89EA44C0-C29D-4530-98B6-203AD231D106}"/>
                  </a:ext>
                </a:extLst>
              </p:cNvPr>
              <p:cNvSpPr/>
              <p:nvPr/>
            </p:nvSpPr>
            <p:spPr>
              <a:xfrm rot="5400000">
                <a:off x="12991645" y="6161514"/>
                <a:ext cx="552389" cy="552389"/>
              </a:xfrm>
              <a:prstGeom prst="round2Same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  <a:alpha val="76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CF36868B-86A7-427C-B8D8-AEC6BE415C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10801" y="6338988"/>
                <a:ext cx="114076" cy="197440"/>
              </a:xfrm>
              <a:custGeom>
                <a:avLst/>
                <a:gdLst>
                  <a:gd name="T0" fmla="*/ 917464 w 228"/>
                  <a:gd name="T1" fmla="*/ 6378503 h 396"/>
                  <a:gd name="T2" fmla="*/ 917464 w 228"/>
                  <a:gd name="T3" fmla="*/ 6378503 h 396"/>
                  <a:gd name="T4" fmla="*/ 20449952 w 228"/>
                  <a:gd name="T5" fmla="*/ 25644259 h 396"/>
                  <a:gd name="T6" fmla="*/ 917464 w 228"/>
                  <a:gd name="T7" fmla="*/ 45951270 h 396"/>
                  <a:gd name="T8" fmla="*/ 917464 w 228"/>
                  <a:gd name="T9" fmla="*/ 45951270 h 396"/>
                  <a:gd name="T10" fmla="*/ 0 w 228"/>
                  <a:gd name="T11" fmla="*/ 47773648 h 396"/>
                  <a:gd name="T12" fmla="*/ 3801645 w 228"/>
                  <a:gd name="T13" fmla="*/ 51418403 h 396"/>
                  <a:gd name="T14" fmla="*/ 6554398 w 228"/>
                  <a:gd name="T15" fmla="*/ 50507395 h 396"/>
                  <a:gd name="T16" fmla="*/ 6554398 w 228"/>
                  <a:gd name="T17" fmla="*/ 50507395 h 396"/>
                  <a:gd name="T18" fmla="*/ 28839639 w 228"/>
                  <a:gd name="T19" fmla="*/ 28507892 h 396"/>
                  <a:gd name="T20" fmla="*/ 28839639 w 228"/>
                  <a:gd name="T21" fmla="*/ 28507892 h 396"/>
                  <a:gd name="T22" fmla="*/ 29757103 w 228"/>
                  <a:gd name="T23" fmla="*/ 25644259 h 396"/>
                  <a:gd name="T24" fmla="*/ 29757103 w 228"/>
                  <a:gd name="T25" fmla="*/ 25644259 h 396"/>
                  <a:gd name="T26" fmla="*/ 29757103 w 228"/>
                  <a:gd name="T27" fmla="*/ 25644259 h 396"/>
                  <a:gd name="T28" fmla="*/ 28839639 w 228"/>
                  <a:gd name="T29" fmla="*/ 22910511 h 396"/>
                  <a:gd name="T30" fmla="*/ 28839639 w 228"/>
                  <a:gd name="T31" fmla="*/ 22910511 h 396"/>
                  <a:gd name="T32" fmla="*/ 6554398 w 228"/>
                  <a:gd name="T33" fmla="*/ 911369 h 396"/>
                  <a:gd name="T34" fmla="*/ 6554398 w 228"/>
                  <a:gd name="T35" fmla="*/ 911369 h 396"/>
                  <a:gd name="T36" fmla="*/ 3801645 w 228"/>
                  <a:gd name="T37" fmla="*/ 0 h 396"/>
                  <a:gd name="T38" fmla="*/ 0 w 228"/>
                  <a:gd name="T39" fmla="*/ 3644756 h 396"/>
                  <a:gd name="T40" fmla="*/ 917464 w 228"/>
                  <a:gd name="T41" fmla="*/ 6378503 h 39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28" h="396">
                    <a:moveTo>
                      <a:pt x="7" y="49"/>
                    </a:moveTo>
                    <a:lnTo>
                      <a:pt x="7" y="49"/>
                    </a:lnTo>
                    <a:cubicBezTo>
                      <a:pt x="156" y="197"/>
                      <a:pt x="156" y="197"/>
                      <a:pt x="156" y="197"/>
                    </a:cubicBezTo>
                    <a:cubicBezTo>
                      <a:pt x="7" y="353"/>
                      <a:pt x="7" y="353"/>
                      <a:pt x="7" y="353"/>
                    </a:cubicBezTo>
                    <a:cubicBezTo>
                      <a:pt x="0" y="353"/>
                      <a:pt x="0" y="360"/>
                      <a:pt x="0" y="367"/>
                    </a:cubicBezTo>
                    <a:cubicBezTo>
                      <a:pt x="0" y="388"/>
                      <a:pt x="15" y="395"/>
                      <a:pt x="29" y="395"/>
                    </a:cubicBezTo>
                    <a:cubicBezTo>
                      <a:pt x="36" y="395"/>
                      <a:pt x="43" y="395"/>
                      <a:pt x="50" y="388"/>
                    </a:cubicBezTo>
                    <a:cubicBezTo>
                      <a:pt x="220" y="219"/>
                      <a:pt x="220" y="219"/>
                      <a:pt x="220" y="219"/>
                    </a:cubicBezTo>
                    <a:cubicBezTo>
                      <a:pt x="227" y="212"/>
                      <a:pt x="227" y="205"/>
                      <a:pt x="227" y="197"/>
                    </a:cubicBezTo>
                    <a:cubicBezTo>
                      <a:pt x="227" y="190"/>
                      <a:pt x="227" y="183"/>
                      <a:pt x="220" y="176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3" y="7"/>
                      <a:pt x="36" y="0"/>
                      <a:pt x="29" y="0"/>
                    </a:cubicBezTo>
                    <a:cubicBezTo>
                      <a:pt x="15" y="0"/>
                      <a:pt x="0" y="14"/>
                      <a:pt x="0" y="28"/>
                    </a:cubicBezTo>
                    <a:cubicBezTo>
                      <a:pt x="0" y="42"/>
                      <a:pt x="7" y="49"/>
                      <a:pt x="7" y="49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sz="6250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29DA8D3-EAD4-4578-B81F-8F4BB4D59A91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EB94F87-46B3-4A9B-AC43-62DF37CD596D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30" name="Freeform 62">
                <a:extLst>
                  <a:ext uri="{FF2B5EF4-FFF2-40B4-BE49-F238E27FC236}">
                    <a16:creationId xmlns:a16="http://schemas.microsoft.com/office/drawing/2014/main" id="{F646E403-C81B-4025-A4A4-AF78BD1A04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2683AEB-9334-49CC-9F23-8D4022857A38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4AC90B8-1BB9-4BB9-B1FC-5A804B251983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2014331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</p:bld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3BA4A407-9645-4433-AAD0-5EACF650D0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5547" y="2137085"/>
            <a:ext cx="4728227" cy="472091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AEE279BB-021B-4526-AD10-ACC29E7169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63774" y="2137084"/>
            <a:ext cx="4728227" cy="365165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CF8EE0AF-DFD5-458F-8ABC-B483C7279FF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192001" y="2137085"/>
            <a:ext cx="4728227" cy="472091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2" name="Picture Placeholder 5">
            <a:extLst>
              <a:ext uri="{FF2B5EF4-FFF2-40B4-BE49-F238E27FC236}">
                <a16:creationId xmlns:a16="http://schemas.microsoft.com/office/drawing/2014/main" id="{4A13D873-191A-45F6-A124-F48C180762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920228" y="2137085"/>
            <a:ext cx="4728227" cy="472091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3" name="Picture Placeholder 5">
            <a:extLst>
              <a:ext uri="{FF2B5EF4-FFF2-40B4-BE49-F238E27FC236}">
                <a16:creationId xmlns:a16="http://schemas.microsoft.com/office/drawing/2014/main" id="{61CDDBE0-7333-47F8-A87A-A405C1B7F7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35547" y="6858001"/>
            <a:ext cx="4728227" cy="472091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4" name="Picture Placeholder 5">
            <a:extLst>
              <a:ext uri="{FF2B5EF4-FFF2-40B4-BE49-F238E27FC236}">
                <a16:creationId xmlns:a16="http://schemas.microsoft.com/office/drawing/2014/main" id="{110D0099-F283-488A-B143-E80C8F808B4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63774" y="6858001"/>
            <a:ext cx="4728227" cy="472091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5" name="Picture Placeholder 5">
            <a:extLst>
              <a:ext uri="{FF2B5EF4-FFF2-40B4-BE49-F238E27FC236}">
                <a16:creationId xmlns:a16="http://schemas.microsoft.com/office/drawing/2014/main" id="{BCA357D0-EEEA-40D6-B8BD-338A8A242F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192001" y="6858001"/>
            <a:ext cx="4728227" cy="472091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6" name="Picture Placeholder 5">
            <a:extLst>
              <a:ext uri="{FF2B5EF4-FFF2-40B4-BE49-F238E27FC236}">
                <a16:creationId xmlns:a16="http://schemas.microsoft.com/office/drawing/2014/main" id="{B51EE561-BBD1-4D59-87F9-B33765E60F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6920228" y="6858001"/>
            <a:ext cx="4728227" cy="472091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3B88F9D-FC01-4DC7-9D83-D92E35E4B436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ABCAAD-B622-469D-946C-837D0A89B2EC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9CC1FD-A8CC-47DD-8BD6-F9ECA76FE49C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938874-A972-4D6B-8B34-41F157188859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B3229CA-FCCA-4700-9833-A7D971AFEC80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305E4EA-07A8-44BE-AEBE-211F1787F1D9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1" name="Freeform 85">
                <a:extLst>
                  <a:ext uri="{FF2B5EF4-FFF2-40B4-BE49-F238E27FC236}">
                    <a16:creationId xmlns:a16="http://schemas.microsoft.com/office/drawing/2014/main" id="{08D3CEA7-54CA-4423-BD4A-1E9F776D7D0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58EBF4D4-B593-4EE1-A5DD-7030AE0B73AC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48627E0-98C8-4BE2-B869-7180E0231B9E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19" name="Freeform 75">
                <a:extLst>
                  <a:ext uri="{FF2B5EF4-FFF2-40B4-BE49-F238E27FC236}">
                    <a16:creationId xmlns:a16="http://schemas.microsoft.com/office/drawing/2014/main" id="{7148FDA1-AB4D-40C9-9319-A752C90C1F8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C3C3627-C8D5-43A2-978A-16830858C268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6984AD0-1010-4334-9F21-F09E2BA95419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17" name="Freeform 74">
                <a:extLst>
                  <a:ext uri="{FF2B5EF4-FFF2-40B4-BE49-F238E27FC236}">
                    <a16:creationId xmlns:a16="http://schemas.microsoft.com/office/drawing/2014/main" id="{F4AFBD87-4A6A-49A2-99F8-086571D3C2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AF83230A-902E-46D8-8144-09A63C3BBFBD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DF80A73-E47F-4E5A-AAA1-B1FC7746F795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55EA9FE7-3F0B-43E2-9724-8ADA7A1FD0F3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97EA78F1-CABD-4EA2-B4BC-6EDB52FAF89A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61FD4033-18CF-48B3-8400-3737A5049530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5" name="Freeform 5">
                    <a:extLst>
                      <a:ext uri="{FF2B5EF4-FFF2-40B4-BE49-F238E27FC236}">
                        <a16:creationId xmlns:a16="http://schemas.microsoft.com/office/drawing/2014/main" id="{BFEAFABB-EBCF-4912-9761-F71298FEC32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16" name="Freeform 10">
                    <a:extLst>
                      <a:ext uri="{FF2B5EF4-FFF2-40B4-BE49-F238E27FC236}">
                        <a16:creationId xmlns:a16="http://schemas.microsoft.com/office/drawing/2014/main" id="{076C6635-F55B-438C-ACCD-FD73A131B53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581B05F4-2B97-4ECB-B10A-7FF540446684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ADA939-7F74-4881-8A6C-BB3665F77183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BA0AEBFB-5FC8-4A72-BBF8-78643E9181C7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D1455FCA-904D-4B7E-A702-E2D3C1DD52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30B9FA6-3D5A-4DE6-BB0B-801EE247C813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8A7AEBF-9B80-4A80-B826-CD36EF91F357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29" name="Freeform 62">
                <a:extLst>
                  <a:ext uri="{FF2B5EF4-FFF2-40B4-BE49-F238E27FC236}">
                    <a16:creationId xmlns:a16="http://schemas.microsoft.com/office/drawing/2014/main" id="{D78992D2-6954-4674-A180-C743FC66B8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6A6E1F6F-925F-4197-A2A5-3D76C56E5360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1E0D32A-4C37-4DAF-8000-9DAE925D1ABC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2009645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</p:bld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292CE750-9280-4D47-912C-9D2D8A0CC8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24384000" cy="58993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12186983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BAEB08C-675A-43ED-A1E3-51330EA920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711878" y="2551693"/>
            <a:ext cx="9413931" cy="8612615"/>
          </a:xfrm>
          <a:custGeom>
            <a:avLst/>
            <a:gdLst>
              <a:gd name="connsiteX0" fmla="*/ 511629 w 5163893"/>
              <a:gd name="connsiteY0" fmla="*/ 2685144 h 4731659"/>
              <a:gd name="connsiteX1" fmla="*/ 2721865 w 5163893"/>
              <a:gd name="connsiteY1" fmla="*/ 2685144 h 4731659"/>
              <a:gd name="connsiteX2" fmla="*/ 2210236 w 5163893"/>
              <a:gd name="connsiteY2" fmla="*/ 4731659 h 4731659"/>
              <a:gd name="connsiteX3" fmla="*/ 0 w 5163893"/>
              <a:gd name="connsiteY3" fmla="*/ 4731659 h 4731659"/>
              <a:gd name="connsiteX4" fmla="*/ 2953657 w 5163893"/>
              <a:gd name="connsiteY4" fmla="*/ 2148115 h 4731659"/>
              <a:gd name="connsiteX5" fmla="*/ 5163893 w 5163893"/>
              <a:gd name="connsiteY5" fmla="*/ 2148115 h 4731659"/>
              <a:gd name="connsiteX6" fmla="*/ 4652264 w 5163893"/>
              <a:gd name="connsiteY6" fmla="*/ 4194630 h 4731659"/>
              <a:gd name="connsiteX7" fmla="*/ 2442028 w 5163893"/>
              <a:gd name="connsiteY7" fmla="*/ 4194630 h 4731659"/>
              <a:gd name="connsiteX8" fmla="*/ 511629 w 5163893"/>
              <a:gd name="connsiteY8" fmla="*/ 537029 h 4731659"/>
              <a:gd name="connsiteX9" fmla="*/ 2721865 w 5163893"/>
              <a:gd name="connsiteY9" fmla="*/ 537029 h 4731659"/>
              <a:gd name="connsiteX10" fmla="*/ 2210236 w 5163893"/>
              <a:gd name="connsiteY10" fmla="*/ 2583544 h 4731659"/>
              <a:gd name="connsiteX11" fmla="*/ 0 w 5163893"/>
              <a:gd name="connsiteY11" fmla="*/ 2583544 h 4731659"/>
              <a:gd name="connsiteX12" fmla="*/ 2953657 w 5163893"/>
              <a:gd name="connsiteY12" fmla="*/ 0 h 4731659"/>
              <a:gd name="connsiteX13" fmla="*/ 5163893 w 5163893"/>
              <a:gd name="connsiteY13" fmla="*/ 0 h 4731659"/>
              <a:gd name="connsiteX14" fmla="*/ 4652264 w 5163893"/>
              <a:gd name="connsiteY14" fmla="*/ 2046515 h 4731659"/>
              <a:gd name="connsiteX15" fmla="*/ 2442028 w 5163893"/>
              <a:gd name="connsiteY15" fmla="*/ 2046515 h 4731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163893" h="4731659">
                <a:moveTo>
                  <a:pt x="511629" y="2685144"/>
                </a:moveTo>
                <a:lnTo>
                  <a:pt x="2721865" y="2685144"/>
                </a:lnTo>
                <a:lnTo>
                  <a:pt x="2210236" y="4731659"/>
                </a:lnTo>
                <a:lnTo>
                  <a:pt x="0" y="4731659"/>
                </a:lnTo>
                <a:close/>
                <a:moveTo>
                  <a:pt x="2953657" y="2148115"/>
                </a:moveTo>
                <a:lnTo>
                  <a:pt x="5163893" y="2148115"/>
                </a:lnTo>
                <a:lnTo>
                  <a:pt x="4652264" y="4194630"/>
                </a:lnTo>
                <a:lnTo>
                  <a:pt x="2442028" y="4194630"/>
                </a:lnTo>
                <a:close/>
                <a:moveTo>
                  <a:pt x="511629" y="537029"/>
                </a:moveTo>
                <a:lnTo>
                  <a:pt x="2721865" y="537029"/>
                </a:lnTo>
                <a:lnTo>
                  <a:pt x="2210236" y="2583544"/>
                </a:lnTo>
                <a:lnTo>
                  <a:pt x="0" y="2583544"/>
                </a:lnTo>
                <a:close/>
                <a:moveTo>
                  <a:pt x="2953657" y="0"/>
                </a:moveTo>
                <a:lnTo>
                  <a:pt x="5163893" y="0"/>
                </a:lnTo>
                <a:lnTo>
                  <a:pt x="4652264" y="2046515"/>
                </a:lnTo>
                <a:lnTo>
                  <a:pt x="2442028" y="20465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5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39952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D467F9A9-D8FB-44E1-B400-676F772D0F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973" y="1825113"/>
            <a:ext cx="5760779" cy="100657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43AB7D7C-ACA4-4E8B-BCAF-BAF7A75BF5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454249" y="1825113"/>
            <a:ext cx="5760779" cy="100657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50236532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218A233-6C7B-471D-AB5F-649BE894B1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86728" y="4703131"/>
            <a:ext cx="20810547" cy="18025741"/>
          </a:xfrm>
          <a:custGeom>
            <a:avLst/>
            <a:gdLst>
              <a:gd name="connsiteX0" fmla="*/ 9746670 w 16622696"/>
              <a:gd name="connsiteY0" fmla="*/ 0 h 14420593"/>
              <a:gd name="connsiteX1" fmla="*/ 9913397 w 16622696"/>
              <a:gd name="connsiteY1" fmla="*/ 3810 h 14420593"/>
              <a:gd name="connsiteX2" fmla="*/ 10072040 w 16622696"/>
              <a:gd name="connsiteY2" fmla="*/ 20648 h 14420593"/>
              <a:gd name="connsiteX3" fmla="*/ 10222003 w 16622696"/>
              <a:gd name="connsiteY3" fmla="*/ 52685 h 14420593"/>
              <a:gd name="connsiteX4" fmla="*/ 10370026 w 16622696"/>
              <a:gd name="connsiteY4" fmla="*/ 100556 h 14420593"/>
              <a:gd name="connsiteX5" fmla="*/ 10515803 w 16622696"/>
              <a:gd name="connsiteY5" fmla="*/ 165352 h 14420593"/>
              <a:gd name="connsiteX6" fmla="*/ 10662067 w 16622696"/>
              <a:gd name="connsiteY6" fmla="*/ 245473 h 14420593"/>
              <a:gd name="connsiteX7" fmla="*/ 10809311 w 16622696"/>
              <a:gd name="connsiteY7" fmla="*/ 343378 h 14420593"/>
              <a:gd name="connsiteX8" fmla="*/ 10961808 w 16622696"/>
              <a:gd name="connsiteY8" fmla="*/ 460226 h 14420593"/>
              <a:gd name="connsiteX9" fmla="*/ 11121233 w 16622696"/>
              <a:gd name="connsiteY9" fmla="*/ 594111 h 14420593"/>
              <a:gd name="connsiteX10" fmla="*/ 11289132 w 16622696"/>
              <a:gd name="connsiteY10" fmla="*/ 747806 h 14420593"/>
              <a:gd name="connsiteX11" fmla="*/ 11468242 w 16622696"/>
              <a:gd name="connsiteY11" fmla="*/ 919686 h 14420593"/>
              <a:gd name="connsiteX12" fmla="*/ 11659824 w 16622696"/>
              <a:gd name="connsiteY12" fmla="*/ 1113613 h 14420593"/>
              <a:gd name="connsiteX13" fmla="*/ 11867967 w 16622696"/>
              <a:gd name="connsiteY13" fmla="*/ 1327168 h 14420593"/>
              <a:gd name="connsiteX14" fmla="*/ 12092870 w 16622696"/>
              <a:gd name="connsiteY14" fmla="*/ 1563914 h 14420593"/>
              <a:gd name="connsiteX15" fmla="*/ 12338925 w 16622696"/>
              <a:gd name="connsiteY15" fmla="*/ 1820351 h 14420593"/>
              <a:gd name="connsiteX16" fmla="*/ 12606028 w 16622696"/>
              <a:gd name="connsiteY16" fmla="*/ 2101133 h 14420593"/>
              <a:gd name="connsiteX17" fmla="*/ 12897197 w 16622696"/>
              <a:gd name="connsiteY17" fmla="*/ 2403554 h 14420593"/>
              <a:gd name="connsiteX18" fmla="*/ 13214775 w 16622696"/>
              <a:gd name="connsiteY18" fmla="*/ 2731752 h 14420593"/>
              <a:gd name="connsiteX19" fmla="*/ 13562076 w 16622696"/>
              <a:gd name="connsiteY19" fmla="*/ 3081943 h 14420593"/>
              <a:gd name="connsiteX20" fmla="*/ 13909667 w 16622696"/>
              <a:gd name="connsiteY20" fmla="*/ 3431045 h 14420593"/>
              <a:gd name="connsiteX21" fmla="*/ 14235238 w 16622696"/>
              <a:gd name="connsiteY21" fmla="*/ 3750872 h 14420593"/>
              <a:gd name="connsiteX22" fmla="*/ 14535759 w 16622696"/>
              <a:gd name="connsiteY22" fmla="*/ 4044117 h 14420593"/>
              <a:gd name="connsiteX23" fmla="*/ 14814947 w 16622696"/>
              <a:gd name="connsiteY23" fmla="*/ 4314114 h 14420593"/>
              <a:gd name="connsiteX24" fmla="*/ 15069575 w 16622696"/>
              <a:gd name="connsiteY24" fmla="*/ 4559997 h 14420593"/>
              <a:gd name="connsiteX25" fmla="*/ 15303834 w 16622696"/>
              <a:gd name="connsiteY25" fmla="*/ 4787567 h 14420593"/>
              <a:gd name="connsiteX26" fmla="*/ 15516660 w 16622696"/>
              <a:gd name="connsiteY26" fmla="*/ 4996537 h 14420593"/>
              <a:gd name="connsiteX27" fmla="*/ 15708532 w 16622696"/>
              <a:gd name="connsiteY27" fmla="*/ 5189375 h 14420593"/>
              <a:gd name="connsiteX28" fmla="*/ 15880428 w 16622696"/>
              <a:gd name="connsiteY28" fmla="*/ 5371008 h 14420593"/>
              <a:gd name="connsiteX29" fmla="*/ 16034004 w 16622696"/>
              <a:gd name="connsiteY29" fmla="*/ 5539551 h 14420593"/>
              <a:gd name="connsiteX30" fmla="*/ 16165944 w 16622696"/>
              <a:gd name="connsiteY30" fmla="*/ 5698793 h 14420593"/>
              <a:gd name="connsiteX31" fmla="*/ 16281812 w 16622696"/>
              <a:gd name="connsiteY31" fmla="*/ 5853714 h 14420593"/>
              <a:gd name="connsiteX32" fmla="*/ 16380036 w 16622696"/>
              <a:gd name="connsiteY32" fmla="*/ 6001575 h 14420593"/>
              <a:gd name="connsiteX33" fmla="*/ 16459168 w 16622696"/>
              <a:gd name="connsiteY33" fmla="*/ 6147817 h 14420593"/>
              <a:gd name="connsiteX34" fmla="*/ 16523188 w 16622696"/>
              <a:gd name="connsiteY34" fmla="*/ 6294683 h 14420593"/>
              <a:gd name="connsiteX35" fmla="*/ 16570744 w 16622696"/>
              <a:gd name="connsiteY35" fmla="*/ 6442975 h 14420593"/>
              <a:gd name="connsiteX36" fmla="*/ 16602320 w 16622696"/>
              <a:gd name="connsiteY36" fmla="*/ 6595164 h 14420593"/>
              <a:gd name="connsiteX37" fmla="*/ 16619476 w 16622696"/>
              <a:gd name="connsiteY37" fmla="*/ 6753995 h 14420593"/>
              <a:gd name="connsiteX38" fmla="*/ 16622696 w 16622696"/>
              <a:gd name="connsiteY38" fmla="*/ 6921947 h 14420593"/>
              <a:gd name="connsiteX39" fmla="*/ 16610616 w 16622696"/>
              <a:gd name="connsiteY39" fmla="*/ 7099821 h 14420593"/>
              <a:gd name="connsiteX40" fmla="*/ 16597568 w 16622696"/>
              <a:gd name="connsiteY40" fmla="*/ 7210297 h 14420593"/>
              <a:gd name="connsiteX41" fmla="*/ 16622696 w 16622696"/>
              <a:gd name="connsiteY41" fmla="*/ 7210297 h 14420593"/>
              <a:gd name="connsiteX42" fmla="*/ 16620040 w 16622696"/>
              <a:gd name="connsiteY42" fmla="*/ 7219750 h 14420593"/>
              <a:gd name="connsiteX43" fmla="*/ 16489572 w 16622696"/>
              <a:gd name="connsiteY43" fmla="*/ 7697717 h 14420593"/>
              <a:gd name="connsiteX44" fmla="*/ 16363388 w 16622696"/>
              <a:gd name="connsiteY44" fmla="*/ 8176825 h 14420593"/>
              <a:gd name="connsiteX45" fmla="*/ 16249776 w 16622696"/>
              <a:gd name="connsiteY45" fmla="*/ 8621921 h 14420593"/>
              <a:gd name="connsiteX46" fmla="*/ 16146884 w 16622696"/>
              <a:gd name="connsiteY46" fmla="*/ 9031330 h 14420593"/>
              <a:gd name="connsiteX47" fmla="*/ 16053538 w 16622696"/>
              <a:gd name="connsiteY47" fmla="*/ 9409410 h 14420593"/>
              <a:gd name="connsiteX48" fmla="*/ 15967310 w 16622696"/>
              <a:gd name="connsiteY48" fmla="*/ 9756684 h 14420593"/>
              <a:gd name="connsiteX49" fmla="*/ 15889264 w 16622696"/>
              <a:gd name="connsiteY49" fmla="*/ 10073441 h 14420593"/>
              <a:gd name="connsiteX50" fmla="*/ 15814724 w 16622696"/>
              <a:gd name="connsiteY50" fmla="*/ 10364257 h 14420593"/>
              <a:gd name="connsiteX51" fmla="*/ 15742328 w 16622696"/>
              <a:gd name="connsiteY51" fmla="*/ 10629945 h 14420593"/>
              <a:gd name="connsiteX52" fmla="*/ 15673152 w 16622696"/>
              <a:gd name="connsiteY52" fmla="*/ 10870789 h 14420593"/>
              <a:gd name="connsiteX53" fmla="*/ 15603380 w 16622696"/>
              <a:gd name="connsiteY53" fmla="*/ 11088103 h 14420593"/>
              <a:gd name="connsiteX54" fmla="*/ 15532152 w 16622696"/>
              <a:gd name="connsiteY54" fmla="*/ 11285170 h 14420593"/>
              <a:gd name="connsiteX55" fmla="*/ 15457028 w 16622696"/>
              <a:gd name="connsiteY55" fmla="*/ 11462490 h 14420593"/>
              <a:gd name="connsiteX56" fmla="*/ 15377420 w 16622696"/>
              <a:gd name="connsiteY56" fmla="*/ 11622255 h 14420593"/>
              <a:gd name="connsiteX57" fmla="*/ 15290599 w 16622696"/>
              <a:gd name="connsiteY57" fmla="*/ 11766061 h 14420593"/>
              <a:gd name="connsiteX58" fmla="*/ 15196276 w 16622696"/>
              <a:gd name="connsiteY58" fmla="*/ 11894998 h 14420593"/>
              <a:gd name="connsiteX59" fmla="*/ 15092791 w 16622696"/>
              <a:gd name="connsiteY59" fmla="*/ 12010969 h 14420593"/>
              <a:gd name="connsiteX60" fmla="*/ 14977419 w 16622696"/>
              <a:gd name="connsiteY60" fmla="*/ 12115571 h 14420593"/>
              <a:gd name="connsiteX61" fmla="*/ 14848504 w 16622696"/>
              <a:gd name="connsiteY61" fmla="*/ 12210699 h 14420593"/>
              <a:gd name="connsiteX62" fmla="*/ 14706818 w 16622696"/>
              <a:gd name="connsiteY62" fmla="*/ 12297727 h 14420593"/>
              <a:gd name="connsiteX63" fmla="*/ 14547792 w 16622696"/>
              <a:gd name="connsiteY63" fmla="*/ 12376605 h 14420593"/>
              <a:gd name="connsiteX64" fmla="*/ 14371028 w 16622696"/>
              <a:gd name="connsiteY64" fmla="*/ 12453055 h 14420593"/>
              <a:gd name="connsiteX65" fmla="*/ 14176045 w 16622696"/>
              <a:gd name="connsiteY65" fmla="*/ 12524626 h 14420593"/>
              <a:gd name="connsiteX66" fmla="*/ 13958454 w 16622696"/>
              <a:gd name="connsiteY66" fmla="*/ 12594803 h 14420593"/>
              <a:gd name="connsiteX67" fmla="*/ 13720105 w 16622696"/>
              <a:gd name="connsiteY67" fmla="*/ 12665259 h 14420593"/>
              <a:gd name="connsiteX68" fmla="*/ 13456422 w 16622696"/>
              <a:gd name="connsiteY68" fmla="*/ 12735934 h 14420593"/>
              <a:gd name="connsiteX69" fmla="*/ 13167596 w 16622696"/>
              <a:gd name="connsiteY69" fmla="*/ 12810383 h 14420593"/>
              <a:gd name="connsiteX70" fmla="*/ 12850904 w 16622696"/>
              <a:gd name="connsiteY70" fmla="*/ 12890209 h 14420593"/>
              <a:gd name="connsiteX71" fmla="*/ 12507122 w 16622696"/>
              <a:gd name="connsiteY71" fmla="*/ 12976791 h 14420593"/>
              <a:gd name="connsiteX72" fmla="*/ 12130303 w 16622696"/>
              <a:gd name="connsiteY72" fmla="*/ 13070873 h 14420593"/>
              <a:gd name="connsiteX73" fmla="*/ 11723669 w 16622696"/>
              <a:gd name="connsiteY73" fmla="*/ 13173321 h 14420593"/>
              <a:gd name="connsiteX74" fmla="*/ 11281762 w 16622696"/>
              <a:gd name="connsiteY74" fmla="*/ 13287339 h 14420593"/>
              <a:gd name="connsiteX75" fmla="*/ 10806136 w 16622696"/>
              <a:gd name="connsiteY75" fmla="*/ 13415689 h 14420593"/>
              <a:gd name="connsiteX76" fmla="*/ 10330219 w 16622696"/>
              <a:gd name="connsiteY76" fmla="*/ 13545127 h 14420593"/>
              <a:gd name="connsiteX77" fmla="*/ 9891040 w 16622696"/>
              <a:gd name="connsiteY77" fmla="*/ 13670393 h 14420593"/>
              <a:gd name="connsiteX78" fmla="*/ 9487623 w 16622696"/>
              <a:gd name="connsiteY78" fmla="*/ 13786555 h 14420593"/>
              <a:gd name="connsiteX79" fmla="*/ 9115874 w 16622696"/>
              <a:gd name="connsiteY79" fmla="*/ 13896019 h 14420593"/>
              <a:gd name="connsiteX80" fmla="*/ 8774530 w 16622696"/>
              <a:gd name="connsiteY80" fmla="*/ 13994941 h 14420593"/>
              <a:gd name="connsiteX81" fmla="*/ 8461343 w 16622696"/>
              <a:gd name="connsiteY81" fmla="*/ 14087393 h 14420593"/>
              <a:gd name="connsiteX82" fmla="*/ 8174272 w 16622696"/>
              <a:gd name="connsiteY82" fmla="*/ 14168153 h 14420593"/>
              <a:gd name="connsiteX83" fmla="*/ 7911372 w 16622696"/>
              <a:gd name="connsiteY83" fmla="*/ 14240203 h 14420593"/>
              <a:gd name="connsiteX84" fmla="*/ 7670294 w 16622696"/>
              <a:gd name="connsiteY84" fmla="*/ 14299409 h 14420593"/>
              <a:gd name="connsiteX85" fmla="*/ 7448023 w 16622696"/>
              <a:gd name="connsiteY85" fmla="*/ 14348473 h 14420593"/>
              <a:gd name="connsiteX86" fmla="*/ 7243006 w 16622696"/>
              <a:gd name="connsiteY86" fmla="*/ 14384631 h 14420593"/>
              <a:gd name="connsiteX87" fmla="*/ 7052496 w 16622696"/>
              <a:gd name="connsiteY87" fmla="*/ 14409497 h 14420593"/>
              <a:gd name="connsiteX88" fmla="*/ 6876027 w 16622696"/>
              <a:gd name="connsiteY88" fmla="*/ 14420593 h 14420593"/>
              <a:gd name="connsiteX89" fmla="*/ 6709301 w 16622696"/>
              <a:gd name="connsiteY89" fmla="*/ 14416785 h 14420593"/>
              <a:gd name="connsiteX90" fmla="*/ 6550655 w 16622696"/>
              <a:gd name="connsiteY90" fmla="*/ 14399949 h 14420593"/>
              <a:gd name="connsiteX91" fmla="*/ 6400694 w 16622696"/>
              <a:gd name="connsiteY91" fmla="*/ 14367911 h 14420593"/>
              <a:gd name="connsiteX92" fmla="*/ 6252671 w 16622696"/>
              <a:gd name="connsiteY92" fmla="*/ 14320041 h 14420593"/>
              <a:gd name="connsiteX93" fmla="*/ 6106894 w 16622696"/>
              <a:gd name="connsiteY93" fmla="*/ 14255243 h 14420593"/>
              <a:gd name="connsiteX94" fmla="*/ 5960629 w 16622696"/>
              <a:gd name="connsiteY94" fmla="*/ 14175121 h 14420593"/>
              <a:gd name="connsiteX95" fmla="*/ 5813387 w 16622696"/>
              <a:gd name="connsiteY95" fmla="*/ 14077217 h 14420593"/>
              <a:gd name="connsiteX96" fmla="*/ 5660887 w 16622696"/>
              <a:gd name="connsiteY96" fmla="*/ 13960371 h 14420593"/>
              <a:gd name="connsiteX97" fmla="*/ 5501463 w 16622696"/>
              <a:gd name="connsiteY97" fmla="*/ 13826485 h 14420593"/>
              <a:gd name="connsiteX98" fmla="*/ 5333562 w 16622696"/>
              <a:gd name="connsiteY98" fmla="*/ 13672791 h 14420593"/>
              <a:gd name="connsiteX99" fmla="*/ 5154456 w 16622696"/>
              <a:gd name="connsiteY99" fmla="*/ 13500909 h 14420593"/>
              <a:gd name="connsiteX100" fmla="*/ 4962873 w 16622696"/>
              <a:gd name="connsiteY100" fmla="*/ 13306983 h 14420593"/>
              <a:gd name="connsiteX101" fmla="*/ 4754729 w 16622696"/>
              <a:gd name="connsiteY101" fmla="*/ 13093429 h 14420593"/>
              <a:gd name="connsiteX102" fmla="*/ 4529825 w 16622696"/>
              <a:gd name="connsiteY102" fmla="*/ 12856681 h 14420593"/>
              <a:gd name="connsiteX103" fmla="*/ 4283769 w 16622696"/>
              <a:gd name="connsiteY103" fmla="*/ 12600243 h 14420593"/>
              <a:gd name="connsiteX104" fmla="*/ 4016667 w 16622696"/>
              <a:gd name="connsiteY104" fmla="*/ 12319462 h 14420593"/>
              <a:gd name="connsiteX105" fmla="*/ 3725499 w 16622696"/>
              <a:gd name="connsiteY105" fmla="*/ 12017041 h 14420593"/>
              <a:gd name="connsiteX106" fmla="*/ 3407921 w 16622696"/>
              <a:gd name="connsiteY106" fmla="*/ 11688844 h 14420593"/>
              <a:gd name="connsiteX107" fmla="*/ 3060618 w 16622696"/>
              <a:gd name="connsiteY107" fmla="*/ 11338651 h 14420593"/>
              <a:gd name="connsiteX108" fmla="*/ 2713027 w 16622696"/>
              <a:gd name="connsiteY108" fmla="*/ 10989548 h 14420593"/>
              <a:gd name="connsiteX109" fmla="*/ 2387456 w 16622696"/>
              <a:gd name="connsiteY109" fmla="*/ 10669722 h 14420593"/>
              <a:gd name="connsiteX110" fmla="*/ 2086935 w 16622696"/>
              <a:gd name="connsiteY110" fmla="*/ 10376479 h 14420593"/>
              <a:gd name="connsiteX111" fmla="*/ 1807749 w 16622696"/>
              <a:gd name="connsiteY111" fmla="*/ 10106482 h 14420593"/>
              <a:gd name="connsiteX112" fmla="*/ 1553121 w 16622696"/>
              <a:gd name="connsiteY112" fmla="*/ 9860597 h 14420593"/>
              <a:gd name="connsiteX113" fmla="*/ 1318860 w 16622696"/>
              <a:gd name="connsiteY113" fmla="*/ 9633027 h 14420593"/>
              <a:gd name="connsiteX114" fmla="*/ 1106036 w 16622696"/>
              <a:gd name="connsiteY114" fmla="*/ 9424055 h 14420593"/>
              <a:gd name="connsiteX115" fmla="*/ 914164 w 16622696"/>
              <a:gd name="connsiteY115" fmla="*/ 9231220 h 14420593"/>
              <a:gd name="connsiteX116" fmla="*/ 742266 w 16622696"/>
              <a:gd name="connsiteY116" fmla="*/ 9049585 h 14420593"/>
              <a:gd name="connsiteX117" fmla="*/ 588691 w 16622696"/>
              <a:gd name="connsiteY117" fmla="*/ 8881042 h 14420593"/>
              <a:gd name="connsiteX118" fmla="*/ 456749 w 16622696"/>
              <a:gd name="connsiteY118" fmla="*/ 8721802 h 14420593"/>
              <a:gd name="connsiteX119" fmla="*/ 340882 w 16622696"/>
              <a:gd name="connsiteY119" fmla="*/ 8566880 h 14420593"/>
              <a:gd name="connsiteX120" fmla="*/ 242658 w 16622696"/>
              <a:gd name="connsiteY120" fmla="*/ 8419018 h 14420593"/>
              <a:gd name="connsiteX121" fmla="*/ 163527 w 16622696"/>
              <a:gd name="connsiteY121" fmla="*/ 8272775 h 14420593"/>
              <a:gd name="connsiteX122" fmla="*/ 99505 w 16622696"/>
              <a:gd name="connsiteY122" fmla="*/ 8125909 h 14420593"/>
              <a:gd name="connsiteX123" fmla="*/ 51950 w 16622696"/>
              <a:gd name="connsiteY123" fmla="*/ 7977619 h 14420593"/>
              <a:gd name="connsiteX124" fmla="*/ 20374 w 16622696"/>
              <a:gd name="connsiteY124" fmla="*/ 7825429 h 14420593"/>
              <a:gd name="connsiteX125" fmla="*/ 3219 w 16622696"/>
              <a:gd name="connsiteY125" fmla="*/ 7666597 h 14420593"/>
              <a:gd name="connsiteX126" fmla="*/ 0 w 16622696"/>
              <a:gd name="connsiteY126" fmla="*/ 7498647 h 14420593"/>
              <a:gd name="connsiteX127" fmla="*/ 12080 w 16622696"/>
              <a:gd name="connsiteY127" fmla="*/ 7320773 h 14420593"/>
              <a:gd name="connsiteX128" fmla="*/ 25126 w 16622696"/>
              <a:gd name="connsiteY128" fmla="*/ 7210297 h 14420593"/>
              <a:gd name="connsiteX129" fmla="*/ 0 w 16622696"/>
              <a:gd name="connsiteY129" fmla="*/ 7210297 h 14420593"/>
              <a:gd name="connsiteX130" fmla="*/ 2659 w 16622696"/>
              <a:gd name="connsiteY130" fmla="*/ 7200843 h 14420593"/>
              <a:gd name="connsiteX131" fmla="*/ 133128 w 16622696"/>
              <a:gd name="connsiteY131" fmla="*/ 6722877 h 14420593"/>
              <a:gd name="connsiteX132" fmla="*/ 259308 w 16622696"/>
              <a:gd name="connsiteY132" fmla="*/ 6243767 h 14420593"/>
              <a:gd name="connsiteX133" fmla="*/ 372923 w 16622696"/>
              <a:gd name="connsiteY133" fmla="*/ 5798672 h 14420593"/>
              <a:gd name="connsiteX134" fmla="*/ 475813 w 16622696"/>
              <a:gd name="connsiteY134" fmla="*/ 5389265 h 14420593"/>
              <a:gd name="connsiteX135" fmla="*/ 569159 w 16622696"/>
              <a:gd name="connsiteY135" fmla="*/ 5011184 h 14420593"/>
              <a:gd name="connsiteX136" fmla="*/ 655387 w 16622696"/>
              <a:gd name="connsiteY136" fmla="*/ 4663909 h 14420593"/>
              <a:gd name="connsiteX137" fmla="*/ 733433 w 16622696"/>
              <a:gd name="connsiteY137" fmla="*/ 4347153 h 14420593"/>
              <a:gd name="connsiteX138" fmla="*/ 807973 w 16622696"/>
              <a:gd name="connsiteY138" fmla="*/ 4056336 h 14420593"/>
              <a:gd name="connsiteX139" fmla="*/ 880368 w 16622696"/>
              <a:gd name="connsiteY139" fmla="*/ 3790650 h 14420593"/>
              <a:gd name="connsiteX140" fmla="*/ 949548 w 16622696"/>
              <a:gd name="connsiteY140" fmla="*/ 3549804 h 14420593"/>
              <a:gd name="connsiteX141" fmla="*/ 1019318 w 16622696"/>
              <a:gd name="connsiteY141" fmla="*/ 3332492 h 14420593"/>
              <a:gd name="connsiteX142" fmla="*/ 1090544 w 16622696"/>
              <a:gd name="connsiteY142" fmla="*/ 3135425 h 14420593"/>
              <a:gd name="connsiteX143" fmla="*/ 1165668 w 16622696"/>
              <a:gd name="connsiteY143" fmla="*/ 2958104 h 14420593"/>
              <a:gd name="connsiteX144" fmla="*/ 1245279 w 16622696"/>
              <a:gd name="connsiteY144" fmla="*/ 2798339 h 14420593"/>
              <a:gd name="connsiteX145" fmla="*/ 1332100 w 16622696"/>
              <a:gd name="connsiteY145" fmla="*/ 2654533 h 14420593"/>
              <a:gd name="connsiteX146" fmla="*/ 1426422 w 16622696"/>
              <a:gd name="connsiteY146" fmla="*/ 2525595 h 14420593"/>
              <a:gd name="connsiteX147" fmla="*/ 1529906 w 16622696"/>
              <a:gd name="connsiteY147" fmla="*/ 2409624 h 14420593"/>
              <a:gd name="connsiteX148" fmla="*/ 1645278 w 16622696"/>
              <a:gd name="connsiteY148" fmla="*/ 2305026 h 14420593"/>
              <a:gd name="connsiteX149" fmla="*/ 1774194 w 16622696"/>
              <a:gd name="connsiteY149" fmla="*/ 2209896 h 14420593"/>
              <a:gd name="connsiteX150" fmla="*/ 1915878 w 16622696"/>
              <a:gd name="connsiteY150" fmla="*/ 2122867 h 14420593"/>
              <a:gd name="connsiteX151" fmla="*/ 2074904 w 16622696"/>
              <a:gd name="connsiteY151" fmla="*/ 2043992 h 14420593"/>
              <a:gd name="connsiteX152" fmla="*/ 2251669 w 16622696"/>
              <a:gd name="connsiteY152" fmla="*/ 1967540 h 14420593"/>
              <a:gd name="connsiteX153" fmla="*/ 2446654 w 16622696"/>
              <a:gd name="connsiteY153" fmla="*/ 1895969 h 14420593"/>
              <a:gd name="connsiteX154" fmla="*/ 2664243 w 16622696"/>
              <a:gd name="connsiteY154" fmla="*/ 1825792 h 14420593"/>
              <a:gd name="connsiteX155" fmla="*/ 2902593 w 16622696"/>
              <a:gd name="connsiteY155" fmla="*/ 1755334 h 14420593"/>
              <a:gd name="connsiteX156" fmla="*/ 3166277 w 16622696"/>
              <a:gd name="connsiteY156" fmla="*/ 1684660 h 14420593"/>
              <a:gd name="connsiteX157" fmla="*/ 3455102 w 16622696"/>
              <a:gd name="connsiteY157" fmla="*/ 1610211 h 14420593"/>
              <a:gd name="connsiteX158" fmla="*/ 3771795 w 16622696"/>
              <a:gd name="connsiteY158" fmla="*/ 1530384 h 14420593"/>
              <a:gd name="connsiteX159" fmla="*/ 4115576 w 16622696"/>
              <a:gd name="connsiteY159" fmla="*/ 1443805 h 14420593"/>
              <a:gd name="connsiteX160" fmla="*/ 4492393 w 16622696"/>
              <a:gd name="connsiteY160" fmla="*/ 1349720 h 14420593"/>
              <a:gd name="connsiteX161" fmla="*/ 4899029 w 16622696"/>
              <a:gd name="connsiteY161" fmla="*/ 1247275 h 14420593"/>
              <a:gd name="connsiteX162" fmla="*/ 5340937 w 16622696"/>
              <a:gd name="connsiteY162" fmla="*/ 1133255 h 14420593"/>
              <a:gd name="connsiteX163" fmla="*/ 5816561 w 16622696"/>
              <a:gd name="connsiteY163" fmla="*/ 1004907 h 14420593"/>
              <a:gd name="connsiteX164" fmla="*/ 6292478 w 16622696"/>
              <a:gd name="connsiteY164" fmla="*/ 875469 h 14420593"/>
              <a:gd name="connsiteX165" fmla="*/ 6731658 w 16622696"/>
              <a:gd name="connsiteY165" fmla="*/ 750203 h 14420593"/>
              <a:gd name="connsiteX166" fmla="*/ 7135072 w 16622696"/>
              <a:gd name="connsiteY166" fmla="*/ 634041 h 14420593"/>
              <a:gd name="connsiteX167" fmla="*/ 7506822 w 16622696"/>
              <a:gd name="connsiteY167" fmla="*/ 524575 h 14420593"/>
              <a:gd name="connsiteX168" fmla="*/ 7848166 w 16622696"/>
              <a:gd name="connsiteY168" fmla="*/ 425654 h 14420593"/>
              <a:gd name="connsiteX169" fmla="*/ 8161352 w 16622696"/>
              <a:gd name="connsiteY169" fmla="*/ 333200 h 14420593"/>
              <a:gd name="connsiteX170" fmla="*/ 8448423 w 16622696"/>
              <a:gd name="connsiteY170" fmla="*/ 252443 h 14420593"/>
              <a:gd name="connsiteX171" fmla="*/ 8711325 w 16622696"/>
              <a:gd name="connsiteY171" fmla="*/ 180390 h 14420593"/>
              <a:gd name="connsiteX172" fmla="*/ 8952403 w 16622696"/>
              <a:gd name="connsiteY172" fmla="*/ 121187 h 14420593"/>
              <a:gd name="connsiteX173" fmla="*/ 9174672 w 16622696"/>
              <a:gd name="connsiteY173" fmla="*/ 72121 h 14420593"/>
              <a:gd name="connsiteX174" fmla="*/ 9379691 w 16622696"/>
              <a:gd name="connsiteY174" fmla="*/ 35964 h 14420593"/>
              <a:gd name="connsiteX175" fmla="*/ 9570200 w 16622696"/>
              <a:gd name="connsiteY175" fmla="*/ 11097 h 14420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16622696" h="14420593">
                <a:moveTo>
                  <a:pt x="9746670" y="0"/>
                </a:moveTo>
                <a:lnTo>
                  <a:pt x="9913397" y="3810"/>
                </a:lnTo>
                <a:lnTo>
                  <a:pt x="10072040" y="20648"/>
                </a:lnTo>
                <a:lnTo>
                  <a:pt x="10222003" y="52685"/>
                </a:lnTo>
                <a:lnTo>
                  <a:pt x="10370026" y="100556"/>
                </a:lnTo>
                <a:lnTo>
                  <a:pt x="10515803" y="165352"/>
                </a:lnTo>
                <a:lnTo>
                  <a:pt x="10662067" y="245473"/>
                </a:lnTo>
                <a:lnTo>
                  <a:pt x="10809311" y="343378"/>
                </a:lnTo>
                <a:lnTo>
                  <a:pt x="10961808" y="460226"/>
                </a:lnTo>
                <a:lnTo>
                  <a:pt x="11121233" y="594111"/>
                </a:lnTo>
                <a:lnTo>
                  <a:pt x="11289132" y="747806"/>
                </a:lnTo>
                <a:lnTo>
                  <a:pt x="11468242" y="919686"/>
                </a:lnTo>
                <a:lnTo>
                  <a:pt x="11659824" y="1113613"/>
                </a:lnTo>
                <a:lnTo>
                  <a:pt x="11867967" y="1327168"/>
                </a:lnTo>
                <a:lnTo>
                  <a:pt x="12092870" y="1563914"/>
                </a:lnTo>
                <a:lnTo>
                  <a:pt x="12338925" y="1820351"/>
                </a:lnTo>
                <a:lnTo>
                  <a:pt x="12606028" y="2101133"/>
                </a:lnTo>
                <a:lnTo>
                  <a:pt x="12897197" y="2403554"/>
                </a:lnTo>
                <a:lnTo>
                  <a:pt x="13214775" y="2731752"/>
                </a:lnTo>
                <a:lnTo>
                  <a:pt x="13562076" y="3081943"/>
                </a:lnTo>
                <a:lnTo>
                  <a:pt x="13909667" y="3431045"/>
                </a:lnTo>
                <a:lnTo>
                  <a:pt x="14235238" y="3750872"/>
                </a:lnTo>
                <a:lnTo>
                  <a:pt x="14535759" y="4044117"/>
                </a:lnTo>
                <a:lnTo>
                  <a:pt x="14814947" y="4314114"/>
                </a:lnTo>
                <a:lnTo>
                  <a:pt x="15069575" y="4559997"/>
                </a:lnTo>
                <a:lnTo>
                  <a:pt x="15303834" y="4787567"/>
                </a:lnTo>
                <a:lnTo>
                  <a:pt x="15516660" y="4996537"/>
                </a:lnTo>
                <a:lnTo>
                  <a:pt x="15708532" y="5189375"/>
                </a:lnTo>
                <a:lnTo>
                  <a:pt x="15880428" y="5371008"/>
                </a:lnTo>
                <a:lnTo>
                  <a:pt x="16034004" y="5539551"/>
                </a:lnTo>
                <a:lnTo>
                  <a:pt x="16165944" y="5698793"/>
                </a:lnTo>
                <a:lnTo>
                  <a:pt x="16281812" y="5853714"/>
                </a:lnTo>
                <a:lnTo>
                  <a:pt x="16380036" y="6001575"/>
                </a:lnTo>
                <a:lnTo>
                  <a:pt x="16459168" y="6147817"/>
                </a:lnTo>
                <a:lnTo>
                  <a:pt x="16523188" y="6294683"/>
                </a:lnTo>
                <a:lnTo>
                  <a:pt x="16570744" y="6442975"/>
                </a:lnTo>
                <a:lnTo>
                  <a:pt x="16602320" y="6595164"/>
                </a:lnTo>
                <a:lnTo>
                  <a:pt x="16619476" y="6753995"/>
                </a:lnTo>
                <a:lnTo>
                  <a:pt x="16622696" y="6921947"/>
                </a:lnTo>
                <a:lnTo>
                  <a:pt x="16610616" y="7099821"/>
                </a:lnTo>
                <a:lnTo>
                  <a:pt x="16597568" y="7210297"/>
                </a:lnTo>
                <a:lnTo>
                  <a:pt x="16622696" y="7210297"/>
                </a:lnTo>
                <a:lnTo>
                  <a:pt x="16620040" y="7219750"/>
                </a:lnTo>
                <a:lnTo>
                  <a:pt x="16489572" y="7697717"/>
                </a:lnTo>
                <a:lnTo>
                  <a:pt x="16363388" y="8176825"/>
                </a:lnTo>
                <a:lnTo>
                  <a:pt x="16249776" y="8621921"/>
                </a:lnTo>
                <a:lnTo>
                  <a:pt x="16146884" y="9031330"/>
                </a:lnTo>
                <a:lnTo>
                  <a:pt x="16053538" y="9409410"/>
                </a:lnTo>
                <a:lnTo>
                  <a:pt x="15967310" y="9756684"/>
                </a:lnTo>
                <a:lnTo>
                  <a:pt x="15889264" y="10073441"/>
                </a:lnTo>
                <a:lnTo>
                  <a:pt x="15814724" y="10364257"/>
                </a:lnTo>
                <a:lnTo>
                  <a:pt x="15742328" y="10629945"/>
                </a:lnTo>
                <a:lnTo>
                  <a:pt x="15673152" y="10870789"/>
                </a:lnTo>
                <a:lnTo>
                  <a:pt x="15603380" y="11088103"/>
                </a:lnTo>
                <a:lnTo>
                  <a:pt x="15532152" y="11285170"/>
                </a:lnTo>
                <a:lnTo>
                  <a:pt x="15457028" y="11462490"/>
                </a:lnTo>
                <a:lnTo>
                  <a:pt x="15377420" y="11622255"/>
                </a:lnTo>
                <a:lnTo>
                  <a:pt x="15290599" y="11766061"/>
                </a:lnTo>
                <a:lnTo>
                  <a:pt x="15196276" y="11894998"/>
                </a:lnTo>
                <a:lnTo>
                  <a:pt x="15092791" y="12010969"/>
                </a:lnTo>
                <a:lnTo>
                  <a:pt x="14977419" y="12115571"/>
                </a:lnTo>
                <a:lnTo>
                  <a:pt x="14848504" y="12210699"/>
                </a:lnTo>
                <a:lnTo>
                  <a:pt x="14706818" y="12297727"/>
                </a:lnTo>
                <a:lnTo>
                  <a:pt x="14547792" y="12376605"/>
                </a:lnTo>
                <a:lnTo>
                  <a:pt x="14371028" y="12453055"/>
                </a:lnTo>
                <a:lnTo>
                  <a:pt x="14176045" y="12524626"/>
                </a:lnTo>
                <a:lnTo>
                  <a:pt x="13958454" y="12594803"/>
                </a:lnTo>
                <a:lnTo>
                  <a:pt x="13720105" y="12665259"/>
                </a:lnTo>
                <a:lnTo>
                  <a:pt x="13456422" y="12735934"/>
                </a:lnTo>
                <a:lnTo>
                  <a:pt x="13167596" y="12810383"/>
                </a:lnTo>
                <a:lnTo>
                  <a:pt x="12850904" y="12890209"/>
                </a:lnTo>
                <a:lnTo>
                  <a:pt x="12507122" y="12976791"/>
                </a:lnTo>
                <a:lnTo>
                  <a:pt x="12130303" y="13070873"/>
                </a:lnTo>
                <a:lnTo>
                  <a:pt x="11723669" y="13173321"/>
                </a:lnTo>
                <a:lnTo>
                  <a:pt x="11281762" y="13287339"/>
                </a:lnTo>
                <a:lnTo>
                  <a:pt x="10806136" y="13415689"/>
                </a:lnTo>
                <a:lnTo>
                  <a:pt x="10330219" y="13545127"/>
                </a:lnTo>
                <a:lnTo>
                  <a:pt x="9891040" y="13670393"/>
                </a:lnTo>
                <a:lnTo>
                  <a:pt x="9487623" y="13786555"/>
                </a:lnTo>
                <a:lnTo>
                  <a:pt x="9115874" y="13896019"/>
                </a:lnTo>
                <a:lnTo>
                  <a:pt x="8774530" y="13994941"/>
                </a:lnTo>
                <a:lnTo>
                  <a:pt x="8461343" y="14087393"/>
                </a:lnTo>
                <a:lnTo>
                  <a:pt x="8174272" y="14168153"/>
                </a:lnTo>
                <a:lnTo>
                  <a:pt x="7911372" y="14240203"/>
                </a:lnTo>
                <a:lnTo>
                  <a:pt x="7670294" y="14299409"/>
                </a:lnTo>
                <a:lnTo>
                  <a:pt x="7448023" y="14348473"/>
                </a:lnTo>
                <a:lnTo>
                  <a:pt x="7243006" y="14384631"/>
                </a:lnTo>
                <a:lnTo>
                  <a:pt x="7052496" y="14409497"/>
                </a:lnTo>
                <a:lnTo>
                  <a:pt x="6876027" y="14420593"/>
                </a:lnTo>
                <a:lnTo>
                  <a:pt x="6709301" y="14416785"/>
                </a:lnTo>
                <a:lnTo>
                  <a:pt x="6550655" y="14399949"/>
                </a:lnTo>
                <a:lnTo>
                  <a:pt x="6400694" y="14367911"/>
                </a:lnTo>
                <a:lnTo>
                  <a:pt x="6252671" y="14320041"/>
                </a:lnTo>
                <a:lnTo>
                  <a:pt x="6106894" y="14255243"/>
                </a:lnTo>
                <a:lnTo>
                  <a:pt x="5960629" y="14175121"/>
                </a:lnTo>
                <a:lnTo>
                  <a:pt x="5813387" y="14077217"/>
                </a:lnTo>
                <a:lnTo>
                  <a:pt x="5660887" y="13960371"/>
                </a:lnTo>
                <a:lnTo>
                  <a:pt x="5501463" y="13826485"/>
                </a:lnTo>
                <a:lnTo>
                  <a:pt x="5333562" y="13672791"/>
                </a:lnTo>
                <a:lnTo>
                  <a:pt x="5154456" y="13500909"/>
                </a:lnTo>
                <a:lnTo>
                  <a:pt x="4962873" y="13306983"/>
                </a:lnTo>
                <a:lnTo>
                  <a:pt x="4754729" y="13093429"/>
                </a:lnTo>
                <a:lnTo>
                  <a:pt x="4529825" y="12856681"/>
                </a:lnTo>
                <a:lnTo>
                  <a:pt x="4283769" y="12600243"/>
                </a:lnTo>
                <a:lnTo>
                  <a:pt x="4016667" y="12319462"/>
                </a:lnTo>
                <a:lnTo>
                  <a:pt x="3725499" y="12017041"/>
                </a:lnTo>
                <a:lnTo>
                  <a:pt x="3407921" y="11688844"/>
                </a:lnTo>
                <a:lnTo>
                  <a:pt x="3060618" y="11338651"/>
                </a:lnTo>
                <a:lnTo>
                  <a:pt x="2713027" y="10989548"/>
                </a:lnTo>
                <a:lnTo>
                  <a:pt x="2387456" y="10669722"/>
                </a:lnTo>
                <a:lnTo>
                  <a:pt x="2086935" y="10376479"/>
                </a:lnTo>
                <a:lnTo>
                  <a:pt x="1807749" y="10106482"/>
                </a:lnTo>
                <a:lnTo>
                  <a:pt x="1553121" y="9860597"/>
                </a:lnTo>
                <a:lnTo>
                  <a:pt x="1318860" y="9633027"/>
                </a:lnTo>
                <a:lnTo>
                  <a:pt x="1106036" y="9424055"/>
                </a:lnTo>
                <a:lnTo>
                  <a:pt x="914164" y="9231220"/>
                </a:lnTo>
                <a:lnTo>
                  <a:pt x="742266" y="9049585"/>
                </a:lnTo>
                <a:lnTo>
                  <a:pt x="588691" y="8881042"/>
                </a:lnTo>
                <a:lnTo>
                  <a:pt x="456749" y="8721802"/>
                </a:lnTo>
                <a:lnTo>
                  <a:pt x="340882" y="8566880"/>
                </a:lnTo>
                <a:lnTo>
                  <a:pt x="242658" y="8419018"/>
                </a:lnTo>
                <a:lnTo>
                  <a:pt x="163527" y="8272775"/>
                </a:lnTo>
                <a:lnTo>
                  <a:pt x="99505" y="8125909"/>
                </a:lnTo>
                <a:lnTo>
                  <a:pt x="51950" y="7977619"/>
                </a:lnTo>
                <a:lnTo>
                  <a:pt x="20374" y="7825429"/>
                </a:lnTo>
                <a:lnTo>
                  <a:pt x="3219" y="7666597"/>
                </a:lnTo>
                <a:lnTo>
                  <a:pt x="0" y="7498647"/>
                </a:lnTo>
                <a:lnTo>
                  <a:pt x="12080" y="7320773"/>
                </a:lnTo>
                <a:lnTo>
                  <a:pt x="25126" y="7210297"/>
                </a:lnTo>
                <a:lnTo>
                  <a:pt x="0" y="7210297"/>
                </a:lnTo>
                <a:lnTo>
                  <a:pt x="2659" y="7200843"/>
                </a:lnTo>
                <a:lnTo>
                  <a:pt x="133128" y="6722877"/>
                </a:lnTo>
                <a:lnTo>
                  <a:pt x="259308" y="6243767"/>
                </a:lnTo>
                <a:lnTo>
                  <a:pt x="372923" y="5798672"/>
                </a:lnTo>
                <a:lnTo>
                  <a:pt x="475813" y="5389265"/>
                </a:lnTo>
                <a:lnTo>
                  <a:pt x="569159" y="5011184"/>
                </a:lnTo>
                <a:lnTo>
                  <a:pt x="655387" y="4663909"/>
                </a:lnTo>
                <a:lnTo>
                  <a:pt x="733433" y="4347153"/>
                </a:lnTo>
                <a:lnTo>
                  <a:pt x="807973" y="4056336"/>
                </a:lnTo>
                <a:lnTo>
                  <a:pt x="880368" y="3790650"/>
                </a:lnTo>
                <a:lnTo>
                  <a:pt x="949548" y="3549804"/>
                </a:lnTo>
                <a:lnTo>
                  <a:pt x="1019318" y="3332492"/>
                </a:lnTo>
                <a:lnTo>
                  <a:pt x="1090544" y="3135425"/>
                </a:lnTo>
                <a:lnTo>
                  <a:pt x="1165668" y="2958104"/>
                </a:lnTo>
                <a:lnTo>
                  <a:pt x="1245279" y="2798339"/>
                </a:lnTo>
                <a:lnTo>
                  <a:pt x="1332100" y="2654533"/>
                </a:lnTo>
                <a:lnTo>
                  <a:pt x="1426422" y="2525595"/>
                </a:lnTo>
                <a:lnTo>
                  <a:pt x="1529906" y="2409624"/>
                </a:lnTo>
                <a:lnTo>
                  <a:pt x="1645278" y="2305026"/>
                </a:lnTo>
                <a:lnTo>
                  <a:pt x="1774194" y="2209896"/>
                </a:lnTo>
                <a:lnTo>
                  <a:pt x="1915878" y="2122867"/>
                </a:lnTo>
                <a:lnTo>
                  <a:pt x="2074904" y="2043992"/>
                </a:lnTo>
                <a:lnTo>
                  <a:pt x="2251669" y="1967540"/>
                </a:lnTo>
                <a:lnTo>
                  <a:pt x="2446654" y="1895969"/>
                </a:lnTo>
                <a:lnTo>
                  <a:pt x="2664243" y="1825792"/>
                </a:lnTo>
                <a:lnTo>
                  <a:pt x="2902593" y="1755334"/>
                </a:lnTo>
                <a:lnTo>
                  <a:pt x="3166277" y="1684660"/>
                </a:lnTo>
                <a:lnTo>
                  <a:pt x="3455102" y="1610211"/>
                </a:lnTo>
                <a:lnTo>
                  <a:pt x="3771795" y="1530384"/>
                </a:lnTo>
                <a:lnTo>
                  <a:pt x="4115576" y="1443805"/>
                </a:lnTo>
                <a:lnTo>
                  <a:pt x="4492393" y="1349720"/>
                </a:lnTo>
                <a:lnTo>
                  <a:pt x="4899029" y="1247275"/>
                </a:lnTo>
                <a:lnTo>
                  <a:pt x="5340937" y="1133255"/>
                </a:lnTo>
                <a:lnTo>
                  <a:pt x="5816561" y="1004907"/>
                </a:lnTo>
                <a:lnTo>
                  <a:pt x="6292478" y="875469"/>
                </a:lnTo>
                <a:lnTo>
                  <a:pt x="6731658" y="750203"/>
                </a:lnTo>
                <a:lnTo>
                  <a:pt x="7135072" y="634041"/>
                </a:lnTo>
                <a:lnTo>
                  <a:pt x="7506822" y="524575"/>
                </a:lnTo>
                <a:lnTo>
                  <a:pt x="7848166" y="425654"/>
                </a:lnTo>
                <a:lnTo>
                  <a:pt x="8161352" y="333200"/>
                </a:lnTo>
                <a:lnTo>
                  <a:pt x="8448423" y="252443"/>
                </a:lnTo>
                <a:lnTo>
                  <a:pt x="8711325" y="180390"/>
                </a:lnTo>
                <a:lnTo>
                  <a:pt x="8952403" y="121187"/>
                </a:lnTo>
                <a:lnTo>
                  <a:pt x="9174672" y="72121"/>
                </a:lnTo>
                <a:lnTo>
                  <a:pt x="9379691" y="35964"/>
                </a:lnTo>
                <a:lnTo>
                  <a:pt x="9570200" y="11097"/>
                </a:lnTo>
                <a:close/>
              </a:path>
            </a:pathLst>
          </a:custGeom>
          <a:solidFill>
            <a:schemeClr val="bg1">
              <a:lumMod val="95000"/>
              <a:alpha val="52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50585630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EBB367F-01EC-4F79-AF1D-E318B7C9D0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86728" y="-9012869"/>
            <a:ext cx="20810547" cy="18025741"/>
          </a:xfrm>
          <a:custGeom>
            <a:avLst/>
            <a:gdLst>
              <a:gd name="connsiteX0" fmla="*/ 9746670 w 16622696"/>
              <a:gd name="connsiteY0" fmla="*/ 0 h 14420593"/>
              <a:gd name="connsiteX1" fmla="*/ 9913397 w 16622696"/>
              <a:gd name="connsiteY1" fmla="*/ 3810 h 14420593"/>
              <a:gd name="connsiteX2" fmla="*/ 10072040 w 16622696"/>
              <a:gd name="connsiteY2" fmla="*/ 20648 h 14420593"/>
              <a:gd name="connsiteX3" fmla="*/ 10222003 w 16622696"/>
              <a:gd name="connsiteY3" fmla="*/ 52685 h 14420593"/>
              <a:gd name="connsiteX4" fmla="*/ 10370026 w 16622696"/>
              <a:gd name="connsiteY4" fmla="*/ 100556 h 14420593"/>
              <a:gd name="connsiteX5" fmla="*/ 10515803 w 16622696"/>
              <a:gd name="connsiteY5" fmla="*/ 165352 h 14420593"/>
              <a:gd name="connsiteX6" fmla="*/ 10662067 w 16622696"/>
              <a:gd name="connsiteY6" fmla="*/ 245473 h 14420593"/>
              <a:gd name="connsiteX7" fmla="*/ 10809311 w 16622696"/>
              <a:gd name="connsiteY7" fmla="*/ 343378 h 14420593"/>
              <a:gd name="connsiteX8" fmla="*/ 10961808 w 16622696"/>
              <a:gd name="connsiteY8" fmla="*/ 460226 h 14420593"/>
              <a:gd name="connsiteX9" fmla="*/ 11121233 w 16622696"/>
              <a:gd name="connsiteY9" fmla="*/ 594111 h 14420593"/>
              <a:gd name="connsiteX10" fmla="*/ 11289132 w 16622696"/>
              <a:gd name="connsiteY10" fmla="*/ 747806 h 14420593"/>
              <a:gd name="connsiteX11" fmla="*/ 11468242 w 16622696"/>
              <a:gd name="connsiteY11" fmla="*/ 919686 h 14420593"/>
              <a:gd name="connsiteX12" fmla="*/ 11659824 w 16622696"/>
              <a:gd name="connsiteY12" fmla="*/ 1113613 h 14420593"/>
              <a:gd name="connsiteX13" fmla="*/ 11867967 w 16622696"/>
              <a:gd name="connsiteY13" fmla="*/ 1327168 h 14420593"/>
              <a:gd name="connsiteX14" fmla="*/ 12092870 w 16622696"/>
              <a:gd name="connsiteY14" fmla="*/ 1563914 h 14420593"/>
              <a:gd name="connsiteX15" fmla="*/ 12338925 w 16622696"/>
              <a:gd name="connsiteY15" fmla="*/ 1820351 h 14420593"/>
              <a:gd name="connsiteX16" fmla="*/ 12606028 w 16622696"/>
              <a:gd name="connsiteY16" fmla="*/ 2101133 h 14420593"/>
              <a:gd name="connsiteX17" fmla="*/ 12897197 w 16622696"/>
              <a:gd name="connsiteY17" fmla="*/ 2403554 h 14420593"/>
              <a:gd name="connsiteX18" fmla="*/ 13214775 w 16622696"/>
              <a:gd name="connsiteY18" fmla="*/ 2731752 h 14420593"/>
              <a:gd name="connsiteX19" fmla="*/ 13562076 w 16622696"/>
              <a:gd name="connsiteY19" fmla="*/ 3081943 h 14420593"/>
              <a:gd name="connsiteX20" fmla="*/ 13909667 w 16622696"/>
              <a:gd name="connsiteY20" fmla="*/ 3431045 h 14420593"/>
              <a:gd name="connsiteX21" fmla="*/ 14235238 w 16622696"/>
              <a:gd name="connsiteY21" fmla="*/ 3750872 h 14420593"/>
              <a:gd name="connsiteX22" fmla="*/ 14535759 w 16622696"/>
              <a:gd name="connsiteY22" fmla="*/ 4044117 h 14420593"/>
              <a:gd name="connsiteX23" fmla="*/ 14814947 w 16622696"/>
              <a:gd name="connsiteY23" fmla="*/ 4314114 h 14420593"/>
              <a:gd name="connsiteX24" fmla="*/ 15069575 w 16622696"/>
              <a:gd name="connsiteY24" fmla="*/ 4559997 h 14420593"/>
              <a:gd name="connsiteX25" fmla="*/ 15303834 w 16622696"/>
              <a:gd name="connsiteY25" fmla="*/ 4787567 h 14420593"/>
              <a:gd name="connsiteX26" fmla="*/ 15516660 w 16622696"/>
              <a:gd name="connsiteY26" fmla="*/ 4996537 h 14420593"/>
              <a:gd name="connsiteX27" fmla="*/ 15708532 w 16622696"/>
              <a:gd name="connsiteY27" fmla="*/ 5189375 h 14420593"/>
              <a:gd name="connsiteX28" fmla="*/ 15880428 w 16622696"/>
              <a:gd name="connsiteY28" fmla="*/ 5371008 h 14420593"/>
              <a:gd name="connsiteX29" fmla="*/ 16034004 w 16622696"/>
              <a:gd name="connsiteY29" fmla="*/ 5539551 h 14420593"/>
              <a:gd name="connsiteX30" fmla="*/ 16165944 w 16622696"/>
              <a:gd name="connsiteY30" fmla="*/ 5698793 h 14420593"/>
              <a:gd name="connsiteX31" fmla="*/ 16281812 w 16622696"/>
              <a:gd name="connsiteY31" fmla="*/ 5853714 h 14420593"/>
              <a:gd name="connsiteX32" fmla="*/ 16380036 w 16622696"/>
              <a:gd name="connsiteY32" fmla="*/ 6001575 h 14420593"/>
              <a:gd name="connsiteX33" fmla="*/ 16459168 w 16622696"/>
              <a:gd name="connsiteY33" fmla="*/ 6147817 h 14420593"/>
              <a:gd name="connsiteX34" fmla="*/ 16523188 w 16622696"/>
              <a:gd name="connsiteY34" fmla="*/ 6294683 h 14420593"/>
              <a:gd name="connsiteX35" fmla="*/ 16570744 w 16622696"/>
              <a:gd name="connsiteY35" fmla="*/ 6442975 h 14420593"/>
              <a:gd name="connsiteX36" fmla="*/ 16602320 w 16622696"/>
              <a:gd name="connsiteY36" fmla="*/ 6595164 h 14420593"/>
              <a:gd name="connsiteX37" fmla="*/ 16619476 w 16622696"/>
              <a:gd name="connsiteY37" fmla="*/ 6753995 h 14420593"/>
              <a:gd name="connsiteX38" fmla="*/ 16622696 w 16622696"/>
              <a:gd name="connsiteY38" fmla="*/ 6921947 h 14420593"/>
              <a:gd name="connsiteX39" fmla="*/ 16610616 w 16622696"/>
              <a:gd name="connsiteY39" fmla="*/ 7099821 h 14420593"/>
              <a:gd name="connsiteX40" fmla="*/ 16597568 w 16622696"/>
              <a:gd name="connsiteY40" fmla="*/ 7210297 h 14420593"/>
              <a:gd name="connsiteX41" fmla="*/ 16622696 w 16622696"/>
              <a:gd name="connsiteY41" fmla="*/ 7210297 h 14420593"/>
              <a:gd name="connsiteX42" fmla="*/ 16620040 w 16622696"/>
              <a:gd name="connsiteY42" fmla="*/ 7219750 h 14420593"/>
              <a:gd name="connsiteX43" fmla="*/ 16489572 w 16622696"/>
              <a:gd name="connsiteY43" fmla="*/ 7697717 h 14420593"/>
              <a:gd name="connsiteX44" fmla="*/ 16363388 w 16622696"/>
              <a:gd name="connsiteY44" fmla="*/ 8176825 h 14420593"/>
              <a:gd name="connsiteX45" fmla="*/ 16249776 w 16622696"/>
              <a:gd name="connsiteY45" fmla="*/ 8621921 h 14420593"/>
              <a:gd name="connsiteX46" fmla="*/ 16146884 w 16622696"/>
              <a:gd name="connsiteY46" fmla="*/ 9031330 h 14420593"/>
              <a:gd name="connsiteX47" fmla="*/ 16053538 w 16622696"/>
              <a:gd name="connsiteY47" fmla="*/ 9409410 h 14420593"/>
              <a:gd name="connsiteX48" fmla="*/ 15967310 w 16622696"/>
              <a:gd name="connsiteY48" fmla="*/ 9756684 h 14420593"/>
              <a:gd name="connsiteX49" fmla="*/ 15889264 w 16622696"/>
              <a:gd name="connsiteY49" fmla="*/ 10073441 h 14420593"/>
              <a:gd name="connsiteX50" fmla="*/ 15814724 w 16622696"/>
              <a:gd name="connsiteY50" fmla="*/ 10364257 h 14420593"/>
              <a:gd name="connsiteX51" fmla="*/ 15742328 w 16622696"/>
              <a:gd name="connsiteY51" fmla="*/ 10629945 h 14420593"/>
              <a:gd name="connsiteX52" fmla="*/ 15673152 w 16622696"/>
              <a:gd name="connsiteY52" fmla="*/ 10870789 h 14420593"/>
              <a:gd name="connsiteX53" fmla="*/ 15603380 w 16622696"/>
              <a:gd name="connsiteY53" fmla="*/ 11088103 h 14420593"/>
              <a:gd name="connsiteX54" fmla="*/ 15532152 w 16622696"/>
              <a:gd name="connsiteY54" fmla="*/ 11285170 h 14420593"/>
              <a:gd name="connsiteX55" fmla="*/ 15457028 w 16622696"/>
              <a:gd name="connsiteY55" fmla="*/ 11462490 h 14420593"/>
              <a:gd name="connsiteX56" fmla="*/ 15377420 w 16622696"/>
              <a:gd name="connsiteY56" fmla="*/ 11622255 h 14420593"/>
              <a:gd name="connsiteX57" fmla="*/ 15290599 w 16622696"/>
              <a:gd name="connsiteY57" fmla="*/ 11766061 h 14420593"/>
              <a:gd name="connsiteX58" fmla="*/ 15196276 w 16622696"/>
              <a:gd name="connsiteY58" fmla="*/ 11894998 h 14420593"/>
              <a:gd name="connsiteX59" fmla="*/ 15092791 w 16622696"/>
              <a:gd name="connsiteY59" fmla="*/ 12010969 h 14420593"/>
              <a:gd name="connsiteX60" fmla="*/ 14977419 w 16622696"/>
              <a:gd name="connsiteY60" fmla="*/ 12115571 h 14420593"/>
              <a:gd name="connsiteX61" fmla="*/ 14848504 w 16622696"/>
              <a:gd name="connsiteY61" fmla="*/ 12210699 h 14420593"/>
              <a:gd name="connsiteX62" fmla="*/ 14706818 w 16622696"/>
              <a:gd name="connsiteY62" fmla="*/ 12297727 h 14420593"/>
              <a:gd name="connsiteX63" fmla="*/ 14547792 w 16622696"/>
              <a:gd name="connsiteY63" fmla="*/ 12376605 h 14420593"/>
              <a:gd name="connsiteX64" fmla="*/ 14371028 w 16622696"/>
              <a:gd name="connsiteY64" fmla="*/ 12453055 h 14420593"/>
              <a:gd name="connsiteX65" fmla="*/ 14176045 w 16622696"/>
              <a:gd name="connsiteY65" fmla="*/ 12524626 h 14420593"/>
              <a:gd name="connsiteX66" fmla="*/ 13958454 w 16622696"/>
              <a:gd name="connsiteY66" fmla="*/ 12594803 h 14420593"/>
              <a:gd name="connsiteX67" fmla="*/ 13720105 w 16622696"/>
              <a:gd name="connsiteY67" fmla="*/ 12665259 h 14420593"/>
              <a:gd name="connsiteX68" fmla="*/ 13456422 w 16622696"/>
              <a:gd name="connsiteY68" fmla="*/ 12735934 h 14420593"/>
              <a:gd name="connsiteX69" fmla="*/ 13167596 w 16622696"/>
              <a:gd name="connsiteY69" fmla="*/ 12810383 h 14420593"/>
              <a:gd name="connsiteX70" fmla="*/ 12850904 w 16622696"/>
              <a:gd name="connsiteY70" fmla="*/ 12890209 h 14420593"/>
              <a:gd name="connsiteX71" fmla="*/ 12507122 w 16622696"/>
              <a:gd name="connsiteY71" fmla="*/ 12976791 h 14420593"/>
              <a:gd name="connsiteX72" fmla="*/ 12130303 w 16622696"/>
              <a:gd name="connsiteY72" fmla="*/ 13070873 h 14420593"/>
              <a:gd name="connsiteX73" fmla="*/ 11723669 w 16622696"/>
              <a:gd name="connsiteY73" fmla="*/ 13173321 h 14420593"/>
              <a:gd name="connsiteX74" fmla="*/ 11281762 w 16622696"/>
              <a:gd name="connsiteY74" fmla="*/ 13287339 h 14420593"/>
              <a:gd name="connsiteX75" fmla="*/ 10806136 w 16622696"/>
              <a:gd name="connsiteY75" fmla="*/ 13415689 h 14420593"/>
              <a:gd name="connsiteX76" fmla="*/ 10330219 w 16622696"/>
              <a:gd name="connsiteY76" fmla="*/ 13545127 h 14420593"/>
              <a:gd name="connsiteX77" fmla="*/ 9891040 w 16622696"/>
              <a:gd name="connsiteY77" fmla="*/ 13670393 h 14420593"/>
              <a:gd name="connsiteX78" fmla="*/ 9487623 w 16622696"/>
              <a:gd name="connsiteY78" fmla="*/ 13786555 h 14420593"/>
              <a:gd name="connsiteX79" fmla="*/ 9115874 w 16622696"/>
              <a:gd name="connsiteY79" fmla="*/ 13896019 h 14420593"/>
              <a:gd name="connsiteX80" fmla="*/ 8774530 w 16622696"/>
              <a:gd name="connsiteY80" fmla="*/ 13994941 h 14420593"/>
              <a:gd name="connsiteX81" fmla="*/ 8461343 w 16622696"/>
              <a:gd name="connsiteY81" fmla="*/ 14087393 h 14420593"/>
              <a:gd name="connsiteX82" fmla="*/ 8174272 w 16622696"/>
              <a:gd name="connsiteY82" fmla="*/ 14168153 h 14420593"/>
              <a:gd name="connsiteX83" fmla="*/ 7911372 w 16622696"/>
              <a:gd name="connsiteY83" fmla="*/ 14240203 h 14420593"/>
              <a:gd name="connsiteX84" fmla="*/ 7670294 w 16622696"/>
              <a:gd name="connsiteY84" fmla="*/ 14299409 h 14420593"/>
              <a:gd name="connsiteX85" fmla="*/ 7448023 w 16622696"/>
              <a:gd name="connsiteY85" fmla="*/ 14348473 h 14420593"/>
              <a:gd name="connsiteX86" fmla="*/ 7243006 w 16622696"/>
              <a:gd name="connsiteY86" fmla="*/ 14384631 h 14420593"/>
              <a:gd name="connsiteX87" fmla="*/ 7052496 w 16622696"/>
              <a:gd name="connsiteY87" fmla="*/ 14409497 h 14420593"/>
              <a:gd name="connsiteX88" fmla="*/ 6876027 w 16622696"/>
              <a:gd name="connsiteY88" fmla="*/ 14420593 h 14420593"/>
              <a:gd name="connsiteX89" fmla="*/ 6709301 w 16622696"/>
              <a:gd name="connsiteY89" fmla="*/ 14416785 h 14420593"/>
              <a:gd name="connsiteX90" fmla="*/ 6550655 w 16622696"/>
              <a:gd name="connsiteY90" fmla="*/ 14399949 h 14420593"/>
              <a:gd name="connsiteX91" fmla="*/ 6400694 w 16622696"/>
              <a:gd name="connsiteY91" fmla="*/ 14367911 h 14420593"/>
              <a:gd name="connsiteX92" fmla="*/ 6252671 w 16622696"/>
              <a:gd name="connsiteY92" fmla="*/ 14320041 h 14420593"/>
              <a:gd name="connsiteX93" fmla="*/ 6106894 w 16622696"/>
              <a:gd name="connsiteY93" fmla="*/ 14255243 h 14420593"/>
              <a:gd name="connsiteX94" fmla="*/ 5960629 w 16622696"/>
              <a:gd name="connsiteY94" fmla="*/ 14175121 h 14420593"/>
              <a:gd name="connsiteX95" fmla="*/ 5813387 w 16622696"/>
              <a:gd name="connsiteY95" fmla="*/ 14077217 h 14420593"/>
              <a:gd name="connsiteX96" fmla="*/ 5660887 w 16622696"/>
              <a:gd name="connsiteY96" fmla="*/ 13960371 h 14420593"/>
              <a:gd name="connsiteX97" fmla="*/ 5501463 w 16622696"/>
              <a:gd name="connsiteY97" fmla="*/ 13826485 h 14420593"/>
              <a:gd name="connsiteX98" fmla="*/ 5333562 w 16622696"/>
              <a:gd name="connsiteY98" fmla="*/ 13672791 h 14420593"/>
              <a:gd name="connsiteX99" fmla="*/ 5154456 w 16622696"/>
              <a:gd name="connsiteY99" fmla="*/ 13500909 h 14420593"/>
              <a:gd name="connsiteX100" fmla="*/ 4962873 w 16622696"/>
              <a:gd name="connsiteY100" fmla="*/ 13306983 h 14420593"/>
              <a:gd name="connsiteX101" fmla="*/ 4754729 w 16622696"/>
              <a:gd name="connsiteY101" fmla="*/ 13093429 h 14420593"/>
              <a:gd name="connsiteX102" fmla="*/ 4529825 w 16622696"/>
              <a:gd name="connsiteY102" fmla="*/ 12856681 h 14420593"/>
              <a:gd name="connsiteX103" fmla="*/ 4283769 w 16622696"/>
              <a:gd name="connsiteY103" fmla="*/ 12600243 h 14420593"/>
              <a:gd name="connsiteX104" fmla="*/ 4016667 w 16622696"/>
              <a:gd name="connsiteY104" fmla="*/ 12319462 h 14420593"/>
              <a:gd name="connsiteX105" fmla="*/ 3725499 w 16622696"/>
              <a:gd name="connsiteY105" fmla="*/ 12017041 h 14420593"/>
              <a:gd name="connsiteX106" fmla="*/ 3407921 w 16622696"/>
              <a:gd name="connsiteY106" fmla="*/ 11688844 h 14420593"/>
              <a:gd name="connsiteX107" fmla="*/ 3060618 w 16622696"/>
              <a:gd name="connsiteY107" fmla="*/ 11338651 h 14420593"/>
              <a:gd name="connsiteX108" fmla="*/ 2713027 w 16622696"/>
              <a:gd name="connsiteY108" fmla="*/ 10989548 h 14420593"/>
              <a:gd name="connsiteX109" fmla="*/ 2387456 w 16622696"/>
              <a:gd name="connsiteY109" fmla="*/ 10669722 h 14420593"/>
              <a:gd name="connsiteX110" fmla="*/ 2086935 w 16622696"/>
              <a:gd name="connsiteY110" fmla="*/ 10376479 h 14420593"/>
              <a:gd name="connsiteX111" fmla="*/ 1807749 w 16622696"/>
              <a:gd name="connsiteY111" fmla="*/ 10106482 h 14420593"/>
              <a:gd name="connsiteX112" fmla="*/ 1553121 w 16622696"/>
              <a:gd name="connsiteY112" fmla="*/ 9860597 h 14420593"/>
              <a:gd name="connsiteX113" fmla="*/ 1318860 w 16622696"/>
              <a:gd name="connsiteY113" fmla="*/ 9633027 h 14420593"/>
              <a:gd name="connsiteX114" fmla="*/ 1106036 w 16622696"/>
              <a:gd name="connsiteY114" fmla="*/ 9424055 h 14420593"/>
              <a:gd name="connsiteX115" fmla="*/ 914164 w 16622696"/>
              <a:gd name="connsiteY115" fmla="*/ 9231220 h 14420593"/>
              <a:gd name="connsiteX116" fmla="*/ 742266 w 16622696"/>
              <a:gd name="connsiteY116" fmla="*/ 9049585 h 14420593"/>
              <a:gd name="connsiteX117" fmla="*/ 588691 w 16622696"/>
              <a:gd name="connsiteY117" fmla="*/ 8881042 h 14420593"/>
              <a:gd name="connsiteX118" fmla="*/ 456749 w 16622696"/>
              <a:gd name="connsiteY118" fmla="*/ 8721802 h 14420593"/>
              <a:gd name="connsiteX119" fmla="*/ 340882 w 16622696"/>
              <a:gd name="connsiteY119" fmla="*/ 8566880 h 14420593"/>
              <a:gd name="connsiteX120" fmla="*/ 242658 w 16622696"/>
              <a:gd name="connsiteY120" fmla="*/ 8419018 h 14420593"/>
              <a:gd name="connsiteX121" fmla="*/ 163527 w 16622696"/>
              <a:gd name="connsiteY121" fmla="*/ 8272775 h 14420593"/>
              <a:gd name="connsiteX122" fmla="*/ 99505 w 16622696"/>
              <a:gd name="connsiteY122" fmla="*/ 8125909 h 14420593"/>
              <a:gd name="connsiteX123" fmla="*/ 51950 w 16622696"/>
              <a:gd name="connsiteY123" fmla="*/ 7977619 h 14420593"/>
              <a:gd name="connsiteX124" fmla="*/ 20374 w 16622696"/>
              <a:gd name="connsiteY124" fmla="*/ 7825429 h 14420593"/>
              <a:gd name="connsiteX125" fmla="*/ 3219 w 16622696"/>
              <a:gd name="connsiteY125" fmla="*/ 7666597 h 14420593"/>
              <a:gd name="connsiteX126" fmla="*/ 0 w 16622696"/>
              <a:gd name="connsiteY126" fmla="*/ 7498647 h 14420593"/>
              <a:gd name="connsiteX127" fmla="*/ 12080 w 16622696"/>
              <a:gd name="connsiteY127" fmla="*/ 7320773 h 14420593"/>
              <a:gd name="connsiteX128" fmla="*/ 25126 w 16622696"/>
              <a:gd name="connsiteY128" fmla="*/ 7210297 h 14420593"/>
              <a:gd name="connsiteX129" fmla="*/ 0 w 16622696"/>
              <a:gd name="connsiteY129" fmla="*/ 7210297 h 14420593"/>
              <a:gd name="connsiteX130" fmla="*/ 2659 w 16622696"/>
              <a:gd name="connsiteY130" fmla="*/ 7200843 h 14420593"/>
              <a:gd name="connsiteX131" fmla="*/ 133128 w 16622696"/>
              <a:gd name="connsiteY131" fmla="*/ 6722877 h 14420593"/>
              <a:gd name="connsiteX132" fmla="*/ 259308 w 16622696"/>
              <a:gd name="connsiteY132" fmla="*/ 6243767 h 14420593"/>
              <a:gd name="connsiteX133" fmla="*/ 372923 w 16622696"/>
              <a:gd name="connsiteY133" fmla="*/ 5798672 h 14420593"/>
              <a:gd name="connsiteX134" fmla="*/ 475813 w 16622696"/>
              <a:gd name="connsiteY134" fmla="*/ 5389265 h 14420593"/>
              <a:gd name="connsiteX135" fmla="*/ 569159 w 16622696"/>
              <a:gd name="connsiteY135" fmla="*/ 5011184 h 14420593"/>
              <a:gd name="connsiteX136" fmla="*/ 655387 w 16622696"/>
              <a:gd name="connsiteY136" fmla="*/ 4663909 h 14420593"/>
              <a:gd name="connsiteX137" fmla="*/ 733433 w 16622696"/>
              <a:gd name="connsiteY137" fmla="*/ 4347153 h 14420593"/>
              <a:gd name="connsiteX138" fmla="*/ 807973 w 16622696"/>
              <a:gd name="connsiteY138" fmla="*/ 4056336 h 14420593"/>
              <a:gd name="connsiteX139" fmla="*/ 880368 w 16622696"/>
              <a:gd name="connsiteY139" fmla="*/ 3790650 h 14420593"/>
              <a:gd name="connsiteX140" fmla="*/ 949548 w 16622696"/>
              <a:gd name="connsiteY140" fmla="*/ 3549804 h 14420593"/>
              <a:gd name="connsiteX141" fmla="*/ 1019318 w 16622696"/>
              <a:gd name="connsiteY141" fmla="*/ 3332492 h 14420593"/>
              <a:gd name="connsiteX142" fmla="*/ 1090544 w 16622696"/>
              <a:gd name="connsiteY142" fmla="*/ 3135425 h 14420593"/>
              <a:gd name="connsiteX143" fmla="*/ 1165668 w 16622696"/>
              <a:gd name="connsiteY143" fmla="*/ 2958104 h 14420593"/>
              <a:gd name="connsiteX144" fmla="*/ 1245279 w 16622696"/>
              <a:gd name="connsiteY144" fmla="*/ 2798339 h 14420593"/>
              <a:gd name="connsiteX145" fmla="*/ 1332100 w 16622696"/>
              <a:gd name="connsiteY145" fmla="*/ 2654533 h 14420593"/>
              <a:gd name="connsiteX146" fmla="*/ 1426422 w 16622696"/>
              <a:gd name="connsiteY146" fmla="*/ 2525595 h 14420593"/>
              <a:gd name="connsiteX147" fmla="*/ 1529906 w 16622696"/>
              <a:gd name="connsiteY147" fmla="*/ 2409624 h 14420593"/>
              <a:gd name="connsiteX148" fmla="*/ 1645278 w 16622696"/>
              <a:gd name="connsiteY148" fmla="*/ 2305026 h 14420593"/>
              <a:gd name="connsiteX149" fmla="*/ 1774194 w 16622696"/>
              <a:gd name="connsiteY149" fmla="*/ 2209896 h 14420593"/>
              <a:gd name="connsiteX150" fmla="*/ 1915878 w 16622696"/>
              <a:gd name="connsiteY150" fmla="*/ 2122867 h 14420593"/>
              <a:gd name="connsiteX151" fmla="*/ 2074904 w 16622696"/>
              <a:gd name="connsiteY151" fmla="*/ 2043992 h 14420593"/>
              <a:gd name="connsiteX152" fmla="*/ 2251669 w 16622696"/>
              <a:gd name="connsiteY152" fmla="*/ 1967540 h 14420593"/>
              <a:gd name="connsiteX153" fmla="*/ 2446654 w 16622696"/>
              <a:gd name="connsiteY153" fmla="*/ 1895969 h 14420593"/>
              <a:gd name="connsiteX154" fmla="*/ 2664243 w 16622696"/>
              <a:gd name="connsiteY154" fmla="*/ 1825792 h 14420593"/>
              <a:gd name="connsiteX155" fmla="*/ 2902593 w 16622696"/>
              <a:gd name="connsiteY155" fmla="*/ 1755334 h 14420593"/>
              <a:gd name="connsiteX156" fmla="*/ 3166277 w 16622696"/>
              <a:gd name="connsiteY156" fmla="*/ 1684660 h 14420593"/>
              <a:gd name="connsiteX157" fmla="*/ 3455102 w 16622696"/>
              <a:gd name="connsiteY157" fmla="*/ 1610211 h 14420593"/>
              <a:gd name="connsiteX158" fmla="*/ 3771795 w 16622696"/>
              <a:gd name="connsiteY158" fmla="*/ 1530384 h 14420593"/>
              <a:gd name="connsiteX159" fmla="*/ 4115576 w 16622696"/>
              <a:gd name="connsiteY159" fmla="*/ 1443805 h 14420593"/>
              <a:gd name="connsiteX160" fmla="*/ 4492393 w 16622696"/>
              <a:gd name="connsiteY160" fmla="*/ 1349720 h 14420593"/>
              <a:gd name="connsiteX161" fmla="*/ 4899029 w 16622696"/>
              <a:gd name="connsiteY161" fmla="*/ 1247275 h 14420593"/>
              <a:gd name="connsiteX162" fmla="*/ 5340937 w 16622696"/>
              <a:gd name="connsiteY162" fmla="*/ 1133255 h 14420593"/>
              <a:gd name="connsiteX163" fmla="*/ 5816561 w 16622696"/>
              <a:gd name="connsiteY163" fmla="*/ 1004907 h 14420593"/>
              <a:gd name="connsiteX164" fmla="*/ 6292478 w 16622696"/>
              <a:gd name="connsiteY164" fmla="*/ 875469 h 14420593"/>
              <a:gd name="connsiteX165" fmla="*/ 6731658 w 16622696"/>
              <a:gd name="connsiteY165" fmla="*/ 750203 h 14420593"/>
              <a:gd name="connsiteX166" fmla="*/ 7135072 w 16622696"/>
              <a:gd name="connsiteY166" fmla="*/ 634041 h 14420593"/>
              <a:gd name="connsiteX167" fmla="*/ 7506822 w 16622696"/>
              <a:gd name="connsiteY167" fmla="*/ 524575 h 14420593"/>
              <a:gd name="connsiteX168" fmla="*/ 7848166 w 16622696"/>
              <a:gd name="connsiteY168" fmla="*/ 425654 h 14420593"/>
              <a:gd name="connsiteX169" fmla="*/ 8161352 w 16622696"/>
              <a:gd name="connsiteY169" fmla="*/ 333200 h 14420593"/>
              <a:gd name="connsiteX170" fmla="*/ 8448423 w 16622696"/>
              <a:gd name="connsiteY170" fmla="*/ 252443 h 14420593"/>
              <a:gd name="connsiteX171" fmla="*/ 8711325 w 16622696"/>
              <a:gd name="connsiteY171" fmla="*/ 180390 h 14420593"/>
              <a:gd name="connsiteX172" fmla="*/ 8952403 w 16622696"/>
              <a:gd name="connsiteY172" fmla="*/ 121187 h 14420593"/>
              <a:gd name="connsiteX173" fmla="*/ 9174672 w 16622696"/>
              <a:gd name="connsiteY173" fmla="*/ 72121 h 14420593"/>
              <a:gd name="connsiteX174" fmla="*/ 9379691 w 16622696"/>
              <a:gd name="connsiteY174" fmla="*/ 35964 h 14420593"/>
              <a:gd name="connsiteX175" fmla="*/ 9570200 w 16622696"/>
              <a:gd name="connsiteY175" fmla="*/ 11097 h 14420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16622696" h="14420593">
                <a:moveTo>
                  <a:pt x="9746670" y="0"/>
                </a:moveTo>
                <a:lnTo>
                  <a:pt x="9913397" y="3810"/>
                </a:lnTo>
                <a:lnTo>
                  <a:pt x="10072040" y="20648"/>
                </a:lnTo>
                <a:lnTo>
                  <a:pt x="10222003" y="52685"/>
                </a:lnTo>
                <a:lnTo>
                  <a:pt x="10370026" y="100556"/>
                </a:lnTo>
                <a:lnTo>
                  <a:pt x="10515803" y="165352"/>
                </a:lnTo>
                <a:lnTo>
                  <a:pt x="10662067" y="245473"/>
                </a:lnTo>
                <a:lnTo>
                  <a:pt x="10809311" y="343378"/>
                </a:lnTo>
                <a:lnTo>
                  <a:pt x="10961808" y="460226"/>
                </a:lnTo>
                <a:lnTo>
                  <a:pt x="11121233" y="594111"/>
                </a:lnTo>
                <a:lnTo>
                  <a:pt x="11289132" y="747806"/>
                </a:lnTo>
                <a:lnTo>
                  <a:pt x="11468242" y="919686"/>
                </a:lnTo>
                <a:lnTo>
                  <a:pt x="11659824" y="1113613"/>
                </a:lnTo>
                <a:lnTo>
                  <a:pt x="11867967" y="1327168"/>
                </a:lnTo>
                <a:lnTo>
                  <a:pt x="12092870" y="1563914"/>
                </a:lnTo>
                <a:lnTo>
                  <a:pt x="12338925" y="1820351"/>
                </a:lnTo>
                <a:lnTo>
                  <a:pt x="12606028" y="2101133"/>
                </a:lnTo>
                <a:lnTo>
                  <a:pt x="12897197" y="2403554"/>
                </a:lnTo>
                <a:lnTo>
                  <a:pt x="13214775" y="2731752"/>
                </a:lnTo>
                <a:lnTo>
                  <a:pt x="13562076" y="3081943"/>
                </a:lnTo>
                <a:lnTo>
                  <a:pt x="13909667" y="3431045"/>
                </a:lnTo>
                <a:lnTo>
                  <a:pt x="14235238" y="3750872"/>
                </a:lnTo>
                <a:lnTo>
                  <a:pt x="14535759" y="4044117"/>
                </a:lnTo>
                <a:lnTo>
                  <a:pt x="14814947" y="4314114"/>
                </a:lnTo>
                <a:lnTo>
                  <a:pt x="15069575" y="4559997"/>
                </a:lnTo>
                <a:lnTo>
                  <a:pt x="15303834" y="4787567"/>
                </a:lnTo>
                <a:lnTo>
                  <a:pt x="15516660" y="4996537"/>
                </a:lnTo>
                <a:lnTo>
                  <a:pt x="15708532" y="5189375"/>
                </a:lnTo>
                <a:lnTo>
                  <a:pt x="15880428" y="5371008"/>
                </a:lnTo>
                <a:lnTo>
                  <a:pt x="16034004" y="5539551"/>
                </a:lnTo>
                <a:lnTo>
                  <a:pt x="16165944" y="5698793"/>
                </a:lnTo>
                <a:lnTo>
                  <a:pt x="16281812" y="5853714"/>
                </a:lnTo>
                <a:lnTo>
                  <a:pt x="16380036" y="6001575"/>
                </a:lnTo>
                <a:lnTo>
                  <a:pt x="16459168" y="6147817"/>
                </a:lnTo>
                <a:lnTo>
                  <a:pt x="16523188" y="6294683"/>
                </a:lnTo>
                <a:lnTo>
                  <a:pt x="16570744" y="6442975"/>
                </a:lnTo>
                <a:lnTo>
                  <a:pt x="16602320" y="6595164"/>
                </a:lnTo>
                <a:lnTo>
                  <a:pt x="16619476" y="6753995"/>
                </a:lnTo>
                <a:lnTo>
                  <a:pt x="16622696" y="6921947"/>
                </a:lnTo>
                <a:lnTo>
                  <a:pt x="16610616" y="7099821"/>
                </a:lnTo>
                <a:lnTo>
                  <a:pt x="16597568" y="7210297"/>
                </a:lnTo>
                <a:lnTo>
                  <a:pt x="16622696" y="7210297"/>
                </a:lnTo>
                <a:lnTo>
                  <a:pt x="16620040" y="7219750"/>
                </a:lnTo>
                <a:lnTo>
                  <a:pt x="16489572" y="7697717"/>
                </a:lnTo>
                <a:lnTo>
                  <a:pt x="16363388" y="8176825"/>
                </a:lnTo>
                <a:lnTo>
                  <a:pt x="16249776" y="8621921"/>
                </a:lnTo>
                <a:lnTo>
                  <a:pt x="16146884" y="9031330"/>
                </a:lnTo>
                <a:lnTo>
                  <a:pt x="16053538" y="9409410"/>
                </a:lnTo>
                <a:lnTo>
                  <a:pt x="15967310" y="9756684"/>
                </a:lnTo>
                <a:lnTo>
                  <a:pt x="15889264" y="10073441"/>
                </a:lnTo>
                <a:lnTo>
                  <a:pt x="15814724" y="10364257"/>
                </a:lnTo>
                <a:lnTo>
                  <a:pt x="15742328" y="10629945"/>
                </a:lnTo>
                <a:lnTo>
                  <a:pt x="15673152" y="10870789"/>
                </a:lnTo>
                <a:lnTo>
                  <a:pt x="15603380" y="11088103"/>
                </a:lnTo>
                <a:lnTo>
                  <a:pt x="15532152" y="11285170"/>
                </a:lnTo>
                <a:lnTo>
                  <a:pt x="15457028" y="11462490"/>
                </a:lnTo>
                <a:lnTo>
                  <a:pt x="15377420" y="11622255"/>
                </a:lnTo>
                <a:lnTo>
                  <a:pt x="15290599" y="11766061"/>
                </a:lnTo>
                <a:lnTo>
                  <a:pt x="15196276" y="11894998"/>
                </a:lnTo>
                <a:lnTo>
                  <a:pt x="15092791" y="12010969"/>
                </a:lnTo>
                <a:lnTo>
                  <a:pt x="14977419" y="12115571"/>
                </a:lnTo>
                <a:lnTo>
                  <a:pt x="14848504" y="12210699"/>
                </a:lnTo>
                <a:lnTo>
                  <a:pt x="14706818" y="12297727"/>
                </a:lnTo>
                <a:lnTo>
                  <a:pt x="14547792" y="12376605"/>
                </a:lnTo>
                <a:lnTo>
                  <a:pt x="14371028" y="12453055"/>
                </a:lnTo>
                <a:lnTo>
                  <a:pt x="14176045" y="12524626"/>
                </a:lnTo>
                <a:lnTo>
                  <a:pt x="13958454" y="12594803"/>
                </a:lnTo>
                <a:lnTo>
                  <a:pt x="13720105" y="12665259"/>
                </a:lnTo>
                <a:lnTo>
                  <a:pt x="13456422" y="12735934"/>
                </a:lnTo>
                <a:lnTo>
                  <a:pt x="13167596" y="12810383"/>
                </a:lnTo>
                <a:lnTo>
                  <a:pt x="12850904" y="12890209"/>
                </a:lnTo>
                <a:lnTo>
                  <a:pt x="12507122" y="12976791"/>
                </a:lnTo>
                <a:lnTo>
                  <a:pt x="12130303" y="13070873"/>
                </a:lnTo>
                <a:lnTo>
                  <a:pt x="11723669" y="13173321"/>
                </a:lnTo>
                <a:lnTo>
                  <a:pt x="11281762" y="13287339"/>
                </a:lnTo>
                <a:lnTo>
                  <a:pt x="10806136" y="13415689"/>
                </a:lnTo>
                <a:lnTo>
                  <a:pt x="10330219" y="13545127"/>
                </a:lnTo>
                <a:lnTo>
                  <a:pt x="9891040" y="13670393"/>
                </a:lnTo>
                <a:lnTo>
                  <a:pt x="9487623" y="13786555"/>
                </a:lnTo>
                <a:lnTo>
                  <a:pt x="9115874" y="13896019"/>
                </a:lnTo>
                <a:lnTo>
                  <a:pt x="8774530" y="13994941"/>
                </a:lnTo>
                <a:lnTo>
                  <a:pt x="8461343" y="14087393"/>
                </a:lnTo>
                <a:lnTo>
                  <a:pt x="8174272" y="14168153"/>
                </a:lnTo>
                <a:lnTo>
                  <a:pt x="7911372" y="14240203"/>
                </a:lnTo>
                <a:lnTo>
                  <a:pt x="7670294" y="14299409"/>
                </a:lnTo>
                <a:lnTo>
                  <a:pt x="7448023" y="14348473"/>
                </a:lnTo>
                <a:lnTo>
                  <a:pt x="7243006" y="14384631"/>
                </a:lnTo>
                <a:lnTo>
                  <a:pt x="7052496" y="14409497"/>
                </a:lnTo>
                <a:lnTo>
                  <a:pt x="6876027" y="14420593"/>
                </a:lnTo>
                <a:lnTo>
                  <a:pt x="6709301" y="14416785"/>
                </a:lnTo>
                <a:lnTo>
                  <a:pt x="6550655" y="14399949"/>
                </a:lnTo>
                <a:lnTo>
                  <a:pt x="6400694" y="14367911"/>
                </a:lnTo>
                <a:lnTo>
                  <a:pt x="6252671" y="14320041"/>
                </a:lnTo>
                <a:lnTo>
                  <a:pt x="6106894" y="14255243"/>
                </a:lnTo>
                <a:lnTo>
                  <a:pt x="5960629" y="14175121"/>
                </a:lnTo>
                <a:lnTo>
                  <a:pt x="5813387" y="14077217"/>
                </a:lnTo>
                <a:lnTo>
                  <a:pt x="5660887" y="13960371"/>
                </a:lnTo>
                <a:lnTo>
                  <a:pt x="5501463" y="13826485"/>
                </a:lnTo>
                <a:lnTo>
                  <a:pt x="5333562" y="13672791"/>
                </a:lnTo>
                <a:lnTo>
                  <a:pt x="5154456" y="13500909"/>
                </a:lnTo>
                <a:lnTo>
                  <a:pt x="4962873" y="13306983"/>
                </a:lnTo>
                <a:lnTo>
                  <a:pt x="4754729" y="13093429"/>
                </a:lnTo>
                <a:lnTo>
                  <a:pt x="4529825" y="12856681"/>
                </a:lnTo>
                <a:lnTo>
                  <a:pt x="4283769" y="12600243"/>
                </a:lnTo>
                <a:lnTo>
                  <a:pt x="4016667" y="12319462"/>
                </a:lnTo>
                <a:lnTo>
                  <a:pt x="3725499" y="12017041"/>
                </a:lnTo>
                <a:lnTo>
                  <a:pt x="3407921" y="11688844"/>
                </a:lnTo>
                <a:lnTo>
                  <a:pt x="3060618" y="11338651"/>
                </a:lnTo>
                <a:lnTo>
                  <a:pt x="2713027" y="10989548"/>
                </a:lnTo>
                <a:lnTo>
                  <a:pt x="2387456" y="10669722"/>
                </a:lnTo>
                <a:lnTo>
                  <a:pt x="2086935" y="10376479"/>
                </a:lnTo>
                <a:lnTo>
                  <a:pt x="1807749" y="10106482"/>
                </a:lnTo>
                <a:lnTo>
                  <a:pt x="1553121" y="9860597"/>
                </a:lnTo>
                <a:lnTo>
                  <a:pt x="1318860" y="9633027"/>
                </a:lnTo>
                <a:lnTo>
                  <a:pt x="1106036" y="9424055"/>
                </a:lnTo>
                <a:lnTo>
                  <a:pt x="914164" y="9231220"/>
                </a:lnTo>
                <a:lnTo>
                  <a:pt x="742266" y="9049585"/>
                </a:lnTo>
                <a:lnTo>
                  <a:pt x="588691" y="8881042"/>
                </a:lnTo>
                <a:lnTo>
                  <a:pt x="456749" y="8721802"/>
                </a:lnTo>
                <a:lnTo>
                  <a:pt x="340882" y="8566880"/>
                </a:lnTo>
                <a:lnTo>
                  <a:pt x="242658" y="8419018"/>
                </a:lnTo>
                <a:lnTo>
                  <a:pt x="163527" y="8272775"/>
                </a:lnTo>
                <a:lnTo>
                  <a:pt x="99505" y="8125909"/>
                </a:lnTo>
                <a:lnTo>
                  <a:pt x="51950" y="7977619"/>
                </a:lnTo>
                <a:lnTo>
                  <a:pt x="20374" y="7825429"/>
                </a:lnTo>
                <a:lnTo>
                  <a:pt x="3219" y="7666597"/>
                </a:lnTo>
                <a:lnTo>
                  <a:pt x="0" y="7498647"/>
                </a:lnTo>
                <a:lnTo>
                  <a:pt x="12080" y="7320773"/>
                </a:lnTo>
                <a:lnTo>
                  <a:pt x="25126" y="7210297"/>
                </a:lnTo>
                <a:lnTo>
                  <a:pt x="0" y="7210297"/>
                </a:lnTo>
                <a:lnTo>
                  <a:pt x="2659" y="7200843"/>
                </a:lnTo>
                <a:lnTo>
                  <a:pt x="133128" y="6722877"/>
                </a:lnTo>
                <a:lnTo>
                  <a:pt x="259308" y="6243767"/>
                </a:lnTo>
                <a:lnTo>
                  <a:pt x="372923" y="5798672"/>
                </a:lnTo>
                <a:lnTo>
                  <a:pt x="475813" y="5389265"/>
                </a:lnTo>
                <a:lnTo>
                  <a:pt x="569159" y="5011184"/>
                </a:lnTo>
                <a:lnTo>
                  <a:pt x="655387" y="4663909"/>
                </a:lnTo>
                <a:lnTo>
                  <a:pt x="733433" y="4347153"/>
                </a:lnTo>
                <a:lnTo>
                  <a:pt x="807973" y="4056336"/>
                </a:lnTo>
                <a:lnTo>
                  <a:pt x="880368" y="3790650"/>
                </a:lnTo>
                <a:lnTo>
                  <a:pt x="949548" y="3549804"/>
                </a:lnTo>
                <a:lnTo>
                  <a:pt x="1019318" y="3332492"/>
                </a:lnTo>
                <a:lnTo>
                  <a:pt x="1090544" y="3135425"/>
                </a:lnTo>
                <a:lnTo>
                  <a:pt x="1165668" y="2958104"/>
                </a:lnTo>
                <a:lnTo>
                  <a:pt x="1245279" y="2798339"/>
                </a:lnTo>
                <a:lnTo>
                  <a:pt x="1332100" y="2654533"/>
                </a:lnTo>
                <a:lnTo>
                  <a:pt x="1426422" y="2525595"/>
                </a:lnTo>
                <a:lnTo>
                  <a:pt x="1529906" y="2409624"/>
                </a:lnTo>
                <a:lnTo>
                  <a:pt x="1645278" y="2305026"/>
                </a:lnTo>
                <a:lnTo>
                  <a:pt x="1774194" y="2209896"/>
                </a:lnTo>
                <a:lnTo>
                  <a:pt x="1915878" y="2122867"/>
                </a:lnTo>
                <a:lnTo>
                  <a:pt x="2074904" y="2043992"/>
                </a:lnTo>
                <a:lnTo>
                  <a:pt x="2251669" y="1967540"/>
                </a:lnTo>
                <a:lnTo>
                  <a:pt x="2446654" y="1895969"/>
                </a:lnTo>
                <a:lnTo>
                  <a:pt x="2664243" y="1825792"/>
                </a:lnTo>
                <a:lnTo>
                  <a:pt x="2902593" y="1755334"/>
                </a:lnTo>
                <a:lnTo>
                  <a:pt x="3166277" y="1684660"/>
                </a:lnTo>
                <a:lnTo>
                  <a:pt x="3455102" y="1610211"/>
                </a:lnTo>
                <a:lnTo>
                  <a:pt x="3771795" y="1530384"/>
                </a:lnTo>
                <a:lnTo>
                  <a:pt x="4115576" y="1443805"/>
                </a:lnTo>
                <a:lnTo>
                  <a:pt x="4492393" y="1349720"/>
                </a:lnTo>
                <a:lnTo>
                  <a:pt x="4899029" y="1247275"/>
                </a:lnTo>
                <a:lnTo>
                  <a:pt x="5340937" y="1133255"/>
                </a:lnTo>
                <a:lnTo>
                  <a:pt x="5816561" y="1004907"/>
                </a:lnTo>
                <a:lnTo>
                  <a:pt x="6292478" y="875469"/>
                </a:lnTo>
                <a:lnTo>
                  <a:pt x="6731658" y="750203"/>
                </a:lnTo>
                <a:lnTo>
                  <a:pt x="7135072" y="634041"/>
                </a:lnTo>
                <a:lnTo>
                  <a:pt x="7506822" y="524575"/>
                </a:lnTo>
                <a:lnTo>
                  <a:pt x="7848166" y="425654"/>
                </a:lnTo>
                <a:lnTo>
                  <a:pt x="8161352" y="333200"/>
                </a:lnTo>
                <a:lnTo>
                  <a:pt x="8448423" y="252443"/>
                </a:lnTo>
                <a:lnTo>
                  <a:pt x="8711325" y="180390"/>
                </a:lnTo>
                <a:lnTo>
                  <a:pt x="8952403" y="121187"/>
                </a:lnTo>
                <a:lnTo>
                  <a:pt x="9174672" y="72121"/>
                </a:lnTo>
                <a:lnTo>
                  <a:pt x="9379691" y="35964"/>
                </a:lnTo>
                <a:lnTo>
                  <a:pt x="9570200" y="11097"/>
                </a:lnTo>
                <a:close/>
              </a:path>
            </a:pathLst>
          </a:custGeom>
          <a:solidFill>
            <a:schemeClr val="bg1">
              <a:lumMod val="95000"/>
              <a:alpha val="52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489496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802446" y="1757673"/>
            <a:ext cx="20779108" cy="1020065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92001" y="2322288"/>
            <a:ext cx="6567714" cy="3549716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0823330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619E4E1-1436-47AF-869B-12999F476C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138516"/>
            <a:ext cx="24384000" cy="94389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02006880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BDFF4D-2536-4651-A736-E00A37E2B932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85000"/>
                    <a:alpha val="6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85000"/>
                  <a:alpha val="6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E67E58-BD71-4198-92B7-1D9348825B5D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19F362-72AA-403D-B30E-674C5E2120AA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tx1">
                    <a:lumMod val="65000"/>
                    <a:lumOff val="3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tx1">
                  <a:lumMod val="65000"/>
                  <a:lumOff val="3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99BC9F-3FA3-441A-9449-A7E23B1C5811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B726E29-1946-43B5-A026-938EDD4D0F29}"/>
              </a:ext>
            </a:extLst>
          </p:cNvPr>
          <p:cNvGrpSpPr/>
          <p:nvPr userDrawn="1"/>
        </p:nvGrpSpPr>
        <p:grpSpPr>
          <a:xfrm>
            <a:off x="19540081" y="12305298"/>
            <a:ext cx="3724881" cy="488970"/>
            <a:chOff x="16061023" y="9902075"/>
            <a:chExt cx="2522168" cy="33160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CD9E547-0A8C-48D6-A030-60901EFF8F06}"/>
                </a:ext>
              </a:extLst>
            </p:cNvPr>
            <p:cNvGrpSpPr/>
            <p:nvPr userDrawn="1"/>
          </p:nvGrpSpPr>
          <p:grpSpPr>
            <a:xfrm>
              <a:off x="16061023" y="9902075"/>
              <a:ext cx="1960657" cy="331601"/>
              <a:chOff x="11556938" y="7296986"/>
              <a:chExt cx="2013012" cy="340456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2820CC8B-9BA0-48C2-9074-AEFD6D8E3B96}"/>
                  </a:ext>
                </a:extLst>
              </p:cNvPr>
              <p:cNvGrpSpPr/>
              <p:nvPr/>
            </p:nvGrpSpPr>
            <p:grpSpPr>
              <a:xfrm>
                <a:off x="12114457" y="7296986"/>
                <a:ext cx="340456" cy="340456"/>
                <a:chOff x="12097470" y="7200012"/>
                <a:chExt cx="495300" cy="495300"/>
              </a:xfrm>
            </p:grpSpPr>
            <p:sp>
              <p:nvSpPr>
                <p:cNvPr id="25" name="Freeform 85">
                  <a:extLst>
                    <a:ext uri="{FF2B5EF4-FFF2-40B4-BE49-F238E27FC236}">
                      <a16:creationId xmlns:a16="http://schemas.microsoft.com/office/drawing/2014/main" id="{422AC970-D266-4AFF-B195-40400FC87DED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12232137" y="7356848"/>
                  <a:ext cx="225966" cy="181629"/>
                </a:xfrm>
                <a:custGeom>
                  <a:avLst/>
                  <a:gdLst>
                    <a:gd name="T0" fmla="*/ 250282 w 462"/>
                    <a:gd name="T1" fmla="*/ 24258 h 374"/>
                    <a:gd name="T2" fmla="*/ 250282 w 462"/>
                    <a:gd name="T3" fmla="*/ 24258 h 374"/>
                    <a:gd name="T4" fmla="*/ 221508 w 462"/>
                    <a:gd name="T5" fmla="*/ 33962 h 374"/>
                    <a:gd name="T6" fmla="*/ 240510 w 462"/>
                    <a:gd name="T7" fmla="*/ 5391 h 374"/>
                    <a:gd name="T8" fmla="*/ 211192 w 462"/>
                    <a:gd name="T9" fmla="*/ 19407 h 374"/>
                    <a:gd name="T10" fmla="*/ 173189 w 462"/>
                    <a:gd name="T11" fmla="*/ 0 h 374"/>
                    <a:gd name="T12" fmla="*/ 119983 w 462"/>
                    <a:gd name="T13" fmla="*/ 52829 h 374"/>
                    <a:gd name="T14" fmla="*/ 124870 w 462"/>
                    <a:gd name="T15" fmla="*/ 62532 h 374"/>
                    <a:gd name="T16" fmla="*/ 19002 w 462"/>
                    <a:gd name="T17" fmla="*/ 10242 h 374"/>
                    <a:gd name="T18" fmla="*/ 9229 w 462"/>
                    <a:gd name="T19" fmla="*/ 38813 h 374"/>
                    <a:gd name="T20" fmla="*/ 33118 w 462"/>
                    <a:gd name="T21" fmla="*/ 81400 h 374"/>
                    <a:gd name="T22" fmla="*/ 9229 w 462"/>
                    <a:gd name="T23" fmla="*/ 72236 h 374"/>
                    <a:gd name="T24" fmla="*/ 9229 w 462"/>
                    <a:gd name="T25" fmla="*/ 72236 h 374"/>
                    <a:gd name="T26" fmla="*/ 53205 w 462"/>
                    <a:gd name="T27" fmla="*/ 124526 h 374"/>
                    <a:gd name="T28" fmla="*/ 38004 w 462"/>
                    <a:gd name="T29" fmla="*/ 124526 h 374"/>
                    <a:gd name="T30" fmla="*/ 28774 w 462"/>
                    <a:gd name="T31" fmla="*/ 124526 h 374"/>
                    <a:gd name="T32" fmla="*/ 77093 w 462"/>
                    <a:gd name="T33" fmla="*/ 158487 h 374"/>
                    <a:gd name="T34" fmla="*/ 14116 w 462"/>
                    <a:gd name="T35" fmla="*/ 182206 h 374"/>
                    <a:gd name="T36" fmla="*/ 0 w 462"/>
                    <a:gd name="T37" fmla="*/ 182206 h 374"/>
                    <a:gd name="T38" fmla="*/ 77093 w 462"/>
                    <a:gd name="T39" fmla="*/ 201074 h 374"/>
                    <a:gd name="T40" fmla="*/ 221508 w 462"/>
                    <a:gd name="T41" fmla="*/ 57681 h 374"/>
                    <a:gd name="T42" fmla="*/ 221508 w 462"/>
                    <a:gd name="T43" fmla="*/ 52829 h 374"/>
                    <a:gd name="T44" fmla="*/ 250282 w 462"/>
                    <a:gd name="T45" fmla="*/ 24258 h 37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462" h="374">
                      <a:moveTo>
                        <a:pt x="461" y="45"/>
                      </a:moveTo>
                      <a:lnTo>
                        <a:pt x="461" y="45"/>
                      </a:lnTo>
                      <a:cubicBezTo>
                        <a:pt x="443" y="54"/>
                        <a:pt x="425" y="63"/>
                        <a:pt x="408" y="63"/>
                      </a:cubicBezTo>
                      <a:cubicBezTo>
                        <a:pt x="425" y="54"/>
                        <a:pt x="443" y="36"/>
                        <a:pt x="443" y="10"/>
                      </a:cubicBezTo>
                      <a:cubicBezTo>
                        <a:pt x="425" y="19"/>
                        <a:pt x="408" y="27"/>
                        <a:pt x="389" y="36"/>
                      </a:cubicBezTo>
                      <a:cubicBezTo>
                        <a:pt x="372" y="19"/>
                        <a:pt x="345" y="0"/>
                        <a:pt x="319" y="0"/>
                      </a:cubicBezTo>
                      <a:cubicBezTo>
                        <a:pt x="265" y="0"/>
                        <a:pt x="221" y="45"/>
                        <a:pt x="221" y="98"/>
                      </a:cubicBezTo>
                      <a:cubicBezTo>
                        <a:pt x="221" y="107"/>
                        <a:pt x="221" y="116"/>
                        <a:pt x="230" y="116"/>
                      </a:cubicBezTo>
                      <a:cubicBezTo>
                        <a:pt x="151" y="116"/>
                        <a:pt x="79" y="81"/>
                        <a:pt x="35" y="19"/>
                      </a:cubicBezTo>
                      <a:cubicBezTo>
                        <a:pt x="26" y="36"/>
                        <a:pt x="17" y="54"/>
                        <a:pt x="17" y="72"/>
                      </a:cubicBezTo>
                      <a:cubicBezTo>
                        <a:pt x="17" y="98"/>
                        <a:pt x="35" y="134"/>
                        <a:pt x="61" y="151"/>
                      </a:cubicBezTo>
                      <a:cubicBezTo>
                        <a:pt x="44" y="143"/>
                        <a:pt x="35" y="143"/>
                        <a:pt x="17" y="134"/>
                      </a:cubicBezTo>
                      <a:cubicBezTo>
                        <a:pt x="17" y="178"/>
                        <a:pt x="53" y="222"/>
                        <a:pt x="98" y="231"/>
                      </a:cubicBezTo>
                      <a:cubicBezTo>
                        <a:pt x="89" y="231"/>
                        <a:pt x="79" y="231"/>
                        <a:pt x="70" y="231"/>
                      </a:cubicBezTo>
                      <a:cubicBezTo>
                        <a:pt x="61" y="231"/>
                        <a:pt x="61" y="231"/>
                        <a:pt x="53" y="231"/>
                      </a:cubicBezTo>
                      <a:cubicBezTo>
                        <a:pt x="61" y="266"/>
                        <a:pt x="98" y="294"/>
                        <a:pt x="142" y="294"/>
                      </a:cubicBezTo>
                      <a:cubicBezTo>
                        <a:pt x="106" y="319"/>
                        <a:pt x="70" y="338"/>
                        <a:pt x="26" y="338"/>
                      </a:cubicBezTo>
                      <a:cubicBezTo>
                        <a:pt x="17" y="338"/>
                        <a:pt x="8" y="338"/>
                        <a:pt x="0" y="338"/>
                      </a:cubicBezTo>
                      <a:cubicBezTo>
                        <a:pt x="44" y="364"/>
                        <a:pt x="89" y="373"/>
                        <a:pt x="142" y="373"/>
                      </a:cubicBezTo>
                      <a:cubicBezTo>
                        <a:pt x="319" y="373"/>
                        <a:pt x="408" y="231"/>
                        <a:pt x="408" y="107"/>
                      </a:cubicBezTo>
                      <a:lnTo>
                        <a:pt x="408" y="98"/>
                      </a:lnTo>
                      <a:cubicBezTo>
                        <a:pt x="434" y="81"/>
                        <a:pt x="443" y="72"/>
                        <a:pt x="461" y="45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>
                    <a:solidFill>
                      <a:schemeClr val="bg1">
                        <a:lumMod val="85000"/>
                      </a:schemeClr>
                    </a:solidFill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7E7A8352-465B-4C65-9383-0F04067167C6}"/>
                    </a:ext>
                  </a:extLst>
                </p:cNvPr>
                <p:cNvSpPr/>
                <p:nvPr/>
              </p:nvSpPr>
              <p:spPr>
                <a:xfrm>
                  <a:off x="12097470" y="7200012"/>
                  <a:ext cx="495300" cy="49530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B7D97DA9-1972-4B07-998B-4246CD8CBDFA}"/>
                  </a:ext>
                </a:extLst>
              </p:cNvPr>
              <p:cNvGrpSpPr/>
              <p:nvPr/>
            </p:nvGrpSpPr>
            <p:grpSpPr>
              <a:xfrm>
                <a:off x="12671975" y="7296986"/>
                <a:ext cx="340456" cy="340456"/>
                <a:chOff x="12898290" y="7257882"/>
                <a:chExt cx="379560" cy="379560"/>
              </a:xfrm>
            </p:grpSpPr>
            <p:sp>
              <p:nvSpPr>
                <p:cNvPr id="23" name="Freeform 75">
                  <a:extLst>
                    <a:ext uri="{FF2B5EF4-FFF2-40B4-BE49-F238E27FC236}">
                      <a16:creationId xmlns:a16="http://schemas.microsoft.com/office/drawing/2014/main" id="{46DF1619-4A99-4FD4-8041-1961CC39EB8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13042040" y="7362177"/>
                  <a:ext cx="92061" cy="170970"/>
                </a:xfrm>
                <a:custGeom>
                  <a:avLst/>
                  <a:gdLst>
                    <a:gd name="T0" fmla="*/ 132814 w 249"/>
                    <a:gd name="T1" fmla="*/ 43735 h 453"/>
                    <a:gd name="T2" fmla="*/ 132814 w 249"/>
                    <a:gd name="T3" fmla="*/ 43735 h 453"/>
                    <a:gd name="T4" fmla="*/ 94791 w 249"/>
                    <a:gd name="T5" fmla="*/ 43735 h 453"/>
                    <a:gd name="T6" fmla="*/ 85687 w 249"/>
                    <a:gd name="T7" fmla="*/ 58496 h 453"/>
                    <a:gd name="T8" fmla="*/ 85687 w 249"/>
                    <a:gd name="T9" fmla="*/ 87470 h 453"/>
                    <a:gd name="T10" fmla="*/ 132814 w 249"/>
                    <a:gd name="T11" fmla="*/ 87470 h 453"/>
                    <a:gd name="T12" fmla="*/ 132814 w 249"/>
                    <a:gd name="T13" fmla="*/ 126285 h 453"/>
                    <a:gd name="T14" fmla="*/ 85687 w 249"/>
                    <a:gd name="T15" fmla="*/ 126285 h 453"/>
                    <a:gd name="T16" fmla="*/ 85687 w 249"/>
                    <a:gd name="T17" fmla="*/ 247103 h 453"/>
                    <a:gd name="T18" fmla="*/ 42308 w 249"/>
                    <a:gd name="T19" fmla="*/ 247103 h 453"/>
                    <a:gd name="T20" fmla="*/ 42308 w 249"/>
                    <a:gd name="T21" fmla="*/ 126285 h 453"/>
                    <a:gd name="T22" fmla="*/ 0 w 249"/>
                    <a:gd name="T23" fmla="*/ 126285 h 453"/>
                    <a:gd name="T24" fmla="*/ 0 w 249"/>
                    <a:gd name="T25" fmla="*/ 87470 h 453"/>
                    <a:gd name="T26" fmla="*/ 42308 w 249"/>
                    <a:gd name="T27" fmla="*/ 87470 h 453"/>
                    <a:gd name="T28" fmla="*/ 42308 w 249"/>
                    <a:gd name="T29" fmla="*/ 63416 h 453"/>
                    <a:gd name="T30" fmla="*/ 94791 w 249"/>
                    <a:gd name="T31" fmla="*/ 0 h 453"/>
                    <a:gd name="T32" fmla="*/ 132814 w 249"/>
                    <a:gd name="T33" fmla="*/ 0 h 453"/>
                    <a:gd name="T34" fmla="*/ 132814 w 249"/>
                    <a:gd name="T35" fmla="*/ 43735 h 45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49" h="453">
                      <a:moveTo>
                        <a:pt x="248" y="80"/>
                      </a:moveTo>
                      <a:lnTo>
                        <a:pt x="248" y="80"/>
                      </a:lnTo>
                      <a:cubicBezTo>
                        <a:pt x="177" y="80"/>
                        <a:pt x="177" y="80"/>
                        <a:pt x="177" y="80"/>
                      </a:cubicBezTo>
                      <a:cubicBezTo>
                        <a:pt x="169" y="80"/>
                        <a:pt x="160" y="89"/>
                        <a:pt x="160" y="107"/>
                      </a:cubicBezTo>
                      <a:cubicBezTo>
                        <a:pt x="160" y="160"/>
                        <a:pt x="160" y="160"/>
                        <a:pt x="160" y="160"/>
                      </a:cubicBezTo>
                      <a:cubicBezTo>
                        <a:pt x="248" y="160"/>
                        <a:pt x="248" y="160"/>
                        <a:pt x="248" y="160"/>
                      </a:cubicBezTo>
                      <a:cubicBezTo>
                        <a:pt x="248" y="231"/>
                        <a:pt x="248" y="231"/>
                        <a:pt x="248" y="231"/>
                      </a:cubicBezTo>
                      <a:cubicBezTo>
                        <a:pt x="160" y="231"/>
                        <a:pt x="160" y="231"/>
                        <a:pt x="160" y="231"/>
                      </a:cubicBezTo>
                      <a:cubicBezTo>
                        <a:pt x="160" y="452"/>
                        <a:pt x="160" y="452"/>
                        <a:pt x="160" y="452"/>
                      </a:cubicBezTo>
                      <a:cubicBezTo>
                        <a:pt x="79" y="452"/>
                        <a:pt x="79" y="452"/>
                        <a:pt x="79" y="452"/>
                      </a:cubicBezTo>
                      <a:cubicBezTo>
                        <a:pt x="79" y="231"/>
                        <a:pt x="79" y="231"/>
                        <a:pt x="79" y="231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160"/>
                        <a:pt x="0" y="160"/>
                        <a:pt x="0" y="160"/>
                      </a:cubicBezTo>
                      <a:cubicBezTo>
                        <a:pt x="79" y="160"/>
                        <a:pt x="79" y="160"/>
                        <a:pt x="79" y="160"/>
                      </a:cubicBezTo>
                      <a:cubicBezTo>
                        <a:pt x="79" y="116"/>
                        <a:pt x="79" y="116"/>
                        <a:pt x="79" y="116"/>
                      </a:cubicBezTo>
                      <a:cubicBezTo>
                        <a:pt x="79" y="54"/>
                        <a:pt x="115" y="0"/>
                        <a:pt x="177" y="0"/>
                      </a:cubicBezTo>
                      <a:cubicBezTo>
                        <a:pt x="248" y="0"/>
                        <a:pt x="248" y="0"/>
                        <a:pt x="248" y="0"/>
                      </a:cubicBezTo>
                      <a:lnTo>
                        <a:pt x="248" y="8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>
                    <a:solidFill>
                      <a:schemeClr val="bg1">
                        <a:lumMod val="85000"/>
                      </a:schemeClr>
                    </a:solidFill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77FB7974-DF5B-4344-8911-E5BDE3097932}"/>
                    </a:ext>
                  </a:extLst>
                </p:cNvPr>
                <p:cNvSpPr/>
                <p:nvPr/>
              </p:nvSpPr>
              <p:spPr>
                <a:xfrm>
                  <a:off x="12898290" y="7257882"/>
                  <a:ext cx="379560" cy="37956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DF0E8454-9F52-4425-A222-1545362E6798}"/>
                  </a:ext>
                </a:extLst>
              </p:cNvPr>
              <p:cNvGrpSpPr/>
              <p:nvPr/>
            </p:nvGrpSpPr>
            <p:grpSpPr>
              <a:xfrm>
                <a:off x="13229494" y="7296986"/>
                <a:ext cx="340456" cy="340456"/>
                <a:chOff x="13421600" y="7257882"/>
                <a:chExt cx="379560" cy="379560"/>
              </a:xfrm>
            </p:grpSpPr>
            <p:sp>
              <p:nvSpPr>
                <p:cNvPr id="21" name="Freeform 74">
                  <a:extLst>
                    <a:ext uri="{FF2B5EF4-FFF2-40B4-BE49-F238E27FC236}">
                      <a16:creationId xmlns:a16="http://schemas.microsoft.com/office/drawing/2014/main" id="{7853414D-BDD5-446B-ACE5-8DC4859DE9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16515" y="7354045"/>
                  <a:ext cx="189730" cy="187234"/>
                </a:xfrm>
                <a:custGeom>
                  <a:avLst/>
                  <a:gdLst>
                    <a:gd name="T0" fmla="*/ 14641 w 445"/>
                    <a:gd name="T1" fmla="*/ 58439 h 436"/>
                    <a:gd name="T2" fmla="*/ 14641 w 445"/>
                    <a:gd name="T3" fmla="*/ 58439 h 436"/>
                    <a:gd name="T4" fmla="*/ 33619 w 445"/>
                    <a:gd name="T5" fmla="*/ 101585 h 436"/>
                    <a:gd name="T6" fmla="*/ 62901 w 445"/>
                    <a:gd name="T7" fmla="*/ 111416 h 436"/>
                    <a:gd name="T8" fmla="*/ 67781 w 445"/>
                    <a:gd name="T9" fmla="*/ 111416 h 436"/>
                    <a:gd name="T10" fmla="*/ 72661 w 445"/>
                    <a:gd name="T11" fmla="*/ 135447 h 436"/>
                    <a:gd name="T12" fmla="*/ 72661 w 445"/>
                    <a:gd name="T13" fmla="*/ 135447 h 436"/>
                    <a:gd name="T14" fmla="*/ 0 w 445"/>
                    <a:gd name="T15" fmla="*/ 188425 h 436"/>
                    <a:gd name="T16" fmla="*/ 62901 w 445"/>
                    <a:gd name="T17" fmla="*/ 237579 h 436"/>
                    <a:gd name="T18" fmla="*/ 62901 w 445"/>
                    <a:gd name="T19" fmla="*/ 237579 h 436"/>
                    <a:gd name="T20" fmla="*/ 67781 w 445"/>
                    <a:gd name="T21" fmla="*/ 237579 h 436"/>
                    <a:gd name="T22" fmla="*/ 106280 w 445"/>
                    <a:gd name="T23" fmla="*/ 227748 h 436"/>
                    <a:gd name="T24" fmla="*/ 135020 w 445"/>
                    <a:gd name="T25" fmla="*/ 174771 h 436"/>
                    <a:gd name="T26" fmla="*/ 111161 w 445"/>
                    <a:gd name="T27" fmla="*/ 125616 h 436"/>
                    <a:gd name="T28" fmla="*/ 96520 w 445"/>
                    <a:gd name="T29" fmla="*/ 111416 h 436"/>
                    <a:gd name="T30" fmla="*/ 106280 w 445"/>
                    <a:gd name="T31" fmla="*/ 96670 h 436"/>
                    <a:gd name="T32" fmla="*/ 125259 w 445"/>
                    <a:gd name="T33" fmla="*/ 53524 h 436"/>
                    <a:gd name="T34" fmla="*/ 106280 w 445"/>
                    <a:gd name="T35" fmla="*/ 9831 h 436"/>
                    <a:gd name="T36" fmla="*/ 115499 w 445"/>
                    <a:gd name="T37" fmla="*/ 9831 h 436"/>
                    <a:gd name="T38" fmla="*/ 135020 w 445"/>
                    <a:gd name="T39" fmla="*/ 0 h 436"/>
                    <a:gd name="T40" fmla="*/ 135020 w 445"/>
                    <a:gd name="T41" fmla="*/ 0 h 436"/>
                    <a:gd name="T42" fmla="*/ 77541 w 445"/>
                    <a:gd name="T43" fmla="*/ 0 h 436"/>
                    <a:gd name="T44" fmla="*/ 14641 w 445"/>
                    <a:gd name="T45" fmla="*/ 58439 h 436"/>
                    <a:gd name="T46" fmla="*/ 111161 w 445"/>
                    <a:gd name="T47" fmla="*/ 179140 h 436"/>
                    <a:gd name="T48" fmla="*/ 111161 w 445"/>
                    <a:gd name="T49" fmla="*/ 179140 h 436"/>
                    <a:gd name="T50" fmla="*/ 72661 w 445"/>
                    <a:gd name="T51" fmla="*/ 213002 h 436"/>
                    <a:gd name="T52" fmla="*/ 29281 w 445"/>
                    <a:gd name="T53" fmla="*/ 188425 h 436"/>
                    <a:gd name="T54" fmla="*/ 38500 w 445"/>
                    <a:gd name="T55" fmla="*/ 159478 h 436"/>
                    <a:gd name="T56" fmla="*/ 67781 w 445"/>
                    <a:gd name="T57" fmla="*/ 150194 h 436"/>
                    <a:gd name="T58" fmla="*/ 72661 w 445"/>
                    <a:gd name="T59" fmla="*/ 150194 h 436"/>
                    <a:gd name="T60" fmla="*/ 111161 w 445"/>
                    <a:gd name="T61" fmla="*/ 179140 h 436"/>
                    <a:gd name="T62" fmla="*/ 96520 w 445"/>
                    <a:gd name="T63" fmla="*/ 43693 h 436"/>
                    <a:gd name="T64" fmla="*/ 96520 w 445"/>
                    <a:gd name="T65" fmla="*/ 43693 h 436"/>
                    <a:gd name="T66" fmla="*/ 77541 w 445"/>
                    <a:gd name="T67" fmla="*/ 92301 h 436"/>
                    <a:gd name="T68" fmla="*/ 72661 w 445"/>
                    <a:gd name="T69" fmla="*/ 92301 h 436"/>
                    <a:gd name="T70" fmla="*/ 43922 w 445"/>
                    <a:gd name="T71" fmla="*/ 63354 h 436"/>
                    <a:gd name="T72" fmla="*/ 43922 w 445"/>
                    <a:gd name="T73" fmla="*/ 33862 h 436"/>
                    <a:gd name="T74" fmla="*/ 58020 w 445"/>
                    <a:gd name="T75" fmla="*/ 14200 h 436"/>
                    <a:gd name="T76" fmla="*/ 62901 w 445"/>
                    <a:gd name="T77" fmla="*/ 14200 h 436"/>
                    <a:gd name="T78" fmla="*/ 96520 w 445"/>
                    <a:gd name="T79" fmla="*/ 43693 h 436"/>
                    <a:gd name="T80" fmla="*/ 202258 w 445"/>
                    <a:gd name="T81" fmla="*/ 92301 h 436"/>
                    <a:gd name="T82" fmla="*/ 202258 w 445"/>
                    <a:gd name="T83" fmla="*/ 92301 h 436"/>
                    <a:gd name="T84" fmla="*/ 202258 w 445"/>
                    <a:gd name="T85" fmla="*/ 53524 h 436"/>
                    <a:gd name="T86" fmla="*/ 172977 w 445"/>
                    <a:gd name="T87" fmla="*/ 53524 h 436"/>
                    <a:gd name="T88" fmla="*/ 172977 w 445"/>
                    <a:gd name="T89" fmla="*/ 92301 h 436"/>
                    <a:gd name="T90" fmla="*/ 135020 w 445"/>
                    <a:gd name="T91" fmla="*/ 92301 h 436"/>
                    <a:gd name="T92" fmla="*/ 135020 w 445"/>
                    <a:gd name="T93" fmla="*/ 116332 h 436"/>
                    <a:gd name="T94" fmla="*/ 172977 w 445"/>
                    <a:gd name="T95" fmla="*/ 116332 h 436"/>
                    <a:gd name="T96" fmla="*/ 172977 w 445"/>
                    <a:gd name="T97" fmla="*/ 159478 h 436"/>
                    <a:gd name="T98" fmla="*/ 202258 w 445"/>
                    <a:gd name="T99" fmla="*/ 159478 h 436"/>
                    <a:gd name="T100" fmla="*/ 202258 w 445"/>
                    <a:gd name="T101" fmla="*/ 116332 h 436"/>
                    <a:gd name="T102" fmla="*/ 240758 w 445"/>
                    <a:gd name="T103" fmla="*/ 116332 h 436"/>
                    <a:gd name="T104" fmla="*/ 240758 w 445"/>
                    <a:gd name="T105" fmla="*/ 92301 h 436"/>
                    <a:gd name="T106" fmla="*/ 202258 w 445"/>
                    <a:gd name="T107" fmla="*/ 92301 h 4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445" h="436">
                      <a:moveTo>
                        <a:pt x="27" y="107"/>
                      </a:moveTo>
                      <a:lnTo>
                        <a:pt x="27" y="107"/>
                      </a:lnTo>
                      <a:cubicBezTo>
                        <a:pt x="27" y="142"/>
                        <a:pt x="36" y="169"/>
                        <a:pt x="62" y="186"/>
                      </a:cubicBezTo>
                      <a:cubicBezTo>
                        <a:pt x="81" y="195"/>
                        <a:pt x="107" y="204"/>
                        <a:pt x="116" y="204"/>
                      </a:cubicBezTo>
                      <a:lnTo>
                        <a:pt x="125" y="204"/>
                      </a:lnTo>
                      <a:cubicBezTo>
                        <a:pt x="125" y="204"/>
                        <a:pt x="116" y="222"/>
                        <a:pt x="134" y="248"/>
                      </a:cubicBezTo>
                      <a:cubicBezTo>
                        <a:pt x="107" y="248"/>
                        <a:pt x="0" y="257"/>
                        <a:pt x="0" y="345"/>
                      </a:cubicBezTo>
                      <a:cubicBezTo>
                        <a:pt x="0" y="435"/>
                        <a:pt x="98" y="435"/>
                        <a:pt x="116" y="435"/>
                      </a:cubicBezTo>
                      <a:cubicBezTo>
                        <a:pt x="116" y="435"/>
                        <a:pt x="116" y="435"/>
                        <a:pt x="125" y="435"/>
                      </a:cubicBezTo>
                      <a:cubicBezTo>
                        <a:pt x="134" y="435"/>
                        <a:pt x="169" y="435"/>
                        <a:pt x="196" y="417"/>
                      </a:cubicBezTo>
                      <a:cubicBezTo>
                        <a:pt x="231" y="399"/>
                        <a:pt x="249" y="364"/>
                        <a:pt x="249" y="320"/>
                      </a:cubicBezTo>
                      <a:cubicBezTo>
                        <a:pt x="249" y="275"/>
                        <a:pt x="222" y="248"/>
                        <a:pt x="205" y="230"/>
                      </a:cubicBezTo>
                      <a:cubicBezTo>
                        <a:pt x="187" y="222"/>
                        <a:pt x="178" y="213"/>
                        <a:pt x="178" y="204"/>
                      </a:cubicBezTo>
                      <a:cubicBezTo>
                        <a:pt x="178" y="195"/>
                        <a:pt x="187" y="186"/>
                        <a:pt x="196" y="177"/>
                      </a:cubicBezTo>
                      <a:cubicBezTo>
                        <a:pt x="213" y="160"/>
                        <a:pt x="231" y="142"/>
                        <a:pt x="231" y="98"/>
                      </a:cubicBezTo>
                      <a:cubicBezTo>
                        <a:pt x="231" y="62"/>
                        <a:pt x="222" y="36"/>
                        <a:pt x="196" y="18"/>
                      </a:cubicBezTo>
                      <a:lnTo>
                        <a:pt x="213" y="18"/>
                      </a:lnTo>
                      <a:cubicBezTo>
                        <a:pt x="231" y="18"/>
                        <a:pt x="249" y="9"/>
                        <a:pt x="249" y="0"/>
                      </a:cubicBezTo>
                      <a:cubicBezTo>
                        <a:pt x="143" y="0"/>
                        <a:pt x="143" y="0"/>
                        <a:pt x="143" y="0"/>
                      </a:cubicBezTo>
                      <a:cubicBezTo>
                        <a:pt x="134" y="0"/>
                        <a:pt x="27" y="0"/>
                        <a:pt x="27" y="107"/>
                      </a:cubicBezTo>
                      <a:close/>
                      <a:moveTo>
                        <a:pt x="205" y="328"/>
                      </a:moveTo>
                      <a:lnTo>
                        <a:pt x="205" y="328"/>
                      </a:lnTo>
                      <a:cubicBezTo>
                        <a:pt x="213" y="364"/>
                        <a:pt x="178" y="390"/>
                        <a:pt x="134" y="390"/>
                      </a:cubicBezTo>
                      <a:cubicBezTo>
                        <a:pt x="90" y="399"/>
                        <a:pt x="54" y="381"/>
                        <a:pt x="54" y="345"/>
                      </a:cubicBezTo>
                      <a:cubicBezTo>
                        <a:pt x="45" y="328"/>
                        <a:pt x="54" y="310"/>
                        <a:pt x="71" y="292"/>
                      </a:cubicBezTo>
                      <a:cubicBezTo>
                        <a:pt x="90" y="283"/>
                        <a:pt x="107" y="275"/>
                        <a:pt x="125" y="275"/>
                      </a:cubicBezTo>
                      <a:cubicBezTo>
                        <a:pt x="134" y="275"/>
                        <a:pt x="134" y="275"/>
                        <a:pt x="134" y="275"/>
                      </a:cubicBezTo>
                      <a:cubicBezTo>
                        <a:pt x="178" y="275"/>
                        <a:pt x="205" y="301"/>
                        <a:pt x="205" y="328"/>
                      </a:cubicBezTo>
                      <a:close/>
                      <a:moveTo>
                        <a:pt x="178" y="80"/>
                      </a:moveTo>
                      <a:lnTo>
                        <a:pt x="178" y="80"/>
                      </a:lnTo>
                      <a:cubicBezTo>
                        <a:pt x="187" y="124"/>
                        <a:pt x="169" y="160"/>
                        <a:pt x="143" y="169"/>
                      </a:cubicBezTo>
                      <a:cubicBezTo>
                        <a:pt x="143" y="169"/>
                        <a:pt x="143" y="169"/>
                        <a:pt x="134" y="169"/>
                      </a:cubicBezTo>
                      <a:cubicBezTo>
                        <a:pt x="107" y="169"/>
                        <a:pt x="90" y="151"/>
                        <a:pt x="81" y="116"/>
                      </a:cubicBezTo>
                      <a:cubicBezTo>
                        <a:pt x="71" y="98"/>
                        <a:pt x="71" y="80"/>
                        <a:pt x="81" y="62"/>
                      </a:cubicBezTo>
                      <a:cubicBezTo>
                        <a:pt x="81" y="45"/>
                        <a:pt x="98" y="36"/>
                        <a:pt x="107" y="26"/>
                      </a:cubicBezTo>
                      <a:lnTo>
                        <a:pt x="116" y="26"/>
                      </a:lnTo>
                      <a:cubicBezTo>
                        <a:pt x="151" y="26"/>
                        <a:pt x="169" y="45"/>
                        <a:pt x="178" y="80"/>
                      </a:cubicBezTo>
                      <a:close/>
                      <a:moveTo>
                        <a:pt x="373" y="169"/>
                      </a:moveTo>
                      <a:lnTo>
                        <a:pt x="373" y="169"/>
                      </a:lnTo>
                      <a:cubicBezTo>
                        <a:pt x="373" y="98"/>
                        <a:pt x="373" y="98"/>
                        <a:pt x="373" y="98"/>
                      </a:cubicBezTo>
                      <a:cubicBezTo>
                        <a:pt x="319" y="98"/>
                        <a:pt x="319" y="98"/>
                        <a:pt x="319" y="98"/>
                      </a:cubicBezTo>
                      <a:cubicBezTo>
                        <a:pt x="319" y="169"/>
                        <a:pt x="319" y="169"/>
                        <a:pt x="319" y="169"/>
                      </a:cubicBezTo>
                      <a:cubicBezTo>
                        <a:pt x="249" y="169"/>
                        <a:pt x="249" y="169"/>
                        <a:pt x="249" y="169"/>
                      </a:cubicBezTo>
                      <a:cubicBezTo>
                        <a:pt x="249" y="213"/>
                        <a:pt x="249" y="213"/>
                        <a:pt x="249" y="213"/>
                      </a:cubicBezTo>
                      <a:cubicBezTo>
                        <a:pt x="319" y="213"/>
                        <a:pt x="319" y="213"/>
                        <a:pt x="319" y="213"/>
                      </a:cubicBezTo>
                      <a:cubicBezTo>
                        <a:pt x="319" y="292"/>
                        <a:pt x="319" y="292"/>
                        <a:pt x="319" y="292"/>
                      </a:cubicBezTo>
                      <a:cubicBezTo>
                        <a:pt x="373" y="292"/>
                        <a:pt x="373" y="292"/>
                        <a:pt x="373" y="292"/>
                      </a:cubicBezTo>
                      <a:cubicBezTo>
                        <a:pt x="373" y="213"/>
                        <a:pt x="373" y="213"/>
                        <a:pt x="373" y="213"/>
                      </a:cubicBezTo>
                      <a:cubicBezTo>
                        <a:pt x="444" y="213"/>
                        <a:pt x="444" y="213"/>
                        <a:pt x="444" y="213"/>
                      </a:cubicBezTo>
                      <a:cubicBezTo>
                        <a:pt x="444" y="169"/>
                        <a:pt x="444" y="169"/>
                        <a:pt x="444" y="169"/>
                      </a:cubicBezTo>
                      <a:lnTo>
                        <a:pt x="373" y="169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lIns="34290" tIns="17145" rIns="34290" bIns="17145" anchor="ctr"/>
                <a:lstStyle/>
                <a:p>
                  <a:endParaRPr lang="en-US" sz="6250" dirty="0"/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29DBF305-4B2C-4B66-9156-D2994EED408C}"/>
                    </a:ext>
                  </a:extLst>
                </p:cNvPr>
                <p:cNvSpPr/>
                <p:nvPr/>
              </p:nvSpPr>
              <p:spPr>
                <a:xfrm>
                  <a:off x="13421600" y="7257882"/>
                  <a:ext cx="379560" cy="37956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85000"/>
                      <a:alpha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0AF0854A-6927-4091-89DD-398C9A04DE72}"/>
                  </a:ext>
                </a:extLst>
              </p:cNvPr>
              <p:cNvGrpSpPr/>
              <p:nvPr/>
            </p:nvGrpSpPr>
            <p:grpSpPr>
              <a:xfrm>
                <a:off x="11556938" y="7296986"/>
                <a:ext cx="340456" cy="340456"/>
                <a:chOff x="11556938" y="7296986"/>
                <a:chExt cx="340456" cy="340456"/>
              </a:xfrm>
              <a:effectLst>
                <a:outerShdw blurRad="266700" dist="177800" dir="5400000" sx="70000" sy="70000" algn="t" rotWithShape="0">
                  <a:schemeClr val="bg1">
                    <a:lumMod val="50000"/>
                    <a:alpha val="40000"/>
                  </a:schemeClr>
                </a:outerShdw>
              </a:effectLst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8B7BA46-196D-4A01-ABA7-831B45DAECB5}"/>
                    </a:ext>
                  </a:extLst>
                </p:cNvPr>
                <p:cNvSpPr/>
                <p:nvPr/>
              </p:nvSpPr>
              <p:spPr>
                <a:xfrm>
                  <a:off x="11556938" y="7296986"/>
                  <a:ext cx="340456" cy="340456"/>
                </a:xfrm>
                <a:prstGeom prst="ellipse">
                  <a:avLst/>
                </a:prstGeom>
                <a:gradFill>
                  <a:gsLst>
                    <a:gs pos="100000">
                      <a:srgbClr val="FFC53F"/>
                    </a:gs>
                    <a:gs pos="0">
                      <a:srgbClr val="4658AC"/>
                    </a:gs>
                  </a:gsLst>
                  <a:lin ang="66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6250"/>
                </a:p>
              </p:txBody>
            </p:sp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948FBA46-A1DC-4CC1-AF8D-0A07E24756FE}"/>
                    </a:ext>
                  </a:extLst>
                </p:cNvPr>
                <p:cNvGrpSpPr/>
                <p:nvPr/>
              </p:nvGrpSpPr>
              <p:grpSpPr>
                <a:xfrm>
                  <a:off x="11643056" y="7383242"/>
                  <a:ext cx="168220" cy="167945"/>
                  <a:chOff x="910648" y="5598469"/>
                  <a:chExt cx="730034" cy="728842"/>
                </a:xfrm>
                <a:solidFill>
                  <a:schemeClr val="bg1"/>
                </a:solidFill>
              </p:grpSpPr>
              <p:grpSp>
                <p:nvGrpSpPr>
                  <p:cNvPr id="17" name="Group 16">
                    <a:extLst>
                      <a:ext uri="{FF2B5EF4-FFF2-40B4-BE49-F238E27FC236}">
                        <a16:creationId xmlns:a16="http://schemas.microsoft.com/office/drawing/2014/main" id="{46490627-E111-4FC9-913B-290E8126C74F}"/>
                      </a:ext>
                    </a:extLst>
                  </p:cNvPr>
                  <p:cNvGrpSpPr/>
                  <p:nvPr/>
                </p:nvGrpSpPr>
                <p:grpSpPr>
                  <a:xfrm>
                    <a:off x="910648" y="5598469"/>
                    <a:ext cx="730034" cy="728842"/>
                    <a:chOff x="2110189" y="863994"/>
                    <a:chExt cx="724256" cy="723073"/>
                  </a:xfrm>
                  <a:grpFill/>
                </p:grpSpPr>
                <p:sp>
                  <p:nvSpPr>
                    <p:cNvPr id="19" name="Freeform 5">
                      <a:extLst>
                        <a:ext uri="{FF2B5EF4-FFF2-40B4-BE49-F238E27FC236}">
                          <a16:creationId xmlns:a16="http://schemas.microsoft.com/office/drawing/2014/main" id="{F1DBDB41-DF9A-4671-830E-DD915FA91FD5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10189" y="863994"/>
                      <a:ext cx="724256" cy="723073"/>
                    </a:xfrm>
                    <a:custGeom>
                      <a:avLst/>
                      <a:gdLst>
                        <a:gd name="T0" fmla="*/ 1263 w 4293"/>
                        <a:gd name="T1" fmla="*/ 4274 h 4286"/>
                        <a:gd name="T2" fmla="*/ 919 w 4293"/>
                        <a:gd name="T3" fmla="*/ 4230 h 4286"/>
                        <a:gd name="T4" fmla="*/ 634 w 4293"/>
                        <a:gd name="T5" fmla="*/ 4126 h 4286"/>
                        <a:gd name="T6" fmla="*/ 360 w 4293"/>
                        <a:gd name="T7" fmla="*/ 3926 h 4286"/>
                        <a:gd name="T8" fmla="*/ 188 w 4293"/>
                        <a:gd name="T9" fmla="*/ 3702 h 4286"/>
                        <a:gd name="T10" fmla="*/ 74 w 4293"/>
                        <a:gd name="T11" fmla="*/ 3430 h 4286"/>
                        <a:gd name="T12" fmla="*/ 14 w 4293"/>
                        <a:gd name="T13" fmla="*/ 3027 h 4286"/>
                        <a:gd name="T14" fmla="*/ 0 w 4293"/>
                        <a:gd name="T15" fmla="*/ 2143 h 4286"/>
                        <a:gd name="T16" fmla="*/ 18 w 4293"/>
                        <a:gd name="T17" fmla="*/ 1183 h 4286"/>
                        <a:gd name="T18" fmla="*/ 92 w 4293"/>
                        <a:gd name="T19" fmla="*/ 796 h 4286"/>
                        <a:gd name="T20" fmla="*/ 216 w 4293"/>
                        <a:gd name="T21" fmla="*/ 536 h 4286"/>
                        <a:gd name="T22" fmla="*/ 404 w 4293"/>
                        <a:gd name="T23" fmla="*/ 318 h 4286"/>
                        <a:gd name="T24" fmla="*/ 686 w 4293"/>
                        <a:gd name="T25" fmla="*/ 134 h 4286"/>
                        <a:gd name="T26" fmla="*/ 981 w 4293"/>
                        <a:gd name="T27" fmla="*/ 44 h 4286"/>
                        <a:gd name="T28" fmla="*/ 1415 w 4293"/>
                        <a:gd name="T29" fmla="*/ 6 h 4286"/>
                        <a:gd name="T30" fmla="*/ 2722 w 4293"/>
                        <a:gd name="T31" fmla="*/ 2 h 4286"/>
                        <a:gd name="T32" fmla="*/ 3248 w 4293"/>
                        <a:gd name="T33" fmla="*/ 32 h 4286"/>
                        <a:gd name="T34" fmla="*/ 3552 w 4293"/>
                        <a:gd name="T35" fmla="*/ 112 h 4286"/>
                        <a:gd name="T36" fmla="*/ 3847 w 4293"/>
                        <a:gd name="T37" fmla="*/ 280 h 4286"/>
                        <a:gd name="T38" fmla="*/ 4045 w 4293"/>
                        <a:gd name="T39" fmla="*/ 490 h 4286"/>
                        <a:gd name="T40" fmla="*/ 4181 w 4293"/>
                        <a:gd name="T41" fmla="*/ 740 h 4286"/>
                        <a:gd name="T42" fmla="*/ 4269 w 4293"/>
                        <a:gd name="T43" fmla="*/ 1111 h 4286"/>
                        <a:gd name="T44" fmla="*/ 4293 w 4293"/>
                        <a:gd name="T45" fmla="*/ 1793 h 4286"/>
                        <a:gd name="T46" fmla="*/ 4281 w 4293"/>
                        <a:gd name="T47" fmla="*/ 3027 h 4286"/>
                        <a:gd name="T48" fmla="*/ 4237 w 4293"/>
                        <a:gd name="T49" fmla="*/ 3370 h 4286"/>
                        <a:gd name="T50" fmla="*/ 4133 w 4293"/>
                        <a:gd name="T51" fmla="*/ 3654 h 4286"/>
                        <a:gd name="T52" fmla="*/ 3933 w 4293"/>
                        <a:gd name="T53" fmla="*/ 3926 h 4286"/>
                        <a:gd name="T54" fmla="*/ 3709 w 4293"/>
                        <a:gd name="T55" fmla="*/ 4100 h 4286"/>
                        <a:gd name="T56" fmla="*/ 3436 w 4293"/>
                        <a:gd name="T57" fmla="*/ 4214 h 4286"/>
                        <a:gd name="T58" fmla="*/ 3032 w 4293"/>
                        <a:gd name="T59" fmla="*/ 4274 h 4286"/>
                        <a:gd name="T60" fmla="*/ 2148 w 4293"/>
                        <a:gd name="T61" fmla="*/ 4286 h 4286"/>
                        <a:gd name="T62" fmla="*/ 1281 w 4293"/>
                        <a:gd name="T63" fmla="*/ 400 h 4286"/>
                        <a:gd name="T64" fmla="*/ 987 w 4293"/>
                        <a:gd name="T65" fmla="*/ 440 h 4286"/>
                        <a:gd name="T66" fmla="*/ 813 w 4293"/>
                        <a:gd name="T67" fmla="*/ 504 h 4286"/>
                        <a:gd name="T68" fmla="*/ 634 w 4293"/>
                        <a:gd name="T69" fmla="*/ 634 h 4286"/>
                        <a:gd name="T70" fmla="*/ 522 w 4293"/>
                        <a:gd name="T71" fmla="*/ 778 h 4286"/>
                        <a:gd name="T72" fmla="*/ 452 w 4293"/>
                        <a:gd name="T73" fmla="*/ 944 h 4286"/>
                        <a:gd name="T74" fmla="*/ 400 w 4293"/>
                        <a:gd name="T75" fmla="*/ 1277 h 4286"/>
                        <a:gd name="T76" fmla="*/ 388 w 4293"/>
                        <a:gd name="T77" fmla="*/ 2143 h 4286"/>
                        <a:gd name="T78" fmla="*/ 406 w 4293"/>
                        <a:gd name="T79" fmla="*/ 3083 h 4286"/>
                        <a:gd name="T80" fmla="*/ 464 w 4293"/>
                        <a:gd name="T81" fmla="*/ 3376 h 4286"/>
                        <a:gd name="T82" fmla="*/ 542 w 4293"/>
                        <a:gd name="T83" fmla="*/ 3538 h 4286"/>
                        <a:gd name="T84" fmla="*/ 662 w 4293"/>
                        <a:gd name="T85" fmla="*/ 3680 h 4286"/>
                        <a:gd name="T86" fmla="*/ 847 w 4293"/>
                        <a:gd name="T87" fmla="*/ 3798 h 4286"/>
                        <a:gd name="T88" fmla="*/ 1031 w 4293"/>
                        <a:gd name="T89" fmla="*/ 3858 h 4286"/>
                        <a:gd name="T90" fmla="*/ 1431 w 4293"/>
                        <a:gd name="T91" fmla="*/ 3892 h 4286"/>
                        <a:gd name="T92" fmla="*/ 2712 w 4293"/>
                        <a:gd name="T93" fmla="*/ 3896 h 4286"/>
                        <a:gd name="T94" fmla="*/ 3212 w 4293"/>
                        <a:gd name="T95" fmla="*/ 3866 h 4286"/>
                        <a:gd name="T96" fmla="*/ 3412 w 4293"/>
                        <a:gd name="T97" fmla="*/ 3812 h 4286"/>
                        <a:gd name="T98" fmla="*/ 3603 w 4293"/>
                        <a:gd name="T99" fmla="*/ 3704 h 4286"/>
                        <a:gd name="T100" fmla="*/ 3733 w 4293"/>
                        <a:gd name="T101" fmla="*/ 3568 h 4286"/>
                        <a:gd name="T102" fmla="*/ 3819 w 4293"/>
                        <a:gd name="T103" fmla="*/ 3406 h 4286"/>
                        <a:gd name="T104" fmla="*/ 3881 w 4293"/>
                        <a:gd name="T105" fmla="*/ 3149 h 4286"/>
                        <a:gd name="T106" fmla="*/ 3905 w 4293"/>
                        <a:gd name="T107" fmla="*/ 2487 h 4286"/>
                        <a:gd name="T108" fmla="*/ 3893 w 4293"/>
                        <a:gd name="T109" fmla="*/ 1277 h 4286"/>
                        <a:gd name="T110" fmla="*/ 3853 w 4293"/>
                        <a:gd name="T111" fmla="*/ 984 h 4286"/>
                        <a:gd name="T112" fmla="*/ 3789 w 4293"/>
                        <a:gd name="T113" fmla="*/ 810 h 4286"/>
                        <a:gd name="T114" fmla="*/ 3659 w 4293"/>
                        <a:gd name="T115" fmla="*/ 634 h 4286"/>
                        <a:gd name="T116" fmla="*/ 3514 w 4293"/>
                        <a:gd name="T117" fmla="*/ 520 h 4286"/>
                        <a:gd name="T118" fmla="*/ 3348 w 4293"/>
                        <a:gd name="T119" fmla="*/ 450 h 4286"/>
                        <a:gd name="T120" fmla="*/ 3014 w 4293"/>
                        <a:gd name="T121" fmla="*/ 400 h 4286"/>
                        <a:gd name="T122" fmla="*/ 2148 w 4293"/>
                        <a:gd name="T123" fmla="*/ 386 h 4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4293" h="4286">
                          <a:moveTo>
                            <a:pt x="2148" y="4286"/>
                          </a:moveTo>
                          <a:lnTo>
                            <a:pt x="2148" y="4286"/>
                          </a:lnTo>
                          <a:lnTo>
                            <a:pt x="1797" y="4286"/>
                          </a:lnTo>
                          <a:lnTo>
                            <a:pt x="1573" y="4284"/>
                          </a:lnTo>
                          <a:lnTo>
                            <a:pt x="1415" y="4280"/>
                          </a:lnTo>
                          <a:lnTo>
                            <a:pt x="1263" y="4274"/>
                          </a:lnTo>
                          <a:lnTo>
                            <a:pt x="1263" y="4274"/>
                          </a:lnTo>
                          <a:lnTo>
                            <a:pt x="1187" y="4270"/>
                          </a:lnTo>
                          <a:lnTo>
                            <a:pt x="1115" y="4262"/>
                          </a:lnTo>
                          <a:lnTo>
                            <a:pt x="1047" y="4254"/>
                          </a:lnTo>
                          <a:lnTo>
                            <a:pt x="981" y="4242"/>
                          </a:lnTo>
                          <a:lnTo>
                            <a:pt x="919" y="4230"/>
                          </a:lnTo>
                          <a:lnTo>
                            <a:pt x="859" y="4214"/>
                          </a:lnTo>
                          <a:lnTo>
                            <a:pt x="799" y="4196"/>
                          </a:lnTo>
                          <a:lnTo>
                            <a:pt x="741" y="4174"/>
                          </a:lnTo>
                          <a:lnTo>
                            <a:pt x="741" y="4174"/>
                          </a:lnTo>
                          <a:lnTo>
                            <a:pt x="686" y="4152"/>
                          </a:lnTo>
                          <a:lnTo>
                            <a:pt x="634" y="4126"/>
                          </a:lnTo>
                          <a:lnTo>
                            <a:pt x="584" y="4100"/>
                          </a:lnTo>
                          <a:lnTo>
                            <a:pt x="536" y="4070"/>
                          </a:lnTo>
                          <a:lnTo>
                            <a:pt x="492" y="4040"/>
                          </a:lnTo>
                          <a:lnTo>
                            <a:pt x="446" y="4004"/>
                          </a:lnTo>
                          <a:lnTo>
                            <a:pt x="404" y="3968"/>
                          </a:lnTo>
                          <a:lnTo>
                            <a:pt x="360" y="3926"/>
                          </a:lnTo>
                          <a:lnTo>
                            <a:pt x="360" y="3926"/>
                          </a:lnTo>
                          <a:lnTo>
                            <a:pt x="320" y="3884"/>
                          </a:lnTo>
                          <a:lnTo>
                            <a:pt x="282" y="3840"/>
                          </a:lnTo>
                          <a:lnTo>
                            <a:pt x="248" y="3796"/>
                          </a:lnTo>
                          <a:lnTo>
                            <a:pt x="216" y="3750"/>
                          </a:lnTo>
                          <a:lnTo>
                            <a:pt x="188" y="3702"/>
                          </a:lnTo>
                          <a:lnTo>
                            <a:pt x="160" y="3654"/>
                          </a:lnTo>
                          <a:lnTo>
                            <a:pt x="136" y="3602"/>
                          </a:lnTo>
                          <a:lnTo>
                            <a:pt x="114" y="3546"/>
                          </a:lnTo>
                          <a:lnTo>
                            <a:pt x="114" y="3546"/>
                          </a:lnTo>
                          <a:lnTo>
                            <a:pt x="92" y="3488"/>
                          </a:lnTo>
                          <a:lnTo>
                            <a:pt x="74" y="3430"/>
                          </a:lnTo>
                          <a:lnTo>
                            <a:pt x="58" y="3370"/>
                          </a:lnTo>
                          <a:lnTo>
                            <a:pt x="44" y="3306"/>
                          </a:lnTo>
                          <a:lnTo>
                            <a:pt x="34" y="3242"/>
                          </a:lnTo>
                          <a:lnTo>
                            <a:pt x="24" y="3175"/>
                          </a:lnTo>
                          <a:lnTo>
                            <a:pt x="18" y="3103"/>
                          </a:lnTo>
                          <a:lnTo>
                            <a:pt x="14" y="3027"/>
                          </a:lnTo>
                          <a:lnTo>
                            <a:pt x="14" y="3027"/>
                          </a:lnTo>
                          <a:lnTo>
                            <a:pt x="8" y="2873"/>
                          </a:lnTo>
                          <a:lnTo>
                            <a:pt x="4" y="2717"/>
                          </a:lnTo>
                          <a:lnTo>
                            <a:pt x="2" y="2493"/>
                          </a:lnTo>
                          <a:lnTo>
                            <a:pt x="0" y="2143"/>
                          </a:lnTo>
                          <a:lnTo>
                            <a:pt x="0" y="2143"/>
                          </a:lnTo>
                          <a:lnTo>
                            <a:pt x="2" y="1793"/>
                          </a:lnTo>
                          <a:lnTo>
                            <a:pt x="4" y="1569"/>
                          </a:lnTo>
                          <a:lnTo>
                            <a:pt x="8" y="1411"/>
                          </a:lnTo>
                          <a:lnTo>
                            <a:pt x="14" y="1259"/>
                          </a:lnTo>
                          <a:lnTo>
                            <a:pt x="14" y="1259"/>
                          </a:lnTo>
                          <a:lnTo>
                            <a:pt x="18" y="1183"/>
                          </a:lnTo>
                          <a:lnTo>
                            <a:pt x="24" y="1111"/>
                          </a:lnTo>
                          <a:lnTo>
                            <a:pt x="34" y="1044"/>
                          </a:lnTo>
                          <a:lnTo>
                            <a:pt x="44" y="980"/>
                          </a:lnTo>
                          <a:lnTo>
                            <a:pt x="58" y="916"/>
                          </a:lnTo>
                          <a:lnTo>
                            <a:pt x="74" y="856"/>
                          </a:lnTo>
                          <a:lnTo>
                            <a:pt x="92" y="796"/>
                          </a:lnTo>
                          <a:lnTo>
                            <a:pt x="114" y="740"/>
                          </a:lnTo>
                          <a:lnTo>
                            <a:pt x="114" y="740"/>
                          </a:lnTo>
                          <a:lnTo>
                            <a:pt x="136" y="684"/>
                          </a:lnTo>
                          <a:lnTo>
                            <a:pt x="160" y="632"/>
                          </a:lnTo>
                          <a:lnTo>
                            <a:pt x="188" y="582"/>
                          </a:lnTo>
                          <a:lnTo>
                            <a:pt x="216" y="536"/>
                          </a:lnTo>
                          <a:lnTo>
                            <a:pt x="248" y="490"/>
                          </a:lnTo>
                          <a:lnTo>
                            <a:pt x="282" y="444"/>
                          </a:lnTo>
                          <a:lnTo>
                            <a:pt x="320" y="402"/>
                          </a:lnTo>
                          <a:lnTo>
                            <a:pt x="360" y="360"/>
                          </a:lnTo>
                          <a:lnTo>
                            <a:pt x="360" y="360"/>
                          </a:lnTo>
                          <a:lnTo>
                            <a:pt x="404" y="318"/>
                          </a:lnTo>
                          <a:lnTo>
                            <a:pt x="446" y="280"/>
                          </a:lnTo>
                          <a:lnTo>
                            <a:pt x="492" y="246"/>
                          </a:lnTo>
                          <a:lnTo>
                            <a:pt x="536" y="214"/>
                          </a:lnTo>
                          <a:lnTo>
                            <a:pt x="584" y="186"/>
                          </a:lnTo>
                          <a:lnTo>
                            <a:pt x="634" y="158"/>
                          </a:lnTo>
                          <a:lnTo>
                            <a:pt x="686" y="134"/>
                          </a:lnTo>
                          <a:lnTo>
                            <a:pt x="741" y="112"/>
                          </a:lnTo>
                          <a:lnTo>
                            <a:pt x="741" y="112"/>
                          </a:lnTo>
                          <a:lnTo>
                            <a:pt x="799" y="90"/>
                          </a:lnTo>
                          <a:lnTo>
                            <a:pt x="859" y="72"/>
                          </a:lnTo>
                          <a:lnTo>
                            <a:pt x="919" y="56"/>
                          </a:lnTo>
                          <a:lnTo>
                            <a:pt x="981" y="44"/>
                          </a:lnTo>
                          <a:lnTo>
                            <a:pt x="1047" y="32"/>
                          </a:lnTo>
                          <a:lnTo>
                            <a:pt x="1115" y="24"/>
                          </a:lnTo>
                          <a:lnTo>
                            <a:pt x="1187" y="16"/>
                          </a:lnTo>
                          <a:lnTo>
                            <a:pt x="1263" y="12"/>
                          </a:lnTo>
                          <a:lnTo>
                            <a:pt x="1263" y="12"/>
                          </a:lnTo>
                          <a:lnTo>
                            <a:pt x="1415" y="6"/>
                          </a:lnTo>
                          <a:lnTo>
                            <a:pt x="1573" y="2"/>
                          </a:lnTo>
                          <a:lnTo>
                            <a:pt x="1795" y="0"/>
                          </a:lnTo>
                          <a:lnTo>
                            <a:pt x="2148" y="0"/>
                          </a:lnTo>
                          <a:lnTo>
                            <a:pt x="2148" y="0"/>
                          </a:lnTo>
                          <a:lnTo>
                            <a:pt x="2498" y="0"/>
                          </a:lnTo>
                          <a:lnTo>
                            <a:pt x="2722" y="2"/>
                          </a:lnTo>
                          <a:lnTo>
                            <a:pt x="2878" y="6"/>
                          </a:lnTo>
                          <a:lnTo>
                            <a:pt x="3032" y="12"/>
                          </a:lnTo>
                          <a:lnTo>
                            <a:pt x="3032" y="12"/>
                          </a:lnTo>
                          <a:lnTo>
                            <a:pt x="3108" y="16"/>
                          </a:lnTo>
                          <a:lnTo>
                            <a:pt x="3178" y="24"/>
                          </a:lnTo>
                          <a:lnTo>
                            <a:pt x="3248" y="32"/>
                          </a:lnTo>
                          <a:lnTo>
                            <a:pt x="3312" y="44"/>
                          </a:lnTo>
                          <a:lnTo>
                            <a:pt x="3374" y="56"/>
                          </a:lnTo>
                          <a:lnTo>
                            <a:pt x="3436" y="72"/>
                          </a:lnTo>
                          <a:lnTo>
                            <a:pt x="3494" y="90"/>
                          </a:lnTo>
                          <a:lnTo>
                            <a:pt x="3552" y="112"/>
                          </a:lnTo>
                          <a:lnTo>
                            <a:pt x="3552" y="112"/>
                          </a:lnTo>
                          <a:lnTo>
                            <a:pt x="3609" y="134"/>
                          </a:lnTo>
                          <a:lnTo>
                            <a:pt x="3661" y="158"/>
                          </a:lnTo>
                          <a:lnTo>
                            <a:pt x="3709" y="186"/>
                          </a:lnTo>
                          <a:lnTo>
                            <a:pt x="3757" y="214"/>
                          </a:lnTo>
                          <a:lnTo>
                            <a:pt x="3803" y="246"/>
                          </a:lnTo>
                          <a:lnTo>
                            <a:pt x="3847" y="280"/>
                          </a:lnTo>
                          <a:lnTo>
                            <a:pt x="3891" y="318"/>
                          </a:lnTo>
                          <a:lnTo>
                            <a:pt x="3933" y="360"/>
                          </a:lnTo>
                          <a:lnTo>
                            <a:pt x="3933" y="360"/>
                          </a:lnTo>
                          <a:lnTo>
                            <a:pt x="3973" y="402"/>
                          </a:lnTo>
                          <a:lnTo>
                            <a:pt x="4011" y="444"/>
                          </a:lnTo>
                          <a:lnTo>
                            <a:pt x="4045" y="490"/>
                          </a:lnTo>
                          <a:lnTo>
                            <a:pt x="4077" y="536"/>
                          </a:lnTo>
                          <a:lnTo>
                            <a:pt x="4107" y="582"/>
                          </a:lnTo>
                          <a:lnTo>
                            <a:pt x="4133" y="632"/>
                          </a:lnTo>
                          <a:lnTo>
                            <a:pt x="4159" y="684"/>
                          </a:lnTo>
                          <a:lnTo>
                            <a:pt x="4181" y="740"/>
                          </a:lnTo>
                          <a:lnTo>
                            <a:pt x="4181" y="740"/>
                          </a:lnTo>
                          <a:lnTo>
                            <a:pt x="4201" y="796"/>
                          </a:lnTo>
                          <a:lnTo>
                            <a:pt x="4221" y="856"/>
                          </a:lnTo>
                          <a:lnTo>
                            <a:pt x="4237" y="916"/>
                          </a:lnTo>
                          <a:lnTo>
                            <a:pt x="4249" y="980"/>
                          </a:lnTo>
                          <a:lnTo>
                            <a:pt x="4261" y="1044"/>
                          </a:lnTo>
                          <a:lnTo>
                            <a:pt x="4269" y="1111"/>
                          </a:lnTo>
                          <a:lnTo>
                            <a:pt x="4275" y="1183"/>
                          </a:lnTo>
                          <a:lnTo>
                            <a:pt x="4281" y="1259"/>
                          </a:lnTo>
                          <a:lnTo>
                            <a:pt x="4281" y="1259"/>
                          </a:lnTo>
                          <a:lnTo>
                            <a:pt x="4287" y="1411"/>
                          </a:lnTo>
                          <a:lnTo>
                            <a:pt x="4291" y="1569"/>
                          </a:lnTo>
                          <a:lnTo>
                            <a:pt x="4293" y="1793"/>
                          </a:lnTo>
                          <a:lnTo>
                            <a:pt x="4293" y="2143"/>
                          </a:lnTo>
                          <a:lnTo>
                            <a:pt x="4293" y="2143"/>
                          </a:lnTo>
                          <a:lnTo>
                            <a:pt x="4293" y="2493"/>
                          </a:lnTo>
                          <a:lnTo>
                            <a:pt x="4291" y="2717"/>
                          </a:lnTo>
                          <a:lnTo>
                            <a:pt x="4287" y="2873"/>
                          </a:lnTo>
                          <a:lnTo>
                            <a:pt x="4281" y="3027"/>
                          </a:lnTo>
                          <a:lnTo>
                            <a:pt x="4281" y="3027"/>
                          </a:lnTo>
                          <a:lnTo>
                            <a:pt x="4275" y="3103"/>
                          </a:lnTo>
                          <a:lnTo>
                            <a:pt x="4269" y="3175"/>
                          </a:lnTo>
                          <a:lnTo>
                            <a:pt x="4261" y="3242"/>
                          </a:lnTo>
                          <a:lnTo>
                            <a:pt x="4249" y="3306"/>
                          </a:lnTo>
                          <a:lnTo>
                            <a:pt x="4237" y="3370"/>
                          </a:lnTo>
                          <a:lnTo>
                            <a:pt x="4221" y="3430"/>
                          </a:lnTo>
                          <a:lnTo>
                            <a:pt x="4201" y="3488"/>
                          </a:lnTo>
                          <a:lnTo>
                            <a:pt x="4181" y="3546"/>
                          </a:lnTo>
                          <a:lnTo>
                            <a:pt x="4181" y="3546"/>
                          </a:lnTo>
                          <a:lnTo>
                            <a:pt x="4159" y="3602"/>
                          </a:lnTo>
                          <a:lnTo>
                            <a:pt x="4133" y="3654"/>
                          </a:lnTo>
                          <a:lnTo>
                            <a:pt x="4107" y="3702"/>
                          </a:lnTo>
                          <a:lnTo>
                            <a:pt x="4077" y="3750"/>
                          </a:lnTo>
                          <a:lnTo>
                            <a:pt x="4045" y="3796"/>
                          </a:lnTo>
                          <a:lnTo>
                            <a:pt x="4011" y="3840"/>
                          </a:lnTo>
                          <a:lnTo>
                            <a:pt x="3975" y="3884"/>
                          </a:lnTo>
                          <a:lnTo>
                            <a:pt x="3933" y="3926"/>
                          </a:lnTo>
                          <a:lnTo>
                            <a:pt x="3933" y="3926"/>
                          </a:lnTo>
                          <a:lnTo>
                            <a:pt x="3891" y="3968"/>
                          </a:lnTo>
                          <a:lnTo>
                            <a:pt x="3847" y="4004"/>
                          </a:lnTo>
                          <a:lnTo>
                            <a:pt x="3803" y="4040"/>
                          </a:lnTo>
                          <a:lnTo>
                            <a:pt x="3757" y="4070"/>
                          </a:lnTo>
                          <a:lnTo>
                            <a:pt x="3709" y="4100"/>
                          </a:lnTo>
                          <a:lnTo>
                            <a:pt x="3661" y="4126"/>
                          </a:lnTo>
                          <a:lnTo>
                            <a:pt x="3609" y="4152"/>
                          </a:lnTo>
                          <a:lnTo>
                            <a:pt x="3552" y="4174"/>
                          </a:lnTo>
                          <a:lnTo>
                            <a:pt x="3552" y="4174"/>
                          </a:lnTo>
                          <a:lnTo>
                            <a:pt x="3494" y="4196"/>
                          </a:lnTo>
                          <a:lnTo>
                            <a:pt x="3436" y="4214"/>
                          </a:lnTo>
                          <a:lnTo>
                            <a:pt x="3374" y="4230"/>
                          </a:lnTo>
                          <a:lnTo>
                            <a:pt x="3312" y="4242"/>
                          </a:lnTo>
                          <a:lnTo>
                            <a:pt x="3248" y="4254"/>
                          </a:lnTo>
                          <a:lnTo>
                            <a:pt x="3178" y="4262"/>
                          </a:lnTo>
                          <a:lnTo>
                            <a:pt x="3108" y="4270"/>
                          </a:lnTo>
                          <a:lnTo>
                            <a:pt x="3032" y="4274"/>
                          </a:lnTo>
                          <a:lnTo>
                            <a:pt x="3032" y="4274"/>
                          </a:lnTo>
                          <a:lnTo>
                            <a:pt x="2878" y="4280"/>
                          </a:lnTo>
                          <a:lnTo>
                            <a:pt x="2722" y="4284"/>
                          </a:lnTo>
                          <a:lnTo>
                            <a:pt x="2498" y="4286"/>
                          </a:lnTo>
                          <a:lnTo>
                            <a:pt x="2148" y="4286"/>
                          </a:lnTo>
                          <a:lnTo>
                            <a:pt x="2148" y="4286"/>
                          </a:lnTo>
                          <a:close/>
                          <a:moveTo>
                            <a:pt x="2148" y="386"/>
                          </a:moveTo>
                          <a:lnTo>
                            <a:pt x="2148" y="386"/>
                          </a:lnTo>
                          <a:lnTo>
                            <a:pt x="1801" y="388"/>
                          </a:lnTo>
                          <a:lnTo>
                            <a:pt x="1583" y="388"/>
                          </a:lnTo>
                          <a:lnTo>
                            <a:pt x="1431" y="392"/>
                          </a:lnTo>
                          <a:lnTo>
                            <a:pt x="1281" y="400"/>
                          </a:lnTo>
                          <a:lnTo>
                            <a:pt x="1281" y="400"/>
                          </a:lnTo>
                          <a:lnTo>
                            <a:pt x="1207" y="404"/>
                          </a:lnTo>
                          <a:lnTo>
                            <a:pt x="1141" y="410"/>
                          </a:lnTo>
                          <a:lnTo>
                            <a:pt x="1083" y="418"/>
                          </a:lnTo>
                          <a:lnTo>
                            <a:pt x="1031" y="428"/>
                          </a:lnTo>
                          <a:lnTo>
                            <a:pt x="987" y="440"/>
                          </a:lnTo>
                          <a:lnTo>
                            <a:pt x="947" y="450"/>
                          </a:lnTo>
                          <a:lnTo>
                            <a:pt x="913" y="462"/>
                          </a:lnTo>
                          <a:lnTo>
                            <a:pt x="883" y="472"/>
                          </a:lnTo>
                          <a:lnTo>
                            <a:pt x="883" y="472"/>
                          </a:lnTo>
                          <a:lnTo>
                            <a:pt x="845" y="488"/>
                          </a:lnTo>
                          <a:lnTo>
                            <a:pt x="813" y="504"/>
                          </a:lnTo>
                          <a:lnTo>
                            <a:pt x="781" y="520"/>
                          </a:lnTo>
                          <a:lnTo>
                            <a:pt x="749" y="540"/>
                          </a:lnTo>
                          <a:lnTo>
                            <a:pt x="721" y="560"/>
                          </a:lnTo>
                          <a:lnTo>
                            <a:pt x="690" y="582"/>
                          </a:lnTo>
                          <a:lnTo>
                            <a:pt x="662" y="606"/>
                          </a:lnTo>
                          <a:lnTo>
                            <a:pt x="634" y="634"/>
                          </a:lnTo>
                          <a:lnTo>
                            <a:pt x="634" y="634"/>
                          </a:lnTo>
                          <a:lnTo>
                            <a:pt x="608" y="662"/>
                          </a:lnTo>
                          <a:lnTo>
                            <a:pt x="584" y="690"/>
                          </a:lnTo>
                          <a:lnTo>
                            <a:pt x="562" y="718"/>
                          </a:lnTo>
                          <a:lnTo>
                            <a:pt x="542" y="746"/>
                          </a:lnTo>
                          <a:lnTo>
                            <a:pt x="522" y="778"/>
                          </a:lnTo>
                          <a:lnTo>
                            <a:pt x="506" y="810"/>
                          </a:lnTo>
                          <a:lnTo>
                            <a:pt x="490" y="844"/>
                          </a:lnTo>
                          <a:lnTo>
                            <a:pt x="474" y="880"/>
                          </a:lnTo>
                          <a:lnTo>
                            <a:pt x="474" y="880"/>
                          </a:lnTo>
                          <a:lnTo>
                            <a:pt x="464" y="910"/>
                          </a:lnTo>
                          <a:lnTo>
                            <a:pt x="452" y="944"/>
                          </a:lnTo>
                          <a:lnTo>
                            <a:pt x="440" y="984"/>
                          </a:lnTo>
                          <a:lnTo>
                            <a:pt x="430" y="1028"/>
                          </a:lnTo>
                          <a:lnTo>
                            <a:pt x="420" y="1079"/>
                          </a:lnTo>
                          <a:lnTo>
                            <a:pt x="412" y="1137"/>
                          </a:lnTo>
                          <a:lnTo>
                            <a:pt x="406" y="1203"/>
                          </a:lnTo>
                          <a:lnTo>
                            <a:pt x="400" y="1277"/>
                          </a:lnTo>
                          <a:lnTo>
                            <a:pt x="400" y="1277"/>
                          </a:lnTo>
                          <a:lnTo>
                            <a:pt x="394" y="1427"/>
                          </a:lnTo>
                          <a:lnTo>
                            <a:pt x="390" y="1579"/>
                          </a:lnTo>
                          <a:lnTo>
                            <a:pt x="388" y="1797"/>
                          </a:lnTo>
                          <a:lnTo>
                            <a:pt x="388" y="2143"/>
                          </a:lnTo>
                          <a:lnTo>
                            <a:pt x="388" y="2143"/>
                          </a:lnTo>
                          <a:lnTo>
                            <a:pt x="388" y="2489"/>
                          </a:lnTo>
                          <a:lnTo>
                            <a:pt x="390" y="2707"/>
                          </a:lnTo>
                          <a:lnTo>
                            <a:pt x="394" y="2859"/>
                          </a:lnTo>
                          <a:lnTo>
                            <a:pt x="400" y="3009"/>
                          </a:lnTo>
                          <a:lnTo>
                            <a:pt x="400" y="3009"/>
                          </a:lnTo>
                          <a:lnTo>
                            <a:pt x="406" y="3083"/>
                          </a:lnTo>
                          <a:lnTo>
                            <a:pt x="412" y="3149"/>
                          </a:lnTo>
                          <a:lnTo>
                            <a:pt x="420" y="3207"/>
                          </a:lnTo>
                          <a:lnTo>
                            <a:pt x="430" y="3258"/>
                          </a:lnTo>
                          <a:lnTo>
                            <a:pt x="440" y="3302"/>
                          </a:lnTo>
                          <a:lnTo>
                            <a:pt x="452" y="3342"/>
                          </a:lnTo>
                          <a:lnTo>
                            <a:pt x="464" y="3376"/>
                          </a:lnTo>
                          <a:lnTo>
                            <a:pt x="474" y="3406"/>
                          </a:lnTo>
                          <a:lnTo>
                            <a:pt x="474" y="3406"/>
                          </a:lnTo>
                          <a:lnTo>
                            <a:pt x="490" y="3442"/>
                          </a:lnTo>
                          <a:lnTo>
                            <a:pt x="506" y="3476"/>
                          </a:lnTo>
                          <a:lnTo>
                            <a:pt x="522" y="3508"/>
                          </a:lnTo>
                          <a:lnTo>
                            <a:pt x="542" y="3538"/>
                          </a:lnTo>
                          <a:lnTo>
                            <a:pt x="562" y="3568"/>
                          </a:lnTo>
                          <a:lnTo>
                            <a:pt x="584" y="3596"/>
                          </a:lnTo>
                          <a:lnTo>
                            <a:pt x="608" y="3624"/>
                          </a:lnTo>
                          <a:lnTo>
                            <a:pt x="634" y="3652"/>
                          </a:lnTo>
                          <a:lnTo>
                            <a:pt x="634" y="3652"/>
                          </a:lnTo>
                          <a:lnTo>
                            <a:pt x="662" y="3680"/>
                          </a:lnTo>
                          <a:lnTo>
                            <a:pt x="690" y="3704"/>
                          </a:lnTo>
                          <a:lnTo>
                            <a:pt x="721" y="3726"/>
                          </a:lnTo>
                          <a:lnTo>
                            <a:pt x="749" y="3746"/>
                          </a:lnTo>
                          <a:lnTo>
                            <a:pt x="781" y="3764"/>
                          </a:lnTo>
                          <a:lnTo>
                            <a:pt x="813" y="3782"/>
                          </a:lnTo>
                          <a:lnTo>
                            <a:pt x="847" y="3798"/>
                          </a:lnTo>
                          <a:lnTo>
                            <a:pt x="883" y="3812"/>
                          </a:lnTo>
                          <a:lnTo>
                            <a:pt x="883" y="3812"/>
                          </a:lnTo>
                          <a:lnTo>
                            <a:pt x="913" y="3824"/>
                          </a:lnTo>
                          <a:lnTo>
                            <a:pt x="947" y="3836"/>
                          </a:lnTo>
                          <a:lnTo>
                            <a:pt x="987" y="3846"/>
                          </a:lnTo>
                          <a:lnTo>
                            <a:pt x="1031" y="3858"/>
                          </a:lnTo>
                          <a:lnTo>
                            <a:pt x="1083" y="3866"/>
                          </a:lnTo>
                          <a:lnTo>
                            <a:pt x="1141" y="3876"/>
                          </a:lnTo>
                          <a:lnTo>
                            <a:pt x="1207" y="3882"/>
                          </a:lnTo>
                          <a:lnTo>
                            <a:pt x="1281" y="3886"/>
                          </a:lnTo>
                          <a:lnTo>
                            <a:pt x="1281" y="3886"/>
                          </a:lnTo>
                          <a:lnTo>
                            <a:pt x="1431" y="3892"/>
                          </a:lnTo>
                          <a:lnTo>
                            <a:pt x="1583" y="3896"/>
                          </a:lnTo>
                          <a:lnTo>
                            <a:pt x="1801" y="3898"/>
                          </a:lnTo>
                          <a:lnTo>
                            <a:pt x="2148" y="3900"/>
                          </a:lnTo>
                          <a:lnTo>
                            <a:pt x="2148" y="3900"/>
                          </a:lnTo>
                          <a:lnTo>
                            <a:pt x="2492" y="3898"/>
                          </a:lnTo>
                          <a:lnTo>
                            <a:pt x="2712" y="3896"/>
                          </a:lnTo>
                          <a:lnTo>
                            <a:pt x="2864" y="3892"/>
                          </a:lnTo>
                          <a:lnTo>
                            <a:pt x="3014" y="3886"/>
                          </a:lnTo>
                          <a:lnTo>
                            <a:pt x="3014" y="3886"/>
                          </a:lnTo>
                          <a:lnTo>
                            <a:pt x="3088" y="3882"/>
                          </a:lnTo>
                          <a:lnTo>
                            <a:pt x="3154" y="3876"/>
                          </a:lnTo>
                          <a:lnTo>
                            <a:pt x="3212" y="3866"/>
                          </a:lnTo>
                          <a:lnTo>
                            <a:pt x="3264" y="3858"/>
                          </a:lnTo>
                          <a:lnTo>
                            <a:pt x="3308" y="3846"/>
                          </a:lnTo>
                          <a:lnTo>
                            <a:pt x="3348" y="3836"/>
                          </a:lnTo>
                          <a:lnTo>
                            <a:pt x="3382" y="3824"/>
                          </a:lnTo>
                          <a:lnTo>
                            <a:pt x="3412" y="3812"/>
                          </a:lnTo>
                          <a:lnTo>
                            <a:pt x="3412" y="3812"/>
                          </a:lnTo>
                          <a:lnTo>
                            <a:pt x="3448" y="3798"/>
                          </a:lnTo>
                          <a:lnTo>
                            <a:pt x="3482" y="3782"/>
                          </a:lnTo>
                          <a:lnTo>
                            <a:pt x="3514" y="3764"/>
                          </a:lnTo>
                          <a:lnTo>
                            <a:pt x="3544" y="3746"/>
                          </a:lnTo>
                          <a:lnTo>
                            <a:pt x="3574" y="3726"/>
                          </a:lnTo>
                          <a:lnTo>
                            <a:pt x="3603" y="3704"/>
                          </a:lnTo>
                          <a:lnTo>
                            <a:pt x="3631" y="3680"/>
                          </a:lnTo>
                          <a:lnTo>
                            <a:pt x="3659" y="3652"/>
                          </a:lnTo>
                          <a:lnTo>
                            <a:pt x="3659" y="3652"/>
                          </a:lnTo>
                          <a:lnTo>
                            <a:pt x="3687" y="3624"/>
                          </a:lnTo>
                          <a:lnTo>
                            <a:pt x="3711" y="3596"/>
                          </a:lnTo>
                          <a:lnTo>
                            <a:pt x="3733" y="3568"/>
                          </a:lnTo>
                          <a:lnTo>
                            <a:pt x="3753" y="3538"/>
                          </a:lnTo>
                          <a:lnTo>
                            <a:pt x="3771" y="3508"/>
                          </a:lnTo>
                          <a:lnTo>
                            <a:pt x="3789" y="3476"/>
                          </a:lnTo>
                          <a:lnTo>
                            <a:pt x="3805" y="3442"/>
                          </a:lnTo>
                          <a:lnTo>
                            <a:pt x="3819" y="3406"/>
                          </a:lnTo>
                          <a:lnTo>
                            <a:pt x="3819" y="3406"/>
                          </a:lnTo>
                          <a:lnTo>
                            <a:pt x="3831" y="3376"/>
                          </a:lnTo>
                          <a:lnTo>
                            <a:pt x="3843" y="3342"/>
                          </a:lnTo>
                          <a:lnTo>
                            <a:pt x="3853" y="3302"/>
                          </a:lnTo>
                          <a:lnTo>
                            <a:pt x="3863" y="3258"/>
                          </a:lnTo>
                          <a:lnTo>
                            <a:pt x="3873" y="3207"/>
                          </a:lnTo>
                          <a:lnTo>
                            <a:pt x="3881" y="3149"/>
                          </a:lnTo>
                          <a:lnTo>
                            <a:pt x="3889" y="3083"/>
                          </a:lnTo>
                          <a:lnTo>
                            <a:pt x="3893" y="3009"/>
                          </a:lnTo>
                          <a:lnTo>
                            <a:pt x="3893" y="3009"/>
                          </a:lnTo>
                          <a:lnTo>
                            <a:pt x="3899" y="2859"/>
                          </a:lnTo>
                          <a:lnTo>
                            <a:pt x="3903" y="2705"/>
                          </a:lnTo>
                          <a:lnTo>
                            <a:pt x="3905" y="2487"/>
                          </a:lnTo>
                          <a:lnTo>
                            <a:pt x="3905" y="2143"/>
                          </a:lnTo>
                          <a:lnTo>
                            <a:pt x="3905" y="2143"/>
                          </a:lnTo>
                          <a:lnTo>
                            <a:pt x="3905" y="1797"/>
                          </a:lnTo>
                          <a:lnTo>
                            <a:pt x="3903" y="1579"/>
                          </a:lnTo>
                          <a:lnTo>
                            <a:pt x="3899" y="1427"/>
                          </a:lnTo>
                          <a:lnTo>
                            <a:pt x="3893" y="1277"/>
                          </a:lnTo>
                          <a:lnTo>
                            <a:pt x="3893" y="1277"/>
                          </a:lnTo>
                          <a:lnTo>
                            <a:pt x="3889" y="1203"/>
                          </a:lnTo>
                          <a:lnTo>
                            <a:pt x="3881" y="1137"/>
                          </a:lnTo>
                          <a:lnTo>
                            <a:pt x="3873" y="1079"/>
                          </a:lnTo>
                          <a:lnTo>
                            <a:pt x="3863" y="1028"/>
                          </a:lnTo>
                          <a:lnTo>
                            <a:pt x="3853" y="984"/>
                          </a:lnTo>
                          <a:lnTo>
                            <a:pt x="3843" y="944"/>
                          </a:lnTo>
                          <a:lnTo>
                            <a:pt x="3831" y="910"/>
                          </a:lnTo>
                          <a:lnTo>
                            <a:pt x="3819" y="880"/>
                          </a:lnTo>
                          <a:lnTo>
                            <a:pt x="3819" y="880"/>
                          </a:lnTo>
                          <a:lnTo>
                            <a:pt x="3805" y="844"/>
                          </a:lnTo>
                          <a:lnTo>
                            <a:pt x="3789" y="810"/>
                          </a:lnTo>
                          <a:lnTo>
                            <a:pt x="3771" y="778"/>
                          </a:lnTo>
                          <a:lnTo>
                            <a:pt x="3753" y="746"/>
                          </a:lnTo>
                          <a:lnTo>
                            <a:pt x="3733" y="718"/>
                          </a:lnTo>
                          <a:lnTo>
                            <a:pt x="3711" y="690"/>
                          </a:lnTo>
                          <a:lnTo>
                            <a:pt x="3687" y="662"/>
                          </a:lnTo>
                          <a:lnTo>
                            <a:pt x="3659" y="634"/>
                          </a:lnTo>
                          <a:lnTo>
                            <a:pt x="3659" y="634"/>
                          </a:lnTo>
                          <a:lnTo>
                            <a:pt x="3631" y="606"/>
                          </a:lnTo>
                          <a:lnTo>
                            <a:pt x="3603" y="582"/>
                          </a:lnTo>
                          <a:lnTo>
                            <a:pt x="3574" y="560"/>
                          </a:lnTo>
                          <a:lnTo>
                            <a:pt x="3544" y="540"/>
                          </a:lnTo>
                          <a:lnTo>
                            <a:pt x="3514" y="520"/>
                          </a:lnTo>
                          <a:lnTo>
                            <a:pt x="3482" y="504"/>
                          </a:lnTo>
                          <a:lnTo>
                            <a:pt x="3448" y="488"/>
                          </a:lnTo>
                          <a:lnTo>
                            <a:pt x="3412" y="472"/>
                          </a:lnTo>
                          <a:lnTo>
                            <a:pt x="3412" y="472"/>
                          </a:lnTo>
                          <a:lnTo>
                            <a:pt x="3382" y="462"/>
                          </a:lnTo>
                          <a:lnTo>
                            <a:pt x="3348" y="450"/>
                          </a:lnTo>
                          <a:lnTo>
                            <a:pt x="3308" y="440"/>
                          </a:lnTo>
                          <a:lnTo>
                            <a:pt x="3264" y="428"/>
                          </a:lnTo>
                          <a:lnTo>
                            <a:pt x="3212" y="418"/>
                          </a:lnTo>
                          <a:lnTo>
                            <a:pt x="3154" y="410"/>
                          </a:lnTo>
                          <a:lnTo>
                            <a:pt x="3088" y="404"/>
                          </a:lnTo>
                          <a:lnTo>
                            <a:pt x="3014" y="400"/>
                          </a:lnTo>
                          <a:lnTo>
                            <a:pt x="3014" y="400"/>
                          </a:lnTo>
                          <a:lnTo>
                            <a:pt x="2864" y="392"/>
                          </a:lnTo>
                          <a:lnTo>
                            <a:pt x="2712" y="388"/>
                          </a:lnTo>
                          <a:lnTo>
                            <a:pt x="2492" y="388"/>
                          </a:lnTo>
                          <a:lnTo>
                            <a:pt x="2148" y="386"/>
                          </a:lnTo>
                          <a:lnTo>
                            <a:pt x="2148" y="386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6250"/>
                    </a:p>
                  </p:txBody>
                </p:sp>
                <p:sp>
                  <p:nvSpPr>
                    <p:cNvPr id="20" name="Freeform 10">
                      <a:extLst>
                        <a:ext uri="{FF2B5EF4-FFF2-40B4-BE49-F238E27FC236}">
                          <a16:creationId xmlns:a16="http://schemas.microsoft.com/office/drawing/2014/main" id="{94E349FD-B796-4AA6-9BC3-2EB62437464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22044" y="989172"/>
                      <a:ext cx="87052" cy="86546"/>
                    </a:xfrm>
                    <a:custGeom>
                      <a:avLst/>
                      <a:gdLst>
                        <a:gd name="T0" fmla="*/ 516 w 516"/>
                        <a:gd name="T1" fmla="*/ 258 h 513"/>
                        <a:gd name="T2" fmla="*/ 510 w 516"/>
                        <a:gd name="T3" fmla="*/ 310 h 513"/>
                        <a:gd name="T4" fmla="*/ 496 w 516"/>
                        <a:gd name="T5" fmla="*/ 357 h 513"/>
                        <a:gd name="T6" fmla="*/ 472 w 516"/>
                        <a:gd name="T7" fmla="*/ 401 h 513"/>
                        <a:gd name="T8" fmla="*/ 440 w 516"/>
                        <a:gd name="T9" fmla="*/ 439 h 513"/>
                        <a:gd name="T10" fmla="*/ 402 w 516"/>
                        <a:gd name="T11" fmla="*/ 469 h 513"/>
                        <a:gd name="T12" fmla="*/ 358 w 516"/>
                        <a:gd name="T13" fmla="*/ 493 h 513"/>
                        <a:gd name="T14" fmla="*/ 310 w 516"/>
                        <a:gd name="T15" fmla="*/ 509 h 513"/>
                        <a:gd name="T16" fmla="*/ 258 w 516"/>
                        <a:gd name="T17" fmla="*/ 513 h 513"/>
                        <a:gd name="T18" fmla="*/ 232 w 516"/>
                        <a:gd name="T19" fmla="*/ 513 h 513"/>
                        <a:gd name="T20" fmla="*/ 182 w 516"/>
                        <a:gd name="T21" fmla="*/ 501 h 513"/>
                        <a:gd name="T22" fmla="*/ 136 w 516"/>
                        <a:gd name="T23" fmla="*/ 483 h 513"/>
                        <a:gd name="T24" fmla="*/ 94 w 516"/>
                        <a:gd name="T25" fmla="*/ 455 h 513"/>
                        <a:gd name="T26" fmla="*/ 60 w 516"/>
                        <a:gd name="T27" fmla="*/ 419 h 513"/>
                        <a:gd name="T28" fmla="*/ 32 w 516"/>
                        <a:gd name="T29" fmla="*/ 379 h 513"/>
                        <a:gd name="T30" fmla="*/ 12 w 516"/>
                        <a:gd name="T31" fmla="*/ 333 h 513"/>
                        <a:gd name="T32" fmla="*/ 2 w 516"/>
                        <a:gd name="T33" fmla="*/ 284 h 513"/>
                        <a:gd name="T34" fmla="*/ 0 w 516"/>
                        <a:gd name="T35" fmla="*/ 258 h 513"/>
                        <a:gd name="T36" fmla="*/ 6 w 516"/>
                        <a:gd name="T37" fmla="*/ 206 h 513"/>
                        <a:gd name="T38" fmla="*/ 22 w 516"/>
                        <a:gd name="T39" fmla="*/ 158 h 513"/>
                        <a:gd name="T40" fmla="*/ 44 w 516"/>
                        <a:gd name="T41" fmla="*/ 114 h 513"/>
                        <a:gd name="T42" fmla="*/ 76 w 516"/>
                        <a:gd name="T43" fmla="*/ 76 h 513"/>
                        <a:gd name="T44" fmla="*/ 114 w 516"/>
                        <a:gd name="T45" fmla="*/ 44 h 513"/>
                        <a:gd name="T46" fmla="*/ 158 w 516"/>
                        <a:gd name="T47" fmla="*/ 20 h 513"/>
                        <a:gd name="T48" fmla="*/ 206 w 516"/>
                        <a:gd name="T49" fmla="*/ 6 h 513"/>
                        <a:gd name="T50" fmla="*/ 258 w 516"/>
                        <a:gd name="T51" fmla="*/ 0 h 513"/>
                        <a:gd name="T52" fmla="*/ 284 w 516"/>
                        <a:gd name="T53" fmla="*/ 2 h 513"/>
                        <a:gd name="T54" fmla="*/ 334 w 516"/>
                        <a:gd name="T55" fmla="*/ 12 h 513"/>
                        <a:gd name="T56" fmla="*/ 380 w 516"/>
                        <a:gd name="T57" fmla="*/ 30 h 513"/>
                        <a:gd name="T58" fmla="*/ 422 w 516"/>
                        <a:gd name="T59" fmla="*/ 58 h 513"/>
                        <a:gd name="T60" fmla="*/ 456 w 516"/>
                        <a:gd name="T61" fmla="*/ 94 h 513"/>
                        <a:gd name="T62" fmla="*/ 484 w 516"/>
                        <a:gd name="T63" fmla="*/ 134 h 513"/>
                        <a:gd name="T64" fmla="*/ 504 w 516"/>
                        <a:gd name="T65" fmla="*/ 180 h 513"/>
                        <a:gd name="T66" fmla="*/ 514 w 516"/>
                        <a:gd name="T67" fmla="*/ 230 h 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516" h="513">
                          <a:moveTo>
                            <a:pt x="516" y="258"/>
                          </a:moveTo>
                          <a:lnTo>
                            <a:pt x="516" y="258"/>
                          </a:lnTo>
                          <a:lnTo>
                            <a:pt x="514" y="284"/>
                          </a:lnTo>
                          <a:lnTo>
                            <a:pt x="510" y="310"/>
                          </a:lnTo>
                          <a:lnTo>
                            <a:pt x="504" y="333"/>
                          </a:lnTo>
                          <a:lnTo>
                            <a:pt x="496" y="357"/>
                          </a:lnTo>
                          <a:lnTo>
                            <a:pt x="484" y="379"/>
                          </a:lnTo>
                          <a:lnTo>
                            <a:pt x="472" y="401"/>
                          </a:lnTo>
                          <a:lnTo>
                            <a:pt x="456" y="419"/>
                          </a:lnTo>
                          <a:lnTo>
                            <a:pt x="440" y="439"/>
                          </a:lnTo>
                          <a:lnTo>
                            <a:pt x="422" y="455"/>
                          </a:lnTo>
                          <a:lnTo>
                            <a:pt x="402" y="469"/>
                          </a:lnTo>
                          <a:lnTo>
                            <a:pt x="380" y="483"/>
                          </a:lnTo>
                          <a:lnTo>
                            <a:pt x="358" y="493"/>
                          </a:lnTo>
                          <a:lnTo>
                            <a:pt x="334" y="501"/>
                          </a:lnTo>
                          <a:lnTo>
                            <a:pt x="310" y="509"/>
                          </a:lnTo>
                          <a:lnTo>
                            <a:pt x="284" y="513"/>
                          </a:lnTo>
                          <a:lnTo>
                            <a:pt x="258" y="513"/>
                          </a:lnTo>
                          <a:lnTo>
                            <a:pt x="258" y="513"/>
                          </a:lnTo>
                          <a:lnTo>
                            <a:pt x="232" y="513"/>
                          </a:lnTo>
                          <a:lnTo>
                            <a:pt x="206" y="509"/>
                          </a:lnTo>
                          <a:lnTo>
                            <a:pt x="182" y="501"/>
                          </a:lnTo>
                          <a:lnTo>
                            <a:pt x="158" y="493"/>
                          </a:lnTo>
                          <a:lnTo>
                            <a:pt x="136" y="483"/>
                          </a:lnTo>
                          <a:lnTo>
                            <a:pt x="114" y="469"/>
                          </a:lnTo>
                          <a:lnTo>
                            <a:pt x="94" y="455"/>
                          </a:lnTo>
                          <a:lnTo>
                            <a:pt x="76" y="439"/>
                          </a:lnTo>
                          <a:lnTo>
                            <a:pt x="60" y="419"/>
                          </a:lnTo>
                          <a:lnTo>
                            <a:pt x="44" y="401"/>
                          </a:lnTo>
                          <a:lnTo>
                            <a:pt x="32" y="379"/>
                          </a:lnTo>
                          <a:lnTo>
                            <a:pt x="22" y="357"/>
                          </a:lnTo>
                          <a:lnTo>
                            <a:pt x="12" y="333"/>
                          </a:lnTo>
                          <a:lnTo>
                            <a:pt x="6" y="310"/>
                          </a:lnTo>
                          <a:lnTo>
                            <a:pt x="2" y="284"/>
                          </a:lnTo>
                          <a:lnTo>
                            <a:pt x="0" y="258"/>
                          </a:lnTo>
                          <a:lnTo>
                            <a:pt x="0" y="258"/>
                          </a:lnTo>
                          <a:lnTo>
                            <a:pt x="2" y="230"/>
                          </a:lnTo>
                          <a:lnTo>
                            <a:pt x="6" y="206"/>
                          </a:lnTo>
                          <a:lnTo>
                            <a:pt x="12" y="180"/>
                          </a:lnTo>
                          <a:lnTo>
                            <a:pt x="22" y="158"/>
                          </a:lnTo>
                          <a:lnTo>
                            <a:pt x="32" y="134"/>
                          </a:lnTo>
                          <a:lnTo>
                            <a:pt x="44" y="114"/>
                          </a:lnTo>
                          <a:lnTo>
                            <a:pt x="60" y="94"/>
                          </a:lnTo>
                          <a:lnTo>
                            <a:pt x="76" y="76"/>
                          </a:lnTo>
                          <a:lnTo>
                            <a:pt x="94" y="58"/>
                          </a:lnTo>
                          <a:lnTo>
                            <a:pt x="114" y="44"/>
                          </a:lnTo>
                          <a:lnTo>
                            <a:pt x="136" y="30"/>
                          </a:lnTo>
                          <a:lnTo>
                            <a:pt x="158" y="20"/>
                          </a:lnTo>
                          <a:lnTo>
                            <a:pt x="182" y="12"/>
                          </a:lnTo>
                          <a:lnTo>
                            <a:pt x="206" y="6"/>
                          </a:lnTo>
                          <a:lnTo>
                            <a:pt x="232" y="2"/>
                          </a:lnTo>
                          <a:lnTo>
                            <a:pt x="258" y="0"/>
                          </a:lnTo>
                          <a:lnTo>
                            <a:pt x="258" y="0"/>
                          </a:lnTo>
                          <a:lnTo>
                            <a:pt x="284" y="2"/>
                          </a:lnTo>
                          <a:lnTo>
                            <a:pt x="310" y="6"/>
                          </a:lnTo>
                          <a:lnTo>
                            <a:pt x="334" y="12"/>
                          </a:lnTo>
                          <a:lnTo>
                            <a:pt x="358" y="20"/>
                          </a:lnTo>
                          <a:lnTo>
                            <a:pt x="380" y="30"/>
                          </a:lnTo>
                          <a:lnTo>
                            <a:pt x="402" y="44"/>
                          </a:lnTo>
                          <a:lnTo>
                            <a:pt x="422" y="58"/>
                          </a:lnTo>
                          <a:lnTo>
                            <a:pt x="440" y="76"/>
                          </a:lnTo>
                          <a:lnTo>
                            <a:pt x="456" y="94"/>
                          </a:lnTo>
                          <a:lnTo>
                            <a:pt x="472" y="114"/>
                          </a:lnTo>
                          <a:lnTo>
                            <a:pt x="484" y="134"/>
                          </a:lnTo>
                          <a:lnTo>
                            <a:pt x="496" y="158"/>
                          </a:lnTo>
                          <a:lnTo>
                            <a:pt x="504" y="180"/>
                          </a:lnTo>
                          <a:lnTo>
                            <a:pt x="510" y="206"/>
                          </a:lnTo>
                          <a:lnTo>
                            <a:pt x="514" y="230"/>
                          </a:lnTo>
                          <a:lnTo>
                            <a:pt x="516" y="258"/>
                          </a:lnTo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6250"/>
                    </a:p>
                  </p:txBody>
                </p:sp>
              </p:grpSp>
              <p:sp>
                <p:nvSpPr>
                  <p:cNvPr id="18" name="Freeform: Shape 17">
                    <a:extLst>
                      <a:ext uri="{FF2B5EF4-FFF2-40B4-BE49-F238E27FC236}">
                        <a16:creationId xmlns:a16="http://schemas.microsoft.com/office/drawing/2014/main" id="{C0719900-5971-4BE5-94E5-676102F97CEE}"/>
                      </a:ext>
                    </a:extLst>
                  </p:cNvPr>
                  <p:cNvSpPr/>
                  <p:nvPr/>
                </p:nvSpPr>
                <p:spPr>
                  <a:xfrm>
                    <a:off x="1101879" y="5789104"/>
                    <a:ext cx="358205" cy="358205"/>
                  </a:xfrm>
                  <a:custGeom>
                    <a:avLst/>
                    <a:gdLst>
                      <a:gd name="connsiteX0" fmla="*/ 152792 w 305584"/>
                      <a:gd name="connsiteY0" fmla="*/ 59791 h 305584"/>
                      <a:gd name="connsiteX1" fmla="*/ 59791 w 305584"/>
                      <a:gd name="connsiteY1" fmla="*/ 152790 h 305584"/>
                      <a:gd name="connsiteX2" fmla="*/ 152792 w 305584"/>
                      <a:gd name="connsiteY2" fmla="*/ 245789 h 305584"/>
                      <a:gd name="connsiteX3" fmla="*/ 245793 w 305584"/>
                      <a:gd name="connsiteY3" fmla="*/ 152790 h 305584"/>
                      <a:gd name="connsiteX4" fmla="*/ 152792 w 305584"/>
                      <a:gd name="connsiteY4" fmla="*/ 59791 h 305584"/>
                      <a:gd name="connsiteX5" fmla="*/ 152792 w 305584"/>
                      <a:gd name="connsiteY5" fmla="*/ 0 h 305584"/>
                      <a:gd name="connsiteX6" fmla="*/ 305584 w 305584"/>
                      <a:gd name="connsiteY6" fmla="*/ 152792 h 305584"/>
                      <a:gd name="connsiteX7" fmla="*/ 152792 w 305584"/>
                      <a:gd name="connsiteY7" fmla="*/ 305584 h 305584"/>
                      <a:gd name="connsiteX8" fmla="*/ 0 w 305584"/>
                      <a:gd name="connsiteY8" fmla="*/ 152792 h 305584"/>
                      <a:gd name="connsiteX9" fmla="*/ 152792 w 305584"/>
                      <a:gd name="connsiteY9" fmla="*/ 0 h 3055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05584" h="305584">
                        <a:moveTo>
                          <a:pt x="152792" y="59791"/>
                        </a:moveTo>
                        <a:cubicBezTo>
                          <a:pt x="101429" y="59791"/>
                          <a:pt x="59791" y="101428"/>
                          <a:pt x="59791" y="152790"/>
                        </a:cubicBezTo>
                        <a:cubicBezTo>
                          <a:pt x="59791" y="204152"/>
                          <a:pt x="101429" y="245789"/>
                          <a:pt x="152792" y="245789"/>
                        </a:cubicBezTo>
                        <a:cubicBezTo>
                          <a:pt x="204155" y="245789"/>
                          <a:pt x="245793" y="204152"/>
                          <a:pt x="245793" y="152790"/>
                        </a:cubicBezTo>
                        <a:cubicBezTo>
                          <a:pt x="245793" y="101428"/>
                          <a:pt x="204155" y="59791"/>
                          <a:pt x="152792" y="59791"/>
                        </a:cubicBezTo>
                        <a:close/>
                        <a:moveTo>
                          <a:pt x="152792" y="0"/>
                        </a:moveTo>
                        <a:cubicBezTo>
                          <a:pt x="237177" y="0"/>
                          <a:pt x="305584" y="68407"/>
                          <a:pt x="305584" y="152792"/>
                        </a:cubicBezTo>
                        <a:cubicBezTo>
                          <a:pt x="305584" y="237177"/>
                          <a:pt x="237177" y="305584"/>
                          <a:pt x="152792" y="305584"/>
                        </a:cubicBezTo>
                        <a:cubicBezTo>
                          <a:pt x="68407" y="305584"/>
                          <a:pt x="0" y="237177"/>
                          <a:pt x="0" y="152792"/>
                        </a:cubicBezTo>
                        <a:cubicBezTo>
                          <a:pt x="0" y="68407"/>
                          <a:pt x="68407" y="0"/>
                          <a:pt x="152792" y="0"/>
                        </a:cubicBezTo>
                        <a:close/>
                      </a:path>
                    </a:pathLst>
                  </a:custGeom>
                  <a:grpFill/>
                  <a:ln w="285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id-ID" sz="6250"/>
                  </a:p>
                </p:txBody>
              </p:sp>
            </p:grp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77250FC-AE73-4B08-A355-939043B891A1}"/>
                </a:ext>
              </a:extLst>
            </p:cNvPr>
            <p:cNvGrpSpPr/>
            <p:nvPr userDrawn="1"/>
          </p:nvGrpSpPr>
          <p:grpSpPr>
            <a:xfrm>
              <a:off x="18297807" y="9925183"/>
              <a:ext cx="285384" cy="285384"/>
              <a:chOff x="12991645" y="6161514"/>
              <a:chExt cx="552389" cy="552389"/>
            </a:xfrm>
            <a:effectLst>
              <a:outerShdw blurRad="254000" dist="165100" dir="6600000" sx="70000" sy="70000" algn="t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9" name="Rectangle: Top Corners Rounded 8">
                <a:extLst>
                  <a:ext uri="{FF2B5EF4-FFF2-40B4-BE49-F238E27FC236}">
                    <a16:creationId xmlns:a16="http://schemas.microsoft.com/office/drawing/2014/main" id="{7E479704-80FE-4EFC-B999-D20D88EFAEB8}"/>
                  </a:ext>
                </a:extLst>
              </p:cNvPr>
              <p:cNvSpPr/>
              <p:nvPr/>
            </p:nvSpPr>
            <p:spPr>
              <a:xfrm rot="5400000">
                <a:off x="12991645" y="6161514"/>
                <a:ext cx="552389" cy="552389"/>
              </a:xfrm>
              <a:prstGeom prst="round2Same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  <a:alpha val="76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89636F89-CFA9-4DC8-8A65-3036149BBA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10801" y="6338988"/>
                <a:ext cx="114076" cy="197440"/>
              </a:xfrm>
              <a:custGeom>
                <a:avLst/>
                <a:gdLst>
                  <a:gd name="T0" fmla="*/ 917464 w 228"/>
                  <a:gd name="T1" fmla="*/ 6378503 h 396"/>
                  <a:gd name="T2" fmla="*/ 917464 w 228"/>
                  <a:gd name="T3" fmla="*/ 6378503 h 396"/>
                  <a:gd name="T4" fmla="*/ 20449952 w 228"/>
                  <a:gd name="T5" fmla="*/ 25644259 h 396"/>
                  <a:gd name="T6" fmla="*/ 917464 w 228"/>
                  <a:gd name="T7" fmla="*/ 45951270 h 396"/>
                  <a:gd name="T8" fmla="*/ 917464 w 228"/>
                  <a:gd name="T9" fmla="*/ 45951270 h 396"/>
                  <a:gd name="T10" fmla="*/ 0 w 228"/>
                  <a:gd name="T11" fmla="*/ 47773648 h 396"/>
                  <a:gd name="T12" fmla="*/ 3801645 w 228"/>
                  <a:gd name="T13" fmla="*/ 51418403 h 396"/>
                  <a:gd name="T14" fmla="*/ 6554398 w 228"/>
                  <a:gd name="T15" fmla="*/ 50507395 h 396"/>
                  <a:gd name="T16" fmla="*/ 6554398 w 228"/>
                  <a:gd name="T17" fmla="*/ 50507395 h 396"/>
                  <a:gd name="T18" fmla="*/ 28839639 w 228"/>
                  <a:gd name="T19" fmla="*/ 28507892 h 396"/>
                  <a:gd name="T20" fmla="*/ 28839639 w 228"/>
                  <a:gd name="T21" fmla="*/ 28507892 h 396"/>
                  <a:gd name="T22" fmla="*/ 29757103 w 228"/>
                  <a:gd name="T23" fmla="*/ 25644259 h 396"/>
                  <a:gd name="T24" fmla="*/ 29757103 w 228"/>
                  <a:gd name="T25" fmla="*/ 25644259 h 396"/>
                  <a:gd name="T26" fmla="*/ 29757103 w 228"/>
                  <a:gd name="T27" fmla="*/ 25644259 h 396"/>
                  <a:gd name="T28" fmla="*/ 28839639 w 228"/>
                  <a:gd name="T29" fmla="*/ 22910511 h 396"/>
                  <a:gd name="T30" fmla="*/ 28839639 w 228"/>
                  <a:gd name="T31" fmla="*/ 22910511 h 396"/>
                  <a:gd name="T32" fmla="*/ 6554398 w 228"/>
                  <a:gd name="T33" fmla="*/ 911369 h 396"/>
                  <a:gd name="T34" fmla="*/ 6554398 w 228"/>
                  <a:gd name="T35" fmla="*/ 911369 h 396"/>
                  <a:gd name="T36" fmla="*/ 3801645 w 228"/>
                  <a:gd name="T37" fmla="*/ 0 h 396"/>
                  <a:gd name="T38" fmla="*/ 0 w 228"/>
                  <a:gd name="T39" fmla="*/ 3644756 h 396"/>
                  <a:gd name="T40" fmla="*/ 917464 w 228"/>
                  <a:gd name="T41" fmla="*/ 6378503 h 39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28" h="396">
                    <a:moveTo>
                      <a:pt x="7" y="49"/>
                    </a:moveTo>
                    <a:lnTo>
                      <a:pt x="7" y="49"/>
                    </a:lnTo>
                    <a:cubicBezTo>
                      <a:pt x="156" y="197"/>
                      <a:pt x="156" y="197"/>
                      <a:pt x="156" y="197"/>
                    </a:cubicBezTo>
                    <a:cubicBezTo>
                      <a:pt x="7" y="353"/>
                      <a:pt x="7" y="353"/>
                      <a:pt x="7" y="353"/>
                    </a:cubicBezTo>
                    <a:cubicBezTo>
                      <a:pt x="0" y="353"/>
                      <a:pt x="0" y="360"/>
                      <a:pt x="0" y="367"/>
                    </a:cubicBezTo>
                    <a:cubicBezTo>
                      <a:pt x="0" y="388"/>
                      <a:pt x="15" y="395"/>
                      <a:pt x="29" y="395"/>
                    </a:cubicBezTo>
                    <a:cubicBezTo>
                      <a:pt x="36" y="395"/>
                      <a:pt x="43" y="395"/>
                      <a:pt x="50" y="388"/>
                    </a:cubicBezTo>
                    <a:cubicBezTo>
                      <a:pt x="220" y="219"/>
                      <a:pt x="220" y="219"/>
                      <a:pt x="220" y="219"/>
                    </a:cubicBezTo>
                    <a:cubicBezTo>
                      <a:pt x="227" y="212"/>
                      <a:pt x="227" y="205"/>
                      <a:pt x="227" y="197"/>
                    </a:cubicBezTo>
                    <a:cubicBezTo>
                      <a:pt x="227" y="190"/>
                      <a:pt x="227" y="183"/>
                      <a:pt x="220" y="176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3" y="7"/>
                      <a:pt x="36" y="0"/>
                      <a:pt x="29" y="0"/>
                    </a:cubicBezTo>
                    <a:cubicBezTo>
                      <a:pt x="15" y="0"/>
                      <a:pt x="0" y="14"/>
                      <a:pt x="0" y="28"/>
                    </a:cubicBezTo>
                    <a:cubicBezTo>
                      <a:pt x="0" y="42"/>
                      <a:pt x="7" y="49"/>
                      <a:pt x="7" y="49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sz="6250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A52ABB3-741A-4588-9EE3-1EEEEEC708D8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A60BFB8-BC34-4926-817F-05D940837F28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30" name="Freeform 62">
                <a:extLst>
                  <a:ext uri="{FF2B5EF4-FFF2-40B4-BE49-F238E27FC236}">
                    <a16:creationId xmlns:a16="http://schemas.microsoft.com/office/drawing/2014/main" id="{3B6CCA40-0841-4734-B733-0771837017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D0F78254-B949-493A-9AD8-2CA29FD14BE5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65533F8-C943-4753-8494-91786931A705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1182101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9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654C0CB4-EE1E-4978-9032-F54A5295D6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rot="1860000">
            <a:off x="8629406" y="4040113"/>
            <a:ext cx="3944687" cy="6315075"/>
          </a:xfrm>
          <a:custGeom>
            <a:avLst/>
            <a:gdLst>
              <a:gd name="connsiteX0" fmla="*/ 0 w 2571750"/>
              <a:gd name="connsiteY0" fmla="*/ 0 h 5486400"/>
              <a:gd name="connsiteX1" fmla="*/ 2571750 w 2571750"/>
              <a:gd name="connsiteY1" fmla="*/ 0 h 5486400"/>
              <a:gd name="connsiteX2" fmla="*/ 2571750 w 2571750"/>
              <a:gd name="connsiteY2" fmla="*/ 5486400 h 5486400"/>
              <a:gd name="connsiteX3" fmla="*/ 0 w 2571750"/>
              <a:gd name="connsiteY3" fmla="*/ 5486400 h 5486400"/>
              <a:gd name="connsiteX4" fmla="*/ 0 w 2571750"/>
              <a:gd name="connsiteY4" fmla="*/ 0 h 5486400"/>
              <a:gd name="connsiteX0" fmla="*/ 0 w 2754630"/>
              <a:gd name="connsiteY0" fmla="*/ 0 h 5486400"/>
              <a:gd name="connsiteX1" fmla="*/ 2754630 w 2754630"/>
              <a:gd name="connsiteY1" fmla="*/ 15240 h 5486400"/>
              <a:gd name="connsiteX2" fmla="*/ 2571750 w 2754630"/>
              <a:gd name="connsiteY2" fmla="*/ 5486400 h 5486400"/>
              <a:gd name="connsiteX3" fmla="*/ 0 w 2754630"/>
              <a:gd name="connsiteY3" fmla="*/ 5486400 h 5486400"/>
              <a:gd name="connsiteX4" fmla="*/ 0 w 2754630"/>
              <a:gd name="connsiteY4" fmla="*/ 0 h 5486400"/>
              <a:gd name="connsiteX0" fmla="*/ 0 w 2945130"/>
              <a:gd name="connsiteY0" fmla="*/ 0 h 5486400"/>
              <a:gd name="connsiteX1" fmla="*/ 2945130 w 2945130"/>
              <a:gd name="connsiteY1" fmla="*/ 68580 h 5486400"/>
              <a:gd name="connsiteX2" fmla="*/ 2571750 w 2945130"/>
              <a:gd name="connsiteY2" fmla="*/ 5486400 h 5486400"/>
              <a:gd name="connsiteX3" fmla="*/ 0 w 2945130"/>
              <a:gd name="connsiteY3" fmla="*/ 5486400 h 5486400"/>
              <a:gd name="connsiteX4" fmla="*/ 0 w 2945130"/>
              <a:gd name="connsiteY4" fmla="*/ 0 h 5486400"/>
              <a:gd name="connsiteX0" fmla="*/ 0 w 2922270"/>
              <a:gd name="connsiteY0" fmla="*/ 0 h 5486400"/>
              <a:gd name="connsiteX1" fmla="*/ 2922270 w 2922270"/>
              <a:gd name="connsiteY1" fmla="*/ 68580 h 5486400"/>
              <a:gd name="connsiteX2" fmla="*/ 2571750 w 2922270"/>
              <a:gd name="connsiteY2" fmla="*/ 5486400 h 5486400"/>
              <a:gd name="connsiteX3" fmla="*/ 0 w 2922270"/>
              <a:gd name="connsiteY3" fmla="*/ 5486400 h 5486400"/>
              <a:gd name="connsiteX4" fmla="*/ 0 w 2922270"/>
              <a:gd name="connsiteY4" fmla="*/ 0 h 5486400"/>
              <a:gd name="connsiteX0" fmla="*/ 0 w 2945130"/>
              <a:gd name="connsiteY0" fmla="*/ 0 h 5478780"/>
              <a:gd name="connsiteX1" fmla="*/ 2945130 w 2945130"/>
              <a:gd name="connsiteY1" fmla="*/ 60960 h 5478780"/>
              <a:gd name="connsiteX2" fmla="*/ 2594610 w 2945130"/>
              <a:gd name="connsiteY2" fmla="*/ 5478780 h 5478780"/>
              <a:gd name="connsiteX3" fmla="*/ 22860 w 2945130"/>
              <a:gd name="connsiteY3" fmla="*/ 5478780 h 5478780"/>
              <a:gd name="connsiteX4" fmla="*/ 0 w 2945130"/>
              <a:gd name="connsiteY4" fmla="*/ 0 h 5478780"/>
              <a:gd name="connsiteX0" fmla="*/ 0 w 2975610"/>
              <a:gd name="connsiteY0" fmla="*/ 0 h 5509260"/>
              <a:gd name="connsiteX1" fmla="*/ 2975610 w 2975610"/>
              <a:gd name="connsiteY1" fmla="*/ 91440 h 5509260"/>
              <a:gd name="connsiteX2" fmla="*/ 2625090 w 2975610"/>
              <a:gd name="connsiteY2" fmla="*/ 5509260 h 5509260"/>
              <a:gd name="connsiteX3" fmla="*/ 53340 w 2975610"/>
              <a:gd name="connsiteY3" fmla="*/ 5509260 h 5509260"/>
              <a:gd name="connsiteX4" fmla="*/ 0 w 2975610"/>
              <a:gd name="connsiteY4" fmla="*/ 0 h 5509260"/>
              <a:gd name="connsiteX0" fmla="*/ 0 w 2967990"/>
              <a:gd name="connsiteY0" fmla="*/ 0 h 5486400"/>
              <a:gd name="connsiteX1" fmla="*/ 2967990 w 2967990"/>
              <a:gd name="connsiteY1" fmla="*/ 68580 h 5486400"/>
              <a:gd name="connsiteX2" fmla="*/ 2617470 w 2967990"/>
              <a:gd name="connsiteY2" fmla="*/ 5486400 h 5486400"/>
              <a:gd name="connsiteX3" fmla="*/ 45720 w 2967990"/>
              <a:gd name="connsiteY3" fmla="*/ 5486400 h 5486400"/>
              <a:gd name="connsiteX4" fmla="*/ 0 w 2967990"/>
              <a:gd name="connsiteY4" fmla="*/ 0 h 5486400"/>
              <a:gd name="connsiteX0" fmla="*/ 0 w 3097530"/>
              <a:gd name="connsiteY0" fmla="*/ 0 h 5486400"/>
              <a:gd name="connsiteX1" fmla="*/ 2967990 w 3097530"/>
              <a:gd name="connsiteY1" fmla="*/ 68580 h 5486400"/>
              <a:gd name="connsiteX2" fmla="*/ 3097530 w 3097530"/>
              <a:gd name="connsiteY2" fmla="*/ 5242560 h 5486400"/>
              <a:gd name="connsiteX3" fmla="*/ 45720 w 3097530"/>
              <a:gd name="connsiteY3" fmla="*/ 5486400 h 5486400"/>
              <a:gd name="connsiteX4" fmla="*/ 0 w 3097530"/>
              <a:gd name="connsiteY4" fmla="*/ 0 h 5486400"/>
              <a:gd name="connsiteX0" fmla="*/ 0 w 3166110"/>
              <a:gd name="connsiteY0" fmla="*/ 0 h 5486400"/>
              <a:gd name="connsiteX1" fmla="*/ 2967990 w 3166110"/>
              <a:gd name="connsiteY1" fmla="*/ 68580 h 5486400"/>
              <a:gd name="connsiteX2" fmla="*/ 3166110 w 3166110"/>
              <a:gd name="connsiteY2" fmla="*/ 5128260 h 5486400"/>
              <a:gd name="connsiteX3" fmla="*/ 45720 w 3166110"/>
              <a:gd name="connsiteY3" fmla="*/ 5486400 h 5486400"/>
              <a:gd name="connsiteX4" fmla="*/ 0 w 3166110"/>
              <a:gd name="connsiteY4" fmla="*/ 0 h 5486400"/>
              <a:gd name="connsiteX0" fmla="*/ 0 w 3128010"/>
              <a:gd name="connsiteY0" fmla="*/ 0 h 5486400"/>
              <a:gd name="connsiteX1" fmla="*/ 2967990 w 3128010"/>
              <a:gd name="connsiteY1" fmla="*/ 68580 h 5486400"/>
              <a:gd name="connsiteX2" fmla="*/ 3128010 w 3128010"/>
              <a:gd name="connsiteY2" fmla="*/ 5113020 h 5486400"/>
              <a:gd name="connsiteX3" fmla="*/ 45720 w 3128010"/>
              <a:gd name="connsiteY3" fmla="*/ 5486400 h 5486400"/>
              <a:gd name="connsiteX4" fmla="*/ 0 w 3128010"/>
              <a:gd name="connsiteY4" fmla="*/ 0 h 5486400"/>
              <a:gd name="connsiteX0" fmla="*/ 0 w 3120390"/>
              <a:gd name="connsiteY0" fmla="*/ 0 h 5486400"/>
              <a:gd name="connsiteX1" fmla="*/ 2967990 w 3120390"/>
              <a:gd name="connsiteY1" fmla="*/ 68580 h 5486400"/>
              <a:gd name="connsiteX2" fmla="*/ 3120390 w 3120390"/>
              <a:gd name="connsiteY2" fmla="*/ 5105400 h 5486400"/>
              <a:gd name="connsiteX3" fmla="*/ 45720 w 3120390"/>
              <a:gd name="connsiteY3" fmla="*/ 5486400 h 5486400"/>
              <a:gd name="connsiteX4" fmla="*/ 0 w 3120390"/>
              <a:gd name="connsiteY4" fmla="*/ 0 h 5486400"/>
              <a:gd name="connsiteX0" fmla="*/ 0 w 3120390"/>
              <a:gd name="connsiteY0" fmla="*/ 0 h 5486400"/>
              <a:gd name="connsiteX1" fmla="*/ 2967990 w 3120390"/>
              <a:gd name="connsiteY1" fmla="*/ 68580 h 5486400"/>
              <a:gd name="connsiteX2" fmla="*/ 3120390 w 3120390"/>
              <a:gd name="connsiteY2" fmla="*/ 5090160 h 5486400"/>
              <a:gd name="connsiteX3" fmla="*/ 45720 w 3120390"/>
              <a:gd name="connsiteY3" fmla="*/ 5486400 h 5486400"/>
              <a:gd name="connsiteX4" fmla="*/ 0 w 3120390"/>
              <a:gd name="connsiteY4" fmla="*/ 0 h 5486400"/>
              <a:gd name="connsiteX0" fmla="*/ 0 w 3143250"/>
              <a:gd name="connsiteY0" fmla="*/ 0 h 5486400"/>
              <a:gd name="connsiteX1" fmla="*/ 2967990 w 3143250"/>
              <a:gd name="connsiteY1" fmla="*/ 68580 h 5486400"/>
              <a:gd name="connsiteX2" fmla="*/ 3143250 w 3143250"/>
              <a:gd name="connsiteY2" fmla="*/ 5082540 h 5486400"/>
              <a:gd name="connsiteX3" fmla="*/ 45720 w 3143250"/>
              <a:gd name="connsiteY3" fmla="*/ 5486400 h 5486400"/>
              <a:gd name="connsiteX4" fmla="*/ 0 w 3143250"/>
              <a:gd name="connsiteY4" fmla="*/ 0 h 5486400"/>
              <a:gd name="connsiteX0" fmla="*/ 0 w 3143250"/>
              <a:gd name="connsiteY0" fmla="*/ 0 h 5486400"/>
              <a:gd name="connsiteX1" fmla="*/ 2967990 w 3143250"/>
              <a:gd name="connsiteY1" fmla="*/ 68580 h 5486400"/>
              <a:gd name="connsiteX2" fmla="*/ 3143250 w 3143250"/>
              <a:gd name="connsiteY2" fmla="*/ 5067300 h 5486400"/>
              <a:gd name="connsiteX3" fmla="*/ 45720 w 3143250"/>
              <a:gd name="connsiteY3" fmla="*/ 5486400 h 5486400"/>
              <a:gd name="connsiteX4" fmla="*/ 0 w 3143250"/>
              <a:gd name="connsiteY4" fmla="*/ 0 h 5486400"/>
              <a:gd name="connsiteX0" fmla="*/ 0 w 3143250"/>
              <a:gd name="connsiteY0" fmla="*/ 0 h 5364480"/>
              <a:gd name="connsiteX1" fmla="*/ 2967990 w 3143250"/>
              <a:gd name="connsiteY1" fmla="*/ 68580 h 5364480"/>
              <a:gd name="connsiteX2" fmla="*/ 3143250 w 3143250"/>
              <a:gd name="connsiteY2" fmla="*/ 5067300 h 5364480"/>
              <a:gd name="connsiteX3" fmla="*/ 137160 w 3143250"/>
              <a:gd name="connsiteY3" fmla="*/ 5364480 h 5364480"/>
              <a:gd name="connsiteX4" fmla="*/ 0 w 3143250"/>
              <a:gd name="connsiteY4" fmla="*/ 0 h 5364480"/>
              <a:gd name="connsiteX0" fmla="*/ 0 w 3143250"/>
              <a:gd name="connsiteY0" fmla="*/ 0 h 5212080"/>
              <a:gd name="connsiteX1" fmla="*/ 2967990 w 3143250"/>
              <a:gd name="connsiteY1" fmla="*/ 68580 h 5212080"/>
              <a:gd name="connsiteX2" fmla="*/ 3143250 w 3143250"/>
              <a:gd name="connsiteY2" fmla="*/ 5067300 h 5212080"/>
              <a:gd name="connsiteX3" fmla="*/ 152400 w 3143250"/>
              <a:gd name="connsiteY3" fmla="*/ 5212080 h 5212080"/>
              <a:gd name="connsiteX4" fmla="*/ 0 w 3143250"/>
              <a:gd name="connsiteY4" fmla="*/ 0 h 5212080"/>
              <a:gd name="connsiteX0" fmla="*/ 0 w 3143250"/>
              <a:gd name="connsiteY0" fmla="*/ 0 h 5113020"/>
              <a:gd name="connsiteX1" fmla="*/ 2967990 w 3143250"/>
              <a:gd name="connsiteY1" fmla="*/ 68580 h 5113020"/>
              <a:gd name="connsiteX2" fmla="*/ 3143250 w 3143250"/>
              <a:gd name="connsiteY2" fmla="*/ 5067300 h 5113020"/>
              <a:gd name="connsiteX3" fmla="*/ 198120 w 3143250"/>
              <a:gd name="connsiteY3" fmla="*/ 5113020 h 5113020"/>
              <a:gd name="connsiteX4" fmla="*/ 0 w 3143250"/>
              <a:gd name="connsiteY4" fmla="*/ 0 h 5113020"/>
              <a:gd name="connsiteX0" fmla="*/ 0 w 3143250"/>
              <a:gd name="connsiteY0" fmla="*/ 0 h 5097780"/>
              <a:gd name="connsiteX1" fmla="*/ 2967990 w 3143250"/>
              <a:gd name="connsiteY1" fmla="*/ 68580 h 5097780"/>
              <a:gd name="connsiteX2" fmla="*/ 3143250 w 3143250"/>
              <a:gd name="connsiteY2" fmla="*/ 5067300 h 5097780"/>
              <a:gd name="connsiteX3" fmla="*/ 236220 w 3143250"/>
              <a:gd name="connsiteY3" fmla="*/ 5097780 h 5097780"/>
              <a:gd name="connsiteX4" fmla="*/ 0 w 3143250"/>
              <a:gd name="connsiteY4" fmla="*/ 0 h 5097780"/>
              <a:gd name="connsiteX0" fmla="*/ 0 w 3143250"/>
              <a:gd name="connsiteY0" fmla="*/ 0 h 5067300"/>
              <a:gd name="connsiteX1" fmla="*/ 2967990 w 3143250"/>
              <a:gd name="connsiteY1" fmla="*/ 68580 h 5067300"/>
              <a:gd name="connsiteX2" fmla="*/ 3143250 w 3143250"/>
              <a:gd name="connsiteY2" fmla="*/ 5067300 h 5067300"/>
              <a:gd name="connsiteX3" fmla="*/ 236220 w 3143250"/>
              <a:gd name="connsiteY3" fmla="*/ 5029200 h 5067300"/>
              <a:gd name="connsiteX4" fmla="*/ 0 w 3143250"/>
              <a:gd name="connsiteY4" fmla="*/ 0 h 5067300"/>
              <a:gd name="connsiteX0" fmla="*/ 0 w 3143250"/>
              <a:gd name="connsiteY0" fmla="*/ 0 h 5067300"/>
              <a:gd name="connsiteX1" fmla="*/ 2967990 w 3143250"/>
              <a:gd name="connsiteY1" fmla="*/ 68580 h 5067300"/>
              <a:gd name="connsiteX2" fmla="*/ 3143250 w 3143250"/>
              <a:gd name="connsiteY2" fmla="*/ 5067300 h 5067300"/>
              <a:gd name="connsiteX3" fmla="*/ 266700 w 3143250"/>
              <a:gd name="connsiteY3" fmla="*/ 5067300 h 5067300"/>
              <a:gd name="connsiteX4" fmla="*/ 0 w 3143250"/>
              <a:gd name="connsiteY4" fmla="*/ 0 h 5067300"/>
              <a:gd name="connsiteX0" fmla="*/ 0 w 3143250"/>
              <a:gd name="connsiteY0" fmla="*/ 0 h 5067300"/>
              <a:gd name="connsiteX1" fmla="*/ 2967990 w 3143250"/>
              <a:gd name="connsiteY1" fmla="*/ 68580 h 5067300"/>
              <a:gd name="connsiteX2" fmla="*/ 3143250 w 3143250"/>
              <a:gd name="connsiteY2" fmla="*/ 5067300 h 5067300"/>
              <a:gd name="connsiteX3" fmla="*/ 259080 w 3143250"/>
              <a:gd name="connsiteY3" fmla="*/ 5067300 h 5067300"/>
              <a:gd name="connsiteX4" fmla="*/ 0 w 3143250"/>
              <a:gd name="connsiteY4" fmla="*/ 0 h 5067300"/>
              <a:gd name="connsiteX0" fmla="*/ 0 w 3128010"/>
              <a:gd name="connsiteY0" fmla="*/ 0 h 5067300"/>
              <a:gd name="connsiteX1" fmla="*/ 2967990 w 3128010"/>
              <a:gd name="connsiteY1" fmla="*/ 68580 h 5067300"/>
              <a:gd name="connsiteX2" fmla="*/ 3128010 w 3128010"/>
              <a:gd name="connsiteY2" fmla="*/ 5067300 h 5067300"/>
              <a:gd name="connsiteX3" fmla="*/ 259080 w 3128010"/>
              <a:gd name="connsiteY3" fmla="*/ 5067300 h 5067300"/>
              <a:gd name="connsiteX4" fmla="*/ 0 w 3128010"/>
              <a:gd name="connsiteY4" fmla="*/ 0 h 5067300"/>
              <a:gd name="connsiteX0" fmla="*/ 0 w 3105150"/>
              <a:gd name="connsiteY0" fmla="*/ 0 h 5074920"/>
              <a:gd name="connsiteX1" fmla="*/ 2967990 w 3105150"/>
              <a:gd name="connsiteY1" fmla="*/ 68580 h 5074920"/>
              <a:gd name="connsiteX2" fmla="*/ 3105150 w 3105150"/>
              <a:gd name="connsiteY2" fmla="*/ 5074920 h 5074920"/>
              <a:gd name="connsiteX3" fmla="*/ 259080 w 3105150"/>
              <a:gd name="connsiteY3" fmla="*/ 5067300 h 5074920"/>
              <a:gd name="connsiteX4" fmla="*/ 0 w 3105150"/>
              <a:gd name="connsiteY4" fmla="*/ 0 h 5074920"/>
              <a:gd name="connsiteX0" fmla="*/ 0 w 3082290"/>
              <a:gd name="connsiteY0" fmla="*/ 0 h 5074920"/>
              <a:gd name="connsiteX1" fmla="*/ 2967990 w 3082290"/>
              <a:gd name="connsiteY1" fmla="*/ 68580 h 5074920"/>
              <a:gd name="connsiteX2" fmla="*/ 3082290 w 3082290"/>
              <a:gd name="connsiteY2" fmla="*/ 5074920 h 5074920"/>
              <a:gd name="connsiteX3" fmla="*/ 259080 w 3082290"/>
              <a:gd name="connsiteY3" fmla="*/ 5067300 h 5074920"/>
              <a:gd name="connsiteX4" fmla="*/ 0 w 3082290"/>
              <a:gd name="connsiteY4" fmla="*/ 0 h 5074920"/>
              <a:gd name="connsiteX0" fmla="*/ 0 w 3059430"/>
              <a:gd name="connsiteY0" fmla="*/ 0 h 5074920"/>
              <a:gd name="connsiteX1" fmla="*/ 2967990 w 3059430"/>
              <a:gd name="connsiteY1" fmla="*/ 68580 h 5074920"/>
              <a:gd name="connsiteX2" fmla="*/ 3059430 w 3059430"/>
              <a:gd name="connsiteY2" fmla="*/ 5074920 h 5074920"/>
              <a:gd name="connsiteX3" fmla="*/ 259080 w 3059430"/>
              <a:gd name="connsiteY3" fmla="*/ 5067300 h 5074920"/>
              <a:gd name="connsiteX4" fmla="*/ 0 w 3059430"/>
              <a:gd name="connsiteY4" fmla="*/ 0 h 5074920"/>
              <a:gd name="connsiteX0" fmla="*/ 0 w 3105150"/>
              <a:gd name="connsiteY0" fmla="*/ 0 h 5052060"/>
              <a:gd name="connsiteX1" fmla="*/ 3013710 w 3105150"/>
              <a:gd name="connsiteY1" fmla="*/ 45720 h 5052060"/>
              <a:gd name="connsiteX2" fmla="*/ 3105150 w 3105150"/>
              <a:gd name="connsiteY2" fmla="*/ 5052060 h 5052060"/>
              <a:gd name="connsiteX3" fmla="*/ 304800 w 3105150"/>
              <a:gd name="connsiteY3" fmla="*/ 5044440 h 5052060"/>
              <a:gd name="connsiteX4" fmla="*/ 0 w 3105150"/>
              <a:gd name="connsiteY4" fmla="*/ 0 h 5052060"/>
              <a:gd name="connsiteX0" fmla="*/ 0 w 3120390"/>
              <a:gd name="connsiteY0" fmla="*/ 0 h 5052060"/>
              <a:gd name="connsiteX1" fmla="*/ 3028950 w 3120390"/>
              <a:gd name="connsiteY1" fmla="*/ 4572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90850 w 3120390"/>
              <a:gd name="connsiteY1" fmla="*/ 5334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52750 w 3120390"/>
              <a:gd name="connsiteY1" fmla="*/ 6858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22270 w 3120390"/>
              <a:gd name="connsiteY1" fmla="*/ 6858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22270 w 3120390"/>
              <a:gd name="connsiteY1" fmla="*/ 9144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50870"/>
              <a:gd name="connsiteY0" fmla="*/ 0 h 5052060"/>
              <a:gd name="connsiteX1" fmla="*/ 2922270 w 3150870"/>
              <a:gd name="connsiteY1" fmla="*/ 91440 h 5052060"/>
              <a:gd name="connsiteX2" fmla="*/ 3150870 w 3150870"/>
              <a:gd name="connsiteY2" fmla="*/ 5052060 h 5052060"/>
              <a:gd name="connsiteX3" fmla="*/ 320040 w 3150870"/>
              <a:gd name="connsiteY3" fmla="*/ 5044440 h 5052060"/>
              <a:gd name="connsiteX4" fmla="*/ 0 w 3150870"/>
              <a:gd name="connsiteY4" fmla="*/ 0 h 505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0870" h="5052060">
                <a:moveTo>
                  <a:pt x="0" y="0"/>
                </a:moveTo>
                <a:lnTo>
                  <a:pt x="2922270" y="91440"/>
                </a:lnTo>
                <a:lnTo>
                  <a:pt x="3150870" y="5052060"/>
                </a:lnTo>
                <a:lnTo>
                  <a:pt x="320040" y="504444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63500">
              <a:schemeClr val="tx1">
                <a:lumMod val="75000"/>
                <a:lumOff val="25000"/>
              </a:schemeClr>
            </a:innerShdw>
          </a:effectLst>
          <a:scene3d>
            <a:camera prst="perspectiveContrastingRightFacing" fov="2400000">
              <a:rot lat="21041954" lon="18810792" rev="923834"/>
            </a:camera>
            <a:lightRig rig="threePt" dir="t"/>
          </a:scene3d>
        </p:spPr>
        <p:txBody>
          <a:bodyPr/>
          <a:lstStyle>
            <a:lvl1pPr marL="0" indent="0" algn="ctr">
              <a:buNone/>
              <a:defRPr sz="3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9A1E2D98-AE7B-4AF9-97E3-917FC4A0414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594247" y="2821314"/>
            <a:ext cx="3944687" cy="6315075"/>
          </a:xfrm>
          <a:custGeom>
            <a:avLst/>
            <a:gdLst>
              <a:gd name="connsiteX0" fmla="*/ 0 w 2571750"/>
              <a:gd name="connsiteY0" fmla="*/ 0 h 5486400"/>
              <a:gd name="connsiteX1" fmla="*/ 2571750 w 2571750"/>
              <a:gd name="connsiteY1" fmla="*/ 0 h 5486400"/>
              <a:gd name="connsiteX2" fmla="*/ 2571750 w 2571750"/>
              <a:gd name="connsiteY2" fmla="*/ 5486400 h 5486400"/>
              <a:gd name="connsiteX3" fmla="*/ 0 w 2571750"/>
              <a:gd name="connsiteY3" fmla="*/ 5486400 h 5486400"/>
              <a:gd name="connsiteX4" fmla="*/ 0 w 2571750"/>
              <a:gd name="connsiteY4" fmla="*/ 0 h 5486400"/>
              <a:gd name="connsiteX0" fmla="*/ 0 w 2754630"/>
              <a:gd name="connsiteY0" fmla="*/ 0 h 5486400"/>
              <a:gd name="connsiteX1" fmla="*/ 2754630 w 2754630"/>
              <a:gd name="connsiteY1" fmla="*/ 15240 h 5486400"/>
              <a:gd name="connsiteX2" fmla="*/ 2571750 w 2754630"/>
              <a:gd name="connsiteY2" fmla="*/ 5486400 h 5486400"/>
              <a:gd name="connsiteX3" fmla="*/ 0 w 2754630"/>
              <a:gd name="connsiteY3" fmla="*/ 5486400 h 5486400"/>
              <a:gd name="connsiteX4" fmla="*/ 0 w 2754630"/>
              <a:gd name="connsiteY4" fmla="*/ 0 h 5486400"/>
              <a:gd name="connsiteX0" fmla="*/ 0 w 2945130"/>
              <a:gd name="connsiteY0" fmla="*/ 0 h 5486400"/>
              <a:gd name="connsiteX1" fmla="*/ 2945130 w 2945130"/>
              <a:gd name="connsiteY1" fmla="*/ 68580 h 5486400"/>
              <a:gd name="connsiteX2" fmla="*/ 2571750 w 2945130"/>
              <a:gd name="connsiteY2" fmla="*/ 5486400 h 5486400"/>
              <a:gd name="connsiteX3" fmla="*/ 0 w 2945130"/>
              <a:gd name="connsiteY3" fmla="*/ 5486400 h 5486400"/>
              <a:gd name="connsiteX4" fmla="*/ 0 w 2945130"/>
              <a:gd name="connsiteY4" fmla="*/ 0 h 5486400"/>
              <a:gd name="connsiteX0" fmla="*/ 0 w 2922270"/>
              <a:gd name="connsiteY0" fmla="*/ 0 h 5486400"/>
              <a:gd name="connsiteX1" fmla="*/ 2922270 w 2922270"/>
              <a:gd name="connsiteY1" fmla="*/ 68580 h 5486400"/>
              <a:gd name="connsiteX2" fmla="*/ 2571750 w 2922270"/>
              <a:gd name="connsiteY2" fmla="*/ 5486400 h 5486400"/>
              <a:gd name="connsiteX3" fmla="*/ 0 w 2922270"/>
              <a:gd name="connsiteY3" fmla="*/ 5486400 h 5486400"/>
              <a:gd name="connsiteX4" fmla="*/ 0 w 2922270"/>
              <a:gd name="connsiteY4" fmla="*/ 0 h 5486400"/>
              <a:gd name="connsiteX0" fmla="*/ 0 w 2945130"/>
              <a:gd name="connsiteY0" fmla="*/ 0 h 5478780"/>
              <a:gd name="connsiteX1" fmla="*/ 2945130 w 2945130"/>
              <a:gd name="connsiteY1" fmla="*/ 60960 h 5478780"/>
              <a:gd name="connsiteX2" fmla="*/ 2594610 w 2945130"/>
              <a:gd name="connsiteY2" fmla="*/ 5478780 h 5478780"/>
              <a:gd name="connsiteX3" fmla="*/ 22860 w 2945130"/>
              <a:gd name="connsiteY3" fmla="*/ 5478780 h 5478780"/>
              <a:gd name="connsiteX4" fmla="*/ 0 w 2945130"/>
              <a:gd name="connsiteY4" fmla="*/ 0 h 5478780"/>
              <a:gd name="connsiteX0" fmla="*/ 0 w 2975610"/>
              <a:gd name="connsiteY0" fmla="*/ 0 h 5509260"/>
              <a:gd name="connsiteX1" fmla="*/ 2975610 w 2975610"/>
              <a:gd name="connsiteY1" fmla="*/ 91440 h 5509260"/>
              <a:gd name="connsiteX2" fmla="*/ 2625090 w 2975610"/>
              <a:gd name="connsiteY2" fmla="*/ 5509260 h 5509260"/>
              <a:gd name="connsiteX3" fmla="*/ 53340 w 2975610"/>
              <a:gd name="connsiteY3" fmla="*/ 5509260 h 5509260"/>
              <a:gd name="connsiteX4" fmla="*/ 0 w 2975610"/>
              <a:gd name="connsiteY4" fmla="*/ 0 h 5509260"/>
              <a:gd name="connsiteX0" fmla="*/ 0 w 2967990"/>
              <a:gd name="connsiteY0" fmla="*/ 0 h 5486400"/>
              <a:gd name="connsiteX1" fmla="*/ 2967990 w 2967990"/>
              <a:gd name="connsiteY1" fmla="*/ 68580 h 5486400"/>
              <a:gd name="connsiteX2" fmla="*/ 2617470 w 2967990"/>
              <a:gd name="connsiteY2" fmla="*/ 5486400 h 5486400"/>
              <a:gd name="connsiteX3" fmla="*/ 45720 w 2967990"/>
              <a:gd name="connsiteY3" fmla="*/ 5486400 h 5486400"/>
              <a:gd name="connsiteX4" fmla="*/ 0 w 2967990"/>
              <a:gd name="connsiteY4" fmla="*/ 0 h 5486400"/>
              <a:gd name="connsiteX0" fmla="*/ 0 w 3097530"/>
              <a:gd name="connsiteY0" fmla="*/ 0 h 5486400"/>
              <a:gd name="connsiteX1" fmla="*/ 2967990 w 3097530"/>
              <a:gd name="connsiteY1" fmla="*/ 68580 h 5486400"/>
              <a:gd name="connsiteX2" fmla="*/ 3097530 w 3097530"/>
              <a:gd name="connsiteY2" fmla="*/ 5242560 h 5486400"/>
              <a:gd name="connsiteX3" fmla="*/ 45720 w 3097530"/>
              <a:gd name="connsiteY3" fmla="*/ 5486400 h 5486400"/>
              <a:gd name="connsiteX4" fmla="*/ 0 w 3097530"/>
              <a:gd name="connsiteY4" fmla="*/ 0 h 5486400"/>
              <a:gd name="connsiteX0" fmla="*/ 0 w 3166110"/>
              <a:gd name="connsiteY0" fmla="*/ 0 h 5486400"/>
              <a:gd name="connsiteX1" fmla="*/ 2967990 w 3166110"/>
              <a:gd name="connsiteY1" fmla="*/ 68580 h 5486400"/>
              <a:gd name="connsiteX2" fmla="*/ 3166110 w 3166110"/>
              <a:gd name="connsiteY2" fmla="*/ 5128260 h 5486400"/>
              <a:gd name="connsiteX3" fmla="*/ 45720 w 3166110"/>
              <a:gd name="connsiteY3" fmla="*/ 5486400 h 5486400"/>
              <a:gd name="connsiteX4" fmla="*/ 0 w 3166110"/>
              <a:gd name="connsiteY4" fmla="*/ 0 h 5486400"/>
              <a:gd name="connsiteX0" fmla="*/ 0 w 3128010"/>
              <a:gd name="connsiteY0" fmla="*/ 0 h 5486400"/>
              <a:gd name="connsiteX1" fmla="*/ 2967990 w 3128010"/>
              <a:gd name="connsiteY1" fmla="*/ 68580 h 5486400"/>
              <a:gd name="connsiteX2" fmla="*/ 3128010 w 3128010"/>
              <a:gd name="connsiteY2" fmla="*/ 5113020 h 5486400"/>
              <a:gd name="connsiteX3" fmla="*/ 45720 w 3128010"/>
              <a:gd name="connsiteY3" fmla="*/ 5486400 h 5486400"/>
              <a:gd name="connsiteX4" fmla="*/ 0 w 3128010"/>
              <a:gd name="connsiteY4" fmla="*/ 0 h 5486400"/>
              <a:gd name="connsiteX0" fmla="*/ 0 w 3120390"/>
              <a:gd name="connsiteY0" fmla="*/ 0 h 5486400"/>
              <a:gd name="connsiteX1" fmla="*/ 2967990 w 3120390"/>
              <a:gd name="connsiteY1" fmla="*/ 68580 h 5486400"/>
              <a:gd name="connsiteX2" fmla="*/ 3120390 w 3120390"/>
              <a:gd name="connsiteY2" fmla="*/ 5105400 h 5486400"/>
              <a:gd name="connsiteX3" fmla="*/ 45720 w 3120390"/>
              <a:gd name="connsiteY3" fmla="*/ 5486400 h 5486400"/>
              <a:gd name="connsiteX4" fmla="*/ 0 w 3120390"/>
              <a:gd name="connsiteY4" fmla="*/ 0 h 5486400"/>
              <a:gd name="connsiteX0" fmla="*/ 0 w 3120390"/>
              <a:gd name="connsiteY0" fmla="*/ 0 h 5486400"/>
              <a:gd name="connsiteX1" fmla="*/ 2967990 w 3120390"/>
              <a:gd name="connsiteY1" fmla="*/ 68580 h 5486400"/>
              <a:gd name="connsiteX2" fmla="*/ 3120390 w 3120390"/>
              <a:gd name="connsiteY2" fmla="*/ 5090160 h 5486400"/>
              <a:gd name="connsiteX3" fmla="*/ 45720 w 3120390"/>
              <a:gd name="connsiteY3" fmla="*/ 5486400 h 5486400"/>
              <a:gd name="connsiteX4" fmla="*/ 0 w 3120390"/>
              <a:gd name="connsiteY4" fmla="*/ 0 h 5486400"/>
              <a:gd name="connsiteX0" fmla="*/ 0 w 3143250"/>
              <a:gd name="connsiteY0" fmla="*/ 0 h 5486400"/>
              <a:gd name="connsiteX1" fmla="*/ 2967990 w 3143250"/>
              <a:gd name="connsiteY1" fmla="*/ 68580 h 5486400"/>
              <a:gd name="connsiteX2" fmla="*/ 3143250 w 3143250"/>
              <a:gd name="connsiteY2" fmla="*/ 5082540 h 5486400"/>
              <a:gd name="connsiteX3" fmla="*/ 45720 w 3143250"/>
              <a:gd name="connsiteY3" fmla="*/ 5486400 h 5486400"/>
              <a:gd name="connsiteX4" fmla="*/ 0 w 3143250"/>
              <a:gd name="connsiteY4" fmla="*/ 0 h 5486400"/>
              <a:gd name="connsiteX0" fmla="*/ 0 w 3143250"/>
              <a:gd name="connsiteY0" fmla="*/ 0 h 5486400"/>
              <a:gd name="connsiteX1" fmla="*/ 2967990 w 3143250"/>
              <a:gd name="connsiteY1" fmla="*/ 68580 h 5486400"/>
              <a:gd name="connsiteX2" fmla="*/ 3143250 w 3143250"/>
              <a:gd name="connsiteY2" fmla="*/ 5067300 h 5486400"/>
              <a:gd name="connsiteX3" fmla="*/ 45720 w 3143250"/>
              <a:gd name="connsiteY3" fmla="*/ 5486400 h 5486400"/>
              <a:gd name="connsiteX4" fmla="*/ 0 w 3143250"/>
              <a:gd name="connsiteY4" fmla="*/ 0 h 5486400"/>
              <a:gd name="connsiteX0" fmla="*/ 0 w 3143250"/>
              <a:gd name="connsiteY0" fmla="*/ 0 h 5364480"/>
              <a:gd name="connsiteX1" fmla="*/ 2967990 w 3143250"/>
              <a:gd name="connsiteY1" fmla="*/ 68580 h 5364480"/>
              <a:gd name="connsiteX2" fmla="*/ 3143250 w 3143250"/>
              <a:gd name="connsiteY2" fmla="*/ 5067300 h 5364480"/>
              <a:gd name="connsiteX3" fmla="*/ 137160 w 3143250"/>
              <a:gd name="connsiteY3" fmla="*/ 5364480 h 5364480"/>
              <a:gd name="connsiteX4" fmla="*/ 0 w 3143250"/>
              <a:gd name="connsiteY4" fmla="*/ 0 h 5364480"/>
              <a:gd name="connsiteX0" fmla="*/ 0 w 3143250"/>
              <a:gd name="connsiteY0" fmla="*/ 0 h 5212080"/>
              <a:gd name="connsiteX1" fmla="*/ 2967990 w 3143250"/>
              <a:gd name="connsiteY1" fmla="*/ 68580 h 5212080"/>
              <a:gd name="connsiteX2" fmla="*/ 3143250 w 3143250"/>
              <a:gd name="connsiteY2" fmla="*/ 5067300 h 5212080"/>
              <a:gd name="connsiteX3" fmla="*/ 152400 w 3143250"/>
              <a:gd name="connsiteY3" fmla="*/ 5212080 h 5212080"/>
              <a:gd name="connsiteX4" fmla="*/ 0 w 3143250"/>
              <a:gd name="connsiteY4" fmla="*/ 0 h 5212080"/>
              <a:gd name="connsiteX0" fmla="*/ 0 w 3143250"/>
              <a:gd name="connsiteY0" fmla="*/ 0 h 5113020"/>
              <a:gd name="connsiteX1" fmla="*/ 2967990 w 3143250"/>
              <a:gd name="connsiteY1" fmla="*/ 68580 h 5113020"/>
              <a:gd name="connsiteX2" fmla="*/ 3143250 w 3143250"/>
              <a:gd name="connsiteY2" fmla="*/ 5067300 h 5113020"/>
              <a:gd name="connsiteX3" fmla="*/ 198120 w 3143250"/>
              <a:gd name="connsiteY3" fmla="*/ 5113020 h 5113020"/>
              <a:gd name="connsiteX4" fmla="*/ 0 w 3143250"/>
              <a:gd name="connsiteY4" fmla="*/ 0 h 5113020"/>
              <a:gd name="connsiteX0" fmla="*/ 0 w 3143250"/>
              <a:gd name="connsiteY0" fmla="*/ 0 h 5097780"/>
              <a:gd name="connsiteX1" fmla="*/ 2967990 w 3143250"/>
              <a:gd name="connsiteY1" fmla="*/ 68580 h 5097780"/>
              <a:gd name="connsiteX2" fmla="*/ 3143250 w 3143250"/>
              <a:gd name="connsiteY2" fmla="*/ 5067300 h 5097780"/>
              <a:gd name="connsiteX3" fmla="*/ 236220 w 3143250"/>
              <a:gd name="connsiteY3" fmla="*/ 5097780 h 5097780"/>
              <a:gd name="connsiteX4" fmla="*/ 0 w 3143250"/>
              <a:gd name="connsiteY4" fmla="*/ 0 h 5097780"/>
              <a:gd name="connsiteX0" fmla="*/ 0 w 3143250"/>
              <a:gd name="connsiteY0" fmla="*/ 0 h 5067300"/>
              <a:gd name="connsiteX1" fmla="*/ 2967990 w 3143250"/>
              <a:gd name="connsiteY1" fmla="*/ 68580 h 5067300"/>
              <a:gd name="connsiteX2" fmla="*/ 3143250 w 3143250"/>
              <a:gd name="connsiteY2" fmla="*/ 5067300 h 5067300"/>
              <a:gd name="connsiteX3" fmla="*/ 236220 w 3143250"/>
              <a:gd name="connsiteY3" fmla="*/ 5029200 h 5067300"/>
              <a:gd name="connsiteX4" fmla="*/ 0 w 3143250"/>
              <a:gd name="connsiteY4" fmla="*/ 0 h 5067300"/>
              <a:gd name="connsiteX0" fmla="*/ 0 w 3143250"/>
              <a:gd name="connsiteY0" fmla="*/ 0 h 5067300"/>
              <a:gd name="connsiteX1" fmla="*/ 2967990 w 3143250"/>
              <a:gd name="connsiteY1" fmla="*/ 68580 h 5067300"/>
              <a:gd name="connsiteX2" fmla="*/ 3143250 w 3143250"/>
              <a:gd name="connsiteY2" fmla="*/ 5067300 h 5067300"/>
              <a:gd name="connsiteX3" fmla="*/ 266700 w 3143250"/>
              <a:gd name="connsiteY3" fmla="*/ 5067300 h 5067300"/>
              <a:gd name="connsiteX4" fmla="*/ 0 w 3143250"/>
              <a:gd name="connsiteY4" fmla="*/ 0 h 5067300"/>
              <a:gd name="connsiteX0" fmla="*/ 0 w 3143250"/>
              <a:gd name="connsiteY0" fmla="*/ 0 h 5067300"/>
              <a:gd name="connsiteX1" fmla="*/ 2967990 w 3143250"/>
              <a:gd name="connsiteY1" fmla="*/ 68580 h 5067300"/>
              <a:gd name="connsiteX2" fmla="*/ 3143250 w 3143250"/>
              <a:gd name="connsiteY2" fmla="*/ 5067300 h 5067300"/>
              <a:gd name="connsiteX3" fmla="*/ 259080 w 3143250"/>
              <a:gd name="connsiteY3" fmla="*/ 5067300 h 5067300"/>
              <a:gd name="connsiteX4" fmla="*/ 0 w 3143250"/>
              <a:gd name="connsiteY4" fmla="*/ 0 h 5067300"/>
              <a:gd name="connsiteX0" fmla="*/ 0 w 3128010"/>
              <a:gd name="connsiteY0" fmla="*/ 0 h 5067300"/>
              <a:gd name="connsiteX1" fmla="*/ 2967990 w 3128010"/>
              <a:gd name="connsiteY1" fmla="*/ 68580 h 5067300"/>
              <a:gd name="connsiteX2" fmla="*/ 3128010 w 3128010"/>
              <a:gd name="connsiteY2" fmla="*/ 5067300 h 5067300"/>
              <a:gd name="connsiteX3" fmla="*/ 259080 w 3128010"/>
              <a:gd name="connsiteY3" fmla="*/ 5067300 h 5067300"/>
              <a:gd name="connsiteX4" fmla="*/ 0 w 3128010"/>
              <a:gd name="connsiteY4" fmla="*/ 0 h 5067300"/>
              <a:gd name="connsiteX0" fmla="*/ 0 w 3105150"/>
              <a:gd name="connsiteY0" fmla="*/ 0 h 5074920"/>
              <a:gd name="connsiteX1" fmla="*/ 2967990 w 3105150"/>
              <a:gd name="connsiteY1" fmla="*/ 68580 h 5074920"/>
              <a:gd name="connsiteX2" fmla="*/ 3105150 w 3105150"/>
              <a:gd name="connsiteY2" fmla="*/ 5074920 h 5074920"/>
              <a:gd name="connsiteX3" fmla="*/ 259080 w 3105150"/>
              <a:gd name="connsiteY3" fmla="*/ 5067300 h 5074920"/>
              <a:gd name="connsiteX4" fmla="*/ 0 w 3105150"/>
              <a:gd name="connsiteY4" fmla="*/ 0 h 5074920"/>
              <a:gd name="connsiteX0" fmla="*/ 0 w 3082290"/>
              <a:gd name="connsiteY0" fmla="*/ 0 h 5074920"/>
              <a:gd name="connsiteX1" fmla="*/ 2967990 w 3082290"/>
              <a:gd name="connsiteY1" fmla="*/ 68580 h 5074920"/>
              <a:gd name="connsiteX2" fmla="*/ 3082290 w 3082290"/>
              <a:gd name="connsiteY2" fmla="*/ 5074920 h 5074920"/>
              <a:gd name="connsiteX3" fmla="*/ 259080 w 3082290"/>
              <a:gd name="connsiteY3" fmla="*/ 5067300 h 5074920"/>
              <a:gd name="connsiteX4" fmla="*/ 0 w 3082290"/>
              <a:gd name="connsiteY4" fmla="*/ 0 h 5074920"/>
              <a:gd name="connsiteX0" fmla="*/ 0 w 3059430"/>
              <a:gd name="connsiteY0" fmla="*/ 0 h 5074920"/>
              <a:gd name="connsiteX1" fmla="*/ 2967990 w 3059430"/>
              <a:gd name="connsiteY1" fmla="*/ 68580 h 5074920"/>
              <a:gd name="connsiteX2" fmla="*/ 3059430 w 3059430"/>
              <a:gd name="connsiteY2" fmla="*/ 5074920 h 5074920"/>
              <a:gd name="connsiteX3" fmla="*/ 259080 w 3059430"/>
              <a:gd name="connsiteY3" fmla="*/ 5067300 h 5074920"/>
              <a:gd name="connsiteX4" fmla="*/ 0 w 3059430"/>
              <a:gd name="connsiteY4" fmla="*/ 0 h 5074920"/>
              <a:gd name="connsiteX0" fmla="*/ 0 w 3105150"/>
              <a:gd name="connsiteY0" fmla="*/ 0 h 5052060"/>
              <a:gd name="connsiteX1" fmla="*/ 3013710 w 3105150"/>
              <a:gd name="connsiteY1" fmla="*/ 45720 h 5052060"/>
              <a:gd name="connsiteX2" fmla="*/ 3105150 w 3105150"/>
              <a:gd name="connsiteY2" fmla="*/ 5052060 h 5052060"/>
              <a:gd name="connsiteX3" fmla="*/ 304800 w 3105150"/>
              <a:gd name="connsiteY3" fmla="*/ 5044440 h 5052060"/>
              <a:gd name="connsiteX4" fmla="*/ 0 w 3105150"/>
              <a:gd name="connsiteY4" fmla="*/ 0 h 5052060"/>
              <a:gd name="connsiteX0" fmla="*/ 0 w 3120390"/>
              <a:gd name="connsiteY0" fmla="*/ 0 h 5052060"/>
              <a:gd name="connsiteX1" fmla="*/ 3028950 w 3120390"/>
              <a:gd name="connsiteY1" fmla="*/ 4572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90850 w 3120390"/>
              <a:gd name="connsiteY1" fmla="*/ 5334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52750 w 3120390"/>
              <a:gd name="connsiteY1" fmla="*/ 6858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22270 w 3120390"/>
              <a:gd name="connsiteY1" fmla="*/ 6858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20390"/>
              <a:gd name="connsiteY0" fmla="*/ 0 h 5052060"/>
              <a:gd name="connsiteX1" fmla="*/ 2922270 w 3120390"/>
              <a:gd name="connsiteY1" fmla="*/ 91440 h 5052060"/>
              <a:gd name="connsiteX2" fmla="*/ 3120390 w 3120390"/>
              <a:gd name="connsiteY2" fmla="*/ 5052060 h 5052060"/>
              <a:gd name="connsiteX3" fmla="*/ 320040 w 3120390"/>
              <a:gd name="connsiteY3" fmla="*/ 5044440 h 5052060"/>
              <a:gd name="connsiteX4" fmla="*/ 0 w 3120390"/>
              <a:gd name="connsiteY4" fmla="*/ 0 h 5052060"/>
              <a:gd name="connsiteX0" fmla="*/ 0 w 3150870"/>
              <a:gd name="connsiteY0" fmla="*/ 0 h 5052060"/>
              <a:gd name="connsiteX1" fmla="*/ 2922270 w 3150870"/>
              <a:gd name="connsiteY1" fmla="*/ 91440 h 5052060"/>
              <a:gd name="connsiteX2" fmla="*/ 3150870 w 3150870"/>
              <a:gd name="connsiteY2" fmla="*/ 5052060 h 5052060"/>
              <a:gd name="connsiteX3" fmla="*/ 320040 w 3150870"/>
              <a:gd name="connsiteY3" fmla="*/ 5044440 h 5052060"/>
              <a:gd name="connsiteX4" fmla="*/ 0 w 3150870"/>
              <a:gd name="connsiteY4" fmla="*/ 0 h 505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0870" h="5052060">
                <a:moveTo>
                  <a:pt x="0" y="0"/>
                </a:moveTo>
                <a:lnTo>
                  <a:pt x="2922270" y="91440"/>
                </a:lnTo>
                <a:lnTo>
                  <a:pt x="3150870" y="5052060"/>
                </a:lnTo>
                <a:lnTo>
                  <a:pt x="320040" y="504444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63500">
              <a:schemeClr val="tx1">
                <a:lumMod val="75000"/>
                <a:lumOff val="25000"/>
              </a:schemeClr>
            </a:innerShdw>
          </a:effectLst>
          <a:scene3d>
            <a:camera prst="perspectiveContrastingRightFacing" fov="2400000">
              <a:rot lat="21041954" lon="18810792" rev="923834"/>
            </a:camera>
            <a:lightRig rig="threePt" dir="t"/>
          </a:scene3d>
        </p:spPr>
        <p:txBody>
          <a:bodyPr/>
          <a:lstStyle>
            <a:lvl1pPr marL="0" indent="0" algn="ctr">
              <a:buNone/>
              <a:defRPr sz="3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284DFB-9DC5-4E68-AF34-91D5D6872FF9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0A76F2-E24B-4BEE-87C7-532BF911A258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A3DBA2-8DB5-4668-A779-9BE039698C23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B67FED-F7F1-4DE4-BB76-D3CEE865F569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E6626E5-B107-4D7B-A158-D0C03F6B4EA3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8A17DB1-45B5-4C7A-8761-C1D861118E1B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3" name="Freeform 85">
                <a:extLst>
                  <a:ext uri="{FF2B5EF4-FFF2-40B4-BE49-F238E27FC236}">
                    <a16:creationId xmlns:a16="http://schemas.microsoft.com/office/drawing/2014/main" id="{246887E5-4FDB-4965-ADEF-62D026DF7E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C0D7609-B3CC-4CA0-9C12-327D2EED07F5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38329F-F690-460C-BD35-550BABD5DB72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21" name="Freeform 75">
                <a:extLst>
                  <a:ext uri="{FF2B5EF4-FFF2-40B4-BE49-F238E27FC236}">
                    <a16:creationId xmlns:a16="http://schemas.microsoft.com/office/drawing/2014/main" id="{C4ECB10C-9A29-4F43-B10F-1D3C76010CE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87BF6484-D998-4F0A-8093-ABAA8F247F36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2F4D8F9-38EB-4814-9E5F-88AD8A11952E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19" name="Freeform 74">
                <a:extLst>
                  <a:ext uri="{FF2B5EF4-FFF2-40B4-BE49-F238E27FC236}">
                    <a16:creationId xmlns:a16="http://schemas.microsoft.com/office/drawing/2014/main" id="{34EE5B6B-4AB6-4DFE-9644-50C9C85102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A5D8C69-4EB2-44E4-8213-731BE0BFF08D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F63D94D-307B-4B44-AB93-AA1E98A0B82A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99DB1993-A96C-43F5-A091-D5A49B62364F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3EA97BC8-416B-46E0-8845-A4108BC2985D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5" name="Group 14">
                  <a:extLst>
                    <a:ext uri="{FF2B5EF4-FFF2-40B4-BE49-F238E27FC236}">
                      <a16:creationId xmlns:a16="http://schemas.microsoft.com/office/drawing/2014/main" id="{83C99BE3-D5D1-457A-BAEA-D7F10D61FFBA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7" name="Freeform 5">
                    <a:extLst>
                      <a:ext uri="{FF2B5EF4-FFF2-40B4-BE49-F238E27FC236}">
                        <a16:creationId xmlns:a16="http://schemas.microsoft.com/office/drawing/2014/main" id="{9834F303-AD14-43B1-BDB8-4971C8CAAB7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18" name="Freeform 10">
                    <a:extLst>
                      <a:ext uri="{FF2B5EF4-FFF2-40B4-BE49-F238E27FC236}">
                        <a16:creationId xmlns:a16="http://schemas.microsoft.com/office/drawing/2014/main" id="{4F7B677C-B874-4884-ADB2-4150273FDC0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6" name="Freeform: Shape 15">
                  <a:extLst>
                    <a:ext uri="{FF2B5EF4-FFF2-40B4-BE49-F238E27FC236}">
                      <a16:creationId xmlns:a16="http://schemas.microsoft.com/office/drawing/2014/main" id="{23AE2EDD-C701-4CCF-B50C-64E88CBA6E23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EA434C-C5B5-4BEA-81E5-CB8A20BAAB64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6" name="Rectangle: Top Corners Rounded 25">
              <a:extLst>
                <a:ext uri="{FF2B5EF4-FFF2-40B4-BE49-F238E27FC236}">
                  <a16:creationId xmlns:a16="http://schemas.microsoft.com/office/drawing/2014/main" id="{E0733091-4640-454A-A5F6-6B8D80657C71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9982001E-F17E-488F-8F87-F783B15B5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6705612-E10C-4446-A58F-C209EC1B8C7D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05FCB3B-8AA6-4A1E-9B73-DD6C8A9A1ADC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31" name="Freeform 62">
                <a:extLst>
                  <a:ext uri="{FF2B5EF4-FFF2-40B4-BE49-F238E27FC236}">
                    <a16:creationId xmlns:a16="http://schemas.microsoft.com/office/drawing/2014/main" id="{585B050D-9D64-422C-8613-9B1E822B29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C42F4C6-A0E6-4995-882B-60DA318B9C33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EF8BD47-F462-4C17-922D-C905A649C07C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2033235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_Title Sli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E1F2A260-8A8F-49A4-BF2B-F055AB28688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95676" y="3744516"/>
            <a:ext cx="3284329" cy="5791753"/>
          </a:xfrm>
          <a:custGeom>
            <a:avLst/>
            <a:gdLst>
              <a:gd name="connsiteX0" fmla="*/ 0 w 2051050"/>
              <a:gd name="connsiteY0" fmla="*/ 0 h 3625850"/>
              <a:gd name="connsiteX1" fmla="*/ 2051050 w 2051050"/>
              <a:gd name="connsiteY1" fmla="*/ 0 h 3625850"/>
              <a:gd name="connsiteX2" fmla="*/ 2051050 w 2051050"/>
              <a:gd name="connsiteY2" fmla="*/ 3625850 h 3625850"/>
              <a:gd name="connsiteX3" fmla="*/ 0 w 2051050"/>
              <a:gd name="connsiteY3" fmla="*/ 3625850 h 362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1050" h="3625850">
                <a:moveTo>
                  <a:pt x="0" y="0"/>
                </a:moveTo>
                <a:lnTo>
                  <a:pt x="2051050" y="0"/>
                </a:lnTo>
                <a:lnTo>
                  <a:pt x="2051050" y="3625850"/>
                </a:lnTo>
                <a:lnTo>
                  <a:pt x="0" y="36258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114300">
              <a:schemeClr val="tx1">
                <a:lumMod val="75000"/>
                <a:lumOff val="25000"/>
              </a:schemeClr>
            </a:inn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1F127C-DA53-42C3-8219-12873ED3E83F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9F6636-20EB-4B3B-A024-750F875AB1F5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D1C7A4-D34D-4599-B997-25EF47B144F4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6F553B-2BFA-44F9-9001-450F9ACC62F2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4D79341-0C11-42F2-B4D5-AAB24342CEF4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FDA50BF-12FE-4EEB-BDAE-4231163ACBE5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1" name="Freeform 85">
                <a:extLst>
                  <a:ext uri="{FF2B5EF4-FFF2-40B4-BE49-F238E27FC236}">
                    <a16:creationId xmlns:a16="http://schemas.microsoft.com/office/drawing/2014/main" id="{194E32DA-3F14-46E5-9A68-0E62394A5DD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AAC4075-DED6-4488-A5CD-10152A44E4B6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7A2A482-F4AE-4B37-9A11-E119ABDA417D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19" name="Freeform 75">
                <a:extLst>
                  <a:ext uri="{FF2B5EF4-FFF2-40B4-BE49-F238E27FC236}">
                    <a16:creationId xmlns:a16="http://schemas.microsoft.com/office/drawing/2014/main" id="{BBAF7BCD-DC32-440A-ABD2-10AD73A3736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ABF1B748-AA38-4F6E-B60E-83A830D7766A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CC734B3-810B-434C-87E7-24F03A782D1A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17" name="Freeform 74">
                <a:extLst>
                  <a:ext uri="{FF2B5EF4-FFF2-40B4-BE49-F238E27FC236}">
                    <a16:creationId xmlns:a16="http://schemas.microsoft.com/office/drawing/2014/main" id="{E9B2B053-2F3E-419C-ABCC-27D20D7851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5183CDBA-66E1-4E3F-8AD4-67209902DFC4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DEB16DE-BD2A-4D81-86C4-D1EEDD07DBA8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745AAA17-FE05-4BB5-8605-1EB35CC0AC02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7B0691F1-6822-4EA3-BA38-001B2DBF1323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1B42BA3B-B245-410A-8C6B-6249E5029685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5" name="Freeform 5">
                    <a:extLst>
                      <a:ext uri="{FF2B5EF4-FFF2-40B4-BE49-F238E27FC236}">
                        <a16:creationId xmlns:a16="http://schemas.microsoft.com/office/drawing/2014/main" id="{519EFCE5-31B3-49B3-ADA6-B86A65058BD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16" name="Freeform 10">
                    <a:extLst>
                      <a:ext uri="{FF2B5EF4-FFF2-40B4-BE49-F238E27FC236}">
                        <a16:creationId xmlns:a16="http://schemas.microsoft.com/office/drawing/2014/main" id="{EA3B38C0-B687-42DA-A17B-4F8290D431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2A1ECDA9-2EA0-447F-9958-004585623530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68D46AC-621C-4156-B3E5-A1970C40717C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7F627401-4E77-41E4-B38C-AD8F0AA6FF48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06F5B1FF-ABC5-41BF-8A22-EAB58A021F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A6D5885-C52F-4E0C-AF0F-8CA898CD4634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981812E-AC83-4B32-B1D5-BCC3E6EB518E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29" name="Freeform 62">
                <a:extLst>
                  <a:ext uri="{FF2B5EF4-FFF2-40B4-BE49-F238E27FC236}">
                    <a16:creationId xmlns:a16="http://schemas.microsoft.com/office/drawing/2014/main" id="{995AFEE7-F628-4CF4-83F0-FDA824B029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77D7630-39A2-48EF-AE94-849BC71128A8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EF5B784-A783-4304-979E-1705CA280C22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2263610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8DE4E53-B4AB-45DF-AB1E-5793A496A3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8999"/>
            <a:ext cx="24384000" cy="476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23360953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921ACE3-2F14-4350-952F-ECC44481FC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979404" cy="137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FBD1BB-3B0C-41F0-A8C1-CA5D24D325BA}"/>
              </a:ext>
            </a:extLst>
          </p:cNvPr>
          <p:cNvSpPr/>
          <p:nvPr userDrawn="1"/>
        </p:nvSpPr>
        <p:spPr>
          <a:xfrm>
            <a:off x="21750631" y="4608872"/>
            <a:ext cx="2363397" cy="4830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250"/>
          </a:p>
        </p:txBody>
      </p:sp>
    </p:spTree>
    <p:extLst>
      <p:ext uri="{BB962C8B-B14F-4D97-AF65-F5344CB8AC3E}">
        <p14:creationId xmlns:p14="http://schemas.microsoft.com/office/powerpoint/2010/main" val="3458861179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C39B77FE-23C9-409E-9783-319CD68BBF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060767" y="2359743"/>
            <a:ext cx="5218172" cy="89965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8001362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5CCC7D35-8CA8-4A7D-9228-130744F5A09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557234" y="3328082"/>
            <a:ext cx="7160956" cy="6704919"/>
          </a:xfrm>
          <a:custGeom>
            <a:avLst/>
            <a:gdLst>
              <a:gd name="connsiteX0" fmla="*/ 0 w 4933950"/>
              <a:gd name="connsiteY0" fmla="*/ 0 h 4565650"/>
              <a:gd name="connsiteX1" fmla="*/ 4933950 w 4933950"/>
              <a:gd name="connsiteY1" fmla="*/ 0 h 4565650"/>
              <a:gd name="connsiteX2" fmla="*/ 4933950 w 4933950"/>
              <a:gd name="connsiteY2" fmla="*/ 4565650 h 4565650"/>
              <a:gd name="connsiteX3" fmla="*/ 0 w 4933950"/>
              <a:gd name="connsiteY3" fmla="*/ 4565650 h 4565650"/>
              <a:gd name="connsiteX4" fmla="*/ 0 w 4933950"/>
              <a:gd name="connsiteY4" fmla="*/ 0 h 4565650"/>
              <a:gd name="connsiteX0" fmla="*/ 0 w 4933950"/>
              <a:gd name="connsiteY0" fmla="*/ 1364343 h 5929993"/>
              <a:gd name="connsiteX1" fmla="*/ 4803322 w 4933950"/>
              <a:gd name="connsiteY1" fmla="*/ 0 h 5929993"/>
              <a:gd name="connsiteX2" fmla="*/ 4933950 w 4933950"/>
              <a:gd name="connsiteY2" fmla="*/ 5929993 h 5929993"/>
              <a:gd name="connsiteX3" fmla="*/ 0 w 4933950"/>
              <a:gd name="connsiteY3" fmla="*/ 5929993 h 5929993"/>
              <a:gd name="connsiteX4" fmla="*/ 0 w 4933950"/>
              <a:gd name="connsiteY4" fmla="*/ 1364343 h 5929993"/>
              <a:gd name="connsiteX0" fmla="*/ 0 w 4933950"/>
              <a:gd name="connsiteY0" fmla="*/ 1204685 h 5770335"/>
              <a:gd name="connsiteX1" fmla="*/ 4817836 w 4933950"/>
              <a:gd name="connsiteY1" fmla="*/ 0 h 5770335"/>
              <a:gd name="connsiteX2" fmla="*/ 4933950 w 4933950"/>
              <a:gd name="connsiteY2" fmla="*/ 5770335 h 5770335"/>
              <a:gd name="connsiteX3" fmla="*/ 0 w 4933950"/>
              <a:gd name="connsiteY3" fmla="*/ 5770335 h 5770335"/>
              <a:gd name="connsiteX4" fmla="*/ 0 w 4933950"/>
              <a:gd name="connsiteY4" fmla="*/ 1204685 h 5770335"/>
              <a:gd name="connsiteX0" fmla="*/ 0 w 4933950"/>
              <a:gd name="connsiteY0" fmla="*/ 1103085 h 5668735"/>
              <a:gd name="connsiteX1" fmla="*/ 4774293 w 4933950"/>
              <a:gd name="connsiteY1" fmla="*/ 0 h 5668735"/>
              <a:gd name="connsiteX2" fmla="*/ 4933950 w 4933950"/>
              <a:gd name="connsiteY2" fmla="*/ 5668735 h 5668735"/>
              <a:gd name="connsiteX3" fmla="*/ 0 w 4933950"/>
              <a:gd name="connsiteY3" fmla="*/ 5668735 h 5668735"/>
              <a:gd name="connsiteX4" fmla="*/ 0 w 4933950"/>
              <a:gd name="connsiteY4" fmla="*/ 1103085 h 5668735"/>
              <a:gd name="connsiteX0" fmla="*/ 0 w 4933950"/>
              <a:gd name="connsiteY0" fmla="*/ 1045028 h 5610678"/>
              <a:gd name="connsiteX1" fmla="*/ 4803322 w 4933950"/>
              <a:gd name="connsiteY1" fmla="*/ 0 h 5610678"/>
              <a:gd name="connsiteX2" fmla="*/ 4933950 w 4933950"/>
              <a:gd name="connsiteY2" fmla="*/ 5610678 h 5610678"/>
              <a:gd name="connsiteX3" fmla="*/ 0 w 4933950"/>
              <a:gd name="connsiteY3" fmla="*/ 5610678 h 5610678"/>
              <a:gd name="connsiteX4" fmla="*/ 0 w 4933950"/>
              <a:gd name="connsiteY4" fmla="*/ 1045028 h 5610678"/>
              <a:gd name="connsiteX0" fmla="*/ 0 w 4933950"/>
              <a:gd name="connsiteY0" fmla="*/ 1059543 h 5625193"/>
              <a:gd name="connsiteX1" fmla="*/ 4803322 w 4933950"/>
              <a:gd name="connsiteY1" fmla="*/ 0 h 5625193"/>
              <a:gd name="connsiteX2" fmla="*/ 4933950 w 4933950"/>
              <a:gd name="connsiteY2" fmla="*/ 5625193 h 5625193"/>
              <a:gd name="connsiteX3" fmla="*/ 0 w 4933950"/>
              <a:gd name="connsiteY3" fmla="*/ 5625193 h 5625193"/>
              <a:gd name="connsiteX4" fmla="*/ 0 w 4933950"/>
              <a:gd name="connsiteY4" fmla="*/ 1059543 h 5625193"/>
              <a:gd name="connsiteX0" fmla="*/ 0 w 4933950"/>
              <a:gd name="connsiteY0" fmla="*/ 1074057 h 5639707"/>
              <a:gd name="connsiteX1" fmla="*/ 4774293 w 4933950"/>
              <a:gd name="connsiteY1" fmla="*/ 0 h 5639707"/>
              <a:gd name="connsiteX2" fmla="*/ 4933950 w 4933950"/>
              <a:gd name="connsiteY2" fmla="*/ 5639707 h 5639707"/>
              <a:gd name="connsiteX3" fmla="*/ 0 w 4933950"/>
              <a:gd name="connsiteY3" fmla="*/ 5639707 h 5639707"/>
              <a:gd name="connsiteX4" fmla="*/ 0 w 4933950"/>
              <a:gd name="connsiteY4" fmla="*/ 1074057 h 5639707"/>
              <a:gd name="connsiteX0" fmla="*/ 0 w 4933950"/>
              <a:gd name="connsiteY0" fmla="*/ 1103086 h 5668736"/>
              <a:gd name="connsiteX1" fmla="*/ 4803322 w 4933950"/>
              <a:gd name="connsiteY1" fmla="*/ 0 h 5668736"/>
              <a:gd name="connsiteX2" fmla="*/ 4933950 w 4933950"/>
              <a:gd name="connsiteY2" fmla="*/ 5668736 h 5668736"/>
              <a:gd name="connsiteX3" fmla="*/ 0 w 4933950"/>
              <a:gd name="connsiteY3" fmla="*/ 5668736 h 5668736"/>
              <a:gd name="connsiteX4" fmla="*/ 0 w 4933950"/>
              <a:gd name="connsiteY4" fmla="*/ 1103086 h 5668736"/>
              <a:gd name="connsiteX0" fmla="*/ 0 w 4977493"/>
              <a:gd name="connsiteY0" fmla="*/ 1103086 h 5813879"/>
              <a:gd name="connsiteX1" fmla="*/ 4803322 w 4977493"/>
              <a:gd name="connsiteY1" fmla="*/ 0 h 5813879"/>
              <a:gd name="connsiteX2" fmla="*/ 4977493 w 4977493"/>
              <a:gd name="connsiteY2" fmla="*/ 5813879 h 5813879"/>
              <a:gd name="connsiteX3" fmla="*/ 0 w 4977493"/>
              <a:gd name="connsiteY3" fmla="*/ 5668736 h 5813879"/>
              <a:gd name="connsiteX4" fmla="*/ 0 w 4977493"/>
              <a:gd name="connsiteY4" fmla="*/ 1103086 h 5813879"/>
              <a:gd name="connsiteX0" fmla="*/ 0 w 4992007"/>
              <a:gd name="connsiteY0" fmla="*/ 1103086 h 5871936"/>
              <a:gd name="connsiteX1" fmla="*/ 4803322 w 4992007"/>
              <a:gd name="connsiteY1" fmla="*/ 0 h 5871936"/>
              <a:gd name="connsiteX2" fmla="*/ 4992007 w 4992007"/>
              <a:gd name="connsiteY2" fmla="*/ 5871936 h 5871936"/>
              <a:gd name="connsiteX3" fmla="*/ 0 w 4992007"/>
              <a:gd name="connsiteY3" fmla="*/ 5668736 h 5871936"/>
              <a:gd name="connsiteX4" fmla="*/ 0 w 4992007"/>
              <a:gd name="connsiteY4" fmla="*/ 1103086 h 5871936"/>
              <a:gd name="connsiteX0" fmla="*/ 0 w 5035550"/>
              <a:gd name="connsiteY0" fmla="*/ 1103086 h 5886450"/>
              <a:gd name="connsiteX1" fmla="*/ 4803322 w 5035550"/>
              <a:gd name="connsiteY1" fmla="*/ 0 h 5886450"/>
              <a:gd name="connsiteX2" fmla="*/ 5035550 w 5035550"/>
              <a:gd name="connsiteY2" fmla="*/ 5886450 h 5886450"/>
              <a:gd name="connsiteX3" fmla="*/ 0 w 5035550"/>
              <a:gd name="connsiteY3" fmla="*/ 5668736 h 5886450"/>
              <a:gd name="connsiteX4" fmla="*/ 0 w 5035550"/>
              <a:gd name="connsiteY4" fmla="*/ 1103086 h 5886450"/>
              <a:gd name="connsiteX0" fmla="*/ 0 w 5064579"/>
              <a:gd name="connsiteY0" fmla="*/ 1103086 h 5886450"/>
              <a:gd name="connsiteX1" fmla="*/ 4803322 w 5064579"/>
              <a:gd name="connsiteY1" fmla="*/ 0 h 5886450"/>
              <a:gd name="connsiteX2" fmla="*/ 5064579 w 5064579"/>
              <a:gd name="connsiteY2" fmla="*/ 5886450 h 5886450"/>
              <a:gd name="connsiteX3" fmla="*/ 0 w 5064579"/>
              <a:gd name="connsiteY3" fmla="*/ 5668736 h 5886450"/>
              <a:gd name="connsiteX4" fmla="*/ 0 w 5064579"/>
              <a:gd name="connsiteY4" fmla="*/ 1103086 h 5886450"/>
              <a:gd name="connsiteX0" fmla="*/ 14515 w 5079094"/>
              <a:gd name="connsiteY0" fmla="*/ 1103086 h 5900964"/>
              <a:gd name="connsiteX1" fmla="*/ 4817837 w 5079094"/>
              <a:gd name="connsiteY1" fmla="*/ 0 h 5900964"/>
              <a:gd name="connsiteX2" fmla="*/ 5079094 w 5079094"/>
              <a:gd name="connsiteY2" fmla="*/ 5886450 h 5900964"/>
              <a:gd name="connsiteX3" fmla="*/ 0 w 5079094"/>
              <a:gd name="connsiteY3" fmla="*/ 5900964 h 5900964"/>
              <a:gd name="connsiteX4" fmla="*/ 14515 w 5079094"/>
              <a:gd name="connsiteY4" fmla="*/ 1103086 h 5900964"/>
              <a:gd name="connsiteX0" fmla="*/ 116115 w 5180694"/>
              <a:gd name="connsiteY0" fmla="*/ 1103086 h 5886450"/>
              <a:gd name="connsiteX1" fmla="*/ 4919437 w 5180694"/>
              <a:gd name="connsiteY1" fmla="*/ 0 h 5886450"/>
              <a:gd name="connsiteX2" fmla="*/ 5180694 w 5180694"/>
              <a:gd name="connsiteY2" fmla="*/ 5886450 h 5886450"/>
              <a:gd name="connsiteX3" fmla="*/ 0 w 5180694"/>
              <a:gd name="connsiteY3" fmla="*/ 5857421 h 5886450"/>
              <a:gd name="connsiteX4" fmla="*/ 116115 w 5180694"/>
              <a:gd name="connsiteY4" fmla="*/ 1103086 h 5886450"/>
              <a:gd name="connsiteX0" fmla="*/ 101601 w 5166180"/>
              <a:gd name="connsiteY0" fmla="*/ 1103086 h 5886450"/>
              <a:gd name="connsiteX1" fmla="*/ 4904923 w 5166180"/>
              <a:gd name="connsiteY1" fmla="*/ 0 h 5886450"/>
              <a:gd name="connsiteX2" fmla="*/ 5166180 w 5166180"/>
              <a:gd name="connsiteY2" fmla="*/ 5886450 h 5886450"/>
              <a:gd name="connsiteX3" fmla="*/ 0 w 5166180"/>
              <a:gd name="connsiteY3" fmla="*/ 5755821 h 5886450"/>
              <a:gd name="connsiteX4" fmla="*/ 101601 w 5166180"/>
              <a:gd name="connsiteY4" fmla="*/ 1103086 h 5886450"/>
              <a:gd name="connsiteX0" fmla="*/ 72572 w 5137151"/>
              <a:gd name="connsiteY0" fmla="*/ 1103086 h 5886450"/>
              <a:gd name="connsiteX1" fmla="*/ 4875894 w 5137151"/>
              <a:gd name="connsiteY1" fmla="*/ 0 h 5886450"/>
              <a:gd name="connsiteX2" fmla="*/ 5137151 w 5137151"/>
              <a:gd name="connsiteY2" fmla="*/ 5886450 h 5886450"/>
              <a:gd name="connsiteX3" fmla="*/ 0 w 5137151"/>
              <a:gd name="connsiteY3" fmla="*/ 5813879 h 5886450"/>
              <a:gd name="connsiteX4" fmla="*/ 72572 w 5137151"/>
              <a:gd name="connsiteY4" fmla="*/ 1103086 h 5886450"/>
              <a:gd name="connsiteX0" fmla="*/ 14515 w 5079094"/>
              <a:gd name="connsiteY0" fmla="*/ 1103086 h 5886450"/>
              <a:gd name="connsiteX1" fmla="*/ 4817837 w 5079094"/>
              <a:gd name="connsiteY1" fmla="*/ 0 h 5886450"/>
              <a:gd name="connsiteX2" fmla="*/ 5079094 w 5079094"/>
              <a:gd name="connsiteY2" fmla="*/ 5886450 h 5886450"/>
              <a:gd name="connsiteX3" fmla="*/ 0 w 5079094"/>
              <a:gd name="connsiteY3" fmla="*/ 5770336 h 5886450"/>
              <a:gd name="connsiteX4" fmla="*/ 14515 w 5079094"/>
              <a:gd name="connsiteY4" fmla="*/ 1103086 h 5886450"/>
              <a:gd name="connsiteX0" fmla="*/ 87086 w 5151665"/>
              <a:gd name="connsiteY0" fmla="*/ 1103086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87086 w 5151665"/>
              <a:gd name="connsiteY4" fmla="*/ 1103086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0 w 5166179"/>
              <a:gd name="connsiteY0" fmla="*/ 1175657 h 5886450"/>
              <a:gd name="connsiteX1" fmla="*/ 4904922 w 5166179"/>
              <a:gd name="connsiteY1" fmla="*/ 0 h 5886450"/>
              <a:gd name="connsiteX2" fmla="*/ 5166179 w 5166179"/>
              <a:gd name="connsiteY2" fmla="*/ 5886450 h 5886450"/>
              <a:gd name="connsiteX3" fmla="*/ 14514 w 5166179"/>
              <a:gd name="connsiteY3" fmla="*/ 5813879 h 5886450"/>
              <a:gd name="connsiteX4" fmla="*/ 0 w 5166179"/>
              <a:gd name="connsiteY4" fmla="*/ 1175657 h 5886450"/>
              <a:gd name="connsiteX0" fmla="*/ 3882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38826 w 5151665"/>
              <a:gd name="connsiteY4" fmla="*/ 1160417 h 5886450"/>
              <a:gd name="connsiteX0" fmla="*/ 2358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3586 w 5151665"/>
              <a:gd name="connsiteY4" fmla="*/ 1160417 h 5886450"/>
              <a:gd name="connsiteX0" fmla="*/ 726 w 5151665"/>
              <a:gd name="connsiteY0" fmla="*/ 114517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726 w 5151665"/>
              <a:gd name="connsiteY4" fmla="*/ 114517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26265"/>
              <a:gd name="connsiteY0" fmla="*/ 1137557 h 5899150"/>
              <a:gd name="connsiteX1" fmla="*/ 4890408 w 5126265"/>
              <a:gd name="connsiteY1" fmla="*/ 0 h 5899150"/>
              <a:gd name="connsiteX2" fmla="*/ 5126265 w 5126265"/>
              <a:gd name="connsiteY2" fmla="*/ 5899150 h 5899150"/>
              <a:gd name="connsiteX3" fmla="*/ 0 w 5126265"/>
              <a:gd name="connsiteY3" fmla="*/ 5813879 h 5899150"/>
              <a:gd name="connsiteX4" fmla="*/ 15966 w 5126265"/>
              <a:gd name="connsiteY4" fmla="*/ 1137557 h 5899150"/>
              <a:gd name="connsiteX0" fmla="*/ 15966 w 5138965"/>
              <a:gd name="connsiteY0" fmla="*/ 1137557 h 5899150"/>
              <a:gd name="connsiteX1" fmla="*/ 4890408 w 5138965"/>
              <a:gd name="connsiteY1" fmla="*/ 0 h 5899150"/>
              <a:gd name="connsiteX2" fmla="*/ 5138965 w 5138965"/>
              <a:gd name="connsiteY2" fmla="*/ 5899150 h 5899150"/>
              <a:gd name="connsiteX3" fmla="*/ 0 w 5138965"/>
              <a:gd name="connsiteY3" fmla="*/ 5813879 h 5899150"/>
              <a:gd name="connsiteX4" fmla="*/ 15966 w 5138965"/>
              <a:gd name="connsiteY4" fmla="*/ 1137557 h 5899150"/>
              <a:gd name="connsiteX0" fmla="*/ 15966 w 5138965"/>
              <a:gd name="connsiteY0" fmla="*/ 1156607 h 5918200"/>
              <a:gd name="connsiteX1" fmla="*/ 4884058 w 5138965"/>
              <a:gd name="connsiteY1" fmla="*/ 0 h 5918200"/>
              <a:gd name="connsiteX2" fmla="*/ 5138965 w 5138965"/>
              <a:gd name="connsiteY2" fmla="*/ 5918200 h 5918200"/>
              <a:gd name="connsiteX3" fmla="*/ 0 w 5138965"/>
              <a:gd name="connsiteY3" fmla="*/ 5832929 h 5918200"/>
              <a:gd name="connsiteX4" fmla="*/ 15966 w 5138965"/>
              <a:gd name="connsiteY4" fmla="*/ 1156607 h 5918200"/>
              <a:gd name="connsiteX0" fmla="*/ 3266 w 5126265"/>
              <a:gd name="connsiteY0" fmla="*/ 1156607 h 5918200"/>
              <a:gd name="connsiteX1" fmla="*/ 4871358 w 5126265"/>
              <a:gd name="connsiteY1" fmla="*/ 0 h 5918200"/>
              <a:gd name="connsiteX2" fmla="*/ 5126265 w 5126265"/>
              <a:gd name="connsiteY2" fmla="*/ 5918200 h 5918200"/>
              <a:gd name="connsiteX3" fmla="*/ 0 w 5126265"/>
              <a:gd name="connsiteY3" fmla="*/ 5839279 h 5918200"/>
              <a:gd name="connsiteX4" fmla="*/ 3266 w 5126265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9434 w 5122999"/>
              <a:gd name="connsiteY3" fmla="*/ 586467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5832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45629 h 5918200"/>
              <a:gd name="connsiteX4" fmla="*/ 0 w 5122999"/>
              <a:gd name="connsiteY4" fmla="*/ 1156607 h 5918200"/>
              <a:gd name="connsiteX0" fmla="*/ 0 w 5122999"/>
              <a:gd name="connsiteY0" fmla="*/ 1093107 h 5854700"/>
              <a:gd name="connsiteX1" fmla="*/ 5007792 w 5122999"/>
              <a:gd name="connsiteY1" fmla="*/ 0 h 5854700"/>
              <a:gd name="connsiteX2" fmla="*/ 5122999 w 5122999"/>
              <a:gd name="connsiteY2" fmla="*/ 5854700 h 5854700"/>
              <a:gd name="connsiteX3" fmla="*/ 3084 w 5122999"/>
              <a:gd name="connsiteY3" fmla="*/ 5782129 h 5854700"/>
              <a:gd name="connsiteX4" fmla="*/ 0 w 5122999"/>
              <a:gd name="connsiteY4" fmla="*/ 1093107 h 5854700"/>
              <a:gd name="connsiteX0" fmla="*/ 0 w 5122999"/>
              <a:gd name="connsiteY0" fmla="*/ 1012144 h 5773737"/>
              <a:gd name="connsiteX1" fmla="*/ 5074467 w 5122999"/>
              <a:gd name="connsiteY1" fmla="*/ 0 h 5773737"/>
              <a:gd name="connsiteX2" fmla="*/ 5122999 w 5122999"/>
              <a:gd name="connsiteY2" fmla="*/ 5773737 h 5773737"/>
              <a:gd name="connsiteX3" fmla="*/ 3084 w 5122999"/>
              <a:gd name="connsiteY3" fmla="*/ 5701166 h 5773737"/>
              <a:gd name="connsiteX4" fmla="*/ 0 w 5122999"/>
              <a:gd name="connsiteY4" fmla="*/ 1012144 h 5773737"/>
              <a:gd name="connsiteX0" fmla="*/ 0 w 5126855"/>
              <a:gd name="connsiteY0" fmla="*/ 969282 h 5730875"/>
              <a:gd name="connsiteX1" fmla="*/ 5126855 w 5126855"/>
              <a:gd name="connsiteY1" fmla="*/ 0 h 5730875"/>
              <a:gd name="connsiteX2" fmla="*/ 5122999 w 5126855"/>
              <a:gd name="connsiteY2" fmla="*/ 5730875 h 5730875"/>
              <a:gd name="connsiteX3" fmla="*/ 3084 w 5126855"/>
              <a:gd name="connsiteY3" fmla="*/ 5658304 h 5730875"/>
              <a:gd name="connsiteX4" fmla="*/ 0 w 5126855"/>
              <a:gd name="connsiteY4" fmla="*/ 969282 h 5730875"/>
              <a:gd name="connsiteX0" fmla="*/ 0 w 5198292"/>
              <a:gd name="connsiteY0" fmla="*/ 878794 h 5640387"/>
              <a:gd name="connsiteX1" fmla="*/ 5198292 w 5198292"/>
              <a:gd name="connsiteY1" fmla="*/ 0 h 5640387"/>
              <a:gd name="connsiteX2" fmla="*/ 5122999 w 5198292"/>
              <a:gd name="connsiteY2" fmla="*/ 5640387 h 5640387"/>
              <a:gd name="connsiteX3" fmla="*/ 3084 w 5198292"/>
              <a:gd name="connsiteY3" fmla="*/ 5567816 h 5640387"/>
              <a:gd name="connsiteX4" fmla="*/ 0 w 5198292"/>
              <a:gd name="connsiteY4" fmla="*/ 878794 h 5640387"/>
              <a:gd name="connsiteX0" fmla="*/ 0 w 5212580"/>
              <a:gd name="connsiteY0" fmla="*/ 874032 h 5635625"/>
              <a:gd name="connsiteX1" fmla="*/ 5212580 w 5212580"/>
              <a:gd name="connsiteY1" fmla="*/ 0 h 5635625"/>
              <a:gd name="connsiteX2" fmla="*/ 5122999 w 5212580"/>
              <a:gd name="connsiteY2" fmla="*/ 5635625 h 5635625"/>
              <a:gd name="connsiteX3" fmla="*/ 3084 w 5212580"/>
              <a:gd name="connsiteY3" fmla="*/ 5563054 h 5635625"/>
              <a:gd name="connsiteX4" fmla="*/ 0 w 5212580"/>
              <a:gd name="connsiteY4" fmla="*/ 874032 h 5635625"/>
              <a:gd name="connsiteX0" fmla="*/ 0 w 5417368"/>
              <a:gd name="connsiteY0" fmla="*/ 769257 h 5635625"/>
              <a:gd name="connsiteX1" fmla="*/ 5417368 w 5417368"/>
              <a:gd name="connsiteY1" fmla="*/ 0 h 5635625"/>
              <a:gd name="connsiteX2" fmla="*/ 5327787 w 5417368"/>
              <a:gd name="connsiteY2" fmla="*/ 5635625 h 5635625"/>
              <a:gd name="connsiteX3" fmla="*/ 207872 w 5417368"/>
              <a:gd name="connsiteY3" fmla="*/ 5563054 h 5635625"/>
              <a:gd name="connsiteX4" fmla="*/ 0 w 5417368"/>
              <a:gd name="connsiteY4" fmla="*/ 769257 h 5635625"/>
              <a:gd name="connsiteX0" fmla="*/ 0 w 5722168"/>
              <a:gd name="connsiteY0" fmla="*/ 654957 h 5635625"/>
              <a:gd name="connsiteX1" fmla="*/ 5722168 w 5722168"/>
              <a:gd name="connsiteY1" fmla="*/ 0 h 5635625"/>
              <a:gd name="connsiteX2" fmla="*/ 5632587 w 5722168"/>
              <a:gd name="connsiteY2" fmla="*/ 5635625 h 5635625"/>
              <a:gd name="connsiteX3" fmla="*/ 512672 w 5722168"/>
              <a:gd name="connsiteY3" fmla="*/ 5563054 h 5635625"/>
              <a:gd name="connsiteX4" fmla="*/ 0 w 5722168"/>
              <a:gd name="connsiteY4" fmla="*/ 654957 h 5635625"/>
              <a:gd name="connsiteX0" fmla="*/ 0 w 5712643"/>
              <a:gd name="connsiteY0" fmla="*/ 597807 h 5635625"/>
              <a:gd name="connsiteX1" fmla="*/ 5712643 w 5712643"/>
              <a:gd name="connsiteY1" fmla="*/ 0 h 5635625"/>
              <a:gd name="connsiteX2" fmla="*/ 5623062 w 5712643"/>
              <a:gd name="connsiteY2" fmla="*/ 5635625 h 5635625"/>
              <a:gd name="connsiteX3" fmla="*/ 503147 w 5712643"/>
              <a:gd name="connsiteY3" fmla="*/ 5563054 h 5635625"/>
              <a:gd name="connsiteX4" fmla="*/ 0 w 5712643"/>
              <a:gd name="connsiteY4" fmla="*/ 597807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403135 w 5731693"/>
              <a:gd name="connsiteY3" fmla="*/ 55201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317410 w 5731693"/>
              <a:gd name="connsiteY3" fmla="*/ 54297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274547 w 5731693"/>
              <a:gd name="connsiteY3" fmla="*/ 54201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88822 w 5731693"/>
              <a:gd name="connsiteY3" fmla="*/ 53820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36435 w 5731693"/>
              <a:gd name="connsiteY3" fmla="*/ 52915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55485 w 5731693"/>
              <a:gd name="connsiteY3" fmla="*/ 52773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4535 w 5731693"/>
              <a:gd name="connsiteY3" fmla="*/ 5305879 h 5635625"/>
              <a:gd name="connsiteX4" fmla="*/ 0 w 5731693"/>
              <a:gd name="connsiteY4" fmla="*/ 569232 h 5635625"/>
              <a:gd name="connsiteX0" fmla="*/ 0 w 5789769"/>
              <a:gd name="connsiteY0" fmla="*/ 569232 h 5854700"/>
              <a:gd name="connsiteX1" fmla="*/ 5731693 w 5789769"/>
              <a:gd name="connsiteY1" fmla="*/ 0 h 5854700"/>
              <a:gd name="connsiteX2" fmla="*/ 5789749 w 5789769"/>
              <a:gd name="connsiteY2" fmla="*/ 5854700 h 5854700"/>
              <a:gd name="connsiteX3" fmla="*/ 174535 w 5789769"/>
              <a:gd name="connsiteY3" fmla="*/ 5305879 h 5854700"/>
              <a:gd name="connsiteX4" fmla="*/ 0 w 5789769"/>
              <a:gd name="connsiteY4" fmla="*/ 569232 h 5854700"/>
              <a:gd name="connsiteX0" fmla="*/ 0 w 6199326"/>
              <a:gd name="connsiteY0" fmla="*/ 569232 h 5973763"/>
              <a:gd name="connsiteX1" fmla="*/ 5731693 w 6199326"/>
              <a:gd name="connsiteY1" fmla="*/ 0 h 5973763"/>
              <a:gd name="connsiteX2" fmla="*/ 6199324 w 6199326"/>
              <a:gd name="connsiteY2" fmla="*/ 5973763 h 5973763"/>
              <a:gd name="connsiteX3" fmla="*/ 174535 w 6199326"/>
              <a:gd name="connsiteY3" fmla="*/ 5305879 h 5973763"/>
              <a:gd name="connsiteX4" fmla="*/ 0 w 6199326"/>
              <a:gd name="connsiteY4" fmla="*/ 569232 h 5973763"/>
              <a:gd name="connsiteX0" fmla="*/ 0 w 6237426"/>
              <a:gd name="connsiteY0" fmla="*/ 569232 h 5959475"/>
              <a:gd name="connsiteX1" fmla="*/ 5731693 w 6237426"/>
              <a:gd name="connsiteY1" fmla="*/ 0 h 5959475"/>
              <a:gd name="connsiteX2" fmla="*/ 6237424 w 6237426"/>
              <a:gd name="connsiteY2" fmla="*/ 5959475 h 5959475"/>
              <a:gd name="connsiteX3" fmla="*/ 174535 w 6237426"/>
              <a:gd name="connsiteY3" fmla="*/ 5305879 h 5959475"/>
              <a:gd name="connsiteX4" fmla="*/ 0 w 6237426"/>
              <a:gd name="connsiteY4" fmla="*/ 569232 h 5959475"/>
              <a:gd name="connsiteX0" fmla="*/ 0 w 6266001"/>
              <a:gd name="connsiteY0" fmla="*/ 569232 h 5983287"/>
              <a:gd name="connsiteX1" fmla="*/ 5731693 w 6266001"/>
              <a:gd name="connsiteY1" fmla="*/ 0 h 5983287"/>
              <a:gd name="connsiteX2" fmla="*/ 6265999 w 6266001"/>
              <a:gd name="connsiteY2" fmla="*/ 5983287 h 5983287"/>
              <a:gd name="connsiteX3" fmla="*/ 174535 w 6266001"/>
              <a:gd name="connsiteY3" fmla="*/ 5305879 h 5983287"/>
              <a:gd name="connsiteX4" fmla="*/ 0 w 6266001"/>
              <a:gd name="connsiteY4" fmla="*/ 569232 h 5983287"/>
              <a:gd name="connsiteX0" fmla="*/ 0 w 6265999"/>
              <a:gd name="connsiteY0" fmla="*/ 569232 h 5983287"/>
              <a:gd name="connsiteX1" fmla="*/ 5731693 w 6265999"/>
              <a:gd name="connsiteY1" fmla="*/ 0 h 5983287"/>
              <a:gd name="connsiteX2" fmla="*/ 6265999 w 6265999"/>
              <a:gd name="connsiteY2" fmla="*/ 5983287 h 5983287"/>
              <a:gd name="connsiteX3" fmla="*/ 174535 w 6265999"/>
              <a:gd name="connsiteY3" fmla="*/ 5305879 h 5983287"/>
              <a:gd name="connsiteX4" fmla="*/ 0 w 6265999"/>
              <a:gd name="connsiteY4" fmla="*/ 569232 h 5983287"/>
              <a:gd name="connsiteX0" fmla="*/ 0 w 6266543"/>
              <a:gd name="connsiteY0" fmla="*/ 569232 h 5983385"/>
              <a:gd name="connsiteX1" fmla="*/ 5731693 w 6266543"/>
              <a:gd name="connsiteY1" fmla="*/ 0 h 5983385"/>
              <a:gd name="connsiteX2" fmla="*/ 6265999 w 6266543"/>
              <a:gd name="connsiteY2" fmla="*/ 5983287 h 5983385"/>
              <a:gd name="connsiteX3" fmla="*/ 174535 w 6266543"/>
              <a:gd name="connsiteY3" fmla="*/ 5305879 h 5983385"/>
              <a:gd name="connsiteX4" fmla="*/ 0 w 6266543"/>
              <a:gd name="connsiteY4" fmla="*/ 569232 h 5983385"/>
              <a:gd name="connsiteX0" fmla="*/ 0 w 6266049"/>
              <a:gd name="connsiteY0" fmla="*/ 569232 h 5983301"/>
              <a:gd name="connsiteX1" fmla="*/ 5731693 w 6266049"/>
              <a:gd name="connsiteY1" fmla="*/ 0 h 5983301"/>
              <a:gd name="connsiteX2" fmla="*/ 6265999 w 6266049"/>
              <a:gd name="connsiteY2" fmla="*/ 5983287 h 5983301"/>
              <a:gd name="connsiteX3" fmla="*/ 174535 w 6266049"/>
              <a:gd name="connsiteY3" fmla="*/ 5305879 h 5983301"/>
              <a:gd name="connsiteX4" fmla="*/ 0 w 6266049"/>
              <a:gd name="connsiteY4" fmla="*/ 569232 h 5983301"/>
              <a:gd name="connsiteX0" fmla="*/ 0 w 6266047"/>
              <a:gd name="connsiteY0" fmla="*/ 588282 h 6002351"/>
              <a:gd name="connsiteX1" fmla="*/ 5712643 w 6266047"/>
              <a:gd name="connsiteY1" fmla="*/ 0 h 6002351"/>
              <a:gd name="connsiteX2" fmla="*/ 6265999 w 6266047"/>
              <a:gd name="connsiteY2" fmla="*/ 6002337 h 6002351"/>
              <a:gd name="connsiteX3" fmla="*/ 174535 w 6266047"/>
              <a:gd name="connsiteY3" fmla="*/ 5324929 h 6002351"/>
              <a:gd name="connsiteX4" fmla="*/ 0 w 6266047"/>
              <a:gd name="connsiteY4" fmla="*/ 588282 h 6002351"/>
              <a:gd name="connsiteX0" fmla="*/ 0 w 6266046"/>
              <a:gd name="connsiteY0" fmla="*/ 616857 h 6030926"/>
              <a:gd name="connsiteX1" fmla="*/ 5703118 w 6266046"/>
              <a:gd name="connsiteY1" fmla="*/ 0 h 6030926"/>
              <a:gd name="connsiteX2" fmla="*/ 6265999 w 6266046"/>
              <a:gd name="connsiteY2" fmla="*/ 6030912 h 6030926"/>
              <a:gd name="connsiteX3" fmla="*/ 174535 w 6266046"/>
              <a:gd name="connsiteY3" fmla="*/ 5353504 h 6030926"/>
              <a:gd name="connsiteX4" fmla="*/ 0 w 6266046"/>
              <a:gd name="connsiteY4" fmla="*/ 616857 h 6030926"/>
              <a:gd name="connsiteX0" fmla="*/ 0 w 6266046"/>
              <a:gd name="connsiteY0" fmla="*/ 616857 h 6030922"/>
              <a:gd name="connsiteX1" fmla="*/ 5703118 w 6266046"/>
              <a:gd name="connsiteY1" fmla="*/ 0 h 6030922"/>
              <a:gd name="connsiteX2" fmla="*/ 6265999 w 6266046"/>
              <a:gd name="connsiteY2" fmla="*/ 6030912 h 6030922"/>
              <a:gd name="connsiteX3" fmla="*/ 174535 w 6266046"/>
              <a:gd name="connsiteY3" fmla="*/ 5353504 h 6030922"/>
              <a:gd name="connsiteX4" fmla="*/ 0 w 6266046"/>
              <a:gd name="connsiteY4" fmla="*/ 616857 h 6030922"/>
              <a:gd name="connsiteX0" fmla="*/ 0 w 6370821"/>
              <a:gd name="connsiteY0" fmla="*/ 502557 h 6030922"/>
              <a:gd name="connsiteX1" fmla="*/ 5807893 w 6370821"/>
              <a:gd name="connsiteY1" fmla="*/ 0 h 6030922"/>
              <a:gd name="connsiteX2" fmla="*/ 6370774 w 6370821"/>
              <a:gd name="connsiteY2" fmla="*/ 6030912 h 6030922"/>
              <a:gd name="connsiteX3" fmla="*/ 279310 w 6370821"/>
              <a:gd name="connsiteY3" fmla="*/ 5353504 h 6030922"/>
              <a:gd name="connsiteX4" fmla="*/ 0 w 6370821"/>
              <a:gd name="connsiteY4" fmla="*/ 502557 h 6030922"/>
              <a:gd name="connsiteX0" fmla="*/ 0 w 6380346"/>
              <a:gd name="connsiteY0" fmla="*/ 464457 h 6030922"/>
              <a:gd name="connsiteX1" fmla="*/ 5817418 w 6380346"/>
              <a:gd name="connsiteY1" fmla="*/ 0 h 6030922"/>
              <a:gd name="connsiteX2" fmla="*/ 6380299 w 6380346"/>
              <a:gd name="connsiteY2" fmla="*/ 6030912 h 6030922"/>
              <a:gd name="connsiteX3" fmla="*/ 288835 w 6380346"/>
              <a:gd name="connsiteY3" fmla="*/ 5353504 h 6030922"/>
              <a:gd name="connsiteX4" fmla="*/ 0 w 6380346"/>
              <a:gd name="connsiteY4" fmla="*/ 464457 h 6030922"/>
              <a:gd name="connsiteX0" fmla="*/ 0 w 6418446"/>
              <a:gd name="connsiteY0" fmla="*/ 473982 h 6030922"/>
              <a:gd name="connsiteX1" fmla="*/ 5855518 w 6418446"/>
              <a:gd name="connsiteY1" fmla="*/ 0 h 6030922"/>
              <a:gd name="connsiteX2" fmla="*/ 6418399 w 6418446"/>
              <a:gd name="connsiteY2" fmla="*/ 6030912 h 6030922"/>
              <a:gd name="connsiteX3" fmla="*/ 326935 w 6418446"/>
              <a:gd name="connsiteY3" fmla="*/ 5353504 h 6030922"/>
              <a:gd name="connsiteX4" fmla="*/ 0 w 6418446"/>
              <a:gd name="connsiteY4" fmla="*/ 473982 h 6030922"/>
              <a:gd name="connsiteX0" fmla="*/ 0 w 6418450"/>
              <a:gd name="connsiteY0" fmla="*/ 483507 h 6040447"/>
              <a:gd name="connsiteX1" fmla="*/ 5893618 w 6418450"/>
              <a:gd name="connsiteY1" fmla="*/ 0 h 6040447"/>
              <a:gd name="connsiteX2" fmla="*/ 6418399 w 6418450"/>
              <a:gd name="connsiteY2" fmla="*/ 6040437 h 6040447"/>
              <a:gd name="connsiteX3" fmla="*/ 326935 w 6418450"/>
              <a:gd name="connsiteY3" fmla="*/ 5363029 h 6040447"/>
              <a:gd name="connsiteX4" fmla="*/ 0 w 6418450"/>
              <a:gd name="connsiteY4" fmla="*/ 483507 h 6040447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326935 w 6418450"/>
              <a:gd name="connsiteY3" fmla="*/ 533445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6978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1263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193585 w 6418450"/>
              <a:gd name="connsiteY3" fmla="*/ 5201104 h 6011872"/>
              <a:gd name="connsiteX4" fmla="*/ 0 w 6418450"/>
              <a:gd name="connsiteY4" fmla="*/ 454932 h 6011872"/>
              <a:gd name="connsiteX0" fmla="*/ 0 w 6456546"/>
              <a:gd name="connsiteY0" fmla="*/ 454932 h 6069021"/>
              <a:gd name="connsiteX1" fmla="*/ 5893618 w 6456546"/>
              <a:gd name="connsiteY1" fmla="*/ 0 h 6069021"/>
              <a:gd name="connsiteX2" fmla="*/ 6456499 w 6456546"/>
              <a:gd name="connsiteY2" fmla="*/ 6069012 h 6069021"/>
              <a:gd name="connsiteX3" fmla="*/ 193585 w 6456546"/>
              <a:gd name="connsiteY3" fmla="*/ 5201104 h 6069021"/>
              <a:gd name="connsiteX4" fmla="*/ 0 w 6456546"/>
              <a:gd name="connsiteY4" fmla="*/ 454932 h 6069021"/>
              <a:gd name="connsiteX0" fmla="*/ 0 w 6441306"/>
              <a:gd name="connsiteY0" fmla="*/ 424452 h 6069021"/>
              <a:gd name="connsiteX1" fmla="*/ 5878378 w 6441306"/>
              <a:gd name="connsiteY1" fmla="*/ 0 h 6069021"/>
              <a:gd name="connsiteX2" fmla="*/ 6441259 w 6441306"/>
              <a:gd name="connsiteY2" fmla="*/ 6069012 h 6069021"/>
              <a:gd name="connsiteX3" fmla="*/ 178345 w 6441306"/>
              <a:gd name="connsiteY3" fmla="*/ 5201104 h 6069021"/>
              <a:gd name="connsiteX4" fmla="*/ 0 w 6441306"/>
              <a:gd name="connsiteY4" fmla="*/ 424452 h 6069021"/>
              <a:gd name="connsiteX0" fmla="*/ 0 w 6471786"/>
              <a:gd name="connsiteY0" fmla="*/ 424452 h 6069021"/>
              <a:gd name="connsiteX1" fmla="*/ 5908858 w 6471786"/>
              <a:gd name="connsiteY1" fmla="*/ 0 h 6069021"/>
              <a:gd name="connsiteX2" fmla="*/ 6471739 w 6471786"/>
              <a:gd name="connsiteY2" fmla="*/ 6069012 h 6069021"/>
              <a:gd name="connsiteX3" fmla="*/ 208825 w 6471786"/>
              <a:gd name="connsiteY3" fmla="*/ 5201104 h 6069021"/>
              <a:gd name="connsiteX4" fmla="*/ 0 w 6471786"/>
              <a:gd name="connsiteY4" fmla="*/ 424452 h 6069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1786" h="6069021">
                <a:moveTo>
                  <a:pt x="0" y="424452"/>
                </a:moveTo>
                <a:lnTo>
                  <a:pt x="5908858" y="0"/>
                </a:lnTo>
                <a:cubicBezTo>
                  <a:pt x="5907573" y="5292"/>
                  <a:pt x="6477786" y="6078007"/>
                  <a:pt x="6471739" y="6069012"/>
                </a:cubicBezTo>
                <a:lnTo>
                  <a:pt x="208825" y="5201104"/>
                </a:lnTo>
                <a:cubicBezTo>
                  <a:pt x="156513" y="3606573"/>
                  <a:pt x="1330" y="437606"/>
                  <a:pt x="0" y="4244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127000">
              <a:prstClr val="black"/>
            </a:innerShdw>
          </a:effectLst>
          <a:scene3d>
            <a:camera prst="isometricRightUp">
              <a:rot lat="1788000" lon="18522000" rev="21360000"/>
            </a:camera>
            <a:lightRig rig="threePt" dir="t"/>
          </a:scene3d>
        </p:spPr>
        <p:txBody>
          <a:bodyPr/>
          <a:lstStyle>
            <a:lvl1pPr marL="0" indent="0" algn="ctr">
              <a:buNone/>
              <a:defRPr sz="3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672C1EB1-3850-4575-A3AF-5734AC3AE98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4211752" y="2311348"/>
            <a:ext cx="7871232" cy="7369961"/>
          </a:xfrm>
          <a:custGeom>
            <a:avLst/>
            <a:gdLst>
              <a:gd name="connsiteX0" fmla="*/ 0 w 4933950"/>
              <a:gd name="connsiteY0" fmla="*/ 0 h 4565650"/>
              <a:gd name="connsiteX1" fmla="*/ 4933950 w 4933950"/>
              <a:gd name="connsiteY1" fmla="*/ 0 h 4565650"/>
              <a:gd name="connsiteX2" fmla="*/ 4933950 w 4933950"/>
              <a:gd name="connsiteY2" fmla="*/ 4565650 h 4565650"/>
              <a:gd name="connsiteX3" fmla="*/ 0 w 4933950"/>
              <a:gd name="connsiteY3" fmla="*/ 4565650 h 4565650"/>
              <a:gd name="connsiteX4" fmla="*/ 0 w 4933950"/>
              <a:gd name="connsiteY4" fmla="*/ 0 h 4565650"/>
              <a:gd name="connsiteX0" fmla="*/ 0 w 4933950"/>
              <a:gd name="connsiteY0" fmla="*/ 1364343 h 5929993"/>
              <a:gd name="connsiteX1" fmla="*/ 4803322 w 4933950"/>
              <a:gd name="connsiteY1" fmla="*/ 0 h 5929993"/>
              <a:gd name="connsiteX2" fmla="*/ 4933950 w 4933950"/>
              <a:gd name="connsiteY2" fmla="*/ 5929993 h 5929993"/>
              <a:gd name="connsiteX3" fmla="*/ 0 w 4933950"/>
              <a:gd name="connsiteY3" fmla="*/ 5929993 h 5929993"/>
              <a:gd name="connsiteX4" fmla="*/ 0 w 4933950"/>
              <a:gd name="connsiteY4" fmla="*/ 1364343 h 5929993"/>
              <a:gd name="connsiteX0" fmla="*/ 0 w 4933950"/>
              <a:gd name="connsiteY0" fmla="*/ 1204685 h 5770335"/>
              <a:gd name="connsiteX1" fmla="*/ 4817836 w 4933950"/>
              <a:gd name="connsiteY1" fmla="*/ 0 h 5770335"/>
              <a:gd name="connsiteX2" fmla="*/ 4933950 w 4933950"/>
              <a:gd name="connsiteY2" fmla="*/ 5770335 h 5770335"/>
              <a:gd name="connsiteX3" fmla="*/ 0 w 4933950"/>
              <a:gd name="connsiteY3" fmla="*/ 5770335 h 5770335"/>
              <a:gd name="connsiteX4" fmla="*/ 0 w 4933950"/>
              <a:gd name="connsiteY4" fmla="*/ 1204685 h 5770335"/>
              <a:gd name="connsiteX0" fmla="*/ 0 w 4933950"/>
              <a:gd name="connsiteY0" fmla="*/ 1103085 h 5668735"/>
              <a:gd name="connsiteX1" fmla="*/ 4774293 w 4933950"/>
              <a:gd name="connsiteY1" fmla="*/ 0 h 5668735"/>
              <a:gd name="connsiteX2" fmla="*/ 4933950 w 4933950"/>
              <a:gd name="connsiteY2" fmla="*/ 5668735 h 5668735"/>
              <a:gd name="connsiteX3" fmla="*/ 0 w 4933950"/>
              <a:gd name="connsiteY3" fmla="*/ 5668735 h 5668735"/>
              <a:gd name="connsiteX4" fmla="*/ 0 w 4933950"/>
              <a:gd name="connsiteY4" fmla="*/ 1103085 h 5668735"/>
              <a:gd name="connsiteX0" fmla="*/ 0 w 4933950"/>
              <a:gd name="connsiteY0" fmla="*/ 1045028 h 5610678"/>
              <a:gd name="connsiteX1" fmla="*/ 4803322 w 4933950"/>
              <a:gd name="connsiteY1" fmla="*/ 0 h 5610678"/>
              <a:gd name="connsiteX2" fmla="*/ 4933950 w 4933950"/>
              <a:gd name="connsiteY2" fmla="*/ 5610678 h 5610678"/>
              <a:gd name="connsiteX3" fmla="*/ 0 w 4933950"/>
              <a:gd name="connsiteY3" fmla="*/ 5610678 h 5610678"/>
              <a:gd name="connsiteX4" fmla="*/ 0 w 4933950"/>
              <a:gd name="connsiteY4" fmla="*/ 1045028 h 5610678"/>
              <a:gd name="connsiteX0" fmla="*/ 0 w 4933950"/>
              <a:gd name="connsiteY0" fmla="*/ 1059543 h 5625193"/>
              <a:gd name="connsiteX1" fmla="*/ 4803322 w 4933950"/>
              <a:gd name="connsiteY1" fmla="*/ 0 h 5625193"/>
              <a:gd name="connsiteX2" fmla="*/ 4933950 w 4933950"/>
              <a:gd name="connsiteY2" fmla="*/ 5625193 h 5625193"/>
              <a:gd name="connsiteX3" fmla="*/ 0 w 4933950"/>
              <a:gd name="connsiteY3" fmla="*/ 5625193 h 5625193"/>
              <a:gd name="connsiteX4" fmla="*/ 0 w 4933950"/>
              <a:gd name="connsiteY4" fmla="*/ 1059543 h 5625193"/>
              <a:gd name="connsiteX0" fmla="*/ 0 w 4933950"/>
              <a:gd name="connsiteY0" fmla="*/ 1074057 h 5639707"/>
              <a:gd name="connsiteX1" fmla="*/ 4774293 w 4933950"/>
              <a:gd name="connsiteY1" fmla="*/ 0 h 5639707"/>
              <a:gd name="connsiteX2" fmla="*/ 4933950 w 4933950"/>
              <a:gd name="connsiteY2" fmla="*/ 5639707 h 5639707"/>
              <a:gd name="connsiteX3" fmla="*/ 0 w 4933950"/>
              <a:gd name="connsiteY3" fmla="*/ 5639707 h 5639707"/>
              <a:gd name="connsiteX4" fmla="*/ 0 w 4933950"/>
              <a:gd name="connsiteY4" fmla="*/ 1074057 h 5639707"/>
              <a:gd name="connsiteX0" fmla="*/ 0 w 4933950"/>
              <a:gd name="connsiteY0" fmla="*/ 1103086 h 5668736"/>
              <a:gd name="connsiteX1" fmla="*/ 4803322 w 4933950"/>
              <a:gd name="connsiteY1" fmla="*/ 0 h 5668736"/>
              <a:gd name="connsiteX2" fmla="*/ 4933950 w 4933950"/>
              <a:gd name="connsiteY2" fmla="*/ 5668736 h 5668736"/>
              <a:gd name="connsiteX3" fmla="*/ 0 w 4933950"/>
              <a:gd name="connsiteY3" fmla="*/ 5668736 h 5668736"/>
              <a:gd name="connsiteX4" fmla="*/ 0 w 4933950"/>
              <a:gd name="connsiteY4" fmla="*/ 1103086 h 5668736"/>
              <a:gd name="connsiteX0" fmla="*/ 0 w 4977493"/>
              <a:gd name="connsiteY0" fmla="*/ 1103086 h 5813879"/>
              <a:gd name="connsiteX1" fmla="*/ 4803322 w 4977493"/>
              <a:gd name="connsiteY1" fmla="*/ 0 h 5813879"/>
              <a:gd name="connsiteX2" fmla="*/ 4977493 w 4977493"/>
              <a:gd name="connsiteY2" fmla="*/ 5813879 h 5813879"/>
              <a:gd name="connsiteX3" fmla="*/ 0 w 4977493"/>
              <a:gd name="connsiteY3" fmla="*/ 5668736 h 5813879"/>
              <a:gd name="connsiteX4" fmla="*/ 0 w 4977493"/>
              <a:gd name="connsiteY4" fmla="*/ 1103086 h 5813879"/>
              <a:gd name="connsiteX0" fmla="*/ 0 w 4992007"/>
              <a:gd name="connsiteY0" fmla="*/ 1103086 h 5871936"/>
              <a:gd name="connsiteX1" fmla="*/ 4803322 w 4992007"/>
              <a:gd name="connsiteY1" fmla="*/ 0 h 5871936"/>
              <a:gd name="connsiteX2" fmla="*/ 4992007 w 4992007"/>
              <a:gd name="connsiteY2" fmla="*/ 5871936 h 5871936"/>
              <a:gd name="connsiteX3" fmla="*/ 0 w 4992007"/>
              <a:gd name="connsiteY3" fmla="*/ 5668736 h 5871936"/>
              <a:gd name="connsiteX4" fmla="*/ 0 w 4992007"/>
              <a:gd name="connsiteY4" fmla="*/ 1103086 h 5871936"/>
              <a:gd name="connsiteX0" fmla="*/ 0 w 5035550"/>
              <a:gd name="connsiteY0" fmla="*/ 1103086 h 5886450"/>
              <a:gd name="connsiteX1" fmla="*/ 4803322 w 5035550"/>
              <a:gd name="connsiteY1" fmla="*/ 0 h 5886450"/>
              <a:gd name="connsiteX2" fmla="*/ 5035550 w 5035550"/>
              <a:gd name="connsiteY2" fmla="*/ 5886450 h 5886450"/>
              <a:gd name="connsiteX3" fmla="*/ 0 w 5035550"/>
              <a:gd name="connsiteY3" fmla="*/ 5668736 h 5886450"/>
              <a:gd name="connsiteX4" fmla="*/ 0 w 5035550"/>
              <a:gd name="connsiteY4" fmla="*/ 1103086 h 5886450"/>
              <a:gd name="connsiteX0" fmla="*/ 0 w 5064579"/>
              <a:gd name="connsiteY0" fmla="*/ 1103086 h 5886450"/>
              <a:gd name="connsiteX1" fmla="*/ 4803322 w 5064579"/>
              <a:gd name="connsiteY1" fmla="*/ 0 h 5886450"/>
              <a:gd name="connsiteX2" fmla="*/ 5064579 w 5064579"/>
              <a:gd name="connsiteY2" fmla="*/ 5886450 h 5886450"/>
              <a:gd name="connsiteX3" fmla="*/ 0 w 5064579"/>
              <a:gd name="connsiteY3" fmla="*/ 5668736 h 5886450"/>
              <a:gd name="connsiteX4" fmla="*/ 0 w 5064579"/>
              <a:gd name="connsiteY4" fmla="*/ 1103086 h 5886450"/>
              <a:gd name="connsiteX0" fmla="*/ 14515 w 5079094"/>
              <a:gd name="connsiteY0" fmla="*/ 1103086 h 5900964"/>
              <a:gd name="connsiteX1" fmla="*/ 4817837 w 5079094"/>
              <a:gd name="connsiteY1" fmla="*/ 0 h 5900964"/>
              <a:gd name="connsiteX2" fmla="*/ 5079094 w 5079094"/>
              <a:gd name="connsiteY2" fmla="*/ 5886450 h 5900964"/>
              <a:gd name="connsiteX3" fmla="*/ 0 w 5079094"/>
              <a:gd name="connsiteY3" fmla="*/ 5900964 h 5900964"/>
              <a:gd name="connsiteX4" fmla="*/ 14515 w 5079094"/>
              <a:gd name="connsiteY4" fmla="*/ 1103086 h 5900964"/>
              <a:gd name="connsiteX0" fmla="*/ 116115 w 5180694"/>
              <a:gd name="connsiteY0" fmla="*/ 1103086 h 5886450"/>
              <a:gd name="connsiteX1" fmla="*/ 4919437 w 5180694"/>
              <a:gd name="connsiteY1" fmla="*/ 0 h 5886450"/>
              <a:gd name="connsiteX2" fmla="*/ 5180694 w 5180694"/>
              <a:gd name="connsiteY2" fmla="*/ 5886450 h 5886450"/>
              <a:gd name="connsiteX3" fmla="*/ 0 w 5180694"/>
              <a:gd name="connsiteY3" fmla="*/ 5857421 h 5886450"/>
              <a:gd name="connsiteX4" fmla="*/ 116115 w 5180694"/>
              <a:gd name="connsiteY4" fmla="*/ 1103086 h 5886450"/>
              <a:gd name="connsiteX0" fmla="*/ 101601 w 5166180"/>
              <a:gd name="connsiteY0" fmla="*/ 1103086 h 5886450"/>
              <a:gd name="connsiteX1" fmla="*/ 4904923 w 5166180"/>
              <a:gd name="connsiteY1" fmla="*/ 0 h 5886450"/>
              <a:gd name="connsiteX2" fmla="*/ 5166180 w 5166180"/>
              <a:gd name="connsiteY2" fmla="*/ 5886450 h 5886450"/>
              <a:gd name="connsiteX3" fmla="*/ 0 w 5166180"/>
              <a:gd name="connsiteY3" fmla="*/ 5755821 h 5886450"/>
              <a:gd name="connsiteX4" fmla="*/ 101601 w 5166180"/>
              <a:gd name="connsiteY4" fmla="*/ 1103086 h 5886450"/>
              <a:gd name="connsiteX0" fmla="*/ 72572 w 5137151"/>
              <a:gd name="connsiteY0" fmla="*/ 1103086 h 5886450"/>
              <a:gd name="connsiteX1" fmla="*/ 4875894 w 5137151"/>
              <a:gd name="connsiteY1" fmla="*/ 0 h 5886450"/>
              <a:gd name="connsiteX2" fmla="*/ 5137151 w 5137151"/>
              <a:gd name="connsiteY2" fmla="*/ 5886450 h 5886450"/>
              <a:gd name="connsiteX3" fmla="*/ 0 w 5137151"/>
              <a:gd name="connsiteY3" fmla="*/ 5813879 h 5886450"/>
              <a:gd name="connsiteX4" fmla="*/ 72572 w 5137151"/>
              <a:gd name="connsiteY4" fmla="*/ 1103086 h 5886450"/>
              <a:gd name="connsiteX0" fmla="*/ 14515 w 5079094"/>
              <a:gd name="connsiteY0" fmla="*/ 1103086 h 5886450"/>
              <a:gd name="connsiteX1" fmla="*/ 4817837 w 5079094"/>
              <a:gd name="connsiteY1" fmla="*/ 0 h 5886450"/>
              <a:gd name="connsiteX2" fmla="*/ 5079094 w 5079094"/>
              <a:gd name="connsiteY2" fmla="*/ 5886450 h 5886450"/>
              <a:gd name="connsiteX3" fmla="*/ 0 w 5079094"/>
              <a:gd name="connsiteY3" fmla="*/ 5770336 h 5886450"/>
              <a:gd name="connsiteX4" fmla="*/ 14515 w 5079094"/>
              <a:gd name="connsiteY4" fmla="*/ 1103086 h 5886450"/>
              <a:gd name="connsiteX0" fmla="*/ 87086 w 5151665"/>
              <a:gd name="connsiteY0" fmla="*/ 1103086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87086 w 5151665"/>
              <a:gd name="connsiteY4" fmla="*/ 1103086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0 w 5166179"/>
              <a:gd name="connsiteY0" fmla="*/ 1175657 h 5886450"/>
              <a:gd name="connsiteX1" fmla="*/ 4904922 w 5166179"/>
              <a:gd name="connsiteY1" fmla="*/ 0 h 5886450"/>
              <a:gd name="connsiteX2" fmla="*/ 5166179 w 5166179"/>
              <a:gd name="connsiteY2" fmla="*/ 5886450 h 5886450"/>
              <a:gd name="connsiteX3" fmla="*/ 14514 w 5166179"/>
              <a:gd name="connsiteY3" fmla="*/ 5813879 h 5886450"/>
              <a:gd name="connsiteX4" fmla="*/ 0 w 5166179"/>
              <a:gd name="connsiteY4" fmla="*/ 1175657 h 5886450"/>
              <a:gd name="connsiteX0" fmla="*/ 3882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38826 w 5151665"/>
              <a:gd name="connsiteY4" fmla="*/ 1160417 h 5886450"/>
              <a:gd name="connsiteX0" fmla="*/ 2358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3586 w 5151665"/>
              <a:gd name="connsiteY4" fmla="*/ 1160417 h 5886450"/>
              <a:gd name="connsiteX0" fmla="*/ 726 w 5151665"/>
              <a:gd name="connsiteY0" fmla="*/ 114517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726 w 5151665"/>
              <a:gd name="connsiteY4" fmla="*/ 114517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26265"/>
              <a:gd name="connsiteY0" fmla="*/ 1137557 h 5899150"/>
              <a:gd name="connsiteX1" fmla="*/ 4890408 w 5126265"/>
              <a:gd name="connsiteY1" fmla="*/ 0 h 5899150"/>
              <a:gd name="connsiteX2" fmla="*/ 5126265 w 5126265"/>
              <a:gd name="connsiteY2" fmla="*/ 5899150 h 5899150"/>
              <a:gd name="connsiteX3" fmla="*/ 0 w 5126265"/>
              <a:gd name="connsiteY3" fmla="*/ 5813879 h 5899150"/>
              <a:gd name="connsiteX4" fmla="*/ 15966 w 5126265"/>
              <a:gd name="connsiteY4" fmla="*/ 1137557 h 5899150"/>
              <a:gd name="connsiteX0" fmla="*/ 15966 w 5138965"/>
              <a:gd name="connsiteY0" fmla="*/ 1137557 h 5899150"/>
              <a:gd name="connsiteX1" fmla="*/ 4890408 w 5138965"/>
              <a:gd name="connsiteY1" fmla="*/ 0 h 5899150"/>
              <a:gd name="connsiteX2" fmla="*/ 5138965 w 5138965"/>
              <a:gd name="connsiteY2" fmla="*/ 5899150 h 5899150"/>
              <a:gd name="connsiteX3" fmla="*/ 0 w 5138965"/>
              <a:gd name="connsiteY3" fmla="*/ 5813879 h 5899150"/>
              <a:gd name="connsiteX4" fmla="*/ 15966 w 5138965"/>
              <a:gd name="connsiteY4" fmla="*/ 1137557 h 5899150"/>
              <a:gd name="connsiteX0" fmla="*/ 15966 w 5138965"/>
              <a:gd name="connsiteY0" fmla="*/ 1156607 h 5918200"/>
              <a:gd name="connsiteX1" fmla="*/ 4884058 w 5138965"/>
              <a:gd name="connsiteY1" fmla="*/ 0 h 5918200"/>
              <a:gd name="connsiteX2" fmla="*/ 5138965 w 5138965"/>
              <a:gd name="connsiteY2" fmla="*/ 5918200 h 5918200"/>
              <a:gd name="connsiteX3" fmla="*/ 0 w 5138965"/>
              <a:gd name="connsiteY3" fmla="*/ 5832929 h 5918200"/>
              <a:gd name="connsiteX4" fmla="*/ 15966 w 5138965"/>
              <a:gd name="connsiteY4" fmla="*/ 1156607 h 5918200"/>
              <a:gd name="connsiteX0" fmla="*/ 3266 w 5126265"/>
              <a:gd name="connsiteY0" fmla="*/ 1156607 h 5918200"/>
              <a:gd name="connsiteX1" fmla="*/ 4871358 w 5126265"/>
              <a:gd name="connsiteY1" fmla="*/ 0 h 5918200"/>
              <a:gd name="connsiteX2" fmla="*/ 5126265 w 5126265"/>
              <a:gd name="connsiteY2" fmla="*/ 5918200 h 5918200"/>
              <a:gd name="connsiteX3" fmla="*/ 0 w 5126265"/>
              <a:gd name="connsiteY3" fmla="*/ 5839279 h 5918200"/>
              <a:gd name="connsiteX4" fmla="*/ 3266 w 5126265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9434 w 5122999"/>
              <a:gd name="connsiteY3" fmla="*/ 586467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5832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45629 h 5918200"/>
              <a:gd name="connsiteX4" fmla="*/ 0 w 5122999"/>
              <a:gd name="connsiteY4" fmla="*/ 1156607 h 5918200"/>
              <a:gd name="connsiteX0" fmla="*/ 0 w 5122999"/>
              <a:gd name="connsiteY0" fmla="*/ 1093107 h 5854700"/>
              <a:gd name="connsiteX1" fmla="*/ 5007792 w 5122999"/>
              <a:gd name="connsiteY1" fmla="*/ 0 h 5854700"/>
              <a:gd name="connsiteX2" fmla="*/ 5122999 w 5122999"/>
              <a:gd name="connsiteY2" fmla="*/ 5854700 h 5854700"/>
              <a:gd name="connsiteX3" fmla="*/ 3084 w 5122999"/>
              <a:gd name="connsiteY3" fmla="*/ 5782129 h 5854700"/>
              <a:gd name="connsiteX4" fmla="*/ 0 w 5122999"/>
              <a:gd name="connsiteY4" fmla="*/ 1093107 h 5854700"/>
              <a:gd name="connsiteX0" fmla="*/ 0 w 5122999"/>
              <a:gd name="connsiteY0" fmla="*/ 1012144 h 5773737"/>
              <a:gd name="connsiteX1" fmla="*/ 5074467 w 5122999"/>
              <a:gd name="connsiteY1" fmla="*/ 0 h 5773737"/>
              <a:gd name="connsiteX2" fmla="*/ 5122999 w 5122999"/>
              <a:gd name="connsiteY2" fmla="*/ 5773737 h 5773737"/>
              <a:gd name="connsiteX3" fmla="*/ 3084 w 5122999"/>
              <a:gd name="connsiteY3" fmla="*/ 5701166 h 5773737"/>
              <a:gd name="connsiteX4" fmla="*/ 0 w 5122999"/>
              <a:gd name="connsiteY4" fmla="*/ 1012144 h 5773737"/>
              <a:gd name="connsiteX0" fmla="*/ 0 w 5126855"/>
              <a:gd name="connsiteY0" fmla="*/ 969282 h 5730875"/>
              <a:gd name="connsiteX1" fmla="*/ 5126855 w 5126855"/>
              <a:gd name="connsiteY1" fmla="*/ 0 h 5730875"/>
              <a:gd name="connsiteX2" fmla="*/ 5122999 w 5126855"/>
              <a:gd name="connsiteY2" fmla="*/ 5730875 h 5730875"/>
              <a:gd name="connsiteX3" fmla="*/ 3084 w 5126855"/>
              <a:gd name="connsiteY3" fmla="*/ 5658304 h 5730875"/>
              <a:gd name="connsiteX4" fmla="*/ 0 w 5126855"/>
              <a:gd name="connsiteY4" fmla="*/ 969282 h 5730875"/>
              <a:gd name="connsiteX0" fmla="*/ 0 w 5198292"/>
              <a:gd name="connsiteY0" fmla="*/ 878794 h 5640387"/>
              <a:gd name="connsiteX1" fmla="*/ 5198292 w 5198292"/>
              <a:gd name="connsiteY1" fmla="*/ 0 h 5640387"/>
              <a:gd name="connsiteX2" fmla="*/ 5122999 w 5198292"/>
              <a:gd name="connsiteY2" fmla="*/ 5640387 h 5640387"/>
              <a:gd name="connsiteX3" fmla="*/ 3084 w 5198292"/>
              <a:gd name="connsiteY3" fmla="*/ 5567816 h 5640387"/>
              <a:gd name="connsiteX4" fmla="*/ 0 w 5198292"/>
              <a:gd name="connsiteY4" fmla="*/ 878794 h 5640387"/>
              <a:gd name="connsiteX0" fmla="*/ 0 w 5212580"/>
              <a:gd name="connsiteY0" fmla="*/ 874032 h 5635625"/>
              <a:gd name="connsiteX1" fmla="*/ 5212580 w 5212580"/>
              <a:gd name="connsiteY1" fmla="*/ 0 h 5635625"/>
              <a:gd name="connsiteX2" fmla="*/ 5122999 w 5212580"/>
              <a:gd name="connsiteY2" fmla="*/ 5635625 h 5635625"/>
              <a:gd name="connsiteX3" fmla="*/ 3084 w 5212580"/>
              <a:gd name="connsiteY3" fmla="*/ 5563054 h 5635625"/>
              <a:gd name="connsiteX4" fmla="*/ 0 w 5212580"/>
              <a:gd name="connsiteY4" fmla="*/ 874032 h 5635625"/>
              <a:gd name="connsiteX0" fmla="*/ 0 w 5417368"/>
              <a:gd name="connsiteY0" fmla="*/ 769257 h 5635625"/>
              <a:gd name="connsiteX1" fmla="*/ 5417368 w 5417368"/>
              <a:gd name="connsiteY1" fmla="*/ 0 h 5635625"/>
              <a:gd name="connsiteX2" fmla="*/ 5327787 w 5417368"/>
              <a:gd name="connsiteY2" fmla="*/ 5635625 h 5635625"/>
              <a:gd name="connsiteX3" fmla="*/ 207872 w 5417368"/>
              <a:gd name="connsiteY3" fmla="*/ 5563054 h 5635625"/>
              <a:gd name="connsiteX4" fmla="*/ 0 w 5417368"/>
              <a:gd name="connsiteY4" fmla="*/ 769257 h 5635625"/>
              <a:gd name="connsiteX0" fmla="*/ 0 w 5722168"/>
              <a:gd name="connsiteY0" fmla="*/ 654957 h 5635625"/>
              <a:gd name="connsiteX1" fmla="*/ 5722168 w 5722168"/>
              <a:gd name="connsiteY1" fmla="*/ 0 h 5635625"/>
              <a:gd name="connsiteX2" fmla="*/ 5632587 w 5722168"/>
              <a:gd name="connsiteY2" fmla="*/ 5635625 h 5635625"/>
              <a:gd name="connsiteX3" fmla="*/ 512672 w 5722168"/>
              <a:gd name="connsiteY3" fmla="*/ 5563054 h 5635625"/>
              <a:gd name="connsiteX4" fmla="*/ 0 w 5722168"/>
              <a:gd name="connsiteY4" fmla="*/ 654957 h 5635625"/>
              <a:gd name="connsiteX0" fmla="*/ 0 w 5712643"/>
              <a:gd name="connsiteY0" fmla="*/ 597807 h 5635625"/>
              <a:gd name="connsiteX1" fmla="*/ 5712643 w 5712643"/>
              <a:gd name="connsiteY1" fmla="*/ 0 h 5635625"/>
              <a:gd name="connsiteX2" fmla="*/ 5623062 w 5712643"/>
              <a:gd name="connsiteY2" fmla="*/ 5635625 h 5635625"/>
              <a:gd name="connsiteX3" fmla="*/ 503147 w 5712643"/>
              <a:gd name="connsiteY3" fmla="*/ 5563054 h 5635625"/>
              <a:gd name="connsiteX4" fmla="*/ 0 w 5712643"/>
              <a:gd name="connsiteY4" fmla="*/ 597807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403135 w 5731693"/>
              <a:gd name="connsiteY3" fmla="*/ 55201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317410 w 5731693"/>
              <a:gd name="connsiteY3" fmla="*/ 54297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274547 w 5731693"/>
              <a:gd name="connsiteY3" fmla="*/ 54201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88822 w 5731693"/>
              <a:gd name="connsiteY3" fmla="*/ 53820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36435 w 5731693"/>
              <a:gd name="connsiteY3" fmla="*/ 52915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55485 w 5731693"/>
              <a:gd name="connsiteY3" fmla="*/ 52773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4535 w 5731693"/>
              <a:gd name="connsiteY3" fmla="*/ 5305879 h 5635625"/>
              <a:gd name="connsiteX4" fmla="*/ 0 w 5731693"/>
              <a:gd name="connsiteY4" fmla="*/ 569232 h 5635625"/>
              <a:gd name="connsiteX0" fmla="*/ 0 w 5789769"/>
              <a:gd name="connsiteY0" fmla="*/ 569232 h 5854700"/>
              <a:gd name="connsiteX1" fmla="*/ 5731693 w 5789769"/>
              <a:gd name="connsiteY1" fmla="*/ 0 h 5854700"/>
              <a:gd name="connsiteX2" fmla="*/ 5789749 w 5789769"/>
              <a:gd name="connsiteY2" fmla="*/ 5854700 h 5854700"/>
              <a:gd name="connsiteX3" fmla="*/ 174535 w 5789769"/>
              <a:gd name="connsiteY3" fmla="*/ 5305879 h 5854700"/>
              <a:gd name="connsiteX4" fmla="*/ 0 w 5789769"/>
              <a:gd name="connsiteY4" fmla="*/ 569232 h 5854700"/>
              <a:gd name="connsiteX0" fmla="*/ 0 w 6199326"/>
              <a:gd name="connsiteY0" fmla="*/ 569232 h 5973763"/>
              <a:gd name="connsiteX1" fmla="*/ 5731693 w 6199326"/>
              <a:gd name="connsiteY1" fmla="*/ 0 h 5973763"/>
              <a:gd name="connsiteX2" fmla="*/ 6199324 w 6199326"/>
              <a:gd name="connsiteY2" fmla="*/ 5973763 h 5973763"/>
              <a:gd name="connsiteX3" fmla="*/ 174535 w 6199326"/>
              <a:gd name="connsiteY3" fmla="*/ 5305879 h 5973763"/>
              <a:gd name="connsiteX4" fmla="*/ 0 w 6199326"/>
              <a:gd name="connsiteY4" fmla="*/ 569232 h 5973763"/>
              <a:gd name="connsiteX0" fmla="*/ 0 w 6237426"/>
              <a:gd name="connsiteY0" fmla="*/ 569232 h 5959475"/>
              <a:gd name="connsiteX1" fmla="*/ 5731693 w 6237426"/>
              <a:gd name="connsiteY1" fmla="*/ 0 h 5959475"/>
              <a:gd name="connsiteX2" fmla="*/ 6237424 w 6237426"/>
              <a:gd name="connsiteY2" fmla="*/ 5959475 h 5959475"/>
              <a:gd name="connsiteX3" fmla="*/ 174535 w 6237426"/>
              <a:gd name="connsiteY3" fmla="*/ 5305879 h 5959475"/>
              <a:gd name="connsiteX4" fmla="*/ 0 w 6237426"/>
              <a:gd name="connsiteY4" fmla="*/ 569232 h 5959475"/>
              <a:gd name="connsiteX0" fmla="*/ 0 w 6266001"/>
              <a:gd name="connsiteY0" fmla="*/ 569232 h 5983287"/>
              <a:gd name="connsiteX1" fmla="*/ 5731693 w 6266001"/>
              <a:gd name="connsiteY1" fmla="*/ 0 h 5983287"/>
              <a:gd name="connsiteX2" fmla="*/ 6265999 w 6266001"/>
              <a:gd name="connsiteY2" fmla="*/ 5983287 h 5983287"/>
              <a:gd name="connsiteX3" fmla="*/ 174535 w 6266001"/>
              <a:gd name="connsiteY3" fmla="*/ 5305879 h 5983287"/>
              <a:gd name="connsiteX4" fmla="*/ 0 w 6266001"/>
              <a:gd name="connsiteY4" fmla="*/ 569232 h 5983287"/>
              <a:gd name="connsiteX0" fmla="*/ 0 w 6265999"/>
              <a:gd name="connsiteY0" fmla="*/ 569232 h 5983287"/>
              <a:gd name="connsiteX1" fmla="*/ 5731693 w 6265999"/>
              <a:gd name="connsiteY1" fmla="*/ 0 h 5983287"/>
              <a:gd name="connsiteX2" fmla="*/ 6265999 w 6265999"/>
              <a:gd name="connsiteY2" fmla="*/ 5983287 h 5983287"/>
              <a:gd name="connsiteX3" fmla="*/ 174535 w 6265999"/>
              <a:gd name="connsiteY3" fmla="*/ 5305879 h 5983287"/>
              <a:gd name="connsiteX4" fmla="*/ 0 w 6265999"/>
              <a:gd name="connsiteY4" fmla="*/ 569232 h 5983287"/>
              <a:gd name="connsiteX0" fmla="*/ 0 w 6266543"/>
              <a:gd name="connsiteY0" fmla="*/ 569232 h 5983385"/>
              <a:gd name="connsiteX1" fmla="*/ 5731693 w 6266543"/>
              <a:gd name="connsiteY1" fmla="*/ 0 h 5983385"/>
              <a:gd name="connsiteX2" fmla="*/ 6265999 w 6266543"/>
              <a:gd name="connsiteY2" fmla="*/ 5983287 h 5983385"/>
              <a:gd name="connsiteX3" fmla="*/ 174535 w 6266543"/>
              <a:gd name="connsiteY3" fmla="*/ 5305879 h 5983385"/>
              <a:gd name="connsiteX4" fmla="*/ 0 w 6266543"/>
              <a:gd name="connsiteY4" fmla="*/ 569232 h 5983385"/>
              <a:gd name="connsiteX0" fmla="*/ 0 w 6266049"/>
              <a:gd name="connsiteY0" fmla="*/ 569232 h 5983301"/>
              <a:gd name="connsiteX1" fmla="*/ 5731693 w 6266049"/>
              <a:gd name="connsiteY1" fmla="*/ 0 h 5983301"/>
              <a:gd name="connsiteX2" fmla="*/ 6265999 w 6266049"/>
              <a:gd name="connsiteY2" fmla="*/ 5983287 h 5983301"/>
              <a:gd name="connsiteX3" fmla="*/ 174535 w 6266049"/>
              <a:gd name="connsiteY3" fmla="*/ 5305879 h 5983301"/>
              <a:gd name="connsiteX4" fmla="*/ 0 w 6266049"/>
              <a:gd name="connsiteY4" fmla="*/ 569232 h 5983301"/>
              <a:gd name="connsiteX0" fmla="*/ 0 w 6266047"/>
              <a:gd name="connsiteY0" fmla="*/ 588282 h 6002351"/>
              <a:gd name="connsiteX1" fmla="*/ 5712643 w 6266047"/>
              <a:gd name="connsiteY1" fmla="*/ 0 h 6002351"/>
              <a:gd name="connsiteX2" fmla="*/ 6265999 w 6266047"/>
              <a:gd name="connsiteY2" fmla="*/ 6002337 h 6002351"/>
              <a:gd name="connsiteX3" fmla="*/ 174535 w 6266047"/>
              <a:gd name="connsiteY3" fmla="*/ 5324929 h 6002351"/>
              <a:gd name="connsiteX4" fmla="*/ 0 w 6266047"/>
              <a:gd name="connsiteY4" fmla="*/ 588282 h 6002351"/>
              <a:gd name="connsiteX0" fmla="*/ 0 w 6266046"/>
              <a:gd name="connsiteY0" fmla="*/ 616857 h 6030926"/>
              <a:gd name="connsiteX1" fmla="*/ 5703118 w 6266046"/>
              <a:gd name="connsiteY1" fmla="*/ 0 h 6030926"/>
              <a:gd name="connsiteX2" fmla="*/ 6265999 w 6266046"/>
              <a:gd name="connsiteY2" fmla="*/ 6030912 h 6030926"/>
              <a:gd name="connsiteX3" fmla="*/ 174535 w 6266046"/>
              <a:gd name="connsiteY3" fmla="*/ 5353504 h 6030926"/>
              <a:gd name="connsiteX4" fmla="*/ 0 w 6266046"/>
              <a:gd name="connsiteY4" fmla="*/ 616857 h 6030926"/>
              <a:gd name="connsiteX0" fmla="*/ 0 w 6266046"/>
              <a:gd name="connsiteY0" fmla="*/ 616857 h 6030922"/>
              <a:gd name="connsiteX1" fmla="*/ 5703118 w 6266046"/>
              <a:gd name="connsiteY1" fmla="*/ 0 h 6030922"/>
              <a:gd name="connsiteX2" fmla="*/ 6265999 w 6266046"/>
              <a:gd name="connsiteY2" fmla="*/ 6030912 h 6030922"/>
              <a:gd name="connsiteX3" fmla="*/ 174535 w 6266046"/>
              <a:gd name="connsiteY3" fmla="*/ 5353504 h 6030922"/>
              <a:gd name="connsiteX4" fmla="*/ 0 w 6266046"/>
              <a:gd name="connsiteY4" fmla="*/ 616857 h 6030922"/>
              <a:gd name="connsiteX0" fmla="*/ 0 w 6370821"/>
              <a:gd name="connsiteY0" fmla="*/ 502557 h 6030922"/>
              <a:gd name="connsiteX1" fmla="*/ 5807893 w 6370821"/>
              <a:gd name="connsiteY1" fmla="*/ 0 h 6030922"/>
              <a:gd name="connsiteX2" fmla="*/ 6370774 w 6370821"/>
              <a:gd name="connsiteY2" fmla="*/ 6030912 h 6030922"/>
              <a:gd name="connsiteX3" fmla="*/ 279310 w 6370821"/>
              <a:gd name="connsiteY3" fmla="*/ 5353504 h 6030922"/>
              <a:gd name="connsiteX4" fmla="*/ 0 w 6370821"/>
              <a:gd name="connsiteY4" fmla="*/ 502557 h 6030922"/>
              <a:gd name="connsiteX0" fmla="*/ 0 w 6380346"/>
              <a:gd name="connsiteY0" fmla="*/ 464457 h 6030922"/>
              <a:gd name="connsiteX1" fmla="*/ 5817418 w 6380346"/>
              <a:gd name="connsiteY1" fmla="*/ 0 h 6030922"/>
              <a:gd name="connsiteX2" fmla="*/ 6380299 w 6380346"/>
              <a:gd name="connsiteY2" fmla="*/ 6030912 h 6030922"/>
              <a:gd name="connsiteX3" fmla="*/ 288835 w 6380346"/>
              <a:gd name="connsiteY3" fmla="*/ 5353504 h 6030922"/>
              <a:gd name="connsiteX4" fmla="*/ 0 w 6380346"/>
              <a:gd name="connsiteY4" fmla="*/ 464457 h 6030922"/>
              <a:gd name="connsiteX0" fmla="*/ 0 w 6418446"/>
              <a:gd name="connsiteY0" fmla="*/ 473982 h 6030922"/>
              <a:gd name="connsiteX1" fmla="*/ 5855518 w 6418446"/>
              <a:gd name="connsiteY1" fmla="*/ 0 h 6030922"/>
              <a:gd name="connsiteX2" fmla="*/ 6418399 w 6418446"/>
              <a:gd name="connsiteY2" fmla="*/ 6030912 h 6030922"/>
              <a:gd name="connsiteX3" fmla="*/ 326935 w 6418446"/>
              <a:gd name="connsiteY3" fmla="*/ 5353504 h 6030922"/>
              <a:gd name="connsiteX4" fmla="*/ 0 w 6418446"/>
              <a:gd name="connsiteY4" fmla="*/ 473982 h 6030922"/>
              <a:gd name="connsiteX0" fmla="*/ 0 w 6418450"/>
              <a:gd name="connsiteY0" fmla="*/ 483507 h 6040447"/>
              <a:gd name="connsiteX1" fmla="*/ 5893618 w 6418450"/>
              <a:gd name="connsiteY1" fmla="*/ 0 h 6040447"/>
              <a:gd name="connsiteX2" fmla="*/ 6418399 w 6418450"/>
              <a:gd name="connsiteY2" fmla="*/ 6040437 h 6040447"/>
              <a:gd name="connsiteX3" fmla="*/ 326935 w 6418450"/>
              <a:gd name="connsiteY3" fmla="*/ 5363029 h 6040447"/>
              <a:gd name="connsiteX4" fmla="*/ 0 w 6418450"/>
              <a:gd name="connsiteY4" fmla="*/ 483507 h 6040447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326935 w 6418450"/>
              <a:gd name="connsiteY3" fmla="*/ 533445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6978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1263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193585 w 6418450"/>
              <a:gd name="connsiteY3" fmla="*/ 5201104 h 6011872"/>
              <a:gd name="connsiteX4" fmla="*/ 0 w 6418450"/>
              <a:gd name="connsiteY4" fmla="*/ 454932 h 6011872"/>
              <a:gd name="connsiteX0" fmla="*/ 0 w 6456546"/>
              <a:gd name="connsiteY0" fmla="*/ 454932 h 6069021"/>
              <a:gd name="connsiteX1" fmla="*/ 5893618 w 6456546"/>
              <a:gd name="connsiteY1" fmla="*/ 0 h 6069021"/>
              <a:gd name="connsiteX2" fmla="*/ 6456499 w 6456546"/>
              <a:gd name="connsiteY2" fmla="*/ 6069012 h 6069021"/>
              <a:gd name="connsiteX3" fmla="*/ 193585 w 6456546"/>
              <a:gd name="connsiteY3" fmla="*/ 5201104 h 6069021"/>
              <a:gd name="connsiteX4" fmla="*/ 0 w 6456546"/>
              <a:gd name="connsiteY4" fmla="*/ 454932 h 6069021"/>
              <a:gd name="connsiteX0" fmla="*/ 0 w 6441306"/>
              <a:gd name="connsiteY0" fmla="*/ 424452 h 6069021"/>
              <a:gd name="connsiteX1" fmla="*/ 5878378 w 6441306"/>
              <a:gd name="connsiteY1" fmla="*/ 0 h 6069021"/>
              <a:gd name="connsiteX2" fmla="*/ 6441259 w 6441306"/>
              <a:gd name="connsiteY2" fmla="*/ 6069012 h 6069021"/>
              <a:gd name="connsiteX3" fmla="*/ 178345 w 6441306"/>
              <a:gd name="connsiteY3" fmla="*/ 5201104 h 6069021"/>
              <a:gd name="connsiteX4" fmla="*/ 0 w 6441306"/>
              <a:gd name="connsiteY4" fmla="*/ 424452 h 6069021"/>
              <a:gd name="connsiteX0" fmla="*/ 0 w 6471786"/>
              <a:gd name="connsiteY0" fmla="*/ 424452 h 6069021"/>
              <a:gd name="connsiteX1" fmla="*/ 5908858 w 6471786"/>
              <a:gd name="connsiteY1" fmla="*/ 0 h 6069021"/>
              <a:gd name="connsiteX2" fmla="*/ 6471739 w 6471786"/>
              <a:gd name="connsiteY2" fmla="*/ 6069012 h 6069021"/>
              <a:gd name="connsiteX3" fmla="*/ 208825 w 6471786"/>
              <a:gd name="connsiteY3" fmla="*/ 5201104 h 6069021"/>
              <a:gd name="connsiteX4" fmla="*/ 0 w 6471786"/>
              <a:gd name="connsiteY4" fmla="*/ 424452 h 6069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1786" h="6069021">
                <a:moveTo>
                  <a:pt x="0" y="424452"/>
                </a:moveTo>
                <a:lnTo>
                  <a:pt x="5908858" y="0"/>
                </a:lnTo>
                <a:cubicBezTo>
                  <a:pt x="5907573" y="5292"/>
                  <a:pt x="6477786" y="6078007"/>
                  <a:pt x="6471739" y="6069012"/>
                </a:cubicBezTo>
                <a:lnTo>
                  <a:pt x="208825" y="5201104"/>
                </a:lnTo>
                <a:cubicBezTo>
                  <a:pt x="156513" y="3606573"/>
                  <a:pt x="1330" y="437606"/>
                  <a:pt x="0" y="4244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outerShdw blurRad="1270000" dist="2540000" dir="2700000" sx="80000" sy="80000" algn="tl" rotWithShape="0">
              <a:prstClr val="black">
                <a:alpha val="40000"/>
              </a:prstClr>
            </a:outerShdw>
          </a:effectLst>
          <a:scene3d>
            <a:camera prst="isometricRightUp">
              <a:rot lat="1788000" lon="18522000" rev="21360000"/>
            </a:camera>
            <a:lightRig rig="threePt" dir="t"/>
          </a:scene3d>
        </p:spPr>
        <p:txBody>
          <a:bodyPr/>
          <a:lstStyle>
            <a:lvl1pPr marL="0" indent="0" algn="ctr">
              <a:buNone/>
              <a:defRPr sz="3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606F3A1-120F-4A12-9A08-C2DCEB66A4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27683" y="1106185"/>
            <a:ext cx="8618083" cy="8069250"/>
          </a:xfrm>
          <a:custGeom>
            <a:avLst/>
            <a:gdLst>
              <a:gd name="connsiteX0" fmla="*/ 0 w 4933950"/>
              <a:gd name="connsiteY0" fmla="*/ 0 h 4565650"/>
              <a:gd name="connsiteX1" fmla="*/ 4933950 w 4933950"/>
              <a:gd name="connsiteY1" fmla="*/ 0 h 4565650"/>
              <a:gd name="connsiteX2" fmla="*/ 4933950 w 4933950"/>
              <a:gd name="connsiteY2" fmla="*/ 4565650 h 4565650"/>
              <a:gd name="connsiteX3" fmla="*/ 0 w 4933950"/>
              <a:gd name="connsiteY3" fmla="*/ 4565650 h 4565650"/>
              <a:gd name="connsiteX4" fmla="*/ 0 w 4933950"/>
              <a:gd name="connsiteY4" fmla="*/ 0 h 4565650"/>
              <a:gd name="connsiteX0" fmla="*/ 0 w 4933950"/>
              <a:gd name="connsiteY0" fmla="*/ 1364343 h 5929993"/>
              <a:gd name="connsiteX1" fmla="*/ 4803322 w 4933950"/>
              <a:gd name="connsiteY1" fmla="*/ 0 h 5929993"/>
              <a:gd name="connsiteX2" fmla="*/ 4933950 w 4933950"/>
              <a:gd name="connsiteY2" fmla="*/ 5929993 h 5929993"/>
              <a:gd name="connsiteX3" fmla="*/ 0 w 4933950"/>
              <a:gd name="connsiteY3" fmla="*/ 5929993 h 5929993"/>
              <a:gd name="connsiteX4" fmla="*/ 0 w 4933950"/>
              <a:gd name="connsiteY4" fmla="*/ 1364343 h 5929993"/>
              <a:gd name="connsiteX0" fmla="*/ 0 w 4933950"/>
              <a:gd name="connsiteY0" fmla="*/ 1204685 h 5770335"/>
              <a:gd name="connsiteX1" fmla="*/ 4817836 w 4933950"/>
              <a:gd name="connsiteY1" fmla="*/ 0 h 5770335"/>
              <a:gd name="connsiteX2" fmla="*/ 4933950 w 4933950"/>
              <a:gd name="connsiteY2" fmla="*/ 5770335 h 5770335"/>
              <a:gd name="connsiteX3" fmla="*/ 0 w 4933950"/>
              <a:gd name="connsiteY3" fmla="*/ 5770335 h 5770335"/>
              <a:gd name="connsiteX4" fmla="*/ 0 w 4933950"/>
              <a:gd name="connsiteY4" fmla="*/ 1204685 h 5770335"/>
              <a:gd name="connsiteX0" fmla="*/ 0 w 4933950"/>
              <a:gd name="connsiteY0" fmla="*/ 1103085 h 5668735"/>
              <a:gd name="connsiteX1" fmla="*/ 4774293 w 4933950"/>
              <a:gd name="connsiteY1" fmla="*/ 0 h 5668735"/>
              <a:gd name="connsiteX2" fmla="*/ 4933950 w 4933950"/>
              <a:gd name="connsiteY2" fmla="*/ 5668735 h 5668735"/>
              <a:gd name="connsiteX3" fmla="*/ 0 w 4933950"/>
              <a:gd name="connsiteY3" fmla="*/ 5668735 h 5668735"/>
              <a:gd name="connsiteX4" fmla="*/ 0 w 4933950"/>
              <a:gd name="connsiteY4" fmla="*/ 1103085 h 5668735"/>
              <a:gd name="connsiteX0" fmla="*/ 0 w 4933950"/>
              <a:gd name="connsiteY0" fmla="*/ 1045028 h 5610678"/>
              <a:gd name="connsiteX1" fmla="*/ 4803322 w 4933950"/>
              <a:gd name="connsiteY1" fmla="*/ 0 h 5610678"/>
              <a:gd name="connsiteX2" fmla="*/ 4933950 w 4933950"/>
              <a:gd name="connsiteY2" fmla="*/ 5610678 h 5610678"/>
              <a:gd name="connsiteX3" fmla="*/ 0 w 4933950"/>
              <a:gd name="connsiteY3" fmla="*/ 5610678 h 5610678"/>
              <a:gd name="connsiteX4" fmla="*/ 0 w 4933950"/>
              <a:gd name="connsiteY4" fmla="*/ 1045028 h 5610678"/>
              <a:gd name="connsiteX0" fmla="*/ 0 w 4933950"/>
              <a:gd name="connsiteY0" fmla="*/ 1059543 h 5625193"/>
              <a:gd name="connsiteX1" fmla="*/ 4803322 w 4933950"/>
              <a:gd name="connsiteY1" fmla="*/ 0 h 5625193"/>
              <a:gd name="connsiteX2" fmla="*/ 4933950 w 4933950"/>
              <a:gd name="connsiteY2" fmla="*/ 5625193 h 5625193"/>
              <a:gd name="connsiteX3" fmla="*/ 0 w 4933950"/>
              <a:gd name="connsiteY3" fmla="*/ 5625193 h 5625193"/>
              <a:gd name="connsiteX4" fmla="*/ 0 w 4933950"/>
              <a:gd name="connsiteY4" fmla="*/ 1059543 h 5625193"/>
              <a:gd name="connsiteX0" fmla="*/ 0 w 4933950"/>
              <a:gd name="connsiteY0" fmla="*/ 1074057 h 5639707"/>
              <a:gd name="connsiteX1" fmla="*/ 4774293 w 4933950"/>
              <a:gd name="connsiteY1" fmla="*/ 0 h 5639707"/>
              <a:gd name="connsiteX2" fmla="*/ 4933950 w 4933950"/>
              <a:gd name="connsiteY2" fmla="*/ 5639707 h 5639707"/>
              <a:gd name="connsiteX3" fmla="*/ 0 w 4933950"/>
              <a:gd name="connsiteY3" fmla="*/ 5639707 h 5639707"/>
              <a:gd name="connsiteX4" fmla="*/ 0 w 4933950"/>
              <a:gd name="connsiteY4" fmla="*/ 1074057 h 5639707"/>
              <a:gd name="connsiteX0" fmla="*/ 0 w 4933950"/>
              <a:gd name="connsiteY0" fmla="*/ 1103086 h 5668736"/>
              <a:gd name="connsiteX1" fmla="*/ 4803322 w 4933950"/>
              <a:gd name="connsiteY1" fmla="*/ 0 h 5668736"/>
              <a:gd name="connsiteX2" fmla="*/ 4933950 w 4933950"/>
              <a:gd name="connsiteY2" fmla="*/ 5668736 h 5668736"/>
              <a:gd name="connsiteX3" fmla="*/ 0 w 4933950"/>
              <a:gd name="connsiteY3" fmla="*/ 5668736 h 5668736"/>
              <a:gd name="connsiteX4" fmla="*/ 0 w 4933950"/>
              <a:gd name="connsiteY4" fmla="*/ 1103086 h 5668736"/>
              <a:gd name="connsiteX0" fmla="*/ 0 w 4977493"/>
              <a:gd name="connsiteY0" fmla="*/ 1103086 h 5813879"/>
              <a:gd name="connsiteX1" fmla="*/ 4803322 w 4977493"/>
              <a:gd name="connsiteY1" fmla="*/ 0 h 5813879"/>
              <a:gd name="connsiteX2" fmla="*/ 4977493 w 4977493"/>
              <a:gd name="connsiteY2" fmla="*/ 5813879 h 5813879"/>
              <a:gd name="connsiteX3" fmla="*/ 0 w 4977493"/>
              <a:gd name="connsiteY3" fmla="*/ 5668736 h 5813879"/>
              <a:gd name="connsiteX4" fmla="*/ 0 w 4977493"/>
              <a:gd name="connsiteY4" fmla="*/ 1103086 h 5813879"/>
              <a:gd name="connsiteX0" fmla="*/ 0 w 4992007"/>
              <a:gd name="connsiteY0" fmla="*/ 1103086 h 5871936"/>
              <a:gd name="connsiteX1" fmla="*/ 4803322 w 4992007"/>
              <a:gd name="connsiteY1" fmla="*/ 0 h 5871936"/>
              <a:gd name="connsiteX2" fmla="*/ 4992007 w 4992007"/>
              <a:gd name="connsiteY2" fmla="*/ 5871936 h 5871936"/>
              <a:gd name="connsiteX3" fmla="*/ 0 w 4992007"/>
              <a:gd name="connsiteY3" fmla="*/ 5668736 h 5871936"/>
              <a:gd name="connsiteX4" fmla="*/ 0 w 4992007"/>
              <a:gd name="connsiteY4" fmla="*/ 1103086 h 5871936"/>
              <a:gd name="connsiteX0" fmla="*/ 0 w 5035550"/>
              <a:gd name="connsiteY0" fmla="*/ 1103086 h 5886450"/>
              <a:gd name="connsiteX1" fmla="*/ 4803322 w 5035550"/>
              <a:gd name="connsiteY1" fmla="*/ 0 h 5886450"/>
              <a:gd name="connsiteX2" fmla="*/ 5035550 w 5035550"/>
              <a:gd name="connsiteY2" fmla="*/ 5886450 h 5886450"/>
              <a:gd name="connsiteX3" fmla="*/ 0 w 5035550"/>
              <a:gd name="connsiteY3" fmla="*/ 5668736 h 5886450"/>
              <a:gd name="connsiteX4" fmla="*/ 0 w 5035550"/>
              <a:gd name="connsiteY4" fmla="*/ 1103086 h 5886450"/>
              <a:gd name="connsiteX0" fmla="*/ 0 w 5064579"/>
              <a:gd name="connsiteY0" fmla="*/ 1103086 h 5886450"/>
              <a:gd name="connsiteX1" fmla="*/ 4803322 w 5064579"/>
              <a:gd name="connsiteY1" fmla="*/ 0 h 5886450"/>
              <a:gd name="connsiteX2" fmla="*/ 5064579 w 5064579"/>
              <a:gd name="connsiteY2" fmla="*/ 5886450 h 5886450"/>
              <a:gd name="connsiteX3" fmla="*/ 0 w 5064579"/>
              <a:gd name="connsiteY3" fmla="*/ 5668736 h 5886450"/>
              <a:gd name="connsiteX4" fmla="*/ 0 w 5064579"/>
              <a:gd name="connsiteY4" fmla="*/ 1103086 h 5886450"/>
              <a:gd name="connsiteX0" fmla="*/ 14515 w 5079094"/>
              <a:gd name="connsiteY0" fmla="*/ 1103086 h 5900964"/>
              <a:gd name="connsiteX1" fmla="*/ 4817837 w 5079094"/>
              <a:gd name="connsiteY1" fmla="*/ 0 h 5900964"/>
              <a:gd name="connsiteX2" fmla="*/ 5079094 w 5079094"/>
              <a:gd name="connsiteY2" fmla="*/ 5886450 h 5900964"/>
              <a:gd name="connsiteX3" fmla="*/ 0 w 5079094"/>
              <a:gd name="connsiteY3" fmla="*/ 5900964 h 5900964"/>
              <a:gd name="connsiteX4" fmla="*/ 14515 w 5079094"/>
              <a:gd name="connsiteY4" fmla="*/ 1103086 h 5900964"/>
              <a:gd name="connsiteX0" fmla="*/ 116115 w 5180694"/>
              <a:gd name="connsiteY0" fmla="*/ 1103086 h 5886450"/>
              <a:gd name="connsiteX1" fmla="*/ 4919437 w 5180694"/>
              <a:gd name="connsiteY1" fmla="*/ 0 h 5886450"/>
              <a:gd name="connsiteX2" fmla="*/ 5180694 w 5180694"/>
              <a:gd name="connsiteY2" fmla="*/ 5886450 h 5886450"/>
              <a:gd name="connsiteX3" fmla="*/ 0 w 5180694"/>
              <a:gd name="connsiteY3" fmla="*/ 5857421 h 5886450"/>
              <a:gd name="connsiteX4" fmla="*/ 116115 w 5180694"/>
              <a:gd name="connsiteY4" fmla="*/ 1103086 h 5886450"/>
              <a:gd name="connsiteX0" fmla="*/ 101601 w 5166180"/>
              <a:gd name="connsiteY0" fmla="*/ 1103086 h 5886450"/>
              <a:gd name="connsiteX1" fmla="*/ 4904923 w 5166180"/>
              <a:gd name="connsiteY1" fmla="*/ 0 h 5886450"/>
              <a:gd name="connsiteX2" fmla="*/ 5166180 w 5166180"/>
              <a:gd name="connsiteY2" fmla="*/ 5886450 h 5886450"/>
              <a:gd name="connsiteX3" fmla="*/ 0 w 5166180"/>
              <a:gd name="connsiteY3" fmla="*/ 5755821 h 5886450"/>
              <a:gd name="connsiteX4" fmla="*/ 101601 w 5166180"/>
              <a:gd name="connsiteY4" fmla="*/ 1103086 h 5886450"/>
              <a:gd name="connsiteX0" fmla="*/ 72572 w 5137151"/>
              <a:gd name="connsiteY0" fmla="*/ 1103086 h 5886450"/>
              <a:gd name="connsiteX1" fmla="*/ 4875894 w 5137151"/>
              <a:gd name="connsiteY1" fmla="*/ 0 h 5886450"/>
              <a:gd name="connsiteX2" fmla="*/ 5137151 w 5137151"/>
              <a:gd name="connsiteY2" fmla="*/ 5886450 h 5886450"/>
              <a:gd name="connsiteX3" fmla="*/ 0 w 5137151"/>
              <a:gd name="connsiteY3" fmla="*/ 5813879 h 5886450"/>
              <a:gd name="connsiteX4" fmla="*/ 72572 w 5137151"/>
              <a:gd name="connsiteY4" fmla="*/ 1103086 h 5886450"/>
              <a:gd name="connsiteX0" fmla="*/ 14515 w 5079094"/>
              <a:gd name="connsiteY0" fmla="*/ 1103086 h 5886450"/>
              <a:gd name="connsiteX1" fmla="*/ 4817837 w 5079094"/>
              <a:gd name="connsiteY1" fmla="*/ 0 h 5886450"/>
              <a:gd name="connsiteX2" fmla="*/ 5079094 w 5079094"/>
              <a:gd name="connsiteY2" fmla="*/ 5886450 h 5886450"/>
              <a:gd name="connsiteX3" fmla="*/ 0 w 5079094"/>
              <a:gd name="connsiteY3" fmla="*/ 5770336 h 5886450"/>
              <a:gd name="connsiteX4" fmla="*/ 14515 w 5079094"/>
              <a:gd name="connsiteY4" fmla="*/ 1103086 h 5886450"/>
              <a:gd name="connsiteX0" fmla="*/ 87086 w 5151665"/>
              <a:gd name="connsiteY0" fmla="*/ 1103086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87086 w 5151665"/>
              <a:gd name="connsiteY4" fmla="*/ 1103086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0 w 5166179"/>
              <a:gd name="connsiteY0" fmla="*/ 1175657 h 5886450"/>
              <a:gd name="connsiteX1" fmla="*/ 4904922 w 5166179"/>
              <a:gd name="connsiteY1" fmla="*/ 0 h 5886450"/>
              <a:gd name="connsiteX2" fmla="*/ 5166179 w 5166179"/>
              <a:gd name="connsiteY2" fmla="*/ 5886450 h 5886450"/>
              <a:gd name="connsiteX3" fmla="*/ 14514 w 5166179"/>
              <a:gd name="connsiteY3" fmla="*/ 5813879 h 5886450"/>
              <a:gd name="connsiteX4" fmla="*/ 0 w 5166179"/>
              <a:gd name="connsiteY4" fmla="*/ 1175657 h 5886450"/>
              <a:gd name="connsiteX0" fmla="*/ 3882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38826 w 5151665"/>
              <a:gd name="connsiteY4" fmla="*/ 1160417 h 5886450"/>
              <a:gd name="connsiteX0" fmla="*/ 2358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3586 w 5151665"/>
              <a:gd name="connsiteY4" fmla="*/ 1160417 h 5886450"/>
              <a:gd name="connsiteX0" fmla="*/ 726 w 5151665"/>
              <a:gd name="connsiteY0" fmla="*/ 114517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726 w 5151665"/>
              <a:gd name="connsiteY4" fmla="*/ 114517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26265"/>
              <a:gd name="connsiteY0" fmla="*/ 1137557 h 5899150"/>
              <a:gd name="connsiteX1" fmla="*/ 4890408 w 5126265"/>
              <a:gd name="connsiteY1" fmla="*/ 0 h 5899150"/>
              <a:gd name="connsiteX2" fmla="*/ 5126265 w 5126265"/>
              <a:gd name="connsiteY2" fmla="*/ 5899150 h 5899150"/>
              <a:gd name="connsiteX3" fmla="*/ 0 w 5126265"/>
              <a:gd name="connsiteY3" fmla="*/ 5813879 h 5899150"/>
              <a:gd name="connsiteX4" fmla="*/ 15966 w 5126265"/>
              <a:gd name="connsiteY4" fmla="*/ 1137557 h 5899150"/>
              <a:gd name="connsiteX0" fmla="*/ 15966 w 5138965"/>
              <a:gd name="connsiteY0" fmla="*/ 1137557 h 5899150"/>
              <a:gd name="connsiteX1" fmla="*/ 4890408 w 5138965"/>
              <a:gd name="connsiteY1" fmla="*/ 0 h 5899150"/>
              <a:gd name="connsiteX2" fmla="*/ 5138965 w 5138965"/>
              <a:gd name="connsiteY2" fmla="*/ 5899150 h 5899150"/>
              <a:gd name="connsiteX3" fmla="*/ 0 w 5138965"/>
              <a:gd name="connsiteY3" fmla="*/ 5813879 h 5899150"/>
              <a:gd name="connsiteX4" fmla="*/ 15966 w 5138965"/>
              <a:gd name="connsiteY4" fmla="*/ 1137557 h 5899150"/>
              <a:gd name="connsiteX0" fmla="*/ 15966 w 5138965"/>
              <a:gd name="connsiteY0" fmla="*/ 1156607 h 5918200"/>
              <a:gd name="connsiteX1" fmla="*/ 4884058 w 5138965"/>
              <a:gd name="connsiteY1" fmla="*/ 0 h 5918200"/>
              <a:gd name="connsiteX2" fmla="*/ 5138965 w 5138965"/>
              <a:gd name="connsiteY2" fmla="*/ 5918200 h 5918200"/>
              <a:gd name="connsiteX3" fmla="*/ 0 w 5138965"/>
              <a:gd name="connsiteY3" fmla="*/ 5832929 h 5918200"/>
              <a:gd name="connsiteX4" fmla="*/ 15966 w 5138965"/>
              <a:gd name="connsiteY4" fmla="*/ 1156607 h 5918200"/>
              <a:gd name="connsiteX0" fmla="*/ 3266 w 5126265"/>
              <a:gd name="connsiteY0" fmla="*/ 1156607 h 5918200"/>
              <a:gd name="connsiteX1" fmla="*/ 4871358 w 5126265"/>
              <a:gd name="connsiteY1" fmla="*/ 0 h 5918200"/>
              <a:gd name="connsiteX2" fmla="*/ 5126265 w 5126265"/>
              <a:gd name="connsiteY2" fmla="*/ 5918200 h 5918200"/>
              <a:gd name="connsiteX3" fmla="*/ 0 w 5126265"/>
              <a:gd name="connsiteY3" fmla="*/ 5839279 h 5918200"/>
              <a:gd name="connsiteX4" fmla="*/ 3266 w 5126265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9434 w 5122999"/>
              <a:gd name="connsiteY3" fmla="*/ 586467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5832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45629 h 5918200"/>
              <a:gd name="connsiteX4" fmla="*/ 0 w 5122999"/>
              <a:gd name="connsiteY4" fmla="*/ 1156607 h 5918200"/>
              <a:gd name="connsiteX0" fmla="*/ 0 w 5122999"/>
              <a:gd name="connsiteY0" fmla="*/ 1093107 h 5854700"/>
              <a:gd name="connsiteX1" fmla="*/ 5007792 w 5122999"/>
              <a:gd name="connsiteY1" fmla="*/ 0 h 5854700"/>
              <a:gd name="connsiteX2" fmla="*/ 5122999 w 5122999"/>
              <a:gd name="connsiteY2" fmla="*/ 5854700 h 5854700"/>
              <a:gd name="connsiteX3" fmla="*/ 3084 w 5122999"/>
              <a:gd name="connsiteY3" fmla="*/ 5782129 h 5854700"/>
              <a:gd name="connsiteX4" fmla="*/ 0 w 5122999"/>
              <a:gd name="connsiteY4" fmla="*/ 1093107 h 5854700"/>
              <a:gd name="connsiteX0" fmla="*/ 0 w 5122999"/>
              <a:gd name="connsiteY0" fmla="*/ 1012144 h 5773737"/>
              <a:gd name="connsiteX1" fmla="*/ 5074467 w 5122999"/>
              <a:gd name="connsiteY1" fmla="*/ 0 h 5773737"/>
              <a:gd name="connsiteX2" fmla="*/ 5122999 w 5122999"/>
              <a:gd name="connsiteY2" fmla="*/ 5773737 h 5773737"/>
              <a:gd name="connsiteX3" fmla="*/ 3084 w 5122999"/>
              <a:gd name="connsiteY3" fmla="*/ 5701166 h 5773737"/>
              <a:gd name="connsiteX4" fmla="*/ 0 w 5122999"/>
              <a:gd name="connsiteY4" fmla="*/ 1012144 h 5773737"/>
              <a:gd name="connsiteX0" fmla="*/ 0 w 5126855"/>
              <a:gd name="connsiteY0" fmla="*/ 969282 h 5730875"/>
              <a:gd name="connsiteX1" fmla="*/ 5126855 w 5126855"/>
              <a:gd name="connsiteY1" fmla="*/ 0 h 5730875"/>
              <a:gd name="connsiteX2" fmla="*/ 5122999 w 5126855"/>
              <a:gd name="connsiteY2" fmla="*/ 5730875 h 5730875"/>
              <a:gd name="connsiteX3" fmla="*/ 3084 w 5126855"/>
              <a:gd name="connsiteY3" fmla="*/ 5658304 h 5730875"/>
              <a:gd name="connsiteX4" fmla="*/ 0 w 5126855"/>
              <a:gd name="connsiteY4" fmla="*/ 969282 h 5730875"/>
              <a:gd name="connsiteX0" fmla="*/ 0 w 5198292"/>
              <a:gd name="connsiteY0" fmla="*/ 878794 h 5640387"/>
              <a:gd name="connsiteX1" fmla="*/ 5198292 w 5198292"/>
              <a:gd name="connsiteY1" fmla="*/ 0 h 5640387"/>
              <a:gd name="connsiteX2" fmla="*/ 5122999 w 5198292"/>
              <a:gd name="connsiteY2" fmla="*/ 5640387 h 5640387"/>
              <a:gd name="connsiteX3" fmla="*/ 3084 w 5198292"/>
              <a:gd name="connsiteY3" fmla="*/ 5567816 h 5640387"/>
              <a:gd name="connsiteX4" fmla="*/ 0 w 5198292"/>
              <a:gd name="connsiteY4" fmla="*/ 878794 h 5640387"/>
              <a:gd name="connsiteX0" fmla="*/ 0 w 5212580"/>
              <a:gd name="connsiteY0" fmla="*/ 874032 h 5635625"/>
              <a:gd name="connsiteX1" fmla="*/ 5212580 w 5212580"/>
              <a:gd name="connsiteY1" fmla="*/ 0 h 5635625"/>
              <a:gd name="connsiteX2" fmla="*/ 5122999 w 5212580"/>
              <a:gd name="connsiteY2" fmla="*/ 5635625 h 5635625"/>
              <a:gd name="connsiteX3" fmla="*/ 3084 w 5212580"/>
              <a:gd name="connsiteY3" fmla="*/ 5563054 h 5635625"/>
              <a:gd name="connsiteX4" fmla="*/ 0 w 5212580"/>
              <a:gd name="connsiteY4" fmla="*/ 874032 h 5635625"/>
              <a:gd name="connsiteX0" fmla="*/ 0 w 5417368"/>
              <a:gd name="connsiteY0" fmla="*/ 769257 h 5635625"/>
              <a:gd name="connsiteX1" fmla="*/ 5417368 w 5417368"/>
              <a:gd name="connsiteY1" fmla="*/ 0 h 5635625"/>
              <a:gd name="connsiteX2" fmla="*/ 5327787 w 5417368"/>
              <a:gd name="connsiteY2" fmla="*/ 5635625 h 5635625"/>
              <a:gd name="connsiteX3" fmla="*/ 207872 w 5417368"/>
              <a:gd name="connsiteY3" fmla="*/ 5563054 h 5635625"/>
              <a:gd name="connsiteX4" fmla="*/ 0 w 5417368"/>
              <a:gd name="connsiteY4" fmla="*/ 769257 h 5635625"/>
              <a:gd name="connsiteX0" fmla="*/ 0 w 5722168"/>
              <a:gd name="connsiteY0" fmla="*/ 654957 h 5635625"/>
              <a:gd name="connsiteX1" fmla="*/ 5722168 w 5722168"/>
              <a:gd name="connsiteY1" fmla="*/ 0 h 5635625"/>
              <a:gd name="connsiteX2" fmla="*/ 5632587 w 5722168"/>
              <a:gd name="connsiteY2" fmla="*/ 5635625 h 5635625"/>
              <a:gd name="connsiteX3" fmla="*/ 512672 w 5722168"/>
              <a:gd name="connsiteY3" fmla="*/ 5563054 h 5635625"/>
              <a:gd name="connsiteX4" fmla="*/ 0 w 5722168"/>
              <a:gd name="connsiteY4" fmla="*/ 654957 h 5635625"/>
              <a:gd name="connsiteX0" fmla="*/ 0 w 5712643"/>
              <a:gd name="connsiteY0" fmla="*/ 597807 h 5635625"/>
              <a:gd name="connsiteX1" fmla="*/ 5712643 w 5712643"/>
              <a:gd name="connsiteY1" fmla="*/ 0 h 5635625"/>
              <a:gd name="connsiteX2" fmla="*/ 5623062 w 5712643"/>
              <a:gd name="connsiteY2" fmla="*/ 5635625 h 5635625"/>
              <a:gd name="connsiteX3" fmla="*/ 503147 w 5712643"/>
              <a:gd name="connsiteY3" fmla="*/ 5563054 h 5635625"/>
              <a:gd name="connsiteX4" fmla="*/ 0 w 5712643"/>
              <a:gd name="connsiteY4" fmla="*/ 597807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403135 w 5731693"/>
              <a:gd name="connsiteY3" fmla="*/ 55201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317410 w 5731693"/>
              <a:gd name="connsiteY3" fmla="*/ 54297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274547 w 5731693"/>
              <a:gd name="connsiteY3" fmla="*/ 54201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88822 w 5731693"/>
              <a:gd name="connsiteY3" fmla="*/ 53820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36435 w 5731693"/>
              <a:gd name="connsiteY3" fmla="*/ 52915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55485 w 5731693"/>
              <a:gd name="connsiteY3" fmla="*/ 52773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4535 w 5731693"/>
              <a:gd name="connsiteY3" fmla="*/ 5305879 h 5635625"/>
              <a:gd name="connsiteX4" fmla="*/ 0 w 5731693"/>
              <a:gd name="connsiteY4" fmla="*/ 569232 h 5635625"/>
              <a:gd name="connsiteX0" fmla="*/ 0 w 5789769"/>
              <a:gd name="connsiteY0" fmla="*/ 569232 h 5854700"/>
              <a:gd name="connsiteX1" fmla="*/ 5731693 w 5789769"/>
              <a:gd name="connsiteY1" fmla="*/ 0 h 5854700"/>
              <a:gd name="connsiteX2" fmla="*/ 5789749 w 5789769"/>
              <a:gd name="connsiteY2" fmla="*/ 5854700 h 5854700"/>
              <a:gd name="connsiteX3" fmla="*/ 174535 w 5789769"/>
              <a:gd name="connsiteY3" fmla="*/ 5305879 h 5854700"/>
              <a:gd name="connsiteX4" fmla="*/ 0 w 5789769"/>
              <a:gd name="connsiteY4" fmla="*/ 569232 h 5854700"/>
              <a:gd name="connsiteX0" fmla="*/ 0 w 6199326"/>
              <a:gd name="connsiteY0" fmla="*/ 569232 h 5973763"/>
              <a:gd name="connsiteX1" fmla="*/ 5731693 w 6199326"/>
              <a:gd name="connsiteY1" fmla="*/ 0 h 5973763"/>
              <a:gd name="connsiteX2" fmla="*/ 6199324 w 6199326"/>
              <a:gd name="connsiteY2" fmla="*/ 5973763 h 5973763"/>
              <a:gd name="connsiteX3" fmla="*/ 174535 w 6199326"/>
              <a:gd name="connsiteY3" fmla="*/ 5305879 h 5973763"/>
              <a:gd name="connsiteX4" fmla="*/ 0 w 6199326"/>
              <a:gd name="connsiteY4" fmla="*/ 569232 h 5973763"/>
              <a:gd name="connsiteX0" fmla="*/ 0 w 6237426"/>
              <a:gd name="connsiteY0" fmla="*/ 569232 h 5959475"/>
              <a:gd name="connsiteX1" fmla="*/ 5731693 w 6237426"/>
              <a:gd name="connsiteY1" fmla="*/ 0 h 5959475"/>
              <a:gd name="connsiteX2" fmla="*/ 6237424 w 6237426"/>
              <a:gd name="connsiteY2" fmla="*/ 5959475 h 5959475"/>
              <a:gd name="connsiteX3" fmla="*/ 174535 w 6237426"/>
              <a:gd name="connsiteY3" fmla="*/ 5305879 h 5959475"/>
              <a:gd name="connsiteX4" fmla="*/ 0 w 6237426"/>
              <a:gd name="connsiteY4" fmla="*/ 569232 h 5959475"/>
              <a:gd name="connsiteX0" fmla="*/ 0 w 6266001"/>
              <a:gd name="connsiteY0" fmla="*/ 569232 h 5983287"/>
              <a:gd name="connsiteX1" fmla="*/ 5731693 w 6266001"/>
              <a:gd name="connsiteY1" fmla="*/ 0 h 5983287"/>
              <a:gd name="connsiteX2" fmla="*/ 6265999 w 6266001"/>
              <a:gd name="connsiteY2" fmla="*/ 5983287 h 5983287"/>
              <a:gd name="connsiteX3" fmla="*/ 174535 w 6266001"/>
              <a:gd name="connsiteY3" fmla="*/ 5305879 h 5983287"/>
              <a:gd name="connsiteX4" fmla="*/ 0 w 6266001"/>
              <a:gd name="connsiteY4" fmla="*/ 569232 h 5983287"/>
              <a:gd name="connsiteX0" fmla="*/ 0 w 6265999"/>
              <a:gd name="connsiteY0" fmla="*/ 569232 h 5983287"/>
              <a:gd name="connsiteX1" fmla="*/ 5731693 w 6265999"/>
              <a:gd name="connsiteY1" fmla="*/ 0 h 5983287"/>
              <a:gd name="connsiteX2" fmla="*/ 6265999 w 6265999"/>
              <a:gd name="connsiteY2" fmla="*/ 5983287 h 5983287"/>
              <a:gd name="connsiteX3" fmla="*/ 174535 w 6265999"/>
              <a:gd name="connsiteY3" fmla="*/ 5305879 h 5983287"/>
              <a:gd name="connsiteX4" fmla="*/ 0 w 6265999"/>
              <a:gd name="connsiteY4" fmla="*/ 569232 h 5983287"/>
              <a:gd name="connsiteX0" fmla="*/ 0 w 6266543"/>
              <a:gd name="connsiteY0" fmla="*/ 569232 h 5983385"/>
              <a:gd name="connsiteX1" fmla="*/ 5731693 w 6266543"/>
              <a:gd name="connsiteY1" fmla="*/ 0 h 5983385"/>
              <a:gd name="connsiteX2" fmla="*/ 6265999 w 6266543"/>
              <a:gd name="connsiteY2" fmla="*/ 5983287 h 5983385"/>
              <a:gd name="connsiteX3" fmla="*/ 174535 w 6266543"/>
              <a:gd name="connsiteY3" fmla="*/ 5305879 h 5983385"/>
              <a:gd name="connsiteX4" fmla="*/ 0 w 6266543"/>
              <a:gd name="connsiteY4" fmla="*/ 569232 h 5983385"/>
              <a:gd name="connsiteX0" fmla="*/ 0 w 6266049"/>
              <a:gd name="connsiteY0" fmla="*/ 569232 h 5983301"/>
              <a:gd name="connsiteX1" fmla="*/ 5731693 w 6266049"/>
              <a:gd name="connsiteY1" fmla="*/ 0 h 5983301"/>
              <a:gd name="connsiteX2" fmla="*/ 6265999 w 6266049"/>
              <a:gd name="connsiteY2" fmla="*/ 5983287 h 5983301"/>
              <a:gd name="connsiteX3" fmla="*/ 174535 w 6266049"/>
              <a:gd name="connsiteY3" fmla="*/ 5305879 h 5983301"/>
              <a:gd name="connsiteX4" fmla="*/ 0 w 6266049"/>
              <a:gd name="connsiteY4" fmla="*/ 569232 h 5983301"/>
              <a:gd name="connsiteX0" fmla="*/ 0 w 6266047"/>
              <a:gd name="connsiteY0" fmla="*/ 588282 h 6002351"/>
              <a:gd name="connsiteX1" fmla="*/ 5712643 w 6266047"/>
              <a:gd name="connsiteY1" fmla="*/ 0 h 6002351"/>
              <a:gd name="connsiteX2" fmla="*/ 6265999 w 6266047"/>
              <a:gd name="connsiteY2" fmla="*/ 6002337 h 6002351"/>
              <a:gd name="connsiteX3" fmla="*/ 174535 w 6266047"/>
              <a:gd name="connsiteY3" fmla="*/ 5324929 h 6002351"/>
              <a:gd name="connsiteX4" fmla="*/ 0 w 6266047"/>
              <a:gd name="connsiteY4" fmla="*/ 588282 h 6002351"/>
              <a:gd name="connsiteX0" fmla="*/ 0 w 6266046"/>
              <a:gd name="connsiteY0" fmla="*/ 616857 h 6030926"/>
              <a:gd name="connsiteX1" fmla="*/ 5703118 w 6266046"/>
              <a:gd name="connsiteY1" fmla="*/ 0 h 6030926"/>
              <a:gd name="connsiteX2" fmla="*/ 6265999 w 6266046"/>
              <a:gd name="connsiteY2" fmla="*/ 6030912 h 6030926"/>
              <a:gd name="connsiteX3" fmla="*/ 174535 w 6266046"/>
              <a:gd name="connsiteY3" fmla="*/ 5353504 h 6030926"/>
              <a:gd name="connsiteX4" fmla="*/ 0 w 6266046"/>
              <a:gd name="connsiteY4" fmla="*/ 616857 h 6030926"/>
              <a:gd name="connsiteX0" fmla="*/ 0 w 6266046"/>
              <a:gd name="connsiteY0" fmla="*/ 616857 h 6030922"/>
              <a:gd name="connsiteX1" fmla="*/ 5703118 w 6266046"/>
              <a:gd name="connsiteY1" fmla="*/ 0 h 6030922"/>
              <a:gd name="connsiteX2" fmla="*/ 6265999 w 6266046"/>
              <a:gd name="connsiteY2" fmla="*/ 6030912 h 6030922"/>
              <a:gd name="connsiteX3" fmla="*/ 174535 w 6266046"/>
              <a:gd name="connsiteY3" fmla="*/ 5353504 h 6030922"/>
              <a:gd name="connsiteX4" fmla="*/ 0 w 6266046"/>
              <a:gd name="connsiteY4" fmla="*/ 616857 h 6030922"/>
              <a:gd name="connsiteX0" fmla="*/ 0 w 6370821"/>
              <a:gd name="connsiteY0" fmla="*/ 502557 h 6030922"/>
              <a:gd name="connsiteX1" fmla="*/ 5807893 w 6370821"/>
              <a:gd name="connsiteY1" fmla="*/ 0 h 6030922"/>
              <a:gd name="connsiteX2" fmla="*/ 6370774 w 6370821"/>
              <a:gd name="connsiteY2" fmla="*/ 6030912 h 6030922"/>
              <a:gd name="connsiteX3" fmla="*/ 279310 w 6370821"/>
              <a:gd name="connsiteY3" fmla="*/ 5353504 h 6030922"/>
              <a:gd name="connsiteX4" fmla="*/ 0 w 6370821"/>
              <a:gd name="connsiteY4" fmla="*/ 502557 h 6030922"/>
              <a:gd name="connsiteX0" fmla="*/ 0 w 6380346"/>
              <a:gd name="connsiteY0" fmla="*/ 464457 h 6030922"/>
              <a:gd name="connsiteX1" fmla="*/ 5817418 w 6380346"/>
              <a:gd name="connsiteY1" fmla="*/ 0 h 6030922"/>
              <a:gd name="connsiteX2" fmla="*/ 6380299 w 6380346"/>
              <a:gd name="connsiteY2" fmla="*/ 6030912 h 6030922"/>
              <a:gd name="connsiteX3" fmla="*/ 288835 w 6380346"/>
              <a:gd name="connsiteY3" fmla="*/ 5353504 h 6030922"/>
              <a:gd name="connsiteX4" fmla="*/ 0 w 6380346"/>
              <a:gd name="connsiteY4" fmla="*/ 464457 h 6030922"/>
              <a:gd name="connsiteX0" fmla="*/ 0 w 6418446"/>
              <a:gd name="connsiteY0" fmla="*/ 473982 h 6030922"/>
              <a:gd name="connsiteX1" fmla="*/ 5855518 w 6418446"/>
              <a:gd name="connsiteY1" fmla="*/ 0 h 6030922"/>
              <a:gd name="connsiteX2" fmla="*/ 6418399 w 6418446"/>
              <a:gd name="connsiteY2" fmla="*/ 6030912 h 6030922"/>
              <a:gd name="connsiteX3" fmla="*/ 326935 w 6418446"/>
              <a:gd name="connsiteY3" fmla="*/ 5353504 h 6030922"/>
              <a:gd name="connsiteX4" fmla="*/ 0 w 6418446"/>
              <a:gd name="connsiteY4" fmla="*/ 473982 h 6030922"/>
              <a:gd name="connsiteX0" fmla="*/ 0 w 6418450"/>
              <a:gd name="connsiteY0" fmla="*/ 483507 h 6040447"/>
              <a:gd name="connsiteX1" fmla="*/ 5893618 w 6418450"/>
              <a:gd name="connsiteY1" fmla="*/ 0 h 6040447"/>
              <a:gd name="connsiteX2" fmla="*/ 6418399 w 6418450"/>
              <a:gd name="connsiteY2" fmla="*/ 6040437 h 6040447"/>
              <a:gd name="connsiteX3" fmla="*/ 326935 w 6418450"/>
              <a:gd name="connsiteY3" fmla="*/ 5363029 h 6040447"/>
              <a:gd name="connsiteX4" fmla="*/ 0 w 6418450"/>
              <a:gd name="connsiteY4" fmla="*/ 483507 h 6040447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326935 w 6418450"/>
              <a:gd name="connsiteY3" fmla="*/ 533445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6978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1263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193585 w 6418450"/>
              <a:gd name="connsiteY3" fmla="*/ 5201104 h 6011872"/>
              <a:gd name="connsiteX4" fmla="*/ 0 w 6418450"/>
              <a:gd name="connsiteY4" fmla="*/ 454932 h 6011872"/>
              <a:gd name="connsiteX0" fmla="*/ 0 w 6456546"/>
              <a:gd name="connsiteY0" fmla="*/ 454932 h 6069021"/>
              <a:gd name="connsiteX1" fmla="*/ 5893618 w 6456546"/>
              <a:gd name="connsiteY1" fmla="*/ 0 h 6069021"/>
              <a:gd name="connsiteX2" fmla="*/ 6456499 w 6456546"/>
              <a:gd name="connsiteY2" fmla="*/ 6069012 h 6069021"/>
              <a:gd name="connsiteX3" fmla="*/ 193585 w 6456546"/>
              <a:gd name="connsiteY3" fmla="*/ 5201104 h 6069021"/>
              <a:gd name="connsiteX4" fmla="*/ 0 w 6456546"/>
              <a:gd name="connsiteY4" fmla="*/ 454932 h 6069021"/>
              <a:gd name="connsiteX0" fmla="*/ 0 w 6441306"/>
              <a:gd name="connsiteY0" fmla="*/ 424452 h 6069021"/>
              <a:gd name="connsiteX1" fmla="*/ 5878378 w 6441306"/>
              <a:gd name="connsiteY1" fmla="*/ 0 h 6069021"/>
              <a:gd name="connsiteX2" fmla="*/ 6441259 w 6441306"/>
              <a:gd name="connsiteY2" fmla="*/ 6069012 h 6069021"/>
              <a:gd name="connsiteX3" fmla="*/ 178345 w 6441306"/>
              <a:gd name="connsiteY3" fmla="*/ 5201104 h 6069021"/>
              <a:gd name="connsiteX4" fmla="*/ 0 w 6441306"/>
              <a:gd name="connsiteY4" fmla="*/ 424452 h 6069021"/>
              <a:gd name="connsiteX0" fmla="*/ 0 w 6471786"/>
              <a:gd name="connsiteY0" fmla="*/ 424452 h 6069021"/>
              <a:gd name="connsiteX1" fmla="*/ 5908858 w 6471786"/>
              <a:gd name="connsiteY1" fmla="*/ 0 h 6069021"/>
              <a:gd name="connsiteX2" fmla="*/ 6471739 w 6471786"/>
              <a:gd name="connsiteY2" fmla="*/ 6069012 h 6069021"/>
              <a:gd name="connsiteX3" fmla="*/ 208825 w 6471786"/>
              <a:gd name="connsiteY3" fmla="*/ 5201104 h 6069021"/>
              <a:gd name="connsiteX4" fmla="*/ 0 w 6471786"/>
              <a:gd name="connsiteY4" fmla="*/ 424452 h 6069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1786" h="6069021">
                <a:moveTo>
                  <a:pt x="0" y="424452"/>
                </a:moveTo>
                <a:lnTo>
                  <a:pt x="5908858" y="0"/>
                </a:lnTo>
                <a:cubicBezTo>
                  <a:pt x="5907573" y="5292"/>
                  <a:pt x="6477786" y="6078007"/>
                  <a:pt x="6471739" y="6069012"/>
                </a:cubicBezTo>
                <a:lnTo>
                  <a:pt x="208825" y="5201104"/>
                </a:lnTo>
                <a:cubicBezTo>
                  <a:pt x="156513" y="3606573"/>
                  <a:pt x="1330" y="437606"/>
                  <a:pt x="0" y="4244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outerShdw blurRad="1270000" dist="2540000" dir="2700000" sx="80000" sy="80000" algn="tl" rotWithShape="0">
              <a:prstClr val="black">
                <a:alpha val="40000"/>
              </a:prstClr>
            </a:outerShdw>
          </a:effectLst>
          <a:scene3d>
            <a:camera prst="isometricRightUp">
              <a:rot lat="1788000" lon="18522000" rev="21360000"/>
            </a:camera>
            <a:lightRig rig="threePt" dir="t"/>
          </a:scene3d>
        </p:spPr>
        <p:txBody>
          <a:bodyPr/>
          <a:lstStyle>
            <a:lvl1pPr marL="0" indent="0" algn="ctr">
              <a:buNone/>
              <a:defRPr sz="3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A5F2F8-A5CF-40A6-87E2-0D92019ADD49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72EDA2-098F-46F7-A943-FA6494F94BEE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ABA842-CEF9-4417-B048-5A03B162B6E6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14C657D-5369-428E-8BF3-494A88DF6042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1F94102-BB21-42BF-A8E7-C965CEAB5DB1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DDA247F-7EF2-46D3-8EE7-3F415422433F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5" name="Freeform 85">
                <a:extLst>
                  <a:ext uri="{FF2B5EF4-FFF2-40B4-BE49-F238E27FC236}">
                    <a16:creationId xmlns:a16="http://schemas.microsoft.com/office/drawing/2014/main" id="{97A87ADE-D1DF-44C8-A47E-71754DEA8B7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C8C093C0-9008-45BD-BE96-12599554864B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3F8963C-7320-46E8-B069-75F03678C243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23" name="Freeform 75">
                <a:extLst>
                  <a:ext uri="{FF2B5EF4-FFF2-40B4-BE49-F238E27FC236}">
                    <a16:creationId xmlns:a16="http://schemas.microsoft.com/office/drawing/2014/main" id="{5F3F2754-CC34-468B-A83C-C0DDA402559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401D7FA-F18C-4F21-9B55-A68A7B5A7FF6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1EE1DFD-5F11-4148-B5C4-7CF6DF51C00E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21" name="Freeform 74">
                <a:extLst>
                  <a:ext uri="{FF2B5EF4-FFF2-40B4-BE49-F238E27FC236}">
                    <a16:creationId xmlns:a16="http://schemas.microsoft.com/office/drawing/2014/main" id="{14348107-9EAA-4078-BD92-4ECF264BE5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C522BCB-3E63-4C16-9788-3E7FB4F33702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C5B3E05-B2D5-443B-AB33-719F3EA62993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6DDFFFDE-E0E8-4449-9602-A9FF20BE7347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8C8680BF-1F34-4FA4-9802-B6CE0FBF770A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8298DD2F-FBAA-4BDC-ABCB-7852576029D8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9" name="Freeform 5">
                    <a:extLst>
                      <a:ext uri="{FF2B5EF4-FFF2-40B4-BE49-F238E27FC236}">
                        <a16:creationId xmlns:a16="http://schemas.microsoft.com/office/drawing/2014/main" id="{0B88EE11-6DB9-4A57-BDAD-7F69B163BC9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20" name="Freeform 10">
                    <a:extLst>
                      <a:ext uri="{FF2B5EF4-FFF2-40B4-BE49-F238E27FC236}">
                        <a16:creationId xmlns:a16="http://schemas.microsoft.com/office/drawing/2014/main" id="{BD7FE103-10D4-4BF6-B574-A567992CCE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B7EB0909-2AA2-4199-BD94-A7A59710F171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7E222D3-807A-4F5D-8EC7-BF9475059E26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8" name="Rectangle: Top Corners Rounded 27">
              <a:extLst>
                <a:ext uri="{FF2B5EF4-FFF2-40B4-BE49-F238E27FC236}">
                  <a16:creationId xmlns:a16="http://schemas.microsoft.com/office/drawing/2014/main" id="{119ADDEF-31CF-4371-A031-64AA6F250F33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7C3AE6CA-A799-4A7A-A8B7-C269E20D9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4749D54-718B-4D1E-9D34-157E789D0780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BB450D5-3AB3-415B-AB6C-6CD216163BA3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33" name="Freeform 62">
                <a:extLst>
                  <a:ext uri="{FF2B5EF4-FFF2-40B4-BE49-F238E27FC236}">
                    <a16:creationId xmlns:a16="http://schemas.microsoft.com/office/drawing/2014/main" id="{32A170BD-62B9-4350-A742-47B4D0E096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7489552B-EB26-4F22-93E1-02A1EAF331EF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C07738C-0010-4261-B462-9882CDAC60C1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9263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0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 animBg="1"/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 animBg="1"/>
          <p:bldP spid="5" grpId="0" animBg="1"/>
        </p:bldLst>
      </p:timing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58773C8D-5173-466E-9E43-0C79CF5E11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871451"/>
            <a:ext cx="24384000" cy="98445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75133862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6_Title Sli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05BF230-E320-4FA5-9668-823E86E515EA}"/>
              </a:ext>
            </a:extLst>
          </p:cNvPr>
          <p:cNvSpPr txBox="1"/>
          <p:nvPr userDrawn="1"/>
        </p:nvSpPr>
        <p:spPr>
          <a:xfrm rot="10800000" flipV="1">
            <a:off x="21927862" y="514435"/>
            <a:ext cx="22326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12000" b="1" i="0" smtClean="0">
                <a:solidFill>
                  <a:schemeClr val="bg1">
                    <a:lumMod val="9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35875" b="1" i="0" dirty="0">
              <a:solidFill>
                <a:schemeClr val="bg1">
                  <a:lumMod val="9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7C0297-168E-4CDA-A3DC-8DE0DED8CA46}"/>
              </a:ext>
            </a:extLst>
          </p:cNvPr>
          <p:cNvSpPr txBox="1"/>
          <p:nvPr userDrawn="1"/>
        </p:nvSpPr>
        <p:spPr>
          <a:xfrm rot="5400000">
            <a:off x="20833980" y="6657945"/>
            <a:ext cx="4454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2000" strike="noStrike" spc="750" dirty="0">
                <a:solidFill>
                  <a:schemeClr val="bg1">
                    <a:alpha val="87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33A878-0A27-4A13-AB5B-29B43BE302A7}"/>
              </a:ext>
            </a:extLst>
          </p:cNvPr>
          <p:cNvSpPr txBox="1"/>
          <p:nvPr userDrawn="1"/>
        </p:nvSpPr>
        <p:spPr>
          <a:xfrm>
            <a:off x="1127224" y="804614"/>
            <a:ext cx="174118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500" spc="375" dirty="0">
                <a:solidFill>
                  <a:schemeClr val="bg1"/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ART.TRIP</a:t>
            </a:r>
            <a:endParaRPr lang="id-ID" sz="2500" spc="375" dirty="0">
              <a:solidFill>
                <a:schemeClr val="bg1"/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DB80A2-2D33-4405-BB84-FA48D80F2C7F}"/>
              </a:ext>
            </a:extLst>
          </p:cNvPr>
          <p:cNvSpPr txBox="1"/>
          <p:nvPr userDrawn="1"/>
        </p:nvSpPr>
        <p:spPr>
          <a:xfrm>
            <a:off x="21375691" y="862322"/>
            <a:ext cx="1176925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250" spc="375" dirty="0">
                <a:solidFill>
                  <a:schemeClr val="bg1">
                    <a:lumMod val="85000"/>
                    <a:alpha val="40000"/>
                  </a:schemeClr>
                </a:solidFill>
                <a:latin typeface="Advent Pro" panose="02000506040000020004" pitchFamily="2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2250" spc="375" dirty="0">
              <a:solidFill>
                <a:schemeClr val="bg1">
                  <a:lumMod val="85000"/>
                  <a:alpha val="40000"/>
                </a:schemeClr>
              </a:solidFill>
              <a:latin typeface="Advent Pro" panose="02000506040000020004" pitchFamily="2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94B1B32-EF0D-4976-AF26-4E357605E853}"/>
              </a:ext>
            </a:extLst>
          </p:cNvPr>
          <p:cNvGrpSpPr/>
          <p:nvPr userDrawn="1"/>
        </p:nvGrpSpPr>
        <p:grpSpPr>
          <a:xfrm>
            <a:off x="19540080" y="12305298"/>
            <a:ext cx="2895610" cy="488970"/>
            <a:chOff x="11556938" y="7296986"/>
            <a:chExt cx="2013012" cy="3404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9327DCB-3CBE-425B-A92D-3EFCDE3C7945}"/>
                </a:ext>
              </a:extLst>
            </p:cNvPr>
            <p:cNvGrpSpPr/>
            <p:nvPr/>
          </p:nvGrpSpPr>
          <p:grpSpPr>
            <a:xfrm>
              <a:off x="12114457" y="7296986"/>
              <a:ext cx="340456" cy="340456"/>
              <a:chOff x="12097470" y="7200012"/>
              <a:chExt cx="495300" cy="495300"/>
            </a:xfrm>
          </p:grpSpPr>
          <p:sp>
            <p:nvSpPr>
              <p:cNvPr id="21" name="Freeform 85">
                <a:extLst>
                  <a:ext uri="{FF2B5EF4-FFF2-40B4-BE49-F238E27FC236}">
                    <a16:creationId xmlns:a16="http://schemas.microsoft.com/office/drawing/2014/main" id="{DB5BF4B4-0CDF-4A48-A3AA-C4B6C1FE041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2232137" y="7356848"/>
                <a:ext cx="225966" cy="181629"/>
              </a:xfrm>
              <a:custGeom>
                <a:avLst/>
                <a:gdLst>
                  <a:gd name="T0" fmla="*/ 250282 w 462"/>
                  <a:gd name="T1" fmla="*/ 24258 h 374"/>
                  <a:gd name="T2" fmla="*/ 250282 w 462"/>
                  <a:gd name="T3" fmla="*/ 24258 h 374"/>
                  <a:gd name="T4" fmla="*/ 221508 w 462"/>
                  <a:gd name="T5" fmla="*/ 33962 h 374"/>
                  <a:gd name="T6" fmla="*/ 240510 w 462"/>
                  <a:gd name="T7" fmla="*/ 5391 h 374"/>
                  <a:gd name="T8" fmla="*/ 211192 w 462"/>
                  <a:gd name="T9" fmla="*/ 19407 h 374"/>
                  <a:gd name="T10" fmla="*/ 173189 w 462"/>
                  <a:gd name="T11" fmla="*/ 0 h 374"/>
                  <a:gd name="T12" fmla="*/ 119983 w 462"/>
                  <a:gd name="T13" fmla="*/ 52829 h 374"/>
                  <a:gd name="T14" fmla="*/ 124870 w 462"/>
                  <a:gd name="T15" fmla="*/ 62532 h 374"/>
                  <a:gd name="T16" fmla="*/ 19002 w 462"/>
                  <a:gd name="T17" fmla="*/ 10242 h 374"/>
                  <a:gd name="T18" fmla="*/ 9229 w 462"/>
                  <a:gd name="T19" fmla="*/ 38813 h 374"/>
                  <a:gd name="T20" fmla="*/ 33118 w 462"/>
                  <a:gd name="T21" fmla="*/ 81400 h 374"/>
                  <a:gd name="T22" fmla="*/ 9229 w 462"/>
                  <a:gd name="T23" fmla="*/ 72236 h 374"/>
                  <a:gd name="T24" fmla="*/ 9229 w 462"/>
                  <a:gd name="T25" fmla="*/ 72236 h 374"/>
                  <a:gd name="T26" fmla="*/ 53205 w 462"/>
                  <a:gd name="T27" fmla="*/ 124526 h 374"/>
                  <a:gd name="T28" fmla="*/ 38004 w 462"/>
                  <a:gd name="T29" fmla="*/ 124526 h 374"/>
                  <a:gd name="T30" fmla="*/ 28774 w 462"/>
                  <a:gd name="T31" fmla="*/ 124526 h 374"/>
                  <a:gd name="T32" fmla="*/ 77093 w 462"/>
                  <a:gd name="T33" fmla="*/ 158487 h 374"/>
                  <a:gd name="T34" fmla="*/ 14116 w 462"/>
                  <a:gd name="T35" fmla="*/ 182206 h 374"/>
                  <a:gd name="T36" fmla="*/ 0 w 462"/>
                  <a:gd name="T37" fmla="*/ 182206 h 374"/>
                  <a:gd name="T38" fmla="*/ 77093 w 462"/>
                  <a:gd name="T39" fmla="*/ 201074 h 374"/>
                  <a:gd name="T40" fmla="*/ 221508 w 462"/>
                  <a:gd name="T41" fmla="*/ 57681 h 374"/>
                  <a:gd name="T42" fmla="*/ 221508 w 462"/>
                  <a:gd name="T43" fmla="*/ 52829 h 374"/>
                  <a:gd name="T44" fmla="*/ 250282 w 462"/>
                  <a:gd name="T45" fmla="*/ 24258 h 3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2" h="374">
                    <a:moveTo>
                      <a:pt x="461" y="45"/>
                    </a:moveTo>
                    <a:lnTo>
                      <a:pt x="461" y="45"/>
                    </a:lnTo>
                    <a:cubicBezTo>
                      <a:pt x="443" y="54"/>
                      <a:pt x="425" y="63"/>
                      <a:pt x="408" y="63"/>
                    </a:cubicBezTo>
                    <a:cubicBezTo>
                      <a:pt x="425" y="54"/>
                      <a:pt x="443" y="36"/>
                      <a:pt x="443" y="10"/>
                    </a:cubicBezTo>
                    <a:cubicBezTo>
                      <a:pt x="425" y="19"/>
                      <a:pt x="408" y="27"/>
                      <a:pt x="389" y="36"/>
                    </a:cubicBezTo>
                    <a:cubicBezTo>
                      <a:pt x="372" y="19"/>
                      <a:pt x="345" y="0"/>
                      <a:pt x="319" y="0"/>
                    </a:cubicBezTo>
                    <a:cubicBezTo>
                      <a:pt x="265" y="0"/>
                      <a:pt x="221" y="45"/>
                      <a:pt x="221" y="98"/>
                    </a:cubicBezTo>
                    <a:cubicBezTo>
                      <a:pt x="221" y="107"/>
                      <a:pt x="221" y="116"/>
                      <a:pt x="230" y="116"/>
                    </a:cubicBezTo>
                    <a:cubicBezTo>
                      <a:pt x="151" y="116"/>
                      <a:pt x="79" y="81"/>
                      <a:pt x="35" y="19"/>
                    </a:cubicBezTo>
                    <a:cubicBezTo>
                      <a:pt x="26" y="36"/>
                      <a:pt x="17" y="54"/>
                      <a:pt x="17" y="72"/>
                    </a:cubicBezTo>
                    <a:cubicBezTo>
                      <a:pt x="17" y="98"/>
                      <a:pt x="35" y="134"/>
                      <a:pt x="61" y="151"/>
                    </a:cubicBezTo>
                    <a:cubicBezTo>
                      <a:pt x="44" y="143"/>
                      <a:pt x="35" y="143"/>
                      <a:pt x="17" y="134"/>
                    </a:cubicBezTo>
                    <a:cubicBezTo>
                      <a:pt x="17" y="178"/>
                      <a:pt x="53" y="222"/>
                      <a:pt x="98" y="231"/>
                    </a:cubicBezTo>
                    <a:cubicBezTo>
                      <a:pt x="89" y="231"/>
                      <a:pt x="79" y="231"/>
                      <a:pt x="70" y="231"/>
                    </a:cubicBezTo>
                    <a:cubicBezTo>
                      <a:pt x="61" y="231"/>
                      <a:pt x="61" y="231"/>
                      <a:pt x="53" y="231"/>
                    </a:cubicBezTo>
                    <a:cubicBezTo>
                      <a:pt x="61" y="266"/>
                      <a:pt x="98" y="294"/>
                      <a:pt x="142" y="294"/>
                    </a:cubicBezTo>
                    <a:cubicBezTo>
                      <a:pt x="106" y="319"/>
                      <a:pt x="70" y="338"/>
                      <a:pt x="26" y="338"/>
                    </a:cubicBezTo>
                    <a:cubicBezTo>
                      <a:pt x="17" y="338"/>
                      <a:pt x="8" y="338"/>
                      <a:pt x="0" y="338"/>
                    </a:cubicBezTo>
                    <a:cubicBezTo>
                      <a:pt x="44" y="364"/>
                      <a:pt x="89" y="373"/>
                      <a:pt x="142" y="373"/>
                    </a:cubicBezTo>
                    <a:cubicBezTo>
                      <a:pt x="319" y="373"/>
                      <a:pt x="408" y="231"/>
                      <a:pt x="408" y="107"/>
                    </a:cubicBezTo>
                    <a:lnTo>
                      <a:pt x="408" y="98"/>
                    </a:lnTo>
                    <a:cubicBezTo>
                      <a:pt x="434" y="81"/>
                      <a:pt x="443" y="72"/>
                      <a:pt x="461" y="4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EADA85A4-D6B6-44C8-A229-72C0EA5710E8}"/>
                  </a:ext>
                </a:extLst>
              </p:cNvPr>
              <p:cNvSpPr/>
              <p:nvPr/>
            </p:nvSpPr>
            <p:spPr>
              <a:xfrm>
                <a:off x="12097470" y="7200012"/>
                <a:ext cx="495300" cy="4953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62920EC-642F-4E70-BB4D-C80E7AC576AF}"/>
                </a:ext>
              </a:extLst>
            </p:cNvPr>
            <p:cNvGrpSpPr/>
            <p:nvPr/>
          </p:nvGrpSpPr>
          <p:grpSpPr>
            <a:xfrm>
              <a:off x="12671975" y="7296986"/>
              <a:ext cx="340456" cy="340456"/>
              <a:chOff x="12898290" y="7257882"/>
              <a:chExt cx="379560" cy="379560"/>
            </a:xfrm>
          </p:grpSpPr>
          <p:sp>
            <p:nvSpPr>
              <p:cNvPr id="19" name="Freeform 75">
                <a:extLst>
                  <a:ext uri="{FF2B5EF4-FFF2-40B4-BE49-F238E27FC236}">
                    <a16:creationId xmlns:a16="http://schemas.microsoft.com/office/drawing/2014/main" id="{7E6E8394-1561-4257-B2ED-9B11AF7D63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3042040" y="7362177"/>
                <a:ext cx="92061" cy="170970"/>
              </a:xfrm>
              <a:custGeom>
                <a:avLst/>
                <a:gdLst>
                  <a:gd name="T0" fmla="*/ 132814 w 249"/>
                  <a:gd name="T1" fmla="*/ 43735 h 453"/>
                  <a:gd name="T2" fmla="*/ 132814 w 249"/>
                  <a:gd name="T3" fmla="*/ 43735 h 453"/>
                  <a:gd name="T4" fmla="*/ 94791 w 249"/>
                  <a:gd name="T5" fmla="*/ 43735 h 453"/>
                  <a:gd name="T6" fmla="*/ 85687 w 249"/>
                  <a:gd name="T7" fmla="*/ 58496 h 453"/>
                  <a:gd name="T8" fmla="*/ 85687 w 249"/>
                  <a:gd name="T9" fmla="*/ 87470 h 453"/>
                  <a:gd name="T10" fmla="*/ 132814 w 249"/>
                  <a:gd name="T11" fmla="*/ 87470 h 453"/>
                  <a:gd name="T12" fmla="*/ 132814 w 249"/>
                  <a:gd name="T13" fmla="*/ 126285 h 453"/>
                  <a:gd name="T14" fmla="*/ 85687 w 249"/>
                  <a:gd name="T15" fmla="*/ 126285 h 453"/>
                  <a:gd name="T16" fmla="*/ 85687 w 249"/>
                  <a:gd name="T17" fmla="*/ 247103 h 453"/>
                  <a:gd name="T18" fmla="*/ 42308 w 249"/>
                  <a:gd name="T19" fmla="*/ 247103 h 453"/>
                  <a:gd name="T20" fmla="*/ 42308 w 249"/>
                  <a:gd name="T21" fmla="*/ 126285 h 453"/>
                  <a:gd name="T22" fmla="*/ 0 w 249"/>
                  <a:gd name="T23" fmla="*/ 126285 h 453"/>
                  <a:gd name="T24" fmla="*/ 0 w 249"/>
                  <a:gd name="T25" fmla="*/ 87470 h 453"/>
                  <a:gd name="T26" fmla="*/ 42308 w 249"/>
                  <a:gd name="T27" fmla="*/ 87470 h 453"/>
                  <a:gd name="T28" fmla="*/ 42308 w 249"/>
                  <a:gd name="T29" fmla="*/ 63416 h 453"/>
                  <a:gd name="T30" fmla="*/ 94791 w 249"/>
                  <a:gd name="T31" fmla="*/ 0 h 453"/>
                  <a:gd name="T32" fmla="*/ 132814 w 249"/>
                  <a:gd name="T33" fmla="*/ 0 h 453"/>
                  <a:gd name="T34" fmla="*/ 132814 w 249"/>
                  <a:gd name="T35" fmla="*/ 43735 h 45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9" h="453">
                    <a:moveTo>
                      <a:pt x="248" y="80"/>
                    </a:moveTo>
                    <a:lnTo>
                      <a:pt x="248" y="80"/>
                    </a:lnTo>
                    <a:cubicBezTo>
                      <a:pt x="177" y="80"/>
                      <a:pt x="177" y="80"/>
                      <a:pt x="177" y="80"/>
                    </a:cubicBezTo>
                    <a:cubicBezTo>
                      <a:pt x="169" y="80"/>
                      <a:pt x="160" y="89"/>
                      <a:pt x="160" y="107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8" y="231"/>
                      <a:pt x="248" y="231"/>
                      <a:pt x="24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452"/>
                      <a:pt x="160" y="452"/>
                      <a:pt x="160" y="452"/>
                    </a:cubicBezTo>
                    <a:cubicBezTo>
                      <a:pt x="79" y="452"/>
                      <a:pt x="79" y="452"/>
                      <a:pt x="79" y="452"/>
                    </a:cubicBezTo>
                    <a:cubicBezTo>
                      <a:pt x="79" y="231"/>
                      <a:pt x="79" y="231"/>
                      <a:pt x="79" y="231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79" y="160"/>
                      <a:pt x="79" y="160"/>
                      <a:pt x="79" y="160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54"/>
                      <a:pt x="115" y="0"/>
                      <a:pt x="177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8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901D9475-7D74-4FB5-9582-672692A3E62C}"/>
                  </a:ext>
                </a:extLst>
              </p:cNvPr>
              <p:cNvSpPr/>
              <p:nvPr/>
            </p:nvSpPr>
            <p:spPr>
              <a:xfrm>
                <a:off x="1289829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3A62277-8AF6-4C53-A31B-F16FAD3928B2}"/>
                </a:ext>
              </a:extLst>
            </p:cNvPr>
            <p:cNvGrpSpPr/>
            <p:nvPr/>
          </p:nvGrpSpPr>
          <p:grpSpPr>
            <a:xfrm>
              <a:off x="13229494" y="7296986"/>
              <a:ext cx="340456" cy="340456"/>
              <a:chOff x="13421600" y="7257882"/>
              <a:chExt cx="379560" cy="379560"/>
            </a:xfrm>
          </p:grpSpPr>
          <p:sp>
            <p:nvSpPr>
              <p:cNvPr id="17" name="Freeform 74">
                <a:extLst>
                  <a:ext uri="{FF2B5EF4-FFF2-40B4-BE49-F238E27FC236}">
                    <a16:creationId xmlns:a16="http://schemas.microsoft.com/office/drawing/2014/main" id="{B19D39FF-6E59-47E3-8008-CC5C5CECDE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16515" y="7354045"/>
                <a:ext cx="189730" cy="187234"/>
              </a:xfrm>
              <a:custGeom>
                <a:avLst/>
                <a:gdLst>
                  <a:gd name="T0" fmla="*/ 14641 w 445"/>
                  <a:gd name="T1" fmla="*/ 58439 h 436"/>
                  <a:gd name="T2" fmla="*/ 14641 w 445"/>
                  <a:gd name="T3" fmla="*/ 58439 h 436"/>
                  <a:gd name="T4" fmla="*/ 33619 w 445"/>
                  <a:gd name="T5" fmla="*/ 101585 h 436"/>
                  <a:gd name="T6" fmla="*/ 62901 w 445"/>
                  <a:gd name="T7" fmla="*/ 111416 h 436"/>
                  <a:gd name="T8" fmla="*/ 67781 w 445"/>
                  <a:gd name="T9" fmla="*/ 111416 h 436"/>
                  <a:gd name="T10" fmla="*/ 72661 w 445"/>
                  <a:gd name="T11" fmla="*/ 135447 h 436"/>
                  <a:gd name="T12" fmla="*/ 72661 w 445"/>
                  <a:gd name="T13" fmla="*/ 135447 h 436"/>
                  <a:gd name="T14" fmla="*/ 0 w 445"/>
                  <a:gd name="T15" fmla="*/ 188425 h 436"/>
                  <a:gd name="T16" fmla="*/ 62901 w 445"/>
                  <a:gd name="T17" fmla="*/ 237579 h 436"/>
                  <a:gd name="T18" fmla="*/ 62901 w 445"/>
                  <a:gd name="T19" fmla="*/ 237579 h 436"/>
                  <a:gd name="T20" fmla="*/ 67781 w 445"/>
                  <a:gd name="T21" fmla="*/ 237579 h 436"/>
                  <a:gd name="T22" fmla="*/ 106280 w 445"/>
                  <a:gd name="T23" fmla="*/ 227748 h 436"/>
                  <a:gd name="T24" fmla="*/ 135020 w 445"/>
                  <a:gd name="T25" fmla="*/ 174771 h 436"/>
                  <a:gd name="T26" fmla="*/ 111161 w 445"/>
                  <a:gd name="T27" fmla="*/ 125616 h 436"/>
                  <a:gd name="T28" fmla="*/ 96520 w 445"/>
                  <a:gd name="T29" fmla="*/ 111416 h 436"/>
                  <a:gd name="T30" fmla="*/ 106280 w 445"/>
                  <a:gd name="T31" fmla="*/ 96670 h 436"/>
                  <a:gd name="T32" fmla="*/ 125259 w 445"/>
                  <a:gd name="T33" fmla="*/ 53524 h 436"/>
                  <a:gd name="T34" fmla="*/ 106280 w 445"/>
                  <a:gd name="T35" fmla="*/ 9831 h 436"/>
                  <a:gd name="T36" fmla="*/ 115499 w 445"/>
                  <a:gd name="T37" fmla="*/ 9831 h 436"/>
                  <a:gd name="T38" fmla="*/ 135020 w 445"/>
                  <a:gd name="T39" fmla="*/ 0 h 436"/>
                  <a:gd name="T40" fmla="*/ 135020 w 445"/>
                  <a:gd name="T41" fmla="*/ 0 h 436"/>
                  <a:gd name="T42" fmla="*/ 77541 w 445"/>
                  <a:gd name="T43" fmla="*/ 0 h 436"/>
                  <a:gd name="T44" fmla="*/ 14641 w 445"/>
                  <a:gd name="T45" fmla="*/ 58439 h 436"/>
                  <a:gd name="T46" fmla="*/ 111161 w 445"/>
                  <a:gd name="T47" fmla="*/ 179140 h 436"/>
                  <a:gd name="T48" fmla="*/ 111161 w 445"/>
                  <a:gd name="T49" fmla="*/ 179140 h 436"/>
                  <a:gd name="T50" fmla="*/ 72661 w 445"/>
                  <a:gd name="T51" fmla="*/ 213002 h 436"/>
                  <a:gd name="T52" fmla="*/ 29281 w 445"/>
                  <a:gd name="T53" fmla="*/ 188425 h 436"/>
                  <a:gd name="T54" fmla="*/ 38500 w 445"/>
                  <a:gd name="T55" fmla="*/ 159478 h 436"/>
                  <a:gd name="T56" fmla="*/ 67781 w 445"/>
                  <a:gd name="T57" fmla="*/ 150194 h 436"/>
                  <a:gd name="T58" fmla="*/ 72661 w 445"/>
                  <a:gd name="T59" fmla="*/ 150194 h 436"/>
                  <a:gd name="T60" fmla="*/ 111161 w 445"/>
                  <a:gd name="T61" fmla="*/ 179140 h 436"/>
                  <a:gd name="T62" fmla="*/ 96520 w 445"/>
                  <a:gd name="T63" fmla="*/ 43693 h 436"/>
                  <a:gd name="T64" fmla="*/ 96520 w 445"/>
                  <a:gd name="T65" fmla="*/ 43693 h 436"/>
                  <a:gd name="T66" fmla="*/ 77541 w 445"/>
                  <a:gd name="T67" fmla="*/ 92301 h 436"/>
                  <a:gd name="T68" fmla="*/ 72661 w 445"/>
                  <a:gd name="T69" fmla="*/ 92301 h 436"/>
                  <a:gd name="T70" fmla="*/ 43922 w 445"/>
                  <a:gd name="T71" fmla="*/ 63354 h 436"/>
                  <a:gd name="T72" fmla="*/ 43922 w 445"/>
                  <a:gd name="T73" fmla="*/ 33862 h 436"/>
                  <a:gd name="T74" fmla="*/ 58020 w 445"/>
                  <a:gd name="T75" fmla="*/ 14200 h 436"/>
                  <a:gd name="T76" fmla="*/ 62901 w 445"/>
                  <a:gd name="T77" fmla="*/ 14200 h 436"/>
                  <a:gd name="T78" fmla="*/ 96520 w 445"/>
                  <a:gd name="T79" fmla="*/ 43693 h 436"/>
                  <a:gd name="T80" fmla="*/ 202258 w 445"/>
                  <a:gd name="T81" fmla="*/ 92301 h 436"/>
                  <a:gd name="T82" fmla="*/ 202258 w 445"/>
                  <a:gd name="T83" fmla="*/ 92301 h 436"/>
                  <a:gd name="T84" fmla="*/ 202258 w 445"/>
                  <a:gd name="T85" fmla="*/ 53524 h 436"/>
                  <a:gd name="T86" fmla="*/ 172977 w 445"/>
                  <a:gd name="T87" fmla="*/ 53524 h 436"/>
                  <a:gd name="T88" fmla="*/ 172977 w 445"/>
                  <a:gd name="T89" fmla="*/ 92301 h 436"/>
                  <a:gd name="T90" fmla="*/ 135020 w 445"/>
                  <a:gd name="T91" fmla="*/ 92301 h 436"/>
                  <a:gd name="T92" fmla="*/ 135020 w 445"/>
                  <a:gd name="T93" fmla="*/ 116332 h 436"/>
                  <a:gd name="T94" fmla="*/ 172977 w 445"/>
                  <a:gd name="T95" fmla="*/ 116332 h 436"/>
                  <a:gd name="T96" fmla="*/ 172977 w 445"/>
                  <a:gd name="T97" fmla="*/ 159478 h 436"/>
                  <a:gd name="T98" fmla="*/ 202258 w 445"/>
                  <a:gd name="T99" fmla="*/ 159478 h 436"/>
                  <a:gd name="T100" fmla="*/ 202258 w 445"/>
                  <a:gd name="T101" fmla="*/ 116332 h 436"/>
                  <a:gd name="T102" fmla="*/ 240758 w 445"/>
                  <a:gd name="T103" fmla="*/ 116332 h 436"/>
                  <a:gd name="T104" fmla="*/ 240758 w 445"/>
                  <a:gd name="T105" fmla="*/ 92301 h 436"/>
                  <a:gd name="T106" fmla="*/ 202258 w 445"/>
                  <a:gd name="T107" fmla="*/ 92301 h 4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45" h="436">
                    <a:moveTo>
                      <a:pt x="27" y="107"/>
                    </a:moveTo>
                    <a:lnTo>
                      <a:pt x="27" y="107"/>
                    </a:lnTo>
                    <a:cubicBezTo>
                      <a:pt x="27" y="142"/>
                      <a:pt x="36" y="169"/>
                      <a:pt x="62" y="186"/>
                    </a:cubicBezTo>
                    <a:cubicBezTo>
                      <a:pt x="81" y="195"/>
                      <a:pt x="107" y="204"/>
                      <a:pt x="116" y="204"/>
                    </a:cubicBezTo>
                    <a:lnTo>
                      <a:pt x="125" y="204"/>
                    </a:lnTo>
                    <a:cubicBezTo>
                      <a:pt x="125" y="204"/>
                      <a:pt x="116" y="222"/>
                      <a:pt x="134" y="248"/>
                    </a:cubicBezTo>
                    <a:cubicBezTo>
                      <a:pt x="107" y="248"/>
                      <a:pt x="0" y="257"/>
                      <a:pt x="0" y="345"/>
                    </a:cubicBezTo>
                    <a:cubicBezTo>
                      <a:pt x="0" y="435"/>
                      <a:pt x="98" y="435"/>
                      <a:pt x="116" y="435"/>
                    </a:cubicBezTo>
                    <a:cubicBezTo>
                      <a:pt x="116" y="435"/>
                      <a:pt x="116" y="435"/>
                      <a:pt x="125" y="435"/>
                    </a:cubicBezTo>
                    <a:cubicBezTo>
                      <a:pt x="134" y="435"/>
                      <a:pt x="169" y="435"/>
                      <a:pt x="196" y="417"/>
                    </a:cubicBezTo>
                    <a:cubicBezTo>
                      <a:pt x="231" y="399"/>
                      <a:pt x="249" y="364"/>
                      <a:pt x="249" y="320"/>
                    </a:cubicBezTo>
                    <a:cubicBezTo>
                      <a:pt x="249" y="275"/>
                      <a:pt x="222" y="248"/>
                      <a:pt x="205" y="230"/>
                    </a:cubicBezTo>
                    <a:cubicBezTo>
                      <a:pt x="187" y="222"/>
                      <a:pt x="178" y="213"/>
                      <a:pt x="178" y="204"/>
                    </a:cubicBezTo>
                    <a:cubicBezTo>
                      <a:pt x="178" y="195"/>
                      <a:pt x="187" y="186"/>
                      <a:pt x="196" y="177"/>
                    </a:cubicBezTo>
                    <a:cubicBezTo>
                      <a:pt x="213" y="160"/>
                      <a:pt x="231" y="142"/>
                      <a:pt x="231" y="98"/>
                    </a:cubicBezTo>
                    <a:cubicBezTo>
                      <a:pt x="231" y="62"/>
                      <a:pt x="222" y="36"/>
                      <a:pt x="196" y="18"/>
                    </a:cubicBezTo>
                    <a:lnTo>
                      <a:pt x="213" y="18"/>
                    </a:lnTo>
                    <a:cubicBezTo>
                      <a:pt x="231" y="18"/>
                      <a:pt x="249" y="9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4" y="0"/>
                      <a:pt x="27" y="0"/>
                      <a:pt x="27" y="107"/>
                    </a:cubicBezTo>
                    <a:close/>
                    <a:moveTo>
                      <a:pt x="205" y="328"/>
                    </a:moveTo>
                    <a:lnTo>
                      <a:pt x="205" y="328"/>
                    </a:lnTo>
                    <a:cubicBezTo>
                      <a:pt x="213" y="364"/>
                      <a:pt x="178" y="390"/>
                      <a:pt x="134" y="390"/>
                    </a:cubicBezTo>
                    <a:cubicBezTo>
                      <a:pt x="90" y="399"/>
                      <a:pt x="54" y="381"/>
                      <a:pt x="54" y="345"/>
                    </a:cubicBezTo>
                    <a:cubicBezTo>
                      <a:pt x="45" y="328"/>
                      <a:pt x="54" y="310"/>
                      <a:pt x="71" y="292"/>
                    </a:cubicBezTo>
                    <a:cubicBezTo>
                      <a:pt x="90" y="283"/>
                      <a:pt x="107" y="275"/>
                      <a:pt x="125" y="275"/>
                    </a:cubicBezTo>
                    <a:cubicBezTo>
                      <a:pt x="134" y="275"/>
                      <a:pt x="134" y="275"/>
                      <a:pt x="134" y="275"/>
                    </a:cubicBezTo>
                    <a:cubicBezTo>
                      <a:pt x="178" y="275"/>
                      <a:pt x="205" y="301"/>
                      <a:pt x="205" y="328"/>
                    </a:cubicBezTo>
                    <a:close/>
                    <a:moveTo>
                      <a:pt x="178" y="80"/>
                    </a:moveTo>
                    <a:lnTo>
                      <a:pt x="178" y="80"/>
                    </a:lnTo>
                    <a:cubicBezTo>
                      <a:pt x="187" y="124"/>
                      <a:pt x="169" y="160"/>
                      <a:pt x="143" y="169"/>
                    </a:cubicBezTo>
                    <a:cubicBezTo>
                      <a:pt x="143" y="169"/>
                      <a:pt x="143" y="169"/>
                      <a:pt x="134" y="169"/>
                    </a:cubicBezTo>
                    <a:cubicBezTo>
                      <a:pt x="107" y="169"/>
                      <a:pt x="90" y="151"/>
                      <a:pt x="81" y="116"/>
                    </a:cubicBezTo>
                    <a:cubicBezTo>
                      <a:pt x="71" y="98"/>
                      <a:pt x="71" y="80"/>
                      <a:pt x="81" y="62"/>
                    </a:cubicBezTo>
                    <a:cubicBezTo>
                      <a:pt x="81" y="45"/>
                      <a:pt x="98" y="36"/>
                      <a:pt x="107" y="26"/>
                    </a:cubicBezTo>
                    <a:lnTo>
                      <a:pt x="116" y="26"/>
                    </a:lnTo>
                    <a:cubicBezTo>
                      <a:pt x="151" y="26"/>
                      <a:pt x="169" y="45"/>
                      <a:pt x="178" y="80"/>
                    </a:cubicBezTo>
                    <a:close/>
                    <a:moveTo>
                      <a:pt x="373" y="169"/>
                    </a:moveTo>
                    <a:lnTo>
                      <a:pt x="373" y="169"/>
                    </a:lnTo>
                    <a:cubicBezTo>
                      <a:pt x="373" y="98"/>
                      <a:pt x="373" y="98"/>
                      <a:pt x="373" y="98"/>
                    </a:cubicBezTo>
                    <a:cubicBezTo>
                      <a:pt x="319" y="98"/>
                      <a:pt x="319" y="98"/>
                      <a:pt x="319" y="98"/>
                    </a:cubicBezTo>
                    <a:cubicBezTo>
                      <a:pt x="319" y="169"/>
                      <a:pt x="319" y="169"/>
                      <a:pt x="319" y="169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213"/>
                      <a:pt x="249" y="213"/>
                      <a:pt x="249" y="213"/>
                    </a:cubicBezTo>
                    <a:cubicBezTo>
                      <a:pt x="319" y="213"/>
                      <a:pt x="319" y="213"/>
                      <a:pt x="319" y="213"/>
                    </a:cubicBezTo>
                    <a:cubicBezTo>
                      <a:pt x="319" y="292"/>
                      <a:pt x="319" y="292"/>
                      <a:pt x="319" y="292"/>
                    </a:cubicBezTo>
                    <a:cubicBezTo>
                      <a:pt x="373" y="292"/>
                      <a:pt x="373" y="292"/>
                      <a:pt x="373" y="292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4" y="169"/>
                      <a:pt x="444" y="169"/>
                      <a:pt x="444" y="169"/>
                    </a:cubicBezTo>
                    <a:lnTo>
                      <a:pt x="373" y="1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endParaRPr lang="en-US" sz="6250" dirty="0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1EE63F1-B61F-4256-9DF0-07BF2879FA2D}"/>
                  </a:ext>
                </a:extLst>
              </p:cNvPr>
              <p:cNvSpPr/>
              <p:nvPr/>
            </p:nvSpPr>
            <p:spPr>
              <a:xfrm>
                <a:off x="13421600" y="7257882"/>
                <a:ext cx="379560" cy="37956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85000"/>
                    <a:alpha val="5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4CED21C-B661-44E4-95E7-194B1434C5D0}"/>
                </a:ext>
              </a:extLst>
            </p:cNvPr>
            <p:cNvGrpSpPr/>
            <p:nvPr/>
          </p:nvGrpSpPr>
          <p:grpSpPr>
            <a:xfrm>
              <a:off x="11556938" y="7296986"/>
              <a:ext cx="340456" cy="340456"/>
              <a:chOff x="11556938" y="7296986"/>
              <a:chExt cx="340456" cy="340456"/>
            </a:xfrm>
            <a:effectLst>
              <a:outerShdw blurRad="266700" dist="177800" dir="5400000" sx="70000" sy="70000" algn="t" rotWithShape="0">
                <a:schemeClr val="bg1">
                  <a:lumMod val="50000"/>
                  <a:alpha val="40000"/>
                </a:schemeClr>
              </a:outerShdw>
            </a:effectLst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6C1F03CC-E618-4705-954B-86BFC052D290}"/>
                  </a:ext>
                </a:extLst>
              </p:cNvPr>
              <p:cNvSpPr/>
              <p:nvPr/>
            </p:nvSpPr>
            <p:spPr>
              <a:xfrm>
                <a:off x="11556938" y="7296986"/>
                <a:ext cx="340456" cy="340456"/>
              </a:xfrm>
              <a:prstGeom prst="ellipse">
                <a:avLst/>
              </a:prstGeom>
              <a:gradFill>
                <a:gsLst>
                  <a:gs pos="100000">
                    <a:srgbClr val="FFC53F"/>
                  </a:gs>
                  <a:gs pos="0">
                    <a:srgbClr val="4658AC"/>
                  </a:gs>
                </a:gsLst>
                <a:lin ang="6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625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8EE2B250-D42B-4F95-8A39-DF21533A971D}"/>
                  </a:ext>
                </a:extLst>
              </p:cNvPr>
              <p:cNvGrpSpPr/>
              <p:nvPr/>
            </p:nvGrpSpPr>
            <p:grpSpPr>
              <a:xfrm>
                <a:off x="11643056" y="7383242"/>
                <a:ext cx="168220" cy="167945"/>
                <a:chOff x="910648" y="5598469"/>
                <a:chExt cx="730034" cy="728842"/>
              </a:xfrm>
              <a:solidFill>
                <a:schemeClr val="bg1"/>
              </a:solidFill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38353A18-13DF-466E-BAAB-F188FB0191A4}"/>
                    </a:ext>
                  </a:extLst>
                </p:cNvPr>
                <p:cNvGrpSpPr/>
                <p:nvPr/>
              </p:nvGrpSpPr>
              <p:grpSpPr>
                <a:xfrm>
                  <a:off x="910648" y="5598469"/>
                  <a:ext cx="730034" cy="728842"/>
                  <a:chOff x="2110189" y="863994"/>
                  <a:chExt cx="724256" cy="723073"/>
                </a:xfrm>
                <a:grpFill/>
              </p:grpSpPr>
              <p:sp>
                <p:nvSpPr>
                  <p:cNvPr id="15" name="Freeform 5">
                    <a:extLst>
                      <a:ext uri="{FF2B5EF4-FFF2-40B4-BE49-F238E27FC236}">
                        <a16:creationId xmlns:a16="http://schemas.microsoft.com/office/drawing/2014/main" id="{96AFC182-A899-473F-B5B5-8E9AF08D167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110189" y="863994"/>
                    <a:ext cx="724256" cy="723073"/>
                  </a:xfrm>
                  <a:custGeom>
                    <a:avLst/>
                    <a:gdLst>
                      <a:gd name="T0" fmla="*/ 1263 w 4293"/>
                      <a:gd name="T1" fmla="*/ 4274 h 4286"/>
                      <a:gd name="T2" fmla="*/ 919 w 4293"/>
                      <a:gd name="T3" fmla="*/ 4230 h 4286"/>
                      <a:gd name="T4" fmla="*/ 634 w 4293"/>
                      <a:gd name="T5" fmla="*/ 4126 h 4286"/>
                      <a:gd name="T6" fmla="*/ 360 w 4293"/>
                      <a:gd name="T7" fmla="*/ 3926 h 4286"/>
                      <a:gd name="T8" fmla="*/ 188 w 4293"/>
                      <a:gd name="T9" fmla="*/ 3702 h 4286"/>
                      <a:gd name="T10" fmla="*/ 74 w 4293"/>
                      <a:gd name="T11" fmla="*/ 3430 h 4286"/>
                      <a:gd name="T12" fmla="*/ 14 w 4293"/>
                      <a:gd name="T13" fmla="*/ 3027 h 4286"/>
                      <a:gd name="T14" fmla="*/ 0 w 4293"/>
                      <a:gd name="T15" fmla="*/ 2143 h 4286"/>
                      <a:gd name="T16" fmla="*/ 18 w 4293"/>
                      <a:gd name="T17" fmla="*/ 1183 h 4286"/>
                      <a:gd name="T18" fmla="*/ 92 w 4293"/>
                      <a:gd name="T19" fmla="*/ 796 h 4286"/>
                      <a:gd name="T20" fmla="*/ 216 w 4293"/>
                      <a:gd name="T21" fmla="*/ 536 h 4286"/>
                      <a:gd name="T22" fmla="*/ 404 w 4293"/>
                      <a:gd name="T23" fmla="*/ 318 h 4286"/>
                      <a:gd name="T24" fmla="*/ 686 w 4293"/>
                      <a:gd name="T25" fmla="*/ 134 h 4286"/>
                      <a:gd name="T26" fmla="*/ 981 w 4293"/>
                      <a:gd name="T27" fmla="*/ 44 h 4286"/>
                      <a:gd name="T28" fmla="*/ 1415 w 4293"/>
                      <a:gd name="T29" fmla="*/ 6 h 4286"/>
                      <a:gd name="T30" fmla="*/ 2722 w 4293"/>
                      <a:gd name="T31" fmla="*/ 2 h 4286"/>
                      <a:gd name="T32" fmla="*/ 3248 w 4293"/>
                      <a:gd name="T33" fmla="*/ 32 h 4286"/>
                      <a:gd name="T34" fmla="*/ 3552 w 4293"/>
                      <a:gd name="T35" fmla="*/ 112 h 4286"/>
                      <a:gd name="T36" fmla="*/ 3847 w 4293"/>
                      <a:gd name="T37" fmla="*/ 280 h 4286"/>
                      <a:gd name="T38" fmla="*/ 4045 w 4293"/>
                      <a:gd name="T39" fmla="*/ 490 h 4286"/>
                      <a:gd name="T40" fmla="*/ 4181 w 4293"/>
                      <a:gd name="T41" fmla="*/ 740 h 4286"/>
                      <a:gd name="T42" fmla="*/ 4269 w 4293"/>
                      <a:gd name="T43" fmla="*/ 1111 h 4286"/>
                      <a:gd name="T44" fmla="*/ 4293 w 4293"/>
                      <a:gd name="T45" fmla="*/ 1793 h 4286"/>
                      <a:gd name="T46" fmla="*/ 4281 w 4293"/>
                      <a:gd name="T47" fmla="*/ 3027 h 4286"/>
                      <a:gd name="T48" fmla="*/ 4237 w 4293"/>
                      <a:gd name="T49" fmla="*/ 3370 h 4286"/>
                      <a:gd name="T50" fmla="*/ 4133 w 4293"/>
                      <a:gd name="T51" fmla="*/ 3654 h 4286"/>
                      <a:gd name="T52" fmla="*/ 3933 w 4293"/>
                      <a:gd name="T53" fmla="*/ 3926 h 4286"/>
                      <a:gd name="T54" fmla="*/ 3709 w 4293"/>
                      <a:gd name="T55" fmla="*/ 4100 h 4286"/>
                      <a:gd name="T56" fmla="*/ 3436 w 4293"/>
                      <a:gd name="T57" fmla="*/ 4214 h 4286"/>
                      <a:gd name="T58" fmla="*/ 3032 w 4293"/>
                      <a:gd name="T59" fmla="*/ 4274 h 4286"/>
                      <a:gd name="T60" fmla="*/ 2148 w 4293"/>
                      <a:gd name="T61" fmla="*/ 4286 h 4286"/>
                      <a:gd name="T62" fmla="*/ 1281 w 4293"/>
                      <a:gd name="T63" fmla="*/ 400 h 4286"/>
                      <a:gd name="T64" fmla="*/ 987 w 4293"/>
                      <a:gd name="T65" fmla="*/ 440 h 4286"/>
                      <a:gd name="T66" fmla="*/ 813 w 4293"/>
                      <a:gd name="T67" fmla="*/ 504 h 4286"/>
                      <a:gd name="T68" fmla="*/ 634 w 4293"/>
                      <a:gd name="T69" fmla="*/ 634 h 4286"/>
                      <a:gd name="T70" fmla="*/ 522 w 4293"/>
                      <a:gd name="T71" fmla="*/ 778 h 4286"/>
                      <a:gd name="T72" fmla="*/ 452 w 4293"/>
                      <a:gd name="T73" fmla="*/ 944 h 4286"/>
                      <a:gd name="T74" fmla="*/ 400 w 4293"/>
                      <a:gd name="T75" fmla="*/ 1277 h 4286"/>
                      <a:gd name="T76" fmla="*/ 388 w 4293"/>
                      <a:gd name="T77" fmla="*/ 2143 h 4286"/>
                      <a:gd name="T78" fmla="*/ 406 w 4293"/>
                      <a:gd name="T79" fmla="*/ 3083 h 4286"/>
                      <a:gd name="T80" fmla="*/ 464 w 4293"/>
                      <a:gd name="T81" fmla="*/ 3376 h 4286"/>
                      <a:gd name="T82" fmla="*/ 542 w 4293"/>
                      <a:gd name="T83" fmla="*/ 3538 h 4286"/>
                      <a:gd name="T84" fmla="*/ 662 w 4293"/>
                      <a:gd name="T85" fmla="*/ 3680 h 4286"/>
                      <a:gd name="T86" fmla="*/ 847 w 4293"/>
                      <a:gd name="T87" fmla="*/ 3798 h 4286"/>
                      <a:gd name="T88" fmla="*/ 1031 w 4293"/>
                      <a:gd name="T89" fmla="*/ 3858 h 4286"/>
                      <a:gd name="T90" fmla="*/ 1431 w 4293"/>
                      <a:gd name="T91" fmla="*/ 3892 h 4286"/>
                      <a:gd name="T92" fmla="*/ 2712 w 4293"/>
                      <a:gd name="T93" fmla="*/ 3896 h 4286"/>
                      <a:gd name="T94" fmla="*/ 3212 w 4293"/>
                      <a:gd name="T95" fmla="*/ 3866 h 4286"/>
                      <a:gd name="T96" fmla="*/ 3412 w 4293"/>
                      <a:gd name="T97" fmla="*/ 3812 h 4286"/>
                      <a:gd name="T98" fmla="*/ 3603 w 4293"/>
                      <a:gd name="T99" fmla="*/ 3704 h 4286"/>
                      <a:gd name="T100" fmla="*/ 3733 w 4293"/>
                      <a:gd name="T101" fmla="*/ 3568 h 4286"/>
                      <a:gd name="T102" fmla="*/ 3819 w 4293"/>
                      <a:gd name="T103" fmla="*/ 3406 h 4286"/>
                      <a:gd name="T104" fmla="*/ 3881 w 4293"/>
                      <a:gd name="T105" fmla="*/ 3149 h 4286"/>
                      <a:gd name="T106" fmla="*/ 3905 w 4293"/>
                      <a:gd name="T107" fmla="*/ 2487 h 4286"/>
                      <a:gd name="T108" fmla="*/ 3893 w 4293"/>
                      <a:gd name="T109" fmla="*/ 1277 h 4286"/>
                      <a:gd name="T110" fmla="*/ 3853 w 4293"/>
                      <a:gd name="T111" fmla="*/ 984 h 4286"/>
                      <a:gd name="T112" fmla="*/ 3789 w 4293"/>
                      <a:gd name="T113" fmla="*/ 810 h 4286"/>
                      <a:gd name="T114" fmla="*/ 3659 w 4293"/>
                      <a:gd name="T115" fmla="*/ 634 h 4286"/>
                      <a:gd name="T116" fmla="*/ 3514 w 4293"/>
                      <a:gd name="T117" fmla="*/ 520 h 4286"/>
                      <a:gd name="T118" fmla="*/ 3348 w 4293"/>
                      <a:gd name="T119" fmla="*/ 450 h 4286"/>
                      <a:gd name="T120" fmla="*/ 3014 w 4293"/>
                      <a:gd name="T121" fmla="*/ 400 h 4286"/>
                      <a:gd name="T122" fmla="*/ 2148 w 4293"/>
                      <a:gd name="T123" fmla="*/ 386 h 4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4293" h="4286">
                        <a:moveTo>
                          <a:pt x="2148" y="4286"/>
                        </a:moveTo>
                        <a:lnTo>
                          <a:pt x="2148" y="4286"/>
                        </a:lnTo>
                        <a:lnTo>
                          <a:pt x="1797" y="4286"/>
                        </a:lnTo>
                        <a:lnTo>
                          <a:pt x="1573" y="4284"/>
                        </a:lnTo>
                        <a:lnTo>
                          <a:pt x="1415" y="4280"/>
                        </a:lnTo>
                        <a:lnTo>
                          <a:pt x="1263" y="4274"/>
                        </a:lnTo>
                        <a:lnTo>
                          <a:pt x="1263" y="4274"/>
                        </a:lnTo>
                        <a:lnTo>
                          <a:pt x="1187" y="4270"/>
                        </a:lnTo>
                        <a:lnTo>
                          <a:pt x="1115" y="4262"/>
                        </a:lnTo>
                        <a:lnTo>
                          <a:pt x="1047" y="4254"/>
                        </a:lnTo>
                        <a:lnTo>
                          <a:pt x="981" y="4242"/>
                        </a:lnTo>
                        <a:lnTo>
                          <a:pt x="919" y="4230"/>
                        </a:lnTo>
                        <a:lnTo>
                          <a:pt x="859" y="4214"/>
                        </a:lnTo>
                        <a:lnTo>
                          <a:pt x="799" y="4196"/>
                        </a:lnTo>
                        <a:lnTo>
                          <a:pt x="741" y="4174"/>
                        </a:lnTo>
                        <a:lnTo>
                          <a:pt x="741" y="4174"/>
                        </a:lnTo>
                        <a:lnTo>
                          <a:pt x="686" y="4152"/>
                        </a:lnTo>
                        <a:lnTo>
                          <a:pt x="634" y="4126"/>
                        </a:lnTo>
                        <a:lnTo>
                          <a:pt x="584" y="4100"/>
                        </a:lnTo>
                        <a:lnTo>
                          <a:pt x="536" y="4070"/>
                        </a:lnTo>
                        <a:lnTo>
                          <a:pt x="492" y="4040"/>
                        </a:lnTo>
                        <a:lnTo>
                          <a:pt x="446" y="4004"/>
                        </a:lnTo>
                        <a:lnTo>
                          <a:pt x="404" y="3968"/>
                        </a:lnTo>
                        <a:lnTo>
                          <a:pt x="360" y="3926"/>
                        </a:lnTo>
                        <a:lnTo>
                          <a:pt x="360" y="3926"/>
                        </a:lnTo>
                        <a:lnTo>
                          <a:pt x="320" y="3884"/>
                        </a:lnTo>
                        <a:lnTo>
                          <a:pt x="282" y="3840"/>
                        </a:lnTo>
                        <a:lnTo>
                          <a:pt x="248" y="3796"/>
                        </a:lnTo>
                        <a:lnTo>
                          <a:pt x="216" y="3750"/>
                        </a:lnTo>
                        <a:lnTo>
                          <a:pt x="188" y="3702"/>
                        </a:lnTo>
                        <a:lnTo>
                          <a:pt x="160" y="3654"/>
                        </a:lnTo>
                        <a:lnTo>
                          <a:pt x="136" y="3602"/>
                        </a:lnTo>
                        <a:lnTo>
                          <a:pt x="114" y="3546"/>
                        </a:lnTo>
                        <a:lnTo>
                          <a:pt x="114" y="3546"/>
                        </a:lnTo>
                        <a:lnTo>
                          <a:pt x="92" y="3488"/>
                        </a:lnTo>
                        <a:lnTo>
                          <a:pt x="74" y="3430"/>
                        </a:lnTo>
                        <a:lnTo>
                          <a:pt x="58" y="3370"/>
                        </a:lnTo>
                        <a:lnTo>
                          <a:pt x="44" y="3306"/>
                        </a:lnTo>
                        <a:lnTo>
                          <a:pt x="34" y="3242"/>
                        </a:lnTo>
                        <a:lnTo>
                          <a:pt x="24" y="3175"/>
                        </a:lnTo>
                        <a:lnTo>
                          <a:pt x="18" y="3103"/>
                        </a:lnTo>
                        <a:lnTo>
                          <a:pt x="14" y="3027"/>
                        </a:lnTo>
                        <a:lnTo>
                          <a:pt x="14" y="3027"/>
                        </a:lnTo>
                        <a:lnTo>
                          <a:pt x="8" y="2873"/>
                        </a:lnTo>
                        <a:lnTo>
                          <a:pt x="4" y="2717"/>
                        </a:lnTo>
                        <a:lnTo>
                          <a:pt x="2" y="2493"/>
                        </a:lnTo>
                        <a:lnTo>
                          <a:pt x="0" y="2143"/>
                        </a:lnTo>
                        <a:lnTo>
                          <a:pt x="0" y="2143"/>
                        </a:lnTo>
                        <a:lnTo>
                          <a:pt x="2" y="1793"/>
                        </a:lnTo>
                        <a:lnTo>
                          <a:pt x="4" y="1569"/>
                        </a:lnTo>
                        <a:lnTo>
                          <a:pt x="8" y="1411"/>
                        </a:lnTo>
                        <a:lnTo>
                          <a:pt x="14" y="1259"/>
                        </a:lnTo>
                        <a:lnTo>
                          <a:pt x="14" y="1259"/>
                        </a:lnTo>
                        <a:lnTo>
                          <a:pt x="18" y="1183"/>
                        </a:lnTo>
                        <a:lnTo>
                          <a:pt x="24" y="1111"/>
                        </a:lnTo>
                        <a:lnTo>
                          <a:pt x="34" y="1044"/>
                        </a:lnTo>
                        <a:lnTo>
                          <a:pt x="44" y="980"/>
                        </a:lnTo>
                        <a:lnTo>
                          <a:pt x="58" y="916"/>
                        </a:lnTo>
                        <a:lnTo>
                          <a:pt x="74" y="856"/>
                        </a:lnTo>
                        <a:lnTo>
                          <a:pt x="92" y="796"/>
                        </a:lnTo>
                        <a:lnTo>
                          <a:pt x="114" y="740"/>
                        </a:lnTo>
                        <a:lnTo>
                          <a:pt x="114" y="740"/>
                        </a:lnTo>
                        <a:lnTo>
                          <a:pt x="136" y="684"/>
                        </a:lnTo>
                        <a:lnTo>
                          <a:pt x="160" y="632"/>
                        </a:lnTo>
                        <a:lnTo>
                          <a:pt x="188" y="582"/>
                        </a:lnTo>
                        <a:lnTo>
                          <a:pt x="216" y="536"/>
                        </a:lnTo>
                        <a:lnTo>
                          <a:pt x="248" y="490"/>
                        </a:lnTo>
                        <a:lnTo>
                          <a:pt x="282" y="444"/>
                        </a:lnTo>
                        <a:lnTo>
                          <a:pt x="320" y="402"/>
                        </a:lnTo>
                        <a:lnTo>
                          <a:pt x="360" y="360"/>
                        </a:lnTo>
                        <a:lnTo>
                          <a:pt x="360" y="360"/>
                        </a:lnTo>
                        <a:lnTo>
                          <a:pt x="404" y="318"/>
                        </a:lnTo>
                        <a:lnTo>
                          <a:pt x="446" y="280"/>
                        </a:lnTo>
                        <a:lnTo>
                          <a:pt x="492" y="246"/>
                        </a:lnTo>
                        <a:lnTo>
                          <a:pt x="536" y="214"/>
                        </a:lnTo>
                        <a:lnTo>
                          <a:pt x="584" y="186"/>
                        </a:lnTo>
                        <a:lnTo>
                          <a:pt x="634" y="158"/>
                        </a:lnTo>
                        <a:lnTo>
                          <a:pt x="686" y="134"/>
                        </a:lnTo>
                        <a:lnTo>
                          <a:pt x="741" y="112"/>
                        </a:lnTo>
                        <a:lnTo>
                          <a:pt x="741" y="112"/>
                        </a:lnTo>
                        <a:lnTo>
                          <a:pt x="799" y="90"/>
                        </a:lnTo>
                        <a:lnTo>
                          <a:pt x="859" y="72"/>
                        </a:lnTo>
                        <a:lnTo>
                          <a:pt x="919" y="56"/>
                        </a:lnTo>
                        <a:lnTo>
                          <a:pt x="981" y="44"/>
                        </a:lnTo>
                        <a:lnTo>
                          <a:pt x="1047" y="32"/>
                        </a:lnTo>
                        <a:lnTo>
                          <a:pt x="1115" y="24"/>
                        </a:lnTo>
                        <a:lnTo>
                          <a:pt x="1187" y="16"/>
                        </a:lnTo>
                        <a:lnTo>
                          <a:pt x="1263" y="12"/>
                        </a:lnTo>
                        <a:lnTo>
                          <a:pt x="1263" y="12"/>
                        </a:lnTo>
                        <a:lnTo>
                          <a:pt x="1415" y="6"/>
                        </a:lnTo>
                        <a:lnTo>
                          <a:pt x="1573" y="2"/>
                        </a:lnTo>
                        <a:lnTo>
                          <a:pt x="1795" y="0"/>
                        </a:lnTo>
                        <a:lnTo>
                          <a:pt x="2148" y="0"/>
                        </a:lnTo>
                        <a:lnTo>
                          <a:pt x="2148" y="0"/>
                        </a:lnTo>
                        <a:lnTo>
                          <a:pt x="2498" y="0"/>
                        </a:lnTo>
                        <a:lnTo>
                          <a:pt x="2722" y="2"/>
                        </a:lnTo>
                        <a:lnTo>
                          <a:pt x="2878" y="6"/>
                        </a:lnTo>
                        <a:lnTo>
                          <a:pt x="3032" y="12"/>
                        </a:lnTo>
                        <a:lnTo>
                          <a:pt x="3032" y="12"/>
                        </a:lnTo>
                        <a:lnTo>
                          <a:pt x="3108" y="16"/>
                        </a:lnTo>
                        <a:lnTo>
                          <a:pt x="3178" y="24"/>
                        </a:lnTo>
                        <a:lnTo>
                          <a:pt x="3248" y="32"/>
                        </a:lnTo>
                        <a:lnTo>
                          <a:pt x="3312" y="44"/>
                        </a:lnTo>
                        <a:lnTo>
                          <a:pt x="3374" y="56"/>
                        </a:lnTo>
                        <a:lnTo>
                          <a:pt x="3436" y="72"/>
                        </a:lnTo>
                        <a:lnTo>
                          <a:pt x="3494" y="90"/>
                        </a:lnTo>
                        <a:lnTo>
                          <a:pt x="3552" y="112"/>
                        </a:lnTo>
                        <a:lnTo>
                          <a:pt x="3552" y="112"/>
                        </a:lnTo>
                        <a:lnTo>
                          <a:pt x="3609" y="134"/>
                        </a:lnTo>
                        <a:lnTo>
                          <a:pt x="3661" y="158"/>
                        </a:lnTo>
                        <a:lnTo>
                          <a:pt x="3709" y="186"/>
                        </a:lnTo>
                        <a:lnTo>
                          <a:pt x="3757" y="214"/>
                        </a:lnTo>
                        <a:lnTo>
                          <a:pt x="3803" y="246"/>
                        </a:lnTo>
                        <a:lnTo>
                          <a:pt x="3847" y="280"/>
                        </a:lnTo>
                        <a:lnTo>
                          <a:pt x="3891" y="318"/>
                        </a:lnTo>
                        <a:lnTo>
                          <a:pt x="3933" y="360"/>
                        </a:lnTo>
                        <a:lnTo>
                          <a:pt x="3933" y="360"/>
                        </a:lnTo>
                        <a:lnTo>
                          <a:pt x="3973" y="402"/>
                        </a:lnTo>
                        <a:lnTo>
                          <a:pt x="4011" y="444"/>
                        </a:lnTo>
                        <a:lnTo>
                          <a:pt x="4045" y="490"/>
                        </a:lnTo>
                        <a:lnTo>
                          <a:pt x="4077" y="536"/>
                        </a:lnTo>
                        <a:lnTo>
                          <a:pt x="4107" y="582"/>
                        </a:lnTo>
                        <a:lnTo>
                          <a:pt x="4133" y="632"/>
                        </a:lnTo>
                        <a:lnTo>
                          <a:pt x="4159" y="684"/>
                        </a:lnTo>
                        <a:lnTo>
                          <a:pt x="4181" y="740"/>
                        </a:lnTo>
                        <a:lnTo>
                          <a:pt x="4181" y="740"/>
                        </a:lnTo>
                        <a:lnTo>
                          <a:pt x="4201" y="796"/>
                        </a:lnTo>
                        <a:lnTo>
                          <a:pt x="4221" y="856"/>
                        </a:lnTo>
                        <a:lnTo>
                          <a:pt x="4237" y="916"/>
                        </a:lnTo>
                        <a:lnTo>
                          <a:pt x="4249" y="980"/>
                        </a:lnTo>
                        <a:lnTo>
                          <a:pt x="4261" y="1044"/>
                        </a:lnTo>
                        <a:lnTo>
                          <a:pt x="4269" y="1111"/>
                        </a:lnTo>
                        <a:lnTo>
                          <a:pt x="4275" y="1183"/>
                        </a:lnTo>
                        <a:lnTo>
                          <a:pt x="4281" y="1259"/>
                        </a:lnTo>
                        <a:lnTo>
                          <a:pt x="4281" y="1259"/>
                        </a:lnTo>
                        <a:lnTo>
                          <a:pt x="4287" y="1411"/>
                        </a:lnTo>
                        <a:lnTo>
                          <a:pt x="4291" y="1569"/>
                        </a:lnTo>
                        <a:lnTo>
                          <a:pt x="4293" y="1793"/>
                        </a:lnTo>
                        <a:lnTo>
                          <a:pt x="4293" y="2143"/>
                        </a:lnTo>
                        <a:lnTo>
                          <a:pt x="4293" y="2143"/>
                        </a:lnTo>
                        <a:lnTo>
                          <a:pt x="4293" y="2493"/>
                        </a:lnTo>
                        <a:lnTo>
                          <a:pt x="4291" y="2717"/>
                        </a:lnTo>
                        <a:lnTo>
                          <a:pt x="4287" y="2873"/>
                        </a:lnTo>
                        <a:lnTo>
                          <a:pt x="4281" y="3027"/>
                        </a:lnTo>
                        <a:lnTo>
                          <a:pt x="4281" y="3027"/>
                        </a:lnTo>
                        <a:lnTo>
                          <a:pt x="4275" y="3103"/>
                        </a:lnTo>
                        <a:lnTo>
                          <a:pt x="4269" y="3175"/>
                        </a:lnTo>
                        <a:lnTo>
                          <a:pt x="4261" y="3242"/>
                        </a:lnTo>
                        <a:lnTo>
                          <a:pt x="4249" y="3306"/>
                        </a:lnTo>
                        <a:lnTo>
                          <a:pt x="4237" y="3370"/>
                        </a:lnTo>
                        <a:lnTo>
                          <a:pt x="4221" y="3430"/>
                        </a:lnTo>
                        <a:lnTo>
                          <a:pt x="4201" y="3488"/>
                        </a:lnTo>
                        <a:lnTo>
                          <a:pt x="4181" y="3546"/>
                        </a:lnTo>
                        <a:lnTo>
                          <a:pt x="4181" y="3546"/>
                        </a:lnTo>
                        <a:lnTo>
                          <a:pt x="4159" y="3602"/>
                        </a:lnTo>
                        <a:lnTo>
                          <a:pt x="4133" y="3654"/>
                        </a:lnTo>
                        <a:lnTo>
                          <a:pt x="4107" y="3702"/>
                        </a:lnTo>
                        <a:lnTo>
                          <a:pt x="4077" y="3750"/>
                        </a:lnTo>
                        <a:lnTo>
                          <a:pt x="4045" y="3796"/>
                        </a:lnTo>
                        <a:lnTo>
                          <a:pt x="4011" y="3840"/>
                        </a:lnTo>
                        <a:lnTo>
                          <a:pt x="3975" y="3884"/>
                        </a:lnTo>
                        <a:lnTo>
                          <a:pt x="3933" y="3926"/>
                        </a:lnTo>
                        <a:lnTo>
                          <a:pt x="3933" y="3926"/>
                        </a:lnTo>
                        <a:lnTo>
                          <a:pt x="3891" y="3968"/>
                        </a:lnTo>
                        <a:lnTo>
                          <a:pt x="3847" y="4004"/>
                        </a:lnTo>
                        <a:lnTo>
                          <a:pt x="3803" y="4040"/>
                        </a:lnTo>
                        <a:lnTo>
                          <a:pt x="3757" y="4070"/>
                        </a:lnTo>
                        <a:lnTo>
                          <a:pt x="3709" y="4100"/>
                        </a:lnTo>
                        <a:lnTo>
                          <a:pt x="3661" y="4126"/>
                        </a:lnTo>
                        <a:lnTo>
                          <a:pt x="3609" y="4152"/>
                        </a:lnTo>
                        <a:lnTo>
                          <a:pt x="3552" y="4174"/>
                        </a:lnTo>
                        <a:lnTo>
                          <a:pt x="3552" y="4174"/>
                        </a:lnTo>
                        <a:lnTo>
                          <a:pt x="3494" y="4196"/>
                        </a:lnTo>
                        <a:lnTo>
                          <a:pt x="3436" y="4214"/>
                        </a:lnTo>
                        <a:lnTo>
                          <a:pt x="3374" y="4230"/>
                        </a:lnTo>
                        <a:lnTo>
                          <a:pt x="3312" y="4242"/>
                        </a:lnTo>
                        <a:lnTo>
                          <a:pt x="3248" y="4254"/>
                        </a:lnTo>
                        <a:lnTo>
                          <a:pt x="3178" y="4262"/>
                        </a:lnTo>
                        <a:lnTo>
                          <a:pt x="3108" y="4270"/>
                        </a:lnTo>
                        <a:lnTo>
                          <a:pt x="3032" y="4274"/>
                        </a:lnTo>
                        <a:lnTo>
                          <a:pt x="3032" y="4274"/>
                        </a:lnTo>
                        <a:lnTo>
                          <a:pt x="2878" y="4280"/>
                        </a:lnTo>
                        <a:lnTo>
                          <a:pt x="2722" y="4284"/>
                        </a:lnTo>
                        <a:lnTo>
                          <a:pt x="2498" y="4286"/>
                        </a:lnTo>
                        <a:lnTo>
                          <a:pt x="2148" y="4286"/>
                        </a:lnTo>
                        <a:lnTo>
                          <a:pt x="2148" y="4286"/>
                        </a:lnTo>
                        <a:close/>
                        <a:moveTo>
                          <a:pt x="2148" y="386"/>
                        </a:moveTo>
                        <a:lnTo>
                          <a:pt x="2148" y="386"/>
                        </a:lnTo>
                        <a:lnTo>
                          <a:pt x="1801" y="388"/>
                        </a:lnTo>
                        <a:lnTo>
                          <a:pt x="1583" y="388"/>
                        </a:lnTo>
                        <a:lnTo>
                          <a:pt x="1431" y="392"/>
                        </a:lnTo>
                        <a:lnTo>
                          <a:pt x="1281" y="400"/>
                        </a:lnTo>
                        <a:lnTo>
                          <a:pt x="1281" y="400"/>
                        </a:lnTo>
                        <a:lnTo>
                          <a:pt x="1207" y="404"/>
                        </a:lnTo>
                        <a:lnTo>
                          <a:pt x="1141" y="410"/>
                        </a:lnTo>
                        <a:lnTo>
                          <a:pt x="1083" y="418"/>
                        </a:lnTo>
                        <a:lnTo>
                          <a:pt x="1031" y="428"/>
                        </a:lnTo>
                        <a:lnTo>
                          <a:pt x="987" y="440"/>
                        </a:lnTo>
                        <a:lnTo>
                          <a:pt x="947" y="450"/>
                        </a:lnTo>
                        <a:lnTo>
                          <a:pt x="913" y="462"/>
                        </a:lnTo>
                        <a:lnTo>
                          <a:pt x="883" y="472"/>
                        </a:lnTo>
                        <a:lnTo>
                          <a:pt x="883" y="472"/>
                        </a:lnTo>
                        <a:lnTo>
                          <a:pt x="845" y="488"/>
                        </a:lnTo>
                        <a:lnTo>
                          <a:pt x="813" y="504"/>
                        </a:lnTo>
                        <a:lnTo>
                          <a:pt x="781" y="520"/>
                        </a:lnTo>
                        <a:lnTo>
                          <a:pt x="749" y="540"/>
                        </a:lnTo>
                        <a:lnTo>
                          <a:pt x="721" y="560"/>
                        </a:lnTo>
                        <a:lnTo>
                          <a:pt x="690" y="582"/>
                        </a:lnTo>
                        <a:lnTo>
                          <a:pt x="662" y="606"/>
                        </a:lnTo>
                        <a:lnTo>
                          <a:pt x="634" y="634"/>
                        </a:lnTo>
                        <a:lnTo>
                          <a:pt x="634" y="634"/>
                        </a:lnTo>
                        <a:lnTo>
                          <a:pt x="608" y="662"/>
                        </a:lnTo>
                        <a:lnTo>
                          <a:pt x="584" y="690"/>
                        </a:lnTo>
                        <a:lnTo>
                          <a:pt x="562" y="718"/>
                        </a:lnTo>
                        <a:lnTo>
                          <a:pt x="542" y="746"/>
                        </a:lnTo>
                        <a:lnTo>
                          <a:pt x="522" y="778"/>
                        </a:lnTo>
                        <a:lnTo>
                          <a:pt x="506" y="810"/>
                        </a:lnTo>
                        <a:lnTo>
                          <a:pt x="490" y="844"/>
                        </a:lnTo>
                        <a:lnTo>
                          <a:pt x="474" y="880"/>
                        </a:lnTo>
                        <a:lnTo>
                          <a:pt x="474" y="880"/>
                        </a:lnTo>
                        <a:lnTo>
                          <a:pt x="464" y="910"/>
                        </a:lnTo>
                        <a:lnTo>
                          <a:pt x="452" y="944"/>
                        </a:lnTo>
                        <a:lnTo>
                          <a:pt x="440" y="984"/>
                        </a:lnTo>
                        <a:lnTo>
                          <a:pt x="430" y="1028"/>
                        </a:lnTo>
                        <a:lnTo>
                          <a:pt x="420" y="1079"/>
                        </a:lnTo>
                        <a:lnTo>
                          <a:pt x="412" y="1137"/>
                        </a:lnTo>
                        <a:lnTo>
                          <a:pt x="406" y="1203"/>
                        </a:lnTo>
                        <a:lnTo>
                          <a:pt x="400" y="1277"/>
                        </a:lnTo>
                        <a:lnTo>
                          <a:pt x="400" y="1277"/>
                        </a:lnTo>
                        <a:lnTo>
                          <a:pt x="394" y="1427"/>
                        </a:lnTo>
                        <a:lnTo>
                          <a:pt x="390" y="1579"/>
                        </a:lnTo>
                        <a:lnTo>
                          <a:pt x="388" y="1797"/>
                        </a:lnTo>
                        <a:lnTo>
                          <a:pt x="388" y="2143"/>
                        </a:lnTo>
                        <a:lnTo>
                          <a:pt x="388" y="2143"/>
                        </a:lnTo>
                        <a:lnTo>
                          <a:pt x="388" y="2489"/>
                        </a:lnTo>
                        <a:lnTo>
                          <a:pt x="390" y="2707"/>
                        </a:lnTo>
                        <a:lnTo>
                          <a:pt x="394" y="2859"/>
                        </a:lnTo>
                        <a:lnTo>
                          <a:pt x="400" y="3009"/>
                        </a:lnTo>
                        <a:lnTo>
                          <a:pt x="400" y="3009"/>
                        </a:lnTo>
                        <a:lnTo>
                          <a:pt x="406" y="3083"/>
                        </a:lnTo>
                        <a:lnTo>
                          <a:pt x="412" y="3149"/>
                        </a:lnTo>
                        <a:lnTo>
                          <a:pt x="420" y="3207"/>
                        </a:lnTo>
                        <a:lnTo>
                          <a:pt x="430" y="3258"/>
                        </a:lnTo>
                        <a:lnTo>
                          <a:pt x="440" y="3302"/>
                        </a:lnTo>
                        <a:lnTo>
                          <a:pt x="452" y="3342"/>
                        </a:lnTo>
                        <a:lnTo>
                          <a:pt x="464" y="3376"/>
                        </a:lnTo>
                        <a:lnTo>
                          <a:pt x="474" y="3406"/>
                        </a:lnTo>
                        <a:lnTo>
                          <a:pt x="474" y="3406"/>
                        </a:lnTo>
                        <a:lnTo>
                          <a:pt x="490" y="3442"/>
                        </a:lnTo>
                        <a:lnTo>
                          <a:pt x="506" y="3476"/>
                        </a:lnTo>
                        <a:lnTo>
                          <a:pt x="522" y="3508"/>
                        </a:lnTo>
                        <a:lnTo>
                          <a:pt x="542" y="3538"/>
                        </a:lnTo>
                        <a:lnTo>
                          <a:pt x="562" y="3568"/>
                        </a:lnTo>
                        <a:lnTo>
                          <a:pt x="584" y="3596"/>
                        </a:lnTo>
                        <a:lnTo>
                          <a:pt x="608" y="3624"/>
                        </a:lnTo>
                        <a:lnTo>
                          <a:pt x="634" y="3652"/>
                        </a:lnTo>
                        <a:lnTo>
                          <a:pt x="634" y="3652"/>
                        </a:lnTo>
                        <a:lnTo>
                          <a:pt x="662" y="3680"/>
                        </a:lnTo>
                        <a:lnTo>
                          <a:pt x="690" y="3704"/>
                        </a:lnTo>
                        <a:lnTo>
                          <a:pt x="721" y="3726"/>
                        </a:lnTo>
                        <a:lnTo>
                          <a:pt x="749" y="3746"/>
                        </a:lnTo>
                        <a:lnTo>
                          <a:pt x="781" y="3764"/>
                        </a:lnTo>
                        <a:lnTo>
                          <a:pt x="813" y="3782"/>
                        </a:lnTo>
                        <a:lnTo>
                          <a:pt x="847" y="3798"/>
                        </a:lnTo>
                        <a:lnTo>
                          <a:pt x="883" y="3812"/>
                        </a:lnTo>
                        <a:lnTo>
                          <a:pt x="883" y="3812"/>
                        </a:lnTo>
                        <a:lnTo>
                          <a:pt x="913" y="3824"/>
                        </a:lnTo>
                        <a:lnTo>
                          <a:pt x="947" y="3836"/>
                        </a:lnTo>
                        <a:lnTo>
                          <a:pt x="987" y="3846"/>
                        </a:lnTo>
                        <a:lnTo>
                          <a:pt x="1031" y="3858"/>
                        </a:lnTo>
                        <a:lnTo>
                          <a:pt x="1083" y="3866"/>
                        </a:lnTo>
                        <a:lnTo>
                          <a:pt x="1141" y="3876"/>
                        </a:lnTo>
                        <a:lnTo>
                          <a:pt x="1207" y="3882"/>
                        </a:lnTo>
                        <a:lnTo>
                          <a:pt x="1281" y="3886"/>
                        </a:lnTo>
                        <a:lnTo>
                          <a:pt x="1281" y="3886"/>
                        </a:lnTo>
                        <a:lnTo>
                          <a:pt x="1431" y="3892"/>
                        </a:lnTo>
                        <a:lnTo>
                          <a:pt x="1583" y="3896"/>
                        </a:lnTo>
                        <a:lnTo>
                          <a:pt x="1801" y="3898"/>
                        </a:lnTo>
                        <a:lnTo>
                          <a:pt x="2148" y="3900"/>
                        </a:lnTo>
                        <a:lnTo>
                          <a:pt x="2148" y="3900"/>
                        </a:lnTo>
                        <a:lnTo>
                          <a:pt x="2492" y="3898"/>
                        </a:lnTo>
                        <a:lnTo>
                          <a:pt x="2712" y="3896"/>
                        </a:lnTo>
                        <a:lnTo>
                          <a:pt x="2864" y="3892"/>
                        </a:lnTo>
                        <a:lnTo>
                          <a:pt x="3014" y="3886"/>
                        </a:lnTo>
                        <a:lnTo>
                          <a:pt x="3014" y="3886"/>
                        </a:lnTo>
                        <a:lnTo>
                          <a:pt x="3088" y="3882"/>
                        </a:lnTo>
                        <a:lnTo>
                          <a:pt x="3154" y="3876"/>
                        </a:lnTo>
                        <a:lnTo>
                          <a:pt x="3212" y="3866"/>
                        </a:lnTo>
                        <a:lnTo>
                          <a:pt x="3264" y="3858"/>
                        </a:lnTo>
                        <a:lnTo>
                          <a:pt x="3308" y="3846"/>
                        </a:lnTo>
                        <a:lnTo>
                          <a:pt x="3348" y="3836"/>
                        </a:lnTo>
                        <a:lnTo>
                          <a:pt x="3382" y="3824"/>
                        </a:lnTo>
                        <a:lnTo>
                          <a:pt x="3412" y="3812"/>
                        </a:lnTo>
                        <a:lnTo>
                          <a:pt x="3412" y="3812"/>
                        </a:lnTo>
                        <a:lnTo>
                          <a:pt x="3448" y="3798"/>
                        </a:lnTo>
                        <a:lnTo>
                          <a:pt x="3482" y="3782"/>
                        </a:lnTo>
                        <a:lnTo>
                          <a:pt x="3514" y="3764"/>
                        </a:lnTo>
                        <a:lnTo>
                          <a:pt x="3544" y="3746"/>
                        </a:lnTo>
                        <a:lnTo>
                          <a:pt x="3574" y="3726"/>
                        </a:lnTo>
                        <a:lnTo>
                          <a:pt x="3603" y="3704"/>
                        </a:lnTo>
                        <a:lnTo>
                          <a:pt x="3631" y="3680"/>
                        </a:lnTo>
                        <a:lnTo>
                          <a:pt x="3659" y="3652"/>
                        </a:lnTo>
                        <a:lnTo>
                          <a:pt x="3659" y="3652"/>
                        </a:lnTo>
                        <a:lnTo>
                          <a:pt x="3687" y="3624"/>
                        </a:lnTo>
                        <a:lnTo>
                          <a:pt x="3711" y="3596"/>
                        </a:lnTo>
                        <a:lnTo>
                          <a:pt x="3733" y="3568"/>
                        </a:lnTo>
                        <a:lnTo>
                          <a:pt x="3753" y="3538"/>
                        </a:lnTo>
                        <a:lnTo>
                          <a:pt x="3771" y="3508"/>
                        </a:lnTo>
                        <a:lnTo>
                          <a:pt x="3789" y="3476"/>
                        </a:lnTo>
                        <a:lnTo>
                          <a:pt x="3805" y="3442"/>
                        </a:lnTo>
                        <a:lnTo>
                          <a:pt x="3819" y="3406"/>
                        </a:lnTo>
                        <a:lnTo>
                          <a:pt x="3819" y="3406"/>
                        </a:lnTo>
                        <a:lnTo>
                          <a:pt x="3831" y="3376"/>
                        </a:lnTo>
                        <a:lnTo>
                          <a:pt x="3843" y="3342"/>
                        </a:lnTo>
                        <a:lnTo>
                          <a:pt x="3853" y="3302"/>
                        </a:lnTo>
                        <a:lnTo>
                          <a:pt x="3863" y="3258"/>
                        </a:lnTo>
                        <a:lnTo>
                          <a:pt x="3873" y="3207"/>
                        </a:lnTo>
                        <a:lnTo>
                          <a:pt x="3881" y="3149"/>
                        </a:lnTo>
                        <a:lnTo>
                          <a:pt x="3889" y="3083"/>
                        </a:lnTo>
                        <a:lnTo>
                          <a:pt x="3893" y="3009"/>
                        </a:lnTo>
                        <a:lnTo>
                          <a:pt x="3893" y="3009"/>
                        </a:lnTo>
                        <a:lnTo>
                          <a:pt x="3899" y="2859"/>
                        </a:lnTo>
                        <a:lnTo>
                          <a:pt x="3903" y="2705"/>
                        </a:lnTo>
                        <a:lnTo>
                          <a:pt x="3905" y="2487"/>
                        </a:lnTo>
                        <a:lnTo>
                          <a:pt x="3905" y="2143"/>
                        </a:lnTo>
                        <a:lnTo>
                          <a:pt x="3905" y="2143"/>
                        </a:lnTo>
                        <a:lnTo>
                          <a:pt x="3905" y="1797"/>
                        </a:lnTo>
                        <a:lnTo>
                          <a:pt x="3903" y="1579"/>
                        </a:lnTo>
                        <a:lnTo>
                          <a:pt x="3899" y="1427"/>
                        </a:lnTo>
                        <a:lnTo>
                          <a:pt x="3893" y="1277"/>
                        </a:lnTo>
                        <a:lnTo>
                          <a:pt x="3893" y="1277"/>
                        </a:lnTo>
                        <a:lnTo>
                          <a:pt x="3889" y="1203"/>
                        </a:lnTo>
                        <a:lnTo>
                          <a:pt x="3881" y="1137"/>
                        </a:lnTo>
                        <a:lnTo>
                          <a:pt x="3873" y="1079"/>
                        </a:lnTo>
                        <a:lnTo>
                          <a:pt x="3863" y="1028"/>
                        </a:lnTo>
                        <a:lnTo>
                          <a:pt x="3853" y="984"/>
                        </a:lnTo>
                        <a:lnTo>
                          <a:pt x="3843" y="944"/>
                        </a:lnTo>
                        <a:lnTo>
                          <a:pt x="3831" y="910"/>
                        </a:lnTo>
                        <a:lnTo>
                          <a:pt x="3819" y="880"/>
                        </a:lnTo>
                        <a:lnTo>
                          <a:pt x="3819" y="880"/>
                        </a:lnTo>
                        <a:lnTo>
                          <a:pt x="3805" y="844"/>
                        </a:lnTo>
                        <a:lnTo>
                          <a:pt x="3789" y="810"/>
                        </a:lnTo>
                        <a:lnTo>
                          <a:pt x="3771" y="778"/>
                        </a:lnTo>
                        <a:lnTo>
                          <a:pt x="3753" y="746"/>
                        </a:lnTo>
                        <a:lnTo>
                          <a:pt x="3733" y="718"/>
                        </a:lnTo>
                        <a:lnTo>
                          <a:pt x="3711" y="690"/>
                        </a:lnTo>
                        <a:lnTo>
                          <a:pt x="3687" y="662"/>
                        </a:lnTo>
                        <a:lnTo>
                          <a:pt x="3659" y="634"/>
                        </a:lnTo>
                        <a:lnTo>
                          <a:pt x="3659" y="634"/>
                        </a:lnTo>
                        <a:lnTo>
                          <a:pt x="3631" y="606"/>
                        </a:lnTo>
                        <a:lnTo>
                          <a:pt x="3603" y="582"/>
                        </a:lnTo>
                        <a:lnTo>
                          <a:pt x="3574" y="560"/>
                        </a:lnTo>
                        <a:lnTo>
                          <a:pt x="3544" y="540"/>
                        </a:lnTo>
                        <a:lnTo>
                          <a:pt x="3514" y="520"/>
                        </a:lnTo>
                        <a:lnTo>
                          <a:pt x="3482" y="504"/>
                        </a:lnTo>
                        <a:lnTo>
                          <a:pt x="3448" y="488"/>
                        </a:lnTo>
                        <a:lnTo>
                          <a:pt x="3412" y="472"/>
                        </a:lnTo>
                        <a:lnTo>
                          <a:pt x="3412" y="472"/>
                        </a:lnTo>
                        <a:lnTo>
                          <a:pt x="3382" y="462"/>
                        </a:lnTo>
                        <a:lnTo>
                          <a:pt x="3348" y="450"/>
                        </a:lnTo>
                        <a:lnTo>
                          <a:pt x="3308" y="440"/>
                        </a:lnTo>
                        <a:lnTo>
                          <a:pt x="3264" y="428"/>
                        </a:lnTo>
                        <a:lnTo>
                          <a:pt x="3212" y="418"/>
                        </a:lnTo>
                        <a:lnTo>
                          <a:pt x="3154" y="410"/>
                        </a:lnTo>
                        <a:lnTo>
                          <a:pt x="3088" y="404"/>
                        </a:lnTo>
                        <a:lnTo>
                          <a:pt x="3014" y="400"/>
                        </a:lnTo>
                        <a:lnTo>
                          <a:pt x="3014" y="400"/>
                        </a:lnTo>
                        <a:lnTo>
                          <a:pt x="2864" y="392"/>
                        </a:lnTo>
                        <a:lnTo>
                          <a:pt x="2712" y="388"/>
                        </a:lnTo>
                        <a:lnTo>
                          <a:pt x="2492" y="388"/>
                        </a:lnTo>
                        <a:lnTo>
                          <a:pt x="2148" y="386"/>
                        </a:lnTo>
                        <a:lnTo>
                          <a:pt x="2148" y="38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  <p:sp>
                <p:nvSpPr>
                  <p:cNvPr id="16" name="Freeform 10">
                    <a:extLst>
                      <a:ext uri="{FF2B5EF4-FFF2-40B4-BE49-F238E27FC236}">
                        <a16:creationId xmlns:a16="http://schemas.microsoft.com/office/drawing/2014/main" id="{798BBF06-4362-4A05-9F20-A2F024231D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22044" y="989172"/>
                    <a:ext cx="87052" cy="86546"/>
                  </a:xfrm>
                  <a:custGeom>
                    <a:avLst/>
                    <a:gdLst>
                      <a:gd name="T0" fmla="*/ 516 w 516"/>
                      <a:gd name="T1" fmla="*/ 258 h 513"/>
                      <a:gd name="T2" fmla="*/ 510 w 516"/>
                      <a:gd name="T3" fmla="*/ 310 h 513"/>
                      <a:gd name="T4" fmla="*/ 496 w 516"/>
                      <a:gd name="T5" fmla="*/ 357 h 513"/>
                      <a:gd name="T6" fmla="*/ 472 w 516"/>
                      <a:gd name="T7" fmla="*/ 401 h 513"/>
                      <a:gd name="T8" fmla="*/ 440 w 516"/>
                      <a:gd name="T9" fmla="*/ 439 h 513"/>
                      <a:gd name="T10" fmla="*/ 402 w 516"/>
                      <a:gd name="T11" fmla="*/ 469 h 513"/>
                      <a:gd name="T12" fmla="*/ 358 w 516"/>
                      <a:gd name="T13" fmla="*/ 493 h 513"/>
                      <a:gd name="T14" fmla="*/ 310 w 516"/>
                      <a:gd name="T15" fmla="*/ 509 h 513"/>
                      <a:gd name="T16" fmla="*/ 258 w 516"/>
                      <a:gd name="T17" fmla="*/ 513 h 513"/>
                      <a:gd name="T18" fmla="*/ 232 w 516"/>
                      <a:gd name="T19" fmla="*/ 513 h 513"/>
                      <a:gd name="T20" fmla="*/ 182 w 516"/>
                      <a:gd name="T21" fmla="*/ 501 h 513"/>
                      <a:gd name="T22" fmla="*/ 136 w 516"/>
                      <a:gd name="T23" fmla="*/ 483 h 513"/>
                      <a:gd name="T24" fmla="*/ 94 w 516"/>
                      <a:gd name="T25" fmla="*/ 455 h 513"/>
                      <a:gd name="T26" fmla="*/ 60 w 516"/>
                      <a:gd name="T27" fmla="*/ 419 h 513"/>
                      <a:gd name="T28" fmla="*/ 32 w 516"/>
                      <a:gd name="T29" fmla="*/ 379 h 513"/>
                      <a:gd name="T30" fmla="*/ 12 w 516"/>
                      <a:gd name="T31" fmla="*/ 333 h 513"/>
                      <a:gd name="T32" fmla="*/ 2 w 516"/>
                      <a:gd name="T33" fmla="*/ 284 h 513"/>
                      <a:gd name="T34" fmla="*/ 0 w 516"/>
                      <a:gd name="T35" fmla="*/ 258 h 513"/>
                      <a:gd name="T36" fmla="*/ 6 w 516"/>
                      <a:gd name="T37" fmla="*/ 206 h 513"/>
                      <a:gd name="T38" fmla="*/ 22 w 516"/>
                      <a:gd name="T39" fmla="*/ 158 h 513"/>
                      <a:gd name="T40" fmla="*/ 44 w 516"/>
                      <a:gd name="T41" fmla="*/ 114 h 513"/>
                      <a:gd name="T42" fmla="*/ 76 w 516"/>
                      <a:gd name="T43" fmla="*/ 76 h 513"/>
                      <a:gd name="T44" fmla="*/ 114 w 516"/>
                      <a:gd name="T45" fmla="*/ 44 h 513"/>
                      <a:gd name="T46" fmla="*/ 158 w 516"/>
                      <a:gd name="T47" fmla="*/ 20 h 513"/>
                      <a:gd name="T48" fmla="*/ 206 w 516"/>
                      <a:gd name="T49" fmla="*/ 6 h 513"/>
                      <a:gd name="T50" fmla="*/ 258 w 516"/>
                      <a:gd name="T51" fmla="*/ 0 h 513"/>
                      <a:gd name="T52" fmla="*/ 284 w 516"/>
                      <a:gd name="T53" fmla="*/ 2 h 513"/>
                      <a:gd name="T54" fmla="*/ 334 w 516"/>
                      <a:gd name="T55" fmla="*/ 12 h 513"/>
                      <a:gd name="T56" fmla="*/ 380 w 516"/>
                      <a:gd name="T57" fmla="*/ 30 h 513"/>
                      <a:gd name="T58" fmla="*/ 422 w 516"/>
                      <a:gd name="T59" fmla="*/ 58 h 513"/>
                      <a:gd name="T60" fmla="*/ 456 w 516"/>
                      <a:gd name="T61" fmla="*/ 94 h 513"/>
                      <a:gd name="T62" fmla="*/ 484 w 516"/>
                      <a:gd name="T63" fmla="*/ 134 h 513"/>
                      <a:gd name="T64" fmla="*/ 504 w 516"/>
                      <a:gd name="T65" fmla="*/ 180 h 513"/>
                      <a:gd name="T66" fmla="*/ 514 w 516"/>
                      <a:gd name="T67" fmla="*/ 23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516" h="513">
                        <a:moveTo>
                          <a:pt x="516" y="258"/>
                        </a:moveTo>
                        <a:lnTo>
                          <a:pt x="516" y="258"/>
                        </a:lnTo>
                        <a:lnTo>
                          <a:pt x="514" y="284"/>
                        </a:lnTo>
                        <a:lnTo>
                          <a:pt x="510" y="310"/>
                        </a:lnTo>
                        <a:lnTo>
                          <a:pt x="504" y="333"/>
                        </a:lnTo>
                        <a:lnTo>
                          <a:pt x="496" y="357"/>
                        </a:lnTo>
                        <a:lnTo>
                          <a:pt x="484" y="379"/>
                        </a:lnTo>
                        <a:lnTo>
                          <a:pt x="472" y="401"/>
                        </a:lnTo>
                        <a:lnTo>
                          <a:pt x="456" y="419"/>
                        </a:lnTo>
                        <a:lnTo>
                          <a:pt x="440" y="439"/>
                        </a:lnTo>
                        <a:lnTo>
                          <a:pt x="422" y="455"/>
                        </a:lnTo>
                        <a:lnTo>
                          <a:pt x="402" y="469"/>
                        </a:lnTo>
                        <a:lnTo>
                          <a:pt x="380" y="483"/>
                        </a:lnTo>
                        <a:lnTo>
                          <a:pt x="358" y="493"/>
                        </a:lnTo>
                        <a:lnTo>
                          <a:pt x="334" y="501"/>
                        </a:lnTo>
                        <a:lnTo>
                          <a:pt x="310" y="509"/>
                        </a:lnTo>
                        <a:lnTo>
                          <a:pt x="284" y="513"/>
                        </a:lnTo>
                        <a:lnTo>
                          <a:pt x="258" y="513"/>
                        </a:lnTo>
                        <a:lnTo>
                          <a:pt x="258" y="513"/>
                        </a:lnTo>
                        <a:lnTo>
                          <a:pt x="232" y="513"/>
                        </a:lnTo>
                        <a:lnTo>
                          <a:pt x="206" y="509"/>
                        </a:lnTo>
                        <a:lnTo>
                          <a:pt x="182" y="501"/>
                        </a:lnTo>
                        <a:lnTo>
                          <a:pt x="158" y="493"/>
                        </a:lnTo>
                        <a:lnTo>
                          <a:pt x="136" y="483"/>
                        </a:lnTo>
                        <a:lnTo>
                          <a:pt x="114" y="469"/>
                        </a:lnTo>
                        <a:lnTo>
                          <a:pt x="94" y="455"/>
                        </a:lnTo>
                        <a:lnTo>
                          <a:pt x="76" y="439"/>
                        </a:lnTo>
                        <a:lnTo>
                          <a:pt x="60" y="419"/>
                        </a:lnTo>
                        <a:lnTo>
                          <a:pt x="44" y="401"/>
                        </a:lnTo>
                        <a:lnTo>
                          <a:pt x="32" y="379"/>
                        </a:lnTo>
                        <a:lnTo>
                          <a:pt x="22" y="357"/>
                        </a:lnTo>
                        <a:lnTo>
                          <a:pt x="12" y="333"/>
                        </a:lnTo>
                        <a:lnTo>
                          <a:pt x="6" y="310"/>
                        </a:lnTo>
                        <a:lnTo>
                          <a:pt x="2" y="284"/>
                        </a:lnTo>
                        <a:lnTo>
                          <a:pt x="0" y="258"/>
                        </a:lnTo>
                        <a:lnTo>
                          <a:pt x="0" y="258"/>
                        </a:lnTo>
                        <a:lnTo>
                          <a:pt x="2" y="230"/>
                        </a:lnTo>
                        <a:lnTo>
                          <a:pt x="6" y="206"/>
                        </a:lnTo>
                        <a:lnTo>
                          <a:pt x="12" y="180"/>
                        </a:lnTo>
                        <a:lnTo>
                          <a:pt x="22" y="158"/>
                        </a:lnTo>
                        <a:lnTo>
                          <a:pt x="32" y="134"/>
                        </a:lnTo>
                        <a:lnTo>
                          <a:pt x="44" y="114"/>
                        </a:lnTo>
                        <a:lnTo>
                          <a:pt x="60" y="94"/>
                        </a:lnTo>
                        <a:lnTo>
                          <a:pt x="76" y="76"/>
                        </a:lnTo>
                        <a:lnTo>
                          <a:pt x="94" y="58"/>
                        </a:lnTo>
                        <a:lnTo>
                          <a:pt x="114" y="44"/>
                        </a:lnTo>
                        <a:lnTo>
                          <a:pt x="136" y="30"/>
                        </a:lnTo>
                        <a:lnTo>
                          <a:pt x="158" y="20"/>
                        </a:lnTo>
                        <a:lnTo>
                          <a:pt x="182" y="12"/>
                        </a:lnTo>
                        <a:lnTo>
                          <a:pt x="206" y="6"/>
                        </a:lnTo>
                        <a:lnTo>
                          <a:pt x="232" y="2"/>
                        </a:lnTo>
                        <a:lnTo>
                          <a:pt x="258" y="0"/>
                        </a:lnTo>
                        <a:lnTo>
                          <a:pt x="258" y="0"/>
                        </a:lnTo>
                        <a:lnTo>
                          <a:pt x="284" y="2"/>
                        </a:lnTo>
                        <a:lnTo>
                          <a:pt x="310" y="6"/>
                        </a:lnTo>
                        <a:lnTo>
                          <a:pt x="334" y="12"/>
                        </a:lnTo>
                        <a:lnTo>
                          <a:pt x="358" y="20"/>
                        </a:lnTo>
                        <a:lnTo>
                          <a:pt x="380" y="30"/>
                        </a:lnTo>
                        <a:lnTo>
                          <a:pt x="402" y="44"/>
                        </a:lnTo>
                        <a:lnTo>
                          <a:pt x="422" y="58"/>
                        </a:lnTo>
                        <a:lnTo>
                          <a:pt x="440" y="76"/>
                        </a:lnTo>
                        <a:lnTo>
                          <a:pt x="456" y="94"/>
                        </a:lnTo>
                        <a:lnTo>
                          <a:pt x="472" y="114"/>
                        </a:lnTo>
                        <a:lnTo>
                          <a:pt x="484" y="134"/>
                        </a:lnTo>
                        <a:lnTo>
                          <a:pt x="496" y="158"/>
                        </a:lnTo>
                        <a:lnTo>
                          <a:pt x="504" y="180"/>
                        </a:lnTo>
                        <a:lnTo>
                          <a:pt x="510" y="206"/>
                        </a:lnTo>
                        <a:lnTo>
                          <a:pt x="514" y="230"/>
                        </a:lnTo>
                        <a:lnTo>
                          <a:pt x="516" y="258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6250"/>
                  </a:p>
                </p:txBody>
              </p:sp>
            </p:grpSp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53485E07-B3C4-495B-B33F-EEE889774898}"/>
                    </a:ext>
                  </a:extLst>
                </p:cNvPr>
                <p:cNvSpPr/>
                <p:nvPr/>
              </p:nvSpPr>
              <p:spPr>
                <a:xfrm>
                  <a:off x="1101879" y="5789104"/>
                  <a:ext cx="358205" cy="358205"/>
                </a:xfrm>
                <a:custGeom>
                  <a:avLst/>
                  <a:gdLst>
                    <a:gd name="connsiteX0" fmla="*/ 152792 w 305584"/>
                    <a:gd name="connsiteY0" fmla="*/ 59791 h 305584"/>
                    <a:gd name="connsiteX1" fmla="*/ 59791 w 305584"/>
                    <a:gd name="connsiteY1" fmla="*/ 152790 h 305584"/>
                    <a:gd name="connsiteX2" fmla="*/ 152792 w 305584"/>
                    <a:gd name="connsiteY2" fmla="*/ 245789 h 305584"/>
                    <a:gd name="connsiteX3" fmla="*/ 245793 w 305584"/>
                    <a:gd name="connsiteY3" fmla="*/ 152790 h 305584"/>
                    <a:gd name="connsiteX4" fmla="*/ 152792 w 305584"/>
                    <a:gd name="connsiteY4" fmla="*/ 59791 h 305584"/>
                    <a:gd name="connsiteX5" fmla="*/ 152792 w 305584"/>
                    <a:gd name="connsiteY5" fmla="*/ 0 h 305584"/>
                    <a:gd name="connsiteX6" fmla="*/ 305584 w 305584"/>
                    <a:gd name="connsiteY6" fmla="*/ 152792 h 305584"/>
                    <a:gd name="connsiteX7" fmla="*/ 152792 w 305584"/>
                    <a:gd name="connsiteY7" fmla="*/ 305584 h 305584"/>
                    <a:gd name="connsiteX8" fmla="*/ 0 w 305584"/>
                    <a:gd name="connsiteY8" fmla="*/ 152792 h 305584"/>
                    <a:gd name="connsiteX9" fmla="*/ 152792 w 305584"/>
                    <a:gd name="connsiteY9" fmla="*/ 0 h 30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5584" h="305584">
                      <a:moveTo>
                        <a:pt x="152792" y="59791"/>
                      </a:moveTo>
                      <a:cubicBezTo>
                        <a:pt x="101429" y="59791"/>
                        <a:pt x="59791" y="101428"/>
                        <a:pt x="59791" y="152790"/>
                      </a:cubicBezTo>
                      <a:cubicBezTo>
                        <a:pt x="59791" y="204152"/>
                        <a:pt x="101429" y="245789"/>
                        <a:pt x="152792" y="245789"/>
                      </a:cubicBezTo>
                      <a:cubicBezTo>
                        <a:pt x="204155" y="245789"/>
                        <a:pt x="245793" y="204152"/>
                        <a:pt x="245793" y="152790"/>
                      </a:cubicBezTo>
                      <a:cubicBezTo>
                        <a:pt x="245793" y="101428"/>
                        <a:pt x="204155" y="59791"/>
                        <a:pt x="152792" y="59791"/>
                      </a:cubicBezTo>
                      <a:close/>
                      <a:moveTo>
                        <a:pt x="152792" y="0"/>
                      </a:moveTo>
                      <a:cubicBezTo>
                        <a:pt x="237177" y="0"/>
                        <a:pt x="305584" y="68407"/>
                        <a:pt x="305584" y="152792"/>
                      </a:cubicBezTo>
                      <a:cubicBezTo>
                        <a:pt x="305584" y="237177"/>
                        <a:pt x="237177" y="305584"/>
                        <a:pt x="152792" y="305584"/>
                      </a:cubicBezTo>
                      <a:cubicBezTo>
                        <a:pt x="68407" y="305584"/>
                        <a:pt x="0" y="237177"/>
                        <a:pt x="0" y="152792"/>
                      </a:cubicBezTo>
                      <a:cubicBezTo>
                        <a:pt x="0" y="68407"/>
                        <a:pt x="68407" y="0"/>
                        <a:pt x="152792" y="0"/>
                      </a:cubicBezTo>
                      <a:close/>
                    </a:path>
                  </a:pathLst>
                </a:custGeom>
                <a:grp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id-ID" sz="625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E3885E7-C3C9-4351-828D-9C77C810E105}"/>
              </a:ext>
            </a:extLst>
          </p:cNvPr>
          <p:cNvGrpSpPr/>
          <p:nvPr userDrawn="1"/>
        </p:nvGrpSpPr>
        <p:grpSpPr>
          <a:xfrm>
            <a:off x="22843489" y="12339373"/>
            <a:ext cx="421472" cy="420820"/>
            <a:chOff x="12991645" y="6161514"/>
            <a:chExt cx="552389" cy="552389"/>
          </a:xfrm>
          <a:effectLst>
            <a:outerShdw blurRad="254000" dist="165100" dir="6600000" sx="70000" sy="7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B2A3F172-551A-4DF2-97CF-0ECDDEDED642}"/>
                </a:ext>
              </a:extLst>
            </p:cNvPr>
            <p:cNvSpPr/>
            <p:nvPr/>
          </p:nvSpPr>
          <p:spPr>
            <a:xfrm rot="5400000">
              <a:off x="12991645" y="6161514"/>
              <a:ext cx="552389" cy="552389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/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D395F9D4-448A-4328-ABF8-4E68A10A5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0801" y="6338988"/>
              <a:ext cx="114076" cy="197440"/>
            </a:xfrm>
            <a:custGeom>
              <a:avLst/>
              <a:gdLst>
                <a:gd name="T0" fmla="*/ 917464 w 228"/>
                <a:gd name="T1" fmla="*/ 6378503 h 396"/>
                <a:gd name="T2" fmla="*/ 917464 w 228"/>
                <a:gd name="T3" fmla="*/ 6378503 h 396"/>
                <a:gd name="T4" fmla="*/ 20449952 w 228"/>
                <a:gd name="T5" fmla="*/ 25644259 h 396"/>
                <a:gd name="T6" fmla="*/ 917464 w 228"/>
                <a:gd name="T7" fmla="*/ 45951270 h 396"/>
                <a:gd name="T8" fmla="*/ 917464 w 228"/>
                <a:gd name="T9" fmla="*/ 45951270 h 396"/>
                <a:gd name="T10" fmla="*/ 0 w 228"/>
                <a:gd name="T11" fmla="*/ 47773648 h 396"/>
                <a:gd name="T12" fmla="*/ 3801645 w 228"/>
                <a:gd name="T13" fmla="*/ 51418403 h 396"/>
                <a:gd name="T14" fmla="*/ 6554398 w 228"/>
                <a:gd name="T15" fmla="*/ 50507395 h 396"/>
                <a:gd name="T16" fmla="*/ 6554398 w 228"/>
                <a:gd name="T17" fmla="*/ 50507395 h 396"/>
                <a:gd name="T18" fmla="*/ 28839639 w 228"/>
                <a:gd name="T19" fmla="*/ 28507892 h 396"/>
                <a:gd name="T20" fmla="*/ 28839639 w 228"/>
                <a:gd name="T21" fmla="*/ 28507892 h 396"/>
                <a:gd name="T22" fmla="*/ 29757103 w 228"/>
                <a:gd name="T23" fmla="*/ 25644259 h 396"/>
                <a:gd name="T24" fmla="*/ 29757103 w 228"/>
                <a:gd name="T25" fmla="*/ 25644259 h 396"/>
                <a:gd name="T26" fmla="*/ 29757103 w 228"/>
                <a:gd name="T27" fmla="*/ 25644259 h 396"/>
                <a:gd name="T28" fmla="*/ 28839639 w 228"/>
                <a:gd name="T29" fmla="*/ 22910511 h 396"/>
                <a:gd name="T30" fmla="*/ 28839639 w 228"/>
                <a:gd name="T31" fmla="*/ 22910511 h 396"/>
                <a:gd name="T32" fmla="*/ 6554398 w 228"/>
                <a:gd name="T33" fmla="*/ 911369 h 396"/>
                <a:gd name="T34" fmla="*/ 6554398 w 228"/>
                <a:gd name="T35" fmla="*/ 911369 h 396"/>
                <a:gd name="T36" fmla="*/ 3801645 w 228"/>
                <a:gd name="T37" fmla="*/ 0 h 396"/>
                <a:gd name="T38" fmla="*/ 0 w 228"/>
                <a:gd name="T39" fmla="*/ 3644756 h 396"/>
                <a:gd name="T40" fmla="*/ 917464 w 228"/>
                <a:gd name="T41" fmla="*/ 6378503 h 3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28" h="396">
                  <a:moveTo>
                    <a:pt x="7" y="49"/>
                  </a:moveTo>
                  <a:lnTo>
                    <a:pt x="7" y="49"/>
                  </a:lnTo>
                  <a:cubicBezTo>
                    <a:pt x="156" y="197"/>
                    <a:pt x="156" y="197"/>
                    <a:pt x="156" y="197"/>
                  </a:cubicBezTo>
                  <a:cubicBezTo>
                    <a:pt x="7" y="353"/>
                    <a:pt x="7" y="353"/>
                    <a:pt x="7" y="353"/>
                  </a:cubicBezTo>
                  <a:cubicBezTo>
                    <a:pt x="0" y="353"/>
                    <a:pt x="0" y="360"/>
                    <a:pt x="0" y="367"/>
                  </a:cubicBezTo>
                  <a:cubicBezTo>
                    <a:pt x="0" y="388"/>
                    <a:pt x="15" y="395"/>
                    <a:pt x="29" y="395"/>
                  </a:cubicBezTo>
                  <a:cubicBezTo>
                    <a:pt x="36" y="395"/>
                    <a:pt x="43" y="395"/>
                    <a:pt x="50" y="388"/>
                  </a:cubicBezTo>
                  <a:cubicBezTo>
                    <a:pt x="220" y="219"/>
                    <a:pt x="220" y="219"/>
                    <a:pt x="220" y="219"/>
                  </a:cubicBezTo>
                  <a:cubicBezTo>
                    <a:pt x="227" y="212"/>
                    <a:pt x="227" y="205"/>
                    <a:pt x="227" y="197"/>
                  </a:cubicBezTo>
                  <a:cubicBezTo>
                    <a:pt x="227" y="190"/>
                    <a:pt x="227" y="183"/>
                    <a:pt x="220" y="17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3" y="7"/>
                    <a:pt x="36" y="0"/>
                    <a:pt x="29" y="0"/>
                  </a:cubicBezTo>
                  <a:cubicBezTo>
                    <a:pt x="15" y="0"/>
                    <a:pt x="0" y="14"/>
                    <a:pt x="0" y="28"/>
                  </a:cubicBezTo>
                  <a:cubicBezTo>
                    <a:pt x="0" y="42"/>
                    <a:pt x="7" y="49"/>
                    <a:pt x="7" y="4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625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1B48D88-AB64-407B-84BC-79FB17836506}"/>
              </a:ext>
            </a:extLst>
          </p:cNvPr>
          <p:cNvGrpSpPr/>
          <p:nvPr userDrawn="1"/>
        </p:nvGrpSpPr>
        <p:grpSpPr>
          <a:xfrm>
            <a:off x="1119039" y="12338174"/>
            <a:ext cx="4598797" cy="400110"/>
            <a:chOff x="893847" y="9898598"/>
            <a:chExt cx="3673349" cy="32008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805058A-36AE-4577-9446-F61345A9B564}"/>
                </a:ext>
              </a:extLst>
            </p:cNvPr>
            <p:cNvGrpSpPr/>
            <p:nvPr userDrawn="1"/>
          </p:nvGrpSpPr>
          <p:grpSpPr>
            <a:xfrm>
              <a:off x="893847" y="9898598"/>
              <a:ext cx="3673349" cy="320088"/>
              <a:chOff x="1021995" y="9934119"/>
              <a:chExt cx="3673349" cy="320088"/>
            </a:xfrm>
          </p:grpSpPr>
          <p:sp>
            <p:nvSpPr>
              <p:cNvPr id="29" name="Freeform 62">
                <a:extLst>
                  <a:ext uri="{FF2B5EF4-FFF2-40B4-BE49-F238E27FC236}">
                    <a16:creationId xmlns:a16="http://schemas.microsoft.com/office/drawing/2014/main" id="{BE6433BA-016C-42E4-A788-A78A9C51E4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995" y="10010675"/>
                <a:ext cx="219920" cy="216220"/>
              </a:xfrm>
              <a:custGeom>
                <a:avLst/>
                <a:gdLst>
                  <a:gd name="T0" fmla="*/ 92739 w 55"/>
                  <a:gd name="T1" fmla="*/ 185737 h 54"/>
                  <a:gd name="T2" fmla="*/ 0 w 55"/>
                  <a:gd name="T3" fmla="*/ 92869 h 54"/>
                  <a:gd name="T4" fmla="*/ 92739 w 55"/>
                  <a:gd name="T5" fmla="*/ 0 h 54"/>
                  <a:gd name="T6" fmla="*/ 188913 w 55"/>
                  <a:gd name="T7" fmla="*/ 92869 h 54"/>
                  <a:gd name="T8" fmla="*/ 92739 w 55"/>
                  <a:gd name="T9" fmla="*/ 185737 h 54"/>
                  <a:gd name="T10" fmla="*/ 13739 w 55"/>
                  <a:gd name="T11" fmla="*/ 92869 h 54"/>
                  <a:gd name="T12" fmla="*/ 92739 w 55"/>
                  <a:gd name="T13" fmla="*/ 171979 h 54"/>
                  <a:gd name="T14" fmla="*/ 171739 w 55"/>
                  <a:gd name="T15" fmla="*/ 92869 h 54"/>
                  <a:gd name="T16" fmla="*/ 92739 w 55"/>
                  <a:gd name="T17" fmla="*/ 13758 h 54"/>
                  <a:gd name="T18" fmla="*/ 13739 w 55"/>
                  <a:gd name="T19" fmla="*/ 92869 h 54"/>
                  <a:gd name="T20" fmla="*/ 140826 w 55"/>
                  <a:gd name="T21" fmla="*/ 127264 h 54"/>
                  <a:gd name="T22" fmla="*/ 96174 w 55"/>
                  <a:gd name="T23" fmla="*/ 151341 h 54"/>
                  <a:gd name="T24" fmla="*/ 37783 w 55"/>
                  <a:gd name="T25" fmla="*/ 92869 h 54"/>
                  <a:gd name="T26" fmla="*/ 96174 w 55"/>
                  <a:gd name="T27" fmla="*/ 34396 h 54"/>
                  <a:gd name="T28" fmla="*/ 137391 w 55"/>
                  <a:gd name="T29" fmla="*/ 58473 h 54"/>
                  <a:gd name="T30" fmla="*/ 137391 w 55"/>
                  <a:gd name="T31" fmla="*/ 72231 h 54"/>
                  <a:gd name="T32" fmla="*/ 137391 w 55"/>
                  <a:gd name="T33" fmla="*/ 72231 h 54"/>
                  <a:gd name="T34" fmla="*/ 123652 w 55"/>
                  <a:gd name="T35" fmla="*/ 72231 h 54"/>
                  <a:gd name="T36" fmla="*/ 120217 w 55"/>
                  <a:gd name="T37" fmla="*/ 72231 h 54"/>
                  <a:gd name="T38" fmla="*/ 120217 w 55"/>
                  <a:gd name="T39" fmla="*/ 61912 h 54"/>
                  <a:gd name="T40" fmla="*/ 96174 w 55"/>
                  <a:gd name="T41" fmla="*/ 51594 h 54"/>
                  <a:gd name="T42" fmla="*/ 54957 w 55"/>
                  <a:gd name="T43" fmla="*/ 92869 h 54"/>
                  <a:gd name="T44" fmla="*/ 96174 w 55"/>
                  <a:gd name="T45" fmla="*/ 134143 h 54"/>
                  <a:gd name="T46" fmla="*/ 120217 w 55"/>
                  <a:gd name="T47" fmla="*/ 123825 h 54"/>
                  <a:gd name="T48" fmla="*/ 120217 w 55"/>
                  <a:gd name="T49" fmla="*/ 113506 h 54"/>
                  <a:gd name="T50" fmla="*/ 123652 w 55"/>
                  <a:gd name="T51" fmla="*/ 113506 h 54"/>
                  <a:gd name="T52" fmla="*/ 137391 w 55"/>
                  <a:gd name="T53" fmla="*/ 113506 h 54"/>
                  <a:gd name="T54" fmla="*/ 140826 w 55"/>
                  <a:gd name="T55" fmla="*/ 113506 h 54"/>
                  <a:gd name="T56" fmla="*/ 140826 w 55"/>
                  <a:gd name="T57" fmla="*/ 12726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54">
                    <a:moveTo>
                      <a:pt x="27" y="54"/>
                    </a:moveTo>
                    <a:cubicBezTo>
                      <a:pt x="12" y="54"/>
                      <a:pt x="0" y="42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42" y="0"/>
                      <a:pt x="55" y="12"/>
                      <a:pt x="55" y="27"/>
                    </a:cubicBezTo>
                    <a:cubicBezTo>
                      <a:pt x="55" y="42"/>
                      <a:pt x="42" y="54"/>
                      <a:pt x="27" y="54"/>
                    </a:cubicBezTo>
                    <a:close/>
                    <a:moveTo>
                      <a:pt x="4" y="27"/>
                    </a:moveTo>
                    <a:cubicBezTo>
                      <a:pt x="4" y="40"/>
                      <a:pt x="15" y="50"/>
                      <a:pt x="27" y="50"/>
                    </a:cubicBezTo>
                    <a:cubicBezTo>
                      <a:pt x="40" y="50"/>
                      <a:pt x="50" y="40"/>
                      <a:pt x="50" y="27"/>
                    </a:cubicBezTo>
                    <a:cubicBezTo>
                      <a:pt x="50" y="14"/>
                      <a:pt x="40" y="4"/>
                      <a:pt x="27" y="4"/>
                    </a:cubicBezTo>
                    <a:cubicBezTo>
                      <a:pt x="15" y="4"/>
                      <a:pt x="4" y="14"/>
                      <a:pt x="4" y="27"/>
                    </a:cubicBezTo>
                    <a:close/>
                    <a:moveTo>
                      <a:pt x="41" y="37"/>
                    </a:moveTo>
                    <a:cubicBezTo>
                      <a:pt x="41" y="42"/>
                      <a:pt x="33" y="44"/>
                      <a:pt x="28" y="44"/>
                    </a:cubicBezTo>
                    <a:cubicBezTo>
                      <a:pt x="18" y="44"/>
                      <a:pt x="11" y="37"/>
                      <a:pt x="11" y="27"/>
                    </a:cubicBezTo>
                    <a:cubicBezTo>
                      <a:pt x="11" y="17"/>
                      <a:pt x="18" y="10"/>
                      <a:pt x="28" y="10"/>
                    </a:cubicBezTo>
                    <a:cubicBezTo>
                      <a:pt x="31" y="10"/>
                      <a:pt x="40" y="11"/>
                      <a:pt x="40" y="1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1" y="15"/>
                      <a:pt x="16" y="20"/>
                      <a:pt x="16" y="27"/>
                    </a:cubicBezTo>
                    <a:cubicBezTo>
                      <a:pt x="16" y="34"/>
                      <a:pt x="21" y="39"/>
                      <a:pt x="28" y="39"/>
                    </a:cubicBezTo>
                    <a:cubicBezTo>
                      <a:pt x="31" y="39"/>
                      <a:pt x="35" y="38"/>
                      <a:pt x="35" y="36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6" y="33"/>
                      <a:pt x="36" y="33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1" y="33"/>
                      <a:pt x="41" y="33"/>
                      <a:pt x="41" y="33"/>
                    </a:cubicBezTo>
                    <a:lnTo>
                      <a:pt x="41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/>
                <a:endParaRPr lang="en-US" sz="1750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3B0272E-734D-4833-A4E2-7EF477A5DAD9}"/>
                  </a:ext>
                </a:extLst>
              </p:cNvPr>
              <p:cNvSpPr txBox="1"/>
              <p:nvPr/>
            </p:nvSpPr>
            <p:spPr>
              <a:xfrm>
                <a:off x="1301976" y="9934119"/>
                <a:ext cx="3393368" cy="3200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2000" b="1" spc="375" dirty="0">
                    <a:solidFill>
                      <a:schemeClr val="bg1">
                        <a:lumMod val="7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ART.TRIP  </a:t>
                </a:r>
                <a:r>
                  <a:rPr lang="en-US" sz="2000" spc="375" dirty="0">
                    <a:solidFill>
                      <a:schemeClr val="bg1">
                        <a:lumMod val="85000"/>
                      </a:schemeClr>
                    </a:solidFill>
                    <a:latin typeface="Advent Pro" panose="02000506040000020004" pitchFamily="2" charset="0"/>
                    <a:ea typeface="Roboto Condensed" panose="02000000000000000000" pitchFamily="2" charset="0"/>
                    <a:cs typeface="Segoe UI" panose="020B0502040204020203" pitchFamily="34" charset="0"/>
                  </a:rPr>
                  <a:t>2019.ALL RIGHTS</a:t>
                </a:r>
                <a:endParaRPr lang="id-ID" sz="2000" spc="375" dirty="0">
                  <a:solidFill>
                    <a:schemeClr val="bg1">
                      <a:lumMod val="85000"/>
                    </a:schemeClr>
                  </a:solidFill>
                  <a:latin typeface="Advent Pro" panose="02000506040000020004" pitchFamily="2" charset="0"/>
                  <a:ea typeface="Roboto Condensed" panose="02000000000000000000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C7B8B6D-49B1-4E6A-9576-E3D407A631D4}"/>
                </a:ext>
              </a:extLst>
            </p:cNvPr>
            <p:cNvSpPr/>
            <p:nvPr userDrawn="1"/>
          </p:nvSpPr>
          <p:spPr>
            <a:xfrm>
              <a:off x="2336408" y="9996668"/>
              <a:ext cx="18000" cy="14936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6250" dirty="0"/>
            </a:p>
          </p:txBody>
        </p:sp>
      </p:grpSp>
    </p:spTree>
    <p:extLst>
      <p:ext uri="{BB962C8B-B14F-4D97-AF65-F5344CB8AC3E}">
        <p14:creationId xmlns:p14="http://schemas.microsoft.com/office/powerpoint/2010/main" val="12577828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6" name="Freeform: Shape 21">
            <a:extLst>
              <a:ext uri="{FF2B5EF4-FFF2-40B4-BE49-F238E27FC236}">
                <a16:creationId xmlns:a16="http://schemas.microsoft.com/office/drawing/2014/main" id="{67C41435-3C26-4A13-B120-57F7150B67F3}"/>
              </a:ext>
            </a:extLst>
          </p:cNvPr>
          <p:cNvSpPr/>
          <p:nvPr userDrawn="1"/>
        </p:nvSpPr>
        <p:spPr>
          <a:xfrm>
            <a:off x="1802447" y="1757675"/>
            <a:ext cx="20779110" cy="10200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2159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180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1468122" y="1757673"/>
            <a:ext cx="11113432" cy="10200654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236980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8FDD5B95-1D8D-42FD-B56E-32D735B2562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99314" y="8229599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E2614CC-7C7A-45D5-82F7-8C2A87747F5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394209" y="8229599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5EBCD005-18B6-4AC9-AA7F-310E0DEC900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394209" y="5486400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2098601-681D-411F-813A-84F63A07B4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646757" y="5486400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4BDC0590-CB1B-4D41-B087-0437BA5F5C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141654" y="0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4FC82C56-CCA1-499E-8B53-AE0646F0885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636552" y="5486400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F2A4AA9-1FB7-4CED-8795-C2D063846F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6141654" y="10972800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640B2B9-374F-4924-B348-5FF7567B6E2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6141654" y="8229599"/>
            <a:ext cx="2747448" cy="2743200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26171337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7BCA3585-1C24-4F45-B2F5-28ED79B1A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56560" y="1954161"/>
            <a:ext cx="4250412" cy="98076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B2A1E2E-9F48-4B79-9013-6A5AC663377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41474" y="1954161"/>
            <a:ext cx="4250412" cy="98076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9245BDD4-BD53-4160-BA4C-5F3D09BBEF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926390" y="1954161"/>
            <a:ext cx="4250412" cy="98076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74000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F33F5581-2E43-44C2-A6CB-EC647FEE0EF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44641" y="0"/>
            <a:ext cx="18339360" cy="13716000"/>
          </a:xfrm>
          <a:custGeom>
            <a:avLst/>
            <a:gdLst>
              <a:gd name="connsiteX0" fmla="*/ 6857999 w 9155502"/>
              <a:gd name="connsiteY0" fmla="*/ 0 h 6858000"/>
              <a:gd name="connsiteX1" fmla="*/ 9155502 w 9155502"/>
              <a:gd name="connsiteY1" fmla="*/ 0 h 6858000"/>
              <a:gd name="connsiteX2" fmla="*/ 9155502 w 9155502"/>
              <a:gd name="connsiteY2" fmla="*/ 6858000 h 6858000"/>
              <a:gd name="connsiteX3" fmla="*/ 0 w 9155502"/>
              <a:gd name="connsiteY3" fmla="*/ 6858000 h 6858000"/>
              <a:gd name="connsiteX4" fmla="*/ 3429000 w 9155502"/>
              <a:gd name="connsiteY4" fmla="*/ 3429000 h 6858000"/>
              <a:gd name="connsiteX5" fmla="*/ 3428999 w 9155502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5502" h="6858000">
                <a:moveTo>
                  <a:pt x="6857999" y="0"/>
                </a:moveTo>
                <a:lnTo>
                  <a:pt x="9155502" y="0"/>
                </a:lnTo>
                <a:lnTo>
                  <a:pt x="9155502" y="6858000"/>
                </a:lnTo>
                <a:lnTo>
                  <a:pt x="0" y="6858000"/>
                </a:lnTo>
                <a:lnTo>
                  <a:pt x="3429000" y="3429000"/>
                </a:lnTo>
                <a:lnTo>
                  <a:pt x="3428999" y="3429000"/>
                </a:lnTo>
                <a:close/>
              </a:path>
            </a:pathLst>
          </a:custGeom>
          <a:solidFill>
            <a:schemeClr val="bg1">
              <a:lumMod val="95000"/>
              <a:alpha val="43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4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77974364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3A664DD-DA4A-4A5A-8D23-829355B164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-1"/>
            <a:ext cx="18339360" cy="13716000"/>
          </a:xfrm>
          <a:custGeom>
            <a:avLst/>
            <a:gdLst>
              <a:gd name="connsiteX0" fmla="*/ 0 w 14648803"/>
              <a:gd name="connsiteY0" fmla="*/ 0 h 10972800"/>
              <a:gd name="connsiteX1" fmla="*/ 14648803 w 14648803"/>
              <a:gd name="connsiteY1" fmla="*/ 0 h 10972800"/>
              <a:gd name="connsiteX2" fmla="*/ 9162403 w 14648803"/>
              <a:gd name="connsiteY2" fmla="*/ 5486400 h 10972800"/>
              <a:gd name="connsiteX3" fmla="*/ 9162404 w 14648803"/>
              <a:gd name="connsiteY3" fmla="*/ 5486400 h 10972800"/>
              <a:gd name="connsiteX4" fmla="*/ 3676005 w 14648803"/>
              <a:gd name="connsiteY4" fmla="*/ 10972800 h 10972800"/>
              <a:gd name="connsiteX5" fmla="*/ 0 w 14648803"/>
              <a:gd name="connsiteY5" fmla="*/ 10972800 h 1097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48803" h="10972800">
                <a:moveTo>
                  <a:pt x="0" y="0"/>
                </a:moveTo>
                <a:lnTo>
                  <a:pt x="14648803" y="0"/>
                </a:lnTo>
                <a:lnTo>
                  <a:pt x="9162403" y="5486400"/>
                </a:lnTo>
                <a:lnTo>
                  <a:pt x="9162404" y="5486400"/>
                </a:lnTo>
                <a:lnTo>
                  <a:pt x="3676005" y="10972800"/>
                </a:lnTo>
                <a:lnTo>
                  <a:pt x="0" y="10972800"/>
                </a:lnTo>
                <a:close/>
              </a:path>
            </a:pathLst>
          </a:custGeom>
          <a:solidFill>
            <a:schemeClr val="bg1">
              <a:lumMod val="95000"/>
              <a:alpha val="43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88136053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DB90682B-1C5E-4FD8-8EE9-18DB13BB96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653196" y="2455905"/>
            <a:ext cx="14730803" cy="8804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3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88833495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62078" y="2558839"/>
            <a:ext cx="12402725" cy="86548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  <a:lvl6pPr>
              <a:defRPr sz="5333"/>
            </a:lvl6pPr>
            <a:lvl7pPr>
              <a:defRPr sz="5333"/>
            </a:lvl7pPr>
            <a:lvl8pPr>
              <a:defRPr sz="5333"/>
            </a:lvl8pPr>
            <a:lvl9pPr>
              <a:defRPr sz="53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C6B1FF6-39B9-40F5-8B67-33C6354A3D4F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accent3">
                  <a:shade val="7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1945600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222963" y="2557424"/>
            <a:ext cx="9519355" cy="86374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7292583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2) Title, text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2966" y="2558839"/>
            <a:ext cx="12402725" cy="86548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  <a:lvl6pPr>
              <a:defRPr sz="5333"/>
            </a:lvl6pPr>
            <a:lvl7pPr>
              <a:defRPr sz="5333"/>
            </a:lvl7pPr>
            <a:lvl8pPr>
              <a:defRPr sz="5333"/>
            </a:lvl8pPr>
            <a:lvl9pPr>
              <a:defRPr sz="53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C6B1FF6-39B9-40F5-8B67-33C6354A3D4F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accent3">
                  <a:shade val="7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1945600" cy="1126779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3640739" y="2557424"/>
            <a:ext cx="9519355" cy="86374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68211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1945600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5" y="3062371"/>
            <a:ext cx="6815277" cy="78611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8779815" y="3062371"/>
            <a:ext cx="6815277" cy="78611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6370052" y="3062371"/>
            <a:ext cx="6815277" cy="78611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1345089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1945600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5" y="7922751"/>
            <a:ext cx="6815277" cy="30828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8681" y="6831578"/>
            <a:ext cx="6806168" cy="8038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190468" y="2935627"/>
            <a:ext cx="6814771" cy="37761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69939" y="7717493"/>
            <a:ext cx="6855435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8759284" y="7918647"/>
            <a:ext cx="6815277" cy="30828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6"/>
          </p:nvPr>
        </p:nvSpPr>
        <p:spPr>
          <a:xfrm>
            <a:off x="8768396" y="6827474"/>
            <a:ext cx="6806168" cy="8038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760180" y="2931523"/>
            <a:ext cx="6814771" cy="37761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8739651" y="7713389"/>
            <a:ext cx="6855435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16370052" y="7914543"/>
            <a:ext cx="6815277" cy="30828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219077" indent="0">
              <a:buNone/>
              <a:defRPr/>
            </a:lvl2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9"/>
          </p:nvPr>
        </p:nvSpPr>
        <p:spPr>
          <a:xfrm>
            <a:off x="16379159" y="6823370"/>
            <a:ext cx="6806168" cy="8038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16370945" y="2927419"/>
            <a:ext cx="6814771" cy="37761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16350416" y="7709285"/>
            <a:ext cx="6855435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901735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1945600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5" y="3013107"/>
            <a:ext cx="4947480" cy="78611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886015" y="3013107"/>
            <a:ext cx="4947480" cy="78611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2582457" y="3013107"/>
            <a:ext cx="4947480" cy="78611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18278903" y="3013107"/>
            <a:ext cx="4947480" cy="78611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69031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6" name="Freeform: Shape 21">
            <a:extLst>
              <a:ext uri="{FF2B5EF4-FFF2-40B4-BE49-F238E27FC236}">
                <a16:creationId xmlns:a16="http://schemas.microsoft.com/office/drawing/2014/main" id="{67C41435-3C26-4A13-B120-57F7150B67F3}"/>
              </a:ext>
            </a:extLst>
          </p:cNvPr>
          <p:cNvSpPr/>
          <p:nvPr userDrawn="1"/>
        </p:nvSpPr>
        <p:spPr>
          <a:xfrm>
            <a:off x="1802447" y="1757675"/>
            <a:ext cx="20779110" cy="10200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2159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18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802441" y="1757673"/>
            <a:ext cx="9692874" cy="10200654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192001" y="2322288"/>
            <a:ext cx="6567714" cy="3549716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076740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1945600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5" y="8333253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 err="1"/>
              <a:t>Secon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8683" y="6893154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1190467" y="2935627"/>
            <a:ext cx="4946587" cy="37761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69943" y="8168411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891487" y="8329149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 err="1"/>
              <a:t>Secon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17"/>
          </p:nvPr>
        </p:nvSpPr>
        <p:spPr>
          <a:xfrm>
            <a:off x="6900597" y="6889050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6892384" y="2931523"/>
            <a:ext cx="4946587" cy="37761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6871857" y="8164307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12576983" y="8329149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 err="1"/>
              <a:t>Secon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0"/>
          </p:nvPr>
        </p:nvSpPr>
        <p:spPr>
          <a:xfrm>
            <a:off x="12586093" y="6889050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12577880" y="2931523"/>
            <a:ext cx="4946587" cy="37761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12557353" y="8164307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18283001" y="8329149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 err="1"/>
              <a:t>Secon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3"/>
          </p:nvPr>
        </p:nvSpPr>
        <p:spPr>
          <a:xfrm>
            <a:off x="18292112" y="6889050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18283899" y="2931523"/>
            <a:ext cx="4946587" cy="37761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8263372" y="8164307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741578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column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1945600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5" y="8333253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8683" y="6893154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69943" y="8168411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Chart Placeholder 4"/>
          <p:cNvSpPr>
            <a:spLocks noGrp="1"/>
          </p:cNvSpPr>
          <p:nvPr>
            <p:ph type="chart" sz="quarter" idx="25"/>
          </p:nvPr>
        </p:nvSpPr>
        <p:spPr>
          <a:xfrm>
            <a:off x="1190467" y="2933449"/>
            <a:ext cx="4946587" cy="38193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91484" y="8329149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27"/>
          </p:nvPr>
        </p:nvSpPr>
        <p:spPr>
          <a:xfrm>
            <a:off x="6900595" y="6889050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6871855" y="8164307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Chart Placeholder 4"/>
          <p:cNvSpPr>
            <a:spLocks noGrp="1"/>
          </p:cNvSpPr>
          <p:nvPr>
            <p:ph type="chart" sz="quarter" idx="28"/>
          </p:nvPr>
        </p:nvSpPr>
        <p:spPr>
          <a:xfrm>
            <a:off x="6892379" y="2929345"/>
            <a:ext cx="4946587" cy="38193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9"/>
          </p:nvPr>
        </p:nvSpPr>
        <p:spPr>
          <a:xfrm>
            <a:off x="12572879" y="8325045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30"/>
          </p:nvPr>
        </p:nvSpPr>
        <p:spPr>
          <a:xfrm>
            <a:off x="12581987" y="6884946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12553247" y="8160203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Chart Placeholder 4"/>
          <p:cNvSpPr>
            <a:spLocks noGrp="1"/>
          </p:cNvSpPr>
          <p:nvPr>
            <p:ph type="chart" sz="quarter" idx="31"/>
          </p:nvPr>
        </p:nvSpPr>
        <p:spPr>
          <a:xfrm>
            <a:off x="12573768" y="2925241"/>
            <a:ext cx="4946587" cy="38193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18295316" y="8341467"/>
            <a:ext cx="4947480" cy="25410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37" name="Text Placeholder 3"/>
          <p:cNvSpPr>
            <a:spLocks noGrp="1"/>
          </p:cNvSpPr>
          <p:nvPr>
            <p:ph type="body" sz="half" idx="33"/>
          </p:nvPr>
        </p:nvSpPr>
        <p:spPr>
          <a:xfrm>
            <a:off x="18304427" y="6901367"/>
            <a:ext cx="4938368" cy="12752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rgbClr val="070707"/>
                </a:solidFill>
              </a:defRPr>
            </a:lvl1pPr>
            <a:lvl2pPr marL="1219077" indent="0">
              <a:buNone/>
              <a:defRPr sz="3200"/>
            </a:lvl2pPr>
            <a:lvl3pPr marL="2438153" indent="0">
              <a:buNone/>
              <a:defRPr sz="2667"/>
            </a:lvl3pPr>
            <a:lvl4pPr marL="3657230" indent="0">
              <a:buNone/>
              <a:defRPr sz="2400"/>
            </a:lvl4pPr>
            <a:lvl5pPr marL="4876306" indent="0">
              <a:buNone/>
              <a:defRPr sz="2400"/>
            </a:lvl5pPr>
            <a:lvl6pPr marL="6095383" indent="0">
              <a:buNone/>
              <a:defRPr sz="2400"/>
            </a:lvl6pPr>
            <a:lvl7pPr marL="7314459" indent="0">
              <a:buNone/>
              <a:defRPr sz="2400"/>
            </a:lvl7pPr>
            <a:lvl8pPr marL="8533536" indent="0">
              <a:buNone/>
              <a:defRPr sz="2400"/>
            </a:lvl8pPr>
            <a:lvl9pPr marL="9752613" indent="0"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18275687" y="8176624"/>
            <a:ext cx="4967112" cy="0"/>
          </a:xfrm>
          <a:prstGeom prst="line">
            <a:avLst/>
          </a:prstGeom>
          <a:ln w="63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Chart Placeholder 4"/>
          <p:cNvSpPr>
            <a:spLocks noGrp="1"/>
          </p:cNvSpPr>
          <p:nvPr>
            <p:ph type="chart" sz="quarter" idx="34"/>
          </p:nvPr>
        </p:nvSpPr>
        <p:spPr>
          <a:xfrm>
            <a:off x="18296208" y="2941663"/>
            <a:ext cx="4946587" cy="38193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370431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3" y="7368568"/>
            <a:ext cx="22159061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2" y="8620607"/>
            <a:ext cx="22188691" cy="2253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4"/>
            <a:ext cx="24384000" cy="64654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93805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(4 photo)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3" y="7368568"/>
            <a:ext cx="22159061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2" y="8620607"/>
            <a:ext cx="22188691" cy="2253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112421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2237155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8349576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16748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(4 photo) &amp; tex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3" y="7368568"/>
            <a:ext cx="22159061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827905" y="12225648"/>
            <a:ext cx="1006696" cy="730251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3" y="8620607"/>
            <a:ext cx="10759504" cy="2253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112421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2237155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8349576" y="4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12602637" y="8613079"/>
            <a:ext cx="10759504" cy="22536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229340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footer (4 photo)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89572" y="2637497"/>
            <a:ext cx="22188691" cy="4098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5pPr marL="4876306" indent="0">
              <a:buNone/>
              <a:defRPr/>
            </a:lvl5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7353303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112421" y="7353303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2237155" y="7353303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8349576" y="7353303"/>
            <a:ext cx="6096000" cy="63627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19200" y="1128888"/>
            <a:ext cx="22167616" cy="1126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886069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full slide (8 pho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88472" y="4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2199528" y="4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8288000" y="4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2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0" y="6871175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6088472" y="6871175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4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12199528" y="6871175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5" name="Picture Placeholder 10"/>
          <p:cNvSpPr>
            <a:spLocks noGrp="1"/>
          </p:cNvSpPr>
          <p:nvPr>
            <p:ph type="pic" sz="quarter" idx="19"/>
          </p:nvPr>
        </p:nvSpPr>
        <p:spPr>
          <a:xfrm>
            <a:off x="18288000" y="6871175"/>
            <a:ext cx="6096000" cy="68636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12693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4022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8982076"/>
            <a:ext cx="18288000" cy="3311524"/>
          </a:xfrm>
        </p:spPr>
        <p:txBody>
          <a:bodyPr>
            <a:normAutofit/>
          </a:bodyPr>
          <a:lstStyle>
            <a:lvl1pPr marL="0" indent="0" algn="ctr">
              <a:buNone/>
              <a:defRPr sz="4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631959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2"/>
            <a:ext cx="21031200" cy="1536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429750" y="2266952"/>
            <a:ext cx="5524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5816654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1260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672539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4022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8982076"/>
            <a:ext cx="18288000" cy="3311524"/>
          </a:xfrm>
        </p:spPr>
        <p:txBody>
          <a:bodyPr>
            <a:normAutofit/>
          </a:bodyPr>
          <a:lstStyle>
            <a:lvl1pPr marL="0" indent="0" algn="ctr">
              <a:buNone/>
              <a:defRPr sz="4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52799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2"/>
            <a:ext cx="21031200" cy="1536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429750" y="2266952"/>
            <a:ext cx="5524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6461296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422782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676400" y="730252"/>
            <a:ext cx="21031200" cy="1536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429750" y="2266952"/>
            <a:ext cx="5524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33065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106160" y="1503220"/>
            <a:ext cx="11922760" cy="2206012"/>
          </a:xfrm>
          <a:custGeom>
            <a:avLst/>
            <a:gdLst>
              <a:gd name="connsiteX0" fmla="*/ 0 w 5961380"/>
              <a:gd name="connsiteY0" fmla="*/ 0 h 1103006"/>
              <a:gd name="connsiteX1" fmla="*/ 5961380 w 5961380"/>
              <a:gd name="connsiteY1" fmla="*/ 15392 h 1103006"/>
              <a:gd name="connsiteX2" fmla="*/ 5252720 w 5961380"/>
              <a:gd name="connsiteY2" fmla="*/ 1103006 h 1103006"/>
              <a:gd name="connsiteX3" fmla="*/ 708660 w 5961380"/>
              <a:gd name="connsiteY3" fmla="*/ 1056905 h 1103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1380" h="1103006">
                <a:moveTo>
                  <a:pt x="0" y="0"/>
                </a:moveTo>
                <a:lnTo>
                  <a:pt x="5961380" y="15392"/>
                </a:lnTo>
                <a:lnTo>
                  <a:pt x="5252720" y="1103006"/>
                </a:lnTo>
                <a:lnTo>
                  <a:pt x="708660" y="1056905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1108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94116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1752600" y="-1117600"/>
            <a:ext cx="11353800" cy="9626600"/>
          </a:xfrm>
          <a:custGeom>
            <a:avLst/>
            <a:gdLst>
              <a:gd name="connsiteX0" fmla="*/ 1714500 w 5676900"/>
              <a:gd name="connsiteY0" fmla="*/ 0 h 4813300"/>
              <a:gd name="connsiteX1" fmla="*/ 5676900 w 5676900"/>
              <a:gd name="connsiteY1" fmla="*/ 101600 h 4813300"/>
              <a:gd name="connsiteX2" fmla="*/ 2959100 w 5676900"/>
              <a:gd name="connsiteY2" fmla="*/ 4813300 h 4813300"/>
              <a:gd name="connsiteX3" fmla="*/ 0 w 5676900"/>
              <a:gd name="connsiteY3" fmla="*/ 2997200 h 481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6900" h="4813300">
                <a:moveTo>
                  <a:pt x="1714500" y="0"/>
                </a:moveTo>
                <a:lnTo>
                  <a:pt x="5676900" y="101600"/>
                </a:lnTo>
                <a:lnTo>
                  <a:pt x="2959100" y="4813300"/>
                </a:lnTo>
                <a:lnTo>
                  <a:pt x="0" y="29972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18458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pic>
        <p:nvPicPr>
          <p:cNvPr id="6" name="10_Mobile_Side View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94435" y="4349194"/>
            <a:ext cx="21566538" cy="63803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724400" y="5283200"/>
            <a:ext cx="14478000" cy="2667000"/>
          </a:xfrm>
          <a:custGeom>
            <a:avLst/>
            <a:gdLst>
              <a:gd name="connsiteX0" fmla="*/ 635000 w 7239000"/>
              <a:gd name="connsiteY0" fmla="*/ 0 h 1333500"/>
              <a:gd name="connsiteX1" fmla="*/ 6578600 w 7239000"/>
              <a:gd name="connsiteY1" fmla="*/ 0 h 1333500"/>
              <a:gd name="connsiteX2" fmla="*/ 7239000 w 7239000"/>
              <a:gd name="connsiteY2" fmla="*/ 1333500 h 1333500"/>
              <a:gd name="connsiteX3" fmla="*/ 0 w 7239000"/>
              <a:gd name="connsiteY3" fmla="*/ 1320800 h 133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9000" h="1333500">
                <a:moveTo>
                  <a:pt x="635000" y="0"/>
                </a:moveTo>
                <a:lnTo>
                  <a:pt x="6578600" y="0"/>
                </a:lnTo>
                <a:lnTo>
                  <a:pt x="7239000" y="1333500"/>
                </a:lnTo>
                <a:lnTo>
                  <a:pt x="0" y="13208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9103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pic>
        <p:nvPicPr>
          <p:cNvPr id="7" name="iPa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602954">
            <a:off x="1633213" y="2925242"/>
            <a:ext cx="10446638" cy="7466328"/>
          </a:xfrm>
          <a:prstGeom prst="rect">
            <a:avLst/>
          </a:prstGeom>
        </p:spPr>
      </p:pic>
      <p:pic>
        <p:nvPicPr>
          <p:cNvPr id="10" name="Penci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602954">
            <a:off x="975231" y="3501287"/>
            <a:ext cx="1261754" cy="5701650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 userDrawn="1">
            <p:ph type="pic" sz="quarter" idx="17"/>
          </p:nvPr>
        </p:nvSpPr>
        <p:spPr>
          <a:xfrm>
            <a:off x="2129831" y="2531431"/>
            <a:ext cx="9612338" cy="7815202"/>
          </a:xfrm>
          <a:custGeom>
            <a:avLst/>
            <a:gdLst>
              <a:gd name="connsiteX0" fmla="*/ 559101 w 4806169"/>
              <a:gd name="connsiteY0" fmla="*/ 0 h 3907601"/>
              <a:gd name="connsiteX1" fmla="*/ 4806169 w 4806169"/>
              <a:gd name="connsiteY1" fmla="*/ 752636 h 3907601"/>
              <a:gd name="connsiteX2" fmla="*/ 4247068 w 4806169"/>
              <a:gd name="connsiteY2" fmla="*/ 3907601 h 3907601"/>
              <a:gd name="connsiteX3" fmla="*/ 0 w 4806169"/>
              <a:gd name="connsiteY3" fmla="*/ 3154965 h 390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06169" h="3907601">
                <a:moveTo>
                  <a:pt x="559101" y="0"/>
                </a:moveTo>
                <a:lnTo>
                  <a:pt x="4806169" y="752636"/>
                </a:lnTo>
                <a:lnTo>
                  <a:pt x="4247068" y="3907601"/>
                </a:lnTo>
                <a:lnTo>
                  <a:pt x="0" y="3154965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8950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8007163" y="4014731"/>
            <a:ext cx="8426610" cy="1084641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72884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525002" y="-1"/>
            <a:ext cx="14859000" cy="129540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9525000" cy="1295400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66440" y="515016"/>
            <a:ext cx="5705708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6440" y="1321296"/>
            <a:ext cx="5705708" cy="2916168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8427605" y="3516901"/>
            <a:ext cx="3680546" cy="6275798"/>
          </a:xfrm>
          <a:custGeom>
            <a:avLst/>
            <a:gdLst>
              <a:gd name="connsiteX0" fmla="*/ 0 w 1840273"/>
              <a:gd name="connsiteY0" fmla="*/ 0 h 3137899"/>
              <a:gd name="connsiteX1" fmla="*/ 1840273 w 1840273"/>
              <a:gd name="connsiteY1" fmla="*/ 569119 h 3137899"/>
              <a:gd name="connsiteX2" fmla="*/ 1821224 w 1840273"/>
              <a:gd name="connsiteY2" fmla="*/ 3137899 h 3137899"/>
              <a:gd name="connsiteX3" fmla="*/ 11906 w 1840273"/>
              <a:gd name="connsiteY3" fmla="*/ 2999787 h 3137899"/>
              <a:gd name="connsiteX4" fmla="*/ 0 w 1840273"/>
              <a:gd name="connsiteY4" fmla="*/ 0 h 313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0273" h="3137899">
                <a:moveTo>
                  <a:pt x="0" y="0"/>
                </a:moveTo>
                <a:lnTo>
                  <a:pt x="1840273" y="569119"/>
                </a:lnTo>
                <a:lnTo>
                  <a:pt x="1821224" y="3137899"/>
                </a:lnTo>
                <a:lnTo>
                  <a:pt x="11906" y="2999787"/>
                </a:lnTo>
                <a:cubicBezTo>
                  <a:pt x="7937" y="2003033"/>
                  <a:pt x="3969" y="996754"/>
                  <a:pt x="0" y="0"/>
                </a:cubicBez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2738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919113" y="1754584"/>
            <a:ext cx="9202058" cy="581461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1552664" y="515016"/>
            <a:ext cx="11154936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2664" y="1175416"/>
            <a:ext cx="11154936" cy="2192252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76537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2140553" y="1856112"/>
            <a:ext cx="9202058" cy="58436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8716536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441626"/>
            <a:ext cx="8716536" cy="2483604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43837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2023114" y="4851401"/>
            <a:ext cx="12360884" cy="575171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780834" y="2952043"/>
            <a:ext cx="9893024" cy="623711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711375" y="6777577"/>
            <a:ext cx="2126930" cy="382553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720898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3040472" y="1368925"/>
            <a:ext cx="7499076" cy="6332158"/>
          </a:xfrm>
          <a:custGeom>
            <a:avLst/>
            <a:gdLst>
              <a:gd name="connsiteX0" fmla="*/ 0 w 3749538"/>
              <a:gd name="connsiteY0" fmla="*/ 0 h 3166079"/>
              <a:gd name="connsiteX1" fmla="*/ 3269478 w 3749538"/>
              <a:gd name="connsiteY1" fmla="*/ 1248728 h 3166079"/>
              <a:gd name="connsiteX2" fmla="*/ 3749538 w 3749538"/>
              <a:gd name="connsiteY2" fmla="*/ 3166079 h 3166079"/>
              <a:gd name="connsiteX3" fmla="*/ 220027 w 3749538"/>
              <a:gd name="connsiteY3" fmla="*/ 2853659 h 3166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49538" h="3166079">
                <a:moveTo>
                  <a:pt x="0" y="0"/>
                </a:moveTo>
                <a:lnTo>
                  <a:pt x="3269478" y="1248728"/>
                </a:lnTo>
                <a:lnTo>
                  <a:pt x="3749538" y="3166079"/>
                </a:lnTo>
                <a:lnTo>
                  <a:pt x="220027" y="285365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04569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417952" y="3369181"/>
            <a:ext cx="12262984" cy="7714950"/>
            <a:chOff x="3208976" y="1684590"/>
            <a:chExt cx="6131492" cy="3857475"/>
          </a:xfrm>
        </p:grpSpPr>
        <p:sp>
          <p:nvSpPr>
            <p:cNvPr id="6" name="Shape 12485"/>
            <p:cNvSpPr/>
            <p:nvPr userDrawn="1"/>
          </p:nvSpPr>
          <p:spPr>
            <a:xfrm>
              <a:off x="3208976" y="1684590"/>
              <a:ext cx="6131492" cy="38574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" y="0"/>
                  </a:moveTo>
                  <a:cubicBezTo>
                    <a:pt x="66" y="0"/>
                    <a:pt x="0" y="106"/>
                    <a:pt x="0" y="237"/>
                  </a:cubicBezTo>
                  <a:lnTo>
                    <a:pt x="0" y="21600"/>
                  </a:lnTo>
                  <a:lnTo>
                    <a:pt x="21600" y="21600"/>
                  </a:lnTo>
                  <a:lnTo>
                    <a:pt x="21600" y="237"/>
                  </a:lnTo>
                  <a:cubicBezTo>
                    <a:pt x="21600" y="106"/>
                    <a:pt x="21534" y="0"/>
                    <a:pt x="21451" y="0"/>
                  </a:cubicBezTo>
                  <a:lnTo>
                    <a:pt x="149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miter lim="400000"/>
            </a:ln>
            <a:effectLst>
              <a:outerShdw blurRad="101600" dir="5400000" rotWithShape="0">
                <a:srgbClr val="000000">
                  <a:alpha val="27455"/>
                </a:srgbClr>
              </a:outerShdw>
            </a:effectLst>
          </p:spPr>
          <p:txBody>
            <a:bodyPr lIns="25400" tIns="25400" rIns="25400" bIns="25400" anchor="ctr"/>
            <a:lstStyle/>
            <a:p>
              <a:pPr>
                <a:defRPr sz="3200">
                  <a:solidFill>
                    <a:srgbClr val="FFFFFF"/>
                  </a:solidFill>
                </a:defRPr>
              </a:pPr>
              <a:endParaRPr sz="3200"/>
            </a:p>
          </p:txBody>
        </p:sp>
        <p:grpSp>
          <p:nvGrpSpPr>
            <p:cNvPr id="8" name="Group 12528"/>
            <p:cNvGrpSpPr/>
            <p:nvPr userDrawn="1"/>
          </p:nvGrpSpPr>
          <p:grpSpPr>
            <a:xfrm>
              <a:off x="3257149" y="1728358"/>
              <a:ext cx="6035254" cy="479184"/>
              <a:chOff x="0" y="0"/>
              <a:chExt cx="13389099" cy="1063059"/>
            </a:xfrm>
          </p:grpSpPr>
          <p:sp>
            <p:nvSpPr>
              <p:cNvPr id="10" name="Shape 12487"/>
              <p:cNvSpPr/>
              <p:nvPr/>
            </p:nvSpPr>
            <p:spPr>
              <a:xfrm>
                <a:off x="0" y="0"/>
                <a:ext cx="13389100" cy="105484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458"/>
                    </a:moveTo>
                    <a:cubicBezTo>
                      <a:pt x="21600" y="653"/>
                      <a:pt x="21549" y="0"/>
                      <a:pt x="21485" y="0"/>
                    </a:cubicBezTo>
                    <a:lnTo>
                      <a:pt x="115" y="0"/>
                    </a:lnTo>
                    <a:cubicBezTo>
                      <a:pt x="51" y="0"/>
                      <a:pt x="0" y="653"/>
                      <a:pt x="0" y="1458"/>
                    </a:cubicBezTo>
                    <a:lnTo>
                      <a:pt x="0" y="21600"/>
                    </a:lnTo>
                    <a:lnTo>
                      <a:pt x="21600" y="21600"/>
                    </a:lnTo>
                    <a:cubicBezTo>
                      <a:pt x="21600" y="21600"/>
                      <a:pt x="21600" y="1458"/>
                      <a:pt x="21600" y="1458"/>
                    </a:cubicBezTo>
                    <a:close/>
                  </a:path>
                </a:pathLst>
              </a:custGeom>
              <a:gradFill flip="none" rotWithShape="1">
                <a:gsLst>
                  <a:gs pos="31527">
                    <a:srgbClr val="F5F6F7"/>
                  </a:gs>
                  <a:gs pos="100000">
                    <a:srgbClr val="C2C6CA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sp>
            <p:nvSpPr>
              <p:cNvPr id="11" name="Shape 12488"/>
              <p:cNvSpPr/>
              <p:nvPr/>
            </p:nvSpPr>
            <p:spPr>
              <a:xfrm>
                <a:off x="0" y="53865"/>
                <a:ext cx="13389100" cy="55424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52" y="20444"/>
                    </a:moveTo>
                    <a:cubicBezTo>
                      <a:pt x="1881" y="19299"/>
                      <a:pt x="1970" y="13402"/>
                      <a:pt x="2003" y="11459"/>
                    </a:cubicBezTo>
                    <a:cubicBezTo>
                      <a:pt x="2036" y="9516"/>
                      <a:pt x="2091" y="7573"/>
                      <a:pt x="2173" y="7573"/>
                    </a:cubicBezTo>
                    <a:cubicBezTo>
                      <a:pt x="2254" y="7573"/>
                      <a:pt x="6362" y="7573"/>
                      <a:pt x="6408" y="7573"/>
                    </a:cubicBezTo>
                    <a:cubicBezTo>
                      <a:pt x="6455" y="7573"/>
                      <a:pt x="6504" y="8191"/>
                      <a:pt x="6537" y="9512"/>
                    </a:cubicBezTo>
                    <a:cubicBezTo>
                      <a:pt x="6569" y="10832"/>
                      <a:pt x="6662" y="16380"/>
                      <a:pt x="6695" y="18823"/>
                    </a:cubicBezTo>
                    <a:cubicBezTo>
                      <a:pt x="6728" y="21268"/>
                      <a:pt x="6772" y="21466"/>
                      <a:pt x="6846" y="21466"/>
                    </a:cubicBezTo>
                    <a:cubicBezTo>
                      <a:pt x="6916" y="21466"/>
                      <a:pt x="20403" y="21466"/>
                      <a:pt x="21600" y="21466"/>
                    </a:cubicBezTo>
                    <a:lnTo>
                      <a:pt x="21600" y="2776"/>
                    </a:lnTo>
                    <a:cubicBezTo>
                      <a:pt x="21600" y="1243"/>
                      <a:pt x="21549" y="0"/>
                      <a:pt x="21485" y="0"/>
                    </a:cubicBezTo>
                    <a:lnTo>
                      <a:pt x="115" y="0"/>
                    </a:lnTo>
                    <a:cubicBezTo>
                      <a:pt x="51" y="0"/>
                      <a:pt x="0" y="1243"/>
                      <a:pt x="0" y="2776"/>
                    </a:cubicBezTo>
                    <a:lnTo>
                      <a:pt x="0" y="21600"/>
                    </a:lnTo>
                    <a:cubicBezTo>
                      <a:pt x="243" y="21600"/>
                      <a:pt x="1714" y="21600"/>
                      <a:pt x="1751" y="21600"/>
                    </a:cubicBezTo>
                    <a:cubicBezTo>
                      <a:pt x="1792" y="21600"/>
                      <a:pt x="1824" y="21589"/>
                      <a:pt x="1852" y="20444"/>
                    </a:cubicBezTo>
                    <a:close/>
                  </a:path>
                </a:pathLst>
              </a:custGeom>
              <a:solidFill>
                <a:srgbClr val="F5F6F7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sp>
            <p:nvSpPr>
              <p:cNvPr id="12" name="Shape 12489"/>
              <p:cNvSpPr/>
              <p:nvPr/>
            </p:nvSpPr>
            <p:spPr>
              <a:xfrm>
                <a:off x="0" y="33717"/>
                <a:ext cx="13389100" cy="5542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52" y="20444"/>
                    </a:moveTo>
                    <a:cubicBezTo>
                      <a:pt x="1881" y="19300"/>
                      <a:pt x="1970" y="13402"/>
                      <a:pt x="2003" y="11459"/>
                    </a:cubicBezTo>
                    <a:cubicBezTo>
                      <a:pt x="2036" y="9516"/>
                      <a:pt x="2091" y="7574"/>
                      <a:pt x="2173" y="7574"/>
                    </a:cubicBezTo>
                    <a:cubicBezTo>
                      <a:pt x="2254" y="7574"/>
                      <a:pt x="6362" y="7574"/>
                      <a:pt x="6408" y="7574"/>
                    </a:cubicBezTo>
                    <a:cubicBezTo>
                      <a:pt x="6455" y="7574"/>
                      <a:pt x="6504" y="8190"/>
                      <a:pt x="6537" y="9512"/>
                    </a:cubicBezTo>
                    <a:cubicBezTo>
                      <a:pt x="6569" y="10832"/>
                      <a:pt x="6662" y="16380"/>
                      <a:pt x="6695" y="18823"/>
                    </a:cubicBezTo>
                    <a:cubicBezTo>
                      <a:pt x="6728" y="21268"/>
                      <a:pt x="6772" y="21466"/>
                      <a:pt x="6846" y="21466"/>
                    </a:cubicBezTo>
                    <a:cubicBezTo>
                      <a:pt x="6916" y="21466"/>
                      <a:pt x="20403" y="21466"/>
                      <a:pt x="21600" y="21466"/>
                    </a:cubicBezTo>
                    <a:lnTo>
                      <a:pt x="21600" y="2775"/>
                    </a:lnTo>
                    <a:cubicBezTo>
                      <a:pt x="21600" y="1243"/>
                      <a:pt x="21549" y="0"/>
                      <a:pt x="21485" y="0"/>
                    </a:cubicBezTo>
                    <a:lnTo>
                      <a:pt x="115" y="0"/>
                    </a:lnTo>
                    <a:cubicBezTo>
                      <a:pt x="51" y="0"/>
                      <a:pt x="0" y="1243"/>
                      <a:pt x="0" y="2775"/>
                    </a:cubicBezTo>
                    <a:lnTo>
                      <a:pt x="0" y="21600"/>
                    </a:lnTo>
                    <a:cubicBezTo>
                      <a:pt x="243" y="21600"/>
                      <a:pt x="1714" y="21600"/>
                      <a:pt x="1751" y="21600"/>
                    </a:cubicBezTo>
                    <a:cubicBezTo>
                      <a:pt x="1792" y="21600"/>
                      <a:pt x="1824" y="21589"/>
                      <a:pt x="1852" y="20444"/>
                    </a:cubicBezTo>
                    <a:close/>
                  </a:path>
                </a:pathLst>
              </a:custGeom>
              <a:solidFill>
                <a:srgbClr val="8D959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sp>
            <p:nvSpPr>
              <p:cNvPr id="13" name="Shape 12490"/>
              <p:cNvSpPr/>
              <p:nvPr/>
            </p:nvSpPr>
            <p:spPr>
              <a:xfrm>
                <a:off x="0" y="16858"/>
                <a:ext cx="13389100" cy="5542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52" y="20444"/>
                    </a:moveTo>
                    <a:cubicBezTo>
                      <a:pt x="1881" y="19299"/>
                      <a:pt x="1970" y="13401"/>
                      <a:pt x="2003" y="11458"/>
                    </a:cubicBezTo>
                    <a:cubicBezTo>
                      <a:pt x="2036" y="9516"/>
                      <a:pt x="2091" y="7573"/>
                      <a:pt x="2173" y="7573"/>
                    </a:cubicBezTo>
                    <a:cubicBezTo>
                      <a:pt x="2254" y="7573"/>
                      <a:pt x="6362" y="7573"/>
                      <a:pt x="6408" y="7573"/>
                    </a:cubicBezTo>
                    <a:cubicBezTo>
                      <a:pt x="6455" y="7573"/>
                      <a:pt x="6504" y="8190"/>
                      <a:pt x="6537" y="9511"/>
                    </a:cubicBezTo>
                    <a:cubicBezTo>
                      <a:pt x="6569" y="10832"/>
                      <a:pt x="6662" y="16379"/>
                      <a:pt x="6695" y="18823"/>
                    </a:cubicBezTo>
                    <a:cubicBezTo>
                      <a:pt x="6728" y="21266"/>
                      <a:pt x="6772" y="21465"/>
                      <a:pt x="6846" y="21465"/>
                    </a:cubicBezTo>
                    <a:cubicBezTo>
                      <a:pt x="6916" y="21465"/>
                      <a:pt x="20403" y="21465"/>
                      <a:pt x="21600" y="21465"/>
                    </a:cubicBezTo>
                    <a:lnTo>
                      <a:pt x="21600" y="2776"/>
                    </a:lnTo>
                    <a:cubicBezTo>
                      <a:pt x="21600" y="1243"/>
                      <a:pt x="21549" y="0"/>
                      <a:pt x="21485" y="0"/>
                    </a:cubicBezTo>
                    <a:lnTo>
                      <a:pt x="115" y="0"/>
                    </a:lnTo>
                    <a:cubicBezTo>
                      <a:pt x="51" y="0"/>
                      <a:pt x="0" y="1243"/>
                      <a:pt x="0" y="2776"/>
                    </a:cubicBezTo>
                    <a:lnTo>
                      <a:pt x="0" y="21600"/>
                    </a:lnTo>
                    <a:cubicBezTo>
                      <a:pt x="243" y="21600"/>
                      <a:pt x="1714" y="21600"/>
                      <a:pt x="1751" y="21600"/>
                    </a:cubicBezTo>
                    <a:cubicBezTo>
                      <a:pt x="1792" y="21600"/>
                      <a:pt x="1824" y="21588"/>
                      <a:pt x="1852" y="2044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E4E6E7"/>
                  </a:gs>
                  <a:gs pos="100000">
                    <a:srgbClr val="C2C6CA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sp>
            <p:nvSpPr>
              <p:cNvPr id="14" name="Shape 12491"/>
              <p:cNvSpPr/>
              <p:nvPr/>
            </p:nvSpPr>
            <p:spPr>
              <a:xfrm>
                <a:off x="1314967" y="640625"/>
                <a:ext cx="11611221" cy="3750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7498"/>
                    </a:moveTo>
                    <a:cubicBezTo>
                      <a:pt x="21600" y="19763"/>
                      <a:pt x="21541" y="21600"/>
                      <a:pt x="21468" y="21600"/>
                    </a:cubicBezTo>
                    <a:lnTo>
                      <a:pt x="132" y="21600"/>
                    </a:lnTo>
                    <a:cubicBezTo>
                      <a:pt x="59" y="21600"/>
                      <a:pt x="0" y="19763"/>
                      <a:pt x="0" y="17498"/>
                    </a:cubicBezTo>
                    <a:lnTo>
                      <a:pt x="0" y="4101"/>
                    </a:lnTo>
                    <a:cubicBezTo>
                      <a:pt x="0" y="1837"/>
                      <a:pt x="59" y="0"/>
                      <a:pt x="132" y="0"/>
                    </a:cubicBezTo>
                    <a:lnTo>
                      <a:pt x="21468" y="0"/>
                    </a:lnTo>
                    <a:cubicBezTo>
                      <a:pt x="21541" y="0"/>
                      <a:pt x="21600" y="1837"/>
                      <a:pt x="21600" y="4101"/>
                    </a:cubicBezTo>
                    <a:cubicBezTo>
                      <a:pt x="21600" y="4101"/>
                      <a:pt x="21600" y="17498"/>
                      <a:pt x="21600" y="17498"/>
                    </a:cubicBezTo>
                    <a:close/>
                  </a:path>
                </a:pathLst>
              </a:custGeom>
              <a:solidFill>
                <a:srgbClr val="F5F6F7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grpSp>
            <p:nvGrpSpPr>
              <p:cNvPr id="15" name="Group 12494"/>
              <p:cNvGrpSpPr/>
              <p:nvPr/>
            </p:nvGrpSpPr>
            <p:grpSpPr>
              <a:xfrm>
                <a:off x="219161" y="219161"/>
                <a:ext cx="167838" cy="202435"/>
                <a:chOff x="0" y="0"/>
                <a:chExt cx="167837" cy="202434"/>
              </a:xfrm>
            </p:grpSpPr>
            <p:sp>
              <p:nvSpPr>
                <p:cNvPr id="49" name="Shape 12492"/>
                <p:cNvSpPr/>
                <p:nvPr/>
              </p:nvSpPr>
              <p:spPr>
                <a:xfrm>
                  <a:off x="0" y="34573"/>
                  <a:ext cx="167838" cy="167862"/>
                </a:xfrm>
                <a:prstGeom prst="ellipse">
                  <a:avLst/>
                </a:prstGeom>
                <a:solidFill>
                  <a:srgbClr val="E4E6E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50" name="Shape 12493"/>
                <p:cNvSpPr/>
                <p:nvPr/>
              </p:nvSpPr>
              <p:spPr>
                <a:xfrm>
                  <a:off x="0" y="0"/>
                  <a:ext cx="167838" cy="16786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5F6F7"/>
                    </a:gs>
                    <a:gs pos="29493">
                      <a:srgbClr val="F18C7C"/>
                    </a:gs>
                    <a:gs pos="61460">
                      <a:srgbClr val="EE2200"/>
                    </a:gs>
                  </a:gsLst>
                  <a:path path="circle">
                    <a:fillToRect l="37721" t="-19636" r="62278" b="119636"/>
                  </a:path>
                </a:gradFill>
                <a:ln w="12700" cap="flat">
                  <a:solidFill>
                    <a:srgbClr val="4F5D68"/>
                  </a:solidFill>
                  <a:prstDash val="solid"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grpSp>
            <p:nvGrpSpPr>
              <p:cNvPr id="16" name="Group 12497"/>
              <p:cNvGrpSpPr/>
              <p:nvPr/>
            </p:nvGrpSpPr>
            <p:grpSpPr>
              <a:xfrm>
                <a:off x="522615" y="219161"/>
                <a:ext cx="167838" cy="202435"/>
                <a:chOff x="0" y="0"/>
                <a:chExt cx="167837" cy="202434"/>
              </a:xfrm>
            </p:grpSpPr>
            <p:sp>
              <p:nvSpPr>
                <p:cNvPr id="47" name="Shape 12495"/>
                <p:cNvSpPr/>
                <p:nvPr/>
              </p:nvSpPr>
              <p:spPr>
                <a:xfrm>
                  <a:off x="0" y="34573"/>
                  <a:ext cx="167838" cy="167862"/>
                </a:xfrm>
                <a:prstGeom prst="ellipse">
                  <a:avLst/>
                </a:prstGeom>
                <a:solidFill>
                  <a:srgbClr val="E4E6E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48" name="Shape 12496"/>
                <p:cNvSpPr/>
                <p:nvPr/>
              </p:nvSpPr>
              <p:spPr>
                <a:xfrm>
                  <a:off x="0" y="0"/>
                  <a:ext cx="167838" cy="16786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5F6F7"/>
                    </a:gs>
                    <a:gs pos="29628">
                      <a:srgbClr val="FACB7C"/>
                    </a:gs>
                    <a:gs pos="49985">
                      <a:srgbClr val="FF9F00"/>
                    </a:gs>
                  </a:gsLst>
                  <a:path path="circle">
                    <a:fillToRect l="37721" t="-19636" r="62278" b="119636"/>
                  </a:path>
                </a:gradFill>
                <a:ln w="12700" cap="flat">
                  <a:solidFill>
                    <a:srgbClr val="4F5D68"/>
                  </a:solidFill>
                  <a:prstDash val="solid"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grpSp>
            <p:nvGrpSpPr>
              <p:cNvPr id="17" name="Group 12500"/>
              <p:cNvGrpSpPr/>
              <p:nvPr/>
            </p:nvGrpSpPr>
            <p:grpSpPr>
              <a:xfrm>
                <a:off x="826068" y="219161"/>
                <a:ext cx="167854" cy="202435"/>
                <a:chOff x="0" y="0"/>
                <a:chExt cx="167852" cy="202434"/>
              </a:xfrm>
            </p:grpSpPr>
            <p:sp>
              <p:nvSpPr>
                <p:cNvPr id="45" name="Shape 12498"/>
                <p:cNvSpPr/>
                <p:nvPr/>
              </p:nvSpPr>
              <p:spPr>
                <a:xfrm>
                  <a:off x="0" y="34573"/>
                  <a:ext cx="167853" cy="167862"/>
                </a:xfrm>
                <a:prstGeom prst="ellipse">
                  <a:avLst/>
                </a:prstGeom>
                <a:solidFill>
                  <a:srgbClr val="E4E6E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46" name="Shape 12499"/>
                <p:cNvSpPr/>
                <p:nvPr/>
              </p:nvSpPr>
              <p:spPr>
                <a:xfrm>
                  <a:off x="0" y="0"/>
                  <a:ext cx="167853" cy="16786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5F6F7"/>
                    </a:gs>
                    <a:gs pos="76093">
                      <a:srgbClr val="8FC321"/>
                    </a:gs>
                  </a:gsLst>
                  <a:path path="circle">
                    <a:fillToRect l="37721" t="-19636" r="62278" b="119636"/>
                  </a:path>
                </a:gradFill>
                <a:ln w="12700" cap="flat">
                  <a:solidFill>
                    <a:srgbClr val="4F5D68"/>
                  </a:solidFill>
                  <a:prstDash val="solid"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sp>
            <p:nvSpPr>
              <p:cNvPr id="18" name="Shape 12501"/>
              <p:cNvSpPr/>
              <p:nvPr/>
            </p:nvSpPr>
            <p:spPr>
              <a:xfrm>
                <a:off x="1314967" y="623766"/>
                <a:ext cx="11611221" cy="3750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7498"/>
                    </a:moveTo>
                    <a:cubicBezTo>
                      <a:pt x="21600" y="19763"/>
                      <a:pt x="21541" y="21600"/>
                      <a:pt x="21468" y="21600"/>
                    </a:cubicBezTo>
                    <a:lnTo>
                      <a:pt x="132" y="21600"/>
                    </a:lnTo>
                    <a:cubicBezTo>
                      <a:pt x="59" y="21600"/>
                      <a:pt x="0" y="19763"/>
                      <a:pt x="0" y="17498"/>
                    </a:cubicBezTo>
                    <a:lnTo>
                      <a:pt x="0" y="4102"/>
                    </a:lnTo>
                    <a:cubicBezTo>
                      <a:pt x="0" y="1837"/>
                      <a:pt x="59" y="0"/>
                      <a:pt x="132" y="0"/>
                    </a:cubicBezTo>
                    <a:lnTo>
                      <a:pt x="21468" y="0"/>
                    </a:lnTo>
                    <a:cubicBezTo>
                      <a:pt x="21541" y="0"/>
                      <a:pt x="21600" y="1837"/>
                      <a:pt x="21600" y="4102"/>
                    </a:cubicBezTo>
                    <a:cubicBezTo>
                      <a:pt x="21600" y="4102"/>
                      <a:pt x="21600" y="17498"/>
                      <a:pt x="21600" y="174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rgbClr val="8D959D"/>
                </a:solidFill>
                <a:prstDash val="solid"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sp>
            <p:nvSpPr>
              <p:cNvPr id="19" name="Shape 12502"/>
              <p:cNvSpPr/>
              <p:nvPr/>
            </p:nvSpPr>
            <p:spPr>
              <a:xfrm>
                <a:off x="12627056" y="691200"/>
                <a:ext cx="226179" cy="2171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258" h="21467" extrusionOk="0">
                    <a:moveTo>
                      <a:pt x="13924" y="12769"/>
                    </a:moveTo>
                    <a:lnTo>
                      <a:pt x="15958" y="19356"/>
                    </a:lnTo>
                    <a:lnTo>
                      <a:pt x="10631" y="15283"/>
                    </a:lnTo>
                    <a:lnTo>
                      <a:pt x="5302" y="19356"/>
                    </a:lnTo>
                    <a:lnTo>
                      <a:pt x="7338" y="12769"/>
                    </a:lnTo>
                    <a:lnTo>
                      <a:pt x="2009" y="8699"/>
                    </a:lnTo>
                    <a:lnTo>
                      <a:pt x="8596" y="8699"/>
                    </a:lnTo>
                    <a:lnTo>
                      <a:pt x="10631" y="2109"/>
                    </a:lnTo>
                    <a:lnTo>
                      <a:pt x="12667" y="8699"/>
                    </a:lnTo>
                    <a:lnTo>
                      <a:pt x="19253" y="8699"/>
                    </a:lnTo>
                    <a:cubicBezTo>
                      <a:pt x="19253" y="8699"/>
                      <a:pt x="13924" y="12769"/>
                      <a:pt x="13924" y="12769"/>
                    </a:cubicBezTo>
                    <a:close/>
                    <a:moveTo>
                      <a:pt x="21161" y="8045"/>
                    </a:moveTo>
                    <a:cubicBezTo>
                      <a:pt x="20895" y="7179"/>
                      <a:pt x="20118" y="6587"/>
                      <a:pt x="19253" y="6587"/>
                    </a:cubicBezTo>
                    <a:lnTo>
                      <a:pt x="14123" y="6587"/>
                    </a:lnTo>
                    <a:lnTo>
                      <a:pt x="12540" y="1456"/>
                    </a:lnTo>
                    <a:cubicBezTo>
                      <a:pt x="12269" y="591"/>
                      <a:pt x="11496" y="0"/>
                      <a:pt x="10631" y="0"/>
                    </a:cubicBezTo>
                    <a:cubicBezTo>
                      <a:pt x="9761" y="0"/>
                      <a:pt x="8989" y="591"/>
                      <a:pt x="8720" y="1456"/>
                    </a:cubicBezTo>
                    <a:lnTo>
                      <a:pt x="7135" y="6587"/>
                    </a:lnTo>
                    <a:lnTo>
                      <a:pt x="2009" y="6587"/>
                    </a:lnTo>
                    <a:cubicBezTo>
                      <a:pt x="1141" y="6587"/>
                      <a:pt x="367" y="7179"/>
                      <a:pt x="98" y="8045"/>
                    </a:cubicBezTo>
                    <a:cubicBezTo>
                      <a:pt x="-170" y="8914"/>
                      <a:pt x="127" y="9871"/>
                      <a:pt x="828" y="10406"/>
                    </a:cubicBezTo>
                    <a:lnTo>
                      <a:pt x="4975" y="13576"/>
                    </a:lnTo>
                    <a:lnTo>
                      <a:pt x="3391" y="18700"/>
                    </a:lnTo>
                    <a:cubicBezTo>
                      <a:pt x="3121" y="19569"/>
                      <a:pt x="3420" y="20529"/>
                      <a:pt x="4121" y="21063"/>
                    </a:cubicBezTo>
                    <a:cubicBezTo>
                      <a:pt x="4822" y="21600"/>
                      <a:pt x="5780" y="21600"/>
                      <a:pt x="6479" y="21063"/>
                    </a:cubicBezTo>
                    <a:lnTo>
                      <a:pt x="10629" y="17892"/>
                    </a:lnTo>
                    <a:lnTo>
                      <a:pt x="14778" y="21063"/>
                    </a:lnTo>
                    <a:cubicBezTo>
                      <a:pt x="15127" y="21333"/>
                      <a:pt x="15542" y="21467"/>
                      <a:pt x="15958" y="21467"/>
                    </a:cubicBezTo>
                    <a:cubicBezTo>
                      <a:pt x="16373" y="21467"/>
                      <a:pt x="16788" y="21333"/>
                      <a:pt x="17141" y="21063"/>
                    </a:cubicBezTo>
                    <a:cubicBezTo>
                      <a:pt x="17837" y="20529"/>
                      <a:pt x="18134" y="19569"/>
                      <a:pt x="17868" y="18700"/>
                    </a:cubicBezTo>
                    <a:lnTo>
                      <a:pt x="16283" y="13576"/>
                    </a:lnTo>
                    <a:lnTo>
                      <a:pt x="20430" y="10406"/>
                    </a:lnTo>
                    <a:cubicBezTo>
                      <a:pt x="21130" y="9871"/>
                      <a:pt x="21430" y="8914"/>
                      <a:pt x="21161" y="8045"/>
                    </a:cubicBezTo>
                    <a:close/>
                  </a:path>
                </a:pathLst>
              </a:custGeom>
              <a:solidFill>
                <a:srgbClr val="C2C6C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grpSp>
            <p:nvGrpSpPr>
              <p:cNvPr id="20" name="Group 12507"/>
              <p:cNvGrpSpPr/>
              <p:nvPr/>
            </p:nvGrpSpPr>
            <p:grpSpPr>
              <a:xfrm>
                <a:off x="13065379" y="202302"/>
                <a:ext cx="184219" cy="208941"/>
                <a:chOff x="0" y="0"/>
                <a:chExt cx="184218" cy="208939"/>
              </a:xfrm>
            </p:grpSpPr>
            <p:sp>
              <p:nvSpPr>
                <p:cNvPr id="41" name="Shape 12503"/>
                <p:cNvSpPr/>
                <p:nvPr/>
              </p:nvSpPr>
              <p:spPr>
                <a:xfrm>
                  <a:off x="84292" y="0"/>
                  <a:ext cx="99408" cy="9851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7384" y="7587"/>
                      </a:lnTo>
                      <a:cubicBezTo>
                        <a:pt x="5602" y="9374"/>
                        <a:pt x="2225" y="12782"/>
                        <a:pt x="1606" y="13626"/>
                      </a:cubicBezTo>
                      <a:cubicBezTo>
                        <a:pt x="1252" y="14128"/>
                        <a:pt x="458" y="15150"/>
                        <a:pt x="447" y="16684"/>
                      </a:cubicBezTo>
                      <a:cubicBezTo>
                        <a:pt x="444" y="17532"/>
                        <a:pt x="737" y="18452"/>
                        <a:pt x="1316" y="19290"/>
                      </a:cubicBezTo>
                      <a:cubicBezTo>
                        <a:pt x="2297" y="20730"/>
                        <a:pt x="3881" y="21196"/>
                        <a:pt x="5119" y="21181"/>
                      </a:cubicBezTo>
                      <a:cubicBezTo>
                        <a:pt x="6343" y="21145"/>
                        <a:pt x="7319" y="20903"/>
                        <a:pt x="8192" y="20163"/>
                      </a:cubicBezTo>
                      <a:cubicBezTo>
                        <a:pt x="8790" y="19607"/>
                        <a:pt x="12285" y="16063"/>
                        <a:pt x="14088" y="14226"/>
                      </a:cubicBezTo>
                      <a:lnTo>
                        <a:pt x="21600" y="21600"/>
                      </a:lnTo>
                      <a:lnTo>
                        <a:pt x="21600" y="0"/>
                      </a:lnTo>
                      <a:cubicBezTo>
                        <a:pt x="2160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5F6F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42" name="Shape 12504"/>
                <p:cNvSpPr/>
                <p:nvPr/>
              </p:nvSpPr>
              <p:spPr>
                <a:xfrm>
                  <a:off x="0" y="118009"/>
                  <a:ext cx="91603" cy="909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585" extrusionOk="0">
                      <a:moveTo>
                        <a:pt x="20478" y="7117"/>
                      </a:moveTo>
                      <a:cubicBezTo>
                        <a:pt x="20847" y="6578"/>
                        <a:pt x="21596" y="5597"/>
                        <a:pt x="21600" y="4202"/>
                      </a:cubicBezTo>
                      <a:cubicBezTo>
                        <a:pt x="21600" y="3432"/>
                        <a:pt x="21355" y="2580"/>
                        <a:pt x="20785" y="1763"/>
                      </a:cubicBezTo>
                      <a:cubicBezTo>
                        <a:pt x="19869" y="431"/>
                        <a:pt x="18405" y="-15"/>
                        <a:pt x="17209" y="1"/>
                      </a:cubicBezTo>
                      <a:cubicBezTo>
                        <a:pt x="16029" y="28"/>
                        <a:pt x="15047" y="302"/>
                        <a:pt x="14329" y="931"/>
                      </a:cubicBezTo>
                      <a:cubicBezTo>
                        <a:pt x="13661" y="1552"/>
                        <a:pt x="9236" y="6035"/>
                        <a:pt x="7489" y="7805"/>
                      </a:cubicBezTo>
                      <a:lnTo>
                        <a:pt x="0" y="481"/>
                      </a:lnTo>
                      <a:lnTo>
                        <a:pt x="0" y="21585"/>
                      </a:lnTo>
                      <a:lnTo>
                        <a:pt x="21161" y="21585"/>
                      </a:lnTo>
                      <a:lnTo>
                        <a:pt x="13809" y="14042"/>
                      </a:lnTo>
                      <a:cubicBezTo>
                        <a:pt x="15532" y="12319"/>
                        <a:pt x="19845" y="7985"/>
                        <a:pt x="20478" y="7117"/>
                      </a:cubicBezTo>
                      <a:close/>
                    </a:path>
                  </a:pathLst>
                </a:custGeom>
                <a:solidFill>
                  <a:srgbClr val="F5F6F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43" name="Shape 12505"/>
                <p:cNvSpPr/>
                <p:nvPr/>
              </p:nvSpPr>
              <p:spPr>
                <a:xfrm>
                  <a:off x="101151" y="0"/>
                  <a:ext cx="83068" cy="8236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882" h="20956" extrusionOk="0">
                      <a:moveTo>
                        <a:pt x="8747" y="7007"/>
                      </a:moveTo>
                      <a:lnTo>
                        <a:pt x="1951" y="0"/>
                      </a:lnTo>
                      <a:lnTo>
                        <a:pt x="20882" y="0"/>
                      </a:lnTo>
                      <a:lnTo>
                        <a:pt x="20882" y="18965"/>
                      </a:lnTo>
                      <a:lnTo>
                        <a:pt x="13958" y="12147"/>
                      </a:lnTo>
                      <a:cubicBezTo>
                        <a:pt x="13958" y="12147"/>
                        <a:pt x="6777" y="19476"/>
                        <a:pt x="5954" y="20247"/>
                      </a:cubicBezTo>
                      <a:cubicBezTo>
                        <a:pt x="5130" y="21018"/>
                        <a:pt x="2080" y="21600"/>
                        <a:pt x="685" y="19539"/>
                      </a:cubicBezTo>
                      <a:cubicBezTo>
                        <a:pt x="-718" y="17483"/>
                        <a:pt x="366" y="15946"/>
                        <a:pt x="1000" y="15037"/>
                      </a:cubicBezTo>
                      <a:cubicBezTo>
                        <a:pt x="1633" y="14140"/>
                        <a:pt x="8747" y="7007"/>
                        <a:pt x="8747" y="7007"/>
                      </a:cubicBezTo>
                      <a:close/>
                    </a:path>
                  </a:pathLst>
                </a:custGeom>
                <a:solidFill>
                  <a:srgbClr val="8D959D"/>
                </a:solidFill>
                <a:ln w="6437" cap="flat">
                  <a:solidFill>
                    <a:srgbClr val="242E38"/>
                  </a:solidFill>
                  <a:prstDash val="solid"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44" name="Shape 12506"/>
                <p:cNvSpPr/>
                <p:nvPr/>
              </p:nvSpPr>
              <p:spPr>
                <a:xfrm>
                  <a:off x="0" y="101151"/>
                  <a:ext cx="83068" cy="8238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882" h="20955" extrusionOk="0">
                      <a:moveTo>
                        <a:pt x="12135" y="13945"/>
                      </a:moveTo>
                      <a:lnTo>
                        <a:pt x="18931" y="20955"/>
                      </a:lnTo>
                      <a:lnTo>
                        <a:pt x="0" y="20955"/>
                      </a:lnTo>
                      <a:lnTo>
                        <a:pt x="0" y="1989"/>
                      </a:lnTo>
                      <a:lnTo>
                        <a:pt x="6920" y="8807"/>
                      </a:lnTo>
                      <a:cubicBezTo>
                        <a:pt x="6920" y="8807"/>
                        <a:pt x="14105" y="1478"/>
                        <a:pt x="14924" y="708"/>
                      </a:cubicBezTo>
                      <a:cubicBezTo>
                        <a:pt x="15752" y="-63"/>
                        <a:pt x="18802" y="-645"/>
                        <a:pt x="20197" y="1420"/>
                      </a:cubicBezTo>
                      <a:cubicBezTo>
                        <a:pt x="21600" y="3471"/>
                        <a:pt x="20516" y="5013"/>
                        <a:pt x="19882" y="5917"/>
                      </a:cubicBezTo>
                      <a:cubicBezTo>
                        <a:pt x="19249" y="6813"/>
                        <a:pt x="12135" y="13945"/>
                        <a:pt x="12135" y="13945"/>
                      </a:cubicBezTo>
                      <a:close/>
                    </a:path>
                  </a:pathLst>
                </a:custGeom>
                <a:solidFill>
                  <a:srgbClr val="8D959D"/>
                </a:solidFill>
                <a:ln w="6437" cap="flat">
                  <a:solidFill>
                    <a:srgbClr val="242E38"/>
                  </a:solidFill>
                  <a:prstDash val="solid"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sp>
            <p:nvSpPr>
              <p:cNvPr id="21" name="Shape 12508"/>
              <p:cNvSpPr/>
              <p:nvPr/>
            </p:nvSpPr>
            <p:spPr>
              <a:xfrm>
                <a:off x="4180921" y="303453"/>
                <a:ext cx="348731" cy="1986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900" h="21600" extrusionOk="0">
                    <a:moveTo>
                      <a:pt x="20890" y="21600"/>
                    </a:moveTo>
                    <a:cubicBezTo>
                      <a:pt x="20890" y="21600"/>
                      <a:pt x="10090" y="21600"/>
                      <a:pt x="8127" y="21600"/>
                    </a:cubicBezTo>
                    <a:cubicBezTo>
                      <a:pt x="6163" y="21600"/>
                      <a:pt x="4813" y="20707"/>
                      <a:pt x="3524" y="17481"/>
                    </a:cubicBezTo>
                    <a:cubicBezTo>
                      <a:pt x="2236" y="14253"/>
                      <a:pt x="-526" y="779"/>
                      <a:pt x="88" y="0"/>
                    </a:cubicBezTo>
                    <a:cubicBezTo>
                      <a:pt x="1070" y="0"/>
                      <a:pt x="13342" y="0"/>
                      <a:pt x="14570" y="0"/>
                    </a:cubicBezTo>
                    <a:cubicBezTo>
                      <a:pt x="15797" y="0"/>
                      <a:pt x="16963" y="1003"/>
                      <a:pt x="17822" y="3004"/>
                    </a:cubicBezTo>
                    <a:cubicBezTo>
                      <a:pt x="18681" y="5011"/>
                      <a:pt x="21074" y="12804"/>
                      <a:pt x="20890" y="21600"/>
                    </a:cubicBezTo>
                    <a:close/>
                  </a:path>
                </a:pathLst>
              </a:custGeom>
              <a:solidFill>
                <a:srgbClr val="C2C6CA"/>
              </a:solidFill>
              <a:ln w="12700" cap="flat">
                <a:solidFill>
                  <a:srgbClr val="8D959D"/>
                </a:solidFill>
                <a:prstDash val="solid"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grpSp>
            <p:nvGrpSpPr>
              <p:cNvPr id="22" name="Group 12511"/>
              <p:cNvGrpSpPr/>
              <p:nvPr/>
            </p:nvGrpSpPr>
            <p:grpSpPr>
              <a:xfrm>
                <a:off x="3911184" y="337171"/>
                <a:ext cx="100338" cy="118142"/>
                <a:chOff x="0" y="0"/>
                <a:chExt cx="100337" cy="118141"/>
              </a:xfrm>
            </p:grpSpPr>
            <p:sp>
              <p:nvSpPr>
                <p:cNvPr id="39" name="Shape 12509"/>
                <p:cNvSpPr/>
                <p:nvPr/>
              </p:nvSpPr>
              <p:spPr>
                <a:xfrm>
                  <a:off x="0" y="16858"/>
                  <a:ext cx="100338" cy="10128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3381"/>
                      </a:moveTo>
                      <a:lnTo>
                        <a:pt x="18320" y="0"/>
                      </a:lnTo>
                      <a:lnTo>
                        <a:pt x="10799" y="7528"/>
                      </a:lnTo>
                      <a:lnTo>
                        <a:pt x="3280" y="0"/>
                      </a:lnTo>
                      <a:lnTo>
                        <a:pt x="0" y="3381"/>
                      </a:lnTo>
                      <a:lnTo>
                        <a:pt x="7508" y="10821"/>
                      </a:lnTo>
                      <a:lnTo>
                        <a:pt x="0" y="18349"/>
                      </a:lnTo>
                      <a:lnTo>
                        <a:pt x="3213" y="21600"/>
                      </a:lnTo>
                      <a:lnTo>
                        <a:pt x="10799" y="14083"/>
                      </a:lnTo>
                      <a:lnTo>
                        <a:pt x="18387" y="21600"/>
                      </a:lnTo>
                      <a:lnTo>
                        <a:pt x="21600" y="18349"/>
                      </a:lnTo>
                      <a:lnTo>
                        <a:pt x="14090" y="10821"/>
                      </a:lnTo>
                      <a:cubicBezTo>
                        <a:pt x="14090" y="10821"/>
                        <a:pt x="21600" y="3381"/>
                        <a:pt x="21600" y="33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40" name="Shape 12510"/>
                <p:cNvSpPr/>
                <p:nvPr/>
              </p:nvSpPr>
              <p:spPr>
                <a:xfrm>
                  <a:off x="0" y="0"/>
                  <a:ext cx="100338" cy="1012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3381"/>
                      </a:moveTo>
                      <a:lnTo>
                        <a:pt x="18320" y="0"/>
                      </a:lnTo>
                      <a:lnTo>
                        <a:pt x="10799" y="7531"/>
                      </a:lnTo>
                      <a:lnTo>
                        <a:pt x="3280" y="0"/>
                      </a:lnTo>
                      <a:lnTo>
                        <a:pt x="0" y="3381"/>
                      </a:lnTo>
                      <a:lnTo>
                        <a:pt x="7508" y="10825"/>
                      </a:lnTo>
                      <a:lnTo>
                        <a:pt x="0" y="18349"/>
                      </a:lnTo>
                      <a:lnTo>
                        <a:pt x="3213" y="21600"/>
                      </a:lnTo>
                      <a:lnTo>
                        <a:pt x="10799" y="14083"/>
                      </a:lnTo>
                      <a:lnTo>
                        <a:pt x="18387" y="21600"/>
                      </a:lnTo>
                      <a:lnTo>
                        <a:pt x="21600" y="18349"/>
                      </a:lnTo>
                      <a:lnTo>
                        <a:pt x="14090" y="10825"/>
                      </a:lnTo>
                      <a:cubicBezTo>
                        <a:pt x="14090" y="10825"/>
                        <a:pt x="21600" y="3381"/>
                        <a:pt x="21600" y="3381"/>
                      </a:cubicBezTo>
                      <a:close/>
                    </a:path>
                  </a:pathLst>
                </a:custGeom>
                <a:solidFill>
                  <a:srgbClr val="4F5D68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grpSp>
            <p:nvGrpSpPr>
              <p:cNvPr id="23" name="Group 12514"/>
              <p:cNvGrpSpPr/>
              <p:nvPr/>
            </p:nvGrpSpPr>
            <p:grpSpPr>
              <a:xfrm>
                <a:off x="994654" y="724917"/>
                <a:ext cx="171739" cy="200905"/>
                <a:chOff x="0" y="0"/>
                <a:chExt cx="171738" cy="200903"/>
              </a:xfrm>
            </p:grpSpPr>
            <p:sp>
              <p:nvSpPr>
                <p:cNvPr id="37" name="Shape 12512"/>
                <p:cNvSpPr/>
                <p:nvPr/>
              </p:nvSpPr>
              <p:spPr>
                <a:xfrm>
                  <a:off x="0" y="16858"/>
                  <a:ext cx="171739" cy="18404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9889"/>
                      </a:moveTo>
                      <a:lnTo>
                        <a:pt x="21600" y="0"/>
                      </a:lnTo>
                      <a:lnTo>
                        <a:pt x="18109" y="3229"/>
                      </a:lnTo>
                      <a:cubicBezTo>
                        <a:pt x="16199" y="1770"/>
                        <a:pt x="13758" y="893"/>
                        <a:pt x="11096" y="893"/>
                      </a:cubicBezTo>
                      <a:cubicBezTo>
                        <a:pt x="4966" y="893"/>
                        <a:pt x="0" y="5528"/>
                        <a:pt x="0" y="11247"/>
                      </a:cubicBezTo>
                      <a:cubicBezTo>
                        <a:pt x="0" y="16965"/>
                        <a:pt x="4966" y="21600"/>
                        <a:pt x="11096" y="21600"/>
                      </a:cubicBezTo>
                      <a:cubicBezTo>
                        <a:pt x="14663" y="21600"/>
                        <a:pt x="17933" y="20099"/>
                        <a:pt x="19868" y="17591"/>
                      </a:cubicBezTo>
                      <a:cubicBezTo>
                        <a:pt x="20658" y="16563"/>
                        <a:pt x="20393" y="15168"/>
                        <a:pt x="19552" y="14646"/>
                      </a:cubicBezTo>
                      <a:cubicBezTo>
                        <a:pt x="18181" y="13576"/>
                        <a:pt x="17003" y="15061"/>
                        <a:pt x="17003" y="15061"/>
                      </a:cubicBezTo>
                      <a:cubicBezTo>
                        <a:pt x="15705" y="16806"/>
                        <a:pt x="13545" y="17948"/>
                        <a:pt x="11096" y="17948"/>
                      </a:cubicBezTo>
                      <a:cubicBezTo>
                        <a:pt x="7126" y="17948"/>
                        <a:pt x="3911" y="14949"/>
                        <a:pt x="3911" y="11247"/>
                      </a:cubicBezTo>
                      <a:cubicBezTo>
                        <a:pt x="3911" y="7543"/>
                        <a:pt x="7126" y="4543"/>
                        <a:pt x="11096" y="4543"/>
                      </a:cubicBezTo>
                      <a:cubicBezTo>
                        <a:pt x="12672" y="4543"/>
                        <a:pt x="14127" y="5018"/>
                        <a:pt x="15311" y="5820"/>
                      </a:cubicBezTo>
                      <a:lnTo>
                        <a:pt x="10913" y="9889"/>
                      </a:lnTo>
                      <a:cubicBezTo>
                        <a:pt x="10913" y="9889"/>
                        <a:pt x="21600" y="9889"/>
                        <a:pt x="21600" y="9889"/>
                      </a:cubicBezTo>
                      <a:close/>
                    </a:path>
                  </a:pathLst>
                </a:custGeom>
                <a:solidFill>
                  <a:srgbClr val="F5F6F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38" name="Shape 12513"/>
                <p:cNvSpPr/>
                <p:nvPr/>
              </p:nvSpPr>
              <p:spPr>
                <a:xfrm>
                  <a:off x="0" y="0"/>
                  <a:ext cx="171739" cy="18404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9891"/>
                      </a:moveTo>
                      <a:lnTo>
                        <a:pt x="21600" y="0"/>
                      </a:lnTo>
                      <a:lnTo>
                        <a:pt x="18109" y="3231"/>
                      </a:lnTo>
                      <a:cubicBezTo>
                        <a:pt x="16199" y="1772"/>
                        <a:pt x="13758" y="893"/>
                        <a:pt x="11096" y="893"/>
                      </a:cubicBezTo>
                      <a:cubicBezTo>
                        <a:pt x="4966" y="893"/>
                        <a:pt x="0" y="5528"/>
                        <a:pt x="0" y="11247"/>
                      </a:cubicBezTo>
                      <a:cubicBezTo>
                        <a:pt x="0" y="16965"/>
                        <a:pt x="4966" y="21600"/>
                        <a:pt x="11096" y="21600"/>
                      </a:cubicBezTo>
                      <a:cubicBezTo>
                        <a:pt x="14663" y="21600"/>
                        <a:pt x="17933" y="20099"/>
                        <a:pt x="19868" y="17591"/>
                      </a:cubicBezTo>
                      <a:cubicBezTo>
                        <a:pt x="20658" y="16565"/>
                        <a:pt x="20393" y="15170"/>
                        <a:pt x="19552" y="14648"/>
                      </a:cubicBezTo>
                      <a:cubicBezTo>
                        <a:pt x="18181" y="13578"/>
                        <a:pt x="17003" y="15063"/>
                        <a:pt x="17003" y="15063"/>
                      </a:cubicBezTo>
                      <a:cubicBezTo>
                        <a:pt x="15705" y="16808"/>
                        <a:pt x="13545" y="17952"/>
                        <a:pt x="11096" y="17952"/>
                      </a:cubicBezTo>
                      <a:cubicBezTo>
                        <a:pt x="7126" y="17952"/>
                        <a:pt x="3911" y="14949"/>
                        <a:pt x="3911" y="11247"/>
                      </a:cubicBezTo>
                      <a:cubicBezTo>
                        <a:pt x="3911" y="7543"/>
                        <a:pt x="7126" y="4545"/>
                        <a:pt x="11096" y="4545"/>
                      </a:cubicBezTo>
                      <a:cubicBezTo>
                        <a:pt x="12672" y="4545"/>
                        <a:pt x="14127" y="5018"/>
                        <a:pt x="15311" y="5820"/>
                      </a:cubicBezTo>
                      <a:lnTo>
                        <a:pt x="10913" y="9891"/>
                      </a:lnTo>
                      <a:cubicBezTo>
                        <a:pt x="10913" y="9891"/>
                        <a:pt x="21600" y="9891"/>
                        <a:pt x="21600" y="9891"/>
                      </a:cubicBezTo>
                      <a:close/>
                    </a:path>
                  </a:pathLst>
                </a:custGeom>
                <a:solidFill>
                  <a:srgbClr val="4F5D68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grpSp>
            <p:nvGrpSpPr>
              <p:cNvPr id="24" name="Group 12517"/>
              <p:cNvGrpSpPr/>
              <p:nvPr/>
            </p:nvGrpSpPr>
            <p:grpSpPr>
              <a:xfrm>
                <a:off x="590049" y="724917"/>
                <a:ext cx="198573" cy="205905"/>
                <a:chOff x="0" y="0"/>
                <a:chExt cx="198572" cy="205903"/>
              </a:xfrm>
            </p:grpSpPr>
            <p:sp>
              <p:nvSpPr>
                <p:cNvPr id="35" name="Shape 12515"/>
                <p:cNvSpPr/>
                <p:nvPr/>
              </p:nvSpPr>
              <p:spPr>
                <a:xfrm>
                  <a:off x="0" y="16858"/>
                  <a:ext cx="198573" cy="18904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914" h="21228" extrusionOk="0">
                      <a:moveTo>
                        <a:pt x="20228" y="9150"/>
                      </a:moveTo>
                      <a:lnTo>
                        <a:pt x="17418" y="6366"/>
                      </a:lnTo>
                      <a:lnTo>
                        <a:pt x="11967" y="557"/>
                      </a:lnTo>
                      <a:cubicBezTo>
                        <a:pt x="11273" y="-186"/>
                        <a:pt x="10147" y="-186"/>
                        <a:pt x="9453" y="557"/>
                      </a:cubicBezTo>
                      <a:cubicBezTo>
                        <a:pt x="8757" y="1297"/>
                        <a:pt x="8757" y="2496"/>
                        <a:pt x="9453" y="3236"/>
                      </a:cubicBezTo>
                      <a:lnTo>
                        <a:pt x="14086" y="8177"/>
                      </a:lnTo>
                      <a:lnTo>
                        <a:pt x="2319" y="8177"/>
                      </a:lnTo>
                      <a:cubicBezTo>
                        <a:pt x="1040" y="8177"/>
                        <a:pt x="0" y="9268"/>
                        <a:pt x="0" y="10616"/>
                      </a:cubicBezTo>
                      <a:cubicBezTo>
                        <a:pt x="0" y="11958"/>
                        <a:pt x="1040" y="13049"/>
                        <a:pt x="2319" y="13049"/>
                      </a:cubicBezTo>
                      <a:lnTo>
                        <a:pt x="14088" y="13049"/>
                      </a:lnTo>
                      <a:lnTo>
                        <a:pt x="9453" y="17990"/>
                      </a:lnTo>
                      <a:cubicBezTo>
                        <a:pt x="8757" y="18730"/>
                        <a:pt x="8757" y="19930"/>
                        <a:pt x="9453" y="20669"/>
                      </a:cubicBezTo>
                      <a:cubicBezTo>
                        <a:pt x="10147" y="21414"/>
                        <a:pt x="11273" y="21414"/>
                        <a:pt x="11967" y="20669"/>
                      </a:cubicBezTo>
                      <a:lnTo>
                        <a:pt x="17418" y="14860"/>
                      </a:lnTo>
                      <a:lnTo>
                        <a:pt x="20463" y="11849"/>
                      </a:lnTo>
                      <a:cubicBezTo>
                        <a:pt x="21600" y="10636"/>
                        <a:pt x="20228" y="9150"/>
                        <a:pt x="20228" y="9150"/>
                      </a:cubicBezTo>
                      <a:close/>
                    </a:path>
                  </a:pathLst>
                </a:custGeom>
                <a:solidFill>
                  <a:srgbClr val="F5F6F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36" name="Shape 12516"/>
                <p:cNvSpPr/>
                <p:nvPr/>
              </p:nvSpPr>
              <p:spPr>
                <a:xfrm>
                  <a:off x="0" y="-1"/>
                  <a:ext cx="198573" cy="1890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914" h="21230" extrusionOk="0">
                      <a:moveTo>
                        <a:pt x="20228" y="9149"/>
                      </a:moveTo>
                      <a:lnTo>
                        <a:pt x="17418" y="6366"/>
                      </a:lnTo>
                      <a:lnTo>
                        <a:pt x="11967" y="555"/>
                      </a:lnTo>
                      <a:cubicBezTo>
                        <a:pt x="11273" y="-185"/>
                        <a:pt x="10147" y="-185"/>
                        <a:pt x="9453" y="555"/>
                      </a:cubicBezTo>
                      <a:cubicBezTo>
                        <a:pt x="8757" y="1294"/>
                        <a:pt x="8757" y="2496"/>
                        <a:pt x="9453" y="3236"/>
                      </a:cubicBezTo>
                      <a:lnTo>
                        <a:pt x="14086" y="8176"/>
                      </a:lnTo>
                      <a:lnTo>
                        <a:pt x="2319" y="8176"/>
                      </a:lnTo>
                      <a:cubicBezTo>
                        <a:pt x="1040" y="8176"/>
                        <a:pt x="0" y="9267"/>
                        <a:pt x="0" y="10615"/>
                      </a:cubicBezTo>
                      <a:cubicBezTo>
                        <a:pt x="0" y="11957"/>
                        <a:pt x="1040" y="13048"/>
                        <a:pt x="2319" y="13048"/>
                      </a:cubicBezTo>
                      <a:lnTo>
                        <a:pt x="14088" y="13048"/>
                      </a:lnTo>
                      <a:lnTo>
                        <a:pt x="9453" y="17991"/>
                      </a:lnTo>
                      <a:cubicBezTo>
                        <a:pt x="8757" y="18730"/>
                        <a:pt x="8757" y="19930"/>
                        <a:pt x="9453" y="20674"/>
                      </a:cubicBezTo>
                      <a:cubicBezTo>
                        <a:pt x="10147" y="21415"/>
                        <a:pt x="11273" y="21415"/>
                        <a:pt x="11967" y="20674"/>
                      </a:cubicBezTo>
                      <a:lnTo>
                        <a:pt x="17418" y="14862"/>
                      </a:lnTo>
                      <a:lnTo>
                        <a:pt x="20463" y="11846"/>
                      </a:lnTo>
                      <a:cubicBezTo>
                        <a:pt x="21600" y="10635"/>
                        <a:pt x="20228" y="9149"/>
                        <a:pt x="20228" y="9149"/>
                      </a:cubicBezTo>
                      <a:close/>
                    </a:path>
                  </a:pathLst>
                </a:custGeom>
                <a:solidFill>
                  <a:srgbClr val="8D959D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grpSp>
            <p:nvGrpSpPr>
              <p:cNvPr id="25" name="Group 12520"/>
              <p:cNvGrpSpPr/>
              <p:nvPr/>
            </p:nvGrpSpPr>
            <p:grpSpPr>
              <a:xfrm>
                <a:off x="236019" y="724917"/>
                <a:ext cx="198562" cy="205905"/>
                <a:chOff x="0" y="0"/>
                <a:chExt cx="198560" cy="205903"/>
              </a:xfrm>
            </p:grpSpPr>
            <p:sp>
              <p:nvSpPr>
                <p:cNvPr id="33" name="Shape 12518"/>
                <p:cNvSpPr/>
                <p:nvPr/>
              </p:nvSpPr>
              <p:spPr>
                <a:xfrm>
                  <a:off x="-1" y="16858"/>
                  <a:ext cx="198562" cy="18904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914" h="21228" extrusionOk="0">
                      <a:moveTo>
                        <a:pt x="686" y="9150"/>
                      </a:moveTo>
                      <a:lnTo>
                        <a:pt x="3496" y="6366"/>
                      </a:lnTo>
                      <a:lnTo>
                        <a:pt x="8947" y="557"/>
                      </a:lnTo>
                      <a:cubicBezTo>
                        <a:pt x="9642" y="-186"/>
                        <a:pt x="10766" y="-186"/>
                        <a:pt x="11463" y="557"/>
                      </a:cubicBezTo>
                      <a:cubicBezTo>
                        <a:pt x="12158" y="1297"/>
                        <a:pt x="12158" y="2496"/>
                        <a:pt x="11463" y="3236"/>
                      </a:cubicBezTo>
                      <a:lnTo>
                        <a:pt x="6829" y="8177"/>
                      </a:lnTo>
                      <a:lnTo>
                        <a:pt x="18595" y="8177"/>
                      </a:lnTo>
                      <a:cubicBezTo>
                        <a:pt x="19876" y="8177"/>
                        <a:pt x="20914" y="9268"/>
                        <a:pt x="20914" y="10616"/>
                      </a:cubicBezTo>
                      <a:cubicBezTo>
                        <a:pt x="20914" y="11958"/>
                        <a:pt x="19876" y="13049"/>
                        <a:pt x="18595" y="13049"/>
                      </a:cubicBezTo>
                      <a:lnTo>
                        <a:pt x="6828" y="13049"/>
                      </a:lnTo>
                      <a:lnTo>
                        <a:pt x="11463" y="17990"/>
                      </a:lnTo>
                      <a:cubicBezTo>
                        <a:pt x="12158" y="18730"/>
                        <a:pt x="12158" y="19930"/>
                        <a:pt x="11463" y="20669"/>
                      </a:cubicBezTo>
                      <a:cubicBezTo>
                        <a:pt x="10766" y="21414"/>
                        <a:pt x="9642" y="21414"/>
                        <a:pt x="8947" y="20669"/>
                      </a:cubicBezTo>
                      <a:lnTo>
                        <a:pt x="3496" y="14860"/>
                      </a:lnTo>
                      <a:lnTo>
                        <a:pt x="452" y="11849"/>
                      </a:lnTo>
                      <a:cubicBezTo>
                        <a:pt x="-686" y="10636"/>
                        <a:pt x="686" y="9150"/>
                        <a:pt x="686" y="9150"/>
                      </a:cubicBezTo>
                      <a:close/>
                    </a:path>
                  </a:pathLst>
                </a:custGeom>
                <a:solidFill>
                  <a:srgbClr val="F5F6F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34" name="Shape 12519"/>
                <p:cNvSpPr/>
                <p:nvPr/>
              </p:nvSpPr>
              <p:spPr>
                <a:xfrm>
                  <a:off x="-1" y="-1"/>
                  <a:ext cx="198562" cy="1890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914" h="21230" extrusionOk="0">
                      <a:moveTo>
                        <a:pt x="686" y="9149"/>
                      </a:moveTo>
                      <a:lnTo>
                        <a:pt x="3496" y="6366"/>
                      </a:lnTo>
                      <a:lnTo>
                        <a:pt x="8947" y="555"/>
                      </a:lnTo>
                      <a:cubicBezTo>
                        <a:pt x="9642" y="-185"/>
                        <a:pt x="10766" y="-185"/>
                        <a:pt x="11463" y="555"/>
                      </a:cubicBezTo>
                      <a:cubicBezTo>
                        <a:pt x="12158" y="1294"/>
                        <a:pt x="12158" y="2496"/>
                        <a:pt x="11463" y="3236"/>
                      </a:cubicBezTo>
                      <a:lnTo>
                        <a:pt x="6829" y="8176"/>
                      </a:lnTo>
                      <a:lnTo>
                        <a:pt x="18595" y="8176"/>
                      </a:lnTo>
                      <a:cubicBezTo>
                        <a:pt x="19876" y="8176"/>
                        <a:pt x="20914" y="9267"/>
                        <a:pt x="20914" y="10615"/>
                      </a:cubicBezTo>
                      <a:cubicBezTo>
                        <a:pt x="20914" y="11957"/>
                        <a:pt x="19876" y="13048"/>
                        <a:pt x="18595" y="13048"/>
                      </a:cubicBezTo>
                      <a:lnTo>
                        <a:pt x="6828" y="13048"/>
                      </a:lnTo>
                      <a:lnTo>
                        <a:pt x="11463" y="17991"/>
                      </a:lnTo>
                      <a:cubicBezTo>
                        <a:pt x="12158" y="18730"/>
                        <a:pt x="12158" y="19930"/>
                        <a:pt x="11463" y="20674"/>
                      </a:cubicBezTo>
                      <a:cubicBezTo>
                        <a:pt x="10766" y="21415"/>
                        <a:pt x="9642" y="21415"/>
                        <a:pt x="8947" y="20674"/>
                      </a:cubicBezTo>
                      <a:lnTo>
                        <a:pt x="3496" y="14862"/>
                      </a:lnTo>
                      <a:lnTo>
                        <a:pt x="452" y="11846"/>
                      </a:lnTo>
                      <a:cubicBezTo>
                        <a:pt x="-686" y="10635"/>
                        <a:pt x="686" y="9149"/>
                        <a:pt x="686" y="9149"/>
                      </a:cubicBezTo>
                      <a:close/>
                    </a:path>
                  </a:pathLst>
                </a:custGeom>
                <a:solidFill>
                  <a:srgbClr val="4F5D68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sp>
            <p:nvSpPr>
              <p:cNvPr id="26" name="Shape 12521"/>
              <p:cNvSpPr/>
              <p:nvPr/>
            </p:nvSpPr>
            <p:spPr>
              <a:xfrm>
                <a:off x="0" y="1045230"/>
                <a:ext cx="13389100" cy="17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ubicBezTo>
                      <a:pt x="2160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8D959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4572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3000"/>
              </a:p>
            </p:txBody>
          </p:sp>
          <p:grpSp>
            <p:nvGrpSpPr>
              <p:cNvPr id="27" name="Group 12524"/>
              <p:cNvGrpSpPr/>
              <p:nvPr/>
            </p:nvGrpSpPr>
            <p:grpSpPr>
              <a:xfrm>
                <a:off x="13031616" y="724975"/>
                <a:ext cx="236548" cy="193874"/>
                <a:chOff x="0" y="0"/>
                <a:chExt cx="236546" cy="193873"/>
              </a:xfrm>
            </p:grpSpPr>
            <p:sp>
              <p:nvSpPr>
                <p:cNvPr id="31" name="Shape 12522"/>
                <p:cNvSpPr/>
                <p:nvPr/>
              </p:nvSpPr>
              <p:spPr>
                <a:xfrm>
                  <a:off x="0" y="0"/>
                  <a:ext cx="236547" cy="19387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24" y="0"/>
                      </a:moveTo>
                      <a:cubicBezTo>
                        <a:pt x="860" y="0"/>
                        <a:pt x="0" y="1053"/>
                        <a:pt x="0" y="2348"/>
                      </a:cubicBezTo>
                      <a:cubicBezTo>
                        <a:pt x="0" y="3645"/>
                        <a:pt x="860" y="4696"/>
                        <a:pt x="1924" y="4696"/>
                      </a:cubicBezTo>
                      <a:lnTo>
                        <a:pt x="19676" y="4696"/>
                      </a:lnTo>
                      <a:cubicBezTo>
                        <a:pt x="20743" y="4696"/>
                        <a:pt x="21600" y="3645"/>
                        <a:pt x="21600" y="2348"/>
                      </a:cubicBezTo>
                      <a:cubicBezTo>
                        <a:pt x="21600" y="1053"/>
                        <a:pt x="20743" y="0"/>
                        <a:pt x="19676" y="0"/>
                      </a:cubicBezTo>
                      <a:lnTo>
                        <a:pt x="1924" y="0"/>
                      </a:lnTo>
                      <a:close/>
                      <a:moveTo>
                        <a:pt x="1924" y="9391"/>
                      </a:moveTo>
                      <a:cubicBezTo>
                        <a:pt x="860" y="9391"/>
                        <a:pt x="0" y="10446"/>
                        <a:pt x="0" y="11739"/>
                      </a:cubicBezTo>
                      <a:cubicBezTo>
                        <a:pt x="0" y="13034"/>
                        <a:pt x="860" y="14087"/>
                        <a:pt x="1924" y="14087"/>
                      </a:cubicBezTo>
                      <a:lnTo>
                        <a:pt x="19676" y="14087"/>
                      </a:lnTo>
                      <a:cubicBezTo>
                        <a:pt x="20743" y="14087"/>
                        <a:pt x="21600" y="13034"/>
                        <a:pt x="21600" y="11739"/>
                      </a:cubicBezTo>
                      <a:cubicBezTo>
                        <a:pt x="21600" y="10446"/>
                        <a:pt x="20743" y="9391"/>
                        <a:pt x="19676" y="9391"/>
                      </a:cubicBezTo>
                      <a:lnTo>
                        <a:pt x="1924" y="9391"/>
                      </a:lnTo>
                      <a:close/>
                      <a:moveTo>
                        <a:pt x="1924" y="16904"/>
                      </a:moveTo>
                      <a:cubicBezTo>
                        <a:pt x="860" y="16904"/>
                        <a:pt x="0" y="17957"/>
                        <a:pt x="0" y="19252"/>
                      </a:cubicBezTo>
                      <a:cubicBezTo>
                        <a:pt x="0" y="20547"/>
                        <a:pt x="860" y="21600"/>
                        <a:pt x="1924" y="21600"/>
                      </a:cubicBezTo>
                      <a:lnTo>
                        <a:pt x="19676" y="21600"/>
                      </a:lnTo>
                      <a:cubicBezTo>
                        <a:pt x="20743" y="21600"/>
                        <a:pt x="21600" y="20547"/>
                        <a:pt x="21600" y="19252"/>
                      </a:cubicBezTo>
                      <a:cubicBezTo>
                        <a:pt x="21600" y="17957"/>
                        <a:pt x="20743" y="16904"/>
                        <a:pt x="19676" y="16904"/>
                      </a:cubicBezTo>
                      <a:lnTo>
                        <a:pt x="1924" y="16904"/>
                      </a:lnTo>
                      <a:close/>
                    </a:path>
                  </a:pathLst>
                </a:custGeom>
                <a:solidFill>
                  <a:srgbClr val="F5F6F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32" name="Shape 12523"/>
                <p:cNvSpPr/>
                <p:nvPr/>
              </p:nvSpPr>
              <p:spPr>
                <a:xfrm>
                  <a:off x="0" y="0"/>
                  <a:ext cx="236547" cy="17701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24" y="0"/>
                      </a:moveTo>
                      <a:cubicBezTo>
                        <a:pt x="860" y="0"/>
                        <a:pt x="0" y="1151"/>
                        <a:pt x="0" y="2571"/>
                      </a:cubicBezTo>
                      <a:cubicBezTo>
                        <a:pt x="0" y="3988"/>
                        <a:pt x="860" y="5143"/>
                        <a:pt x="1924" y="5143"/>
                      </a:cubicBezTo>
                      <a:lnTo>
                        <a:pt x="19676" y="5143"/>
                      </a:lnTo>
                      <a:cubicBezTo>
                        <a:pt x="20743" y="5143"/>
                        <a:pt x="21600" y="3988"/>
                        <a:pt x="21600" y="2571"/>
                      </a:cubicBezTo>
                      <a:cubicBezTo>
                        <a:pt x="21600" y="1151"/>
                        <a:pt x="20743" y="0"/>
                        <a:pt x="19676" y="0"/>
                      </a:cubicBezTo>
                      <a:lnTo>
                        <a:pt x="1924" y="0"/>
                      </a:lnTo>
                      <a:close/>
                      <a:moveTo>
                        <a:pt x="1924" y="8229"/>
                      </a:moveTo>
                      <a:cubicBezTo>
                        <a:pt x="860" y="8229"/>
                        <a:pt x="0" y="9382"/>
                        <a:pt x="0" y="10800"/>
                      </a:cubicBezTo>
                      <a:cubicBezTo>
                        <a:pt x="0" y="12218"/>
                        <a:pt x="860" y="13371"/>
                        <a:pt x="1924" y="13371"/>
                      </a:cubicBezTo>
                      <a:lnTo>
                        <a:pt x="19676" y="13371"/>
                      </a:lnTo>
                      <a:cubicBezTo>
                        <a:pt x="20743" y="13371"/>
                        <a:pt x="21600" y="12218"/>
                        <a:pt x="21600" y="10800"/>
                      </a:cubicBezTo>
                      <a:cubicBezTo>
                        <a:pt x="21600" y="9382"/>
                        <a:pt x="20743" y="8229"/>
                        <a:pt x="19676" y="8229"/>
                      </a:cubicBezTo>
                      <a:lnTo>
                        <a:pt x="1924" y="8229"/>
                      </a:lnTo>
                      <a:close/>
                      <a:moveTo>
                        <a:pt x="1924" y="16457"/>
                      </a:moveTo>
                      <a:cubicBezTo>
                        <a:pt x="860" y="16457"/>
                        <a:pt x="0" y="17610"/>
                        <a:pt x="0" y="19029"/>
                      </a:cubicBezTo>
                      <a:cubicBezTo>
                        <a:pt x="0" y="20447"/>
                        <a:pt x="860" y="21600"/>
                        <a:pt x="1924" y="21600"/>
                      </a:cubicBezTo>
                      <a:lnTo>
                        <a:pt x="19676" y="21600"/>
                      </a:lnTo>
                      <a:cubicBezTo>
                        <a:pt x="20743" y="21600"/>
                        <a:pt x="21600" y="20447"/>
                        <a:pt x="21600" y="19029"/>
                      </a:cubicBezTo>
                      <a:cubicBezTo>
                        <a:pt x="21600" y="17610"/>
                        <a:pt x="20743" y="16457"/>
                        <a:pt x="19676" y="16457"/>
                      </a:cubicBezTo>
                      <a:lnTo>
                        <a:pt x="1924" y="16457"/>
                      </a:lnTo>
                      <a:close/>
                    </a:path>
                  </a:pathLst>
                </a:custGeom>
                <a:solidFill>
                  <a:srgbClr val="4F5D68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</p:grpSp>
          <p:grpSp>
            <p:nvGrpSpPr>
              <p:cNvPr id="28" name="Group 12527"/>
              <p:cNvGrpSpPr/>
              <p:nvPr/>
            </p:nvGrpSpPr>
            <p:grpSpPr>
              <a:xfrm>
                <a:off x="1441684" y="698473"/>
                <a:ext cx="215504" cy="215490"/>
                <a:chOff x="0" y="0"/>
                <a:chExt cx="215503" cy="215489"/>
              </a:xfrm>
            </p:grpSpPr>
            <p:sp>
              <p:nvSpPr>
                <p:cNvPr id="29" name="Shape 12525"/>
                <p:cNvSpPr/>
                <p:nvPr/>
              </p:nvSpPr>
              <p:spPr>
                <a:xfrm>
                  <a:off x="0" y="0"/>
                  <a:ext cx="215504" cy="21549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087" y="19950"/>
                      </a:moveTo>
                      <a:cubicBezTo>
                        <a:pt x="14106" y="19766"/>
                        <a:pt x="13979" y="19583"/>
                        <a:pt x="13979" y="19583"/>
                      </a:cubicBezTo>
                      <a:lnTo>
                        <a:pt x="14851" y="18336"/>
                      </a:lnTo>
                      <a:cubicBezTo>
                        <a:pt x="14851" y="18336"/>
                        <a:pt x="15560" y="17445"/>
                        <a:pt x="15649" y="17090"/>
                      </a:cubicBezTo>
                      <a:cubicBezTo>
                        <a:pt x="15737" y="16736"/>
                        <a:pt x="16623" y="16294"/>
                        <a:pt x="17161" y="15338"/>
                      </a:cubicBezTo>
                      <a:cubicBezTo>
                        <a:pt x="17692" y="14377"/>
                        <a:pt x="14934" y="14979"/>
                        <a:pt x="15277" y="14769"/>
                      </a:cubicBezTo>
                      <a:cubicBezTo>
                        <a:pt x="15619" y="14566"/>
                        <a:pt x="14671" y="14339"/>
                        <a:pt x="13605" y="14010"/>
                      </a:cubicBezTo>
                      <a:cubicBezTo>
                        <a:pt x="12536" y="13681"/>
                        <a:pt x="12101" y="12298"/>
                        <a:pt x="12101" y="12298"/>
                      </a:cubicBezTo>
                      <a:cubicBezTo>
                        <a:pt x="9354" y="11227"/>
                        <a:pt x="11563" y="15883"/>
                        <a:pt x="11563" y="15883"/>
                      </a:cubicBezTo>
                      <a:cubicBezTo>
                        <a:pt x="11563" y="15883"/>
                        <a:pt x="12290" y="16136"/>
                        <a:pt x="12391" y="16939"/>
                      </a:cubicBezTo>
                      <a:cubicBezTo>
                        <a:pt x="12486" y="17692"/>
                        <a:pt x="12228" y="19931"/>
                        <a:pt x="13163" y="20235"/>
                      </a:cubicBezTo>
                      <a:cubicBezTo>
                        <a:pt x="12404" y="20424"/>
                        <a:pt x="11613" y="20531"/>
                        <a:pt x="10797" y="20531"/>
                      </a:cubicBezTo>
                      <a:cubicBezTo>
                        <a:pt x="5432" y="20531"/>
                        <a:pt x="1069" y="16168"/>
                        <a:pt x="1069" y="10798"/>
                      </a:cubicBezTo>
                      <a:cubicBezTo>
                        <a:pt x="1069" y="9949"/>
                        <a:pt x="1188" y="9133"/>
                        <a:pt x="1391" y="8356"/>
                      </a:cubicBezTo>
                      <a:cubicBezTo>
                        <a:pt x="1702" y="8861"/>
                        <a:pt x="2259" y="9710"/>
                        <a:pt x="3252" y="11083"/>
                      </a:cubicBezTo>
                      <a:cubicBezTo>
                        <a:pt x="5389" y="14010"/>
                        <a:pt x="6630" y="12947"/>
                        <a:pt x="8938" y="14656"/>
                      </a:cubicBezTo>
                      <a:cubicBezTo>
                        <a:pt x="11246" y="16363"/>
                        <a:pt x="9918" y="13390"/>
                        <a:pt x="8938" y="13402"/>
                      </a:cubicBezTo>
                      <a:cubicBezTo>
                        <a:pt x="7963" y="13415"/>
                        <a:pt x="7250" y="11259"/>
                        <a:pt x="7250" y="11259"/>
                      </a:cubicBezTo>
                      <a:cubicBezTo>
                        <a:pt x="7250" y="11259"/>
                        <a:pt x="6807" y="9746"/>
                        <a:pt x="7603" y="8976"/>
                      </a:cubicBezTo>
                      <a:cubicBezTo>
                        <a:pt x="8405" y="8204"/>
                        <a:pt x="8671" y="9128"/>
                        <a:pt x="9292" y="8976"/>
                      </a:cubicBezTo>
                      <a:cubicBezTo>
                        <a:pt x="9918" y="8824"/>
                        <a:pt x="10273" y="7971"/>
                        <a:pt x="10001" y="7172"/>
                      </a:cubicBezTo>
                      <a:cubicBezTo>
                        <a:pt x="9735" y="6369"/>
                        <a:pt x="9026" y="7792"/>
                        <a:pt x="8584" y="7615"/>
                      </a:cubicBezTo>
                      <a:cubicBezTo>
                        <a:pt x="8140" y="7439"/>
                        <a:pt x="8405" y="6819"/>
                        <a:pt x="10715" y="6281"/>
                      </a:cubicBezTo>
                      <a:cubicBezTo>
                        <a:pt x="13024" y="5750"/>
                        <a:pt x="11424" y="4928"/>
                        <a:pt x="11424" y="4928"/>
                      </a:cubicBezTo>
                      <a:cubicBezTo>
                        <a:pt x="11424" y="4928"/>
                        <a:pt x="10450" y="5395"/>
                        <a:pt x="9557" y="4769"/>
                      </a:cubicBezTo>
                      <a:cubicBezTo>
                        <a:pt x="8671" y="4149"/>
                        <a:pt x="8849" y="5838"/>
                        <a:pt x="7958" y="4149"/>
                      </a:cubicBezTo>
                      <a:cubicBezTo>
                        <a:pt x="7268" y="2834"/>
                        <a:pt x="5768" y="3162"/>
                        <a:pt x="4688" y="3232"/>
                      </a:cubicBezTo>
                      <a:cubicBezTo>
                        <a:pt x="6364" y="1878"/>
                        <a:pt x="8489" y="1068"/>
                        <a:pt x="10797" y="1068"/>
                      </a:cubicBezTo>
                      <a:cubicBezTo>
                        <a:pt x="13861" y="1068"/>
                        <a:pt x="16585" y="2486"/>
                        <a:pt x="18375" y="4700"/>
                      </a:cubicBezTo>
                      <a:cubicBezTo>
                        <a:pt x="17522" y="4775"/>
                        <a:pt x="16104" y="5091"/>
                        <a:pt x="15788" y="6274"/>
                      </a:cubicBezTo>
                      <a:lnTo>
                        <a:pt x="14523" y="7729"/>
                      </a:lnTo>
                      <a:cubicBezTo>
                        <a:pt x="12991" y="9544"/>
                        <a:pt x="15123" y="10924"/>
                        <a:pt x="15522" y="10798"/>
                      </a:cubicBezTo>
                      <a:cubicBezTo>
                        <a:pt x="15922" y="10678"/>
                        <a:pt x="16654" y="10075"/>
                        <a:pt x="17186" y="11342"/>
                      </a:cubicBezTo>
                      <a:cubicBezTo>
                        <a:pt x="17717" y="12606"/>
                        <a:pt x="17713" y="15143"/>
                        <a:pt x="18047" y="15541"/>
                      </a:cubicBezTo>
                      <a:cubicBezTo>
                        <a:pt x="18375" y="15939"/>
                        <a:pt x="19336" y="14958"/>
                        <a:pt x="19248" y="13358"/>
                      </a:cubicBezTo>
                      <a:cubicBezTo>
                        <a:pt x="19395" y="12884"/>
                        <a:pt x="20205" y="12277"/>
                        <a:pt x="20493" y="11537"/>
                      </a:cubicBezTo>
                      <a:cubicBezTo>
                        <a:pt x="20205" y="15426"/>
                        <a:pt x="17616" y="18678"/>
                        <a:pt x="14087" y="19950"/>
                      </a:cubicBezTo>
                      <a:cubicBezTo>
                        <a:pt x="14087" y="19950"/>
                        <a:pt x="14087" y="19950"/>
                        <a:pt x="14087" y="19950"/>
                      </a:cubicBezTo>
                      <a:close/>
                      <a:moveTo>
                        <a:pt x="10797" y="0"/>
                      </a:moveTo>
                      <a:cubicBezTo>
                        <a:pt x="4845" y="0"/>
                        <a:pt x="0" y="4845"/>
                        <a:pt x="0" y="10798"/>
                      </a:cubicBezTo>
                      <a:cubicBezTo>
                        <a:pt x="0" y="16755"/>
                        <a:pt x="4845" y="21600"/>
                        <a:pt x="10797" y="21600"/>
                      </a:cubicBezTo>
                      <a:cubicBezTo>
                        <a:pt x="16756" y="21600"/>
                        <a:pt x="21600" y="16755"/>
                        <a:pt x="21600" y="10798"/>
                      </a:cubicBezTo>
                      <a:cubicBezTo>
                        <a:pt x="21600" y="4845"/>
                        <a:pt x="16756" y="0"/>
                        <a:pt x="10797" y="0"/>
                      </a:cubicBezTo>
                      <a:cubicBezTo>
                        <a:pt x="10797" y="0"/>
                        <a:pt x="10797" y="0"/>
                        <a:pt x="10797" y="0"/>
                      </a:cubicBezTo>
                      <a:close/>
                    </a:path>
                  </a:pathLst>
                </a:custGeom>
                <a:solidFill>
                  <a:srgbClr val="C2C6CA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9050" tIns="19050" rIns="19050" bIns="19050" numCol="1" anchor="ctr">
                  <a:noAutofit/>
                </a:bodyPr>
                <a:lstStyle/>
                <a:p>
                  <a:pPr defTabSz="457200">
                    <a:defRPr sz="3000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3000"/>
                </a:p>
              </p:txBody>
            </p:sp>
            <p:sp>
              <p:nvSpPr>
                <p:cNvPr id="30" name="Shape 12526"/>
                <p:cNvSpPr/>
                <p:nvPr/>
              </p:nvSpPr>
              <p:spPr>
                <a:xfrm>
                  <a:off x="1584" y="1577"/>
                  <a:ext cx="212335" cy="212335"/>
                </a:xfrm>
                <a:prstGeom prst="ellipse">
                  <a:avLst/>
                </a:prstGeom>
                <a:noFill/>
                <a:ln w="25400" cap="flat">
                  <a:solidFill>
                    <a:srgbClr val="8D959D"/>
                  </a:solidFill>
                  <a:prstDash val="solid"/>
                  <a:miter lim="400000"/>
                </a:ln>
                <a:effectLst/>
              </p:spPr>
              <p:txBody>
                <a:bodyPr wrap="square" lIns="25400" tIns="25400" rIns="25400" bIns="25400" numCol="1" anchor="ctr">
                  <a:noAutofit/>
                </a:bodyPr>
                <a:lstStyle/>
                <a:p>
                  <a:pPr>
                    <a:defRPr sz="3200">
                      <a:solidFill>
                        <a:srgbClr val="FFFFFF"/>
                      </a:solidFill>
                    </a:defRPr>
                  </a:pPr>
                  <a:endParaRPr sz="3200"/>
                </a:p>
              </p:txBody>
            </p:sp>
          </p:grpSp>
        </p:grpSp>
      </p:grpSp>
      <p:sp>
        <p:nvSpPr>
          <p:cNvPr id="5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514298" y="4397597"/>
            <a:ext cx="12070508" cy="648019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6699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780024" y="1426366"/>
            <a:ext cx="8780708" cy="7281636"/>
          </a:xfrm>
          <a:custGeom>
            <a:avLst/>
            <a:gdLst>
              <a:gd name="connsiteX0" fmla="*/ 4390354 w 4390354"/>
              <a:gd name="connsiteY0" fmla="*/ 0 h 3640818"/>
              <a:gd name="connsiteX1" fmla="*/ 4323679 w 4390354"/>
              <a:gd name="connsiteY1" fmla="*/ 2650218 h 3640818"/>
              <a:gd name="connsiteX2" fmla="*/ 95250 w 4390354"/>
              <a:gd name="connsiteY2" fmla="*/ 3640818 h 3640818"/>
              <a:gd name="connsiteX3" fmla="*/ 0 w 4390354"/>
              <a:gd name="connsiteY3" fmla="*/ 962025 h 3640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90354" h="3640818">
                <a:moveTo>
                  <a:pt x="4390354" y="0"/>
                </a:moveTo>
                <a:lnTo>
                  <a:pt x="4323679" y="2650218"/>
                </a:lnTo>
                <a:lnTo>
                  <a:pt x="95250" y="3640818"/>
                </a:lnTo>
                <a:lnTo>
                  <a:pt x="0" y="962025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9808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91799" y="6812118"/>
            <a:ext cx="8082438" cy="4338208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3209911" y="6812118"/>
            <a:ext cx="8082438" cy="4338208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668656" y="6586194"/>
            <a:ext cx="9046852" cy="485585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81186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29028" y="2979111"/>
            <a:ext cx="24384000" cy="9496706"/>
          </a:xfrm>
          <a:prstGeom prst="rect">
            <a:avLst/>
          </a:prstGeom>
          <a:gradFill flip="none" rotWithShape="1">
            <a:gsLst>
              <a:gs pos="58000">
                <a:srgbClr val="FFFFFF"/>
              </a:gs>
              <a:gs pos="100000">
                <a:srgbClr val="D4D7DD"/>
              </a:gs>
              <a:gs pos="0">
                <a:srgbClr val="A9AFBA"/>
              </a:gs>
            </a:gsLst>
            <a:path path="circle">
              <a:fillToRect l="50000" t="50000" r="50000" b="50000"/>
            </a:path>
            <a:tileRect/>
          </a:gradFill>
          <a:ln w="63500">
            <a:noFill/>
            <a:miter lim="400000"/>
          </a:ln>
        </p:spPr>
        <p:txBody>
          <a:bodyPr lIns="50800" tIns="50800" rIns="50800" bIns="50800" anchor="ctr"/>
          <a:lstStyle/>
          <a:p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83772" y="4741334"/>
            <a:ext cx="4696180" cy="566702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414473" y="5908337"/>
            <a:ext cx="2164598" cy="2204130"/>
          </a:xfrm>
          <a:prstGeom prst="ellipse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31813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13377429" y="768120"/>
            <a:ext cx="9492342" cy="12185884"/>
          </a:xfrm>
          <a:custGeom>
            <a:avLst/>
            <a:gdLst>
              <a:gd name="connsiteX0" fmla="*/ 4032360 w 4746171"/>
              <a:gd name="connsiteY0" fmla="*/ 1258733 h 6092942"/>
              <a:gd name="connsiteX1" fmla="*/ 4043139 w 4746171"/>
              <a:gd name="connsiteY1" fmla="*/ 1264893 h 6092942"/>
              <a:gd name="connsiteX2" fmla="*/ 4043139 w 4746171"/>
              <a:gd name="connsiteY2" fmla="*/ 1267716 h 6092942"/>
              <a:gd name="connsiteX3" fmla="*/ 4026199 w 4746171"/>
              <a:gd name="connsiteY3" fmla="*/ 1253599 h 6092942"/>
              <a:gd name="connsiteX4" fmla="*/ 4032360 w 4746171"/>
              <a:gd name="connsiteY4" fmla="*/ 1258733 h 6092942"/>
              <a:gd name="connsiteX5" fmla="*/ 4029189 w 4746171"/>
              <a:gd name="connsiteY5" fmla="*/ 1256921 h 6092942"/>
              <a:gd name="connsiteX6" fmla="*/ 1778755 w 4746171"/>
              <a:gd name="connsiteY6" fmla="*/ 0 h 6092942"/>
              <a:gd name="connsiteX7" fmla="*/ 1843694 w 4746171"/>
              <a:gd name="connsiteY7" fmla="*/ 0 h 6092942"/>
              <a:gd name="connsiteX8" fmla="*/ 1888869 w 4746171"/>
              <a:gd name="connsiteY8" fmla="*/ 0 h 6092942"/>
              <a:gd name="connsiteX9" fmla="*/ 1934043 w 4746171"/>
              <a:gd name="connsiteY9" fmla="*/ 8470 h 6092942"/>
              <a:gd name="connsiteX10" fmla="*/ 1973571 w 4746171"/>
              <a:gd name="connsiteY10" fmla="*/ 16941 h 6092942"/>
              <a:gd name="connsiteX11" fmla="*/ 2015923 w 4746171"/>
              <a:gd name="connsiteY11" fmla="*/ 31058 h 6092942"/>
              <a:gd name="connsiteX12" fmla="*/ 2061097 w 4746171"/>
              <a:gd name="connsiteY12" fmla="*/ 39528 h 6092942"/>
              <a:gd name="connsiteX13" fmla="*/ 2106272 w 4746171"/>
              <a:gd name="connsiteY13" fmla="*/ 50822 h 6092942"/>
              <a:gd name="connsiteX14" fmla="*/ 2154270 w 4746171"/>
              <a:gd name="connsiteY14" fmla="*/ 70586 h 6092942"/>
              <a:gd name="connsiteX15" fmla="*/ 2219209 w 4746171"/>
              <a:gd name="connsiteY15" fmla="*/ 87526 h 6092942"/>
              <a:gd name="connsiteX16" fmla="*/ 2281324 w 4746171"/>
              <a:gd name="connsiteY16" fmla="*/ 110114 h 6092942"/>
              <a:gd name="connsiteX17" fmla="*/ 2394261 w 4746171"/>
              <a:gd name="connsiteY17" fmla="*/ 141171 h 6092942"/>
              <a:gd name="connsiteX18" fmla="*/ 2445083 w 4746171"/>
              <a:gd name="connsiteY18" fmla="*/ 143995 h 6092942"/>
              <a:gd name="connsiteX19" fmla="*/ 2498728 w 4746171"/>
              <a:gd name="connsiteY19" fmla="*/ 152465 h 6092942"/>
              <a:gd name="connsiteX20" fmla="*/ 2569313 w 4746171"/>
              <a:gd name="connsiteY20" fmla="*/ 172229 h 6092942"/>
              <a:gd name="connsiteX21" fmla="*/ 2631429 w 4746171"/>
              <a:gd name="connsiteY21" fmla="*/ 197640 h 6092942"/>
              <a:gd name="connsiteX22" fmla="*/ 2693544 w 4746171"/>
              <a:gd name="connsiteY22" fmla="*/ 234344 h 6092942"/>
              <a:gd name="connsiteX23" fmla="*/ 2755659 w 4746171"/>
              <a:gd name="connsiteY23" fmla="*/ 273872 h 6092942"/>
              <a:gd name="connsiteX24" fmla="*/ 2812127 w 4746171"/>
              <a:gd name="connsiteY24" fmla="*/ 321870 h 6092942"/>
              <a:gd name="connsiteX25" fmla="*/ 2854479 w 4746171"/>
              <a:gd name="connsiteY25" fmla="*/ 335987 h 6092942"/>
              <a:gd name="connsiteX26" fmla="*/ 2888360 w 4746171"/>
              <a:gd name="connsiteY26" fmla="*/ 344458 h 6092942"/>
              <a:gd name="connsiteX27" fmla="*/ 2913771 w 4746171"/>
              <a:gd name="connsiteY27" fmla="*/ 355751 h 6092942"/>
              <a:gd name="connsiteX28" fmla="*/ 2942005 w 4746171"/>
              <a:gd name="connsiteY28" fmla="*/ 375515 h 6092942"/>
              <a:gd name="connsiteX29" fmla="*/ 2967416 w 4746171"/>
              <a:gd name="connsiteY29" fmla="*/ 392456 h 6092942"/>
              <a:gd name="connsiteX30" fmla="*/ 2990003 w 4746171"/>
              <a:gd name="connsiteY30" fmla="*/ 409396 h 6092942"/>
              <a:gd name="connsiteX31" fmla="*/ 3006943 w 4746171"/>
              <a:gd name="connsiteY31" fmla="*/ 437630 h 6092942"/>
              <a:gd name="connsiteX32" fmla="*/ 3026707 w 4746171"/>
              <a:gd name="connsiteY32" fmla="*/ 457394 h 6092942"/>
              <a:gd name="connsiteX33" fmla="*/ 3038001 w 4746171"/>
              <a:gd name="connsiteY33" fmla="*/ 485629 h 6092942"/>
              <a:gd name="connsiteX34" fmla="*/ 3043648 w 4746171"/>
              <a:gd name="connsiteY34" fmla="*/ 516686 h 6092942"/>
              <a:gd name="connsiteX35" fmla="*/ 3088823 w 4746171"/>
              <a:gd name="connsiteY35" fmla="*/ 564684 h 6092942"/>
              <a:gd name="connsiteX36" fmla="*/ 3162232 w 4746171"/>
              <a:gd name="connsiteY36" fmla="*/ 666327 h 6092942"/>
              <a:gd name="connsiteX37" fmla="*/ 3238464 w 4746171"/>
              <a:gd name="connsiteY37" fmla="*/ 773617 h 6092942"/>
              <a:gd name="connsiteX38" fmla="*/ 3371165 w 4746171"/>
              <a:gd name="connsiteY38" fmla="*/ 976904 h 6092942"/>
              <a:gd name="connsiteX39" fmla="*/ 3467161 w 4746171"/>
              <a:gd name="connsiteY39" fmla="*/ 1132192 h 6092942"/>
              <a:gd name="connsiteX40" fmla="*/ 3503866 w 4746171"/>
              <a:gd name="connsiteY40" fmla="*/ 1191484 h 6092942"/>
              <a:gd name="connsiteX41" fmla="*/ 3515159 w 4746171"/>
              <a:gd name="connsiteY41" fmla="*/ 1183013 h 6092942"/>
              <a:gd name="connsiteX42" fmla="*/ 3546217 w 4746171"/>
              <a:gd name="connsiteY42" fmla="*/ 1171720 h 6092942"/>
              <a:gd name="connsiteX43" fmla="*/ 3591392 w 4746171"/>
              <a:gd name="connsiteY43" fmla="*/ 1157603 h 6092942"/>
              <a:gd name="connsiteX44" fmla="*/ 3619626 w 4746171"/>
              <a:gd name="connsiteY44" fmla="*/ 1151956 h 6092942"/>
              <a:gd name="connsiteX45" fmla="*/ 3645037 w 4746171"/>
              <a:gd name="connsiteY45" fmla="*/ 1151956 h 6092942"/>
              <a:gd name="connsiteX46" fmla="*/ 3676094 w 4746171"/>
              <a:gd name="connsiteY46" fmla="*/ 1163250 h 6092942"/>
              <a:gd name="connsiteX47" fmla="*/ 3709975 w 4746171"/>
              <a:gd name="connsiteY47" fmla="*/ 1174543 h 6092942"/>
              <a:gd name="connsiteX48" fmla="*/ 3741033 w 4746171"/>
              <a:gd name="connsiteY48" fmla="*/ 1197131 h 6092942"/>
              <a:gd name="connsiteX49" fmla="*/ 3769267 w 4746171"/>
              <a:gd name="connsiteY49" fmla="*/ 1214071 h 6092942"/>
              <a:gd name="connsiteX50" fmla="*/ 3794678 w 4746171"/>
              <a:gd name="connsiteY50" fmla="*/ 1211248 h 6092942"/>
              <a:gd name="connsiteX51" fmla="*/ 3842676 w 4746171"/>
              <a:gd name="connsiteY51" fmla="*/ 1205601 h 6092942"/>
              <a:gd name="connsiteX52" fmla="*/ 3896321 w 4746171"/>
              <a:gd name="connsiteY52" fmla="*/ 1211248 h 6092942"/>
              <a:gd name="connsiteX53" fmla="*/ 3955613 w 4746171"/>
              <a:gd name="connsiteY53" fmla="*/ 1222541 h 6092942"/>
              <a:gd name="connsiteX54" fmla="*/ 3981024 w 4746171"/>
              <a:gd name="connsiteY54" fmla="*/ 1233835 h 6092942"/>
              <a:gd name="connsiteX55" fmla="*/ 4003611 w 4746171"/>
              <a:gd name="connsiteY55" fmla="*/ 1242305 h 6092942"/>
              <a:gd name="connsiteX56" fmla="*/ 4029189 w 4746171"/>
              <a:gd name="connsiteY56" fmla="*/ 1256921 h 6092942"/>
              <a:gd name="connsiteX57" fmla="*/ 4051609 w 4746171"/>
              <a:gd name="connsiteY57" fmla="*/ 1281833 h 6092942"/>
              <a:gd name="connsiteX58" fmla="*/ 4108078 w 4746171"/>
              <a:gd name="connsiteY58" fmla="*/ 1298774 h 6092942"/>
              <a:gd name="connsiteX59" fmla="*/ 4136312 w 4746171"/>
              <a:gd name="connsiteY59" fmla="*/ 1290303 h 6092942"/>
              <a:gd name="connsiteX60" fmla="*/ 4161723 w 4746171"/>
              <a:gd name="connsiteY60" fmla="*/ 1273363 h 6092942"/>
              <a:gd name="connsiteX61" fmla="*/ 4161723 w 4746171"/>
              <a:gd name="connsiteY61" fmla="*/ 1276186 h 6092942"/>
              <a:gd name="connsiteX62" fmla="*/ 4150429 w 4746171"/>
              <a:gd name="connsiteY62" fmla="*/ 1295950 h 6092942"/>
              <a:gd name="connsiteX63" fmla="*/ 4130665 w 4746171"/>
              <a:gd name="connsiteY63" fmla="*/ 1304421 h 6092942"/>
              <a:gd name="connsiteX64" fmla="*/ 4178663 w 4746171"/>
              <a:gd name="connsiteY64" fmla="*/ 1298774 h 6092942"/>
              <a:gd name="connsiteX65" fmla="*/ 4229485 w 4746171"/>
              <a:gd name="connsiteY65" fmla="*/ 1284657 h 6092942"/>
              <a:gd name="connsiteX66" fmla="*/ 4232309 w 4746171"/>
              <a:gd name="connsiteY66" fmla="*/ 1290303 h 6092942"/>
              <a:gd name="connsiteX67" fmla="*/ 4229485 w 4746171"/>
              <a:gd name="connsiteY67" fmla="*/ 1290303 h 6092942"/>
              <a:gd name="connsiteX68" fmla="*/ 4192781 w 4746171"/>
              <a:gd name="connsiteY68" fmla="*/ 1304421 h 6092942"/>
              <a:gd name="connsiteX69" fmla="*/ 4153253 w 4746171"/>
              <a:gd name="connsiteY69" fmla="*/ 1312891 h 6092942"/>
              <a:gd name="connsiteX70" fmla="*/ 4209721 w 4746171"/>
              <a:gd name="connsiteY70" fmla="*/ 1338302 h 6092942"/>
              <a:gd name="connsiteX71" fmla="*/ 4269013 w 4746171"/>
              <a:gd name="connsiteY71" fmla="*/ 1366536 h 6092942"/>
              <a:gd name="connsiteX72" fmla="*/ 4325481 w 4746171"/>
              <a:gd name="connsiteY72" fmla="*/ 1397593 h 6092942"/>
              <a:gd name="connsiteX73" fmla="*/ 4384773 w 4746171"/>
              <a:gd name="connsiteY73" fmla="*/ 1437121 h 6092942"/>
              <a:gd name="connsiteX74" fmla="*/ 4432771 w 4746171"/>
              <a:gd name="connsiteY74" fmla="*/ 1479473 h 6092942"/>
              <a:gd name="connsiteX75" fmla="*/ 4480769 w 4746171"/>
              <a:gd name="connsiteY75" fmla="*/ 1530294 h 6092942"/>
              <a:gd name="connsiteX76" fmla="*/ 4525944 w 4746171"/>
              <a:gd name="connsiteY76" fmla="*/ 1581116 h 6092942"/>
              <a:gd name="connsiteX77" fmla="*/ 4559825 w 4746171"/>
              <a:gd name="connsiteY77" fmla="*/ 1640408 h 6092942"/>
              <a:gd name="connsiteX78" fmla="*/ 4599353 w 4746171"/>
              <a:gd name="connsiteY78" fmla="*/ 1682759 h 6092942"/>
              <a:gd name="connsiteX79" fmla="*/ 4627587 w 4746171"/>
              <a:gd name="connsiteY79" fmla="*/ 1733581 h 6092942"/>
              <a:gd name="connsiteX80" fmla="*/ 4652998 w 4746171"/>
              <a:gd name="connsiteY80" fmla="*/ 1781579 h 6092942"/>
              <a:gd name="connsiteX81" fmla="*/ 4667115 w 4746171"/>
              <a:gd name="connsiteY81" fmla="*/ 1835224 h 6092942"/>
              <a:gd name="connsiteX82" fmla="*/ 4675585 w 4746171"/>
              <a:gd name="connsiteY82" fmla="*/ 1891692 h 6092942"/>
              <a:gd name="connsiteX83" fmla="*/ 4681233 w 4746171"/>
              <a:gd name="connsiteY83" fmla="*/ 1945337 h 6092942"/>
              <a:gd name="connsiteX84" fmla="*/ 4681233 w 4746171"/>
              <a:gd name="connsiteY84" fmla="*/ 2007452 h 6092942"/>
              <a:gd name="connsiteX85" fmla="*/ 4669939 w 4746171"/>
              <a:gd name="connsiteY85" fmla="*/ 2063921 h 6092942"/>
              <a:gd name="connsiteX86" fmla="*/ 4667115 w 4746171"/>
              <a:gd name="connsiteY86" fmla="*/ 2142976 h 6092942"/>
              <a:gd name="connsiteX87" fmla="*/ 4652998 w 4746171"/>
              <a:gd name="connsiteY87" fmla="*/ 2222032 h 6092942"/>
              <a:gd name="connsiteX88" fmla="*/ 4652998 w 4746171"/>
              <a:gd name="connsiteY88" fmla="*/ 2241796 h 6092942"/>
              <a:gd name="connsiteX89" fmla="*/ 4667115 w 4746171"/>
              <a:gd name="connsiteY89" fmla="*/ 2298265 h 6092942"/>
              <a:gd name="connsiteX90" fmla="*/ 4669939 w 4746171"/>
              <a:gd name="connsiteY90" fmla="*/ 2368850 h 6092942"/>
              <a:gd name="connsiteX91" fmla="*/ 4667115 w 4746171"/>
              <a:gd name="connsiteY91" fmla="*/ 2439436 h 6092942"/>
              <a:gd name="connsiteX92" fmla="*/ 4652998 w 4746171"/>
              <a:gd name="connsiteY92" fmla="*/ 2507198 h 6092942"/>
              <a:gd name="connsiteX93" fmla="*/ 4630411 w 4746171"/>
              <a:gd name="connsiteY93" fmla="*/ 2577783 h 6092942"/>
              <a:gd name="connsiteX94" fmla="*/ 4621941 w 4746171"/>
              <a:gd name="connsiteY94" fmla="*/ 2642722 h 6092942"/>
              <a:gd name="connsiteX95" fmla="*/ 4599353 w 4746171"/>
              <a:gd name="connsiteY95" fmla="*/ 2704837 h 6092942"/>
              <a:gd name="connsiteX96" fmla="*/ 4582413 w 4746171"/>
              <a:gd name="connsiteY96" fmla="*/ 2744365 h 6092942"/>
              <a:gd name="connsiteX97" fmla="*/ 4576765 w 4746171"/>
              <a:gd name="connsiteY97" fmla="*/ 2764129 h 6092942"/>
              <a:gd name="connsiteX98" fmla="*/ 4588059 w 4746171"/>
              <a:gd name="connsiteY98" fmla="*/ 2803657 h 6092942"/>
              <a:gd name="connsiteX99" fmla="*/ 4590883 w 4746171"/>
              <a:gd name="connsiteY99" fmla="*/ 2843185 h 6092942"/>
              <a:gd name="connsiteX100" fmla="*/ 4588059 w 4746171"/>
              <a:gd name="connsiteY100" fmla="*/ 2882713 h 6092942"/>
              <a:gd name="connsiteX101" fmla="*/ 4582413 w 4746171"/>
              <a:gd name="connsiteY101" fmla="*/ 2916594 h 6092942"/>
              <a:gd name="connsiteX102" fmla="*/ 4559825 w 4746171"/>
              <a:gd name="connsiteY102" fmla="*/ 2978709 h 6092942"/>
              <a:gd name="connsiteX103" fmla="*/ 4537238 w 4746171"/>
              <a:gd name="connsiteY103" fmla="*/ 3038001 h 6092942"/>
              <a:gd name="connsiteX104" fmla="*/ 4542885 w 4746171"/>
              <a:gd name="connsiteY104" fmla="*/ 3054941 h 6092942"/>
              <a:gd name="connsiteX105" fmla="*/ 4551355 w 4746171"/>
              <a:gd name="connsiteY105" fmla="*/ 3117057 h 6092942"/>
              <a:gd name="connsiteX106" fmla="*/ 4557002 w 4746171"/>
              <a:gd name="connsiteY106" fmla="*/ 3173525 h 6092942"/>
              <a:gd name="connsiteX107" fmla="*/ 4557002 w 4746171"/>
              <a:gd name="connsiteY107" fmla="*/ 3235640 h 6092942"/>
              <a:gd name="connsiteX108" fmla="*/ 4551355 w 4746171"/>
              <a:gd name="connsiteY108" fmla="*/ 3292109 h 6092942"/>
              <a:gd name="connsiteX109" fmla="*/ 4551355 w 4746171"/>
              <a:gd name="connsiteY109" fmla="*/ 3314696 h 6092942"/>
              <a:gd name="connsiteX110" fmla="*/ 4573943 w 4746171"/>
              <a:gd name="connsiteY110" fmla="*/ 3376811 h 6092942"/>
              <a:gd name="connsiteX111" fmla="*/ 4596529 w 4746171"/>
              <a:gd name="connsiteY111" fmla="*/ 3436103 h 6092942"/>
              <a:gd name="connsiteX112" fmla="*/ 4599353 w 4746171"/>
              <a:gd name="connsiteY112" fmla="*/ 3438927 h 6092942"/>
              <a:gd name="connsiteX113" fmla="*/ 4621941 w 4746171"/>
              <a:gd name="connsiteY113" fmla="*/ 3467161 h 6092942"/>
              <a:gd name="connsiteX114" fmla="*/ 4644528 w 4746171"/>
              <a:gd name="connsiteY114" fmla="*/ 3492572 h 6092942"/>
              <a:gd name="connsiteX115" fmla="*/ 4675585 w 4746171"/>
              <a:gd name="connsiteY115" fmla="*/ 3546217 h 6092942"/>
              <a:gd name="connsiteX116" fmla="*/ 4698173 w 4746171"/>
              <a:gd name="connsiteY116" fmla="*/ 3608332 h 6092942"/>
              <a:gd name="connsiteX117" fmla="*/ 4709467 w 4746171"/>
              <a:gd name="connsiteY117" fmla="*/ 3670447 h 6092942"/>
              <a:gd name="connsiteX118" fmla="*/ 4723583 w 4746171"/>
              <a:gd name="connsiteY118" fmla="*/ 3704328 h 6092942"/>
              <a:gd name="connsiteX119" fmla="*/ 4732054 w 4746171"/>
              <a:gd name="connsiteY119" fmla="*/ 3735386 h 6092942"/>
              <a:gd name="connsiteX120" fmla="*/ 4746171 w 4746171"/>
              <a:gd name="connsiteY120" fmla="*/ 3803148 h 6092942"/>
              <a:gd name="connsiteX121" fmla="*/ 4746171 w 4746171"/>
              <a:gd name="connsiteY121" fmla="*/ 3868087 h 6092942"/>
              <a:gd name="connsiteX122" fmla="*/ 4740524 w 4746171"/>
              <a:gd name="connsiteY122" fmla="*/ 3935849 h 6092942"/>
              <a:gd name="connsiteX123" fmla="*/ 4729231 w 4746171"/>
              <a:gd name="connsiteY123" fmla="*/ 3997964 h 6092942"/>
              <a:gd name="connsiteX124" fmla="*/ 4709467 w 4746171"/>
              <a:gd name="connsiteY124" fmla="*/ 4048785 h 6092942"/>
              <a:gd name="connsiteX125" fmla="*/ 4689703 w 4746171"/>
              <a:gd name="connsiteY125" fmla="*/ 4102430 h 6092942"/>
              <a:gd name="connsiteX126" fmla="*/ 4661469 w 4746171"/>
              <a:gd name="connsiteY126" fmla="*/ 4147605 h 6092942"/>
              <a:gd name="connsiteX127" fmla="*/ 4650175 w 4746171"/>
              <a:gd name="connsiteY127" fmla="*/ 4181486 h 6092942"/>
              <a:gd name="connsiteX128" fmla="*/ 4627587 w 4746171"/>
              <a:gd name="connsiteY128" fmla="*/ 4218191 h 6092942"/>
              <a:gd name="connsiteX129" fmla="*/ 4607823 w 4746171"/>
              <a:gd name="connsiteY129" fmla="*/ 4249248 h 6092942"/>
              <a:gd name="connsiteX130" fmla="*/ 4582413 w 4746171"/>
              <a:gd name="connsiteY130" fmla="*/ 4280306 h 6092942"/>
              <a:gd name="connsiteX131" fmla="*/ 4557002 w 4746171"/>
              <a:gd name="connsiteY131" fmla="*/ 4359362 h 6092942"/>
              <a:gd name="connsiteX132" fmla="*/ 4542885 w 4746171"/>
              <a:gd name="connsiteY132" fmla="*/ 4398890 h 6092942"/>
              <a:gd name="connsiteX133" fmla="*/ 4525944 w 4746171"/>
              <a:gd name="connsiteY133" fmla="*/ 4438418 h 6092942"/>
              <a:gd name="connsiteX134" fmla="*/ 4494887 w 4746171"/>
              <a:gd name="connsiteY134" fmla="*/ 4492063 h 6092942"/>
              <a:gd name="connsiteX135" fmla="*/ 4458182 w 4746171"/>
              <a:gd name="connsiteY135" fmla="*/ 4540061 h 6092942"/>
              <a:gd name="connsiteX136" fmla="*/ 4444065 w 4746171"/>
              <a:gd name="connsiteY136" fmla="*/ 4562648 h 6092942"/>
              <a:gd name="connsiteX137" fmla="*/ 4463829 w 4746171"/>
              <a:gd name="connsiteY137" fmla="*/ 4630410 h 6092942"/>
              <a:gd name="connsiteX138" fmla="*/ 4486417 w 4746171"/>
              <a:gd name="connsiteY138" fmla="*/ 4672762 h 6092942"/>
              <a:gd name="connsiteX139" fmla="*/ 4503357 w 4746171"/>
              <a:gd name="connsiteY139" fmla="*/ 4717936 h 6092942"/>
              <a:gd name="connsiteX140" fmla="*/ 4511827 w 4746171"/>
              <a:gd name="connsiteY140" fmla="*/ 4765934 h 6092942"/>
              <a:gd name="connsiteX141" fmla="*/ 4517474 w 4746171"/>
              <a:gd name="connsiteY141" fmla="*/ 4813933 h 6092942"/>
              <a:gd name="connsiteX142" fmla="*/ 4511827 w 4746171"/>
              <a:gd name="connsiteY142" fmla="*/ 4864754 h 6092942"/>
              <a:gd name="connsiteX143" fmla="*/ 4503357 w 4746171"/>
              <a:gd name="connsiteY143" fmla="*/ 4907106 h 6092942"/>
              <a:gd name="connsiteX144" fmla="*/ 4503357 w 4746171"/>
              <a:gd name="connsiteY144" fmla="*/ 4991808 h 6092942"/>
              <a:gd name="connsiteX145" fmla="*/ 4497710 w 4746171"/>
              <a:gd name="connsiteY145" fmla="*/ 5028513 h 6092942"/>
              <a:gd name="connsiteX146" fmla="*/ 4489239 w 4746171"/>
              <a:gd name="connsiteY146" fmla="*/ 5068041 h 6092942"/>
              <a:gd name="connsiteX147" fmla="*/ 4475123 w 4746171"/>
              <a:gd name="connsiteY147" fmla="*/ 5101922 h 6092942"/>
              <a:gd name="connsiteX148" fmla="*/ 4463829 w 4746171"/>
              <a:gd name="connsiteY148" fmla="*/ 5138626 h 6092942"/>
              <a:gd name="connsiteX149" fmla="*/ 4441241 w 4746171"/>
              <a:gd name="connsiteY149" fmla="*/ 5172507 h 6092942"/>
              <a:gd name="connsiteX150" fmla="*/ 4424301 w 4746171"/>
              <a:gd name="connsiteY150" fmla="*/ 5203565 h 6092942"/>
              <a:gd name="connsiteX151" fmla="*/ 4418654 w 4746171"/>
              <a:gd name="connsiteY151" fmla="*/ 5240269 h 6092942"/>
              <a:gd name="connsiteX152" fmla="*/ 4418654 w 4746171"/>
              <a:gd name="connsiteY152" fmla="*/ 5257210 h 6092942"/>
              <a:gd name="connsiteX153" fmla="*/ 4410184 w 4746171"/>
              <a:gd name="connsiteY153" fmla="*/ 5271327 h 6092942"/>
              <a:gd name="connsiteX154" fmla="*/ 4396067 w 4746171"/>
              <a:gd name="connsiteY154" fmla="*/ 5288267 h 6092942"/>
              <a:gd name="connsiteX155" fmla="*/ 4384773 w 4746171"/>
              <a:gd name="connsiteY155" fmla="*/ 5302384 h 6092942"/>
              <a:gd name="connsiteX156" fmla="*/ 4353715 w 4746171"/>
              <a:gd name="connsiteY156" fmla="*/ 5322148 h 6092942"/>
              <a:gd name="connsiteX157" fmla="*/ 4317011 w 4746171"/>
              <a:gd name="connsiteY157" fmla="*/ 5341912 h 6092942"/>
              <a:gd name="connsiteX158" fmla="*/ 4283130 w 4746171"/>
              <a:gd name="connsiteY158" fmla="*/ 5353206 h 6092942"/>
              <a:gd name="connsiteX159" fmla="*/ 4209721 w 4746171"/>
              <a:gd name="connsiteY159" fmla="*/ 5372970 h 6092942"/>
              <a:gd name="connsiteX160" fmla="*/ 4158899 w 4746171"/>
              <a:gd name="connsiteY160" fmla="*/ 5404028 h 6092942"/>
              <a:gd name="connsiteX161" fmla="*/ 4096784 w 4746171"/>
              <a:gd name="connsiteY161" fmla="*/ 5420968 h 6092942"/>
              <a:gd name="connsiteX162" fmla="*/ 4051609 w 4746171"/>
              <a:gd name="connsiteY162" fmla="*/ 5437909 h 6092942"/>
              <a:gd name="connsiteX163" fmla="*/ 4003611 w 4746171"/>
              <a:gd name="connsiteY163" fmla="*/ 5477437 h 6092942"/>
              <a:gd name="connsiteX164" fmla="*/ 3964083 w 4746171"/>
              <a:gd name="connsiteY164" fmla="*/ 5516964 h 6092942"/>
              <a:gd name="connsiteX165" fmla="*/ 3944319 w 4746171"/>
              <a:gd name="connsiteY165" fmla="*/ 5539552 h 6092942"/>
              <a:gd name="connsiteX166" fmla="*/ 3927379 w 4746171"/>
              <a:gd name="connsiteY166" fmla="*/ 5562139 h 6092942"/>
              <a:gd name="connsiteX167" fmla="*/ 3910438 w 4746171"/>
              <a:gd name="connsiteY167" fmla="*/ 5584727 h 6092942"/>
              <a:gd name="connsiteX168" fmla="*/ 3901968 w 4746171"/>
              <a:gd name="connsiteY168" fmla="*/ 5615784 h 6092942"/>
              <a:gd name="connsiteX169" fmla="*/ 3904791 w 4746171"/>
              <a:gd name="connsiteY169" fmla="*/ 5663782 h 6092942"/>
              <a:gd name="connsiteX170" fmla="*/ 3913262 w 4746171"/>
              <a:gd name="connsiteY170" fmla="*/ 5711780 h 6092942"/>
              <a:gd name="connsiteX171" fmla="*/ 3910438 w 4746171"/>
              <a:gd name="connsiteY171" fmla="*/ 5711780 h 6092942"/>
              <a:gd name="connsiteX172" fmla="*/ 3896321 w 4746171"/>
              <a:gd name="connsiteY172" fmla="*/ 5694840 h 6092942"/>
              <a:gd name="connsiteX173" fmla="*/ 3887851 w 4746171"/>
              <a:gd name="connsiteY173" fmla="*/ 5677899 h 6092942"/>
              <a:gd name="connsiteX174" fmla="*/ 3885027 w 4746171"/>
              <a:gd name="connsiteY174" fmla="*/ 5717427 h 6092942"/>
              <a:gd name="connsiteX175" fmla="*/ 3887851 w 4746171"/>
              <a:gd name="connsiteY175" fmla="*/ 5756955 h 6092942"/>
              <a:gd name="connsiteX176" fmla="*/ 3901968 w 4746171"/>
              <a:gd name="connsiteY176" fmla="*/ 5796483 h 6092942"/>
              <a:gd name="connsiteX177" fmla="*/ 3918909 w 4746171"/>
              <a:gd name="connsiteY177" fmla="*/ 5833188 h 6092942"/>
              <a:gd name="connsiteX178" fmla="*/ 3918909 w 4746171"/>
              <a:gd name="connsiteY178" fmla="*/ 5836011 h 6092942"/>
              <a:gd name="connsiteX179" fmla="*/ 3913262 w 4746171"/>
              <a:gd name="connsiteY179" fmla="*/ 5833188 h 6092942"/>
              <a:gd name="connsiteX180" fmla="*/ 3901968 w 4746171"/>
              <a:gd name="connsiteY180" fmla="*/ 5813424 h 6092942"/>
              <a:gd name="connsiteX181" fmla="*/ 3893498 w 4746171"/>
              <a:gd name="connsiteY181" fmla="*/ 5790836 h 6092942"/>
              <a:gd name="connsiteX182" fmla="*/ 3885027 w 4746171"/>
              <a:gd name="connsiteY182" fmla="*/ 5771072 h 6092942"/>
              <a:gd name="connsiteX183" fmla="*/ 3879381 w 4746171"/>
              <a:gd name="connsiteY183" fmla="*/ 5748485 h 6092942"/>
              <a:gd name="connsiteX184" fmla="*/ 3873734 w 4746171"/>
              <a:gd name="connsiteY184" fmla="*/ 5700487 h 6092942"/>
              <a:gd name="connsiteX185" fmla="*/ 3879381 w 4746171"/>
              <a:gd name="connsiteY185" fmla="*/ 5655312 h 6092942"/>
              <a:gd name="connsiteX186" fmla="*/ 3870911 w 4746171"/>
              <a:gd name="connsiteY186" fmla="*/ 5618608 h 6092942"/>
              <a:gd name="connsiteX187" fmla="*/ 3870911 w 4746171"/>
              <a:gd name="connsiteY187" fmla="*/ 5579080 h 6092942"/>
              <a:gd name="connsiteX188" fmla="*/ 3865263 w 4746171"/>
              <a:gd name="connsiteY188" fmla="*/ 5584727 h 6092942"/>
              <a:gd name="connsiteX189" fmla="*/ 3862440 w 4746171"/>
              <a:gd name="connsiteY189" fmla="*/ 5629901 h 6092942"/>
              <a:gd name="connsiteX190" fmla="*/ 3862440 w 4746171"/>
              <a:gd name="connsiteY190" fmla="*/ 5677899 h 6092942"/>
              <a:gd name="connsiteX191" fmla="*/ 3865263 w 4746171"/>
              <a:gd name="connsiteY191" fmla="*/ 5720251 h 6092942"/>
              <a:gd name="connsiteX192" fmla="*/ 3873734 w 4746171"/>
              <a:gd name="connsiteY192" fmla="*/ 5765425 h 6092942"/>
              <a:gd name="connsiteX193" fmla="*/ 3896321 w 4746171"/>
              <a:gd name="connsiteY193" fmla="*/ 5827541 h 6092942"/>
              <a:gd name="connsiteX194" fmla="*/ 3913262 w 4746171"/>
              <a:gd name="connsiteY194" fmla="*/ 5852951 h 6092942"/>
              <a:gd name="connsiteX195" fmla="*/ 3933026 w 4746171"/>
              <a:gd name="connsiteY195" fmla="*/ 5881186 h 6092942"/>
              <a:gd name="connsiteX196" fmla="*/ 3933026 w 4746171"/>
              <a:gd name="connsiteY196" fmla="*/ 5884009 h 6092942"/>
              <a:gd name="connsiteX197" fmla="*/ 3924555 w 4746171"/>
              <a:gd name="connsiteY197" fmla="*/ 5884009 h 6092942"/>
              <a:gd name="connsiteX198" fmla="*/ 3904791 w 4746171"/>
              <a:gd name="connsiteY198" fmla="*/ 5858598 h 6092942"/>
              <a:gd name="connsiteX199" fmla="*/ 3893498 w 4746171"/>
              <a:gd name="connsiteY199" fmla="*/ 5833188 h 6092942"/>
              <a:gd name="connsiteX200" fmla="*/ 3918909 w 4746171"/>
              <a:gd name="connsiteY200" fmla="*/ 5903773 h 6092942"/>
              <a:gd name="connsiteX201" fmla="*/ 3918909 w 4746171"/>
              <a:gd name="connsiteY201" fmla="*/ 5906596 h 6092942"/>
              <a:gd name="connsiteX202" fmla="*/ 3913262 w 4746171"/>
              <a:gd name="connsiteY202" fmla="*/ 5906596 h 6092942"/>
              <a:gd name="connsiteX203" fmla="*/ 3904791 w 4746171"/>
              <a:gd name="connsiteY203" fmla="*/ 5898126 h 6092942"/>
              <a:gd name="connsiteX204" fmla="*/ 3918909 w 4746171"/>
              <a:gd name="connsiteY204" fmla="*/ 5915067 h 6092942"/>
              <a:gd name="connsiteX205" fmla="*/ 3904791 w 4746171"/>
              <a:gd name="connsiteY205" fmla="*/ 5906596 h 6092942"/>
              <a:gd name="connsiteX206" fmla="*/ 3918909 w 4746171"/>
              <a:gd name="connsiteY206" fmla="*/ 5929184 h 6092942"/>
              <a:gd name="connsiteX207" fmla="*/ 3935849 w 4746171"/>
              <a:gd name="connsiteY207" fmla="*/ 5946124 h 6092942"/>
              <a:gd name="connsiteX208" fmla="*/ 3941496 w 4746171"/>
              <a:gd name="connsiteY208" fmla="*/ 5946124 h 6092942"/>
              <a:gd name="connsiteX209" fmla="*/ 3935849 w 4746171"/>
              <a:gd name="connsiteY209" fmla="*/ 5951771 h 6092942"/>
              <a:gd name="connsiteX210" fmla="*/ 3918909 w 4746171"/>
              <a:gd name="connsiteY210" fmla="*/ 5937654 h 6092942"/>
              <a:gd name="connsiteX211" fmla="*/ 3901968 w 4746171"/>
              <a:gd name="connsiteY211" fmla="*/ 5920714 h 6092942"/>
              <a:gd name="connsiteX212" fmla="*/ 3893498 w 4746171"/>
              <a:gd name="connsiteY212" fmla="*/ 5903773 h 6092942"/>
              <a:gd name="connsiteX213" fmla="*/ 3879381 w 4746171"/>
              <a:gd name="connsiteY213" fmla="*/ 5881186 h 6092942"/>
              <a:gd name="connsiteX214" fmla="*/ 3848323 w 4746171"/>
              <a:gd name="connsiteY214" fmla="*/ 5844481 h 6092942"/>
              <a:gd name="connsiteX215" fmla="*/ 3862440 w 4746171"/>
              <a:gd name="connsiteY215" fmla="*/ 5872715 h 6092942"/>
              <a:gd name="connsiteX216" fmla="*/ 3885027 w 4746171"/>
              <a:gd name="connsiteY216" fmla="*/ 5903773 h 6092942"/>
              <a:gd name="connsiteX217" fmla="*/ 3904791 w 4746171"/>
              <a:gd name="connsiteY217" fmla="*/ 5937654 h 6092942"/>
              <a:gd name="connsiteX218" fmla="*/ 3904791 w 4746171"/>
              <a:gd name="connsiteY218" fmla="*/ 5943301 h 6092942"/>
              <a:gd name="connsiteX219" fmla="*/ 3901968 w 4746171"/>
              <a:gd name="connsiteY219" fmla="*/ 5943301 h 6092942"/>
              <a:gd name="connsiteX220" fmla="*/ 3865263 w 4746171"/>
              <a:gd name="connsiteY220" fmla="*/ 5898126 h 6092942"/>
              <a:gd name="connsiteX221" fmla="*/ 3848323 w 4746171"/>
              <a:gd name="connsiteY221" fmla="*/ 5872715 h 6092942"/>
              <a:gd name="connsiteX222" fmla="*/ 3834206 w 4746171"/>
              <a:gd name="connsiteY222" fmla="*/ 5850128 h 6092942"/>
              <a:gd name="connsiteX223" fmla="*/ 3825736 w 4746171"/>
              <a:gd name="connsiteY223" fmla="*/ 5821894 h 6092942"/>
              <a:gd name="connsiteX224" fmla="*/ 3777737 w 4746171"/>
              <a:gd name="connsiteY224" fmla="*/ 5762602 h 6092942"/>
              <a:gd name="connsiteX225" fmla="*/ 3729739 w 4746171"/>
              <a:gd name="connsiteY225" fmla="*/ 5689193 h 6092942"/>
              <a:gd name="connsiteX226" fmla="*/ 3676094 w 4746171"/>
              <a:gd name="connsiteY226" fmla="*/ 5607314 h 6092942"/>
              <a:gd name="connsiteX227" fmla="*/ 3653507 w 4746171"/>
              <a:gd name="connsiteY227" fmla="*/ 5562139 h 6092942"/>
              <a:gd name="connsiteX228" fmla="*/ 3636567 w 4746171"/>
              <a:gd name="connsiteY228" fmla="*/ 5514141 h 6092942"/>
              <a:gd name="connsiteX229" fmla="*/ 3639390 w 4746171"/>
              <a:gd name="connsiteY229" fmla="*/ 5553669 h 6092942"/>
              <a:gd name="connsiteX230" fmla="*/ 3653507 w 4746171"/>
              <a:gd name="connsiteY230" fmla="*/ 5587550 h 6092942"/>
              <a:gd name="connsiteX231" fmla="*/ 3670447 w 4746171"/>
              <a:gd name="connsiteY231" fmla="*/ 5641195 h 6092942"/>
              <a:gd name="connsiteX232" fmla="*/ 3698682 w 4746171"/>
              <a:gd name="connsiteY232" fmla="*/ 5689193 h 6092942"/>
              <a:gd name="connsiteX233" fmla="*/ 3715622 w 4746171"/>
              <a:gd name="connsiteY233" fmla="*/ 5711780 h 6092942"/>
              <a:gd name="connsiteX234" fmla="*/ 3732563 w 4746171"/>
              <a:gd name="connsiteY234" fmla="*/ 5734368 h 6092942"/>
              <a:gd name="connsiteX235" fmla="*/ 3772091 w 4746171"/>
              <a:gd name="connsiteY235" fmla="*/ 5771072 h 6092942"/>
              <a:gd name="connsiteX236" fmla="*/ 3772091 w 4746171"/>
              <a:gd name="connsiteY236" fmla="*/ 5773896 h 6092942"/>
              <a:gd name="connsiteX237" fmla="*/ 3732563 w 4746171"/>
              <a:gd name="connsiteY237" fmla="*/ 5742838 h 6092942"/>
              <a:gd name="connsiteX238" fmla="*/ 3715622 w 4746171"/>
              <a:gd name="connsiteY238" fmla="*/ 5731544 h 6092942"/>
              <a:gd name="connsiteX239" fmla="*/ 3698682 w 4746171"/>
              <a:gd name="connsiteY239" fmla="*/ 5708957 h 6092942"/>
              <a:gd name="connsiteX240" fmla="*/ 3667624 w 4746171"/>
              <a:gd name="connsiteY240" fmla="*/ 5658135 h 6092942"/>
              <a:gd name="connsiteX241" fmla="*/ 3645037 w 4746171"/>
              <a:gd name="connsiteY241" fmla="*/ 5607314 h 6092942"/>
              <a:gd name="connsiteX242" fmla="*/ 3628096 w 4746171"/>
              <a:gd name="connsiteY242" fmla="*/ 5548022 h 6092942"/>
              <a:gd name="connsiteX243" fmla="*/ 3619626 w 4746171"/>
              <a:gd name="connsiteY243" fmla="*/ 5485907 h 6092942"/>
              <a:gd name="connsiteX244" fmla="*/ 3582921 w 4746171"/>
              <a:gd name="connsiteY244" fmla="*/ 5420968 h 6092942"/>
              <a:gd name="connsiteX245" fmla="*/ 3568804 w 4746171"/>
              <a:gd name="connsiteY245" fmla="*/ 5389910 h 6092942"/>
              <a:gd name="connsiteX246" fmla="*/ 3557511 w 4746171"/>
              <a:gd name="connsiteY246" fmla="*/ 5353206 h 6092942"/>
              <a:gd name="connsiteX247" fmla="*/ 3546217 w 4746171"/>
              <a:gd name="connsiteY247" fmla="*/ 5319325 h 6092942"/>
              <a:gd name="connsiteX248" fmla="*/ 3543393 w 4746171"/>
              <a:gd name="connsiteY248" fmla="*/ 5282620 h 6092942"/>
              <a:gd name="connsiteX249" fmla="*/ 3543393 w 4746171"/>
              <a:gd name="connsiteY249" fmla="*/ 5243093 h 6092942"/>
              <a:gd name="connsiteX250" fmla="*/ 3543393 w 4746171"/>
              <a:gd name="connsiteY250" fmla="*/ 5209212 h 6092942"/>
              <a:gd name="connsiteX251" fmla="*/ 3551864 w 4746171"/>
              <a:gd name="connsiteY251" fmla="*/ 5155567 h 6092942"/>
              <a:gd name="connsiteX252" fmla="*/ 3565981 w 4746171"/>
              <a:gd name="connsiteY252" fmla="*/ 5101922 h 6092942"/>
              <a:gd name="connsiteX253" fmla="*/ 3588568 w 4746171"/>
              <a:gd name="connsiteY253" fmla="*/ 5053923 h 6092942"/>
              <a:gd name="connsiteX254" fmla="*/ 3613979 w 4746171"/>
              <a:gd name="connsiteY254" fmla="*/ 5005925 h 6092942"/>
              <a:gd name="connsiteX255" fmla="*/ 3628096 w 4746171"/>
              <a:gd name="connsiteY255" fmla="*/ 4943810 h 6092942"/>
              <a:gd name="connsiteX256" fmla="*/ 3647860 w 4746171"/>
              <a:gd name="connsiteY256" fmla="*/ 4884518 h 6092942"/>
              <a:gd name="connsiteX257" fmla="*/ 3659154 w 4746171"/>
              <a:gd name="connsiteY257" fmla="*/ 4828050 h 6092942"/>
              <a:gd name="connsiteX258" fmla="*/ 3670447 w 4746171"/>
              <a:gd name="connsiteY258" fmla="*/ 4771581 h 6092942"/>
              <a:gd name="connsiteX259" fmla="*/ 3678918 w 4746171"/>
              <a:gd name="connsiteY259" fmla="*/ 4748994 h 6092942"/>
              <a:gd name="connsiteX260" fmla="*/ 3693035 w 4746171"/>
              <a:gd name="connsiteY260" fmla="*/ 4720760 h 6092942"/>
              <a:gd name="connsiteX261" fmla="*/ 3709975 w 4746171"/>
              <a:gd name="connsiteY261" fmla="*/ 4695349 h 6092942"/>
              <a:gd name="connsiteX262" fmla="*/ 3729739 w 4746171"/>
              <a:gd name="connsiteY262" fmla="*/ 4672762 h 6092942"/>
              <a:gd name="connsiteX263" fmla="*/ 3732563 w 4746171"/>
              <a:gd name="connsiteY263" fmla="*/ 4672762 h 6092942"/>
              <a:gd name="connsiteX264" fmla="*/ 3732563 w 4746171"/>
              <a:gd name="connsiteY264" fmla="*/ 4661468 h 6092942"/>
              <a:gd name="connsiteX265" fmla="*/ 3698682 w 4746171"/>
              <a:gd name="connsiteY265" fmla="*/ 4568295 h 6092942"/>
              <a:gd name="connsiteX266" fmla="*/ 3678918 w 4746171"/>
              <a:gd name="connsiteY266" fmla="*/ 4537237 h 6092942"/>
              <a:gd name="connsiteX267" fmla="*/ 3667624 w 4746171"/>
              <a:gd name="connsiteY267" fmla="*/ 4506180 h 6092942"/>
              <a:gd name="connsiteX268" fmla="*/ 3653507 w 4746171"/>
              <a:gd name="connsiteY268" fmla="*/ 4469475 h 6092942"/>
              <a:gd name="connsiteX269" fmla="*/ 3639390 w 4746171"/>
              <a:gd name="connsiteY269" fmla="*/ 4438418 h 6092942"/>
              <a:gd name="connsiteX270" fmla="*/ 3543393 w 4746171"/>
              <a:gd name="connsiteY270" fmla="*/ 4221014 h 6092942"/>
              <a:gd name="connsiteX271" fmla="*/ 3520806 w 4746171"/>
              <a:gd name="connsiteY271" fmla="*/ 4201250 h 6092942"/>
              <a:gd name="connsiteX272" fmla="*/ 3498219 w 4746171"/>
              <a:gd name="connsiteY272" fmla="*/ 4173016 h 6092942"/>
              <a:gd name="connsiteX273" fmla="*/ 3464338 w 4746171"/>
              <a:gd name="connsiteY273" fmla="*/ 4116548 h 6092942"/>
              <a:gd name="connsiteX274" fmla="*/ 3436103 w 4746171"/>
              <a:gd name="connsiteY274" fmla="*/ 4054432 h 6092942"/>
              <a:gd name="connsiteX275" fmla="*/ 3424810 w 4746171"/>
              <a:gd name="connsiteY275" fmla="*/ 3992317 h 6092942"/>
              <a:gd name="connsiteX276" fmla="*/ 3405046 w 4746171"/>
              <a:gd name="connsiteY276" fmla="*/ 3978200 h 6092942"/>
              <a:gd name="connsiteX277" fmla="*/ 3393752 w 4746171"/>
              <a:gd name="connsiteY277" fmla="*/ 3961259 h 6092942"/>
              <a:gd name="connsiteX278" fmla="*/ 3371165 w 4746171"/>
              <a:gd name="connsiteY278" fmla="*/ 3924555 h 6092942"/>
              <a:gd name="connsiteX279" fmla="*/ 3354224 w 4746171"/>
              <a:gd name="connsiteY279" fmla="*/ 3882204 h 6092942"/>
              <a:gd name="connsiteX280" fmla="*/ 3342931 w 4746171"/>
              <a:gd name="connsiteY280" fmla="*/ 3837029 h 6092942"/>
              <a:gd name="connsiteX281" fmla="*/ 3334461 w 4746171"/>
              <a:gd name="connsiteY281" fmla="*/ 3791854 h 6092942"/>
              <a:gd name="connsiteX282" fmla="*/ 3331637 w 4746171"/>
              <a:gd name="connsiteY282" fmla="*/ 3743856 h 6092942"/>
              <a:gd name="connsiteX283" fmla="*/ 3325990 w 4746171"/>
              <a:gd name="connsiteY283" fmla="*/ 3661977 h 6092942"/>
              <a:gd name="connsiteX284" fmla="*/ 3325990 w 4746171"/>
              <a:gd name="connsiteY284" fmla="*/ 3602685 h 6092942"/>
              <a:gd name="connsiteX285" fmla="*/ 3331637 w 4746171"/>
              <a:gd name="connsiteY285" fmla="*/ 3540570 h 6092942"/>
              <a:gd name="connsiteX286" fmla="*/ 3317520 w 4746171"/>
              <a:gd name="connsiteY286" fmla="*/ 3492572 h 6092942"/>
              <a:gd name="connsiteX287" fmla="*/ 3311873 w 4746171"/>
              <a:gd name="connsiteY287" fmla="*/ 3444573 h 6092942"/>
              <a:gd name="connsiteX288" fmla="*/ 3317520 w 4746171"/>
              <a:gd name="connsiteY288" fmla="*/ 3396575 h 6092942"/>
              <a:gd name="connsiteX289" fmla="*/ 3317520 w 4746171"/>
              <a:gd name="connsiteY289" fmla="*/ 3345754 h 6092942"/>
              <a:gd name="connsiteX290" fmla="*/ 3323167 w 4746171"/>
              <a:gd name="connsiteY290" fmla="*/ 3283638 h 6092942"/>
              <a:gd name="connsiteX291" fmla="*/ 3331637 w 4746171"/>
              <a:gd name="connsiteY291" fmla="*/ 3218700 h 6092942"/>
              <a:gd name="connsiteX292" fmla="*/ 3342931 w 4746171"/>
              <a:gd name="connsiteY292" fmla="*/ 3150938 h 6092942"/>
              <a:gd name="connsiteX293" fmla="*/ 3362695 w 4746171"/>
              <a:gd name="connsiteY293" fmla="*/ 3088822 h 6092942"/>
              <a:gd name="connsiteX294" fmla="*/ 3382459 w 4746171"/>
              <a:gd name="connsiteY294" fmla="*/ 3038001 h 6092942"/>
              <a:gd name="connsiteX295" fmla="*/ 3410693 w 4746171"/>
              <a:gd name="connsiteY295" fmla="*/ 2987179 h 6092942"/>
              <a:gd name="connsiteX296" fmla="*/ 3433280 w 4746171"/>
              <a:gd name="connsiteY296" fmla="*/ 2925064 h 6092942"/>
              <a:gd name="connsiteX297" fmla="*/ 3379635 w 4746171"/>
              <a:gd name="connsiteY297" fmla="*/ 2998473 h 6092942"/>
              <a:gd name="connsiteX298" fmla="*/ 3323167 w 4746171"/>
              <a:gd name="connsiteY298" fmla="*/ 3069058 h 6092942"/>
              <a:gd name="connsiteX299" fmla="*/ 3252581 w 4746171"/>
              <a:gd name="connsiteY299" fmla="*/ 3148114 h 6092942"/>
              <a:gd name="connsiteX300" fmla="*/ 3286462 w 4746171"/>
              <a:gd name="connsiteY300" fmla="*/ 3131174 h 6092942"/>
              <a:gd name="connsiteX301" fmla="*/ 3323167 w 4746171"/>
              <a:gd name="connsiteY301" fmla="*/ 3108586 h 6092942"/>
              <a:gd name="connsiteX302" fmla="*/ 3325990 w 4746171"/>
              <a:gd name="connsiteY302" fmla="*/ 3108586 h 6092942"/>
              <a:gd name="connsiteX303" fmla="*/ 3325990 w 4746171"/>
              <a:gd name="connsiteY303" fmla="*/ 3111410 h 6092942"/>
              <a:gd name="connsiteX304" fmla="*/ 3303403 w 4746171"/>
              <a:gd name="connsiteY304" fmla="*/ 3131174 h 6092942"/>
              <a:gd name="connsiteX305" fmla="*/ 3280815 w 4746171"/>
              <a:gd name="connsiteY305" fmla="*/ 3142467 h 6092942"/>
              <a:gd name="connsiteX306" fmla="*/ 3261051 w 4746171"/>
              <a:gd name="connsiteY306" fmla="*/ 3156585 h 6092942"/>
              <a:gd name="connsiteX307" fmla="*/ 3232817 w 4746171"/>
              <a:gd name="connsiteY307" fmla="*/ 3165055 h 6092942"/>
              <a:gd name="connsiteX308" fmla="*/ 3176349 w 4746171"/>
              <a:gd name="connsiteY308" fmla="*/ 3218700 h 6092942"/>
              <a:gd name="connsiteX309" fmla="*/ 3229994 w 4746171"/>
              <a:gd name="connsiteY309" fmla="*/ 3196112 h 6092942"/>
              <a:gd name="connsiteX310" fmla="*/ 3286462 w 4746171"/>
              <a:gd name="connsiteY310" fmla="*/ 3179172 h 6092942"/>
              <a:gd name="connsiteX311" fmla="*/ 3286462 w 4746171"/>
              <a:gd name="connsiteY311" fmla="*/ 3181995 h 6092942"/>
              <a:gd name="connsiteX312" fmla="*/ 3215877 w 4746171"/>
              <a:gd name="connsiteY312" fmla="*/ 3210230 h 6092942"/>
              <a:gd name="connsiteX313" fmla="*/ 3148115 w 4746171"/>
              <a:gd name="connsiteY313" fmla="*/ 3241287 h 6092942"/>
              <a:gd name="connsiteX314" fmla="*/ 3100117 w 4746171"/>
              <a:gd name="connsiteY314" fmla="*/ 3275168 h 6092942"/>
              <a:gd name="connsiteX315" fmla="*/ 3057765 w 4746171"/>
              <a:gd name="connsiteY315" fmla="*/ 3297756 h 6092942"/>
              <a:gd name="connsiteX316" fmla="*/ 2981533 w 4746171"/>
              <a:gd name="connsiteY316" fmla="*/ 3328813 h 6092942"/>
              <a:gd name="connsiteX317" fmla="*/ 2990003 w 4746171"/>
              <a:gd name="connsiteY317" fmla="*/ 3334460 h 6092942"/>
              <a:gd name="connsiteX318" fmla="*/ 3060589 w 4746171"/>
              <a:gd name="connsiteY318" fmla="*/ 3320343 h 6092942"/>
              <a:gd name="connsiteX319" fmla="*/ 3066235 w 4746171"/>
              <a:gd name="connsiteY319" fmla="*/ 3323166 h 6092942"/>
              <a:gd name="connsiteX320" fmla="*/ 3060589 w 4746171"/>
              <a:gd name="connsiteY320" fmla="*/ 3323166 h 6092942"/>
              <a:gd name="connsiteX321" fmla="*/ 3015414 w 4746171"/>
              <a:gd name="connsiteY321" fmla="*/ 3337283 h 6092942"/>
              <a:gd name="connsiteX322" fmla="*/ 3035178 w 4746171"/>
              <a:gd name="connsiteY322" fmla="*/ 3342930 h 6092942"/>
              <a:gd name="connsiteX323" fmla="*/ 3043648 w 4746171"/>
              <a:gd name="connsiteY323" fmla="*/ 3342930 h 6092942"/>
              <a:gd name="connsiteX324" fmla="*/ 3083176 w 4746171"/>
              <a:gd name="connsiteY324" fmla="*/ 3328813 h 6092942"/>
              <a:gd name="connsiteX325" fmla="*/ 3122704 w 4746171"/>
              <a:gd name="connsiteY325" fmla="*/ 3311873 h 6092942"/>
              <a:gd name="connsiteX326" fmla="*/ 3201759 w 4746171"/>
              <a:gd name="connsiteY326" fmla="*/ 3275168 h 6092942"/>
              <a:gd name="connsiteX327" fmla="*/ 3207407 w 4746171"/>
              <a:gd name="connsiteY327" fmla="*/ 3275168 h 6092942"/>
              <a:gd name="connsiteX328" fmla="*/ 3207407 w 4746171"/>
              <a:gd name="connsiteY328" fmla="*/ 3280815 h 6092942"/>
              <a:gd name="connsiteX329" fmla="*/ 3145291 w 4746171"/>
              <a:gd name="connsiteY329" fmla="*/ 3311873 h 6092942"/>
              <a:gd name="connsiteX330" fmla="*/ 3176349 w 4746171"/>
              <a:gd name="connsiteY330" fmla="*/ 3303402 h 6092942"/>
              <a:gd name="connsiteX331" fmla="*/ 3215877 w 4746171"/>
              <a:gd name="connsiteY331" fmla="*/ 3289285 h 6092942"/>
              <a:gd name="connsiteX332" fmla="*/ 3255405 w 4746171"/>
              <a:gd name="connsiteY332" fmla="*/ 3283638 h 6092942"/>
              <a:gd name="connsiteX333" fmla="*/ 3261051 w 4746171"/>
              <a:gd name="connsiteY333" fmla="*/ 3283638 h 6092942"/>
              <a:gd name="connsiteX334" fmla="*/ 3261051 w 4746171"/>
              <a:gd name="connsiteY334" fmla="*/ 3289285 h 6092942"/>
              <a:gd name="connsiteX335" fmla="*/ 3261051 w 4746171"/>
              <a:gd name="connsiteY335" fmla="*/ 3292109 h 6092942"/>
              <a:gd name="connsiteX336" fmla="*/ 3215877 w 4746171"/>
              <a:gd name="connsiteY336" fmla="*/ 3303402 h 6092942"/>
              <a:gd name="connsiteX337" fmla="*/ 3170702 w 4746171"/>
              <a:gd name="connsiteY337" fmla="*/ 3314696 h 6092942"/>
              <a:gd name="connsiteX338" fmla="*/ 3131174 w 4746171"/>
              <a:gd name="connsiteY338" fmla="*/ 3337283 h 6092942"/>
              <a:gd name="connsiteX339" fmla="*/ 3091646 w 4746171"/>
              <a:gd name="connsiteY339" fmla="*/ 3354224 h 6092942"/>
              <a:gd name="connsiteX340" fmla="*/ 3139644 w 4746171"/>
              <a:gd name="connsiteY340" fmla="*/ 3368341 h 6092942"/>
              <a:gd name="connsiteX341" fmla="*/ 3162232 w 4746171"/>
              <a:gd name="connsiteY341" fmla="*/ 3373988 h 6092942"/>
              <a:gd name="connsiteX342" fmla="*/ 3184819 w 4746171"/>
              <a:gd name="connsiteY342" fmla="*/ 3373988 h 6092942"/>
              <a:gd name="connsiteX343" fmla="*/ 3190466 w 4746171"/>
              <a:gd name="connsiteY343" fmla="*/ 3376811 h 6092942"/>
              <a:gd name="connsiteX344" fmla="*/ 3190466 w 4746171"/>
              <a:gd name="connsiteY344" fmla="*/ 3382458 h 6092942"/>
              <a:gd name="connsiteX345" fmla="*/ 3184819 w 4746171"/>
              <a:gd name="connsiteY345" fmla="*/ 3382458 h 6092942"/>
              <a:gd name="connsiteX346" fmla="*/ 3159408 w 4746171"/>
              <a:gd name="connsiteY346" fmla="*/ 3382458 h 6092942"/>
              <a:gd name="connsiteX347" fmla="*/ 3131174 w 4746171"/>
              <a:gd name="connsiteY347" fmla="*/ 3376811 h 6092942"/>
              <a:gd name="connsiteX348" fmla="*/ 3077529 w 4746171"/>
              <a:gd name="connsiteY348" fmla="*/ 3365518 h 6092942"/>
              <a:gd name="connsiteX349" fmla="*/ 3015414 w 4746171"/>
              <a:gd name="connsiteY349" fmla="*/ 3396575 h 6092942"/>
              <a:gd name="connsiteX350" fmla="*/ 3026707 w 4746171"/>
              <a:gd name="connsiteY350" fmla="*/ 3399399 h 6092942"/>
              <a:gd name="connsiteX351" fmla="*/ 3026707 w 4746171"/>
              <a:gd name="connsiteY351" fmla="*/ 3405046 h 6092942"/>
              <a:gd name="connsiteX352" fmla="*/ 3021061 w 4746171"/>
              <a:gd name="connsiteY352" fmla="*/ 3407869 h 6092942"/>
              <a:gd name="connsiteX353" fmla="*/ 3006943 w 4746171"/>
              <a:gd name="connsiteY353" fmla="*/ 3399399 h 6092942"/>
              <a:gd name="connsiteX354" fmla="*/ 2967416 w 4746171"/>
              <a:gd name="connsiteY354" fmla="*/ 3416339 h 6092942"/>
              <a:gd name="connsiteX355" fmla="*/ 2927888 w 4746171"/>
              <a:gd name="connsiteY355" fmla="*/ 3430456 h 6092942"/>
              <a:gd name="connsiteX356" fmla="*/ 2888360 w 4746171"/>
              <a:gd name="connsiteY356" fmla="*/ 3438927 h 6092942"/>
              <a:gd name="connsiteX357" fmla="*/ 2848832 w 4746171"/>
              <a:gd name="connsiteY357" fmla="*/ 3444573 h 6092942"/>
              <a:gd name="connsiteX358" fmla="*/ 2817774 w 4746171"/>
              <a:gd name="connsiteY358" fmla="*/ 3438927 h 6092942"/>
              <a:gd name="connsiteX359" fmla="*/ 2786717 w 4746171"/>
              <a:gd name="connsiteY359" fmla="*/ 3430456 h 6092942"/>
              <a:gd name="connsiteX360" fmla="*/ 2761306 w 4746171"/>
              <a:gd name="connsiteY360" fmla="*/ 3416339 h 6092942"/>
              <a:gd name="connsiteX361" fmla="*/ 2738719 w 4746171"/>
              <a:gd name="connsiteY361" fmla="*/ 3399399 h 6092942"/>
              <a:gd name="connsiteX362" fmla="*/ 2710484 w 4746171"/>
              <a:gd name="connsiteY362" fmla="*/ 3478455 h 6092942"/>
              <a:gd name="connsiteX363" fmla="*/ 2676603 w 4746171"/>
              <a:gd name="connsiteY363" fmla="*/ 3616802 h 6092942"/>
              <a:gd name="connsiteX364" fmla="*/ 2668133 w 4746171"/>
              <a:gd name="connsiteY364" fmla="*/ 3650683 h 6092942"/>
              <a:gd name="connsiteX365" fmla="*/ 2662486 w 4746171"/>
              <a:gd name="connsiteY365" fmla="*/ 3695858 h 6092942"/>
              <a:gd name="connsiteX366" fmla="*/ 2659663 w 4746171"/>
              <a:gd name="connsiteY366" fmla="*/ 3803148 h 6092942"/>
              <a:gd name="connsiteX367" fmla="*/ 2662486 w 4746171"/>
              <a:gd name="connsiteY367" fmla="*/ 3924555 h 6092942"/>
              <a:gd name="connsiteX368" fmla="*/ 2670957 w 4746171"/>
              <a:gd name="connsiteY368" fmla="*/ 4062903 h 6092942"/>
              <a:gd name="connsiteX369" fmla="*/ 2693544 w 4746171"/>
              <a:gd name="connsiteY369" fmla="*/ 4204074 h 6092942"/>
              <a:gd name="connsiteX370" fmla="*/ 2707661 w 4746171"/>
              <a:gd name="connsiteY370" fmla="*/ 4274659 h 6092942"/>
              <a:gd name="connsiteX371" fmla="*/ 2724601 w 4746171"/>
              <a:gd name="connsiteY371" fmla="*/ 4345245 h 6092942"/>
              <a:gd name="connsiteX372" fmla="*/ 2747189 w 4746171"/>
              <a:gd name="connsiteY372" fmla="*/ 4413007 h 6092942"/>
              <a:gd name="connsiteX373" fmla="*/ 2769776 w 4746171"/>
              <a:gd name="connsiteY373" fmla="*/ 4475122 h 6092942"/>
              <a:gd name="connsiteX374" fmla="*/ 2792363 w 4746171"/>
              <a:gd name="connsiteY374" fmla="*/ 4531591 h 6092942"/>
              <a:gd name="connsiteX375" fmla="*/ 2823421 w 4746171"/>
              <a:gd name="connsiteY375" fmla="*/ 4585236 h 6092942"/>
              <a:gd name="connsiteX376" fmla="*/ 2882713 w 4746171"/>
              <a:gd name="connsiteY376" fmla="*/ 4686879 h 6092942"/>
              <a:gd name="connsiteX377" fmla="*/ 2950475 w 4746171"/>
              <a:gd name="connsiteY377" fmla="*/ 4791345 h 6092942"/>
              <a:gd name="connsiteX378" fmla="*/ 3097293 w 4746171"/>
              <a:gd name="connsiteY378" fmla="*/ 5014396 h 6092942"/>
              <a:gd name="connsiteX379" fmla="*/ 3167879 w 4746171"/>
              <a:gd name="connsiteY379" fmla="*/ 5118862 h 6092942"/>
              <a:gd name="connsiteX380" fmla="*/ 3229994 w 4746171"/>
              <a:gd name="connsiteY380" fmla="*/ 5226152 h 6092942"/>
              <a:gd name="connsiteX381" fmla="*/ 3280815 w 4746171"/>
              <a:gd name="connsiteY381" fmla="*/ 5322148 h 6092942"/>
              <a:gd name="connsiteX382" fmla="*/ 3323167 w 4746171"/>
              <a:gd name="connsiteY382" fmla="*/ 5415321 h 6092942"/>
              <a:gd name="connsiteX383" fmla="*/ 3354224 w 4746171"/>
              <a:gd name="connsiteY383" fmla="*/ 5514141 h 6092942"/>
              <a:gd name="connsiteX384" fmla="*/ 3379635 w 4746171"/>
              <a:gd name="connsiteY384" fmla="*/ 5618608 h 6092942"/>
              <a:gd name="connsiteX385" fmla="*/ 3402223 w 4746171"/>
              <a:gd name="connsiteY385" fmla="*/ 5731544 h 6092942"/>
              <a:gd name="connsiteX386" fmla="*/ 3419163 w 4746171"/>
              <a:gd name="connsiteY386" fmla="*/ 5841658 h 6092942"/>
              <a:gd name="connsiteX387" fmla="*/ 3444574 w 4746171"/>
              <a:gd name="connsiteY387" fmla="*/ 6016710 h 6092942"/>
              <a:gd name="connsiteX388" fmla="*/ 3450221 w 4746171"/>
              <a:gd name="connsiteY388" fmla="*/ 6092942 h 6092942"/>
              <a:gd name="connsiteX389" fmla="*/ 680445 w 4746171"/>
              <a:gd name="connsiteY389" fmla="*/ 6092942 h 6092942"/>
              <a:gd name="connsiteX390" fmla="*/ 700209 w 4746171"/>
              <a:gd name="connsiteY390" fmla="*/ 6044944 h 6092942"/>
              <a:gd name="connsiteX391" fmla="*/ 725619 w 4746171"/>
              <a:gd name="connsiteY391" fmla="*/ 5985652 h 6092942"/>
              <a:gd name="connsiteX392" fmla="*/ 762324 w 4746171"/>
              <a:gd name="connsiteY392" fmla="*/ 5912243 h 6092942"/>
              <a:gd name="connsiteX393" fmla="*/ 796205 w 4746171"/>
              <a:gd name="connsiteY393" fmla="*/ 5858598 h 6092942"/>
              <a:gd name="connsiteX394" fmla="*/ 844203 w 4746171"/>
              <a:gd name="connsiteY394" fmla="*/ 5779543 h 6092942"/>
              <a:gd name="connsiteX395" fmla="*/ 976904 w 4746171"/>
              <a:gd name="connsiteY395" fmla="*/ 5579080 h 6092942"/>
              <a:gd name="connsiteX396" fmla="*/ 1171720 w 4746171"/>
              <a:gd name="connsiteY396" fmla="*/ 5296738 h 6092942"/>
              <a:gd name="connsiteX397" fmla="*/ 1202778 w 4746171"/>
              <a:gd name="connsiteY397" fmla="*/ 5248739 h 6092942"/>
              <a:gd name="connsiteX398" fmla="*/ 1247952 w 4746171"/>
              <a:gd name="connsiteY398" fmla="*/ 5186624 h 6092942"/>
              <a:gd name="connsiteX399" fmla="*/ 1301597 w 4746171"/>
              <a:gd name="connsiteY399" fmla="*/ 5116039 h 6092942"/>
              <a:gd name="connsiteX400" fmla="*/ 1332655 w 4746171"/>
              <a:gd name="connsiteY400" fmla="*/ 5084981 h 6092942"/>
              <a:gd name="connsiteX401" fmla="*/ 1358066 w 4746171"/>
              <a:gd name="connsiteY401" fmla="*/ 5053923 h 6092942"/>
              <a:gd name="connsiteX402" fmla="*/ 1383477 w 4746171"/>
              <a:gd name="connsiteY402" fmla="*/ 5022866 h 6092942"/>
              <a:gd name="connsiteX403" fmla="*/ 1406064 w 4746171"/>
              <a:gd name="connsiteY403" fmla="*/ 4986161 h 6092942"/>
              <a:gd name="connsiteX404" fmla="*/ 1425828 w 4746171"/>
              <a:gd name="connsiteY404" fmla="*/ 4943810 h 6092942"/>
              <a:gd name="connsiteX405" fmla="*/ 1437122 w 4746171"/>
              <a:gd name="connsiteY405" fmla="*/ 4904282 h 6092942"/>
              <a:gd name="connsiteX406" fmla="*/ 1445592 w 4746171"/>
              <a:gd name="connsiteY406" fmla="*/ 4859107 h 6092942"/>
              <a:gd name="connsiteX407" fmla="*/ 1451239 w 4746171"/>
              <a:gd name="connsiteY407" fmla="*/ 4819579 h 6092942"/>
              <a:gd name="connsiteX408" fmla="*/ 1451239 w 4746171"/>
              <a:gd name="connsiteY408" fmla="*/ 4788522 h 6092942"/>
              <a:gd name="connsiteX409" fmla="*/ 1445592 w 4746171"/>
              <a:gd name="connsiteY409" fmla="*/ 4757464 h 6092942"/>
              <a:gd name="connsiteX410" fmla="*/ 1383477 w 4746171"/>
              <a:gd name="connsiteY410" fmla="*/ 4506180 h 6092942"/>
              <a:gd name="connsiteX411" fmla="*/ 1343949 w 4746171"/>
              <a:gd name="connsiteY411" fmla="*/ 4345245 h 6092942"/>
              <a:gd name="connsiteX412" fmla="*/ 1321361 w 4746171"/>
              <a:gd name="connsiteY412" fmla="*/ 4232308 h 6092942"/>
              <a:gd name="connsiteX413" fmla="*/ 1301597 w 4746171"/>
              <a:gd name="connsiteY413" fmla="*/ 4133488 h 6092942"/>
              <a:gd name="connsiteX414" fmla="*/ 1273363 w 4746171"/>
              <a:gd name="connsiteY414" fmla="*/ 4006434 h 6092942"/>
              <a:gd name="connsiteX415" fmla="*/ 1250776 w 4746171"/>
              <a:gd name="connsiteY415" fmla="*/ 3938672 h 6092942"/>
              <a:gd name="connsiteX416" fmla="*/ 1233835 w 4746171"/>
              <a:gd name="connsiteY416" fmla="*/ 3876557 h 6092942"/>
              <a:gd name="connsiteX417" fmla="*/ 1208424 w 4746171"/>
              <a:gd name="connsiteY417" fmla="*/ 3820088 h 6092942"/>
              <a:gd name="connsiteX418" fmla="*/ 1185837 w 4746171"/>
              <a:gd name="connsiteY418" fmla="*/ 3766443 h 6092942"/>
              <a:gd name="connsiteX419" fmla="*/ 1171720 w 4746171"/>
              <a:gd name="connsiteY419" fmla="*/ 3749503 h 6092942"/>
              <a:gd name="connsiteX420" fmla="*/ 1154779 w 4746171"/>
              <a:gd name="connsiteY420" fmla="*/ 3732562 h 6092942"/>
              <a:gd name="connsiteX421" fmla="*/ 1137839 w 4746171"/>
              <a:gd name="connsiteY421" fmla="*/ 3718445 h 6092942"/>
              <a:gd name="connsiteX422" fmla="*/ 1123722 w 4746171"/>
              <a:gd name="connsiteY422" fmla="*/ 3704328 h 6092942"/>
              <a:gd name="connsiteX423" fmla="*/ 1084194 w 4746171"/>
              <a:gd name="connsiteY423" fmla="*/ 3690211 h 6092942"/>
              <a:gd name="connsiteX424" fmla="*/ 1044666 w 4746171"/>
              <a:gd name="connsiteY424" fmla="*/ 3687388 h 6092942"/>
              <a:gd name="connsiteX425" fmla="*/ 1005138 w 4746171"/>
              <a:gd name="connsiteY425" fmla="*/ 3687388 h 6092942"/>
              <a:gd name="connsiteX426" fmla="*/ 959963 w 4746171"/>
              <a:gd name="connsiteY426" fmla="*/ 3690211 h 6092942"/>
              <a:gd name="connsiteX427" fmla="*/ 889378 w 4746171"/>
              <a:gd name="connsiteY427" fmla="*/ 3709975 h 6092942"/>
              <a:gd name="connsiteX428" fmla="*/ 796205 w 4746171"/>
              <a:gd name="connsiteY428" fmla="*/ 3721269 h 6092942"/>
              <a:gd name="connsiteX429" fmla="*/ 734090 w 4746171"/>
              <a:gd name="connsiteY429" fmla="*/ 3732562 h 6092942"/>
              <a:gd name="connsiteX430" fmla="*/ 669151 w 4746171"/>
              <a:gd name="connsiteY430" fmla="*/ 3741033 h 6092942"/>
              <a:gd name="connsiteX431" fmla="*/ 598566 w 4746171"/>
              <a:gd name="connsiteY431" fmla="*/ 3741033 h 6092942"/>
              <a:gd name="connsiteX432" fmla="*/ 525157 w 4746171"/>
              <a:gd name="connsiteY432" fmla="*/ 3741033 h 6092942"/>
              <a:gd name="connsiteX433" fmla="*/ 460218 w 4746171"/>
              <a:gd name="connsiteY433" fmla="*/ 3732562 h 6092942"/>
              <a:gd name="connsiteX434" fmla="*/ 392456 w 4746171"/>
              <a:gd name="connsiteY434" fmla="*/ 3718445 h 6092942"/>
              <a:gd name="connsiteX435" fmla="*/ 367045 w 4746171"/>
              <a:gd name="connsiteY435" fmla="*/ 3709975 h 6092942"/>
              <a:gd name="connsiteX436" fmla="*/ 344458 w 4746171"/>
              <a:gd name="connsiteY436" fmla="*/ 3695858 h 6092942"/>
              <a:gd name="connsiteX437" fmla="*/ 321870 w 4746171"/>
              <a:gd name="connsiteY437" fmla="*/ 3681741 h 6092942"/>
              <a:gd name="connsiteX438" fmla="*/ 304930 w 4746171"/>
              <a:gd name="connsiteY438" fmla="*/ 3670447 h 6092942"/>
              <a:gd name="connsiteX439" fmla="*/ 290813 w 4746171"/>
              <a:gd name="connsiteY439" fmla="*/ 3650683 h 6092942"/>
              <a:gd name="connsiteX440" fmla="*/ 279519 w 4746171"/>
              <a:gd name="connsiteY440" fmla="*/ 3633743 h 6092942"/>
              <a:gd name="connsiteX441" fmla="*/ 265402 w 4746171"/>
              <a:gd name="connsiteY441" fmla="*/ 3599862 h 6092942"/>
              <a:gd name="connsiteX442" fmla="*/ 256932 w 4746171"/>
              <a:gd name="connsiteY442" fmla="*/ 3557510 h 6092942"/>
              <a:gd name="connsiteX443" fmla="*/ 256932 w 4746171"/>
              <a:gd name="connsiteY443" fmla="*/ 3517982 h 6092942"/>
              <a:gd name="connsiteX444" fmla="*/ 262578 w 4746171"/>
              <a:gd name="connsiteY444" fmla="*/ 3438927 h 6092942"/>
              <a:gd name="connsiteX445" fmla="*/ 271049 w 4746171"/>
              <a:gd name="connsiteY445" fmla="*/ 3382458 h 6092942"/>
              <a:gd name="connsiteX446" fmla="*/ 279519 w 4746171"/>
              <a:gd name="connsiteY446" fmla="*/ 3342930 h 6092942"/>
              <a:gd name="connsiteX447" fmla="*/ 282342 w 4746171"/>
              <a:gd name="connsiteY447" fmla="*/ 3314696 h 6092942"/>
              <a:gd name="connsiteX448" fmla="*/ 282342 w 4746171"/>
              <a:gd name="connsiteY448" fmla="*/ 3306226 h 6092942"/>
              <a:gd name="connsiteX449" fmla="*/ 273872 w 4746171"/>
              <a:gd name="connsiteY449" fmla="*/ 3297756 h 6092942"/>
              <a:gd name="connsiteX450" fmla="*/ 265402 w 4746171"/>
              <a:gd name="connsiteY450" fmla="*/ 3289285 h 6092942"/>
              <a:gd name="connsiteX451" fmla="*/ 251285 w 4746171"/>
              <a:gd name="connsiteY451" fmla="*/ 3280815 h 6092942"/>
              <a:gd name="connsiteX452" fmla="*/ 217404 w 4746171"/>
              <a:gd name="connsiteY452" fmla="*/ 3272345 h 6092942"/>
              <a:gd name="connsiteX453" fmla="*/ 177876 w 4746171"/>
              <a:gd name="connsiteY453" fmla="*/ 3258228 h 6092942"/>
              <a:gd name="connsiteX454" fmla="*/ 163759 w 4746171"/>
              <a:gd name="connsiteY454" fmla="*/ 3249757 h 6092942"/>
              <a:gd name="connsiteX455" fmla="*/ 149642 w 4746171"/>
              <a:gd name="connsiteY455" fmla="*/ 3235640 h 6092942"/>
              <a:gd name="connsiteX456" fmla="*/ 146818 w 4746171"/>
              <a:gd name="connsiteY456" fmla="*/ 3218700 h 6092942"/>
              <a:gd name="connsiteX457" fmla="*/ 141171 w 4746171"/>
              <a:gd name="connsiteY457" fmla="*/ 3204583 h 6092942"/>
              <a:gd name="connsiteX458" fmla="*/ 138348 w 4746171"/>
              <a:gd name="connsiteY458" fmla="*/ 3170702 h 6092942"/>
              <a:gd name="connsiteX459" fmla="*/ 146818 w 4746171"/>
              <a:gd name="connsiteY459" fmla="*/ 3139644 h 6092942"/>
              <a:gd name="connsiteX460" fmla="*/ 155288 w 4746171"/>
              <a:gd name="connsiteY460" fmla="*/ 3111410 h 6092942"/>
              <a:gd name="connsiteX461" fmla="*/ 169406 w 4746171"/>
              <a:gd name="connsiteY461" fmla="*/ 3102940 h 6092942"/>
              <a:gd name="connsiteX462" fmla="*/ 180699 w 4746171"/>
              <a:gd name="connsiteY462" fmla="*/ 3094469 h 6092942"/>
              <a:gd name="connsiteX463" fmla="*/ 220227 w 4746171"/>
              <a:gd name="connsiteY463" fmla="*/ 3080352 h 6092942"/>
              <a:gd name="connsiteX464" fmla="*/ 256932 w 4746171"/>
              <a:gd name="connsiteY464" fmla="*/ 3071882 h 6092942"/>
              <a:gd name="connsiteX465" fmla="*/ 271049 w 4746171"/>
              <a:gd name="connsiteY465" fmla="*/ 3069058 h 6092942"/>
              <a:gd name="connsiteX466" fmla="*/ 273872 w 4746171"/>
              <a:gd name="connsiteY466" fmla="*/ 3063412 h 6092942"/>
              <a:gd name="connsiteX467" fmla="*/ 271049 w 4746171"/>
              <a:gd name="connsiteY467" fmla="*/ 3057765 h 6092942"/>
              <a:gd name="connsiteX468" fmla="*/ 256932 w 4746171"/>
              <a:gd name="connsiteY468" fmla="*/ 3054941 h 6092942"/>
              <a:gd name="connsiteX469" fmla="*/ 220227 w 4746171"/>
              <a:gd name="connsiteY469" fmla="*/ 3032354 h 6092942"/>
              <a:gd name="connsiteX470" fmla="*/ 138348 w 4746171"/>
              <a:gd name="connsiteY470" fmla="*/ 2998473 h 6092942"/>
              <a:gd name="connsiteX471" fmla="*/ 115761 w 4746171"/>
              <a:gd name="connsiteY471" fmla="*/ 2984356 h 6092942"/>
              <a:gd name="connsiteX472" fmla="*/ 101643 w 4746171"/>
              <a:gd name="connsiteY472" fmla="*/ 2970239 h 6092942"/>
              <a:gd name="connsiteX473" fmla="*/ 93173 w 4746171"/>
              <a:gd name="connsiteY473" fmla="*/ 2953298 h 6092942"/>
              <a:gd name="connsiteX474" fmla="*/ 87526 w 4746171"/>
              <a:gd name="connsiteY474" fmla="*/ 2930711 h 6092942"/>
              <a:gd name="connsiteX475" fmla="*/ 87526 w 4746171"/>
              <a:gd name="connsiteY475" fmla="*/ 2913770 h 6092942"/>
              <a:gd name="connsiteX476" fmla="*/ 87526 w 4746171"/>
              <a:gd name="connsiteY476" fmla="*/ 2891183 h 6092942"/>
              <a:gd name="connsiteX477" fmla="*/ 98820 w 4746171"/>
              <a:gd name="connsiteY477" fmla="*/ 2860125 h 6092942"/>
              <a:gd name="connsiteX478" fmla="*/ 101643 w 4746171"/>
              <a:gd name="connsiteY478" fmla="*/ 2846008 h 6092942"/>
              <a:gd name="connsiteX479" fmla="*/ 110114 w 4746171"/>
              <a:gd name="connsiteY479" fmla="*/ 2837538 h 6092942"/>
              <a:gd name="connsiteX480" fmla="*/ 132701 w 4746171"/>
              <a:gd name="connsiteY480" fmla="*/ 2820597 h 6092942"/>
              <a:gd name="connsiteX481" fmla="*/ 155288 w 4746171"/>
              <a:gd name="connsiteY481" fmla="*/ 2803657 h 6092942"/>
              <a:gd name="connsiteX482" fmla="*/ 177876 w 4746171"/>
              <a:gd name="connsiteY482" fmla="*/ 2781070 h 6092942"/>
              <a:gd name="connsiteX483" fmla="*/ 180699 w 4746171"/>
              <a:gd name="connsiteY483" fmla="*/ 2766952 h 6092942"/>
              <a:gd name="connsiteX484" fmla="*/ 186346 w 4746171"/>
              <a:gd name="connsiteY484" fmla="*/ 2752835 h 6092942"/>
              <a:gd name="connsiteX485" fmla="*/ 186346 w 4746171"/>
              <a:gd name="connsiteY485" fmla="*/ 2735895 h 6092942"/>
              <a:gd name="connsiteX486" fmla="*/ 180699 w 4746171"/>
              <a:gd name="connsiteY486" fmla="*/ 2713307 h 6092942"/>
              <a:gd name="connsiteX487" fmla="*/ 172229 w 4746171"/>
              <a:gd name="connsiteY487" fmla="*/ 2702014 h 6092942"/>
              <a:gd name="connsiteX488" fmla="*/ 163759 w 4746171"/>
              <a:gd name="connsiteY488" fmla="*/ 2682250 h 6092942"/>
              <a:gd name="connsiteX489" fmla="*/ 155288 w 4746171"/>
              <a:gd name="connsiteY489" fmla="*/ 2673780 h 6092942"/>
              <a:gd name="connsiteX490" fmla="*/ 141171 w 4746171"/>
              <a:gd name="connsiteY490" fmla="*/ 2665309 h 6092942"/>
              <a:gd name="connsiteX491" fmla="*/ 110114 w 4746171"/>
              <a:gd name="connsiteY491" fmla="*/ 2656839 h 6092942"/>
              <a:gd name="connsiteX492" fmla="*/ 76233 w 4746171"/>
              <a:gd name="connsiteY492" fmla="*/ 2634252 h 6092942"/>
              <a:gd name="connsiteX493" fmla="*/ 56469 w 4746171"/>
              <a:gd name="connsiteY493" fmla="*/ 2620135 h 6092942"/>
              <a:gd name="connsiteX494" fmla="*/ 39528 w 4746171"/>
              <a:gd name="connsiteY494" fmla="*/ 2603194 h 6092942"/>
              <a:gd name="connsiteX495" fmla="*/ 22588 w 4746171"/>
              <a:gd name="connsiteY495" fmla="*/ 2586254 h 6092942"/>
              <a:gd name="connsiteX496" fmla="*/ 8471 w 4746171"/>
              <a:gd name="connsiteY496" fmla="*/ 2563666 h 6092942"/>
              <a:gd name="connsiteX497" fmla="*/ 0 w 4746171"/>
              <a:gd name="connsiteY497" fmla="*/ 2538255 h 6092942"/>
              <a:gd name="connsiteX498" fmla="*/ 0 w 4746171"/>
              <a:gd name="connsiteY498" fmla="*/ 2510021 h 6092942"/>
              <a:gd name="connsiteX499" fmla="*/ 8471 w 4746171"/>
              <a:gd name="connsiteY499" fmla="*/ 2484610 h 6092942"/>
              <a:gd name="connsiteX500" fmla="*/ 22588 w 4746171"/>
              <a:gd name="connsiteY500" fmla="*/ 2453553 h 6092942"/>
              <a:gd name="connsiteX501" fmla="*/ 39528 w 4746171"/>
              <a:gd name="connsiteY501" fmla="*/ 2425319 h 6092942"/>
              <a:gd name="connsiteX502" fmla="*/ 62116 w 4746171"/>
              <a:gd name="connsiteY502" fmla="*/ 2397084 h 6092942"/>
              <a:gd name="connsiteX503" fmla="*/ 84703 w 4746171"/>
              <a:gd name="connsiteY503" fmla="*/ 2374497 h 6092942"/>
              <a:gd name="connsiteX504" fmla="*/ 110114 w 4746171"/>
              <a:gd name="connsiteY504" fmla="*/ 2346263 h 6092942"/>
              <a:gd name="connsiteX505" fmla="*/ 138348 w 4746171"/>
              <a:gd name="connsiteY505" fmla="*/ 2323675 h 6092942"/>
              <a:gd name="connsiteX506" fmla="*/ 169406 w 4746171"/>
              <a:gd name="connsiteY506" fmla="*/ 2289794 h 6092942"/>
              <a:gd name="connsiteX507" fmla="*/ 231521 w 4746171"/>
              <a:gd name="connsiteY507" fmla="*/ 2205092 h 6092942"/>
              <a:gd name="connsiteX508" fmla="*/ 287989 w 4746171"/>
              <a:gd name="connsiteY508" fmla="*/ 2117566 h 6092942"/>
              <a:gd name="connsiteX509" fmla="*/ 333164 w 4746171"/>
              <a:gd name="connsiteY509" fmla="*/ 2041333 h 6092942"/>
              <a:gd name="connsiteX510" fmla="*/ 287989 w 4746171"/>
              <a:gd name="connsiteY510" fmla="*/ 2032863 h 6092942"/>
              <a:gd name="connsiteX511" fmla="*/ 239991 w 4746171"/>
              <a:gd name="connsiteY511" fmla="*/ 2018746 h 6092942"/>
              <a:gd name="connsiteX512" fmla="*/ 217404 w 4746171"/>
              <a:gd name="connsiteY512" fmla="*/ 2010276 h 6092942"/>
              <a:gd name="connsiteX513" fmla="*/ 200463 w 4746171"/>
              <a:gd name="connsiteY513" fmla="*/ 1998982 h 6092942"/>
              <a:gd name="connsiteX514" fmla="*/ 180699 w 4746171"/>
              <a:gd name="connsiteY514" fmla="*/ 1984865 h 6092942"/>
              <a:gd name="connsiteX515" fmla="*/ 169406 w 4746171"/>
              <a:gd name="connsiteY515" fmla="*/ 1967924 h 6092942"/>
              <a:gd name="connsiteX516" fmla="*/ 169406 w 4746171"/>
              <a:gd name="connsiteY516" fmla="*/ 1962278 h 6092942"/>
              <a:gd name="connsiteX517" fmla="*/ 172229 w 4746171"/>
              <a:gd name="connsiteY517" fmla="*/ 1962278 h 6092942"/>
              <a:gd name="connsiteX518" fmla="*/ 211757 w 4746171"/>
              <a:gd name="connsiteY518" fmla="*/ 1979218 h 6092942"/>
              <a:gd name="connsiteX519" fmla="*/ 256932 w 4746171"/>
              <a:gd name="connsiteY519" fmla="*/ 1993335 h 6092942"/>
              <a:gd name="connsiteX520" fmla="*/ 304930 w 4746171"/>
              <a:gd name="connsiteY520" fmla="*/ 2001806 h 6092942"/>
              <a:gd name="connsiteX521" fmla="*/ 350104 w 4746171"/>
              <a:gd name="connsiteY521" fmla="*/ 2001806 h 6092942"/>
              <a:gd name="connsiteX522" fmla="*/ 358575 w 4746171"/>
              <a:gd name="connsiteY522" fmla="*/ 1976395 h 6092942"/>
              <a:gd name="connsiteX523" fmla="*/ 358575 w 4746171"/>
              <a:gd name="connsiteY523" fmla="*/ 1939690 h 6092942"/>
              <a:gd name="connsiteX524" fmla="*/ 352928 w 4746171"/>
              <a:gd name="connsiteY524" fmla="*/ 1874752 h 6092942"/>
              <a:gd name="connsiteX525" fmla="*/ 341634 w 4746171"/>
              <a:gd name="connsiteY525" fmla="*/ 1804166 h 6092942"/>
              <a:gd name="connsiteX526" fmla="*/ 333164 w 4746171"/>
              <a:gd name="connsiteY526" fmla="*/ 1744874 h 6092942"/>
              <a:gd name="connsiteX527" fmla="*/ 333164 w 4746171"/>
              <a:gd name="connsiteY527" fmla="*/ 1713817 h 6092942"/>
              <a:gd name="connsiteX528" fmla="*/ 335987 w 4746171"/>
              <a:gd name="connsiteY528" fmla="*/ 1679936 h 6092942"/>
              <a:gd name="connsiteX529" fmla="*/ 350104 w 4746171"/>
              <a:gd name="connsiteY529" fmla="*/ 1578292 h 6092942"/>
              <a:gd name="connsiteX530" fmla="*/ 372692 w 4746171"/>
              <a:gd name="connsiteY530" fmla="*/ 1462532 h 6092942"/>
              <a:gd name="connsiteX531" fmla="*/ 392456 w 4746171"/>
              <a:gd name="connsiteY531" fmla="*/ 1343948 h 6092942"/>
              <a:gd name="connsiteX532" fmla="*/ 406573 w 4746171"/>
              <a:gd name="connsiteY532" fmla="*/ 1276186 h 6092942"/>
              <a:gd name="connsiteX533" fmla="*/ 429160 w 4746171"/>
              <a:gd name="connsiteY533" fmla="*/ 1211248 h 6092942"/>
              <a:gd name="connsiteX534" fmla="*/ 460218 w 4746171"/>
              <a:gd name="connsiteY534" fmla="*/ 1140662 h 6092942"/>
              <a:gd name="connsiteX535" fmla="*/ 491276 w 4746171"/>
              <a:gd name="connsiteY535" fmla="*/ 1072900 h 6092942"/>
              <a:gd name="connsiteX536" fmla="*/ 547744 w 4746171"/>
              <a:gd name="connsiteY536" fmla="*/ 968433 h 6092942"/>
              <a:gd name="connsiteX537" fmla="*/ 575978 w 4746171"/>
              <a:gd name="connsiteY537" fmla="*/ 923259 h 6092942"/>
              <a:gd name="connsiteX538" fmla="*/ 592919 w 4746171"/>
              <a:gd name="connsiteY538" fmla="*/ 875261 h 6092942"/>
              <a:gd name="connsiteX539" fmla="*/ 584448 w 4746171"/>
              <a:gd name="connsiteY539" fmla="*/ 844203 h 6092942"/>
              <a:gd name="connsiteX540" fmla="*/ 584448 w 4746171"/>
              <a:gd name="connsiteY540" fmla="*/ 807498 h 6092942"/>
              <a:gd name="connsiteX541" fmla="*/ 578802 w 4746171"/>
              <a:gd name="connsiteY541" fmla="*/ 773617 h 6092942"/>
              <a:gd name="connsiteX542" fmla="*/ 584448 w 4746171"/>
              <a:gd name="connsiteY542" fmla="*/ 736913 h 6092942"/>
              <a:gd name="connsiteX543" fmla="*/ 584448 w 4746171"/>
              <a:gd name="connsiteY543" fmla="*/ 703032 h 6092942"/>
              <a:gd name="connsiteX544" fmla="*/ 587272 w 4746171"/>
              <a:gd name="connsiteY544" fmla="*/ 666327 h 6092942"/>
              <a:gd name="connsiteX545" fmla="*/ 592919 w 4746171"/>
              <a:gd name="connsiteY545" fmla="*/ 632446 h 6092942"/>
              <a:gd name="connsiteX546" fmla="*/ 607036 w 4746171"/>
              <a:gd name="connsiteY546" fmla="*/ 601389 h 6092942"/>
              <a:gd name="connsiteX547" fmla="*/ 607036 w 4746171"/>
              <a:gd name="connsiteY547" fmla="*/ 595742 h 6092942"/>
              <a:gd name="connsiteX548" fmla="*/ 609859 w 4746171"/>
              <a:gd name="connsiteY548" fmla="*/ 601389 h 6092942"/>
              <a:gd name="connsiteX549" fmla="*/ 598566 w 4746171"/>
              <a:gd name="connsiteY549" fmla="*/ 652210 h 6092942"/>
              <a:gd name="connsiteX550" fmla="*/ 592919 w 4746171"/>
              <a:gd name="connsiteY550" fmla="*/ 705855 h 6092942"/>
              <a:gd name="connsiteX551" fmla="*/ 601389 w 4746171"/>
              <a:gd name="connsiteY551" fmla="*/ 671974 h 6092942"/>
              <a:gd name="connsiteX552" fmla="*/ 609859 w 4746171"/>
              <a:gd name="connsiteY552" fmla="*/ 640917 h 6092942"/>
              <a:gd name="connsiteX553" fmla="*/ 629623 w 4746171"/>
              <a:gd name="connsiteY553" fmla="*/ 609859 h 6092942"/>
              <a:gd name="connsiteX554" fmla="*/ 646564 w 4746171"/>
              <a:gd name="connsiteY554" fmla="*/ 578801 h 6092942"/>
              <a:gd name="connsiteX555" fmla="*/ 686092 w 4746171"/>
              <a:gd name="connsiteY555" fmla="*/ 525156 h 6092942"/>
              <a:gd name="connsiteX556" fmla="*/ 708679 w 4746171"/>
              <a:gd name="connsiteY556" fmla="*/ 499746 h 6092942"/>
              <a:gd name="connsiteX557" fmla="*/ 731266 w 4746171"/>
              <a:gd name="connsiteY557" fmla="*/ 477158 h 6092942"/>
              <a:gd name="connsiteX558" fmla="*/ 787735 w 4746171"/>
              <a:gd name="connsiteY558" fmla="*/ 437630 h 6092942"/>
              <a:gd name="connsiteX559" fmla="*/ 804675 w 4746171"/>
              <a:gd name="connsiteY559" fmla="*/ 409396 h 6092942"/>
              <a:gd name="connsiteX560" fmla="*/ 804675 w 4746171"/>
              <a:gd name="connsiteY560" fmla="*/ 406573 h 6092942"/>
              <a:gd name="connsiteX561" fmla="*/ 810322 w 4746171"/>
              <a:gd name="connsiteY561" fmla="*/ 409396 h 6092942"/>
              <a:gd name="connsiteX562" fmla="*/ 796205 w 4746171"/>
              <a:gd name="connsiteY562" fmla="*/ 431983 h 6092942"/>
              <a:gd name="connsiteX563" fmla="*/ 832909 w 4746171"/>
              <a:gd name="connsiteY563" fmla="*/ 409396 h 6092942"/>
              <a:gd name="connsiteX564" fmla="*/ 875261 w 4746171"/>
              <a:gd name="connsiteY564" fmla="*/ 375515 h 6092942"/>
              <a:gd name="connsiteX565" fmla="*/ 920436 w 4746171"/>
              <a:gd name="connsiteY565" fmla="*/ 347281 h 6092942"/>
              <a:gd name="connsiteX566" fmla="*/ 951493 w 4746171"/>
              <a:gd name="connsiteY566" fmla="*/ 307753 h 6092942"/>
              <a:gd name="connsiteX567" fmla="*/ 985374 w 4746171"/>
              <a:gd name="connsiteY567" fmla="*/ 268225 h 6092942"/>
              <a:gd name="connsiteX568" fmla="*/ 1027726 w 4746171"/>
              <a:gd name="connsiteY568" fmla="*/ 237168 h 6092942"/>
              <a:gd name="connsiteX569" fmla="*/ 1070077 w 4746171"/>
              <a:gd name="connsiteY569" fmla="*/ 211757 h 6092942"/>
              <a:gd name="connsiteX570" fmla="*/ 1115252 w 4746171"/>
              <a:gd name="connsiteY570" fmla="*/ 189169 h 6092942"/>
              <a:gd name="connsiteX571" fmla="*/ 1160426 w 4746171"/>
              <a:gd name="connsiteY571" fmla="*/ 172229 h 6092942"/>
              <a:gd name="connsiteX572" fmla="*/ 1208424 w 4746171"/>
              <a:gd name="connsiteY572" fmla="*/ 152465 h 6092942"/>
              <a:gd name="connsiteX573" fmla="*/ 1256423 w 4746171"/>
              <a:gd name="connsiteY573" fmla="*/ 141171 h 6092942"/>
              <a:gd name="connsiteX574" fmla="*/ 1295951 w 4746171"/>
              <a:gd name="connsiteY574" fmla="*/ 110114 h 6092942"/>
              <a:gd name="connsiteX575" fmla="*/ 1343949 w 4746171"/>
              <a:gd name="connsiteY575" fmla="*/ 87526 h 6092942"/>
              <a:gd name="connsiteX576" fmla="*/ 1383477 w 4746171"/>
              <a:gd name="connsiteY576" fmla="*/ 70586 h 6092942"/>
              <a:gd name="connsiteX577" fmla="*/ 1425828 w 4746171"/>
              <a:gd name="connsiteY577" fmla="*/ 56469 h 6092942"/>
              <a:gd name="connsiteX578" fmla="*/ 1465356 w 4746171"/>
              <a:gd name="connsiteY578" fmla="*/ 47998 h 6092942"/>
              <a:gd name="connsiteX579" fmla="*/ 1499237 w 4746171"/>
              <a:gd name="connsiteY579" fmla="*/ 39528 h 6092942"/>
              <a:gd name="connsiteX580" fmla="*/ 1538765 w 4746171"/>
              <a:gd name="connsiteY580" fmla="*/ 39528 h 6092942"/>
              <a:gd name="connsiteX581" fmla="*/ 1575469 w 4746171"/>
              <a:gd name="connsiteY581" fmla="*/ 33881 h 6092942"/>
              <a:gd name="connsiteX582" fmla="*/ 1578293 w 4746171"/>
              <a:gd name="connsiteY582" fmla="*/ 33881 h 6092942"/>
              <a:gd name="connsiteX583" fmla="*/ 1646055 w 4746171"/>
              <a:gd name="connsiteY583" fmla="*/ 16941 h 6092942"/>
              <a:gd name="connsiteX584" fmla="*/ 1710993 w 4746171"/>
              <a:gd name="connsiteY584" fmla="*/ 2824 h 6092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</a:cxnLst>
            <a:rect l="l" t="t" r="r" b="b"/>
            <a:pathLst>
              <a:path w="4746171" h="6092942">
                <a:moveTo>
                  <a:pt x="4032360" y="1258733"/>
                </a:moveTo>
                <a:lnTo>
                  <a:pt x="4043139" y="1264893"/>
                </a:lnTo>
                <a:lnTo>
                  <a:pt x="4043139" y="1267716"/>
                </a:lnTo>
                <a:close/>
                <a:moveTo>
                  <a:pt x="4026199" y="1253599"/>
                </a:moveTo>
                <a:lnTo>
                  <a:pt x="4032360" y="1258733"/>
                </a:lnTo>
                <a:lnTo>
                  <a:pt x="4029189" y="1256921"/>
                </a:lnTo>
                <a:close/>
                <a:moveTo>
                  <a:pt x="1778755" y="0"/>
                </a:moveTo>
                <a:lnTo>
                  <a:pt x="1843694" y="0"/>
                </a:lnTo>
                <a:lnTo>
                  <a:pt x="1888869" y="0"/>
                </a:lnTo>
                <a:lnTo>
                  <a:pt x="1934043" y="8470"/>
                </a:lnTo>
                <a:lnTo>
                  <a:pt x="1973571" y="16941"/>
                </a:lnTo>
                <a:lnTo>
                  <a:pt x="2015923" y="31058"/>
                </a:lnTo>
                <a:lnTo>
                  <a:pt x="2061097" y="39528"/>
                </a:lnTo>
                <a:lnTo>
                  <a:pt x="2106272" y="50822"/>
                </a:lnTo>
                <a:lnTo>
                  <a:pt x="2154270" y="70586"/>
                </a:lnTo>
                <a:lnTo>
                  <a:pt x="2219209" y="87526"/>
                </a:lnTo>
                <a:lnTo>
                  <a:pt x="2281324" y="110114"/>
                </a:lnTo>
                <a:lnTo>
                  <a:pt x="2394261" y="141171"/>
                </a:lnTo>
                <a:lnTo>
                  <a:pt x="2445083" y="143995"/>
                </a:lnTo>
                <a:lnTo>
                  <a:pt x="2498728" y="152465"/>
                </a:lnTo>
                <a:lnTo>
                  <a:pt x="2569313" y="172229"/>
                </a:lnTo>
                <a:lnTo>
                  <a:pt x="2631429" y="197640"/>
                </a:lnTo>
                <a:lnTo>
                  <a:pt x="2693544" y="234344"/>
                </a:lnTo>
                <a:lnTo>
                  <a:pt x="2755659" y="273872"/>
                </a:lnTo>
                <a:lnTo>
                  <a:pt x="2812127" y="321870"/>
                </a:lnTo>
                <a:lnTo>
                  <a:pt x="2854479" y="335987"/>
                </a:lnTo>
                <a:lnTo>
                  <a:pt x="2888360" y="344458"/>
                </a:lnTo>
                <a:lnTo>
                  <a:pt x="2913771" y="355751"/>
                </a:lnTo>
                <a:lnTo>
                  <a:pt x="2942005" y="375515"/>
                </a:lnTo>
                <a:lnTo>
                  <a:pt x="2967416" y="392456"/>
                </a:lnTo>
                <a:lnTo>
                  <a:pt x="2990003" y="409396"/>
                </a:lnTo>
                <a:lnTo>
                  <a:pt x="3006943" y="437630"/>
                </a:lnTo>
                <a:lnTo>
                  <a:pt x="3026707" y="457394"/>
                </a:lnTo>
                <a:lnTo>
                  <a:pt x="3038001" y="485629"/>
                </a:lnTo>
                <a:lnTo>
                  <a:pt x="3043648" y="516686"/>
                </a:lnTo>
                <a:lnTo>
                  <a:pt x="3088823" y="564684"/>
                </a:lnTo>
                <a:lnTo>
                  <a:pt x="3162232" y="666327"/>
                </a:lnTo>
                <a:lnTo>
                  <a:pt x="3238464" y="773617"/>
                </a:lnTo>
                <a:lnTo>
                  <a:pt x="3371165" y="976904"/>
                </a:lnTo>
                <a:lnTo>
                  <a:pt x="3467161" y="1132192"/>
                </a:lnTo>
                <a:lnTo>
                  <a:pt x="3503866" y="1191484"/>
                </a:lnTo>
                <a:lnTo>
                  <a:pt x="3515159" y="1183013"/>
                </a:lnTo>
                <a:lnTo>
                  <a:pt x="3546217" y="1171720"/>
                </a:lnTo>
                <a:lnTo>
                  <a:pt x="3591392" y="1157603"/>
                </a:lnTo>
                <a:lnTo>
                  <a:pt x="3619626" y="1151956"/>
                </a:lnTo>
                <a:lnTo>
                  <a:pt x="3645037" y="1151956"/>
                </a:lnTo>
                <a:lnTo>
                  <a:pt x="3676094" y="1163250"/>
                </a:lnTo>
                <a:lnTo>
                  <a:pt x="3709975" y="1174543"/>
                </a:lnTo>
                <a:lnTo>
                  <a:pt x="3741033" y="1197131"/>
                </a:lnTo>
                <a:lnTo>
                  <a:pt x="3769267" y="1214071"/>
                </a:lnTo>
                <a:lnTo>
                  <a:pt x="3794678" y="1211248"/>
                </a:lnTo>
                <a:lnTo>
                  <a:pt x="3842676" y="1205601"/>
                </a:lnTo>
                <a:lnTo>
                  <a:pt x="3896321" y="1211248"/>
                </a:lnTo>
                <a:lnTo>
                  <a:pt x="3955613" y="1222541"/>
                </a:lnTo>
                <a:lnTo>
                  <a:pt x="3981024" y="1233835"/>
                </a:lnTo>
                <a:lnTo>
                  <a:pt x="4003611" y="1242305"/>
                </a:lnTo>
                <a:lnTo>
                  <a:pt x="4029189" y="1256921"/>
                </a:lnTo>
                <a:lnTo>
                  <a:pt x="4051609" y="1281833"/>
                </a:lnTo>
                <a:lnTo>
                  <a:pt x="4108078" y="1298774"/>
                </a:lnTo>
                <a:lnTo>
                  <a:pt x="4136312" y="1290303"/>
                </a:lnTo>
                <a:lnTo>
                  <a:pt x="4161723" y="1273363"/>
                </a:lnTo>
                <a:lnTo>
                  <a:pt x="4161723" y="1276186"/>
                </a:lnTo>
                <a:lnTo>
                  <a:pt x="4150429" y="1295950"/>
                </a:lnTo>
                <a:lnTo>
                  <a:pt x="4130665" y="1304421"/>
                </a:lnTo>
                <a:lnTo>
                  <a:pt x="4178663" y="1298774"/>
                </a:lnTo>
                <a:lnTo>
                  <a:pt x="4229485" y="1284657"/>
                </a:lnTo>
                <a:lnTo>
                  <a:pt x="4232309" y="1290303"/>
                </a:lnTo>
                <a:lnTo>
                  <a:pt x="4229485" y="1290303"/>
                </a:lnTo>
                <a:lnTo>
                  <a:pt x="4192781" y="1304421"/>
                </a:lnTo>
                <a:lnTo>
                  <a:pt x="4153253" y="1312891"/>
                </a:lnTo>
                <a:lnTo>
                  <a:pt x="4209721" y="1338302"/>
                </a:lnTo>
                <a:lnTo>
                  <a:pt x="4269013" y="1366536"/>
                </a:lnTo>
                <a:lnTo>
                  <a:pt x="4325481" y="1397593"/>
                </a:lnTo>
                <a:lnTo>
                  <a:pt x="4384773" y="1437121"/>
                </a:lnTo>
                <a:lnTo>
                  <a:pt x="4432771" y="1479473"/>
                </a:lnTo>
                <a:lnTo>
                  <a:pt x="4480769" y="1530294"/>
                </a:lnTo>
                <a:lnTo>
                  <a:pt x="4525944" y="1581116"/>
                </a:lnTo>
                <a:lnTo>
                  <a:pt x="4559825" y="1640408"/>
                </a:lnTo>
                <a:lnTo>
                  <a:pt x="4599353" y="1682759"/>
                </a:lnTo>
                <a:lnTo>
                  <a:pt x="4627587" y="1733581"/>
                </a:lnTo>
                <a:lnTo>
                  <a:pt x="4652998" y="1781579"/>
                </a:lnTo>
                <a:lnTo>
                  <a:pt x="4667115" y="1835224"/>
                </a:lnTo>
                <a:lnTo>
                  <a:pt x="4675585" y="1891692"/>
                </a:lnTo>
                <a:lnTo>
                  <a:pt x="4681233" y="1945337"/>
                </a:lnTo>
                <a:lnTo>
                  <a:pt x="4681233" y="2007452"/>
                </a:lnTo>
                <a:lnTo>
                  <a:pt x="4669939" y="2063921"/>
                </a:lnTo>
                <a:lnTo>
                  <a:pt x="4667115" y="2142976"/>
                </a:lnTo>
                <a:lnTo>
                  <a:pt x="4652998" y="2222032"/>
                </a:lnTo>
                <a:lnTo>
                  <a:pt x="4652998" y="2241796"/>
                </a:lnTo>
                <a:lnTo>
                  <a:pt x="4667115" y="2298265"/>
                </a:lnTo>
                <a:lnTo>
                  <a:pt x="4669939" y="2368850"/>
                </a:lnTo>
                <a:lnTo>
                  <a:pt x="4667115" y="2439436"/>
                </a:lnTo>
                <a:lnTo>
                  <a:pt x="4652998" y="2507198"/>
                </a:lnTo>
                <a:lnTo>
                  <a:pt x="4630411" y="2577783"/>
                </a:lnTo>
                <a:lnTo>
                  <a:pt x="4621941" y="2642722"/>
                </a:lnTo>
                <a:lnTo>
                  <a:pt x="4599353" y="2704837"/>
                </a:lnTo>
                <a:lnTo>
                  <a:pt x="4582413" y="2744365"/>
                </a:lnTo>
                <a:lnTo>
                  <a:pt x="4576765" y="2764129"/>
                </a:lnTo>
                <a:lnTo>
                  <a:pt x="4588059" y="2803657"/>
                </a:lnTo>
                <a:lnTo>
                  <a:pt x="4590883" y="2843185"/>
                </a:lnTo>
                <a:lnTo>
                  <a:pt x="4588059" y="2882713"/>
                </a:lnTo>
                <a:lnTo>
                  <a:pt x="4582413" y="2916594"/>
                </a:lnTo>
                <a:lnTo>
                  <a:pt x="4559825" y="2978709"/>
                </a:lnTo>
                <a:lnTo>
                  <a:pt x="4537238" y="3038001"/>
                </a:lnTo>
                <a:lnTo>
                  <a:pt x="4542885" y="3054941"/>
                </a:lnTo>
                <a:lnTo>
                  <a:pt x="4551355" y="3117057"/>
                </a:lnTo>
                <a:lnTo>
                  <a:pt x="4557002" y="3173525"/>
                </a:lnTo>
                <a:lnTo>
                  <a:pt x="4557002" y="3235640"/>
                </a:lnTo>
                <a:lnTo>
                  <a:pt x="4551355" y="3292109"/>
                </a:lnTo>
                <a:lnTo>
                  <a:pt x="4551355" y="3314696"/>
                </a:lnTo>
                <a:lnTo>
                  <a:pt x="4573943" y="3376811"/>
                </a:lnTo>
                <a:lnTo>
                  <a:pt x="4596529" y="3436103"/>
                </a:lnTo>
                <a:lnTo>
                  <a:pt x="4599353" y="3438927"/>
                </a:lnTo>
                <a:lnTo>
                  <a:pt x="4621941" y="3467161"/>
                </a:lnTo>
                <a:lnTo>
                  <a:pt x="4644528" y="3492572"/>
                </a:lnTo>
                <a:lnTo>
                  <a:pt x="4675585" y="3546217"/>
                </a:lnTo>
                <a:lnTo>
                  <a:pt x="4698173" y="3608332"/>
                </a:lnTo>
                <a:lnTo>
                  <a:pt x="4709467" y="3670447"/>
                </a:lnTo>
                <a:lnTo>
                  <a:pt x="4723583" y="3704328"/>
                </a:lnTo>
                <a:lnTo>
                  <a:pt x="4732054" y="3735386"/>
                </a:lnTo>
                <a:lnTo>
                  <a:pt x="4746171" y="3803148"/>
                </a:lnTo>
                <a:lnTo>
                  <a:pt x="4746171" y="3868087"/>
                </a:lnTo>
                <a:lnTo>
                  <a:pt x="4740524" y="3935849"/>
                </a:lnTo>
                <a:lnTo>
                  <a:pt x="4729231" y="3997964"/>
                </a:lnTo>
                <a:lnTo>
                  <a:pt x="4709467" y="4048785"/>
                </a:lnTo>
                <a:lnTo>
                  <a:pt x="4689703" y="4102430"/>
                </a:lnTo>
                <a:lnTo>
                  <a:pt x="4661469" y="4147605"/>
                </a:lnTo>
                <a:lnTo>
                  <a:pt x="4650175" y="4181486"/>
                </a:lnTo>
                <a:lnTo>
                  <a:pt x="4627587" y="4218191"/>
                </a:lnTo>
                <a:lnTo>
                  <a:pt x="4607823" y="4249248"/>
                </a:lnTo>
                <a:lnTo>
                  <a:pt x="4582413" y="4280306"/>
                </a:lnTo>
                <a:lnTo>
                  <a:pt x="4557002" y="4359362"/>
                </a:lnTo>
                <a:lnTo>
                  <a:pt x="4542885" y="4398890"/>
                </a:lnTo>
                <a:lnTo>
                  <a:pt x="4525944" y="4438418"/>
                </a:lnTo>
                <a:lnTo>
                  <a:pt x="4494887" y="4492063"/>
                </a:lnTo>
                <a:lnTo>
                  <a:pt x="4458182" y="4540061"/>
                </a:lnTo>
                <a:lnTo>
                  <a:pt x="4444065" y="4562648"/>
                </a:lnTo>
                <a:lnTo>
                  <a:pt x="4463829" y="4630410"/>
                </a:lnTo>
                <a:lnTo>
                  <a:pt x="4486417" y="4672762"/>
                </a:lnTo>
                <a:lnTo>
                  <a:pt x="4503357" y="4717936"/>
                </a:lnTo>
                <a:lnTo>
                  <a:pt x="4511827" y="4765934"/>
                </a:lnTo>
                <a:lnTo>
                  <a:pt x="4517474" y="4813933"/>
                </a:lnTo>
                <a:lnTo>
                  <a:pt x="4511827" y="4864754"/>
                </a:lnTo>
                <a:lnTo>
                  <a:pt x="4503357" y="4907106"/>
                </a:lnTo>
                <a:lnTo>
                  <a:pt x="4503357" y="4991808"/>
                </a:lnTo>
                <a:lnTo>
                  <a:pt x="4497710" y="5028513"/>
                </a:lnTo>
                <a:lnTo>
                  <a:pt x="4489239" y="5068041"/>
                </a:lnTo>
                <a:lnTo>
                  <a:pt x="4475123" y="5101922"/>
                </a:lnTo>
                <a:lnTo>
                  <a:pt x="4463829" y="5138626"/>
                </a:lnTo>
                <a:lnTo>
                  <a:pt x="4441241" y="5172507"/>
                </a:lnTo>
                <a:lnTo>
                  <a:pt x="4424301" y="5203565"/>
                </a:lnTo>
                <a:lnTo>
                  <a:pt x="4418654" y="5240269"/>
                </a:lnTo>
                <a:lnTo>
                  <a:pt x="4418654" y="5257210"/>
                </a:lnTo>
                <a:lnTo>
                  <a:pt x="4410184" y="5271327"/>
                </a:lnTo>
                <a:lnTo>
                  <a:pt x="4396067" y="5288267"/>
                </a:lnTo>
                <a:lnTo>
                  <a:pt x="4384773" y="5302384"/>
                </a:lnTo>
                <a:lnTo>
                  <a:pt x="4353715" y="5322148"/>
                </a:lnTo>
                <a:lnTo>
                  <a:pt x="4317011" y="5341912"/>
                </a:lnTo>
                <a:lnTo>
                  <a:pt x="4283130" y="5353206"/>
                </a:lnTo>
                <a:lnTo>
                  <a:pt x="4209721" y="5372970"/>
                </a:lnTo>
                <a:lnTo>
                  <a:pt x="4158899" y="5404028"/>
                </a:lnTo>
                <a:lnTo>
                  <a:pt x="4096784" y="5420968"/>
                </a:lnTo>
                <a:lnTo>
                  <a:pt x="4051609" y="5437909"/>
                </a:lnTo>
                <a:lnTo>
                  <a:pt x="4003611" y="5477437"/>
                </a:lnTo>
                <a:lnTo>
                  <a:pt x="3964083" y="5516964"/>
                </a:lnTo>
                <a:lnTo>
                  <a:pt x="3944319" y="5539552"/>
                </a:lnTo>
                <a:lnTo>
                  <a:pt x="3927379" y="5562139"/>
                </a:lnTo>
                <a:lnTo>
                  <a:pt x="3910438" y="5584727"/>
                </a:lnTo>
                <a:lnTo>
                  <a:pt x="3901968" y="5615784"/>
                </a:lnTo>
                <a:lnTo>
                  <a:pt x="3904791" y="5663782"/>
                </a:lnTo>
                <a:lnTo>
                  <a:pt x="3913262" y="5711780"/>
                </a:lnTo>
                <a:lnTo>
                  <a:pt x="3910438" y="5711780"/>
                </a:lnTo>
                <a:lnTo>
                  <a:pt x="3896321" y="5694840"/>
                </a:lnTo>
                <a:lnTo>
                  <a:pt x="3887851" y="5677899"/>
                </a:lnTo>
                <a:lnTo>
                  <a:pt x="3885027" y="5717427"/>
                </a:lnTo>
                <a:lnTo>
                  <a:pt x="3887851" y="5756955"/>
                </a:lnTo>
                <a:lnTo>
                  <a:pt x="3901968" y="5796483"/>
                </a:lnTo>
                <a:lnTo>
                  <a:pt x="3918909" y="5833188"/>
                </a:lnTo>
                <a:lnTo>
                  <a:pt x="3918909" y="5836011"/>
                </a:lnTo>
                <a:lnTo>
                  <a:pt x="3913262" y="5833188"/>
                </a:lnTo>
                <a:lnTo>
                  <a:pt x="3901968" y="5813424"/>
                </a:lnTo>
                <a:lnTo>
                  <a:pt x="3893498" y="5790836"/>
                </a:lnTo>
                <a:lnTo>
                  <a:pt x="3885027" y="5771072"/>
                </a:lnTo>
                <a:lnTo>
                  <a:pt x="3879381" y="5748485"/>
                </a:lnTo>
                <a:lnTo>
                  <a:pt x="3873734" y="5700487"/>
                </a:lnTo>
                <a:lnTo>
                  <a:pt x="3879381" y="5655312"/>
                </a:lnTo>
                <a:lnTo>
                  <a:pt x="3870911" y="5618608"/>
                </a:lnTo>
                <a:lnTo>
                  <a:pt x="3870911" y="5579080"/>
                </a:lnTo>
                <a:lnTo>
                  <a:pt x="3865263" y="5584727"/>
                </a:lnTo>
                <a:lnTo>
                  <a:pt x="3862440" y="5629901"/>
                </a:lnTo>
                <a:lnTo>
                  <a:pt x="3862440" y="5677899"/>
                </a:lnTo>
                <a:lnTo>
                  <a:pt x="3865263" y="5720251"/>
                </a:lnTo>
                <a:lnTo>
                  <a:pt x="3873734" y="5765425"/>
                </a:lnTo>
                <a:lnTo>
                  <a:pt x="3896321" y="5827541"/>
                </a:lnTo>
                <a:lnTo>
                  <a:pt x="3913262" y="5852951"/>
                </a:lnTo>
                <a:lnTo>
                  <a:pt x="3933026" y="5881186"/>
                </a:lnTo>
                <a:lnTo>
                  <a:pt x="3933026" y="5884009"/>
                </a:lnTo>
                <a:lnTo>
                  <a:pt x="3924555" y="5884009"/>
                </a:lnTo>
                <a:lnTo>
                  <a:pt x="3904791" y="5858598"/>
                </a:lnTo>
                <a:lnTo>
                  <a:pt x="3893498" y="5833188"/>
                </a:lnTo>
                <a:lnTo>
                  <a:pt x="3918909" y="5903773"/>
                </a:lnTo>
                <a:lnTo>
                  <a:pt x="3918909" y="5906596"/>
                </a:lnTo>
                <a:lnTo>
                  <a:pt x="3913262" y="5906596"/>
                </a:lnTo>
                <a:lnTo>
                  <a:pt x="3904791" y="5898126"/>
                </a:lnTo>
                <a:lnTo>
                  <a:pt x="3918909" y="5915067"/>
                </a:lnTo>
                <a:lnTo>
                  <a:pt x="3904791" y="5906596"/>
                </a:lnTo>
                <a:lnTo>
                  <a:pt x="3918909" y="5929184"/>
                </a:lnTo>
                <a:lnTo>
                  <a:pt x="3935849" y="5946124"/>
                </a:lnTo>
                <a:lnTo>
                  <a:pt x="3941496" y="5946124"/>
                </a:lnTo>
                <a:lnTo>
                  <a:pt x="3935849" y="5951771"/>
                </a:lnTo>
                <a:lnTo>
                  <a:pt x="3918909" y="5937654"/>
                </a:lnTo>
                <a:lnTo>
                  <a:pt x="3901968" y="5920714"/>
                </a:lnTo>
                <a:lnTo>
                  <a:pt x="3893498" y="5903773"/>
                </a:lnTo>
                <a:lnTo>
                  <a:pt x="3879381" y="5881186"/>
                </a:lnTo>
                <a:lnTo>
                  <a:pt x="3848323" y="5844481"/>
                </a:lnTo>
                <a:lnTo>
                  <a:pt x="3862440" y="5872715"/>
                </a:lnTo>
                <a:lnTo>
                  <a:pt x="3885027" y="5903773"/>
                </a:lnTo>
                <a:lnTo>
                  <a:pt x="3904791" y="5937654"/>
                </a:lnTo>
                <a:lnTo>
                  <a:pt x="3904791" y="5943301"/>
                </a:lnTo>
                <a:lnTo>
                  <a:pt x="3901968" y="5943301"/>
                </a:lnTo>
                <a:lnTo>
                  <a:pt x="3865263" y="5898126"/>
                </a:lnTo>
                <a:lnTo>
                  <a:pt x="3848323" y="5872715"/>
                </a:lnTo>
                <a:lnTo>
                  <a:pt x="3834206" y="5850128"/>
                </a:lnTo>
                <a:lnTo>
                  <a:pt x="3825736" y="5821894"/>
                </a:lnTo>
                <a:lnTo>
                  <a:pt x="3777737" y="5762602"/>
                </a:lnTo>
                <a:lnTo>
                  <a:pt x="3729739" y="5689193"/>
                </a:lnTo>
                <a:lnTo>
                  <a:pt x="3676094" y="5607314"/>
                </a:lnTo>
                <a:lnTo>
                  <a:pt x="3653507" y="5562139"/>
                </a:lnTo>
                <a:lnTo>
                  <a:pt x="3636567" y="5514141"/>
                </a:lnTo>
                <a:lnTo>
                  <a:pt x="3639390" y="5553669"/>
                </a:lnTo>
                <a:lnTo>
                  <a:pt x="3653507" y="5587550"/>
                </a:lnTo>
                <a:lnTo>
                  <a:pt x="3670447" y="5641195"/>
                </a:lnTo>
                <a:lnTo>
                  <a:pt x="3698682" y="5689193"/>
                </a:lnTo>
                <a:lnTo>
                  <a:pt x="3715622" y="5711780"/>
                </a:lnTo>
                <a:lnTo>
                  <a:pt x="3732563" y="5734368"/>
                </a:lnTo>
                <a:lnTo>
                  <a:pt x="3772091" y="5771072"/>
                </a:lnTo>
                <a:lnTo>
                  <a:pt x="3772091" y="5773896"/>
                </a:lnTo>
                <a:lnTo>
                  <a:pt x="3732563" y="5742838"/>
                </a:lnTo>
                <a:lnTo>
                  <a:pt x="3715622" y="5731544"/>
                </a:lnTo>
                <a:lnTo>
                  <a:pt x="3698682" y="5708957"/>
                </a:lnTo>
                <a:lnTo>
                  <a:pt x="3667624" y="5658135"/>
                </a:lnTo>
                <a:lnTo>
                  <a:pt x="3645037" y="5607314"/>
                </a:lnTo>
                <a:lnTo>
                  <a:pt x="3628096" y="5548022"/>
                </a:lnTo>
                <a:lnTo>
                  <a:pt x="3619626" y="5485907"/>
                </a:lnTo>
                <a:lnTo>
                  <a:pt x="3582921" y="5420968"/>
                </a:lnTo>
                <a:lnTo>
                  <a:pt x="3568804" y="5389910"/>
                </a:lnTo>
                <a:lnTo>
                  <a:pt x="3557511" y="5353206"/>
                </a:lnTo>
                <a:lnTo>
                  <a:pt x="3546217" y="5319325"/>
                </a:lnTo>
                <a:lnTo>
                  <a:pt x="3543393" y="5282620"/>
                </a:lnTo>
                <a:lnTo>
                  <a:pt x="3543393" y="5243093"/>
                </a:lnTo>
                <a:lnTo>
                  <a:pt x="3543393" y="5209212"/>
                </a:lnTo>
                <a:lnTo>
                  <a:pt x="3551864" y="5155567"/>
                </a:lnTo>
                <a:lnTo>
                  <a:pt x="3565981" y="5101922"/>
                </a:lnTo>
                <a:lnTo>
                  <a:pt x="3588568" y="5053923"/>
                </a:lnTo>
                <a:lnTo>
                  <a:pt x="3613979" y="5005925"/>
                </a:lnTo>
                <a:lnTo>
                  <a:pt x="3628096" y="4943810"/>
                </a:lnTo>
                <a:lnTo>
                  <a:pt x="3647860" y="4884518"/>
                </a:lnTo>
                <a:lnTo>
                  <a:pt x="3659154" y="4828050"/>
                </a:lnTo>
                <a:lnTo>
                  <a:pt x="3670447" y="4771581"/>
                </a:lnTo>
                <a:lnTo>
                  <a:pt x="3678918" y="4748994"/>
                </a:lnTo>
                <a:lnTo>
                  <a:pt x="3693035" y="4720760"/>
                </a:lnTo>
                <a:lnTo>
                  <a:pt x="3709975" y="4695349"/>
                </a:lnTo>
                <a:lnTo>
                  <a:pt x="3729739" y="4672762"/>
                </a:lnTo>
                <a:lnTo>
                  <a:pt x="3732563" y="4672762"/>
                </a:lnTo>
                <a:lnTo>
                  <a:pt x="3732563" y="4661468"/>
                </a:lnTo>
                <a:lnTo>
                  <a:pt x="3698682" y="4568295"/>
                </a:lnTo>
                <a:lnTo>
                  <a:pt x="3678918" y="4537237"/>
                </a:lnTo>
                <a:lnTo>
                  <a:pt x="3667624" y="4506180"/>
                </a:lnTo>
                <a:lnTo>
                  <a:pt x="3653507" y="4469475"/>
                </a:lnTo>
                <a:lnTo>
                  <a:pt x="3639390" y="4438418"/>
                </a:lnTo>
                <a:lnTo>
                  <a:pt x="3543393" y="4221014"/>
                </a:lnTo>
                <a:lnTo>
                  <a:pt x="3520806" y="4201250"/>
                </a:lnTo>
                <a:lnTo>
                  <a:pt x="3498219" y="4173016"/>
                </a:lnTo>
                <a:lnTo>
                  <a:pt x="3464338" y="4116548"/>
                </a:lnTo>
                <a:lnTo>
                  <a:pt x="3436103" y="4054432"/>
                </a:lnTo>
                <a:lnTo>
                  <a:pt x="3424810" y="3992317"/>
                </a:lnTo>
                <a:lnTo>
                  <a:pt x="3405046" y="3978200"/>
                </a:lnTo>
                <a:lnTo>
                  <a:pt x="3393752" y="3961259"/>
                </a:lnTo>
                <a:lnTo>
                  <a:pt x="3371165" y="3924555"/>
                </a:lnTo>
                <a:lnTo>
                  <a:pt x="3354224" y="3882204"/>
                </a:lnTo>
                <a:lnTo>
                  <a:pt x="3342931" y="3837029"/>
                </a:lnTo>
                <a:lnTo>
                  <a:pt x="3334461" y="3791854"/>
                </a:lnTo>
                <a:lnTo>
                  <a:pt x="3331637" y="3743856"/>
                </a:lnTo>
                <a:lnTo>
                  <a:pt x="3325990" y="3661977"/>
                </a:lnTo>
                <a:lnTo>
                  <a:pt x="3325990" y="3602685"/>
                </a:lnTo>
                <a:lnTo>
                  <a:pt x="3331637" y="3540570"/>
                </a:lnTo>
                <a:lnTo>
                  <a:pt x="3317520" y="3492572"/>
                </a:lnTo>
                <a:lnTo>
                  <a:pt x="3311873" y="3444573"/>
                </a:lnTo>
                <a:lnTo>
                  <a:pt x="3317520" y="3396575"/>
                </a:lnTo>
                <a:lnTo>
                  <a:pt x="3317520" y="3345754"/>
                </a:lnTo>
                <a:lnTo>
                  <a:pt x="3323167" y="3283638"/>
                </a:lnTo>
                <a:lnTo>
                  <a:pt x="3331637" y="3218700"/>
                </a:lnTo>
                <a:lnTo>
                  <a:pt x="3342931" y="3150938"/>
                </a:lnTo>
                <a:lnTo>
                  <a:pt x="3362695" y="3088822"/>
                </a:lnTo>
                <a:lnTo>
                  <a:pt x="3382459" y="3038001"/>
                </a:lnTo>
                <a:lnTo>
                  <a:pt x="3410693" y="2987179"/>
                </a:lnTo>
                <a:lnTo>
                  <a:pt x="3433280" y="2925064"/>
                </a:lnTo>
                <a:lnTo>
                  <a:pt x="3379635" y="2998473"/>
                </a:lnTo>
                <a:lnTo>
                  <a:pt x="3323167" y="3069058"/>
                </a:lnTo>
                <a:lnTo>
                  <a:pt x="3252581" y="3148114"/>
                </a:lnTo>
                <a:lnTo>
                  <a:pt x="3286462" y="3131174"/>
                </a:lnTo>
                <a:lnTo>
                  <a:pt x="3323167" y="3108586"/>
                </a:lnTo>
                <a:lnTo>
                  <a:pt x="3325990" y="3108586"/>
                </a:lnTo>
                <a:lnTo>
                  <a:pt x="3325990" y="3111410"/>
                </a:lnTo>
                <a:lnTo>
                  <a:pt x="3303403" y="3131174"/>
                </a:lnTo>
                <a:lnTo>
                  <a:pt x="3280815" y="3142467"/>
                </a:lnTo>
                <a:lnTo>
                  <a:pt x="3261051" y="3156585"/>
                </a:lnTo>
                <a:lnTo>
                  <a:pt x="3232817" y="3165055"/>
                </a:lnTo>
                <a:lnTo>
                  <a:pt x="3176349" y="3218700"/>
                </a:lnTo>
                <a:lnTo>
                  <a:pt x="3229994" y="3196112"/>
                </a:lnTo>
                <a:lnTo>
                  <a:pt x="3286462" y="3179172"/>
                </a:lnTo>
                <a:lnTo>
                  <a:pt x="3286462" y="3181995"/>
                </a:lnTo>
                <a:lnTo>
                  <a:pt x="3215877" y="3210230"/>
                </a:lnTo>
                <a:lnTo>
                  <a:pt x="3148115" y="3241287"/>
                </a:lnTo>
                <a:lnTo>
                  <a:pt x="3100117" y="3275168"/>
                </a:lnTo>
                <a:lnTo>
                  <a:pt x="3057765" y="3297756"/>
                </a:lnTo>
                <a:lnTo>
                  <a:pt x="2981533" y="3328813"/>
                </a:lnTo>
                <a:lnTo>
                  <a:pt x="2990003" y="3334460"/>
                </a:lnTo>
                <a:lnTo>
                  <a:pt x="3060589" y="3320343"/>
                </a:lnTo>
                <a:lnTo>
                  <a:pt x="3066235" y="3323166"/>
                </a:lnTo>
                <a:lnTo>
                  <a:pt x="3060589" y="3323166"/>
                </a:lnTo>
                <a:lnTo>
                  <a:pt x="3015414" y="3337283"/>
                </a:lnTo>
                <a:lnTo>
                  <a:pt x="3035178" y="3342930"/>
                </a:lnTo>
                <a:lnTo>
                  <a:pt x="3043648" y="3342930"/>
                </a:lnTo>
                <a:lnTo>
                  <a:pt x="3083176" y="3328813"/>
                </a:lnTo>
                <a:lnTo>
                  <a:pt x="3122704" y="3311873"/>
                </a:lnTo>
                <a:lnTo>
                  <a:pt x="3201759" y="3275168"/>
                </a:lnTo>
                <a:lnTo>
                  <a:pt x="3207407" y="3275168"/>
                </a:lnTo>
                <a:lnTo>
                  <a:pt x="3207407" y="3280815"/>
                </a:lnTo>
                <a:lnTo>
                  <a:pt x="3145291" y="3311873"/>
                </a:lnTo>
                <a:lnTo>
                  <a:pt x="3176349" y="3303402"/>
                </a:lnTo>
                <a:lnTo>
                  <a:pt x="3215877" y="3289285"/>
                </a:lnTo>
                <a:lnTo>
                  <a:pt x="3255405" y="3283638"/>
                </a:lnTo>
                <a:lnTo>
                  <a:pt x="3261051" y="3283638"/>
                </a:lnTo>
                <a:lnTo>
                  <a:pt x="3261051" y="3289285"/>
                </a:lnTo>
                <a:lnTo>
                  <a:pt x="3261051" y="3292109"/>
                </a:lnTo>
                <a:lnTo>
                  <a:pt x="3215877" y="3303402"/>
                </a:lnTo>
                <a:lnTo>
                  <a:pt x="3170702" y="3314696"/>
                </a:lnTo>
                <a:lnTo>
                  <a:pt x="3131174" y="3337283"/>
                </a:lnTo>
                <a:lnTo>
                  <a:pt x="3091646" y="3354224"/>
                </a:lnTo>
                <a:lnTo>
                  <a:pt x="3139644" y="3368341"/>
                </a:lnTo>
                <a:lnTo>
                  <a:pt x="3162232" y="3373988"/>
                </a:lnTo>
                <a:lnTo>
                  <a:pt x="3184819" y="3373988"/>
                </a:lnTo>
                <a:lnTo>
                  <a:pt x="3190466" y="3376811"/>
                </a:lnTo>
                <a:lnTo>
                  <a:pt x="3190466" y="3382458"/>
                </a:lnTo>
                <a:lnTo>
                  <a:pt x="3184819" y="3382458"/>
                </a:lnTo>
                <a:lnTo>
                  <a:pt x="3159408" y="3382458"/>
                </a:lnTo>
                <a:lnTo>
                  <a:pt x="3131174" y="3376811"/>
                </a:lnTo>
                <a:lnTo>
                  <a:pt x="3077529" y="3365518"/>
                </a:lnTo>
                <a:lnTo>
                  <a:pt x="3015414" y="3396575"/>
                </a:lnTo>
                <a:lnTo>
                  <a:pt x="3026707" y="3399399"/>
                </a:lnTo>
                <a:lnTo>
                  <a:pt x="3026707" y="3405046"/>
                </a:lnTo>
                <a:lnTo>
                  <a:pt x="3021061" y="3407869"/>
                </a:lnTo>
                <a:lnTo>
                  <a:pt x="3006943" y="3399399"/>
                </a:lnTo>
                <a:lnTo>
                  <a:pt x="2967416" y="3416339"/>
                </a:lnTo>
                <a:lnTo>
                  <a:pt x="2927888" y="3430456"/>
                </a:lnTo>
                <a:lnTo>
                  <a:pt x="2888360" y="3438927"/>
                </a:lnTo>
                <a:lnTo>
                  <a:pt x="2848832" y="3444573"/>
                </a:lnTo>
                <a:lnTo>
                  <a:pt x="2817774" y="3438927"/>
                </a:lnTo>
                <a:lnTo>
                  <a:pt x="2786717" y="3430456"/>
                </a:lnTo>
                <a:lnTo>
                  <a:pt x="2761306" y="3416339"/>
                </a:lnTo>
                <a:lnTo>
                  <a:pt x="2738719" y="3399399"/>
                </a:lnTo>
                <a:lnTo>
                  <a:pt x="2710484" y="3478455"/>
                </a:lnTo>
                <a:lnTo>
                  <a:pt x="2676603" y="3616802"/>
                </a:lnTo>
                <a:lnTo>
                  <a:pt x="2668133" y="3650683"/>
                </a:lnTo>
                <a:lnTo>
                  <a:pt x="2662486" y="3695858"/>
                </a:lnTo>
                <a:lnTo>
                  <a:pt x="2659663" y="3803148"/>
                </a:lnTo>
                <a:lnTo>
                  <a:pt x="2662486" y="3924555"/>
                </a:lnTo>
                <a:lnTo>
                  <a:pt x="2670957" y="4062903"/>
                </a:lnTo>
                <a:lnTo>
                  <a:pt x="2693544" y="4204074"/>
                </a:lnTo>
                <a:lnTo>
                  <a:pt x="2707661" y="4274659"/>
                </a:lnTo>
                <a:lnTo>
                  <a:pt x="2724601" y="4345245"/>
                </a:lnTo>
                <a:lnTo>
                  <a:pt x="2747189" y="4413007"/>
                </a:lnTo>
                <a:lnTo>
                  <a:pt x="2769776" y="4475122"/>
                </a:lnTo>
                <a:lnTo>
                  <a:pt x="2792363" y="4531591"/>
                </a:lnTo>
                <a:lnTo>
                  <a:pt x="2823421" y="4585236"/>
                </a:lnTo>
                <a:lnTo>
                  <a:pt x="2882713" y="4686879"/>
                </a:lnTo>
                <a:lnTo>
                  <a:pt x="2950475" y="4791345"/>
                </a:lnTo>
                <a:lnTo>
                  <a:pt x="3097293" y="5014396"/>
                </a:lnTo>
                <a:lnTo>
                  <a:pt x="3167879" y="5118862"/>
                </a:lnTo>
                <a:lnTo>
                  <a:pt x="3229994" y="5226152"/>
                </a:lnTo>
                <a:lnTo>
                  <a:pt x="3280815" y="5322148"/>
                </a:lnTo>
                <a:lnTo>
                  <a:pt x="3323167" y="5415321"/>
                </a:lnTo>
                <a:lnTo>
                  <a:pt x="3354224" y="5514141"/>
                </a:lnTo>
                <a:lnTo>
                  <a:pt x="3379635" y="5618608"/>
                </a:lnTo>
                <a:lnTo>
                  <a:pt x="3402223" y="5731544"/>
                </a:lnTo>
                <a:lnTo>
                  <a:pt x="3419163" y="5841658"/>
                </a:lnTo>
                <a:lnTo>
                  <a:pt x="3444574" y="6016710"/>
                </a:lnTo>
                <a:lnTo>
                  <a:pt x="3450221" y="6092942"/>
                </a:lnTo>
                <a:lnTo>
                  <a:pt x="680445" y="6092942"/>
                </a:lnTo>
                <a:lnTo>
                  <a:pt x="700209" y="6044944"/>
                </a:lnTo>
                <a:lnTo>
                  <a:pt x="725619" y="5985652"/>
                </a:lnTo>
                <a:lnTo>
                  <a:pt x="762324" y="5912243"/>
                </a:lnTo>
                <a:lnTo>
                  <a:pt x="796205" y="5858598"/>
                </a:lnTo>
                <a:lnTo>
                  <a:pt x="844203" y="5779543"/>
                </a:lnTo>
                <a:lnTo>
                  <a:pt x="976904" y="5579080"/>
                </a:lnTo>
                <a:lnTo>
                  <a:pt x="1171720" y="5296738"/>
                </a:lnTo>
                <a:lnTo>
                  <a:pt x="1202778" y="5248739"/>
                </a:lnTo>
                <a:lnTo>
                  <a:pt x="1247952" y="5186624"/>
                </a:lnTo>
                <a:lnTo>
                  <a:pt x="1301597" y="5116039"/>
                </a:lnTo>
                <a:lnTo>
                  <a:pt x="1332655" y="5084981"/>
                </a:lnTo>
                <a:lnTo>
                  <a:pt x="1358066" y="5053923"/>
                </a:lnTo>
                <a:lnTo>
                  <a:pt x="1383477" y="5022866"/>
                </a:lnTo>
                <a:lnTo>
                  <a:pt x="1406064" y="4986161"/>
                </a:lnTo>
                <a:lnTo>
                  <a:pt x="1425828" y="4943810"/>
                </a:lnTo>
                <a:lnTo>
                  <a:pt x="1437122" y="4904282"/>
                </a:lnTo>
                <a:lnTo>
                  <a:pt x="1445592" y="4859107"/>
                </a:lnTo>
                <a:lnTo>
                  <a:pt x="1451239" y="4819579"/>
                </a:lnTo>
                <a:lnTo>
                  <a:pt x="1451239" y="4788522"/>
                </a:lnTo>
                <a:lnTo>
                  <a:pt x="1445592" y="4757464"/>
                </a:lnTo>
                <a:lnTo>
                  <a:pt x="1383477" y="4506180"/>
                </a:lnTo>
                <a:lnTo>
                  <a:pt x="1343949" y="4345245"/>
                </a:lnTo>
                <a:lnTo>
                  <a:pt x="1321361" y="4232308"/>
                </a:lnTo>
                <a:lnTo>
                  <a:pt x="1301597" y="4133488"/>
                </a:lnTo>
                <a:lnTo>
                  <a:pt x="1273363" y="4006434"/>
                </a:lnTo>
                <a:lnTo>
                  <a:pt x="1250776" y="3938672"/>
                </a:lnTo>
                <a:lnTo>
                  <a:pt x="1233835" y="3876557"/>
                </a:lnTo>
                <a:lnTo>
                  <a:pt x="1208424" y="3820088"/>
                </a:lnTo>
                <a:lnTo>
                  <a:pt x="1185837" y="3766443"/>
                </a:lnTo>
                <a:lnTo>
                  <a:pt x="1171720" y="3749503"/>
                </a:lnTo>
                <a:lnTo>
                  <a:pt x="1154779" y="3732562"/>
                </a:lnTo>
                <a:lnTo>
                  <a:pt x="1137839" y="3718445"/>
                </a:lnTo>
                <a:lnTo>
                  <a:pt x="1123722" y="3704328"/>
                </a:lnTo>
                <a:lnTo>
                  <a:pt x="1084194" y="3690211"/>
                </a:lnTo>
                <a:lnTo>
                  <a:pt x="1044666" y="3687388"/>
                </a:lnTo>
                <a:lnTo>
                  <a:pt x="1005138" y="3687388"/>
                </a:lnTo>
                <a:lnTo>
                  <a:pt x="959963" y="3690211"/>
                </a:lnTo>
                <a:lnTo>
                  <a:pt x="889378" y="3709975"/>
                </a:lnTo>
                <a:lnTo>
                  <a:pt x="796205" y="3721269"/>
                </a:lnTo>
                <a:lnTo>
                  <a:pt x="734090" y="3732562"/>
                </a:lnTo>
                <a:lnTo>
                  <a:pt x="669151" y="3741033"/>
                </a:lnTo>
                <a:lnTo>
                  <a:pt x="598566" y="3741033"/>
                </a:lnTo>
                <a:lnTo>
                  <a:pt x="525157" y="3741033"/>
                </a:lnTo>
                <a:lnTo>
                  <a:pt x="460218" y="3732562"/>
                </a:lnTo>
                <a:lnTo>
                  <a:pt x="392456" y="3718445"/>
                </a:lnTo>
                <a:lnTo>
                  <a:pt x="367045" y="3709975"/>
                </a:lnTo>
                <a:lnTo>
                  <a:pt x="344458" y="3695858"/>
                </a:lnTo>
                <a:lnTo>
                  <a:pt x="321870" y="3681741"/>
                </a:lnTo>
                <a:lnTo>
                  <a:pt x="304930" y="3670447"/>
                </a:lnTo>
                <a:lnTo>
                  <a:pt x="290813" y="3650683"/>
                </a:lnTo>
                <a:lnTo>
                  <a:pt x="279519" y="3633743"/>
                </a:lnTo>
                <a:lnTo>
                  <a:pt x="265402" y="3599862"/>
                </a:lnTo>
                <a:lnTo>
                  <a:pt x="256932" y="3557510"/>
                </a:lnTo>
                <a:lnTo>
                  <a:pt x="256932" y="3517982"/>
                </a:lnTo>
                <a:lnTo>
                  <a:pt x="262578" y="3438927"/>
                </a:lnTo>
                <a:lnTo>
                  <a:pt x="271049" y="3382458"/>
                </a:lnTo>
                <a:lnTo>
                  <a:pt x="279519" y="3342930"/>
                </a:lnTo>
                <a:lnTo>
                  <a:pt x="282342" y="3314696"/>
                </a:lnTo>
                <a:lnTo>
                  <a:pt x="282342" y="3306226"/>
                </a:lnTo>
                <a:lnTo>
                  <a:pt x="273872" y="3297756"/>
                </a:lnTo>
                <a:lnTo>
                  <a:pt x="265402" y="3289285"/>
                </a:lnTo>
                <a:lnTo>
                  <a:pt x="251285" y="3280815"/>
                </a:lnTo>
                <a:lnTo>
                  <a:pt x="217404" y="3272345"/>
                </a:lnTo>
                <a:lnTo>
                  <a:pt x="177876" y="3258228"/>
                </a:lnTo>
                <a:lnTo>
                  <a:pt x="163759" y="3249757"/>
                </a:lnTo>
                <a:lnTo>
                  <a:pt x="149642" y="3235640"/>
                </a:lnTo>
                <a:lnTo>
                  <a:pt x="146818" y="3218700"/>
                </a:lnTo>
                <a:lnTo>
                  <a:pt x="141171" y="3204583"/>
                </a:lnTo>
                <a:lnTo>
                  <a:pt x="138348" y="3170702"/>
                </a:lnTo>
                <a:lnTo>
                  <a:pt x="146818" y="3139644"/>
                </a:lnTo>
                <a:lnTo>
                  <a:pt x="155288" y="3111410"/>
                </a:lnTo>
                <a:lnTo>
                  <a:pt x="169406" y="3102940"/>
                </a:lnTo>
                <a:lnTo>
                  <a:pt x="180699" y="3094469"/>
                </a:lnTo>
                <a:lnTo>
                  <a:pt x="220227" y="3080352"/>
                </a:lnTo>
                <a:lnTo>
                  <a:pt x="256932" y="3071882"/>
                </a:lnTo>
                <a:lnTo>
                  <a:pt x="271049" y="3069058"/>
                </a:lnTo>
                <a:lnTo>
                  <a:pt x="273872" y="3063412"/>
                </a:lnTo>
                <a:lnTo>
                  <a:pt x="271049" y="3057765"/>
                </a:lnTo>
                <a:lnTo>
                  <a:pt x="256932" y="3054941"/>
                </a:lnTo>
                <a:lnTo>
                  <a:pt x="220227" y="3032354"/>
                </a:lnTo>
                <a:lnTo>
                  <a:pt x="138348" y="2998473"/>
                </a:lnTo>
                <a:lnTo>
                  <a:pt x="115761" y="2984356"/>
                </a:lnTo>
                <a:lnTo>
                  <a:pt x="101643" y="2970239"/>
                </a:lnTo>
                <a:lnTo>
                  <a:pt x="93173" y="2953298"/>
                </a:lnTo>
                <a:lnTo>
                  <a:pt x="87526" y="2930711"/>
                </a:lnTo>
                <a:lnTo>
                  <a:pt x="87526" y="2913770"/>
                </a:lnTo>
                <a:lnTo>
                  <a:pt x="87526" y="2891183"/>
                </a:lnTo>
                <a:lnTo>
                  <a:pt x="98820" y="2860125"/>
                </a:lnTo>
                <a:lnTo>
                  <a:pt x="101643" y="2846008"/>
                </a:lnTo>
                <a:lnTo>
                  <a:pt x="110114" y="2837538"/>
                </a:lnTo>
                <a:lnTo>
                  <a:pt x="132701" y="2820597"/>
                </a:lnTo>
                <a:lnTo>
                  <a:pt x="155288" y="2803657"/>
                </a:lnTo>
                <a:lnTo>
                  <a:pt x="177876" y="2781070"/>
                </a:lnTo>
                <a:lnTo>
                  <a:pt x="180699" y="2766952"/>
                </a:lnTo>
                <a:lnTo>
                  <a:pt x="186346" y="2752835"/>
                </a:lnTo>
                <a:lnTo>
                  <a:pt x="186346" y="2735895"/>
                </a:lnTo>
                <a:lnTo>
                  <a:pt x="180699" y="2713307"/>
                </a:lnTo>
                <a:lnTo>
                  <a:pt x="172229" y="2702014"/>
                </a:lnTo>
                <a:lnTo>
                  <a:pt x="163759" y="2682250"/>
                </a:lnTo>
                <a:lnTo>
                  <a:pt x="155288" y="2673780"/>
                </a:lnTo>
                <a:lnTo>
                  <a:pt x="141171" y="2665309"/>
                </a:lnTo>
                <a:lnTo>
                  <a:pt x="110114" y="2656839"/>
                </a:lnTo>
                <a:lnTo>
                  <a:pt x="76233" y="2634252"/>
                </a:lnTo>
                <a:lnTo>
                  <a:pt x="56469" y="2620135"/>
                </a:lnTo>
                <a:lnTo>
                  <a:pt x="39528" y="2603194"/>
                </a:lnTo>
                <a:lnTo>
                  <a:pt x="22588" y="2586254"/>
                </a:lnTo>
                <a:lnTo>
                  <a:pt x="8471" y="2563666"/>
                </a:lnTo>
                <a:lnTo>
                  <a:pt x="0" y="2538255"/>
                </a:lnTo>
                <a:lnTo>
                  <a:pt x="0" y="2510021"/>
                </a:lnTo>
                <a:lnTo>
                  <a:pt x="8471" y="2484610"/>
                </a:lnTo>
                <a:lnTo>
                  <a:pt x="22588" y="2453553"/>
                </a:lnTo>
                <a:lnTo>
                  <a:pt x="39528" y="2425319"/>
                </a:lnTo>
                <a:lnTo>
                  <a:pt x="62116" y="2397084"/>
                </a:lnTo>
                <a:lnTo>
                  <a:pt x="84703" y="2374497"/>
                </a:lnTo>
                <a:lnTo>
                  <a:pt x="110114" y="2346263"/>
                </a:lnTo>
                <a:lnTo>
                  <a:pt x="138348" y="2323675"/>
                </a:lnTo>
                <a:lnTo>
                  <a:pt x="169406" y="2289794"/>
                </a:lnTo>
                <a:lnTo>
                  <a:pt x="231521" y="2205092"/>
                </a:lnTo>
                <a:lnTo>
                  <a:pt x="287989" y="2117566"/>
                </a:lnTo>
                <a:lnTo>
                  <a:pt x="333164" y="2041333"/>
                </a:lnTo>
                <a:lnTo>
                  <a:pt x="287989" y="2032863"/>
                </a:lnTo>
                <a:lnTo>
                  <a:pt x="239991" y="2018746"/>
                </a:lnTo>
                <a:lnTo>
                  <a:pt x="217404" y="2010276"/>
                </a:lnTo>
                <a:lnTo>
                  <a:pt x="200463" y="1998982"/>
                </a:lnTo>
                <a:lnTo>
                  <a:pt x="180699" y="1984865"/>
                </a:lnTo>
                <a:lnTo>
                  <a:pt x="169406" y="1967924"/>
                </a:lnTo>
                <a:lnTo>
                  <a:pt x="169406" y="1962278"/>
                </a:lnTo>
                <a:lnTo>
                  <a:pt x="172229" y="1962278"/>
                </a:lnTo>
                <a:lnTo>
                  <a:pt x="211757" y="1979218"/>
                </a:lnTo>
                <a:lnTo>
                  <a:pt x="256932" y="1993335"/>
                </a:lnTo>
                <a:lnTo>
                  <a:pt x="304930" y="2001806"/>
                </a:lnTo>
                <a:lnTo>
                  <a:pt x="350104" y="2001806"/>
                </a:lnTo>
                <a:lnTo>
                  <a:pt x="358575" y="1976395"/>
                </a:lnTo>
                <a:lnTo>
                  <a:pt x="358575" y="1939690"/>
                </a:lnTo>
                <a:lnTo>
                  <a:pt x="352928" y="1874752"/>
                </a:lnTo>
                <a:lnTo>
                  <a:pt x="341634" y="1804166"/>
                </a:lnTo>
                <a:lnTo>
                  <a:pt x="333164" y="1744874"/>
                </a:lnTo>
                <a:lnTo>
                  <a:pt x="333164" y="1713817"/>
                </a:lnTo>
                <a:lnTo>
                  <a:pt x="335987" y="1679936"/>
                </a:lnTo>
                <a:lnTo>
                  <a:pt x="350104" y="1578292"/>
                </a:lnTo>
                <a:lnTo>
                  <a:pt x="372692" y="1462532"/>
                </a:lnTo>
                <a:lnTo>
                  <a:pt x="392456" y="1343948"/>
                </a:lnTo>
                <a:lnTo>
                  <a:pt x="406573" y="1276186"/>
                </a:lnTo>
                <a:lnTo>
                  <a:pt x="429160" y="1211248"/>
                </a:lnTo>
                <a:lnTo>
                  <a:pt x="460218" y="1140662"/>
                </a:lnTo>
                <a:lnTo>
                  <a:pt x="491276" y="1072900"/>
                </a:lnTo>
                <a:lnTo>
                  <a:pt x="547744" y="968433"/>
                </a:lnTo>
                <a:lnTo>
                  <a:pt x="575978" y="923259"/>
                </a:lnTo>
                <a:lnTo>
                  <a:pt x="592919" y="875261"/>
                </a:lnTo>
                <a:lnTo>
                  <a:pt x="584448" y="844203"/>
                </a:lnTo>
                <a:lnTo>
                  <a:pt x="584448" y="807498"/>
                </a:lnTo>
                <a:lnTo>
                  <a:pt x="578802" y="773617"/>
                </a:lnTo>
                <a:lnTo>
                  <a:pt x="584448" y="736913"/>
                </a:lnTo>
                <a:lnTo>
                  <a:pt x="584448" y="703032"/>
                </a:lnTo>
                <a:lnTo>
                  <a:pt x="587272" y="666327"/>
                </a:lnTo>
                <a:lnTo>
                  <a:pt x="592919" y="632446"/>
                </a:lnTo>
                <a:lnTo>
                  <a:pt x="607036" y="601389"/>
                </a:lnTo>
                <a:lnTo>
                  <a:pt x="607036" y="595742"/>
                </a:lnTo>
                <a:lnTo>
                  <a:pt x="609859" y="601389"/>
                </a:lnTo>
                <a:lnTo>
                  <a:pt x="598566" y="652210"/>
                </a:lnTo>
                <a:lnTo>
                  <a:pt x="592919" y="705855"/>
                </a:lnTo>
                <a:lnTo>
                  <a:pt x="601389" y="671974"/>
                </a:lnTo>
                <a:lnTo>
                  <a:pt x="609859" y="640917"/>
                </a:lnTo>
                <a:lnTo>
                  <a:pt x="629623" y="609859"/>
                </a:lnTo>
                <a:lnTo>
                  <a:pt x="646564" y="578801"/>
                </a:lnTo>
                <a:lnTo>
                  <a:pt x="686092" y="525156"/>
                </a:lnTo>
                <a:lnTo>
                  <a:pt x="708679" y="499746"/>
                </a:lnTo>
                <a:lnTo>
                  <a:pt x="731266" y="477158"/>
                </a:lnTo>
                <a:lnTo>
                  <a:pt x="787735" y="437630"/>
                </a:lnTo>
                <a:lnTo>
                  <a:pt x="804675" y="409396"/>
                </a:lnTo>
                <a:lnTo>
                  <a:pt x="804675" y="406573"/>
                </a:lnTo>
                <a:lnTo>
                  <a:pt x="810322" y="409396"/>
                </a:lnTo>
                <a:lnTo>
                  <a:pt x="796205" y="431983"/>
                </a:lnTo>
                <a:lnTo>
                  <a:pt x="832909" y="409396"/>
                </a:lnTo>
                <a:lnTo>
                  <a:pt x="875261" y="375515"/>
                </a:lnTo>
                <a:lnTo>
                  <a:pt x="920436" y="347281"/>
                </a:lnTo>
                <a:lnTo>
                  <a:pt x="951493" y="307753"/>
                </a:lnTo>
                <a:lnTo>
                  <a:pt x="985374" y="268225"/>
                </a:lnTo>
                <a:lnTo>
                  <a:pt x="1027726" y="237168"/>
                </a:lnTo>
                <a:lnTo>
                  <a:pt x="1070077" y="211757"/>
                </a:lnTo>
                <a:lnTo>
                  <a:pt x="1115252" y="189169"/>
                </a:lnTo>
                <a:lnTo>
                  <a:pt x="1160426" y="172229"/>
                </a:lnTo>
                <a:lnTo>
                  <a:pt x="1208424" y="152465"/>
                </a:lnTo>
                <a:lnTo>
                  <a:pt x="1256423" y="141171"/>
                </a:lnTo>
                <a:lnTo>
                  <a:pt x="1295951" y="110114"/>
                </a:lnTo>
                <a:lnTo>
                  <a:pt x="1343949" y="87526"/>
                </a:lnTo>
                <a:lnTo>
                  <a:pt x="1383477" y="70586"/>
                </a:lnTo>
                <a:lnTo>
                  <a:pt x="1425828" y="56469"/>
                </a:lnTo>
                <a:lnTo>
                  <a:pt x="1465356" y="47998"/>
                </a:lnTo>
                <a:lnTo>
                  <a:pt x="1499237" y="39528"/>
                </a:lnTo>
                <a:lnTo>
                  <a:pt x="1538765" y="39528"/>
                </a:lnTo>
                <a:lnTo>
                  <a:pt x="1575469" y="33881"/>
                </a:lnTo>
                <a:lnTo>
                  <a:pt x="1578293" y="33881"/>
                </a:lnTo>
                <a:lnTo>
                  <a:pt x="1646055" y="16941"/>
                </a:lnTo>
                <a:lnTo>
                  <a:pt x="1710993" y="2824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570558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8215086" cy="12954000"/>
          </a:xfrm>
          <a:custGeom>
            <a:avLst/>
            <a:gdLst>
              <a:gd name="connsiteX0" fmla="*/ 0 w 4107543"/>
              <a:gd name="connsiteY0" fmla="*/ 0 h 6477000"/>
              <a:gd name="connsiteX1" fmla="*/ 3824613 w 4107543"/>
              <a:gd name="connsiteY1" fmla="*/ 0 h 6477000"/>
              <a:gd name="connsiteX2" fmla="*/ 3839770 w 4107543"/>
              <a:gd name="connsiteY2" fmla="*/ 52125 h 6477000"/>
              <a:gd name="connsiteX3" fmla="*/ 3852400 w 4107543"/>
              <a:gd name="connsiteY3" fmla="*/ 106180 h 6477000"/>
              <a:gd name="connsiteX4" fmla="*/ 3862505 w 4107543"/>
              <a:gd name="connsiteY4" fmla="*/ 162166 h 6477000"/>
              <a:gd name="connsiteX5" fmla="*/ 3867557 w 4107543"/>
              <a:gd name="connsiteY5" fmla="*/ 220083 h 6477000"/>
              <a:gd name="connsiteX6" fmla="*/ 3870084 w 4107543"/>
              <a:gd name="connsiteY6" fmla="*/ 278000 h 6477000"/>
              <a:gd name="connsiteX7" fmla="*/ 3870084 w 4107543"/>
              <a:gd name="connsiteY7" fmla="*/ 335916 h 6477000"/>
              <a:gd name="connsiteX8" fmla="*/ 3867557 w 4107543"/>
              <a:gd name="connsiteY8" fmla="*/ 397694 h 6477000"/>
              <a:gd name="connsiteX9" fmla="*/ 3862505 w 4107543"/>
              <a:gd name="connsiteY9" fmla="*/ 459471 h 6477000"/>
              <a:gd name="connsiteX10" fmla="*/ 3854927 w 4107543"/>
              <a:gd name="connsiteY10" fmla="*/ 496152 h 6477000"/>
              <a:gd name="connsiteX11" fmla="*/ 3847348 w 4107543"/>
              <a:gd name="connsiteY11" fmla="*/ 532832 h 6477000"/>
              <a:gd name="connsiteX12" fmla="*/ 3832191 w 4107543"/>
              <a:gd name="connsiteY12" fmla="*/ 606193 h 6477000"/>
              <a:gd name="connsiteX13" fmla="*/ 3791772 w 4107543"/>
              <a:gd name="connsiteY13" fmla="*/ 747124 h 6477000"/>
              <a:gd name="connsiteX14" fmla="*/ 3776615 w 4107543"/>
              <a:gd name="connsiteY14" fmla="*/ 820485 h 6477000"/>
              <a:gd name="connsiteX15" fmla="*/ 3771563 w 4107543"/>
              <a:gd name="connsiteY15" fmla="*/ 855235 h 6477000"/>
              <a:gd name="connsiteX16" fmla="*/ 3766511 w 4107543"/>
              <a:gd name="connsiteY16" fmla="*/ 891915 h 6477000"/>
              <a:gd name="connsiteX17" fmla="*/ 3763985 w 4107543"/>
              <a:gd name="connsiteY17" fmla="*/ 928595 h 6477000"/>
              <a:gd name="connsiteX18" fmla="*/ 3763985 w 4107543"/>
              <a:gd name="connsiteY18" fmla="*/ 963345 h 6477000"/>
              <a:gd name="connsiteX19" fmla="*/ 3766511 w 4107543"/>
              <a:gd name="connsiteY19" fmla="*/ 1000026 h 6477000"/>
              <a:gd name="connsiteX20" fmla="*/ 3771563 w 4107543"/>
              <a:gd name="connsiteY20" fmla="*/ 1038637 h 6477000"/>
              <a:gd name="connsiteX21" fmla="*/ 3789246 w 4107543"/>
              <a:gd name="connsiteY21" fmla="*/ 1106206 h 6477000"/>
              <a:gd name="connsiteX22" fmla="*/ 3811982 w 4107543"/>
              <a:gd name="connsiteY22" fmla="*/ 1169915 h 6477000"/>
              <a:gd name="connsiteX23" fmla="*/ 3839770 w 4107543"/>
              <a:gd name="connsiteY23" fmla="*/ 1237484 h 6477000"/>
              <a:gd name="connsiteX24" fmla="*/ 3872610 w 4107543"/>
              <a:gd name="connsiteY24" fmla="*/ 1299261 h 6477000"/>
              <a:gd name="connsiteX25" fmla="*/ 3907976 w 4107543"/>
              <a:gd name="connsiteY25" fmla="*/ 1362970 h 6477000"/>
              <a:gd name="connsiteX26" fmla="*/ 3950921 w 4107543"/>
              <a:gd name="connsiteY26" fmla="*/ 1420886 h 6477000"/>
              <a:gd name="connsiteX27" fmla="*/ 3996392 w 4107543"/>
              <a:gd name="connsiteY27" fmla="*/ 1480733 h 6477000"/>
              <a:gd name="connsiteX28" fmla="*/ 4044389 w 4107543"/>
              <a:gd name="connsiteY28" fmla="*/ 1536719 h 6477000"/>
              <a:gd name="connsiteX29" fmla="*/ 4072177 w 4107543"/>
              <a:gd name="connsiteY29" fmla="*/ 1569539 h 6477000"/>
              <a:gd name="connsiteX30" fmla="*/ 4084808 w 4107543"/>
              <a:gd name="connsiteY30" fmla="*/ 1584983 h 6477000"/>
              <a:gd name="connsiteX31" fmla="*/ 4094912 w 4107543"/>
              <a:gd name="connsiteY31" fmla="*/ 1604289 h 6477000"/>
              <a:gd name="connsiteX32" fmla="*/ 4102491 w 4107543"/>
              <a:gd name="connsiteY32" fmla="*/ 1619733 h 6477000"/>
              <a:gd name="connsiteX33" fmla="*/ 4107543 w 4107543"/>
              <a:gd name="connsiteY33" fmla="*/ 1639039 h 6477000"/>
              <a:gd name="connsiteX34" fmla="*/ 4107543 w 4107543"/>
              <a:gd name="connsiteY34" fmla="*/ 1658344 h 6477000"/>
              <a:gd name="connsiteX35" fmla="*/ 4102491 w 4107543"/>
              <a:gd name="connsiteY35" fmla="*/ 1675719 h 6477000"/>
              <a:gd name="connsiteX36" fmla="*/ 4097438 w 4107543"/>
              <a:gd name="connsiteY36" fmla="*/ 1691163 h 6477000"/>
              <a:gd name="connsiteX37" fmla="*/ 4087334 w 4107543"/>
              <a:gd name="connsiteY37" fmla="*/ 1702747 h 6477000"/>
              <a:gd name="connsiteX38" fmla="*/ 4074703 w 4107543"/>
              <a:gd name="connsiteY38" fmla="*/ 1712400 h 6477000"/>
              <a:gd name="connsiteX39" fmla="*/ 4059546 w 4107543"/>
              <a:gd name="connsiteY39" fmla="*/ 1725913 h 6477000"/>
              <a:gd name="connsiteX40" fmla="*/ 4044389 w 4107543"/>
              <a:gd name="connsiteY40" fmla="*/ 1733636 h 6477000"/>
              <a:gd name="connsiteX41" fmla="*/ 4029232 w 4107543"/>
              <a:gd name="connsiteY41" fmla="*/ 1743288 h 6477000"/>
              <a:gd name="connsiteX42" fmla="*/ 3988813 w 4107543"/>
              <a:gd name="connsiteY42" fmla="*/ 1756802 h 6477000"/>
              <a:gd name="connsiteX43" fmla="*/ 3948395 w 4107543"/>
              <a:gd name="connsiteY43" fmla="*/ 1770316 h 6477000"/>
              <a:gd name="connsiteX44" fmla="*/ 3905450 w 4107543"/>
              <a:gd name="connsiteY44" fmla="*/ 1779969 h 6477000"/>
              <a:gd name="connsiteX45" fmla="*/ 3834717 w 4107543"/>
              <a:gd name="connsiteY45" fmla="*/ 1793483 h 6477000"/>
              <a:gd name="connsiteX46" fmla="*/ 3761458 w 4107543"/>
              <a:gd name="connsiteY46" fmla="*/ 1806997 h 6477000"/>
              <a:gd name="connsiteX47" fmla="*/ 3726092 w 4107543"/>
              <a:gd name="connsiteY47" fmla="*/ 1814719 h 6477000"/>
              <a:gd name="connsiteX48" fmla="*/ 3708409 w 4107543"/>
              <a:gd name="connsiteY48" fmla="*/ 1820510 h 6477000"/>
              <a:gd name="connsiteX49" fmla="*/ 3690726 w 4107543"/>
              <a:gd name="connsiteY49" fmla="*/ 1826302 h 6477000"/>
              <a:gd name="connsiteX50" fmla="*/ 3675569 w 4107543"/>
              <a:gd name="connsiteY50" fmla="*/ 1834024 h 6477000"/>
              <a:gd name="connsiteX51" fmla="*/ 3660412 w 4107543"/>
              <a:gd name="connsiteY51" fmla="*/ 1843677 h 6477000"/>
              <a:gd name="connsiteX52" fmla="*/ 3647781 w 4107543"/>
              <a:gd name="connsiteY52" fmla="*/ 1857191 h 6477000"/>
              <a:gd name="connsiteX53" fmla="*/ 3632624 w 4107543"/>
              <a:gd name="connsiteY53" fmla="*/ 1868774 h 6477000"/>
              <a:gd name="connsiteX54" fmla="*/ 3622519 w 4107543"/>
              <a:gd name="connsiteY54" fmla="*/ 1882288 h 6477000"/>
              <a:gd name="connsiteX55" fmla="*/ 3614941 w 4107543"/>
              <a:gd name="connsiteY55" fmla="*/ 1899663 h 6477000"/>
              <a:gd name="connsiteX56" fmla="*/ 3607362 w 4107543"/>
              <a:gd name="connsiteY56" fmla="*/ 1913177 h 6477000"/>
              <a:gd name="connsiteX57" fmla="*/ 3599784 w 4107543"/>
              <a:gd name="connsiteY57" fmla="*/ 1932482 h 6477000"/>
              <a:gd name="connsiteX58" fmla="*/ 3597258 w 4107543"/>
              <a:gd name="connsiteY58" fmla="*/ 1947927 h 6477000"/>
              <a:gd name="connsiteX59" fmla="*/ 3594731 w 4107543"/>
              <a:gd name="connsiteY59" fmla="*/ 1963371 h 6477000"/>
              <a:gd name="connsiteX60" fmla="*/ 3592205 w 4107543"/>
              <a:gd name="connsiteY60" fmla="*/ 1980746 h 6477000"/>
              <a:gd name="connsiteX61" fmla="*/ 3594731 w 4107543"/>
              <a:gd name="connsiteY61" fmla="*/ 1996191 h 6477000"/>
              <a:gd name="connsiteX62" fmla="*/ 3599784 w 4107543"/>
              <a:gd name="connsiteY62" fmla="*/ 2009705 h 6477000"/>
              <a:gd name="connsiteX63" fmla="*/ 3604836 w 4107543"/>
              <a:gd name="connsiteY63" fmla="*/ 2025149 h 6477000"/>
              <a:gd name="connsiteX64" fmla="*/ 3612415 w 4107543"/>
              <a:gd name="connsiteY64" fmla="*/ 2038663 h 6477000"/>
              <a:gd name="connsiteX65" fmla="*/ 3625045 w 4107543"/>
              <a:gd name="connsiteY65" fmla="*/ 2048316 h 6477000"/>
              <a:gd name="connsiteX66" fmla="*/ 3645255 w 4107543"/>
              <a:gd name="connsiteY66" fmla="*/ 2067621 h 6477000"/>
              <a:gd name="connsiteX67" fmla="*/ 3652833 w 4107543"/>
              <a:gd name="connsiteY67" fmla="*/ 2077274 h 6477000"/>
              <a:gd name="connsiteX68" fmla="*/ 3660412 w 4107543"/>
              <a:gd name="connsiteY68" fmla="*/ 2084996 h 6477000"/>
              <a:gd name="connsiteX69" fmla="*/ 3665464 w 4107543"/>
              <a:gd name="connsiteY69" fmla="*/ 2094649 h 6477000"/>
              <a:gd name="connsiteX70" fmla="*/ 3665464 w 4107543"/>
              <a:gd name="connsiteY70" fmla="*/ 2106232 h 6477000"/>
              <a:gd name="connsiteX71" fmla="*/ 3665464 w 4107543"/>
              <a:gd name="connsiteY71" fmla="*/ 2115885 h 6477000"/>
              <a:gd name="connsiteX72" fmla="*/ 3660412 w 4107543"/>
              <a:gd name="connsiteY72" fmla="*/ 2125538 h 6477000"/>
              <a:gd name="connsiteX73" fmla="*/ 3652833 w 4107543"/>
              <a:gd name="connsiteY73" fmla="*/ 2140982 h 6477000"/>
              <a:gd name="connsiteX74" fmla="*/ 3645255 w 4107543"/>
              <a:gd name="connsiteY74" fmla="*/ 2154496 h 6477000"/>
              <a:gd name="connsiteX75" fmla="*/ 3632624 w 4107543"/>
              <a:gd name="connsiteY75" fmla="*/ 2166079 h 6477000"/>
              <a:gd name="connsiteX76" fmla="*/ 3619993 w 4107543"/>
              <a:gd name="connsiteY76" fmla="*/ 2175732 h 6477000"/>
              <a:gd name="connsiteX77" fmla="*/ 3604836 w 4107543"/>
              <a:gd name="connsiteY77" fmla="*/ 2187315 h 6477000"/>
              <a:gd name="connsiteX78" fmla="*/ 3592205 w 4107543"/>
              <a:gd name="connsiteY78" fmla="*/ 2195037 h 6477000"/>
              <a:gd name="connsiteX79" fmla="*/ 3574522 w 4107543"/>
              <a:gd name="connsiteY79" fmla="*/ 2202760 h 6477000"/>
              <a:gd name="connsiteX80" fmla="*/ 3556839 w 4107543"/>
              <a:gd name="connsiteY80" fmla="*/ 2208551 h 6477000"/>
              <a:gd name="connsiteX81" fmla="*/ 3539156 w 4107543"/>
              <a:gd name="connsiteY81" fmla="*/ 2214343 h 6477000"/>
              <a:gd name="connsiteX82" fmla="*/ 3518946 w 4107543"/>
              <a:gd name="connsiteY82" fmla="*/ 2218204 h 6477000"/>
              <a:gd name="connsiteX83" fmla="*/ 3501263 w 4107543"/>
              <a:gd name="connsiteY83" fmla="*/ 2220135 h 6477000"/>
              <a:gd name="connsiteX84" fmla="*/ 3483580 w 4107543"/>
              <a:gd name="connsiteY84" fmla="*/ 2222065 h 6477000"/>
              <a:gd name="connsiteX85" fmla="*/ 3460845 w 4107543"/>
              <a:gd name="connsiteY85" fmla="*/ 2222065 h 6477000"/>
              <a:gd name="connsiteX86" fmla="*/ 3443161 w 4107543"/>
              <a:gd name="connsiteY86" fmla="*/ 2222065 h 6477000"/>
              <a:gd name="connsiteX87" fmla="*/ 3420426 w 4107543"/>
              <a:gd name="connsiteY87" fmla="*/ 2220135 h 6477000"/>
              <a:gd name="connsiteX88" fmla="*/ 3402743 w 4107543"/>
              <a:gd name="connsiteY88" fmla="*/ 2218204 h 6477000"/>
              <a:gd name="connsiteX89" fmla="*/ 3417900 w 4107543"/>
              <a:gd name="connsiteY89" fmla="*/ 2225926 h 6477000"/>
              <a:gd name="connsiteX90" fmla="*/ 3430531 w 4107543"/>
              <a:gd name="connsiteY90" fmla="*/ 2233648 h 6477000"/>
              <a:gd name="connsiteX91" fmla="*/ 3440635 w 4107543"/>
              <a:gd name="connsiteY91" fmla="*/ 2245232 h 6477000"/>
              <a:gd name="connsiteX92" fmla="*/ 3445688 w 4107543"/>
              <a:gd name="connsiteY92" fmla="*/ 2254885 h 6477000"/>
              <a:gd name="connsiteX93" fmla="*/ 3455792 w 4107543"/>
              <a:gd name="connsiteY93" fmla="*/ 2281913 h 6477000"/>
              <a:gd name="connsiteX94" fmla="*/ 3463371 w 4107543"/>
              <a:gd name="connsiteY94" fmla="*/ 2310871 h 6477000"/>
              <a:gd name="connsiteX95" fmla="*/ 3468423 w 4107543"/>
              <a:gd name="connsiteY95" fmla="*/ 2335968 h 6477000"/>
              <a:gd name="connsiteX96" fmla="*/ 3468423 w 4107543"/>
              <a:gd name="connsiteY96" fmla="*/ 2351412 h 6477000"/>
              <a:gd name="connsiteX97" fmla="*/ 3468423 w 4107543"/>
              <a:gd name="connsiteY97" fmla="*/ 2362996 h 6477000"/>
              <a:gd name="connsiteX98" fmla="*/ 3463371 w 4107543"/>
              <a:gd name="connsiteY98" fmla="*/ 2376509 h 6477000"/>
              <a:gd name="connsiteX99" fmla="*/ 3458318 w 4107543"/>
              <a:gd name="connsiteY99" fmla="*/ 2388093 h 6477000"/>
              <a:gd name="connsiteX100" fmla="*/ 3453266 w 4107543"/>
              <a:gd name="connsiteY100" fmla="*/ 2399676 h 6477000"/>
              <a:gd name="connsiteX101" fmla="*/ 3443161 w 4107543"/>
              <a:gd name="connsiteY101" fmla="*/ 2411259 h 6477000"/>
              <a:gd name="connsiteX102" fmla="*/ 3430531 w 4107543"/>
              <a:gd name="connsiteY102" fmla="*/ 2418981 h 6477000"/>
              <a:gd name="connsiteX103" fmla="*/ 3415374 w 4107543"/>
              <a:gd name="connsiteY103" fmla="*/ 2426704 h 6477000"/>
              <a:gd name="connsiteX104" fmla="*/ 3400217 w 4107543"/>
              <a:gd name="connsiteY104" fmla="*/ 2430565 h 6477000"/>
              <a:gd name="connsiteX105" fmla="*/ 3385060 w 4107543"/>
              <a:gd name="connsiteY105" fmla="*/ 2436356 h 6477000"/>
              <a:gd name="connsiteX106" fmla="*/ 3339589 w 4107543"/>
              <a:gd name="connsiteY106" fmla="*/ 2455662 h 6477000"/>
              <a:gd name="connsiteX107" fmla="*/ 3316853 w 4107543"/>
              <a:gd name="connsiteY107" fmla="*/ 2467245 h 6477000"/>
              <a:gd name="connsiteX108" fmla="*/ 3296644 w 4107543"/>
              <a:gd name="connsiteY108" fmla="*/ 2480759 h 6477000"/>
              <a:gd name="connsiteX109" fmla="*/ 3284013 w 4107543"/>
              <a:gd name="connsiteY109" fmla="*/ 2494273 h 6477000"/>
              <a:gd name="connsiteX110" fmla="*/ 3276435 w 4107543"/>
              <a:gd name="connsiteY110" fmla="*/ 2507787 h 6477000"/>
              <a:gd name="connsiteX111" fmla="*/ 3268856 w 4107543"/>
              <a:gd name="connsiteY111" fmla="*/ 2525162 h 6477000"/>
              <a:gd name="connsiteX112" fmla="*/ 3266330 w 4107543"/>
              <a:gd name="connsiteY112" fmla="*/ 2540606 h 6477000"/>
              <a:gd name="connsiteX113" fmla="*/ 3263804 w 4107543"/>
              <a:gd name="connsiteY113" fmla="*/ 2556051 h 6477000"/>
              <a:gd name="connsiteX114" fmla="*/ 3266330 w 4107543"/>
              <a:gd name="connsiteY114" fmla="*/ 2575356 h 6477000"/>
              <a:gd name="connsiteX115" fmla="*/ 3268856 w 4107543"/>
              <a:gd name="connsiteY115" fmla="*/ 2590801 h 6477000"/>
              <a:gd name="connsiteX116" fmla="*/ 3273908 w 4107543"/>
              <a:gd name="connsiteY116" fmla="*/ 2608175 h 6477000"/>
              <a:gd name="connsiteX117" fmla="*/ 3284013 w 4107543"/>
              <a:gd name="connsiteY117" fmla="*/ 2639064 h 6477000"/>
              <a:gd name="connsiteX118" fmla="*/ 3296644 w 4107543"/>
              <a:gd name="connsiteY118" fmla="*/ 2671884 h 6477000"/>
              <a:gd name="connsiteX119" fmla="*/ 3309275 w 4107543"/>
              <a:gd name="connsiteY119" fmla="*/ 2704703 h 6477000"/>
              <a:gd name="connsiteX120" fmla="*/ 3316853 w 4107543"/>
              <a:gd name="connsiteY120" fmla="*/ 2720147 h 6477000"/>
              <a:gd name="connsiteX121" fmla="*/ 3319379 w 4107543"/>
              <a:gd name="connsiteY121" fmla="*/ 2737522 h 6477000"/>
              <a:gd name="connsiteX122" fmla="*/ 3319379 w 4107543"/>
              <a:gd name="connsiteY122" fmla="*/ 2756828 h 6477000"/>
              <a:gd name="connsiteX123" fmla="*/ 3319379 w 4107543"/>
              <a:gd name="connsiteY123" fmla="*/ 2778064 h 6477000"/>
              <a:gd name="connsiteX124" fmla="*/ 3314327 w 4107543"/>
              <a:gd name="connsiteY124" fmla="*/ 2797370 h 6477000"/>
              <a:gd name="connsiteX125" fmla="*/ 3306749 w 4107543"/>
              <a:gd name="connsiteY125" fmla="*/ 2816675 h 6477000"/>
              <a:gd name="connsiteX126" fmla="*/ 3299170 w 4107543"/>
              <a:gd name="connsiteY126" fmla="*/ 2835981 h 6477000"/>
              <a:gd name="connsiteX127" fmla="*/ 3286539 w 4107543"/>
              <a:gd name="connsiteY127" fmla="*/ 2855286 h 6477000"/>
              <a:gd name="connsiteX128" fmla="*/ 3273908 w 4107543"/>
              <a:gd name="connsiteY128" fmla="*/ 2870731 h 6477000"/>
              <a:gd name="connsiteX129" fmla="*/ 3261278 w 4107543"/>
              <a:gd name="connsiteY129" fmla="*/ 2888106 h 6477000"/>
              <a:gd name="connsiteX130" fmla="*/ 3243594 w 4107543"/>
              <a:gd name="connsiteY130" fmla="*/ 2905480 h 6477000"/>
              <a:gd name="connsiteX131" fmla="*/ 3225911 w 4107543"/>
              <a:gd name="connsiteY131" fmla="*/ 2918995 h 6477000"/>
              <a:gd name="connsiteX132" fmla="*/ 3205702 w 4107543"/>
              <a:gd name="connsiteY132" fmla="*/ 2932508 h 6477000"/>
              <a:gd name="connsiteX133" fmla="*/ 3182966 w 4107543"/>
              <a:gd name="connsiteY133" fmla="*/ 2946022 h 6477000"/>
              <a:gd name="connsiteX134" fmla="*/ 3162757 w 4107543"/>
              <a:gd name="connsiteY134" fmla="*/ 2957605 h 6477000"/>
              <a:gd name="connsiteX135" fmla="*/ 3137495 w 4107543"/>
              <a:gd name="connsiteY135" fmla="*/ 2967258 h 6477000"/>
              <a:gd name="connsiteX136" fmla="*/ 3114760 w 4107543"/>
              <a:gd name="connsiteY136" fmla="*/ 2978841 h 6477000"/>
              <a:gd name="connsiteX137" fmla="*/ 3086972 w 4107543"/>
              <a:gd name="connsiteY137" fmla="*/ 2986564 h 6477000"/>
              <a:gd name="connsiteX138" fmla="*/ 3064237 w 4107543"/>
              <a:gd name="connsiteY138" fmla="*/ 2992355 h 6477000"/>
              <a:gd name="connsiteX139" fmla="*/ 3036449 w 4107543"/>
              <a:gd name="connsiteY139" fmla="*/ 2996217 h 6477000"/>
              <a:gd name="connsiteX140" fmla="*/ 2988452 w 4107543"/>
              <a:gd name="connsiteY140" fmla="*/ 3002008 h 6477000"/>
              <a:gd name="connsiteX141" fmla="*/ 2935402 w 4107543"/>
              <a:gd name="connsiteY141" fmla="*/ 3003939 h 6477000"/>
              <a:gd name="connsiteX142" fmla="*/ 2879826 w 4107543"/>
              <a:gd name="connsiteY142" fmla="*/ 3002008 h 6477000"/>
              <a:gd name="connsiteX143" fmla="*/ 2826777 w 4107543"/>
              <a:gd name="connsiteY143" fmla="*/ 2998147 h 6477000"/>
              <a:gd name="connsiteX144" fmla="*/ 2773728 w 4107543"/>
              <a:gd name="connsiteY144" fmla="*/ 2990425 h 6477000"/>
              <a:gd name="connsiteX145" fmla="*/ 2723204 w 4107543"/>
              <a:gd name="connsiteY145" fmla="*/ 2978841 h 6477000"/>
              <a:gd name="connsiteX146" fmla="*/ 2672681 w 4107543"/>
              <a:gd name="connsiteY146" fmla="*/ 2963397 h 6477000"/>
              <a:gd name="connsiteX147" fmla="*/ 2622158 w 4107543"/>
              <a:gd name="connsiteY147" fmla="*/ 2949883 h 6477000"/>
              <a:gd name="connsiteX148" fmla="*/ 2574160 w 4107543"/>
              <a:gd name="connsiteY148" fmla="*/ 2932508 h 6477000"/>
              <a:gd name="connsiteX149" fmla="*/ 2478166 w 4107543"/>
              <a:gd name="connsiteY149" fmla="*/ 2897758 h 6477000"/>
              <a:gd name="connsiteX150" fmla="*/ 2384698 w 4107543"/>
              <a:gd name="connsiteY150" fmla="*/ 2859147 h 6477000"/>
              <a:gd name="connsiteX151" fmla="*/ 2288704 w 4107543"/>
              <a:gd name="connsiteY151" fmla="*/ 2822467 h 6477000"/>
              <a:gd name="connsiteX152" fmla="*/ 2243233 w 4107543"/>
              <a:gd name="connsiteY152" fmla="*/ 2805092 h 6477000"/>
              <a:gd name="connsiteX153" fmla="*/ 2197762 w 4107543"/>
              <a:gd name="connsiteY153" fmla="*/ 2793508 h 6477000"/>
              <a:gd name="connsiteX154" fmla="*/ 2154817 w 4107543"/>
              <a:gd name="connsiteY154" fmla="*/ 2781925 h 6477000"/>
              <a:gd name="connsiteX155" fmla="*/ 2114398 w 4107543"/>
              <a:gd name="connsiteY155" fmla="*/ 2774203 h 6477000"/>
              <a:gd name="connsiteX156" fmla="*/ 2073979 w 4107543"/>
              <a:gd name="connsiteY156" fmla="*/ 2766481 h 6477000"/>
              <a:gd name="connsiteX157" fmla="*/ 2033561 w 4107543"/>
              <a:gd name="connsiteY157" fmla="*/ 2762620 h 6477000"/>
              <a:gd name="connsiteX158" fmla="*/ 1993142 w 4107543"/>
              <a:gd name="connsiteY158" fmla="*/ 2760689 h 6477000"/>
              <a:gd name="connsiteX159" fmla="*/ 1955250 w 4107543"/>
              <a:gd name="connsiteY159" fmla="*/ 2760689 h 6477000"/>
              <a:gd name="connsiteX160" fmla="*/ 1914831 w 4107543"/>
              <a:gd name="connsiteY160" fmla="*/ 2762620 h 6477000"/>
              <a:gd name="connsiteX161" fmla="*/ 1874412 w 4107543"/>
              <a:gd name="connsiteY161" fmla="*/ 2766481 h 6477000"/>
              <a:gd name="connsiteX162" fmla="*/ 1836520 w 4107543"/>
              <a:gd name="connsiteY162" fmla="*/ 2774203 h 6477000"/>
              <a:gd name="connsiteX163" fmla="*/ 1796101 w 4107543"/>
              <a:gd name="connsiteY163" fmla="*/ 2781925 h 6477000"/>
              <a:gd name="connsiteX164" fmla="*/ 1753156 w 4107543"/>
              <a:gd name="connsiteY164" fmla="*/ 2791578 h 6477000"/>
              <a:gd name="connsiteX165" fmla="*/ 1710212 w 4107543"/>
              <a:gd name="connsiteY165" fmla="*/ 2803161 h 6477000"/>
              <a:gd name="connsiteX166" fmla="*/ 1669793 w 4107543"/>
              <a:gd name="connsiteY166" fmla="*/ 2818606 h 6477000"/>
              <a:gd name="connsiteX167" fmla="*/ 1626848 w 4107543"/>
              <a:gd name="connsiteY167" fmla="*/ 2834050 h 6477000"/>
              <a:gd name="connsiteX168" fmla="*/ 1586429 w 4107543"/>
              <a:gd name="connsiteY168" fmla="*/ 2849494 h 6477000"/>
              <a:gd name="connsiteX169" fmla="*/ 1548537 w 4107543"/>
              <a:gd name="connsiteY169" fmla="*/ 2868800 h 6477000"/>
              <a:gd name="connsiteX170" fmla="*/ 1513171 w 4107543"/>
              <a:gd name="connsiteY170" fmla="*/ 2888106 h 6477000"/>
              <a:gd name="connsiteX171" fmla="*/ 1477804 w 4107543"/>
              <a:gd name="connsiteY171" fmla="*/ 2909342 h 6477000"/>
              <a:gd name="connsiteX172" fmla="*/ 1442438 w 4107543"/>
              <a:gd name="connsiteY172" fmla="*/ 2930578 h 6477000"/>
              <a:gd name="connsiteX173" fmla="*/ 1412124 w 4107543"/>
              <a:gd name="connsiteY173" fmla="*/ 2955675 h 6477000"/>
              <a:gd name="connsiteX174" fmla="*/ 1379284 w 4107543"/>
              <a:gd name="connsiteY174" fmla="*/ 2980772 h 6477000"/>
              <a:gd name="connsiteX175" fmla="*/ 1354022 w 4107543"/>
              <a:gd name="connsiteY175" fmla="*/ 3005869 h 6477000"/>
              <a:gd name="connsiteX176" fmla="*/ 1323708 w 4107543"/>
              <a:gd name="connsiteY176" fmla="*/ 3032897 h 6477000"/>
              <a:gd name="connsiteX177" fmla="*/ 1300973 w 4107543"/>
              <a:gd name="connsiteY177" fmla="*/ 3059925 h 6477000"/>
              <a:gd name="connsiteX178" fmla="*/ 1275711 w 4107543"/>
              <a:gd name="connsiteY178" fmla="*/ 3088883 h 6477000"/>
              <a:gd name="connsiteX179" fmla="*/ 1255502 w 4107543"/>
              <a:gd name="connsiteY179" fmla="*/ 3119772 h 6477000"/>
              <a:gd name="connsiteX180" fmla="*/ 1237818 w 4107543"/>
              <a:gd name="connsiteY180" fmla="*/ 3150661 h 6477000"/>
              <a:gd name="connsiteX181" fmla="*/ 1220135 w 4107543"/>
              <a:gd name="connsiteY181" fmla="*/ 3179619 h 6477000"/>
              <a:gd name="connsiteX182" fmla="*/ 1204978 w 4107543"/>
              <a:gd name="connsiteY182" fmla="*/ 3212438 h 6477000"/>
              <a:gd name="connsiteX183" fmla="*/ 1194874 w 4107543"/>
              <a:gd name="connsiteY183" fmla="*/ 3245258 h 6477000"/>
              <a:gd name="connsiteX184" fmla="*/ 1182243 w 4107543"/>
              <a:gd name="connsiteY184" fmla="*/ 3283869 h 6477000"/>
              <a:gd name="connsiteX185" fmla="*/ 1172138 w 4107543"/>
              <a:gd name="connsiteY185" fmla="*/ 3322480 h 6477000"/>
              <a:gd name="connsiteX186" fmla="*/ 1167086 w 4107543"/>
              <a:gd name="connsiteY186" fmla="*/ 3359160 h 6477000"/>
              <a:gd name="connsiteX187" fmla="*/ 1164560 w 4107543"/>
              <a:gd name="connsiteY187" fmla="*/ 3391979 h 6477000"/>
              <a:gd name="connsiteX188" fmla="*/ 1164560 w 4107543"/>
              <a:gd name="connsiteY188" fmla="*/ 3426729 h 6477000"/>
              <a:gd name="connsiteX189" fmla="*/ 1167086 w 4107543"/>
              <a:gd name="connsiteY189" fmla="*/ 3461479 h 6477000"/>
              <a:gd name="connsiteX190" fmla="*/ 1172138 w 4107543"/>
              <a:gd name="connsiteY190" fmla="*/ 3494299 h 6477000"/>
              <a:gd name="connsiteX191" fmla="*/ 1182243 w 4107543"/>
              <a:gd name="connsiteY191" fmla="*/ 3527118 h 6477000"/>
              <a:gd name="connsiteX192" fmla="*/ 1192348 w 4107543"/>
              <a:gd name="connsiteY192" fmla="*/ 3556076 h 6477000"/>
              <a:gd name="connsiteX193" fmla="*/ 1202452 w 4107543"/>
              <a:gd name="connsiteY193" fmla="*/ 3586965 h 6477000"/>
              <a:gd name="connsiteX194" fmla="*/ 1217609 w 4107543"/>
              <a:gd name="connsiteY194" fmla="*/ 3617854 h 6477000"/>
              <a:gd name="connsiteX195" fmla="*/ 1237818 w 4107543"/>
              <a:gd name="connsiteY195" fmla="*/ 3644882 h 6477000"/>
              <a:gd name="connsiteX196" fmla="*/ 1255502 w 4107543"/>
              <a:gd name="connsiteY196" fmla="*/ 3673840 h 6477000"/>
              <a:gd name="connsiteX197" fmla="*/ 1275711 w 4107543"/>
              <a:gd name="connsiteY197" fmla="*/ 3700868 h 6477000"/>
              <a:gd name="connsiteX198" fmla="*/ 1298446 w 4107543"/>
              <a:gd name="connsiteY198" fmla="*/ 3725965 h 6477000"/>
              <a:gd name="connsiteX199" fmla="*/ 1323708 w 4107543"/>
              <a:gd name="connsiteY199" fmla="*/ 3752993 h 6477000"/>
              <a:gd name="connsiteX200" fmla="*/ 1354022 w 4107543"/>
              <a:gd name="connsiteY200" fmla="*/ 3780020 h 6477000"/>
              <a:gd name="connsiteX201" fmla="*/ 1384336 w 4107543"/>
              <a:gd name="connsiteY201" fmla="*/ 3803187 h 6477000"/>
              <a:gd name="connsiteX202" fmla="*/ 1419702 w 4107543"/>
              <a:gd name="connsiteY202" fmla="*/ 3828284 h 6477000"/>
              <a:gd name="connsiteX203" fmla="*/ 1455069 w 4107543"/>
              <a:gd name="connsiteY203" fmla="*/ 3849520 h 6477000"/>
              <a:gd name="connsiteX204" fmla="*/ 1490435 w 4107543"/>
              <a:gd name="connsiteY204" fmla="*/ 3870756 h 6477000"/>
              <a:gd name="connsiteX205" fmla="*/ 1530854 w 4107543"/>
              <a:gd name="connsiteY205" fmla="*/ 3888131 h 6477000"/>
              <a:gd name="connsiteX206" fmla="*/ 1571272 w 4107543"/>
              <a:gd name="connsiteY206" fmla="*/ 3907437 h 6477000"/>
              <a:gd name="connsiteX207" fmla="*/ 1614217 w 4107543"/>
              <a:gd name="connsiteY207" fmla="*/ 3922881 h 6477000"/>
              <a:gd name="connsiteX208" fmla="*/ 1654636 w 4107543"/>
              <a:gd name="connsiteY208" fmla="*/ 3938326 h 6477000"/>
              <a:gd name="connsiteX209" fmla="*/ 1700107 w 4107543"/>
              <a:gd name="connsiteY209" fmla="*/ 3953770 h 6477000"/>
              <a:gd name="connsiteX210" fmla="*/ 1791049 w 4107543"/>
              <a:gd name="connsiteY210" fmla="*/ 3976937 h 6477000"/>
              <a:gd name="connsiteX211" fmla="*/ 1884517 w 4107543"/>
              <a:gd name="connsiteY211" fmla="*/ 4000103 h 6477000"/>
              <a:gd name="connsiteX212" fmla="*/ 1980511 w 4107543"/>
              <a:gd name="connsiteY212" fmla="*/ 4019409 h 6477000"/>
              <a:gd name="connsiteX213" fmla="*/ 2079032 w 4107543"/>
              <a:gd name="connsiteY213" fmla="*/ 4036784 h 6477000"/>
              <a:gd name="connsiteX214" fmla="*/ 2177552 w 4107543"/>
              <a:gd name="connsiteY214" fmla="*/ 4054159 h 6477000"/>
              <a:gd name="connsiteX215" fmla="*/ 2372067 w 4107543"/>
              <a:gd name="connsiteY215" fmla="*/ 4086978 h 6477000"/>
              <a:gd name="connsiteX216" fmla="*/ 2465535 w 4107543"/>
              <a:gd name="connsiteY216" fmla="*/ 4102423 h 6477000"/>
              <a:gd name="connsiteX217" fmla="*/ 2559003 w 4107543"/>
              <a:gd name="connsiteY217" fmla="*/ 4123659 h 6477000"/>
              <a:gd name="connsiteX218" fmla="*/ 2644893 w 4107543"/>
              <a:gd name="connsiteY218" fmla="*/ 4144895 h 6477000"/>
              <a:gd name="connsiteX219" fmla="*/ 2687838 w 4107543"/>
              <a:gd name="connsiteY219" fmla="*/ 4158409 h 6477000"/>
              <a:gd name="connsiteX220" fmla="*/ 2728257 w 4107543"/>
              <a:gd name="connsiteY220" fmla="*/ 4169992 h 6477000"/>
              <a:gd name="connsiteX221" fmla="*/ 2783832 w 4107543"/>
              <a:gd name="connsiteY221" fmla="*/ 4189297 h 6477000"/>
              <a:gd name="connsiteX222" fmla="*/ 2839408 w 4107543"/>
              <a:gd name="connsiteY222" fmla="*/ 4210534 h 6477000"/>
              <a:gd name="connsiteX223" fmla="*/ 2892457 w 4107543"/>
              <a:gd name="connsiteY223" fmla="*/ 4233700 h 6477000"/>
              <a:gd name="connsiteX224" fmla="*/ 2945507 w 4107543"/>
              <a:gd name="connsiteY224" fmla="*/ 4256867 h 6477000"/>
              <a:gd name="connsiteX225" fmla="*/ 2996030 w 4107543"/>
              <a:gd name="connsiteY225" fmla="*/ 4283895 h 6477000"/>
              <a:gd name="connsiteX226" fmla="*/ 3046553 w 4107543"/>
              <a:gd name="connsiteY226" fmla="*/ 4308992 h 6477000"/>
              <a:gd name="connsiteX227" fmla="*/ 3094551 w 4107543"/>
              <a:gd name="connsiteY227" fmla="*/ 4336019 h 6477000"/>
              <a:gd name="connsiteX228" fmla="*/ 3137495 w 4107543"/>
              <a:gd name="connsiteY228" fmla="*/ 4364978 h 6477000"/>
              <a:gd name="connsiteX229" fmla="*/ 3182966 w 4107543"/>
              <a:gd name="connsiteY229" fmla="*/ 4393936 h 6477000"/>
              <a:gd name="connsiteX230" fmla="*/ 3225911 w 4107543"/>
              <a:gd name="connsiteY230" fmla="*/ 4424825 h 6477000"/>
              <a:gd name="connsiteX231" fmla="*/ 3266330 w 4107543"/>
              <a:gd name="connsiteY231" fmla="*/ 4455714 h 6477000"/>
              <a:gd name="connsiteX232" fmla="*/ 3304222 w 4107543"/>
              <a:gd name="connsiteY232" fmla="*/ 4490464 h 6477000"/>
              <a:gd name="connsiteX233" fmla="*/ 3342115 w 4107543"/>
              <a:gd name="connsiteY233" fmla="*/ 4521352 h 6477000"/>
              <a:gd name="connsiteX234" fmla="*/ 3380007 w 4107543"/>
              <a:gd name="connsiteY234" fmla="*/ 4556102 h 6477000"/>
              <a:gd name="connsiteX235" fmla="*/ 3412847 w 4107543"/>
              <a:gd name="connsiteY235" fmla="*/ 4592783 h 6477000"/>
              <a:gd name="connsiteX236" fmla="*/ 3445688 w 4107543"/>
              <a:gd name="connsiteY236" fmla="*/ 4629463 h 6477000"/>
              <a:gd name="connsiteX237" fmla="*/ 3473475 w 4107543"/>
              <a:gd name="connsiteY237" fmla="*/ 4668074 h 6477000"/>
              <a:gd name="connsiteX238" fmla="*/ 3503789 w 4107543"/>
              <a:gd name="connsiteY238" fmla="*/ 4704755 h 6477000"/>
              <a:gd name="connsiteX239" fmla="*/ 3529051 w 4107543"/>
              <a:gd name="connsiteY239" fmla="*/ 4745296 h 6477000"/>
              <a:gd name="connsiteX240" fmla="*/ 3556839 w 4107543"/>
              <a:gd name="connsiteY240" fmla="*/ 4785838 h 6477000"/>
              <a:gd name="connsiteX241" fmla="*/ 3577048 w 4107543"/>
              <a:gd name="connsiteY241" fmla="*/ 4826380 h 6477000"/>
              <a:gd name="connsiteX242" fmla="*/ 3599784 w 4107543"/>
              <a:gd name="connsiteY242" fmla="*/ 4866921 h 6477000"/>
              <a:gd name="connsiteX243" fmla="*/ 3617467 w 4107543"/>
              <a:gd name="connsiteY243" fmla="*/ 4909393 h 6477000"/>
              <a:gd name="connsiteX244" fmla="*/ 3635150 w 4107543"/>
              <a:gd name="connsiteY244" fmla="*/ 4951865 h 6477000"/>
              <a:gd name="connsiteX245" fmla="*/ 3650307 w 4107543"/>
              <a:gd name="connsiteY245" fmla="*/ 4996268 h 6477000"/>
              <a:gd name="connsiteX246" fmla="*/ 3662938 w 4107543"/>
              <a:gd name="connsiteY246" fmla="*/ 5040671 h 6477000"/>
              <a:gd name="connsiteX247" fmla="*/ 3673043 w 4107543"/>
              <a:gd name="connsiteY247" fmla="*/ 5085073 h 6477000"/>
              <a:gd name="connsiteX248" fmla="*/ 3683147 w 4107543"/>
              <a:gd name="connsiteY248" fmla="*/ 5131407 h 6477000"/>
              <a:gd name="connsiteX249" fmla="*/ 3688200 w 4107543"/>
              <a:gd name="connsiteY249" fmla="*/ 5177740 h 6477000"/>
              <a:gd name="connsiteX250" fmla="*/ 3693252 w 4107543"/>
              <a:gd name="connsiteY250" fmla="*/ 5224073 h 6477000"/>
              <a:gd name="connsiteX251" fmla="*/ 3698304 w 4107543"/>
              <a:gd name="connsiteY251" fmla="*/ 5270406 h 6477000"/>
              <a:gd name="connsiteX252" fmla="*/ 3698304 w 4107543"/>
              <a:gd name="connsiteY252" fmla="*/ 5318670 h 6477000"/>
              <a:gd name="connsiteX253" fmla="*/ 3693252 w 4107543"/>
              <a:gd name="connsiteY253" fmla="*/ 5393962 h 6477000"/>
              <a:gd name="connsiteX254" fmla="*/ 3685673 w 4107543"/>
              <a:gd name="connsiteY254" fmla="*/ 5469253 h 6477000"/>
              <a:gd name="connsiteX255" fmla="*/ 3673043 w 4107543"/>
              <a:gd name="connsiteY255" fmla="*/ 5544545 h 6477000"/>
              <a:gd name="connsiteX256" fmla="*/ 3660412 w 4107543"/>
              <a:gd name="connsiteY256" fmla="*/ 5615975 h 6477000"/>
              <a:gd name="connsiteX257" fmla="*/ 3637676 w 4107543"/>
              <a:gd name="connsiteY257" fmla="*/ 5691267 h 6477000"/>
              <a:gd name="connsiteX258" fmla="*/ 3617467 w 4107543"/>
              <a:gd name="connsiteY258" fmla="*/ 5764628 h 6477000"/>
              <a:gd name="connsiteX259" fmla="*/ 3594731 w 4107543"/>
              <a:gd name="connsiteY259" fmla="*/ 5837989 h 6477000"/>
              <a:gd name="connsiteX260" fmla="*/ 3566944 w 4107543"/>
              <a:gd name="connsiteY260" fmla="*/ 5909419 h 6477000"/>
              <a:gd name="connsiteX261" fmla="*/ 3536630 w 4107543"/>
              <a:gd name="connsiteY261" fmla="*/ 5980849 h 6477000"/>
              <a:gd name="connsiteX262" fmla="*/ 3506316 w 4107543"/>
              <a:gd name="connsiteY262" fmla="*/ 6054210 h 6477000"/>
              <a:gd name="connsiteX263" fmla="*/ 3438109 w 4107543"/>
              <a:gd name="connsiteY263" fmla="*/ 6195141 h 6477000"/>
              <a:gd name="connsiteX264" fmla="*/ 3369903 w 4107543"/>
              <a:gd name="connsiteY264" fmla="*/ 6338002 h 6477000"/>
              <a:gd name="connsiteX265" fmla="*/ 3294118 w 4107543"/>
              <a:gd name="connsiteY265" fmla="*/ 6477000 h 6477000"/>
              <a:gd name="connsiteX266" fmla="*/ 0 w 4107543"/>
              <a:gd name="connsiteY266" fmla="*/ 6477000 h 647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</a:cxnLst>
            <a:rect l="l" t="t" r="r" b="b"/>
            <a:pathLst>
              <a:path w="4107543" h="6477000">
                <a:moveTo>
                  <a:pt x="0" y="0"/>
                </a:moveTo>
                <a:lnTo>
                  <a:pt x="3824613" y="0"/>
                </a:lnTo>
                <a:lnTo>
                  <a:pt x="3839770" y="52125"/>
                </a:lnTo>
                <a:lnTo>
                  <a:pt x="3852400" y="106180"/>
                </a:lnTo>
                <a:lnTo>
                  <a:pt x="3862505" y="162166"/>
                </a:lnTo>
                <a:lnTo>
                  <a:pt x="3867557" y="220083"/>
                </a:lnTo>
                <a:lnTo>
                  <a:pt x="3870084" y="278000"/>
                </a:lnTo>
                <a:lnTo>
                  <a:pt x="3870084" y="335916"/>
                </a:lnTo>
                <a:lnTo>
                  <a:pt x="3867557" y="397694"/>
                </a:lnTo>
                <a:lnTo>
                  <a:pt x="3862505" y="459471"/>
                </a:lnTo>
                <a:lnTo>
                  <a:pt x="3854927" y="496152"/>
                </a:lnTo>
                <a:lnTo>
                  <a:pt x="3847348" y="532832"/>
                </a:lnTo>
                <a:lnTo>
                  <a:pt x="3832191" y="606193"/>
                </a:lnTo>
                <a:lnTo>
                  <a:pt x="3791772" y="747124"/>
                </a:lnTo>
                <a:lnTo>
                  <a:pt x="3776615" y="820485"/>
                </a:lnTo>
                <a:lnTo>
                  <a:pt x="3771563" y="855235"/>
                </a:lnTo>
                <a:lnTo>
                  <a:pt x="3766511" y="891915"/>
                </a:lnTo>
                <a:lnTo>
                  <a:pt x="3763985" y="928595"/>
                </a:lnTo>
                <a:lnTo>
                  <a:pt x="3763985" y="963345"/>
                </a:lnTo>
                <a:lnTo>
                  <a:pt x="3766511" y="1000026"/>
                </a:lnTo>
                <a:lnTo>
                  <a:pt x="3771563" y="1038637"/>
                </a:lnTo>
                <a:lnTo>
                  <a:pt x="3789246" y="1106206"/>
                </a:lnTo>
                <a:lnTo>
                  <a:pt x="3811982" y="1169915"/>
                </a:lnTo>
                <a:lnTo>
                  <a:pt x="3839770" y="1237484"/>
                </a:lnTo>
                <a:lnTo>
                  <a:pt x="3872610" y="1299261"/>
                </a:lnTo>
                <a:lnTo>
                  <a:pt x="3907976" y="1362970"/>
                </a:lnTo>
                <a:lnTo>
                  <a:pt x="3950921" y="1420886"/>
                </a:lnTo>
                <a:lnTo>
                  <a:pt x="3996392" y="1480733"/>
                </a:lnTo>
                <a:lnTo>
                  <a:pt x="4044389" y="1536719"/>
                </a:lnTo>
                <a:lnTo>
                  <a:pt x="4072177" y="1569539"/>
                </a:lnTo>
                <a:lnTo>
                  <a:pt x="4084808" y="1584983"/>
                </a:lnTo>
                <a:lnTo>
                  <a:pt x="4094912" y="1604289"/>
                </a:lnTo>
                <a:lnTo>
                  <a:pt x="4102491" y="1619733"/>
                </a:lnTo>
                <a:lnTo>
                  <a:pt x="4107543" y="1639039"/>
                </a:lnTo>
                <a:lnTo>
                  <a:pt x="4107543" y="1658344"/>
                </a:lnTo>
                <a:lnTo>
                  <a:pt x="4102491" y="1675719"/>
                </a:lnTo>
                <a:lnTo>
                  <a:pt x="4097438" y="1691163"/>
                </a:lnTo>
                <a:lnTo>
                  <a:pt x="4087334" y="1702747"/>
                </a:lnTo>
                <a:lnTo>
                  <a:pt x="4074703" y="1712400"/>
                </a:lnTo>
                <a:lnTo>
                  <a:pt x="4059546" y="1725913"/>
                </a:lnTo>
                <a:lnTo>
                  <a:pt x="4044389" y="1733636"/>
                </a:lnTo>
                <a:lnTo>
                  <a:pt x="4029232" y="1743288"/>
                </a:lnTo>
                <a:lnTo>
                  <a:pt x="3988813" y="1756802"/>
                </a:lnTo>
                <a:lnTo>
                  <a:pt x="3948395" y="1770316"/>
                </a:lnTo>
                <a:lnTo>
                  <a:pt x="3905450" y="1779969"/>
                </a:lnTo>
                <a:lnTo>
                  <a:pt x="3834717" y="1793483"/>
                </a:lnTo>
                <a:lnTo>
                  <a:pt x="3761458" y="1806997"/>
                </a:lnTo>
                <a:lnTo>
                  <a:pt x="3726092" y="1814719"/>
                </a:lnTo>
                <a:lnTo>
                  <a:pt x="3708409" y="1820510"/>
                </a:lnTo>
                <a:lnTo>
                  <a:pt x="3690726" y="1826302"/>
                </a:lnTo>
                <a:lnTo>
                  <a:pt x="3675569" y="1834024"/>
                </a:lnTo>
                <a:lnTo>
                  <a:pt x="3660412" y="1843677"/>
                </a:lnTo>
                <a:lnTo>
                  <a:pt x="3647781" y="1857191"/>
                </a:lnTo>
                <a:lnTo>
                  <a:pt x="3632624" y="1868774"/>
                </a:lnTo>
                <a:lnTo>
                  <a:pt x="3622519" y="1882288"/>
                </a:lnTo>
                <a:lnTo>
                  <a:pt x="3614941" y="1899663"/>
                </a:lnTo>
                <a:lnTo>
                  <a:pt x="3607362" y="1913177"/>
                </a:lnTo>
                <a:lnTo>
                  <a:pt x="3599784" y="1932482"/>
                </a:lnTo>
                <a:lnTo>
                  <a:pt x="3597258" y="1947927"/>
                </a:lnTo>
                <a:lnTo>
                  <a:pt x="3594731" y="1963371"/>
                </a:lnTo>
                <a:lnTo>
                  <a:pt x="3592205" y="1980746"/>
                </a:lnTo>
                <a:lnTo>
                  <a:pt x="3594731" y="1996191"/>
                </a:lnTo>
                <a:lnTo>
                  <a:pt x="3599784" y="2009705"/>
                </a:lnTo>
                <a:lnTo>
                  <a:pt x="3604836" y="2025149"/>
                </a:lnTo>
                <a:lnTo>
                  <a:pt x="3612415" y="2038663"/>
                </a:lnTo>
                <a:lnTo>
                  <a:pt x="3625045" y="2048316"/>
                </a:lnTo>
                <a:lnTo>
                  <a:pt x="3645255" y="2067621"/>
                </a:lnTo>
                <a:lnTo>
                  <a:pt x="3652833" y="2077274"/>
                </a:lnTo>
                <a:lnTo>
                  <a:pt x="3660412" y="2084996"/>
                </a:lnTo>
                <a:lnTo>
                  <a:pt x="3665464" y="2094649"/>
                </a:lnTo>
                <a:lnTo>
                  <a:pt x="3665464" y="2106232"/>
                </a:lnTo>
                <a:lnTo>
                  <a:pt x="3665464" y="2115885"/>
                </a:lnTo>
                <a:lnTo>
                  <a:pt x="3660412" y="2125538"/>
                </a:lnTo>
                <a:lnTo>
                  <a:pt x="3652833" y="2140982"/>
                </a:lnTo>
                <a:lnTo>
                  <a:pt x="3645255" y="2154496"/>
                </a:lnTo>
                <a:lnTo>
                  <a:pt x="3632624" y="2166079"/>
                </a:lnTo>
                <a:lnTo>
                  <a:pt x="3619993" y="2175732"/>
                </a:lnTo>
                <a:lnTo>
                  <a:pt x="3604836" y="2187315"/>
                </a:lnTo>
                <a:lnTo>
                  <a:pt x="3592205" y="2195037"/>
                </a:lnTo>
                <a:lnTo>
                  <a:pt x="3574522" y="2202760"/>
                </a:lnTo>
                <a:lnTo>
                  <a:pt x="3556839" y="2208551"/>
                </a:lnTo>
                <a:lnTo>
                  <a:pt x="3539156" y="2214343"/>
                </a:lnTo>
                <a:lnTo>
                  <a:pt x="3518946" y="2218204"/>
                </a:lnTo>
                <a:lnTo>
                  <a:pt x="3501263" y="2220135"/>
                </a:lnTo>
                <a:lnTo>
                  <a:pt x="3483580" y="2222065"/>
                </a:lnTo>
                <a:lnTo>
                  <a:pt x="3460845" y="2222065"/>
                </a:lnTo>
                <a:lnTo>
                  <a:pt x="3443161" y="2222065"/>
                </a:lnTo>
                <a:lnTo>
                  <a:pt x="3420426" y="2220135"/>
                </a:lnTo>
                <a:lnTo>
                  <a:pt x="3402743" y="2218204"/>
                </a:lnTo>
                <a:lnTo>
                  <a:pt x="3417900" y="2225926"/>
                </a:lnTo>
                <a:lnTo>
                  <a:pt x="3430531" y="2233648"/>
                </a:lnTo>
                <a:lnTo>
                  <a:pt x="3440635" y="2245232"/>
                </a:lnTo>
                <a:lnTo>
                  <a:pt x="3445688" y="2254885"/>
                </a:lnTo>
                <a:lnTo>
                  <a:pt x="3455792" y="2281913"/>
                </a:lnTo>
                <a:lnTo>
                  <a:pt x="3463371" y="2310871"/>
                </a:lnTo>
                <a:lnTo>
                  <a:pt x="3468423" y="2335968"/>
                </a:lnTo>
                <a:lnTo>
                  <a:pt x="3468423" y="2351412"/>
                </a:lnTo>
                <a:lnTo>
                  <a:pt x="3468423" y="2362996"/>
                </a:lnTo>
                <a:lnTo>
                  <a:pt x="3463371" y="2376509"/>
                </a:lnTo>
                <a:lnTo>
                  <a:pt x="3458318" y="2388093"/>
                </a:lnTo>
                <a:lnTo>
                  <a:pt x="3453266" y="2399676"/>
                </a:lnTo>
                <a:lnTo>
                  <a:pt x="3443161" y="2411259"/>
                </a:lnTo>
                <a:lnTo>
                  <a:pt x="3430531" y="2418981"/>
                </a:lnTo>
                <a:lnTo>
                  <a:pt x="3415374" y="2426704"/>
                </a:lnTo>
                <a:lnTo>
                  <a:pt x="3400217" y="2430565"/>
                </a:lnTo>
                <a:lnTo>
                  <a:pt x="3385060" y="2436356"/>
                </a:lnTo>
                <a:lnTo>
                  <a:pt x="3339589" y="2455662"/>
                </a:lnTo>
                <a:lnTo>
                  <a:pt x="3316853" y="2467245"/>
                </a:lnTo>
                <a:lnTo>
                  <a:pt x="3296644" y="2480759"/>
                </a:lnTo>
                <a:lnTo>
                  <a:pt x="3284013" y="2494273"/>
                </a:lnTo>
                <a:lnTo>
                  <a:pt x="3276435" y="2507787"/>
                </a:lnTo>
                <a:lnTo>
                  <a:pt x="3268856" y="2525162"/>
                </a:lnTo>
                <a:lnTo>
                  <a:pt x="3266330" y="2540606"/>
                </a:lnTo>
                <a:lnTo>
                  <a:pt x="3263804" y="2556051"/>
                </a:lnTo>
                <a:lnTo>
                  <a:pt x="3266330" y="2575356"/>
                </a:lnTo>
                <a:lnTo>
                  <a:pt x="3268856" y="2590801"/>
                </a:lnTo>
                <a:lnTo>
                  <a:pt x="3273908" y="2608175"/>
                </a:lnTo>
                <a:lnTo>
                  <a:pt x="3284013" y="2639064"/>
                </a:lnTo>
                <a:lnTo>
                  <a:pt x="3296644" y="2671884"/>
                </a:lnTo>
                <a:lnTo>
                  <a:pt x="3309275" y="2704703"/>
                </a:lnTo>
                <a:lnTo>
                  <a:pt x="3316853" y="2720147"/>
                </a:lnTo>
                <a:lnTo>
                  <a:pt x="3319379" y="2737522"/>
                </a:lnTo>
                <a:lnTo>
                  <a:pt x="3319379" y="2756828"/>
                </a:lnTo>
                <a:lnTo>
                  <a:pt x="3319379" y="2778064"/>
                </a:lnTo>
                <a:lnTo>
                  <a:pt x="3314327" y="2797370"/>
                </a:lnTo>
                <a:lnTo>
                  <a:pt x="3306749" y="2816675"/>
                </a:lnTo>
                <a:lnTo>
                  <a:pt x="3299170" y="2835981"/>
                </a:lnTo>
                <a:lnTo>
                  <a:pt x="3286539" y="2855286"/>
                </a:lnTo>
                <a:lnTo>
                  <a:pt x="3273908" y="2870731"/>
                </a:lnTo>
                <a:lnTo>
                  <a:pt x="3261278" y="2888106"/>
                </a:lnTo>
                <a:lnTo>
                  <a:pt x="3243594" y="2905480"/>
                </a:lnTo>
                <a:lnTo>
                  <a:pt x="3225911" y="2918995"/>
                </a:lnTo>
                <a:lnTo>
                  <a:pt x="3205702" y="2932508"/>
                </a:lnTo>
                <a:lnTo>
                  <a:pt x="3182966" y="2946022"/>
                </a:lnTo>
                <a:lnTo>
                  <a:pt x="3162757" y="2957605"/>
                </a:lnTo>
                <a:lnTo>
                  <a:pt x="3137495" y="2967258"/>
                </a:lnTo>
                <a:lnTo>
                  <a:pt x="3114760" y="2978841"/>
                </a:lnTo>
                <a:lnTo>
                  <a:pt x="3086972" y="2986564"/>
                </a:lnTo>
                <a:lnTo>
                  <a:pt x="3064237" y="2992355"/>
                </a:lnTo>
                <a:lnTo>
                  <a:pt x="3036449" y="2996217"/>
                </a:lnTo>
                <a:lnTo>
                  <a:pt x="2988452" y="3002008"/>
                </a:lnTo>
                <a:lnTo>
                  <a:pt x="2935402" y="3003939"/>
                </a:lnTo>
                <a:lnTo>
                  <a:pt x="2879826" y="3002008"/>
                </a:lnTo>
                <a:lnTo>
                  <a:pt x="2826777" y="2998147"/>
                </a:lnTo>
                <a:lnTo>
                  <a:pt x="2773728" y="2990425"/>
                </a:lnTo>
                <a:lnTo>
                  <a:pt x="2723204" y="2978841"/>
                </a:lnTo>
                <a:lnTo>
                  <a:pt x="2672681" y="2963397"/>
                </a:lnTo>
                <a:lnTo>
                  <a:pt x="2622158" y="2949883"/>
                </a:lnTo>
                <a:lnTo>
                  <a:pt x="2574160" y="2932508"/>
                </a:lnTo>
                <a:lnTo>
                  <a:pt x="2478166" y="2897758"/>
                </a:lnTo>
                <a:lnTo>
                  <a:pt x="2384698" y="2859147"/>
                </a:lnTo>
                <a:lnTo>
                  <a:pt x="2288704" y="2822467"/>
                </a:lnTo>
                <a:lnTo>
                  <a:pt x="2243233" y="2805092"/>
                </a:lnTo>
                <a:lnTo>
                  <a:pt x="2197762" y="2793508"/>
                </a:lnTo>
                <a:lnTo>
                  <a:pt x="2154817" y="2781925"/>
                </a:lnTo>
                <a:lnTo>
                  <a:pt x="2114398" y="2774203"/>
                </a:lnTo>
                <a:lnTo>
                  <a:pt x="2073979" y="2766481"/>
                </a:lnTo>
                <a:lnTo>
                  <a:pt x="2033561" y="2762620"/>
                </a:lnTo>
                <a:lnTo>
                  <a:pt x="1993142" y="2760689"/>
                </a:lnTo>
                <a:lnTo>
                  <a:pt x="1955250" y="2760689"/>
                </a:lnTo>
                <a:lnTo>
                  <a:pt x="1914831" y="2762620"/>
                </a:lnTo>
                <a:lnTo>
                  <a:pt x="1874412" y="2766481"/>
                </a:lnTo>
                <a:lnTo>
                  <a:pt x="1836520" y="2774203"/>
                </a:lnTo>
                <a:lnTo>
                  <a:pt x="1796101" y="2781925"/>
                </a:lnTo>
                <a:lnTo>
                  <a:pt x="1753156" y="2791578"/>
                </a:lnTo>
                <a:lnTo>
                  <a:pt x="1710212" y="2803161"/>
                </a:lnTo>
                <a:lnTo>
                  <a:pt x="1669793" y="2818606"/>
                </a:lnTo>
                <a:lnTo>
                  <a:pt x="1626848" y="2834050"/>
                </a:lnTo>
                <a:lnTo>
                  <a:pt x="1586429" y="2849494"/>
                </a:lnTo>
                <a:lnTo>
                  <a:pt x="1548537" y="2868800"/>
                </a:lnTo>
                <a:lnTo>
                  <a:pt x="1513171" y="2888106"/>
                </a:lnTo>
                <a:lnTo>
                  <a:pt x="1477804" y="2909342"/>
                </a:lnTo>
                <a:lnTo>
                  <a:pt x="1442438" y="2930578"/>
                </a:lnTo>
                <a:lnTo>
                  <a:pt x="1412124" y="2955675"/>
                </a:lnTo>
                <a:lnTo>
                  <a:pt x="1379284" y="2980772"/>
                </a:lnTo>
                <a:lnTo>
                  <a:pt x="1354022" y="3005869"/>
                </a:lnTo>
                <a:lnTo>
                  <a:pt x="1323708" y="3032897"/>
                </a:lnTo>
                <a:lnTo>
                  <a:pt x="1300973" y="3059925"/>
                </a:lnTo>
                <a:lnTo>
                  <a:pt x="1275711" y="3088883"/>
                </a:lnTo>
                <a:lnTo>
                  <a:pt x="1255502" y="3119772"/>
                </a:lnTo>
                <a:lnTo>
                  <a:pt x="1237818" y="3150661"/>
                </a:lnTo>
                <a:lnTo>
                  <a:pt x="1220135" y="3179619"/>
                </a:lnTo>
                <a:lnTo>
                  <a:pt x="1204978" y="3212438"/>
                </a:lnTo>
                <a:lnTo>
                  <a:pt x="1194874" y="3245258"/>
                </a:lnTo>
                <a:lnTo>
                  <a:pt x="1182243" y="3283869"/>
                </a:lnTo>
                <a:lnTo>
                  <a:pt x="1172138" y="3322480"/>
                </a:lnTo>
                <a:lnTo>
                  <a:pt x="1167086" y="3359160"/>
                </a:lnTo>
                <a:lnTo>
                  <a:pt x="1164560" y="3391979"/>
                </a:lnTo>
                <a:lnTo>
                  <a:pt x="1164560" y="3426729"/>
                </a:lnTo>
                <a:lnTo>
                  <a:pt x="1167086" y="3461479"/>
                </a:lnTo>
                <a:lnTo>
                  <a:pt x="1172138" y="3494299"/>
                </a:lnTo>
                <a:lnTo>
                  <a:pt x="1182243" y="3527118"/>
                </a:lnTo>
                <a:lnTo>
                  <a:pt x="1192348" y="3556076"/>
                </a:lnTo>
                <a:lnTo>
                  <a:pt x="1202452" y="3586965"/>
                </a:lnTo>
                <a:lnTo>
                  <a:pt x="1217609" y="3617854"/>
                </a:lnTo>
                <a:lnTo>
                  <a:pt x="1237818" y="3644882"/>
                </a:lnTo>
                <a:lnTo>
                  <a:pt x="1255502" y="3673840"/>
                </a:lnTo>
                <a:lnTo>
                  <a:pt x="1275711" y="3700868"/>
                </a:lnTo>
                <a:lnTo>
                  <a:pt x="1298446" y="3725965"/>
                </a:lnTo>
                <a:lnTo>
                  <a:pt x="1323708" y="3752993"/>
                </a:lnTo>
                <a:lnTo>
                  <a:pt x="1354022" y="3780020"/>
                </a:lnTo>
                <a:lnTo>
                  <a:pt x="1384336" y="3803187"/>
                </a:lnTo>
                <a:lnTo>
                  <a:pt x="1419702" y="3828284"/>
                </a:lnTo>
                <a:lnTo>
                  <a:pt x="1455069" y="3849520"/>
                </a:lnTo>
                <a:lnTo>
                  <a:pt x="1490435" y="3870756"/>
                </a:lnTo>
                <a:lnTo>
                  <a:pt x="1530854" y="3888131"/>
                </a:lnTo>
                <a:lnTo>
                  <a:pt x="1571272" y="3907437"/>
                </a:lnTo>
                <a:lnTo>
                  <a:pt x="1614217" y="3922881"/>
                </a:lnTo>
                <a:lnTo>
                  <a:pt x="1654636" y="3938326"/>
                </a:lnTo>
                <a:lnTo>
                  <a:pt x="1700107" y="3953770"/>
                </a:lnTo>
                <a:lnTo>
                  <a:pt x="1791049" y="3976937"/>
                </a:lnTo>
                <a:lnTo>
                  <a:pt x="1884517" y="4000103"/>
                </a:lnTo>
                <a:lnTo>
                  <a:pt x="1980511" y="4019409"/>
                </a:lnTo>
                <a:lnTo>
                  <a:pt x="2079032" y="4036784"/>
                </a:lnTo>
                <a:lnTo>
                  <a:pt x="2177552" y="4054159"/>
                </a:lnTo>
                <a:lnTo>
                  <a:pt x="2372067" y="4086978"/>
                </a:lnTo>
                <a:lnTo>
                  <a:pt x="2465535" y="4102423"/>
                </a:lnTo>
                <a:lnTo>
                  <a:pt x="2559003" y="4123659"/>
                </a:lnTo>
                <a:lnTo>
                  <a:pt x="2644893" y="4144895"/>
                </a:lnTo>
                <a:lnTo>
                  <a:pt x="2687838" y="4158409"/>
                </a:lnTo>
                <a:lnTo>
                  <a:pt x="2728257" y="4169992"/>
                </a:lnTo>
                <a:lnTo>
                  <a:pt x="2783832" y="4189297"/>
                </a:lnTo>
                <a:lnTo>
                  <a:pt x="2839408" y="4210534"/>
                </a:lnTo>
                <a:lnTo>
                  <a:pt x="2892457" y="4233700"/>
                </a:lnTo>
                <a:lnTo>
                  <a:pt x="2945507" y="4256867"/>
                </a:lnTo>
                <a:lnTo>
                  <a:pt x="2996030" y="4283895"/>
                </a:lnTo>
                <a:lnTo>
                  <a:pt x="3046553" y="4308992"/>
                </a:lnTo>
                <a:lnTo>
                  <a:pt x="3094551" y="4336019"/>
                </a:lnTo>
                <a:lnTo>
                  <a:pt x="3137495" y="4364978"/>
                </a:lnTo>
                <a:lnTo>
                  <a:pt x="3182966" y="4393936"/>
                </a:lnTo>
                <a:lnTo>
                  <a:pt x="3225911" y="4424825"/>
                </a:lnTo>
                <a:lnTo>
                  <a:pt x="3266330" y="4455714"/>
                </a:lnTo>
                <a:lnTo>
                  <a:pt x="3304222" y="4490464"/>
                </a:lnTo>
                <a:lnTo>
                  <a:pt x="3342115" y="4521352"/>
                </a:lnTo>
                <a:lnTo>
                  <a:pt x="3380007" y="4556102"/>
                </a:lnTo>
                <a:lnTo>
                  <a:pt x="3412847" y="4592783"/>
                </a:lnTo>
                <a:lnTo>
                  <a:pt x="3445688" y="4629463"/>
                </a:lnTo>
                <a:lnTo>
                  <a:pt x="3473475" y="4668074"/>
                </a:lnTo>
                <a:lnTo>
                  <a:pt x="3503789" y="4704755"/>
                </a:lnTo>
                <a:lnTo>
                  <a:pt x="3529051" y="4745296"/>
                </a:lnTo>
                <a:lnTo>
                  <a:pt x="3556839" y="4785838"/>
                </a:lnTo>
                <a:lnTo>
                  <a:pt x="3577048" y="4826380"/>
                </a:lnTo>
                <a:lnTo>
                  <a:pt x="3599784" y="4866921"/>
                </a:lnTo>
                <a:lnTo>
                  <a:pt x="3617467" y="4909393"/>
                </a:lnTo>
                <a:lnTo>
                  <a:pt x="3635150" y="4951865"/>
                </a:lnTo>
                <a:lnTo>
                  <a:pt x="3650307" y="4996268"/>
                </a:lnTo>
                <a:lnTo>
                  <a:pt x="3662938" y="5040671"/>
                </a:lnTo>
                <a:lnTo>
                  <a:pt x="3673043" y="5085073"/>
                </a:lnTo>
                <a:lnTo>
                  <a:pt x="3683147" y="5131407"/>
                </a:lnTo>
                <a:lnTo>
                  <a:pt x="3688200" y="5177740"/>
                </a:lnTo>
                <a:lnTo>
                  <a:pt x="3693252" y="5224073"/>
                </a:lnTo>
                <a:lnTo>
                  <a:pt x="3698304" y="5270406"/>
                </a:lnTo>
                <a:lnTo>
                  <a:pt x="3698304" y="5318670"/>
                </a:lnTo>
                <a:lnTo>
                  <a:pt x="3693252" y="5393962"/>
                </a:lnTo>
                <a:lnTo>
                  <a:pt x="3685673" y="5469253"/>
                </a:lnTo>
                <a:lnTo>
                  <a:pt x="3673043" y="5544545"/>
                </a:lnTo>
                <a:lnTo>
                  <a:pt x="3660412" y="5615975"/>
                </a:lnTo>
                <a:lnTo>
                  <a:pt x="3637676" y="5691267"/>
                </a:lnTo>
                <a:lnTo>
                  <a:pt x="3617467" y="5764628"/>
                </a:lnTo>
                <a:lnTo>
                  <a:pt x="3594731" y="5837989"/>
                </a:lnTo>
                <a:lnTo>
                  <a:pt x="3566944" y="5909419"/>
                </a:lnTo>
                <a:lnTo>
                  <a:pt x="3536630" y="5980849"/>
                </a:lnTo>
                <a:lnTo>
                  <a:pt x="3506316" y="6054210"/>
                </a:lnTo>
                <a:lnTo>
                  <a:pt x="3438109" y="6195141"/>
                </a:lnTo>
                <a:lnTo>
                  <a:pt x="3369903" y="6338002"/>
                </a:lnTo>
                <a:lnTo>
                  <a:pt x="3294118" y="6477000"/>
                </a:lnTo>
                <a:lnTo>
                  <a:pt x="0" y="6477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41805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-5913720" y="-232234"/>
            <a:ext cx="22980752" cy="13186236"/>
          </a:xfrm>
          <a:custGeom>
            <a:avLst/>
            <a:gdLst>
              <a:gd name="connsiteX0" fmla="*/ 3206998 w 11490376"/>
              <a:gd name="connsiteY0" fmla="*/ 6501436 h 6593118"/>
              <a:gd name="connsiteX1" fmla="*/ 3214204 w 11490376"/>
              <a:gd name="connsiteY1" fmla="*/ 6501436 h 6593118"/>
              <a:gd name="connsiteX2" fmla="*/ 3235830 w 11490376"/>
              <a:gd name="connsiteY2" fmla="*/ 6531171 h 6593118"/>
              <a:gd name="connsiteX3" fmla="*/ 3279077 w 11490376"/>
              <a:gd name="connsiteY3" fmla="*/ 6563384 h 6593118"/>
              <a:gd name="connsiteX4" fmla="*/ 3228620 w 11490376"/>
              <a:gd name="connsiteY4" fmla="*/ 6563384 h 6593118"/>
              <a:gd name="connsiteX5" fmla="*/ 3219010 w 11490376"/>
              <a:gd name="connsiteY5" fmla="*/ 6593118 h 6593118"/>
              <a:gd name="connsiteX6" fmla="*/ 3182970 w 11490376"/>
              <a:gd name="connsiteY6" fmla="*/ 6575773 h 6593118"/>
              <a:gd name="connsiteX7" fmla="*/ 3163265 w 11490376"/>
              <a:gd name="connsiteY7" fmla="*/ 6488297 h 6593118"/>
              <a:gd name="connsiteX8" fmla="*/ 3213305 w 11490376"/>
              <a:gd name="connsiteY8" fmla="*/ 6500397 h 6593118"/>
              <a:gd name="connsiteX9" fmla="*/ 3205796 w 11490376"/>
              <a:gd name="connsiteY9" fmla="*/ 6500397 h 6593118"/>
              <a:gd name="connsiteX10" fmla="*/ 3180780 w 11490376"/>
              <a:gd name="connsiteY10" fmla="*/ 6577848 h 6593118"/>
              <a:gd name="connsiteX11" fmla="*/ 3128239 w 11490376"/>
              <a:gd name="connsiteY11" fmla="*/ 6548805 h 6593118"/>
              <a:gd name="connsiteX12" fmla="*/ 3140747 w 11490376"/>
              <a:gd name="connsiteY12" fmla="*/ 6505240 h 6593118"/>
              <a:gd name="connsiteX13" fmla="*/ 3468390 w 11490376"/>
              <a:gd name="connsiteY13" fmla="*/ 6363480 h 6593118"/>
              <a:gd name="connsiteX14" fmla="*/ 3487816 w 11490376"/>
              <a:gd name="connsiteY14" fmla="*/ 6385851 h 6593118"/>
              <a:gd name="connsiteX15" fmla="*/ 3524236 w 11490376"/>
              <a:gd name="connsiteY15" fmla="*/ 6408223 h 6593118"/>
              <a:gd name="connsiteX16" fmla="*/ 3495099 w 11490376"/>
              <a:gd name="connsiteY16" fmla="*/ 6423136 h 6593118"/>
              <a:gd name="connsiteX17" fmla="*/ 3444111 w 11490376"/>
              <a:gd name="connsiteY17" fmla="*/ 6438051 h 6593118"/>
              <a:gd name="connsiteX18" fmla="*/ 3427116 w 11490376"/>
              <a:gd name="connsiteY18" fmla="*/ 6425623 h 6593118"/>
              <a:gd name="connsiteX19" fmla="*/ 3400409 w 11490376"/>
              <a:gd name="connsiteY19" fmla="*/ 6452965 h 6593118"/>
              <a:gd name="connsiteX20" fmla="*/ 3393127 w 11490376"/>
              <a:gd name="connsiteY20" fmla="*/ 6425623 h 6593118"/>
              <a:gd name="connsiteX21" fmla="*/ 3397982 w 11490376"/>
              <a:gd name="connsiteY21" fmla="*/ 6393309 h 6593118"/>
              <a:gd name="connsiteX22" fmla="*/ 3434401 w 11490376"/>
              <a:gd name="connsiteY22" fmla="*/ 6385851 h 6593118"/>
              <a:gd name="connsiteX23" fmla="*/ 3463536 w 11490376"/>
              <a:gd name="connsiteY23" fmla="*/ 6390823 h 6593118"/>
              <a:gd name="connsiteX24" fmla="*/ 2980559 w 11490376"/>
              <a:gd name="connsiteY24" fmla="*/ 6247565 h 6593118"/>
              <a:gd name="connsiteX25" fmla="*/ 2978937 w 11490376"/>
              <a:gd name="connsiteY25" fmla="*/ 6247766 h 6593118"/>
              <a:gd name="connsiteX26" fmla="*/ 2983869 w 11490376"/>
              <a:gd name="connsiteY26" fmla="*/ 6358294 h 6593118"/>
              <a:gd name="connsiteX27" fmla="*/ 2989070 w 11490376"/>
              <a:gd name="connsiteY27" fmla="*/ 6361085 h 6593118"/>
              <a:gd name="connsiteX28" fmla="*/ 2983927 w 11490376"/>
              <a:gd name="connsiteY28" fmla="*/ 6358312 h 6593118"/>
              <a:gd name="connsiteX29" fmla="*/ 2979025 w 11490376"/>
              <a:gd name="connsiteY29" fmla="*/ 6247948 h 6593118"/>
              <a:gd name="connsiteX30" fmla="*/ 2991265 w 11490376"/>
              <a:gd name="connsiteY30" fmla="*/ 5968278 h 6593118"/>
              <a:gd name="connsiteX31" fmla="*/ 2991265 w 11490376"/>
              <a:gd name="connsiteY31" fmla="*/ 6026709 h 6593118"/>
              <a:gd name="connsiteX32" fmla="*/ 3006054 w 11490376"/>
              <a:gd name="connsiteY32" fmla="*/ 6066009 h 6593118"/>
              <a:gd name="connsiteX33" fmla="*/ 3003590 w 11490376"/>
              <a:gd name="connsiteY33" fmla="*/ 6213379 h 6593118"/>
              <a:gd name="connsiteX34" fmla="*/ 2999631 w 11490376"/>
              <a:gd name="connsiteY34" fmla="*/ 6239018 h 6593118"/>
              <a:gd name="connsiteX35" fmla="*/ 3005976 w 11490376"/>
              <a:gd name="connsiteY35" fmla="*/ 6213612 h 6593118"/>
              <a:gd name="connsiteX36" fmla="*/ 3008427 w 11490376"/>
              <a:gd name="connsiteY36" fmla="*/ 6064006 h 6593118"/>
              <a:gd name="connsiteX37" fmla="*/ 2993726 w 11490376"/>
              <a:gd name="connsiteY37" fmla="*/ 6024766 h 6593118"/>
              <a:gd name="connsiteX38" fmla="*/ 2991275 w 11490376"/>
              <a:gd name="connsiteY38" fmla="*/ 5968358 h 6593118"/>
              <a:gd name="connsiteX39" fmla="*/ 2967421 w 11490376"/>
              <a:gd name="connsiteY39" fmla="*/ 5869314 h 6593118"/>
              <a:gd name="connsiteX40" fmla="*/ 2978937 w 11490376"/>
              <a:gd name="connsiteY40" fmla="*/ 5901444 h 6593118"/>
              <a:gd name="connsiteX41" fmla="*/ 2990887 w 11490376"/>
              <a:gd name="connsiteY41" fmla="*/ 5965737 h 6593118"/>
              <a:gd name="connsiteX42" fmla="*/ 2981474 w 11490376"/>
              <a:gd name="connsiteY42" fmla="*/ 5902138 h 6593118"/>
              <a:gd name="connsiteX43" fmla="*/ 10304771 w 11490376"/>
              <a:gd name="connsiteY43" fmla="*/ 5846694 h 6593118"/>
              <a:gd name="connsiteX44" fmla="*/ 10350364 w 11490376"/>
              <a:gd name="connsiteY44" fmla="*/ 5856775 h 6593118"/>
              <a:gd name="connsiteX45" fmla="*/ 10419954 w 11490376"/>
              <a:gd name="connsiteY45" fmla="*/ 5856775 h 6593118"/>
              <a:gd name="connsiteX46" fmla="*/ 10415154 w 11490376"/>
              <a:gd name="connsiteY46" fmla="*/ 5899620 h 6593118"/>
              <a:gd name="connsiteX47" fmla="*/ 10393557 w 11490376"/>
              <a:gd name="connsiteY47" fmla="*/ 5932383 h 6593118"/>
              <a:gd name="connsiteX48" fmla="*/ 10388758 w 11490376"/>
              <a:gd name="connsiteY48" fmla="*/ 5965148 h 6593118"/>
              <a:gd name="connsiteX49" fmla="*/ 10350364 w 11490376"/>
              <a:gd name="connsiteY49" fmla="*/ 5972709 h 6593118"/>
              <a:gd name="connsiteX50" fmla="*/ 10323968 w 11490376"/>
              <a:gd name="connsiteY50" fmla="*/ 5977750 h 6593118"/>
              <a:gd name="connsiteX51" fmla="*/ 10297573 w 11490376"/>
              <a:gd name="connsiteY51" fmla="*/ 5960108 h 6593118"/>
              <a:gd name="connsiteX52" fmla="*/ 11272197 w 11490376"/>
              <a:gd name="connsiteY52" fmla="*/ 5833555 h 6593118"/>
              <a:gd name="connsiteX53" fmla="*/ 11274647 w 11490376"/>
              <a:gd name="connsiteY53" fmla="*/ 5867861 h 6593118"/>
              <a:gd name="connsiteX54" fmla="*/ 11294245 w 11490376"/>
              <a:gd name="connsiteY54" fmla="*/ 5843356 h 6593118"/>
              <a:gd name="connsiteX55" fmla="*/ 11306494 w 11490376"/>
              <a:gd name="connsiteY55" fmla="*/ 5885014 h 6593118"/>
              <a:gd name="connsiteX56" fmla="*/ 11274647 w 11490376"/>
              <a:gd name="connsiteY56" fmla="*/ 5914420 h 6593118"/>
              <a:gd name="connsiteX57" fmla="*/ 11242800 w 11490376"/>
              <a:gd name="connsiteY57" fmla="*/ 5951177 h 6593118"/>
              <a:gd name="connsiteX58" fmla="*/ 11230551 w 11490376"/>
              <a:gd name="connsiteY58" fmla="*/ 5992834 h 6593118"/>
              <a:gd name="connsiteX59" fmla="*/ 11201156 w 11490376"/>
              <a:gd name="connsiteY59" fmla="*/ 5992834 h 6593118"/>
              <a:gd name="connsiteX60" fmla="*/ 11154611 w 11490376"/>
              <a:gd name="connsiteY60" fmla="*/ 6032042 h 6593118"/>
              <a:gd name="connsiteX61" fmla="*/ 11132563 w 11490376"/>
              <a:gd name="connsiteY61" fmla="*/ 6085952 h 6593118"/>
              <a:gd name="connsiteX62" fmla="*/ 11063971 w 11490376"/>
              <a:gd name="connsiteY62" fmla="*/ 6139862 h 6593118"/>
              <a:gd name="connsiteX63" fmla="*/ 11010078 w 11490376"/>
              <a:gd name="connsiteY63" fmla="*/ 6090853 h 6593118"/>
              <a:gd name="connsiteX64" fmla="*/ 11000278 w 11490376"/>
              <a:gd name="connsiteY64" fmla="*/ 6051645 h 6593118"/>
              <a:gd name="connsiteX65" fmla="*/ 11059072 w 11490376"/>
              <a:gd name="connsiteY65" fmla="*/ 5997735 h 6593118"/>
              <a:gd name="connsiteX66" fmla="*/ 11147262 w 11490376"/>
              <a:gd name="connsiteY66" fmla="*/ 5958528 h 6593118"/>
              <a:gd name="connsiteX67" fmla="*/ 11184008 w 11490376"/>
              <a:gd name="connsiteY67" fmla="*/ 5909518 h 6593118"/>
              <a:gd name="connsiteX68" fmla="*/ 11233002 w 11490376"/>
              <a:gd name="connsiteY68" fmla="*/ 5885014 h 6593118"/>
              <a:gd name="connsiteX69" fmla="*/ 11240351 w 11490376"/>
              <a:gd name="connsiteY69" fmla="*/ 5836004 h 6593118"/>
              <a:gd name="connsiteX70" fmla="*/ 2965329 w 11490376"/>
              <a:gd name="connsiteY70" fmla="*/ 5742530 h 6593118"/>
              <a:gd name="connsiteX71" fmla="*/ 2993729 w 11490376"/>
              <a:gd name="connsiteY71" fmla="*/ 5805653 h 6593118"/>
              <a:gd name="connsiteX72" fmla="*/ 2966612 w 11490376"/>
              <a:gd name="connsiteY72" fmla="*/ 5837583 h 6593118"/>
              <a:gd name="connsiteX73" fmla="*/ 2966612 w 11490376"/>
              <a:gd name="connsiteY73" fmla="*/ 5867057 h 6593118"/>
              <a:gd name="connsiteX74" fmla="*/ 2966794 w 11490376"/>
              <a:gd name="connsiteY74" fmla="*/ 5867565 h 6593118"/>
              <a:gd name="connsiteX75" fmla="*/ 2969224 w 11490376"/>
              <a:gd name="connsiteY75" fmla="*/ 5838373 h 6593118"/>
              <a:gd name="connsiteX76" fmla="*/ 2996177 w 11490376"/>
              <a:gd name="connsiteY76" fmla="*/ 5806490 h 6593118"/>
              <a:gd name="connsiteX77" fmla="*/ 2993474 w 11490376"/>
              <a:gd name="connsiteY77" fmla="*/ 5683521 h 6593118"/>
              <a:gd name="connsiteX78" fmla="*/ 2986334 w 11490376"/>
              <a:gd name="connsiteY78" fmla="*/ 5692668 h 6593118"/>
              <a:gd name="connsiteX79" fmla="*/ 2961680 w 11490376"/>
              <a:gd name="connsiteY79" fmla="*/ 5734423 h 6593118"/>
              <a:gd name="connsiteX80" fmla="*/ 2962004 w 11490376"/>
              <a:gd name="connsiteY80" fmla="*/ 5735142 h 6593118"/>
              <a:gd name="connsiteX81" fmla="*/ 2986375 w 11490376"/>
              <a:gd name="connsiteY81" fmla="*/ 5693672 h 6593118"/>
              <a:gd name="connsiteX82" fmla="*/ 2993774 w 11490376"/>
              <a:gd name="connsiteY82" fmla="*/ 5659384 h 6593118"/>
              <a:gd name="connsiteX83" fmla="*/ 3003005 w 11490376"/>
              <a:gd name="connsiteY83" fmla="*/ 5669895 h 6593118"/>
              <a:gd name="connsiteX84" fmla="*/ 3003527 w 11490376"/>
              <a:gd name="connsiteY84" fmla="*/ 5669147 h 6593118"/>
              <a:gd name="connsiteX85" fmla="*/ 11343108 w 11490376"/>
              <a:gd name="connsiteY85" fmla="*/ 5568593 h 6593118"/>
              <a:gd name="connsiteX86" fmla="*/ 11377469 w 11490376"/>
              <a:gd name="connsiteY86" fmla="*/ 5573470 h 6593118"/>
              <a:gd name="connsiteX87" fmla="*/ 11389742 w 11490376"/>
              <a:gd name="connsiteY87" fmla="*/ 5602734 h 6593118"/>
              <a:gd name="connsiteX88" fmla="*/ 11387287 w 11490376"/>
              <a:gd name="connsiteY88" fmla="*/ 5646628 h 6593118"/>
              <a:gd name="connsiteX89" fmla="*/ 11409378 w 11490376"/>
              <a:gd name="connsiteY89" fmla="*/ 5656383 h 6593118"/>
              <a:gd name="connsiteX90" fmla="*/ 11426558 w 11490376"/>
              <a:gd name="connsiteY90" fmla="*/ 5656383 h 6593118"/>
              <a:gd name="connsiteX91" fmla="*/ 11429013 w 11490376"/>
              <a:gd name="connsiteY91" fmla="*/ 5702717 h 6593118"/>
              <a:gd name="connsiteX92" fmla="*/ 11487921 w 11490376"/>
              <a:gd name="connsiteY92" fmla="*/ 5702717 h 6593118"/>
              <a:gd name="connsiteX93" fmla="*/ 11490376 w 11490376"/>
              <a:gd name="connsiteY93" fmla="*/ 5731980 h 6593118"/>
              <a:gd name="connsiteX94" fmla="*/ 11478103 w 11490376"/>
              <a:gd name="connsiteY94" fmla="*/ 5770998 h 6593118"/>
              <a:gd name="connsiteX95" fmla="*/ 11424105 w 11490376"/>
              <a:gd name="connsiteY95" fmla="*/ 5802699 h 6593118"/>
              <a:gd name="connsiteX96" fmla="*/ 11389742 w 11490376"/>
              <a:gd name="connsiteY96" fmla="*/ 5836839 h 6593118"/>
              <a:gd name="connsiteX97" fmla="*/ 11379924 w 11490376"/>
              <a:gd name="connsiteY97" fmla="*/ 5888050 h 6593118"/>
              <a:gd name="connsiteX98" fmla="*/ 11348015 w 11490376"/>
              <a:gd name="connsiteY98" fmla="*/ 5873419 h 6593118"/>
              <a:gd name="connsiteX99" fmla="*/ 11335743 w 11490376"/>
              <a:gd name="connsiteY99" fmla="*/ 5797822 h 6593118"/>
              <a:gd name="connsiteX100" fmla="*/ 11330835 w 11490376"/>
              <a:gd name="connsiteY100" fmla="*/ 5770998 h 6593118"/>
              <a:gd name="connsiteX101" fmla="*/ 11365197 w 11490376"/>
              <a:gd name="connsiteY101" fmla="*/ 5729541 h 6593118"/>
              <a:gd name="connsiteX102" fmla="*/ 11379924 w 11490376"/>
              <a:gd name="connsiteY102" fmla="*/ 5685647 h 6593118"/>
              <a:gd name="connsiteX103" fmla="*/ 11362743 w 11490376"/>
              <a:gd name="connsiteY103" fmla="*/ 5651506 h 6593118"/>
              <a:gd name="connsiteX104" fmla="*/ 11343108 w 11490376"/>
              <a:gd name="connsiteY104" fmla="*/ 5607610 h 6593118"/>
              <a:gd name="connsiteX105" fmla="*/ 3003799 w 11490376"/>
              <a:gd name="connsiteY105" fmla="*/ 5551290 h 6593118"/>
              <a:gd name="connsiteX106" fmla="*/ 3006054 w 11490376"/>
              <a:gd name="connsiteY106" fmla="*/ 5589508 h 6593118"/>
              <a:gd name="connsiteX107" fmla="*/ 2986334 w 11490376"/>
              <a:gd name="connsiteY107" fmla="*/ 5596877 h 6593118"/>
              <a:gd name="connsiteX108" fmla="*/ 2986334 w 11490376"/>
              <a:gd name="connsiteY108" fmla="*/ 5650913 h 6593118"/>
              <a:gd name="connsiteX109" fmla="*/ 2986375 w 11490376"/>
              <a:gd name="connsiteY109" fmla="*/ 5650960 h 6593118"/>
              <a:gd name="connsiteX110" fmla="*/ 2986375 w 11490376"/>
              <a:gd name="connsiteY110" fmla="*/ 5598023 h 6593118"/>
              <a:gd name="connsiteX111" fmla="*/ 3008427 w 11490376"/>
              <a:gd name="connsiteY111" fmla="*/ 5590666 h 6593118"/>
              <a:gd name="connsiteX112" fmla="*/ 3404803 w 11490376"/>
              <a:gd name="connsiteY112" fmla="*/ 5471130 h 6593118"/>
              <a:gd name="connsiteX113" fmla="*/ 3400487 w 11490376"/>
              <a:gd name="connsiteY113" fmla="*/ 5477848 h 6593118"/>
              <a:gd name="connsiteX114" fmla="*/ 3397041 w 11490376"/>
              <a:gd name="connsiteY114" fmla="*/ 5505438 h 6593118"/>
              <a:gd name="connsiteX115" fmla="*/ 3402620 w 11490376"/>
              <a:gd name="connsiteY115" fmla="*/ 5475029 h 6593118"/>
              <a:gd name="connsiteX116" fmla="*/ 3000896 w 11490376"/>
              <a:gd name="connsiteY116" fmla="*/ 5469318 h 6593118"/>
              <a:gd name="connsiteX117" fmla="*/ 2983869 w 11490376"/>
              <a:gd name="connsiteY117" fmla="*/ 5481437 h 6593118"/>
              <a:gd name="connsiteX118" fmla="*/ 2984788 w 11490376"/>
              <a:gd name="connsiteY118" fmla="*/ 5504354 h 6593118"/>
              <a:gd name="connsiteX119" fmla="*/ 2983927 w 11490376"/>
              <a:gd name="connsiteY119" fmla="*/ 5482754 h 6593118"/>
              <a:gd name="connsiteX120" fmla="*/ 3001076 w 11490376"/>
              <a:gd name="connsiteY120" fmla="*/ 5470491 h 6593118"/>
              <a:gd name="connsiteX121" fmla="*/ 5982066 w 11490376"/>
              <a:gd name="connsiteY121" fmla="*/ 5317220 h 6593118"/>
              <a:gd name="connsiteX122" fmla="*/ 5990371 w 11490376"/>
              <a:gd name="connsiteY122" fmla="*/ 5333901 h 6593118"/>
              <a:gd name="connsiteX123" fmla="*/ 6039510 w 11490376"/>
              <a:gd name="connsiteY123" fmla="*/ 5341302 h 6593118"/>
              <a:gd name="connsiteX124" fmla="*/ 6050584 w 11490376"/>
              <a:gd name="connsiteY124" fmla="*/ 5325416 h 6593118"/>
              <a:gd name="connsiteX125" fmla="*/ 6038996 w 11490376"/>
              <a:gd name="connsiteY125" fmla="*/ 5338398 h 6593118"/>
              <a:gd name="connsiteX126" fmla="*/ 5989625 w 11490376"/>
              <a:gd name="connsiteY126" fmla="*/ 5331022 h 6593118"/>
              <a:gd name="connsiteX127" fmla="*/ 3378572 w 11490376"/>
              <a:gd name="connsiteY127" fmla="*/ 5303070 h 6593118"/>
              <a:gd name="connsiteX128" fmla="*/ 3378434 w 11490376"/>
              <a:gd name="connsiteY128" fmla="*/ 5303717 h 6593118"/>
              <a:gd name="connsiteX129" fmla="*/ 3407186 w 11490376"/>
              <a:gd name="connsiteY129" fmla="*/ 5303717 h 6593118"/>
              <a:gd name="connsiteX130" fmla="*/ 3552638 w 11490376"/>
              <a:gd name="connsiteY130" fmla="*/ 5281924 h 6593118"/>
              <a:gd name="connsiteX131" fmla="*/ 3554860 w 11490376"/>
              <a:gd name="connsiteY131" fmla="*/ 5308623 h 6593118"/>
              <a:gd name="connsiteX132" fmla="*/ 3527907 w 11490376"/>
              <a:gd name="connsiteY132" fmla="*/ 5313528 h 6593118"/>
              <a:gd name="connsiteX133" fmla="*/ 3508302 w 11490376"/>
              <a:gd name="connsiteY133" fmla="*/ 5338053 h 6593118"/>
              <a:gd name="connsiteX134" fmla="*/ 3493602 w 11490376"/>
              <a:gd name="connsiteY134" fmla="*/ 5342959 h 6593118"/>
              <a:gd name="connsiteX135" fmla="*/ 3473996 w 11490376"/>
              <a:gd name="connsiteY135" fmla="*/ 5369936 h 6593118"/>
              <a:gd name="connsiteX136" fmla="*/ 3454394 w 11490376"/>
              <a:gd name="connsiteY136" fmla="*/ 5392009 h 6593118"/>
              <a:gd name="connsiteX137" fmla="*/ 3441649 w 11490376"/>
              <a:gd name="connsiteY137" fmla="*/ 5415394 h 6593118"/>
              <a:gd name="connsiteX138" fmla="*/ 3443586 w 11490376"/>
              <a:gd name="connsiteY138" fmla="*/ 5418032 h 6593118"/>
              <a:gd name="connsiteX139" fmla="*/ 3455144 w 11490376"/>
              <a:gd name="connsiteY139" fmla="*/ 5392609 h 6593118"/>
              <a:gd name="connsiteX140" fmla="*/ 3474828 w 11490376"/>
              <a:gd name="connsiteY140" fmla="*/ 5372930 h 6593118"/>
              <a:gd name="connsiteX141" fmla="*/ 3494514 w 11490376"/>
              <a:gd name="connsiteY141" fmla="*/ 5345875 h 6593118"/>
              <a:gd name="connsiteX142" fmla="*/ 3511734 w 11490376"/>
              <a:gd name="connsiteY142" fmla="*/ 5338495 h 6593118"/>
              <a:gd name="connsiteX143" fmla="*/ 3528958 w 11490376"/>
              <a:gd name="connsiteY143" fmla="*/ 5313900 h 6593118"/>
              <a:gd name="connsiteX144" fmla="*/ 3556020 w 11490376"/>
              <a:gd name="connsiteY144" fmla="*/ 5308980 h 6593118"/>
              <a:gd name="connsiteX145" fmla="*/ 3553562 w 11490376"/>
              <a:gd name="connsiteY145" fmla="*/ 5281924 h 6593118"/>
              <a:gd name="connsiteX146" fmla="*/ 3040137 w 11490376"/>
              <a:gd name="connsiteY146" fmla="*/ 5274062 h 6593118"/>
              <a:gd name="connsiteX147" fmla="*/ 3030708 w 11490376"/>
              <a:gd name="connsiteY147" fmla="*/ 5304591 h 6593118"/>
              <a:gd name="connsiteX148" fmla="*/ 3006054 w 11490376"/>
              <a:gd name="connsiteY148" fmla="*/ 5321785 h 6593118"/>
              <a:gd name="connsiteX149" fmla="*/ 3003590 w 11490376"/>
              <a:gd name="connsiteY149" fmla="*/ 5356171 h 6593118"/>
              <a:gd name="connsiteX150" fmla="*/ 2988799 w 11490376"/>
              <a:gd name="connsiteY150" fmla="*/ 5378276 h 6593118"/>
              <a:gd name="connsiteX151" fmla="*/ 2988959 w 11490376"/>
              <a:gd name="connsiteY151" fmla="*/ 5379547 h 6593118"/>
              <a:gd name="connsiteX152" fmla="*/ 3003527 w 11490376"/>
              <a:gd name="connsiteY152" fmla="*/ 5357674 h 6593118"/>
              <a:gd name="connsiteX153" fmla="*/ 3008427 w 11490376"/>
              <a:gd name="connsiteY153" fmla="*/ 5323338 h 6593118"/>
              <a:gd name="connsiteX154" fmla="*/ 3030480 w 11490376"/>
              <a:gd name="connsiteY154" fmla="*/ 5306171 h 6593118"/>
              <a:gd name="connsiteX155" fmla="*/ 3040281 w 11490376"/>
              <a:gd name="connsiteY155" fmla="*/ 5274287 h 6593118"/>
              <a:gd name="connsiteX156" fmla="*/ 6490901 w 11490376"/>
              <a:gd name="connsiteY156" fmla="*/ 5258169 h 6593118"/>
              <a:gd name="connsiteX157" fmla="*/ 6491596 w 11490376"/>
              <a:gd name="connsiteY157" fmla="*/ 5262351 h 6593118"/>
              <a:gd name="connsiteX158" fmla="*/ 6491986 w 11490376"/>
              <a:gd name="connsiteY158" fmla="*/ 5262514 h 6593118"/>
              <a:gd name="connsiteX159" fmla="*/ 3395429 w 11490376"/>
              <a:gd name="connsiteY159" fmla="*/ 5235601 h 6593118"/>
              <a:gd name="connsiteX160" fmla="*/ 3385784 w 11490376"/>
              <a:gd name="connsiteY160" fmla="*/ 5269382 h 6593118"/>
              <a:gd name="connsiteX161" fmla="*/ 3381308 w 11490376"/>
              <a:gd name="connsiteY161" fmla="*/ 5290288 h 6593118"/>
              <a:gd name="connsiteX162" fmla="*/ 3387205 w 11490376"/>
              <a:gd name="connsiteY162" fmla="*/ 5270768 h 6593118"/>
              <a:gd name="connsiteX163" fmla="*/ 3042805 w 11490376"/>
              <a:gd name="connsiteY163" fmla="*/ 5221333 h 6593118"/>
              <a:gd name="connsiteX164" fmla="*/ 3020848 w 11490376"/>
              <a:gd name="connsiteY164" fmla="*/ 5245643 h 6593118"/>
              <a:gd name="connsiteX165" fmla="*/ 3030316 w 11490376"/>
              <a:gd name="connsiteY165" fmla="*/ 5258615 h 6593118"/>
              <a:gd name="connsiteX166" fmla="*/ 3023129 w 11490376"/>
              <a:gd name="connsiteY166" fmla="*/ 5247309 h 6593118"/>
              <a:gd name="connsiteX167" fmla="*/ 3042729 w 11490376"/>
              <a:gd name="connsiteY167" fmla="*/ 5222784 h 6593118"/>
              <a:gd name="connsiteX168" fmla="*/ 6164593 w 11490376"/>
              <a:gd name="connsiteY168" fmla="*/ 5208821 h 6593118"/>
              <a:gd name="connsiteX169" fmla="*/ 6163906 w 11490376"/>
              <a:gd name="connsiteY169" fmla="*/ 5209923 h 6593118"/>
              <a:gd name="connsiteX170" fmla="*/ 6156583 w 11490376"/>
              <a:gd name="connsiteY170" fmla="*/ 5231987 h 6593118"/>
              <a:gd name="connsiteX171" fmla="*/ 6137055 w 11490376"/>
              <a:gd name="connsiteY171" fmla="*/ 5244243 h 6593118"/>
              <a:gd name="connsiteX172" fmla="*/ 6091097 w 11490376"/>
              <a:gd name="connsiteY172" fmla="*/ 5232706 h 6593118"/>
              <a:gd name="connsiteX173" fmla="*/ 6091107 w 11490376"/>
              <a:gd name="connsiteY173" fmla="*/ 5232744 h 6593118"/>
              <a:gd name="connsiteX174" fmla="*/ 6137789 w 11490376"/>
              <a:gd name="connsiteY174" fmla="*/ 5245080 h 6593118"/>
              <a:gd name="connsiteX175" fmla="*/ 6157445 w 11490376"/>
              <a:gd name="connsiteY175" fmla="*/ 5232744 h 6593118"/>
              <a:gd name="connsiteX176" fmla="*/ 3381080 w 11490376"/>
              <a:gd name="connsiteY176" fmla="*/ 5200244 h 6593118"/>
              <a:gd name="connsiteX177" fmla="*/ 3388233 w 11490376"/>
              <a:gd name="connsiteY177" fmla="*/ 5205616 h 6593118"/>
              <a:gd name="connsiteX178" fmla="*/ 3395895 w 11490376"/>
              <a:gd name="connsiteY178" fmla="*/ 5213283 h 6593118"/>
              <a:gd name="connsiteX179" fmla="*/ 3389644 w 11490376"/>
              <a:gd name="connsiteY179" fmla="*/ 5203734 h 6593118"/>
              <a:gd name="connsiteX180" fmla="*/ 6176113 w 11490376"/>
              <a:gd name="connsiteY180" fmla="*/ 5190313 h 6593118"/>
              <a:gd name="connsiteX181" fmla="*/ 6166756 w 11490376"/>
              <a:gd name="connsiteY181" fmla="*/ 5205345 h 6593118"/>
              <a:gd name="connsiteX182" fmla="*/ 6177102 w 11490376"/>
              <a:gd name="connsiteY182" fmla="*/ 5190801 h 6593118"/>
              <a:gd name="connsiteX183" fmla="*/ 6198812 w 11490376"/>
              <a:gd name="connsiteY183" fmla="*/ 5190801 h 6593118"/>
              <a:gd name="connsiteX184" fmla="*/ 6198082 w 11490376"/>
              <a:gd name="connsiteY184" fmla="*/ 5190313 h 6593118"/>
              <a:gd name="connsiteX185" fmla="*/ 3325119 w 11490376"/>
              <a:gd name="connsiteY185" fmla="*/ 5188710 h 6593118"/>
              <a:gd name="connsiteX186" fmla="*/ 3326974 w 11490376"/>
              <a:gd name="connsiteY186" fmla="*/ 5193353 h 6593118"/>
              <a:gd name="connsiteX187" fmla="*/ 3365436 w 11490376"/>
              <a:gd name="connsiteY187" fmla="*/ 5197019 h 6593118"/>
              <a:gd name="connsiteX188" fmla="*/ 3326258 w 11490376"/>
              <a:gd name="connsiteY188" fmla="*/ 5191319 h 6593118"/>
              <a:gd name="connsiteX189" fmla="*/ 6274446 w 11490376"/>
              <a:gd name="connsiteY189" fmla="*/ 5184716 h 6593118"/>
              <a:gd name="connsiteX190" fmla="*/ 6254227 w 11490376"/>
              <a:gd name="connsiteY190" fmla="*/ 5205021 h 6593118"/>
              <a:gd name="connsiteX191" fmla="*/ 6220456 w 11490376"/>
              <a:gd name="connsiteY191" fmla="*/ 5205021 h 6593118"/>
              <a:gd name="connsiteX192" fmla="*/ 6221328 w 11490376"/>
              <a:gd name="connsiteY192" fmla="*/ 5205604 h 6593118"/>
              <a:gd name="connsiteX193" fmla="*/ 6255724 w 11490376"/>
              <a:gd name="connsiteY193" fmla="*/ 5205604 h 6593118"/>
              <a:gd name="connsiteX194" fmla="*/ 6068307 w 11490376"/>
              <a:gd name="connsiteY194" fmla="*/ 5182970 h 6593118"/>
              <a:gd name="connsiteX195" fmla="*/ 6067108 w 11490376"/>
              <a:gd name="connsiteY195" fmla="*/ 5199671 h 6593118"/>
              <a:gd name="connsiteX196" fmla="*/ 6068566 w 11490376"/>
              <a:gd name="connsiteY196" fmla="*/ 5183283 h 6593118"/>
              <a:gd name="connsiteX197" fmla="*/ 3064971 w 11490376"/>
              <a:gd name="connsiteY197" fmla="*/ 5167128 h 6593118"/>
              <a:gd name="connsiteX198" fmla="*/ 3043033 w 11490376"/>
              <a:gd name="connsiteY198" fmla="*/ 5174413 h 6593118"/>
              <a:gd name="connsiteX199" fmla="*/ 3043033 w 11490376"/>
              <a:gd name="connsiteY199" fmla="*/ 5216992 h 6593118"/>
              <a:gd name="connsiteX200" fmla="*/ 3045180 w 11490376"/>
              <a:gd name="connsiteY200" fmla="*/ 5176185 h 6593118"/>
              <a:gd name="connsiteX201" fmla="*/ 3064781 w 11490376"/>
              <a:gd name="connsiteY201" fmla="*/ 5168828 h 6593118"/>
              <a:gd name="connsiteX202" fmla="*/ 6312260 w 11490376"/>
              <a:gd name="connsiteY202" fmla="*/ 5153726 h 6593118"/>
              <a:gd name="connsiteX203" fmla="*/ 6290844 w 11490376"/>
              <a:gd name="connsiteY203" fmla="*/ 5160895 h 6593118"/>
              <a:gd name="connsiteX204" fmla="*/ 6276697 w 11490376"/>
              <a:gd name="connsiteY204" fmla="*/ 5182204 h 6593118"/>
              <a:gd name="connsiteX205" fmla="*/ 6277838 w 11490376"/>
              <a:gd name="connsiteY205" fmla="*/ 5180932 h 6593118"/>
              <a:gd name="connsiteX206" fmla="*/ 6292579 w 11490376"/>
              <a:gd name="connsiteY206" fmla="*/ 5161195 h 6593118"/>
              <a:gd name="connsiteX207" fmla="*/ 6312236 w 11490376"/>
              <a:gd name="connsiteY207" fmla="*/ 5153794 h 6593118"/>
              <a:gd name="connsiteX208" fmla="*/ 3516535 w 11490376"/>
              <a:gd name="connsiteY208" fmla="*/ 5143969 h 6593118"/>
              <a:gd name="connsiteX209" fmla="*/ 3521289 w 11490376"/>
              <a:gd name="connsiteY209" fmla="*/ 5233527 h 6593118"/>
              <a:gd name="connsiteX210" fmla="*/ 3528602 w 11490376"/>
              <a:gd name="connsiteY210" fmla="*/ 5243458 h 6593118"/>
              <a:gd name="connsiteX211" fmla="*/ 3511539 w 11490376"/>
              <a:gd name="connsiteY211" fmla="*/ 5270768 h 6593118"/>
              <a:gd name="connsiteX212" fmla="*/ 3489596 w 11490376"/>
              <a:gd name="connsiteY212" fmla="*/ 5285665 h 6593118"/>
              <a:gd name="connsiteX213" fmla="*/ 3487383 w 11490376"/>
              <a:gd name="connsiteY213" fmla="*/ 5303717 h 6593118"/>
              <a:gd name="connsiteX214" fmla="*/ 3488702 w 11490376"/>
              <a:gd name="connsiteY214" fmla="*/ 5303717 h 6593118"/>
              <a:gd name="connsiteX215" fmla="*/ 3491151 w 11490376"/>
              <a:gd name="connsiteY215" fmla="*/ 5286550 h 6593118"/>
              <a:gd name="connsiteX216" fmla="*/ 3513204 w 11490376"/>
              <a:gd name="connsiteY216" fmla="*/ 5271835 h 6593118"/>
              <a:gd name="connsiteX217" fmla="*/ 3530356 w 11490376"/>
              <a:gd name="connsiteY217" fmla="*/ 5242404 h 6593118"/>
              <a:gd name="connsiteX218" fmla="*/ 3535258 w 11490376"/>
              <a:gd name="connsiteY218" fmla="*/ 5279192 h 6593118"/>
              <a:gd name="connsiteX219" fmla="*/ 3535998 w 11490376"/>
              <a:gd name="connsiteY219" fmla="*/ 5279192 h 6593118"/>
              <a:gd name="connsiteX220" fmla="*/ 3531418 w 11490376"/>
              <a:gd name="connsiteY220" fmla="*/ 5242569 h 6593118"/>
              <a:gd name="connsiteX221" fmla="*/ 3524038 w 11490376"/>
              <a:gd name="connsiteY221" fmla="*/ 5235191 h 6593118"/>
              <a:gd name="connsiteX222" fmla="*/ 3519116 w 11490376"/>
              <a:gd name="connsiteY222" fmla="*/ 5144184 h 6593118"/>
              <a:gd name="connsiteX223" fmla="*/ 3067601 w 11490376"/>
              <a:gd name="connsiteY223" fmla="*/ 5122015 h 6593118"/>
              <a:gd name="connsiteX224" fmla="*/ 3065441 w 11490376"/>
              <a:gd name="connsiteY224" fmla="*/ 5162889 h 6593118"/>
              <a:gd name="connsiteX225" fmla="*/ 3069682 w 11490376"/>
              <a:gd name="connsiteY225" fmla="*/ 5124681 h 6593118"/>
              <a:gd name="connsiteX226" fmla="*/ 3070113 w 11490376"/>
              <a:gd name="connsiteY226" fmla="*/ 5123771 h 6593118"/>
              <a:gd name="connsiteX227" fmla="*/ 3482604 w 11490376"/>
              <a:gd name="connsiteY227" fmla="*/ 5099750 h 6593118"/>
              <a:gd name="connsiteX228" fmla="*/ 3487161 w 11490376"/>
              <a:gd name="connsiteY228" fmla="*/ 5139182 h 6593118"/>
              <a:gd name="connsiteX229" fmla="*/ 3489315 w 11490376"/>
              <a:gd name="connsiteY229" fmla="*/ 5139364 h 6593118"/>
              <a:gd name="connsiteX230" fmla="*/ 3484672 w 11490376"/>
              <a:gd name="connsiteY230" fmla="*/ 5099910 h 6593118"/>
              <a:gd name="connsiteX231" fmla="*/ 6359831 w 11490376"/>
              <a:gd name="connsiteY231" fmla="*/ 5096519 h 6593118"/>
              <a:gd name="connsiteX232" fmla="*/ 6349430 w 11490376"/>
              <a:gd name="connsiteY232" fmla="*/ 5106963 h 6593118"/>
              <a:gd name="connsiteX233" fmla="*/ 6322579 w 11490376"/>
              <a:gd name="connsiteY233" fmla="*/ 5119220 h 6593118"/>
              <a:gd name="connsiteX234" fmla="*/ 6314766 w 11490376"/>
              <a:gd name="connsiteY234" fmla="*/ 5146679 h 6593118"/>
              <a:gd name="connsiteX235" fmla="*/ 6324520 w 11490376"/>
              <a:gd name="connsiteY235" fmla="*/ 5119253 h 6593118"/>
              <a:gd name="connsiteX236" fmla="*/ 6351547 w 11490376"/>
              <a:gd name="connsiteY236" fmla="*/ 5106916 h 6593118"/>
              <a:gd name="connsiteX237" fmla="*/ 3448285 w 11490376"/>
              <a:gd name="connsiteY237" fmla="*/ 5095801 h 6593118"/>
              <a:gd name="connsiteX238" fmla="*/ 3450589 w 11490376"/>
              <a:gd name="connsiteY238" fmla="*/ 5096974 h 6593118"/>
              <a:gd name="connsiteX239" fmla="*/ 3451414 w 11490376"/>
              <a:gd name="connsiteY239" fmla="*/ 5096974 h 6593118"/>
              <a:gd name="connsiteX240" fmla="*/ 3030521 w 11490376"/>
              <a:gd name="connsiteY240" fmla="*/ 5080703 h 6593118"/>
              <a:gd name="connsiteX241" fmla="*/ 3043033 w 11490376"/>
              <a:gd name="connsiteY241" fmla="*/ 5105640 h 6593118"/>
              <a:gd name="connsiteX242" fmla="*/ 3050838 w 11490376"/>
              <a:gd name="connsiteY242" fmla="*/ 5110304 h 6593118"/>
              <a:gd name="connsiteX243" fmla="*/ 3045549 w 11490376"/>
              <a:gd name="connsiteY243" fmla="*/ 5106610 h 6593118"/>
              <a:gd name="connsiteX244" fmla="*/ 3092308 w 11490376"/>
              <a:gd name="connsiteY244" fmla="*/ 5077137 h 6593118"/>
              <a:gd name="connsiteX245" fmla="*/ 3091827 w 11490376"/>
              <a:gd name="connsiteY245" fmla="*/ 5078154 h 6593118"/>
              <a:gd name="connsiteX246" fmla="*/ 3126041 w 11490376"/>
              <a:gd name="connsiteY246" fmla="*/ 5105061 h 6593118"/>
              <a:gd name="connsiteX247" fmla="*/ 3167699 w 11490376"/>
              <a:gd name="connsiteY247" fmla="*/ 5119776 h 6593118"/>
              <a:gd name="connsiteX248" fmla="*/ 3201557 w 11490376"/>
              <a:gd name="connsiteY248" fmla="*/ 5091869 h 6593118"/>
              <a:gd name="connsiteX249" fmla="*/ 3166148 w 11490376"/>
              <a:gd name="connsiteY249" fmla="*/ 5118891 h 6593118"/>
              <a:gd name="connsiteX250" fmla="*/ 3126767 w 11490376"/>
              <a:gd name="connsiteY250" fmla="*/ 5104154 h 6593118"/>
              <a:gd name="connsiteX251" fmla="*/ 3425047 w 11490376"/>
              <a:gd name="connsiteY251" fmla="*/ 5072689 h 6593118"/>
              <a:gd name="connsiteX252" fmla="*/ 3431086 w 11490376"/>
              <a:gd name="connsiteY252" fmla="*/ 5087043 h 6593118"/>
              <a:gd name="connsiteX253" fmla="*/ 3431876 w 11490376"/>
              <a:gd name="connsiteY253" fmla="*/ 5087444 h 6593118"/>
              <a:gd name="connsiteX254" fmla="*/ 3425623 w 11490376"/>
              <a:gd name="connsiteY254" fmla="*/ 5072853 h 6593118"/>
              <a:gd name="connsiteX255" fmla="*/ 3389644 w 11490376"/>
              <a:gd name="connsiteY255" fmla="*/ 5046156 h 6593118"/>
              <a:gd name="connsiteX256" fmla="*/ 3389644 w 11490376"/>
              <a:gd name="connsiteY256" fmla="*/ 5062215 h 6593118"/>
              <a:gd name="connsiteX257" fmla="*/ 3391133 w 11490376"/>
              <a:gd name="connsiteY257" fmla="*/ 5062540 h 6593118"/>
              <a:gd name="connsiteX258" fmla="*/ 6499899 w 11490376"/>
              <a:gd name="connsiteY258" fmla="*/ 5030145 h 6593118"/>
              <a:gd name="connsiteX259" fmla="*/ 6484172 w 11490376"/>
              <a:gd name="connsiteY259" fmla="*/ 5039893 h 6593118"/>
              <a:gd name="connsiteX260" fmla="*/ 6483557 w 11490376"/>
              <a:gd name="connsiteY260" fmla="*/ 5042133 h 6593118"/>
              <a:gd name="connsiteX261" fmla="*/ 6499982 w 11490376"/>
              <a:gd name="connsiteY261" fmla="*/ 5031855 h 6593118"/>
              <a:gd name="connsiteX262" fmla="*/ 3232064 w 11490376"/>
              <a:gd name="connsiteY262" fmla="*/ 5003266 h 6593118"/>
              <a:gd name="connsiteX263" fmla="*/ 3222756 w 11490376"/>
              <a:gd name="connsiteY263" fmla="*/ 5025558 h 6593118"/>
              <a:gd name="connsiteX264" fmla="*/ 3208111 w 11490376"/>
              <a:gd name="connsiteY264" fmla="*/ 5086471 h 6593118"/>
              <a:gd name="connsiteX265" fmla="*/ 3209356 w 11490376"/>
              <a:gd name="connsiteY265" fmla="*/ 5085441 h 6593118"/>
              <a:gd name="connsiteX266" fmla="*/ 3231410 w 11490376"/>
              <a:gd name="connsiteY266" fmla="*/ 5109967 h 6593118"/>
              <a:gd name="connsiteX267" fmla="*/ 3265476 w 11490376"/>
              <a:gd name="connsiteY267" fmla="*/ 5124579 h 6593118"/>
              <a:gd name="connsiteX268" fmla="*/ 3265310 w 11490376"/>
              <a:gd name="connsiteY268" fmla="*/ 5124285 h 6593118"/>
              <a:gd name="connsiteX269" fmla="*/ 3231180 w 11490376"/>
              <a:gd name="connsiteY269" fmla="*/ 5109388 h 6593118"/>
              <a:gd name="connsiteX270" fmla="*/ 3209238 w 11490376"/>
              <a:gd name="connsiteY270" fmla="*/ 5084560 h 6593118"/>
              <a:gd name="connsiteX271" fmla="*/ 3223868 w 11490376"/>
              <a:gd name="connsiteY271" fmla="*/ 5024974 h 6593118"/>
              <a:gd name="connsiteX272" fmla="*/ 3362204 w 11490376"/>
              <a:gd name="connsiteY272" fmla="*/ 4998311 h 6593118"/>
              <a:gd name="connsiteX273" fmla="*/ 3360585 w 11490376"/>
              <a:gd name="connsiteY273" fmla="*/ 4998541 h 6593118"/>
              <a:gd name="connsiteX274" fmla="*/ 3360447 w 11490376"/>
              <a:gd name="connsiteY274" fmla="*/ 4998326 h 6593118"/>
              <a:gd name="connsiteX275" fmla="*/ 3360483 w 11490376"/>
              <a:gd name="connsiteY275" fmla="*/ 4998741 h 6593118"/>
              <a:gd name="connsiteX276" fmla="*/ 3018380 w 11490376"/>
              <a:gd name="connsiteY276" fmla="*/ 4981266 h 6593118"/>
              <a:gd name="connsiteX277" fmla="*/ 3018380 w 11490376"/>
              <a:gd name="connsiteY277" fmla="*/ 5056516 h 6593118"/>
              <a:gd name="connsiteX278" fmla="*/ 3018476 w 11490376"/>
              <a:gd name="connsiteY278" fmla="*/ 5056707 h 6593118"/>
              <a:gd name="connsiteX279" fmla="*/ 3018476 w 11490376"/>
              <a:gd name="connsiteY279" fmla="*/ 4981348 h 6593118"/>
              <a:gd name="connsiteX280" fmla="*/ 11158310 w 11490376"/>
              <a:gd name="connsiteY280" fmla="*/ 4968595 h 6593118"/>
              <a:gd name="connsiteX281" fmla="*/ 11194696 w 11490376"/>
              <a:gd name="connsiteY281" fmla="*/ 4981054 h 6593118"/>
              <a:gd name="connsiteX282" fmla="*/ 11218953 w 11490376"/>
              <a:gd name="connsiteY282" fmla="*/ 5018432 h 6593118"/>
              <a:gd name="connsiteX283" fmla="*/ 11209250 w 11490376"/>
              <a:gd name="connsiteY283" fmla="*/ 5038366 h 6593118"/>
              <a:gd name="connsiteX284" fmla="*/ 11175289 w 11490376"/>
              <a:gd name="connsiteY284" fmla="*/ 5023414 h 6593118"/>
              <a:gd name="connsiteX285" fmla="*/ 11151032 w 11490376"/>
              <a:gd name="connsiteY285" fmla="*/ 5000988 h 6593118"/>
              <a:gd name="connsiteX286" fmla="*/ 11131625 w 11490376"/>
              <a:gd name="connsiteY286" fmla="*/ 4981054 h 6593118"/>
              <a:gd name="connsiteX287" fmla="*/ 6518631 w 11490376"/>
              <a:gd name="connsiteY287" fmla="*/ 4967623 h 6593118"/>
              <a:gd name="connsiteX288" fmla="*/ 6501483 w 11490376"/>
              <a:gd name="connsiteY288" fmla="*/ 4976128 h 6593118"/>
              <a:gd name="connsiteX289" fmla="*/ 6501566 w 11490376"/>
              <a:gd name="connsiteY289" fmla="*/ 4977875 h 6593118"/>
              <a:gd name="connsiteX290" fmla="*/ 2973983 w 11490376"/>
              <a:gd name="connsiteY290" fmla="*/ 4905961 h 6593118"/>
              <a:gd name="connsiteX291" fmla="*/ 2978937 w 11490376"/>
              <a:gd name="connsiteY291" fmla="*/ 4911601 h 6593118"/>
              <a:gd name="connsiteX292" fmla="*/ 2983755 w 11490376"/>
              <a:gd name="connsiteY292" fmla="*/ 4947594 h 6593118"/>
              <a:gd name="connsiteX293" fmla="*/ 2981562 w 11490376"/>
              <a:gd name="connsiteY293" fmla="*/ 4912578 h 6593118"/>
              <a:gd name="connsiteX294" fmla="*/ 3377832 w 11490376"/>
              <a:gd name="connsiteY294" fmla="*/ 4890579 h 6593118"/>
              <a:gd name="connsiteX295" fmla="*/ 3382738 w 11490376"/>
              <a:gd name="connsiteY295" fmla="*/ 4917491 h 6593118"/>
              <a:gd name="connsiteX296" fmla="*/ 3395043 w 11490376"/>
              <a:gd name="connsiteY296" fmla="*/ 4927314 h 6593118"/>
              <a:gd name="connsiteX297" fmla="*/ 3390121 w 11490376"/>
              <a:gd name="connsiteY297" fmla="*/ 4971525 h 6593118"/>
              <a:gd name="connsiteX298" fmla="*/ 3378776 w 11490376"/>
              <a:gd name="connsiteY298" fmla="*/ 4994169 h 6593118"/>
              <a:gd name="connsiteX299" fmla="*/ 3378874 w 11490376"/>
              <a:gd name="connsiteY299" fmla="*/ 4994145 h 6593118"/>
              <a:gd name="connsiteX300" fmla="*/ 3391175 w 11490376"/>
              <a:gd name="connsiteY300" fmla="*/ 4972007 h 6593118"/>
              <a:gd name="connsiteX301" fmla="*/ 3396098 w 11490376"/>
              <a:gd name="connsiteY301" fmla="*/ 4927735 h 6593118"/>
              <a:gd name="connsiteX302" fmla="*/ 3383796 w 11490376"/>
              <a:gd name="connsiteY302" fmla="*/ 4917895 h 6593118"/>
              <a:gd name="connsiteX303" fmla="*/ 3378874 w 11490376"/>
              <a:gd name="connsiteY303" fmla="*/ 4890839 h 6593118"/>
              <a:gd name="connsiteX304" fmla="*/ 3356732 w 11490376"/>
              <a:gd name="connsiteY304" fmla="*/ 4858864 h 6593118"/>
              <a:gd name="connsiteX305" fmla="*/ 3355696 w 11490376"/>
              <a:gd name="connsiteY305" fmla="*/ 4858916 h 6593118"/>
              <a:gd name="connsiteX306" fmla="*/ 3358124 w 11490376"/>
              <a:gd name="connsiteY306" fmla="*/ 4885561 h 6593118"/>
              <a:gd name="connsiteX307" fmla="*/ 3359183 w 11490376"/>
              <a:gd name="connsiteY307" fmla="*/ 4885825 h 6593118"/>
              <a:gd name="connsiteX308" fmla="*/ 3284285 w 11490376"/>
              <a:gd name="connsiteY308" fmla="*/ 4822265 h 6593118"/>
              <a:gd name="connsiteX309" fmla="*/ 3284285 w 11490376"/>
              <a:gd name="connsiteY309" fmla="*/ 4846264 h 6593118"/>
              <a:gd name="connsiteX310" fmla="*/ 3294014 w 11490376"/>
              <a:gd name="connsiteY310" fmla="*/ 4846264 h 6593118"/>
              <a:gd name="connsiteX311" fmla="*/ 3285380 w 11490376"/>
              <a:gd name="connsiteY311" fmla="*/ 4844106 h 6593118"/>
              <a:gd name="connsiteX312" fmla="*/ 6389946 w 11490376"/>
              <a:gd name="connsiteY312" fmla="*/ 4786233 h 6593118"/>
              <a:gd name="connsiteX313" fmla="*/ 6387359 w 11490376"/>
              <a:gd name="connsiteY313" fmla="*/ 4786830 h 6593118"/>
              <a:gd name="connsiteX314" fmla="*/ 6382451 w 11490376"/>
              <a:gd name="connsiteY314" fmla="*/ 4811386 h 6593118"/>
              <a:gd name="connsiteX315" fmla="*/ 6370185 w 11490376"/>
              <a:gd name="connsiteY315" fmla="*/ 4818753 h 6593118"/>
              <a:gd name="connsiteX316" fmla="*/ 6364205 w 11490376"/>
              <a:gd name="connsiteY316" fmla="*/ 4821318 h 6593118"/>
              <a:gd name="connsiteX317" fmla="*/ 6372892 w 11490376"/>
              <a:gd name="connsiteY317" fmla="*/ 4819165 h 6593118"/>
              <a:gd name="connsiteX318" fmla="*/ 6385257 w 11490376"/>
              <a:gd name="connsiteY318" fmla="*/ 4811806 h 6593118"/>
              <a:gd name="connsiteX319" fmla="*/ 3301444 w 11490376"/>
              <a:gd name="connsiteY319" fmla="*/ 4780011 h 6593118"/>
              <a:gd name="connsiteX320" fmla="*/ 3291847 w 11490376"/>
              <a:gd name="connsiteY320" fmla="*/ 4788218 h 6593118"/>
              <a:gd name="connsiteX321" fmla="*/ 3302602 w 11490376"/>
              <a:gd name="connsiteY321" fmla="*/ 4780155 h 6593118"/>
              <a:gd name="connsiteX322" fmla="*/ 6642001 w 11490376"/>
              <a:gd name="connsiteY322" fmla="*/ 4765913 h 6593118"/>
              <a:gd name="connsiteX323" fmla="*/ 6617668 w 11490376"/>
              <a:gd name="connsiteY323" fmla="*/ 4778083 h 6593118"/>
              <a:gd name="connsiteX324" fmla="*/ 6617229 w 11490376"/>
              <a:gd name="connsiteY324" fmla="*/ 4785115 h 6593118"/>
              <a:gd name="connsiteX325" fmla="*/ 6617669 w 11490376"/>
              <a:gd name="connsiteY325" fmla="*/ 4783903 h 6593118"/>
              <a:gd name="connsiteX326" fmla="*/ 6642187 w 11490376"/>
              <a:gd name="connsiteY326" fmla="*/ 4766719 h 6593118"/>
              <a:gd name="connsiteX327" fmla="*/ 3259565 w 11490376"/>
              <a:gd name="connsiteY327" fmla="*/ 4738179 h 6593118"/>
              <a:gd name="connsiteX328" fmla="*/ 3259675 w 11490376"/>
              <a:gd name="connsiteY328" fmla="*/ 4738195 h 6593118"/>
              <a:gd name="connsiteX329" fmla="*/ 3264342 w 11490376"/>
              <a:gd name="connsiteY329" fmla="*/ 4739359 h 6593118"/>
              <a:gd name="connsiteX330" fmla="*/ 3260778 w 11490376"/>
              <a:gd name="connsiteY330" fmla="*/ 4738340 h 6593118"/>
              <a:gd name="connsiteX331" fmla="*/ 6634626 w 11490376"/>
              <a:gd name="connsiteY331" fmla="*/ 4734340 h 6593118"/>
              <a:gd name="connsiteX332" fmla="*/ 6635033 w 11490376"/>
              <a:gd name="connsiteY332" fmla="*/ 4735681 h 6593118"/>
              <a:gd name="connsiteX333" fmla="*/ 6634831 w 11490376"/>
              <a:gd name="connsiteY333" fmla="*/ 4734804 h 6593118"/>
              <a:gd name="connsiteX334" fmla="*/ 3192144 w 11490376"/>
              <a:gd name="connsiteY334" fmla="*/ 4701965 h 6593118"/>
              <a:gd name="connsiteX335" fmla="*/ 3193223 w 11490376"/>
              <a:gd name="connsiteY335" fmla="*/ 4706266 h 6593118"/>
              <a:gd name="connsiteX336" fmla="*/ 3217834 w 11490376"/>
              <a:gd name="connsiteY336" fmla="*/ 4711178 h 6593118"/>
              <a:gd name="connsiteX337" fmla="*/ 3221098 w 11490376"/>
              <a:gd name="connsiteY337" fmla="*/ 4720946 h 6593118"/>
              <a:gd name="connsiteX338" fmla="*/ 3218950 w 11490376"/>
              <a:gd name="connsiteY338" fmla="*/ 4711285 h 6593118"/>
              <a:gd name="connsiteX339" fmla="*/ 3194346 w 11490376"/>
              <a:gd name="connsiteY339" fmla="*/ 4706365 h 6593118"/>
              <a:gd name="connsiteX340" fmla="*/ 2996279 w 11490376"/>
              <a:gd name="connsiteY340" fmla="*/ 4682391 h 6593118"/>
              <a:gd name="connsiteX341" fmla="*/ 2991736 w 11490376"/>
              <a:gd name="connsiteY341" fmla="*/ 4716514 h 6593118"/>
              <a:gd name="connsiteX342" fmla="*/ 2982187 w 11490376"/>
              <a:gd name="connsiteY342" fmla="*/ 4726081 h 6593118"/>
              <a:gd name="connsiteX343" fmla="*/ 2993868 w 11490376"/>
              <a:gd name="connsiteY343" fmla="*/ 4716090 h 6593118"/>
              <a:gd name="connsiteX344" fmla="*/ 6129729 w 11490376"/>
              <a:gd name="connsiteY344" fmla="*/ 4677540 h 6593118"/>
              <a:gd name="connsiteX345" fmla="*/ 6128352 w 11490376"/>
              <a:gd name="connsiteY345" fmla="*/ 4677678 h 6593118"/>
              <a:gd name="connsiteX346" fmla="*/ 6125896 w 11490376"/>
              <a:gd name="connsiteY346" fmla="*/ 4773596 h 6593118"/>
              <a:gd name="connsiteX347" fmla="*/ 6130809 w 11490376"/>
              <a:gd name="connsiteY347" fmla="*/ 4800650 h 6593118"/>
              <a:gd name="connsiteX348" fmla="*/ 6157833 w 11490376"/>
              <a:gd name="connsiteY348" fmla="*/ 4837542 h 6593118"/>
              <a:gd name="connsiteX349" fmla="*/ 6160289 w 11490376"/>
              <a:gd name="connsiteY349" fmla="*/ 4854758 h 6593118"/>
              <a:gd name="connsiteX350" fmla="*/ 6116069 w 11490376"/>
              <a:gd name="connsiteY350" fmla="*/ 4871974 h 6593118"/>
              <a:gd name="connsiteX351" fmla="*/ 6089045 w 11490376"/>
              <a:gd name="connsiteY351" fmla="*/ 4867056 h 6593118"/>
              <a:gd name="connsiteX352" fmla="*/ 6015674 w 11490376"/>
              <a:gd name="connsiteY352" fmla="*/ 4857262 h 6593118"/>
              <a:gd name="connsiteX353" fmla="*/ 6016779 w 11490376"/>
              <a:gd name="connsiteY353" fmla="*/ 4859022 h 6593118"/>
              <a:gd name="connsiteX354" fmla="*/ 6093306 w 11490376"/>
              <a:gd name="connsiteY354" fmla="*/ 4868856 h 6593118"/>
              <a:gd name="connsiteX355" fmla="*/ 6118986 w 11490376"/>
              <a:gd name="connsiteY355" fmla="*/ 4873505 h 6593118"/>
              <a:gd name="connsiteX356" fmla="*/ 6161465 w 11490376"/>
              <a:gd name="connsiteY356" fmla="*/ 4856916 h 6593118"/>
              <a:gd name="connsiteX357" fmla="*/ 6178554 w 11490376"/>
              <a:gd name="connsiteY357" fmla="*/ 4864271 h 6593118"/>
              <a:gd name="connsiteX358" fmla="*/ 6273757 w 11490376"/>
              <a:gd name="connsiteY358" fmla="*/ 4866722 h 6593118"/>
              <a:gd name="connsiteX359" fmla="*/ 6288403 w 11490376"/>
              <a:gd name="connsiteY359" fmla="*/ 4920653 h 6593118"/>
              <a:gd name="connsiteX360" fmla="*/ 6290844 w 11490376"/>
              <a:gd name="connsiteY360" fmla="*/ 4947619 h 6593118"/>
              <a:gd name="connsiteX361" fmla="*/ 6310372 w 11490376"/>
              <a:gd name="connsiteY361" fmla="*/ 4959877 h 6593118"/>
              <a:gd name="connsiteX362" fmla="*/ 6320138 w 11490376"/>
              <a:gd name="connsiteY362" fmla="*/ 4989294 h 6593118"/>
              <a:gd name="connsiteX363" fmla="*/ 6339666 w 11490376"/>
              <a:gd name="connsiteY363" fmla="*/ 4989294 h 6593118"/>
              <a:gd name="connsiteX364" fmla="*/ 6349430 w 11490376"/>
              <a:gd name="connsiteY364" fmla="*/ 5028517 h 6593118"/>
              <a:gd name="connsiteX365" fmla="*/ 6364076 w 11490376"/>
              <a:gd name="connsiteY365" fmla="*/ 5030968 h 6593118"/>
              <a:gd name="connsiteX366" fmla="*/ 6400545 w 11490376"/>
              <a:gd name="connsiteY366" fmla="*/ 5045617 h 6593118"/>
              <a:gd name="connsiteX367" fmla="*/ 6400688 w 11490376"/>
              <a:gd name="connsiteY367" fmla="*/ 5045237 h 6593118"/>
              <a:gd name="connsiteX368" fmla="*/ 6425256 w 11490376"/>
              <a:gd name="connsiteY368" fmla="*/ 5055105 h 6593118"/>
              <a:gd name="connsiteX369" fmla="*/ 6435084 w 11490376"/>
              <a:gd name="connsiteY369" fmla="*/ 5067441 h 6593118"/>
              <a:gd name="connsiteX370" fmla="*/ 6474017 w 11490376"/>
              <a:gd name="connsiteY370" fmla="*/ 5067441 h 6593118"/>
              <a:gd name="connsiteX371" fmla="*/ 6474173 w 11490376"/>
              <a:gd name="connsiteY371" fmla="*/ 5066872 h 6593118"/>
              <a:gd name="connsiteX372" fmla="*/ 6437187 w 11490376"/>
              <a:gd name="connsiteY372" fmla="*/ 5066872 h 6593118"/>
              <a:gd name="connsiteX373" fmla="*/ 6427295 w 11490376"/>
              <a:gd name="connsiteY373" fmla="*/ 5054609 h 6593118"/>
              <a:gd name="connsiteX374" fmla="*/ 6402567 w 11490376"/>
              <a:gd name="connsiteY374" fmla="*/ 5044798 h 6593118"/>
              <a:gd name="connsiteX375" fmla="*/ 6365473 w 11490376"/>
              <a:gd name="connsiteY375" fmla="*/ 5030084 h 6593118"/>
              <a:gd name="connsiteX376" fmla="*/ 6350636 w 11490376"/>
              <a:gd name="connsiteY376" fmla="*/ 5025178 h 6593118"/>
              <a:gd name="connsiteX377" fmla="*/ 6340744 w 11490376"/>
              <a:gd name="connsiteY377" fmla="*/ 4988390 h 6593118"/>
              <a:gd name="connsiteX378" fmla="*/ 6320961 w 11490376"/>
              <a:gd name="connsiteY378" fmla="*/ 4985937 h 6593118"/>
              <a:gd name="connsiteX379" fmla="*/ 6311070 w 11490376"/>
              <a:gd name="connsiteY379" fmla="*/ 4956508 h 6593118"/>
              <a:gd name="connsiteX380" fmla="*/ 6293759 w 11490376"/>
              <a:gd name="connsiteY380" fmla="*/ 4946697 h 6593118"/>
              <a:gd name="connsiteX381" fmla="*/ 6288813 w 11490376"/>
              <a:gd name="connsiteY381" fmla="*/ 4919718 h 6593118"/>
              <a:gd name="connsiteX382" fmla="*/ 6273976 w 11490376"/>
              <a:gd name="connsiteY382" fmla="*/ 4865762 h 6593118"/>
              <a:gd name="connsiteX383" fmla="*/ 6293759 w 11490376"/>
              <a:gd name="connsiteY383" fmla="*/ 4858405 h 6593118"/>
              <a:gd name="connsiteX384" fmla="*/ 6328381 w 11490376"/>
              <a:gd name="connsiteY384" fmla="*/ 4858405 h 6593118"/>
              <a:gd name="connsiteX385" fmla="*/ 6348164 w 11490376"/>
              <a:gd name="connsiteY385" fmla="*/ 4851048 h 6593118"/>
              <a:gd name="connsiteX386" fmla="*/ 6352294 w 11490376"/>
              <a:gd name="connsiteY386" fmla="*/ 4828516 h 6593118"/>
              <a:gd name="connsiteX387" fmla="*/ 6345652 w 11490376"/>
              <a:gd name="connsiteY387" fmla="*/ 4850676 h 6593118"/>
              <a:gd name="connsiteX388" fmla="*/ 6326026 w 11490376"/>
              <a:gd name="connsiteY388" fmla="*/ 4858043 h 6593118"/>
              <a:gd name="connsiteX389" fmla="*/ 6294133 w 11490376"/>
              <a:gd name="connsiteY389" fmla="*/ 4858043 h 6593118"/>
              <a:gd name="connsiteX390" fmla="*/ 6272053 w 11490376"/>
              <a:gd name="connsiteY390" fmla="*/ 4865408 h 6593118"/>
              <a:gd name="connsiteX391" fmla="*/ 6178827 w 11490376"/>
              <a:gd name="connsiteY391" fmla="*/ 4860498 h 6593118"/>
              <a:gd name="connsiteX392" fmla="*/ 6161653 w 11490376"/>
              <a:gd name="connsiteY392" fmla="*/ 4855586 h 6593118"/>
              <a:gd name="connsiteX393" fmla="*/ 6161653 w 11490376"/>
              <a:gd name="connsiteY393" fmla="*/ 4835942 h 6593118"/>
              <a:gd name="connsiteX394" fmla="*/ 6132214 w 11490376"/>
              <a:gd name="connsiteY394" fmla="*/ 4801564 h 6593118"/>
              <a:gd name="connsiteX395" fmla="*/ 6127306 w 11490376"/>
              <a:gd name="connsiteY395" fmla="*/ 4772097 h 6593118"/>
              <a:gd name="connsiteX396" fmla="*/ 6530103 w 11490376"/>
              <a:gd name="connsiteY396" fmla="*/ 4673900 h 6593118"/>
              <a:gd name="connsiteX397" fmla="*/ 6527198 w 11490376"/>
              <a:gd name="connsiteY397" fmla="*/ 4713163 h 6593118"/>
              <a:gd name="connsiteX398" fmla="*/ 6497758 w 11490376"/>
              <a:gd name="connsiteY398" fmla="*/ 4727897 h 6593118"/>
              <a:gd name="connsiteX399" fmla="*/ 6490397 w 11490376"/>
              <a:gd name="connsiteY399" fmla="*/ 4749996 h 6593118"/>
              <a:gd name="connsiteX400" fmla="*/ 6433972 w 11490376"/>
              <a:gd name="connsiteY400" fmla="*/ 4762275 h 6593118"/>
              <a:gd name="connsiteX401" fmla="*/ 6419252 w 11490376"/>
              <a:gd name="connsiteY401" fmla="*/ 4779464 h 6593118"/>
              <a:gd name="connsiteX402" fmla="*/ 6410677 w 11490376"/>
              <a:gd name="connsiteY402" fmla="*/ 4781444 h 6593118"/>
              <a:gd name="connsiteX403" fmla="*/ 6419878 w 11490376"/>
              <a:gd name="connsiteY403" fmla="*/ 4779924 h 6593118"/>
              <a:gd name="connsiteX404" fmla="*/ 6434715 w 11490376"/>
              <a:gd name="connsiteY404" fmla="*/ 4762756 h 6593118"/>
              <a:gd name="connsiteX405" fmla="*/ 6442808 w 11490376"/>
              <a:gd name="connsiteY405" fmla="*/ 4764361 h 6593118"/>
              <a:gd name="connsiteX406" fmla="*/ 6490175 w 11490376"/>
              <a:gd name="connsiteY406" fmla="*/ 4751989 h 6593118"/>
              <a:gd name="connsiteX407" fmla="*/ 6497529 w 11490376"/>
              <a:gd name="connsiteY407" fmla="*/ 4729894 h 6593118"/>
              <a:gd name="connsiteX408" fmla="*/ 6526952 w 11490376"/>
              <a:gd name="connsiteY408" fmla="*/ 4715164 h 6593118"/>
              <a:gd name="connsiteX409" fmla="*/ 6553922 w 11490376"/>
              <a:gd name="connsiteY409" fmla="*/ 4727439 h 6593118"/>
              <a:gd name="connsiteX410" fmla="*/ 6580891 w 11490376"/>
              <a:gd name="connsiteY410" fmla="*/ 4734804 h 6593118"/>
              <a:gd name="connsiteX411" fmla="*/ 6580196 w 11490376"/>
              <a:gd name="connsiteY411" fmla="*/ 4743160 h 6593118"/>
              <a:gd name="connsiteX412" fmla="*/ 6582643 w 11490376"/>
              <a:gd name="connsiteY412" fmla="*/ 4734289 h 6593118"/>
              <a:gd name="connsiteX413" fmla="*/ 6530103 w 11490376"/>
              <a:gd name="connsiteY413" fmla="*/ 4714581 h 6593118"/>
              <a:gd name="connsiteX414" fmla="*/ 6599802 w 11490376"/>
              <a:gd name="connsiteY414" fmla="*/ 4672196 h 6593118"/>
              <a:gd name="connsiteX415" fmla="*/ 6607790 w 11490376"/>
              <a:gd name="connsiteY415" fmla="*/ 4683950 h 6593118"/>
              <a:gd name="connsiteX416" fmla="*/ 6602958 w 11490376"/>
              <a:gd name="connsiteY416" fmla="*/ 4675884 h 6593118"/>
              <a:gd name="connsiteX417" fmla="*/ 6154294 w 11490376"/>
              <a:gd name="connsiteY417" fmla="*/ 4655313 h 6593118"/>
              <a:gd name="connsiteX418" fmla="*/ 6152919 w 11490376"/>
              <a:gd name="connsiteY418" fmla="*/ 4655542 h 6593118"/>
              <a:gd name="connsiteX419" fmla="*/ 6152919 w 11490376"/>
              <a:gd name="connsiteY419" fmla="*/ 4674010 h 6593118"/>
              <a:gd name="connsiteX420" fmla="*/ 6154294 w 11490376"/>
              <a:gd name="connsiteY420" fmla="*/ 4673873 h 6593118"/>
              <a:gd name="connsiteX421" fmla="*/ 6345901 w 11490376"/>
              <a:gd name="connsiteY421" fmla="*/ 4635613 h 6593118"/>
              <a:gd name="connsiteX422" fmla="*/ 6353012 w 11490376"/>
              <a:gd name="connsiteY422" fmla="*/ 4639495 h 6593118"/>
              <a:gd name="connsiteX423" fmla="*/ 6357723 w 11490376"/>
              <a:gd name="connsiteY423" fmla="*/ 4658352 h 6593118"/>
              <a:gd name="connsiteX424" fmla="*/ 6354277 w 11490376"/>
              <a:gd name="connsiteY424" fmla="*/ 4639833 h 6593118"/>
              <a:gd name="connsiteX425" fmla="*/ 3110762 w 11490376"/>
              <a:gd name="connsiteY425" fmla="*/ 4623831 h 6593118"/>
              <a:gd name="connsiteX426" fmla="*/ 3111999 w 11490376"/>
              <a:gd name="connsiteY426" fmla="*/ 4659601 h 6593118"/>
              <a:gd name="connsiteX427" fmla="*/ 3126767 w 11490376"/>
              <a:gd name="connsiteY427" fmla="*/ 4684161 h 6593118"/>
              <a:gd name="connsiteX428" fmla="*/ 3130112 w 11490376"/>
              <a:gd name="connsiteY428" fmla="*/ 4689725 h 6593118"/>
              <a:gd name="connsiteX429" fmla="*/ 3127913 w 11490376"/>
              <a:gd name="connsiteY429" fmla="*/ 4684229 h 6593118"/>
              <a:gd name="connsiteX430" fmla="*/ 3113150 w 11490376"/>
              <a:gd name="connsiteY430" fmla="*/ 4659632 h 6593118"/>
              <a:gd name="connsiteX431" fmla="*/ 6292119 w 11490376"/>
              <a:gd name="connsiteY431" fmla="*/ 4619979 h 6593118"/>
              <a:gd name="connsiteX432" fmla="*/ 6283640 w 11490376"/>
              <a:gd name="connsiteY432" fmla="*/ 4639203 h 6593118"/>
              <a:gd name="connsiteX433" fmla="*/ 6284319 w 11490376"/>
              <a:gd name="connsiteY433" fmla="*/ 4639495 h 6593118"/>
              <a:gd name="connsiteX434" fmla="*/ 6549493 w 11490376"/>
              <a:gd name="connsiteY434" fmla="*/ 4616977 h 6593118"/>
              <a:gd name="connsiteX435" fmla="*/ 6551359 w 11490376"/>
              <a:gd name="connsiteY435" fmla="*/ 4627561 h 6593118"/>
              <a:gd name="connsiteX436" fmla="*/ 6551995 w 11490376"/>
              <a:gd name="connsiteY436" fmla="*/ 4626990 h 6593118"/>
              <a:gd name="connsiteX437" fmla="*/ 7104935 w 11490376"/>
              <a:gd name="connsiteY437" fmla="*/ 4609472 h 6593118"/>
              <a:gd name="connsiteX438" fmla="*/ 7127015 w 11490376"/>
              <a:gd name="connsiteY438" fmla="*/ 4624267 h 6593118"/>
              <a:gd name="connsiteX439" fmla="*/ 7129467 w 11490376"/>
              <a:gd name="connsiteY439" fmla="*/ 4666185 h 6593118"/>
              <a:gd name="connsiteX440" fmla="*/ 7151548 w 11490376"/>
              <a:gd name="connsiteY440" fmla="*/ 4678515 h 6593118"/>
              <a:gd name="connsiteX441" fmla="*/ 7149095 w 11490376"/>
              <a:gd name="connsiteY441" fmla="*/ 4767283 h 6593118"/>
              <a:gd name="connsiteX442" fmla="*/ 7131921 w 11490376"/>
              <a:gd name="connsiteY442" fmla="*/ 4767283 h 6593118"/>
              <a:gd name="connsiteX443" fmla="*/ 7129467 w 11490376"/>
              <a:gd name="connsiteY443" fmla="*/ 4821531 h 6593118"/>
              <a:gd name="connsiteX444" fmla="*/ 7109841 w 11490376"/>
              <a:gd name="connsiteY444" fmla="*/ 4833859 h 6593118"/>
              <a:gd name="connsiteX445" fmla="*/ 7109841 w 11490376"/>
              <a:gd name="connsiteY445" fmla="*/ 4902901 h 6593118"/>
              <a:gd name="connsiteX446" fmla="*/ 7095122 w 11490376"/>
              <a:gd name="connsiteY446" fmla="*/ 4917696 h 6593118"/>
              <a:gd name="connsiteX447" fmla="*/ 7070588 w 11490376"/>
              <a:gd name="connsiteY447" fmla="*/ 4934957 h 6593118"/>
              <a:gd name="connsiteX448" fmla="*/ 7073042 w 11490376"/>
              <a:gd name="connsiteY448" fmla="*/ 5021259 h 6593118"/>
              <a:gd name="connsiteX449" fmla="*/ 7060775 w 11490376"/>
              <a:gd name="connsiteY449" fmla="*/ 5028657 h 6593118"/>
              <a:gd name="connsiteX450" fmla="*/ 7060775 w 11490376"/>
              <a:gd name="connsiteY450" fmla="*/ 5090301 h 6593118"/>
              <a:gd name="connsiteX451" fmla="*/ 7041149 w 11490376"/>
              <a:gd name="connsiteY451" fmla="*/ 5097700 h 6593118"/>
              <a:gd name="connsiteX452" fmla="*/ 7031335 w 11490376"/>
              <a:gd name="connsiteY452" fmla="*/ 5144549 h 6593118"/>
              <a:gd name="connsiteX453" fmla="*/ 7014161 w 11490376"/>
              <a:gd name="connsiteY453" fmla="*/ 5156879 h 6593118"/>
              <a:gd name="connsiteX454" fmla="*/ 6996989 w 11490376"/>
              <a:gd name="connsiteY454" fmla="*/ 5169207 h 6593118"/>
              <a:gd name="connsiteX455" fmla="*/ 6972456 w 11490376"/>
              <a:gd name="connsiteY455" fmla="*/ 5171673 h 6593118"/>
              <a:gd name="connsiteX456" fmla="*/ 6950376 w 11490376"/>
              <a:gd name="connsiteY456" fmla="*/ 5193865 h 6593118"/>
              <a:gd name="connsiteX457" fmla="*/ 6933203 w 11490376"/>
              <a:gd name="connsiteY457" fmla="*/ 5186468 h 6593118"/>
              <a:gd name="connsiteX458" fmla="*/ 6918483 w 11490376"/>
              <a:gd name="connsiteY458" fmla="*/ 5171673 h 6593118"/>
              <a:gd name="connsiteX459" fmla="*/ 6896403 w 11490376"/>
              <a:gd name="connsiteY459" fmla="*/ 5171673 h 6593118"/>
              <a:gd name="connsiteX460" fmla="*/ 6896403 w 11490376"/>
              <a:gd name="connsiteY460" fmla="*/ 5075507 h 6593118"/>
              <a:gd name="connsiteX461" fmla="*/ 6871870 w 11490376"/>
              <a:gd name="connsiteY461" fmla="*/ 5075507 h 6593118"/>
              <a:gd name="connsiteX462" fmla="*/ 6869416 w 11490376"/>
              <a:gd name="connsiteY462" fmla="*/ 5028657 h 6593118"/>
              <a:gd name="connsiteX463" fmla="*/ 6891496 w 11490376"/>
              <a:gd name="connsiteY463" fmla="*/ 5021259 h 6593118"/>
              <a:gd name="connsiteX464" fmla="*/ 6893950 w 11490376"/>
              <a:gd name="connsiteY464" fmla="*/ 5003999 h 6593118"/>
              <a:gd name="connsiteX465" fmla="*/ 6911123 w 11490376"/>
              <a:gd name="connsiteY465" fmla="*/ 4996601 h 6593118"/>
              <a:gd name="connsiteX466" fmla="*/ 6918483 w 11490376"/>
              <a:gd name="connsiteY466" fmla="*/ 4962080 h 6593118"/>
              <a:gd name="connsiteX467" fmla="*/ 6933203 w 11490376"/>
              <a:gd name="connsiteY467" fmla="*/ 4952217 h 6593118"/>
              <a:gd name="connsiteX468" fmla="*/ 6928297 w 11490376"/>
              <a:gd name="connsiteY468" fmla="*/ 4925094 h 6593118"/>
              <a:gd name="connsiteX469" fmla="*/ 6918483 w 11490376"/>
              <a:gd name="connsiteY469" fmla="*/ 4922628 h 6593118"/>
              <a:gd name="connsiteX470" fmla="*/ 6911123 w 11490376"/>
              <a:gd name="connsiteY470" fmla="*/ 4819064 h 6593118"/>
              <a:gd name="connsiteX471" fmla="*/ 6925843 w 11490376"/>
              <a:gd name="connsiteY471" fmla="*/ 4816599 h 6593118"/>
              <a:gd name="connsiteX472" fmla="*/ 6933203 w 11490376"/>
              <a:gd name="connsiteY472" fmla="*/ 4784543 h 6593118"/>
              <a:gd name="connsiteX473" fmla="*/ 6955282 w 11490376"/>
              <a:gd name="connsiteY473" fmla="*/ 4774680 h 6593118"/>
              <a:gd name="connsiteX474" fmla="*/ 6960189 w 11490376"/>
              <a:gd name="connsiteY474" fmla="*/ 4759885 h 6593118"/>
              <a:gd name="connsiteX475" fmla="*/ 6982270 w 11490376"/>
              <a:gd name="connsiteY475" fmla="*/ 4759885 h 6593118"/>
              <a:gd name="connsiteX476" fmla="*/ 6987176 w 11490376"/>
              <a:gd name="connsiteY476" fmla="*/ 4779611 h 6593118"/>
              <a:gd name="connsiteX477" fmla="*/ 6999442 w 11490376"/>
              <a:gd name="connsiteY477" fmla="*/ 4782078 h 6593118"/>
              <a:gd name="connsiteX478" fmla="*/ 7006802 w 11490376"/>
              <a:gd name="connsiteY478" fmla="*/ 4762352 h 6593118"/>
              <a:gd name="connsiteX479" fmla="*/ 7026429 w 11490376"/>
              <a:gd name="connsiteY479" fmla="*/ 4745090 h 6593118"/>
              <a:gd name="connsiteX480" fmla="*/ 7031335 w 11490376"/>
              <a:gd name="connsiteY480" fmla="*/ 4725364 h 6593118"/>
              <a:gd name="connsiteX481" fmla="*/ 7041149 w 11490376"/>
              <a:gd name="connsiteY481" fmla="*/ 4710569 h 6593118"/>
              <a:gd name="connsiteX482" fmla="*/ 7063228 w 11490376"/>
              <a:gd name="connsiteY482" fmla="*/ 4710569 h 6593118"/>
              <a:gd name="connsiteX483" fmla="*/ 7068134 w 11490376"/>
              <a:gd name="connsiteY483" fmla="*/ 4673583 h 6593118"/>
              <a:gd name="connsiteX484" fmla="*/ 7082854 w 11490376"/>
              <a:gd name="connsiteY484" fmla="*/ 4666185 h 6593118"/>
              <a:gd name="connsiteX485" fmla="*/ 7085308 w 11490376"/>
              <a:gd name="connsiteY485" fmla="*/ 4616869 h 6593118"/>
              <a:gd name="connsiteX486" fmla="*/ 3036880 w 11490376"/>
              <a:gd name="connsiteY486" fmla="*/ 4605520 h 6593118"/>
              <a:gd name="connsiteX487" fmla="*/ 3029501 w 11490376"/>
              <a:gd name="connsiteY487" fmla="*/ 4622737 h 6593118"/>
              <a:gd name="connsiteX488" fmla="*/ 3017200 w 11490376"/>
              <a:gd name="connsiteY488" fmla="*/ 4632577 h 6593118"/>
              <a:gd name="connsiteX489" fmla="*/ 2992598 w 11490376"/>
              <a:gd name="connsiteY489" fmla="*/ 4639955 h 6593118"/>
              <a:gd name="connsiteX490" fmla="*/ 2970954 w 11490376"/>
              <a:gd name="connsiteY490" fmla="*/ 4639955 h 6593118"/>
              <a:gd name="connsiteX491" fmla="*/ 2971068 w 11490376"/>
              <a:gd name="connsiteY491" fmla="*/ 4640132 h 6593118"/>
              <a:gd name="connsiteX492" fmla="*/ 2993868 w 11490376"/>
              <a:gd name="connsiteY492" fmla="*/ 4642407 h 6593118"/>
              <a:gd name="connsiteX493" fmla="*/ 3018476 w 11490376"/>
              <a:gd name="connsiteY493" fmla="*/ 4632582 h 6593118"/>
              <a:gd name="connsiteX494" fmla="*/ 3030783 w 11490376"/>
              <a:gd name="connsiteY494" fmla="*/ 4622759 h 6593118"/>
              <a:gd name="connsiteX495" fmla="*/ 3038117 w 11490376"/>
              <a:gd name="connsiteY495" fmla="*/ 4605674 h 6593118"/>
              <a:gd name="connsiteX496" fmla="*/ 6216668 w 11490376"/>
              <a:gd name="connsiteY496" fmla="*/ 4593011 h 6593118"/>
              <a:gd name="connsiteX497" fmla="*/ 6209541 w 11490376"/>
              <a:gd name="connsiteY497" fmla="*/ 4673873 h 6593118"/>
              <a:gd name="connsiteX498" fmla="*/ 6213173 w 11490376"/>
              <a:gd name="connsiteY498" fmla="*/ 4673873 h 6593118"/>
              <a:gd name="connsiteX499" fmla="*/ 6217923 w 11490376"/>
              <a:gd name="connsiteY499" fmla="*/ 4593047 h 6593118"/>
              <a:gd name="connsiteX500" fmla="*/ 6217340 w 11490376"/>
              <a:gd name="connsiteY500" fmla="*/ 4593011 h 6593118"/>
              <a:gd name="connsiteX501" fmla="*/ 2866793 w 11490376"/>
              <a:gd name="connsiteY501" fmla="*/ 4588792 h 6593118"/>
              <a:gd name="connsiteX502" fmla="*/ 2866824 w 11490376"/>
              <a:gd name="connsiteY502" fmla="*/ 4588932 h 6593118"/>
              <a:gd name="connsiteX503" fmla="*/ 2868909 w 11490376"/>
              <a:gd name="connsiteY503" fmla="*/ 4589280 h 6593118"/>
              <a:gd name="connsiteX504" fmla="*/ 3061277 w 11490376"/>
              <a:gd name="connsiteY504" fmla="*/ 4581148 h 6593118"/>
              <a:gd name="connsiteX505" fmla="*/ 3108387 w 11490376"/>
              <a:gd name="connsiteY505" fmla="*/ 4588201 h 6593118"/>
              <a:gd name="connsiteX506" fmla="*/ 3108229 w 11490376"/>
              <a:gd name="connsiteY506" fmla="*/ 4585842 h 6593118"/>
              <a:gd name="connsiteX507" fmla="*/ 3059024 w 11490376"/>
              <a:gd name="connsiteY507" fmla="*/ 4580923 h 6593118"/>
              <a:gd name="connsiteX508" fmla="*/ 3056574 w 11490376"/>
              <a:gd name="connsiteY508" fmla="*/ 4607862 h 6593118"/>
              <a:gd name="connsiteX509" fmla="*/ 3057854 w 11490376"/>
              <a:gd name="connsiteY509" fmla="*/ 4608022 h 6593118"/>
              <a:gd name="connsiteX510" fmla="*/ 3060310 w 11490376"/>
              <a:gd name="connsiteY510" fmla="*/ 4581052 h 6593118"/>
              <a:gd name="connsiteX511" fmla="*/ 2923712 w 11490376"/>
              <a:gd name="connsiteY511" fmla="*/ 4578464 h 6593118"/>
              <a:gd name="connsiteX512" fmla="*/ 2911867 w 11490376"/>
              <a:gd name="connsiteY512" fmla="*/ 4586000 h 6593118"/>
              <a:gd name="connsiteX513" fmla="*/ 2924105 w 11490376"/>
              <a:gd name="connsiteY513" fmla="*/ 4579872 h 6593118"/>
              <a:gd name="connsiteX514" fmla="*/ 6596489 w 11490376"/>
              <a:gd name="connsiteY514" fmla="*/ 4571668 h 6593118"/>
              <a:gd name="connsiteX515" fmla="*/ 6596536 w 11490376"/>
              <a:gd name="connsiteY515" fmla="*/ 4571912 h 6593118"/>
              <a:gd name="connsiteX516" fmla="*/ 6621497 w 11490376"/>
              <a:gd name="connsiteY516" fmla="*/ 4589214 h 6593118"/>
              <a:gd name="connsiteX517" fmla="*/ 6621392 w 11490376"/>
              <a:gd name="connsiteY517" fmla="*/ 4588799 h 6593118"/>
              <a:gd name="connsiteX518" fmla="*/ 2837330 w 11490376"/>
              <a:gd name="connsiteY518" fmla="*/ 4564143 h 6593118"/>
              <a:gd name="connsiteX519" fmla="*/ 2837431 w 11490376"/>
              <a:gd name="connsiteY519" fmla="*/ 4564398 h 6593118"/>
              <a:gd name="connsiteX520" fmla="*/ 2839777 w 11490376"/>
              <a:gd name="connsiteY520" fmla="*/ 4564632 h 6593118"/>
              <a:gd name="connsiteX521" fmla="*/ 10408207 w 11490376"/>
              <a:gd name="connsiteY521" fmla="*/ 4548158 h 6593118"/>
              <a:gd name="connsiteX522" fmla="*/ 10445042 w 11490376"/>
              <a:gd name="connsiteY522" fmla="*/ 4594847 h 6593118"/>
              <a:gd name="connsiteX523" fmla="*/ 10425396 w 11490376"/>
              <a:gd name="connsiteY523" fmla="*/ 4629251 h 6593118"/>
              <a:gd name="connsiteX524" fmla="*/ 10449952 w 11490376"/>
              <a:gd name="connsiteY524" fmla="*/ 4695599 h 6593118"/>
              <a:gd name="connsiteX525" fmla="*/ 10494154 w 11490376"/>
              <a:gd name="connsiteY525" fmla="*/ 4744746 h 6593118"/>
              <a:gd name="connsiteX526" fmla="*/ 10518710 w 11490376"/>
              <a:gd name="connsiteY526" fmla="*/ 4835669 h 6593118"/>
              <a:gd name="connsiteX527" fmla="*/ 10521165 w 11490376"/>
              <a:gd name="connsiteY527" fmla="*/ 4916762 h 6593118"/>
              <a:gd name="connsiteX528" fmla="*/ 10592378 w 11490376"/>
              <a:gd name="connsiteY528" fmla="*/ 4953622 h 6593118"/>
              <a:gd name="connsiteX529" fmla="*/ 10602201 w 11490376"/>
              <a:gd name="connsiteY529" fmla="*/ 5017514 h 6593118"/>
              <a:gd name="connsiteX530" fmla="*/ 10648857 w 11490376"/>
              <a:gd name="connsiteY530" fmla="*/ 5042088 h 6593118"/>
              <a:gd name="connsiteX531" fmla="*/ 10670958 w 11490376"/>
              <a:gd name="connsiteY531" fmla="*/ 5108436 h 6593118"/>
              <a:gd name="connsiteX532" fmla="*/ 10712704 w 11490376"/>
              <a:gd name="connsiteY532" fmla="*/ 5164956 h 6593118"/>
              <a:gd name="connsiteX533" fmla="*/ 10717615 w 11490376"/>
              <a:gd name="connsiteY533" fmla="*/ 5194444 h 6593118"/>
              <a:gd name="connsiteX534" fmla="*/ 10695514 w 11490376"/>
              <a:gd name="connsiteY534" fmla="*/ 5324684 h 6593118"/>
              <a:gd name="connsiteX535" fmla="*/ 10695514 w 11490376"/>
              <a:gd name="connsiteY535" fmla="*/ 5420521 h 6593118"/>
              <a:gd name="connsiteX536" fmla="*/ 10678325 w 11490376"/>
              <a:gd name="connsiteY536" fmla="*/ 5447552 h 6593118"/>
              <a:gd name="connsiteX537" fmla="*/ 10619391 w 11490376"/>
              <a:gd name="connsiteY537" fmla="*/ 5501614 h 6593118"/>
              <a:gd name="connsiteX538" fmla="*/ 10587468 w 11490376"/>
              <a:gd name="connsiteY538" fmla="*/ 5567964 h 6593118"/>
              <a:gd name="connsiteX539" fmla="*/ 10543266 w 11490376"/>
              <a:gd name="connsiteY539" fmla="*/ 5602366 h 6593118"/>
              <a:gd name="connsiteX540" fmla="*/ 10513799 w 11490376"/>
              <a:gd name="connsiteY540" fmla="*/ 5678544 h 6593118"/>
              <a:gd name="connsiteX541" fmla="*/ 10413119 w 11490376"/>
              <a:gd name="connsiteY541" fmla="*/ 5730148 h 6593118"/>
              <a:gd name="connsiteX542" fmla="*/ 10351728 w 11490376"/>
              <a:gd name="connsiteY542" fmla="*/ 5752265 h 6593118"/>
              <a:gd name="connsiteX543" fmla="*/ 10263326 w 11490376"/>
              <a:gd name="connsiteY543" fmla="*/ 5732606 h 6593118"/>
              <a:gd name="connsiteX544" fmla="*/ 10187201 w 11490376"/>
              <a:gd name="connsiteY544" fmla="*/ 5705575 h 6593118"/>
              <a:gd name="connsiteX545" fmla="*/ 10152823 w 11490376"/>
              <a:gd name="connsiteY545" fmla="*/ 5668715 h 6593118"/>
              <a:gd name="connsiteX546" fmla="*/ 10165102 w 11490376"/>
              <a:gd name="connsiteY546" fmla="*/ 5634311 h 6593118"/>
              <a:gd name="connsiteX547" fmla="*/ 10162645 w 11490376"/>
              <a:gd name="connsiteY547" fmla="*/ 5607280 h 6593118"/>
              <a:gd name="connsiteX548" fmla="*/ 10140546 w 11490376"/>
              <a:gd name="connsiteY548" fmla="*/ 5585164 h 6593118"/>
              <a:gd name="connsiteX549" fmla="*/ 10135634 w 11490376"/>
              <a:gd name="connsiteY549" fmla="*/ 5560591 h 6593118"/>
              <a:gd name="connsiteX550" fmla="*/ 10135634 w 11490376"/>
              <a:gd name="connsiteY550" fmla="*/ 5543389 h 6593118"/>
              <a:gd name="connsiteX551" fmla="*/ 10123355 w 11490376"/>
              <a:gd name="connsiteY551" fmla="*/ 5560591 h 6593118"/>
              <a:gd name="connsiteX552" fmla="*/ 10113533 w 11490376"/>
              <a:gd name="connsiteY552" fmla="*/ 5585164 h 6593118"/>
              <a:gd name="connsiteX553" fmla="*/ 10088977 w 11490376"/>
              <a:gd name="connsiteY553" fmla="*/ 5580249 h 6593118"/>
              <a:gd name="connsiteX554" fmla="*/ 10108623 w 11490376"/>
              <a:gd name="connsiteY554" fmla="*/ 5553218 h 6593118"/>
              <a:gd name="connsiteX555" fmla="*/ 10123355 w 11490376"/>
              <a:gd name="connsiteY555" fmla="*/ 5516358 h 6593118"/>
              <a:gd name="connsiteX556" fmla="*/ 10118445 w 11490376"/>
              <a:gd name="connsiteY556" fmla="*/ 5489327 h 6593118"/>
              <a:gd name="connsiteX557" fmla="*/ 10098799 w 11490376"/>
              <a:gd name="connsiteY557" fmla="*/ 5523731 h 6593118"/>
              <a:gd name="connsiteX558" fmla="*/ 10069333 w 11490376"/>
              <a:gd name="connsiteY558" fmla="*/ 5553218 h 6593118"/>
              <a:gd name="connsiteX559" fmla="*/ 10042320 w 11490376"/>
              <a:gd name="connsiteY559" fmla="*/ 5570420 h 6593118"/>
              <a:gd name="connsiteX560" fmla="*/ 10020221 w 11490376"/>
              <a:gd name="connsiteY560" fmla="*/ 5575335 h 6593118"/>
              <a:gd name="connsiteX561" fmla="*/ 10017764 w 11490376"/>
              <a:gd name="connsiteY561" fmla="*/ 5528645 h 6593118"/>
              <a:gd name="connsiteX562" fmla="*/ 9990753 w 11490376"/>
              <a:gd name="connsiteY562" fmla="*/ 5489327 h 6593118"/>
              <a:gd name="connsiteX563" fmla="*/ 9963740 w 11490376"/>
              <a:gd name="connsiteY563" fmla="*/ 5459839 h 6593118"/>
              <a:gd name="connsiteX564" fmla="*/ 9909718 w 11490376"/>
              <a:gd name="connsiteY564" fmla="*/ 5454925 h 6593118"/>
              <a:gd name="connsiteX565" fmla="*/ 9907261 w 11490376"/>
              <a:gd name="connsiteY565" fmla="*/ 5435265 h 6593118"/>
              <a:gd name="connsiteX566" fmla="*/ 9875338 w 11490376"/>
              <a:gd name="connsiteY566" fmla="*/ 5445096 h 6593118"/>
              <a:gd name="connsiteX567" fmla="*/ 9831138 w 11490376"/>
              <a:gd name="connsiteY567" fmla="*/ 5447552 h 6593118"/>
              <a:gd name="connsiteX568" fmla="*/ 9809037 w 11490376"/>
              <a:gd name="connsiteY568" fmla="*/ 5469669 h 6593118"/>
              <a:gd name="connsiteX569" fmla="*/ 9696079 w 11490376"/>
              <a:gd name="connsiteY569" fmla="*/ 5481956 h 6593118"/>
              <a:gd name="connsiteX570" fmla="*/ 9656789 w 11490376"/>
              <a:gd name="connsiteY570" fmla="*/ 5508987 h 6593118"/>
              <a:gd name="connsiteX571" fmla="*/ 9634688 w 11490376"/>
              <a:gd name="connsiteY571" fmla="*/ 5543389 h 6593118"/>
              <a:gd name="connsiteX572" fmla="*/ 9511908 w 11490376"/>
              <a:gd name="connsiteY572" fmla="*/ 5560591 h 6593118"/>
              <a:gd name="connsiteX573" fmla="*/ 9452972 w 11490376"/>
              <a:gd name="connsiteY573" fmla="*/ 5553218 h 6593118"/>
              <a:gd name="connsiteX574" fmla="*/ 9438240 w 11490376"/>
              <a:gd name="connsiteY574" fmla="*/ 5580249 h 6593118"/>
              <a:gd name="connsiteX575" fmla="*/ 9423506 w 11490376"/>
              <a:gd name="connsiteY575" fmla="*/ 5597451 h 6593118"/>
              <a:gd name="connsiteX576" fmla="*/ 9394038 w 11490376"/>
              <a:gd name="connsiteY576" fmla="*/ 5590079 h 6593118"/>
              <a:gd name="connsiteX577" fmla="*/ 9322825 w 11490376"/>
              <a:gd name="connsiteY577" fmla="*/ 5526187 h 6593118"/>
              <a:gd name="connsiteX578" fmla="*/ 9337559 w 11490376"/>
              <a:gd name="connsiteY578" fmla="*/ 5504072 h 6593118"/>
              <a:gd name="connsiteX579" fmla="*/ 9349836 w 11490376"/>
              <a:gd name="connsiteY579" fmla="*/ 5477041 h 6593118"/>
              <a:gd name="connsiteX580" fmla="*/ 9369482 w 11490376"/>
              <a:gd name="connsiteY580" fmla="*/ 5474583 h 6593118"/>
              <a:gd name="connsiteX581" fmla="*/ 9367027 w 11490376"/>
              <a:gd name="connsiteY581" fmla="*/ 5405777 h 6593118"/>
              <a:gd name="connsiteX582" fmla="*/ 9349836 w 11490376"/>
              <a:gd name="connsiteY582" fmla="*/ 5393490 h 6593118"/>
              <a:gd name="connsiteX583" fmla="*/ 9349836 w 11490376"/>
              <a:gd name="connsiteY583" fmla="*/ 5361544 h 6593118"/>
              <a:gd name="connsiteX584" fmla="*/ 9349836 w 11490376"/>
              <a:gd name="connsiteY584" fmla="*/ 5314855 h 6593118"/>
              <a:gd name="connsiteX585" fmla="*/ 9327737 w 11490376"/>
              <a:gd name="connsiteY585" fmla="*/ 5275537 h 6593118"/>
              <a:gd name="connsiteX586" fmla="*/ 9308091 w 11490376"/>
              <a:gd name="connsiteY586" fmla="*/ 5211645 h 6593118"/>
              <a:gd name="connsiteX587" fmla="*/ 9313003 w 11490376"/>
              <a:gd name="connsiteY587" fmla="*/ 5174785 h 6593118"/>
              <a:gd name="connsiteX588" fmla="*/ 9349836 w 11490376"/>
              <a:gd name="connsiteY588" fmla="*/ 5199358 h 6593118"/>
              <a:gd name="connsiteX589" fmla="*/ 9357203 w 11490376"/>
              <a:gd name="connsiteY589" fmla="*/ 5174785 h 6593118"/>
              <a:gd name="connsiteX590" fmla="*/ 9330192 w 11490376"/>
              <a:gd name="connsiteY590" fmla="*/ 5157583 h 6593118"/>
              <a:gd name="connsiteX591" fmla="*/ 9322825 w 11490376"/>
              <a:gd name="connsiteY591" fmla="*/ 5042088 h 6593118"/>
              <a:gd name="connsiteX592" fmla="*/ 9384216 w 11490376"/>
              <a:gd name="connsiteY592" fmla="*/ 5037173 h 6593118"/>
              <a:gd name="connsiteX593" fmla="*/ 9438240 w 11490376"/>
              <a:gd name="connsiteY593" fmla="*/ 4980653 h 6593118"/>
              <a:gd name="connsiteX594" fmla="*/ 9563475 w 11490376"/>
              <a:gd name="connsiteY594" fmla="*/ 4943793 h 6593118"/>
              <a:gd name="connsiteX595" fmla="*/ 9612587 w 11490376"/>
              <a:gd name="connsiteY595" fmla="*/ 4924135 h 6593118"/>
              <a:gd name="connsiteX596" fmla="*/ 9664156 w 11490376"/>
              <a:gd name="connsiteY596" fmla="*/ 4860243 h 6593118"/>
              <a:gd name="connsiteX597" fmla="*/ 9673978 w 11490376"/>
              <a:gd name="connsiteY597" fmla="*/ 4798809 h 6593118"/>
              <a:gd name="connsiteX598" fmla="*/ 9691167 w 11490376"/>
              <a:gd name="connsiteY598" fmla="*/ 4825840 h 6593118"/>
              <a:gd name="connsiteX599" fmla="*/ 9710813 w 11490376"/>
              <a:gd name="connsiteY599" fmla="*/ 4825840 h 6593118"/>
              <a:gd name="connsiteX600" fmla="*/ 9710813 w 11490376"/>
              <a:gd name="connsiteY600" fmla="*/ 4798809 h 6593118"/>
              <a:gd name="connsiteX601" fmla="*/ 9728002 w 11490376"/>
              <a:gd name="connsiteY601" fmla="*/ 4771778 h 6593118"/>
              <a:gd name="connsiteX602" fmla="*/ 9759925 w 11490376"/>
              <a:gd name="connsiteY602" fmla="*/ 4757034 h 6593118"/>
              <a:gd name="connsiteX603" fmla="*/ 9786936 w 11490376"/>
              <a:gd name="connsiteY603" fmla="*/ 4730003 h 6593118"/>
              <a:gd name="connsiteX604" fmla="*/ 9796758 w 11490376"/>
              <a:gd name="connsiteY604" fmla="*/ 4695599 h 6593118"/>
              <a:gd name="connsiteX605" fmla="*/ 9850782 w 11490376"/>
              <a:gd name="connsiteY605" fmla="*/ 4683313 h 6593118"/>
              <a:gd name="connsiteX606" fmla="*/ 9872883 w 11490376"/>
              <a:gd name="connsiteY606" fmla="*/ 4710344 h 6593118"/>
              <a:gd name="connsiteX607" fmla="*/ 9890072 w 11490376"/>
              <a:gd name="connsiteY607" fmla="*/ 4739832 h 6593118"/>
              <a:gd name="connsiteX608" fmla="*/ 9931817 w 11490376"/>
              <a:gd name="connsiteY608" fmla="*/ 4730003 h 6593118"/>
              <a:gd name="connsiteX609" fmla="*/ 9936729 w 11490376"/>
              <a:gd name="connsiteY609" fmla="*/ 4693142 h 6593118"/>
              <a:gd name="connsiteX610" fmla="*/ 9941641 w 11490376"/>
              <a:gd name="connsiteY610" fmla="*/ 4673483 h 6593118"/>
              <a:gd name="connsiteX611" fmla="*/ 9968652 w 11490376"/>
              <a:gd name="connsiteY611" fmla="*/ 4639080 h 6593118"/>
              <a:gd name="connsiteX612" fmla="*/ 10034953 w 11490376"/>
              <a:gd name="connsiteY612" fmla="*/ 4629251 h 6593118"/>
              <a:gd name="connsiteX613" fmla="*/ 10027586 w 11490376"/>
              <a:gd name="connsiteY613" fmla="*/ 4597305 h 6593118"/>
              <a:gd name="connsiteX614" fmla="*/ 10000575 w 11490376"/>
              <a:gd name="connsiteY614" fmla="*/ 4585018 h 6593118"/>
              <a:gd name="connsiteX615" fmla="*/ 10005487 w 11490376"/>
              <a:gd name="connsiteY615" fmla="*/ 4570274 h 6593118"/>
              <a:gd name="connsiteX616" fmla="*/ 10061966 w 11490376"/>
              <a:gd name="connsiteY616" fmla="*/ 4577646 h 6593118"/>
              <a:gd name="connsiteX617" fmla="*/ 10113533 w 11490376"/>
              <a:gd name="connsiteY617" fmla="*/ 4604677 h 6593118"/>
              <a:gd name="connsiteX618" fmla="*/ 10160190 w 11490376"/>
              <a:gd name="connsiteY618" fmla="*/ 4609591 h 6593118"/>
              <a:gd name="connsiteX619" fmla="*/ 10206847 w 11490376"/>
              <a:gd name="connsiteY619" fmla="*/ 4616964 h 6593118"/>
              <a:gd name="connsiteX620" fmla="*/ 10192113 w 11490376"/>
              <a:gd name="connsiteY620" fmla="*/ 4661197 h 6593118"/>
              <a:gd name="connsiteX621" fmla="*/ 10170012 w 11490376"/>
              <a:gd name="connsiteY621" fmla="*/ 4668568 h 6593118"/>
              <a:gd name="connsiteX622" fmla="*/ 10162645 w 11490376"/>
              <a:gd name="connsiteY622" fmla="*/ 4700514 h 6593118"/>
              <a:gd name="connsiteX623" fmla="*/ 10147911 w 11490376"/>
              <a:gd name="connsiteY623" fmla="*/ 4737374 h 6593118"/>
              <a:gd name="connsiteX624" fmla="*/ 10174924 w 11490376"/>
              <a:gd name="connsiteY624" fmla="*/ 4747204 h 6593118"/>
              <a:gd name="connsiteX625" fmla="*/ 10204392 w 11490376"/>
              <a:gd name="connsiteY625" fmla="*/ 4776692 h 6593118"/>
              <a:gd name="connsiteX626" fmla="*/ 10251047 w 11490376"/>
              <a:gd name="connsiteY626" fmla="*/ 4793894 h 6593118"/>
              <a:gd name="connsiteX627" fmla="*/ 10287882 w 11490376"/>
              <a:gd name="connsiteY627" fmla="*/ 4825840 h 6593118"/>
              <a:gd name="connsiteX628" fmla="*/ 10329627 w 11490376"/>
              <a:gd name="connsiteY628" fmla="*/ 4825840 h 6593118"/>
              <a:gd name="connsiteX629" fmla="*/ 10341906 w 11490376"/>
              <a:gd name="connsiteY629" fmla="*/ 4803723 h 6593118"/>
              <a:gd name="connsiteX630" fmla="*/ 10364007 w 11490376"/>
              <a:gd name="connsiteY630" fmla="*/ 4766863 h 6593118"/>
              <a:gd name="connsiteX631" fmla="*/ 10361550 w 11490376"/>
              <a:gd name="connsiteY631" fmla="*/ 4621878 h 6593118"/>
              <a:gd name="connsiteX632" fmla="*/ 10381196 w 11490376"/>
              <a:gd name="connsiteY632" fmla="*/ 4594847 h 6593118"/>
              <a:gd name="connsiteX633" fmla="*/ 6560571 w 11490376"/>
              <a:gd name="connsiteY633" fmla="*/ 4546430 h 6593118"/>
              <a:gd name="connsiteX634" fmla="*/ 6564712 w 11490376"/>
              <a:gd name="connsiteY634" fmla="*/ 4548950 h 6593118"/>
              <a:gd name="connsiteX635" fmla="*/ 6562159 w 11490376"/>
              <a:gd name="connsiteY635" fmla="*/ 4547107 h 6593118"/>
              <a:gd name="connsiteX636" fmla="*/ 6544370 w 11490376"/>
              <a:gd name="connsiteY636" fmla="*/ 4538956 h 6593118"/>
              <a:gd name="connsiteX637" fmla="*/ 6544370 w 11490376"/>
              <a:gd name="connsiteY637" fmla="*/ 4543201 h 6593118"/>
              <a:gd name="connsiteX638" fmla="*/ 6544973 w 11490376"/>
              <a:gd name="connsiteY638" fmla="*/ 4539786 h 6593118"/>
              <a:gd name="connsiteX639" fmla="*/ 6544884 w 11490376"/>
              <a:gd name="connsiteY639" fmla="*/ 4539748 h 6593118"/>
              <a:gd name="connsiteX640" fmla="*/ 9769610 w 11490376"/>
              <a:gd name="connsiteY640" fmla="*/ 4513122 h 6593118"/>
              <a:gd name="connsiteX641" fmla="*/ 9769610 w 11490376"/>
              <a:gd name="connsiteY641" fmla="*/ 4526259 h 6593118"/>
              <a:gd name="connsiteX642" fmla="*/ 9749006 w 11490376"/>
              <a:gd name="connsiteY642" fmla="*/ 4549910 h 6593118"/>
              <a:gd name="connsiteX643" fmla="*/ 9728402 w 11490376"/>
              <a:gd name="connsiteY643" fmla="*/ 4549910 h 6593118"/>
              <a:gd name="connsiteX644" fmla="*/ 9743855 w 11490376"/>
              <a:gd name="connsiteY644" fmla="*/ 4518377 h 6593118"/>
              <a:gd name="connsiteX645" fmla="*/ 9640422 w 11490376"/>
              <a:gd name="connsiteY645" fmla="*/ 4513122 h 6593118"/>
              <a:gd name="connsiteX646" fmla="*/ 9629997 w 11490376"/>
              <a:gd name="connsiteY646" fmla="*/ 4534143 h 6593118"/>
              <a:gd name="connsiteX647" fmla="*/ 9588299 w 11490376"/>
              <a:gd name="connsiteY647" fmla="*/ 4549910 h 6593118"/>
              <a:gd name="connsiteX648" fmla="*/ 9596117 w 11490376"/>
              <a:gd name="connsiteY648" fmla="*/ 4518377 h 6593118"/>
              <a:gd name="connsiteX649" fmla="*/ 6483214 w 11490376"/>
              <a:gd name="connsiteY649" fmla="*/ 4480917 h 6593118"/>
              <a:gd name="connsiteX650" fmla="*/ 6490397 w 11490376"/>
              <a:gd name="connsiteY650" fmla="*/ 4489705 h 6593118"/>
              <a:gd name="connsiteX651" fmla="*/ 6505114 w 11490376"/>
              <a:gd name="connsiteY651" fmla="*/ 4496018 h 6593118"/>
              <a:gd name="connsiteX652" fmla="*/ 6490588 w 11490376"/>
              <a:gd name="connsiteY652" fmla="*/ 4488244 h 6593118"/>
              <a:gd name="connsiteX653" fmla="*/ 6401136 w 11490376"/>
              <a:gd name="connsiteY653" fmla="*/ 4479502 h 6593118"/>
              <a:gd name="connsiteX654" fmla="*/ 6400737 w 11490376"/>
              <a:gd name="connsiteY654" fmla="*/ 4479649 h 6593118"/>
              <a:gd name="connsiteX655" fmla="*/ 6388511 w 11490376"/>
              <a:gd name="connsiteY655" fmla="*/ 4504293 h 6593118"/>
              <a:gd name="connsiteX656" fmla="*/ 6378730 w 11490376"/>
              <a:gd name="connsiteY656" fmla="*/ 4612726 h 6593118"/>
              <a:gd name="connsiteX657" fmla="*/ 6393401 w 11490376"/>
              <a:gd name="connsiteY657" fmla="*/ 4627512 h 6593118"/>
              <a:gd name="connsiteX658" fmla="*/ 6417854 w 11490376"/>
              <a:gd name="connsiteY658" fmla="*/ 4629976 h 6593118"/>
              <a:gd name="connsiteX659" fmla="*/ 6425190 w 11490376"/>
              <a:gd name="connsiteY659" fmla="*/ 4674334 h 6593118"/>
              <a:gd name="connsiteX660" fmla="*/ 6415646 w 11490376"/>
              <a:gd name="connsiteY660" fmla="*/ 4695974 h 6593118"/>
              <a:gd name="connsiteX661" fmla="*/ 6416798 w 11490376"/>
              <a:gd name="connsiteY661" fmla="*/ 4695974 h 6593118"/>
              <a:gd name="connsiteX662" fmla="*/ 6426612 w 11490376"/>
              <a:gd name="connsiteY662" fmla="*/ 4671418 h 6593118"/>
              <a:gd name="connsiteX663" fmla="*/ 6419252 w 11490376"/>
              <a:gd name="connsiteY663" fmla="*/ 4627218 h 6593118"/>
              <a:gd name="connsiteX664" fmla="*/ 6394719 w 11490376"/>
              <a:gd name="connsiteY664" fmla="*/ 4627218 h 6593118"/>
              <a:gd name="connsiteX665" fmla="*/ 6379999 w 11490376"/>
              <a:gd name="connsiteY665" fmla="*/ 4612484 h 6593118"/>
              <a:gd name="connsiteX666" fmla="*/ 6389811 w 11490376"/>
              <a:gd name="connsiteY666" fmla="*/ 4504439 h 6593118"/>
              <a:gd name="connsiteX667" fmla="*/ 5998005 w 11490376"/>
              <a:gd name="connsiteY667" fmla="*/ 4469792 h 6593118"/>
              <a:gd name="connsiteX668" fmla="*/ 5998148 w 11490376"/>
              <a:gd name="connsiteY668" fmla="*/ 4471084 h 6593118"/>
              <a:gd name="connsiteX669" fmla="*/ 6062023 w 11490376"/>
              <a:gd name="connsiteY669" fmla="*/ 4471084 h 6593118"/>
              <a:gd name="connsiteX670" fmla="*/ 6062103 w 11490376"/>
              <a:gd name="connsiteY670" fmla="*/ 4469792 h 6593118"/>
              <a:gd name="connsiteX671" fmla="*/ 9665050 w 11490376"/>
              <a:gd name="connsiteY671" fmla="*/ 4467137 h 6593118"/>
              <a:gd name="connsiteX672" fmla="*/ 9701868 w 11490376"/>
              <a:gd name="connsiteY672" fmla="*/ 4481151 h 6593118"/>
              <a:gd name="connsiteX673" fmla="*/ 9674868 w 11490376"/>
              <a:gd name="connsiteY673" fmla="*/ 4499837 h 6593118"/>
              <a:gd name="connsiteX674" fmla="*/ 9630689 w 11490376"/>
              <a:gd name="connsiteY674" fmla="*/ 4492829 h 6593118"/>
              <a:gd name="connsiteX675" fmla="*/ 9623325 w 11490376"/>
              <a:gd name="connsiteY675" fmla="*/ 4471808 h 6593118"/>
              <a:gd name="connsiteX676" fmla="*/ 9507886 w 11490376"/>
              <a:gd name="connsiteY676" fmla="*/ 4462757 h 6593118"/>
              <a:gd name="connsiteX677" fmla="*/ 9512847 w 11490376"/>
              <a:gd name="connsiteY677" fmla="*/ 4462757 h 6593118"/>
              <a:gd name="connsiteX678" fmla="*/ 9520291 w 11490376"/>
              <a:gd name="connsiteY678" fmla="*/ 4462757 h 6593118"/>
              <a:gd name="connsiteX679" fmla="*/ 9525254 w 11490376"/>
              <a:gd name="connsiteY679" fmla="*/ 4462757 h 6593118"/>
              <a:gd name="connsiteX680" fmla="*/ 9530215 w 11490376"/>
              <a:gd name="connsiteY680" fmla="*/ 4465283 h 6593118"/>
              <a:gd name="connsiteX681" fmla="*/ 9530215 w 11490376"/>
              <a:gd name="connsiteY681" fmla="*/ 4467811 h 6593118"/>
              <a:gd name="connsiteX682" fmla="*/ 9530215 w 11490376"/>
              <a:gd name="connsiteY682" fmla="*/ 4470337 h 6593118"/>
              <a:gd name="connsiteX683" fmla="*/ 9530215 w 11490376"/>
              <a:gd name="connsiteY683" fmla="*/ 4472864 h 6593118"/>
              <a:gd name="connsiteX684" fmla="*/ 9537658 w 11490376"/>
              <a:gd name="connsiteY684" fmla="*/ 4475390 h 6593118"/>
              <a:gd name="connsiteX685" fmla="*/ 9530215 w 11490376"/>
              <a:gd name="connsiteY685" fmla="*/ 4475390 h 6593118"/>
              <a:gd name="connsiteX686" fmla="*/ 9530215 w 11490376"/>
              <a:gd name="connsiteY686" fmla="*/ 4477917 h 6593118"/>
              <a:gd name="connsiteX687" fmla="*/ 9530215 w 11490376"/>
              <a:gd name="connsiteY687" fmla="*/ 4482970 h 6593118"/>
              <a:gd name="connsiteX688" fmla="*/ 9530215 w 11490376"/>
              <a:gd name="connsiteY688" fmla="*/ 4488024 h 6593118"/>
              <a:gd name="connsiteX689" fmla="*/ 9525254 w 11490376"/>
              <a:gd name="connsiteY689" fmla="*/ 4490551 h 6593118"/>
              <a:gd name="connsiteX690" fmla="*/ 9520291 w 11490376"/>
              <a:gd name="connsiteY690" fmla="*/ 4490551 h 6593118"/>
              <a:gd name="connsiteX691" fmla="*/ 9520291 w 11490376"/>
              <a:gd name="connsiteY691" fmla="*/ 4493077 h 6593118"/>
              <a:gd name="connsiteX692" fmla="*/ 9512847 w 11490376"/>
              <a:gd name="connsiteY692" fmla="*/ 4490551 h 6593118"/>
              <a:gd name="connsiteX693" fmla="*/ 9507886 w 11490376"/>
              <a:gd name="connsiteY693" fmla="*/ 4490551 h 6593118"/>
              <a:gd name="connsiteX694" fmla="*/ 9502923 w 11490376"/>
              <a:gd name="connsiteY694" fmla="*/ 4488024 h 6593118"/>
              <a:gd name="connsiteX695" fmla="*/ 9502923 w 11490376"/>
              <a:gd name="connsiteY695" fmla="*/ 4482970 h 6593118"/>
              <a:gd name="connsiteX696" fmla="*/ 9502923 w 11490376"/>
              <a:gd name="connsiteY696" fmla="*/ 4477917 h 6593118"/>
              <a:gd name="connsiteX697" fmla="*/ 9502923 w 11490376"/>
              <a:gd name="connsiteY697" fmla="*/ 4475390 h 6593118"/>
              <a:gd name="connsiteX698" fmla="*/ 9502923 w 11490376"/>
              <a:gd name="connsiteY698" fmla="*/ 4472864 h 6593118"/>
              <a:gd name="connsiteX699" fmla="*/ 9502923 w 11490376"/>
              <a:gd name="connsiteY699" fmla="*/ 4470337 h 6593118"/>
              <a:gd name="connsiteX700" fmla="*/ 9502923 w 11490376"/>
              <a:gd name="connsiteY700" fmla="*/ 4467811 h 6593118"/>
              <a:gd name="connsiteX701" fmla="*/ 9502923 w 11490376"/>
              <a:gd name="connsiteY701" fmla="*/ 4465283 h 6593118"/>
              <a:gd name="connsiteX702" fmla="*/ 9463832 w 11490376"/>
              <a:gd name="connsiteY702" fmla="*/ 4462757 h 6593118"/>
              <a:gd name="connsiteX703" fmla="*/ 9466178 w 11490376"/>
              <a:gd name="connsiteY703" fmla="*/ 4462757 h 6593118"/>
              <a:gd name="connsiteX704" fmla="*/ 9468523 w 11490376"/>
              <a:gd name="connsiteY704" fmla="*/ 4462757 h 6593118"/>
              <a:gd name="connsiteX705" fmla="*/ 9475560 w 11490376"/>
              <a:gd name="connsiteY705" fmla="*/ 4462757 h 6593118"/>
              <a:gd name="connsiteX706" fmla="*/ 9477905 w 11490376"/>
              <a:gd name="connsiteY706" fmla="*/ 4462757 h 6593118"/>
              <a:gd name="connsiteX707" fmla="*/ 9480251 w 11490376"/>
              <a:gd name="connsiteY707" fmla="*/ 4462757 h 6593118"/>
              <a:gd name="connsiteX708" fmla="*/ 9482596 w 11490376"/>
              <a:gd name="connsiteY708" fmla="*/ 4465283 h 6593118"/>
              <a:gd name="connsiteX709" fmla="*/ 9484942 w 11490376"/>
              <a:gd name="connsiteY709" fmla="*/ 4465283 h 6593118"/>
              <a:gd name="connsiteX710" fmla="*/ 9484942 w 11490376"/>
              <a:gd name="connsiteY710" fmla="*/ 4467811 h 6593118"/>
              <a:gd name="connsiteX711" fmla="*/ 9484942 w 11490376"/>
              <a:gd name="connsiteY711" fmla="*/ 4470337 h 6593118"/>
              <a:gd name="connsiteX712" fmla="*/ 9489633 w 11490376"/>
              <a:gd name="connsiteY712" fmla="*/ 4470337 h 6593118"/>
              <a:gd name="connsiteX713" fmla="*/ 9489633 w 11490376"/>
              <a:gd name="connsiteY713" fmla="*/ 4472864 h 6593118"/>
              <a:gd name="connsiteX714" fmla="*/ 9489633 w 11490376"/>
              <a:gd name="connsiteY714" fmla="*/ 4475390 h 6593118"/>
              <a:gd name="connsiteX715" fmla="*/ 9489633 w 11490376"/>
              <a:gd name="connsiteY715" fmla="*/ 4477917 h 6593118"/>
              <a:gd name="connsiteX716" fmla="*/ 9489633 w 11490376"/>
              <a:gd name="connsiteY716" fmla="*/ 4482970 h 6593118"/>
              <a:gd name="connsiteX717" fmla="*/ 9484942 w 11490376"/>
              <a:gd name="connsiteY717" fmla="*/ 4482970 h 6593118"/>
              <a:gd name="connsiteX718" fmla="*/ 9482596 w 11490376"/>
              <a:gd name="connsiteY718" fmla="*/ 4488024 h 6593118"/>
              <a:gd name="connsiteX719" fmla="*/ 9480251 w 11490376"/>
              <a:gd name="connsiteY719" fmla="*/ 4490551 h 6593118"/>
              <a:gd name="connsiteX720" fmla="*/ 9477905 w 11490376"/>
              <a:gd name="connsiteY720" fmla="*/ 4490551 h 6593118"/>
              <a:gd name="connsiteX721" fmla="*/ 9475560 w 11490376"/>
              <a:gd name="connsiteY721" fmla="*/ 4490551 h 6593118"/>
              <a:gd name="connsiteX722" fmla="*/ 9475560 w 11490376"/>
              <a:gd name="connsiteY722" fmla="*/ 4493077 h 6593118"/>
              <a:gd name="connsiteX723" fmla="*/ 9468523 w 11490376"/>
              <a:gd name="connsiteY723" fmla="*/ 4490551 h 6593118"/>
              <a:gd name="connsiteX724" fmla="*/ 9466178 w 11490376"/>
              <a:gd name="connsiteY724" fmla="*/ 4490551 h 6593118"/>
              <a:gd name="connsiteX725" fmla="*/ 9463832 w 11490376"/>
              <a:gd name="connsiteY725" fmla="*/ 4490551 h 6593118"/>
              <a:gd name="connsiteX726" fmla="*/ 9463832 w 11490376"/>
              <a:gd name="connsiteY726" fmla="*/ 4488024 h 6593118"/>
              <a:gd name="connsiteX727" fmla="*/ 9461487 w 11490376"/>
              <a:gd name="connsiteY727" fmla="*/ 4482970 h 6593118"/>
              <a:gd name="connsiteX728" fmla="*/ 9459141 w 11490376"/>
              <a:gd name="connsiteY728" fmla="*/ 4482970 h 6593118"/>
              <a:gd name="connsiteX729" fmla="*/ 9459141 w 11490376"/>
              <a:gd name="connsiteY729" fmla="*/ 4477917 h 6593118"/>
              <a:gd name="connsiteX730" fmla="*/ 9459141 w 11490376"/>
              <a:gd name="connsiteY730" fmla="*/ 4475390 h 6593118"/>
              <a:gd name="connsiteX731" fmla="*/ 9459141 w 11490376"/>
              <a:gd name="connsiteY731" fmla="*/ 4472864 h 6593118"/>
              <a:gd name="connsiteX732" fmla="*/ 9459141 w 11490376"/>
              <a:gd name="connsiteY732" fmla="*/ 4470337 h 6593118"/>
              <a:gd name="connsiteX733" fmla="*/ 9461487 w 11490376"/>
              <a:gd name="connsiteY733" fmla="*/ 4470337 h 6593118"/>
              <a:gd name="connsiteX734" fmla="*/ 9461487 w 11490376"/>
              <a:gd name="connsiteY734" fmla="*/ 4467811 h 6593118"/>
              <a:gd name="connsiteX735" fmla="*/ 9461487 w 11490376"/>
              <a:gd name="connsiteY735" fmla="*/ 4465283 h 6593118"/>
              <a:gd name="connsiteX736" fmla="*/ 9463832 w 11490376"/>
              <a:gd name="connsiteY736" fmla="*/ 4465283 h 6593118"/>
              <a:gd name="connsiteX737" fmla="*/ 2821494 w 11490376"/>
              <a:gd name="connsiteY737" fmla="*/ 4452225 h 6593118"/>
              <a:gd name="connsiteX738" fmla="*/ 2817277 w 11490376"/>
              <a:gd name="connsiteY738" fmla="*/ 4454572 h 6593118"/>
              <a:gd name="connsiteX739" fmla="*/ 2820380 w 11490376"/>
              <a:gd name="connsiteY739" fmla="*/ 4453021 h 6593118"/>
              <a:gd name="connsiteX740" fmla="*/ 9564657 w 11490376"/>
              <a:gd name="connsiteY740" fmla="*/ 4451809 h 6593118"/>
              <a:gd name="connsiteX741" fmla="*/ 9577061 w 11490376"/>
              <a:gd name="connsiteY741" fmla="*/ 4464126 h 6593118"/>
              <a:gd name="connsiteX742" fmla="*/ 9574581 w 11490376"/>
              <a:gd name="connsiteY742" fmla="*/ 4488761 h 6593118"/>
              <a:gd name="connsiteX743" fmla="*/ 9542327 w 11490376"/>
              <a:gd name="connsiteY743" fmla="*/ 4478906 h 6593118"/>
              <a:gd name="connsiteX744" fmla="*/ 9547289 w 11490376"/>
              <a:gd name="connsiteY744" fmla="*/ 4464126 h 6593118"/>
              <a:gd name="connsiteX745" fmla="*/ 6436145 w 11490376"/>
              <a:gd name="connsiteY745" fmla="*/ 4446342 h 6593118"/>
              <a:gd name="connsiteX746" fmla="*/ 6435117 w 11490376"/>
              <a:gd name="connsiteY746" fmla="*/ 4446436 h 6593118"/>
              <a:gd name="connsiteX747" fmla="*/ 6434971 w 11490376"/>
              <a:gd name="connsiteY747" fmla="*/ 4447612 h 6593118"/>
              <a:gd name="connsiteX748" fmla="*/ 6428262 w 11490376"/>
              <a:gd name="connsiteY748" fmla="*/ 4467897 h 6593118"/>
              <a:gd name="connsiteX749" fmla="*/ 6429064 w 11490376"/>
              <a:gd name="connsiteY749" fmla="*/ 4467605 h 6593118"/>
              <a:gd name="connsiteX750" fmla="*/ 6080403 w 11490376"/>
              <a:gd name="connsiteY750" fmla="*/ 4415575 h 6593118"/>
              <a:gd name="connsiteX751" fmla="*/ 6065732 w 11490376"/>
              <a:gd name="connsiteY751" fmla="*/ 4430362 h 6593118"/>
              <a:gd name="connsiteX752" fmla="*/ 6065724 w 11490376"/>
              <a:gd name="connsiteY752" fmla="*/ 4430486 h 6593118"/>
              <a:gd name="connsiteX753" fmla="*/ 6079219 w 11490376"/>
              <a:gd name="connsiteY753" fmla="*/ 4416976 h 6593118"/>
              <a:gd name="connsiteX754" fmla="*/ 6098873 w 11490376"/>
              <a:gd name="connsiteY754" fmla="*/ 4461246 h 6593118"/>
              <a:gd name="connsiteX755" fmla="*/ 6113613 w 11490376"/>
              <a:gd name="connsiteY755" fmla="*/ 4448949 h 6593118"/>
              <a:gd name="connsiteX756" fmla="*/ 6135722 w 11490376"/>
              <a:gd name="connsiteY756" fmla="*/ 4444030 h 6593118"/>
              <a:gd name="connsiteX757" fmla="*/ 6150463 w 11490376"/>
              <a:gd name="connsiteY757" fmla="*/ 4466165 h 6593118"/>
              <a:gd name="connsiteX758" fmla="*/ 6152919 w 11490376"/>
              <a:gd name="connsiteY758" fmla="*/ 4544868 h 6593118"/>
              <a:gd name="connsiteX759" fmla="*/ 6152919 w 11490376"/>
              <a:gd name="connsiteY759" fmla="*/ 4574381 h 6593118"/>
              <a:gd name="connsiteX760" fmla="*/ 6168634 w 11490376"/>
              <a:gd name="connsiteY760" fmla="*/ 4586617 h 6593118"/>
              <a:gd name="connsiteX761" fmla="*/ 6153763 w 11490376"/>
              <a:gd name="connsiteY761" fmla="*/ 4573296 h 6593118"/>
              <a:gd name="connsiteX762" fmla="*/ 6153763 w 11490376"/>
              <a:gd name="connsiteY762" fmla="*/ 4543723 h 6593118"/>
              <a:gd name="connsiteX763" fmla="*/ 6151318 w 11490376"/>
              <a:gd name="connsiteY763" fmla="*/ 4464863 h 6593118"/>
              <a:gd name="connsiteX764" fmla="*/ 6136646 w 11490376"/>
              <a:gd name="connsiteY764" fmla="*/ 4442683 h 6593118"/>
              <a:gd name="connsiteX765" fmla="*/ 6114638 w 11490376"/>
              <a:gd name="connsiteY765" fmla="*/ 4447612 h 6593118"/>
              <a:gd name="connsiteX766" fmla="*/ 6099967 w 11490376"/>
              <a:gd name="connsiteY766" fmla="*/ 4459934 h 6593118"/>
              <a:gd name="connsiteX767" fmla="*/ 9205933 w 11490376"/>
              <a:gd name="connsiteY767" fmla="*/ 4362028 h 6593118"/>
              <a:gd name="connsiteX768" fmla="*/ 9258034 w 11490376"/>
              <a:gd name="connsiteY768" fmla="*/ 4381831 h 6593118"/>
              <a:gd name="connsiteX769" fmla="*/ 9310134 w 11490376"/>
              <a:gd name="connsiteY769" fmla="*/ 4384306 h 6593118"/>
              <a:gd name="connsiteX770" fmla="*/ 9339907 w 11490376"/>
              <a:gd name="connsiteY770" fmla="*/ 4404110 h 6593118"/>
              <a:gd name="connsiteX771" fmla="*/ 9379603 w 11490376"/>
              <a:gd name="connsiteY771" fmla="*/ 4406585 h 6593118"/>
              <a:gd name="connsiteX772" fmla="*/ 9411855 w 11490376"/>
              <a:gd name="connsiteY772" fmla="*/ 4404110 h 6593118"/>
              <a:gd name="connsiteX773" fmla="*/ 9406894 w 11490376"/>
              <a:gd name="connsiteY773" fmla="*/ 4431339 h 6593118"/>
              <a:gd name="connsiteX774" fmla="*/ 9439147 w 11490376"/>
              <a:gd name="connsiteY774" fmla="*/ 4446191 h 6593118"/>
              <a:gd name="connsiteX775" fmla="*/ 9436666 w 11490376"/>
              <a:gd name="connsiteY775" fmla="*/ 4473420 h 6593118"/>
              <a:gd name="connsiteX776" fmla="*/ 9411855 w 11490376"/>
              <a:gd name="connsiteY776" fmla="*/ 4473420 h 6593118"/>
              <a:gd name="connsiteX777" fmla="*/ 9384565 w 11490376"/>
              <a:gd name="connsiteY777" fmla="*/ 4473420 h 6593118"/>
              <a:gd name="connsiteX778" fmla="*/ 9280362 w 11490376"/>
              <a:gd name="connsiteY778" fmla="*/ 4473420 h 6593118"/>
              <a:gd name="connsiteX779" fmla="*/ 9275401 w 11490376"/>
              <a:gd name="connsiteY779" fmla="*/ 4451142 h 6593118"/>
              <a:gd name="connsiteX780" fmla="*/ 9218338 w 11490376"/>
              <a:gd name="connsiteY780" fmla="*/ 4451142 h 6593118"/>
              <a:gd name="connsiteX781" fmla="*/ 9193528 w 11490376"/>
              <a:gd name="connsiteY781" fmla="*/ 4438766 h 6593118"/>
              <a:gd name="connsiteX782" fmla="*/ 9126541 w 11490376"/>
              <a:gd name="connsiteY782" fmla="*/ 4438766 h 6593118"/>
              <a:gd name="connsiteX783" fmla="*/ 9106693 w 11490376"/>
              <a:gd name="connsiteY783" fmla="*/ 4404110 h 6593118"/>
              <a:gd name="connsiteX784" fmla="*/ 9126541 w 11490376"/>
              <a:gd name="connsiteY784" fmla="*/ 4379356 h 6593118"/>
              <a:gd name="connsiteX785" fmla="*/ 9153832 w 11490376"/>
              <a:gd name="connsiteY785" fmla="*/ 4366978 h 6593118"/>
              <a:gd name="connsiteX786" fmla="*/ 2640978 w 11490376"/>
              <a:gd name="connsiteY786" fmla="*/ 4362017 h 6593118"/>
              <a:gd name="connsiteX787" fmla="*/ 2613818 w 11490376"/>
              <a:gd name="connsiteY787" fmla="*/ 4382130 h 6593118"/>
              <a:gd name="connsiteX788" fmla="*/ 2614523 w 11490376"/>
              <a:gd name="connsiteY788" fmla="*/ 4382839 h 6593118"/>
              <a:gd name="connsiteX789" fmla="*/ 2923814 w 11490376"/>
              <a:gd name="connsiteY789" fmla="*/ 4359201 h 6593118"/>
              <a:gd name="connsiteX790" fmla="*/ 2896215 w 11490376"/>
              <a:gd name="connsiteY790" fmla="*/ 4373024 h 6593118"/>
              <a:gd name="connsiteX791" fmla="*/ 2876023 w 11490376"/>
              <a:gd name="connsiteY791" fmla="*/ 4367968 h 6593118"/>
              <a:gd name="connsiteX792" fmla="*/ 2896651 w 11490376"/>
              <a:gd name="connsiteY792" fmla="*/ 4374313 h 6593118"/>
              <a:gd name="connsiteX793" fmla="*/ 2923712 w 11490376"/>
              <a:gd name="connsiteY793" fmla="*/ 4359555 h 6593118"/>
              <a:gd name="connsiteX794" fmla="*/ 10819625 w 11490376"/>
              <a:gd name="connsiteY794" fmla="*/ 4322612 h 6593118"/>
              <a:gd name="connsiteX795" fmla="*/ 10824421 w 11490376"/>
              <a:gd name="connsiteY795" fmla="*/ 4322612 h 6593118"/>
              <a:gd name="connsiteX796" fmla="*/ 10826818 w 11490376"/>
              <a:gd name="connsiteY796" fmla="*/ 4322612 h 6593118"/>
              <a:gd name="connsiteX797" fmla="*/ 10831614 w 11490376"/>
              <a:gd name="connsiteY797" fmla="*/ 4322612 h 6593118"/>
              <a:gd name="connsiteX798" fmla="*/ 10834011 w 11490376"/>
              <a:gd name="connsiteY798" fmla="*/ 4322612 h 6593118"/>
              <a:gd name="connsiteX799" fmla="*/ 10838806 w 11490376"/>
              <a:gd name="connsiteY799" fmla="*/ 4322612 h 6593118"/>
              <a:gd name="connsiteX800" fmla="*/ 10843601 w 11490376"/>
              <a:gd name="connsiteY800" fmla="*/ 4325076 h 6593118"/>
              <a:gd name="connsiteX801" fmla="*/ 10845999 w 11490376"/>
              <a:gd name="connsiteY801" fmla="*/ 4325076 h 6593118"/>
              <a:gd name="connsiteX802" fmla="*/ 10848396 w 11490376"/>
              <a:gd name="connsiteY802" fmla="*/ 4327540 h 6593118"/>
              <a:gd name="connsiteX803" fmla="*/ 10850794 w 11490376"/>
              <a:gd name="connsiteY803" fmla="*/ 4330002 h 6593118"/>
              <a:gd name="connsiteX804" fmla="*/ 10850794 w 11490376"/>
              <a:gd name="connsiteY804" fmla="*/ 4332466 h 6593118"/>
              <a:gd name="connsiteX805" fmla="*/ 10853192 w 11490376"/>
              <a:gd name="connsiteY805" fmla="*/ 4332466 h 6593118"/>
              <a:gd name="connsiteX806" fmla="*/ 10855589 w 11490376"/>
              <a:gd name="connsiteY806" fmla="*/ 4334929 h 6593118"/>
              <a:gd name="connsiteX807" fmla="*/ 10855589 w 11490376"/>
              <a:gd name="connsiteY807" fmla="*/ 4337393 h 6593118"/>
              <a:gd name="connsiteX808" fmla="*/ 10855589 w 11490376"/>
              <a:gd name="connsiteY808" fmla="*/ 4339857 h 6593118"/>
              <a:gd name="connsiteX809" fmla="*/ 10855589 w 11490376"/>
              <a:gd name="connsiteY809" fmla="*/ 4342320 h 6593118"/>
              <a:gd name="connsiteX810" fmla="*/ 10855589 w 11490376"/>
              <a:gd name="connsiteY810" fmla="*/ 4344784 h 6593118"/>
              <a:gd name="connsiteX811" fmla="*/ 10853192 w 11490376"/>
              <a:gd name="connsiteY811" fmla="*/ 4349710 h 6593118"/>
              <a:gd name="connsiteX812" fmla="*/ 10850794 w 11490376"/>
              <a:gd name="connsiteY812" fmla="*/ 4349710 h 6593118"/>
              <a:gd name="connsiteX813" fmla="*/ 10848396 w 11490376"/>
              <a:gd name="connsiteY813" fmla="*/ 4352174 h 6593118"/>
              <a:gd name="connsiteX814" fmla="*/ 10845999 w 11490376"/>
              <a:gd name="connsiteY814" fmla="*/ 4354637 h 6593118"/>
              <a:gd name="connsiteX815" fmla="*/ 10843601 w 11490376"/>
              <a:gd name="connsiteY815" fmla="*/ 4354637 h 6593118"/>
              <a:gd name="connsiteX816" fmla="*/ 10838806 w 11490376"/>
              <a:gd name="connsiteY816" fmla="*/ 4357101 h 6593118"/>
              <a:gd name="connsiteX817" fmla="*/ 10834011 w 11490376"/>
              <a:gd name="connsiteY817" fmla="*/ 4357101 h 6593118"/>
              <a:gd name="connsiteX818" fmla="*/ 10831614 w 11490376"/>
              <a:gd name="connsiteY818" fmla="*/ 4359565 h 6593118"/>
              <a:gd name="connsiteX819" fmla="*/ 10826818 w 11490376"/>
              <a:gd name="connsiteY819" fmla="*/ 4357101 h 6593118"/>
              <a:gd name="connsiteX820" fmla="*/ 10824421 w 11490376"/>
              <a:gd name="connsiteY820" fmla="*/ 4357101 h 6593118"/>
              <a:gd name="connsiteX821" fmla="*/ 10819625 w 11490376"/>
              <a:gd name="connsiteY821" fmla="*/ 4357101 h 6593118"/>
              <a:gd name="connsiteX822" fmla="*/ 10819625 w 11490376"/>
              <a:gd name="connsiteY822" fmla="*/ 4354637 h 6593118"/>
              <a:gd name="connsiteX823" fmla="*/ 10814829 w 11490376"/>
              <a:gd name="connsiteY823" fmla="*/ 4354637 h 6593118"/>
              <a:gd name="connsiteX824" fmla="*/ 10814829 w 11490376"/>
              <a:gd name="connsiteY824" fmla="*/ 4352174 h 6593118"/>
              <a:gd name="connsiteX825" fmla="*/ 10812432 w 11490376"/>
              <a:gd name="connsiteY825" fmla="*/ 4349710 h 6593118"/>
              <a:gd name="connsiteX826" fmla="*/ 10810035 w 11490376"/>
              <a:gd name="connsiteY826" fmla="*/ 4349710 h 6593118"/>
              <a:gd name="connsiteX827" fmla="*/ 10807636 w 11490376"/>
              <a:gd name="connsiteY827" fmla="*/ 4344784 h 6593118"/>
              <a:gd name="connsiteX828" fmla="*/ 10807636 w 11490376"/>
              <a:gd name="connsiteY828" fmla="*/ 4342320 h 6593118"/>
              <a:gd name="connsiteX829" fmla="*/ 10807636 w 11490376"/>
              <a:gd name="connsiteY829" fmla="*/ 4339857 h 6593118"/>
              <a:gd name="connsiteX830" fmla="*/ 10807636 w 11490376"/>
              <a:gd name="connsiteY830" fmla="*/ 4337393 h 6593118"/>
              <a:gd name="connsiteX831" fmla="*/ 10807636 w 11490376"/>
              <a:gd name="connsiteY831" fmla="*/ 4334929 h 6593118"/>
              <a:gd name="connsiteX832" fmla="*/ 10810035 w 11490376"/>
              <a:gd name="connsiteY832" fmla="*/ 4332466 h 6593118"/>
              <a:gd name="connsiteX833" fmla="*/ 10812432 w 11490376"/>
              <a:gd name="connsiteY833" fmla="*/ 4330002 h 6593118"/>
              <a:gd name="connsiteX834" fmla="*/ 10814829 w 11490376"/>
              <a:gd name="connsiteY834" fmla="*/ 4327540 h 6593118"/>
              <a:gd name="connsiteX835" fmla="*/ 10814829 w 11490376"/>
              <a:gd name="connsiteY835" fmla="*/ 4325076 h 6593118"/>
              <a:gd name="connsiteX836" fmla="*/ 10819625 w 11490376"/>
              <a:gd name="connsiteY836" fmla="*/ 4325076 h 6593118"/>
              <a:gd name="connsiteX837" fmla="*/ 2740466 w 11490376"/>
              <a:gd name="connsiteY837" fmla="*/ 4301699 h 6593118"/>
              <a:gd name="connsiteX838" fmla="*/ 2694996 w 11490376"/>
              <a:gd name="connsiteY838" fmla="*/ 4321854 h 6593118"/>
              <a:gd name="connsiteX839" fmla="*/ 2657303 w 11490376"/>
              <a:gd name="connsiteY839" fmla="*/ 4349898 h 6593118"/>
              <a:gd name="connsiteX840" fmla="*/ 2697802 w 11490376"/>
              <a:gd name="connsiteY840" fmla="*/ 4321500 h 6593118"/>
              <a:gd name="connsiteX841" fmla="*/ 10736784 w 11490376"/>
              <a:gd name="connsiteY841" fmla="*/ 4300714 h 6593118"/>
              <a:gd name="connsiteX842" fmla="*/ 10741697 w 11490376"/>
              <a:gd name="connsiteY842" fmla="*/ 4327721 h 6593118"/>
              <a:gd name="connsiteX843" fmla="*/ 10722049 w 11490376"/>
              <a:gd name="connsiteY843" fmla="*/ 4354728 h 6593118"/>
              <a:gd name="connsiteX844" fmla="*/ 10682750 w 11490376"/>
              <a:gd name="connsiteY844" fmla="*/ 4379280 h 6593118"/>
              <a:gd name="connsiteX845" fmla="*/ 10643453 w 11490376"/>
              <a:gd name="connsiteY845" fmla="*/ 4369459 h 6593118"/>
              <a:gd name="connsiteX846" fmla="*/ 10648366 w 11490376"/>
              <a:gd name="connsiteY846" fmla="*/ 4339997 h 6593118"/>
              <a:gd name="connsiteX847" fmla="*/ 10702399 w 11490376"/>
              <a:gd name="connsiteY847" fmla="*/ 4327721 h 6593118"/>
              <a:gd name="connsiteX848" fmla="*/ 10707312 w 11490376"/>
              <a:gd name="connsiteY848" fmla="*/ 4303169 h 6593118"/>
              <a:gd name="connsiteX849" fmla="*/ 6407416 w 11490376"/>
              <a:gd name="connsiteY849" fmla="*/ 4256236 h 6593118"/>
              <a:gd name="connsiteX850" fmla="*/ 6400737 w 11490376"/>
              <a:gd name="connsiteY850" fmla="*/ 4289893 h 6593118"/>
              <a:gd name="connsiteX851" fmla="*/ 6403181 w 11490376"/>
              <a:gd name="connsiteY851" fmla="*/ 4291945 h 6593118"/>
              <a:gd name="connsiteX852" fmla="*/ 5786090 w 11490376"/>
              <a:gd name="connsiteY852" fmla="*/ 4253200 h 6593118"/>
              <a:gd name="connsiteX853" fmla="*/ 5787028 w 11490376"/>
              <a:gd name="connsiteY853" fmla="*/ 4256958 h 6593118"/>
              <a:gd name="connsiteX854" fmla="*/ 5801389 w 11490376"/>
              <a:gd name="connsiteY854" fmla="*/ 4267227 h 6593118"/>
              <a:gd name="connsiteX855" fmla="*/ 5801703 w 11490376"/>
              <a:gd name="connsiteY855" fmla="*/ 4266479 h 6593118"/>
              <a:gd name="connsiteX856" fmla="*/ 5782349 w 11490376"/>
              <a:gd name="connsiteY856" fmla="*/ 4237242 h 6593118"/>
              <a:gd name="connsiteX857" fmla="*/ 5782132 w 11490376"/>
              <a:gd name="connsiteY857" fmla="*/ 4237351 h 6593118"/>
              <a:gd name="connsiteX858" fmla="*/ 5782680 w 11490376"/>
              <a:gd name="connsiteY858" fmla="*/ 4239541 h 6593118"/>
              <a:gd name="connsiteX859" fmla="*/ 6449545 w 11490376"/>
              <a:gd name="connsiteY859" fmla="*/ 4237220 h 6593118"/>
              <a:gd name="connsiteX860" fmla="*/ 6449375 w 11490376"/>
              <a:gd name="connsiteY860" fmla="*/ 4237458 h 6593118"/>
              <a:gd name="connsiteX861" fmla="*/ 6457512 w 11490376"/>
              <a:gd name="connsiteY861" fmla="*/ 4252464 h 6593118"/>
              <a:gd name="connsiteX862" fmla="*/ 6459739 w 11490376"/>
              <a:gd name="connsiteY862" fmla="*/ 4294717 h 6593118"/>
              <a:gd name="connsiteX863" fmla="*/ 6460972 w 11490376"/>
              <a:gd name="connsiteY863" fmla="*/ 4294495 h 6593118"/>
              <a:gd name="connsiteX864" fmla="*/ 6458504 w 11490376"/>
              <a:gd name="connsiteY864" fmla="*/ 4252800 h 6593118"/>
              <a:gd name="connsiteX865" fmla="*/ 9958885 w 11490376"/>
              <a:gd name="connsiteY865" fmla="*/ 4235021 h 6593118"/>
              <a:gd name="connsiteX866" fmla="*/ 9986404 w 11490376"/>
              <a:gd name="connsiteY866" fmla="*/ 4235021 h 6593118"/>
              <a:gd name="connsiteX867" fmla="*/ 10001416 w 11490376"/>
              <a:gd name="connsiteY867" fmla="*/ 4255823 h 6593118"/>
              <a:gd name="connsiteX868" fmla="*/ 10003918 w 11490376"/>
              <a:gd name="connsiteY868" fmla="*/ 4274314 h 6593118"/>
              <a:gd name="connsiteX869" fmla="*/ 9976398 w 11490376"/>
              <a:gd name="connsiteY869" fmla="*/ 4262757 h 6593118"/>
              <a:gd name="connsiteX870" fmla="*/ 9948878 w 11490376"/>
              <a:gd name="connsiteY870" fmla="*/ 4255823 h 6593118"/>
              <a:gd name="connsiteX871" fmla="*/ 9918855 w 11490376"/>
              <a:gd name="connsiteY871" fmla="*/ 4262757 h 6593118"/>
              <a:gd name="connsiteX872" fmla="*/ 9928863 w 11490376"/>
              <a:gd name="connsiteY872" fmla="*/ 4241955 h 6593118"/>
              <a:gd name="connsiteX873" fmla="*/ 5826198 w 11490376"/>
              <a:gd name="connsiteY873" fmla="*/ 4220194 h 6593118"/>
              <a:gd name="connsiteX874" fmla="*/ 5824459 w 11490376"/>
              <a:gd name="connsiteY874" fmla="*/ 4220628 h 6593118"/>
              <a:gd name="connsiteX875" fmla="*/ 5843615 w 11490376"/>
              <a:gd name="connsiteY875" fmla="*/ 4242013 h 6593118"/>
              <a:gd name="connsiteX876" fmla="*/ 5843629 w 11490376"/>
              <a:gd name="connsiteY876" fmla="*/ 4242009 h 6593118"/>
              <a:gd name="connsiteX877" fmla="*/ 6618923 w 11490376"/>
              <a:gd name="connsiteY877" fmla="*/ 4207302 h 6593118"/>
              <a:gd name="connsiteX878" fmla="*/ 6668282 w 11490376"/>
              <a:gd name="connsiteY878" fmla="*/ 4247896 h 6593118"/>
              <a:gd name="connsiteX879" fmla="*/ 6705303 w 11490376"/>
              <a:gd name="connsiteY879" fmla="*/ 4257707 h 6593118"/>
              <a:gd name="connsiteX880" fmla="*/ 6706893 w 11490376"/>
              <a:gd name="connsiteY880" fmla="*/ 4278255 h 6593118"/>
              <a:gd name="connsiteX881" fmla="*/ 6706893 w 11490376"/>
              <a:gd name="connsiteY881" fmla="*/ 4257324 h 6593118"/>
              <a:gd name="connsiteX882" fmla="*/ 6667339 w 11490376"/>
              <a:gd name="connsiteY882" fmla="*/ 4245143 h 6593118"/>
              <a:gd name="connsiteX883" fmla="*/ 6394832 w 11490376"/>
              <a:gd name="connsiteY883" fmla="*/ 4205198 h 6593118"/>
              <a:gd name="connsiteX884" fmla="*/ 6398292 w 11490376"/>
              <a:gd name="connsiteY884" fmla="*/ 4220890 h 6593118"/>
              <a:gd name="connsiteX885" fmla="*/ 6383620 w 11490376"/>
              <a:gd name="connsiteY885" fmla="*/ 4235676 h 6593118"/>
              <a:gd name="connsiteX886" fmla="*/ 6386065 w 11490376"/>
              <a:gd name="connsiteY886" fmla="*/ 4255391 h 6593118"/>
              <a:gd name="connsiteX887" fmla="*/ 6407804 w 11490376"/>
              <a:gd name="connsiteY887" fmla="*/ 4252956 h 6593118"/>
              <a:gd name="connsiteX888" fmla="*/ 6407863 w 11490376"/>
              <a:gd name="connsiteY888" fmla="*/ 4252464 h 6593118"/>
              <a:gd name="connsiteX889" fmla="*/ 6436233 w 11490376"/>
              <a:gd name="connsiteY889" fmla="*/ 4252464 h 6593118"/>
              <a:gd name="connsiteX890" fmla="*/ 6436501 w 11490376"/>
              <a:gd name="connsiteY890" fmla="*/ 4252069 h 6593118"/>
              <a:gd name="connsiteX891" fmla="*/ 6409857 w 11490376"/>
              <a:gd name="connsiteY891" fmla="*/ 4252069 h 6593118"/>
              <a:gd name="connsiteX892" fmla="*/ 6388045 w 11490376"/>
              <a:gd name="connsiteY892" fmla="*/ 4254494 h 6593118"/>
              <a:gd name="connsiteX893" fmla="*/ 6385621 w 11490376"/>
              <a:gd name="connsiteY893" fmla="*/ 4235099 h 6593118"/>
              <a:gd name="connsiteX894" fmla="*/ 6400164 w 11490376"/>
              <a:gd name="connsiteY894" fmla="*/ 4222976 h 6593118"/>
              <a:gd name="connsiteX895" fmla="*/ 9792824 w 11490376"/>
              <a:gd name="connsiteY895" fmla="*/ 4197795 h 6593118"/>
              <a:gd name="connsiteX896" fmla="*/ 9797828 w 11490376"/>
              <a:gd name="connsiteY896" fmla="*/ 4197795 h 6593118"/>
              <a:gd name="connsiteX897" fmla="*/ 9800330 w 11490376"/>
              <a:gd name="connsiteY897" fmla="*/ 4197795 h 6593118"/>
              <a:gd name="connsiteX898" fmla="*/ 9805334 w 11490376"/>
              <a:gd name="connsiteY898" fmla="*/ 4197795 h 6593118"/>
              <a:gd name="connsiteX899" fmla="*/ 9810338 w 11490376"/>
              <a:gd name="connsiteY899" fmla="*/ 4197795 h 6593118"/>
              <a:gd name="connsiteX900" fmla="*/ 9812839 w 11490376"/>
              <a:gd name="connsiteY900" fmla="*/ 4197795 h 6593118"/>
              <a:gd name="connsiteX901" fmla="*/ 9820345 w 11490376"/>
              <a:gd name="connsiteY901" fmla="*/ 4197795 h 6593118"/>
              <a:gd name="connsiteX902" fmla="*/ 9827851 w 11490376"/>
              <a:gd name="connsiteY902" fmla="*/ 4197795 h 6593118"/>
              <a:gd name="connsiteX903" fmla="*/ 9830353 w 11490376"/>
              <a:gd name="connsiteY903" fmla="*/ 4197795 h 6593118"/>
              <a:gd name="connsiteX904" fmla="*/ 9835356 w 11490376"/>
              <a:gd name="connsiteY904" fmla="*/ 4197795 h 6593118"/>
              <a:gd name="connsiteX905" fmla="*/ 9837857 w 11490376"/>
              <a:gd name="connsiteY905" fmla="*/ 4197795 h 6593118"/>
              <a:gd name="connsiteX906" fmla="*/ 9842861 w 11490376"/>
              <a:gd name="connsiteY906" fmla="*/ 4197795 h 6593118"/>
              <a:gd name="connsiteX907" fmla="*/ 9845362 w 11490376"/>
              <a:gd name="connsiteY907" fmla="*/ 4203112 h 6593118"/>
              <a:gd name="connsiteX908" fmla="*/ 9847864 w 11490376"/>
              <a:gd name="connsiteY908" fmla="*/ 4211089 h 6593118"/>
              <a:gd name="connsiteX909" fmla="*/ 9850366 w 11490376"/>
              <a:gd name="connsiteY909" fmla="*/ 4211089 h 6593118"/>
              <a:gd name="connsiteX910" fmla="*/ 9850366 w 11490376"/>
              <a:gd name="connsiteY910" fmla="*/ 4216407 h 6593118"/>
              <a:gd name="connsiteX911" fmla="*/ 9852868 w 11490376"/>
              <a:gd name="connsiteY911" fmla="*/ 4216407 h 6593118"/>
              <a:gd name="connsiteX912" fmla="*/ 9850366 w 11490376"/>
              <a:gd name="connsiteY912" fmla="*/ 4224384 h 6593118"/>
              <a:gd name="connsiteX913" fmla="*/ 9847864 w 11490376"/>
              <a:gd name="connsiteY913" fmla="*/ 4232362 h 6593118"/>
              <a:gd name="connsiteX914" fmla="*/ 9845362 w 11490376"/>
              <a:gd name="connsiteY914" fmla="*/ 4232362 h 6593118"/>
              <a:gd name="connsiteX915" fmla="*/ 9842861 w 11490376"/>
              <a:gd name="connsiteY915" fmla="*/ 4232362 h 6593118"/>
              <a:gd name="connsiteX916" fmla="*/ 9837857 w 11490376"/>
              <a:gd name="connsiteY916" fmla="*/ 4232362 h 6593118"/>
              <a:gd name="connsiteX917" fmla="*/ 9835356 w 11490376"/>
              <a:gd name="connsiteY917" fmla="*/ 4232362 h 6593118"/>
              <a:gd name="connsiteX918" fmla="*/ 9830353 w 11490376"/>
              <a:gd name="connsiteY918" fmla="*/ 4232362 h 6593118"/>
              <a:gd name="connsiteX919" fmla="*/ 9827851 w 11490376"/>
              <a:gd name="connsiteY919" fmla="*/ 4232362 h 6593118"/>
              <a:gd name="connsiteX920" fmla="*/ 9820345 w 11490376"/>
              <a:gd name="connsiteY920" fmla="*/ 4232362 h 6593118"/>
              <a:gd name="connsiteX921" fmla="*/ 9812839 w 11490376"/>
              <a:gd name="connsiteY921" fmla="*/ 4232362 h 6593118"/>
              <a:gd name="connsiteX922" fmla="*/ 9810338 w 11490376"/>
              <a:gd name="connsiteY922" fmla="*/ 4232362 h 6593118"/>
              <a:gd name="connsiteX923" fmla="*/ 9805334 w 11490376"/>
              <a:gd name="connsiteY923" fmla="*/ 4232362 h 6593118"/>
              <a:gd name="connsiteX924" fmla="*/ 9800330 w 11490376"/>
              <a:gd name="connsiteY924" fmla="*/ 4232362 h 6593118"/>
              <a:gd name="connsiteX925" fmla="*/ 9797828 w 11490376"/>
              <a:gd name="connsiteY925" fmla="*/ 4232362 h 6593118"/>
              <a:gd name="connsiteX926" fmla="*/ 9792824 w 11490376"/>
              <a:gd name="connsiteY926" fmla="*/ 4232362 h 6593118"/>
              <a:gd name="connsiteX927" fmla="*/ 9790323 w 11490376"/>
              <a:gd name="connsiteY927" fmla="*/ 4232362 h 6593118"/>
              <a:gd name="connsiteX928" fmla="*/ 9787821 w 11490376"/>
              <a:gd name="connsiteY928" fmla="*/ 4232362 h 6593118"/>
              <a:gd name="connsiteX929" fmla="*/ 9785319 w 11490376"/>
              <a:gd name="connsiteY929" fmla="*/ 4224384 h 6593118"/>
              <a:gd name="connsiteX930" fmla="*/ 9785319 w 11490376"/>
              <a:gd name="connsiteY930" fmla="*/ 4216407 h 6593118"/>
              <a:gd name="connsiteX931" fmla="*/ 9785319 w 11490376"/>
              <a:gd name="connsiteY931" fmla="*/ 4211089 h 6593118"/>
              <a:gd name="connsiteX932" fmla="*/ 9787821 w 11490376"/>
              <a:gd name="connsiteY932" fmla="*/ 4211089 h 6593118"/>
              <a:gd name="connsiteX933" fmla="*/ 9790323 w 11490376"/>
              <a:gd name="connsiteY933" fmla="*/ 4203112 h 6593118"/>
              <a:gd name="connsiteX934" fmla="*/ 9792824 w 11490376"/>
              <a:gd name="connsiteY934" fmla="*/ 4203112 h 6593118"/>
              <a:gd name="connsiteX935" fmla="*/ 2758003 w 11490376"/>
              <a:gd name="connsiteY935" fmla="*/ 4194502 h 6593118"/>
              <a:gd name="connsiteX936" fmla="*/ 2783127 w 11490376"/>
              <a:gd name="connsiteY936" fmla="*/ 4213102 h 6593118"/>
              <a:gd name="connsiteX937" fmla="*/ 2814949 w 11490376"/>
              <a:gd name="connsiteY937" fmla="*/ 4252648 h 6593118"/>
              <a:gd name="connsiteX938" fmla="*/ 2796801 w 11490376"/>
              <a:gd name="connsiteY938" fmla="*/ 4275551 h 6593118"/>
              <a:gd name="connsiteX939" fmla="*/ 2798237 w 11490376"/>
              <a:gd name="connsiteY939" fmla="*/ 4274884 h 6593118"/>
              <a:gd name="connsiteX940" fmla="*/ 2816929 w 11490376"/>
              <a:gd name="connsiteY940" fmla="*/ 4251479 h 6593118"/>
              <a:gd name="connsiteX941" fmla="*/ 2816303 w 11490376"/>
              <a:gd name="connsiteY941" fmla="*/ 4251400 h 6593118"/>
              <a:gd name="connsiteX942" fmla="*/ 2784586 w 11490376"/>
              <a:gd name="connsiteY942" fmla="*/ 4212265 h 6593118"/>
              <a:gd name="connsiteX943" fmla="*/ 10276518 w 11490376"/>
              <a:gd name="connsiteY943" fmla="*/ 4189035 h 6593118"/>
              <a:gd name="connsiteX944" fmla="*/ 10298545 w 11490376"/>
              <a:gd name="connsiteY944" fmla="*/ 4203714 h 6593118"/>
              <a:gd name="connsiteX945" fmla="*/ 10371971 w 11490376"/>
              <a:gd name="connsiteY945" fmla="*/ 4235517 h 6593118"/>
              <a:gd name="connsiteX946" fmla="*/ 10405826 w 11490376"/>
              <a:gd name="connsiteY946" fmla="*/ 4247601 h 6593118"/>
              <a:gd name="connsiteX947" fmla="*/ 10404839 w 11490376"/>
              <a:gd name="connsiteY947" fmla="*/ 4243781 h 6593118"/>
              <a:gd name="connsiteX948" fmla="*/ 10444575 w 11490376"/>
              <a:gd name="connsiteY948" fmla="*/ 4258601 h 6593118"/>
              <a:gd name="connsiteX949" fmla="*/ 10504177 w 11490376"/>
              <a:gd name="connsiteY949" fmla="*/ 4256130 h 6593118"/>
              <a:gd name="connsiteX950" fmla="*/ 10504177 w 11490376"/>
              <a:gd name="connsiteY950" fmla="*/ 4305532 h 6593118"/>
              <a:gd name="connsiteX951" fmla="*/ 10541430 w 11490376"/>
              <a:gd name="connsiteY951" fmla="*/ 4317882 h 6593118"/>
              <a:gd name="connsiteX952" fmla="*/ 10551363 w 11490376"/>
              <a:gd name="connsiteY952" fmla="*/ 4342584 h 6593118"/>
              <a:gd name="connsiteX953" fmla="*/ 10578680 w 11490376"/>
              <a:gd name="connsiteY953" fmla="*/ 4369753 h 6593118"/>
              <a:gd name="connsiteX954" fmla="*/ 10598548 w 11490376"/>
              <a:gd name="connsiteY954" fmla="*/ 4389514 h 6593118"/>
              <a:gd name="connsiteX955" fmla="*/ 10593581 w 11490376"/>
              <a:gd name="connsiteY955" fmla="*/ 4431505 h 6593118"/>
              <a:gd name="connsiteX956" fmla="*/ 10620900 w 11490376"/>
              <a:gd name="connsiteY956" fmla="*/ 4478437 h 6593118"/>
              <a:gd name="connsiteX957" fmla="*/ 10670569 w 11490376"/>
              <a:gd name="connsiteY957" fmla="*/ 4493257 h 6593118"/>
              <a:gd name="connsiteX958" fmla="*/ 10697886 w 11490376"/>
              <a:gd name="connsiteY958" fmla="*/ 4540188 h 6593118"/>
              <a:gd name="connsiteX959" fmla="*/ 10692919 w 11490376"/>
              <a:gd name="connsiteY959" fmla="*/ 4540188 h 6593118"/>
              <a:gd name="connsiteX960" fmla="*/ 10690436 w 11490376"/>
              <a:gd name="connsiteY960" fmla="*/ 4542659 h 6593118"/>
              <a:gd name="connsiteX961" fmla="*/ 10685469 w 11490376"/>
              <a:gd name="connsiteY961" fmla="*/ 4542659 h 6593118"/>
              <a:gd name="connsiteX962" fmla="*/ 10678018 w 11490376"/>
              <a:gd name="connsiteY962" fmla="*/ 4542659 h 6593118"/>
              <a:gd name="connsiteX963" fmla="*/ 10673053 w 11490376"/>
              <a:gd name="connsiteY963" fmla="*/ 4545128 h 6593118"/>
              <a:gd name="connsiteX964" fmla="*/ 10668086 w 11490376"/>
              <a:gd name="connsiteY964" fmla="*/ 4547599 h 6593118"/>
              <a:gd name="connsiteX965" fmla="*/ 10660635 w 11490376"/>
              <a:gd name="connsiteY965" fmla="*/ 4547599 h 6593118"/>
              <a:gd name="connsiteX966" fmla="*/ 10655668 w 11490376"/>
              <a:gd name="connsiteY966" fmla="*/ 4550068 h 6593118"/>
              <a:gd name="connsiteX967" fmla="*/ 10650701 w 11490376"/>
              <a:gd name="connsiteY967" fmla="*/ 4550068 h 6593118"/>
              <a:gd name="connsiteX968" fmla="*/ 10645734 w 11490376"/>
              <a:gd name="connsiteY968" fmla="*/ 4550068 h 6593118"/>
              <a:gd name="connsiteX969" fmla="*/ 10643251 w 11490376"/>
              <a:gd name="connsiteY969" fmla="*/ 4550068 h 6593118"/>
              <a:gd name="connsiteX970" fmla="*/ 10640767 w 11490376"/>
              <a:gd name="connsiteY970" fmla="*/ 4545128 h 6593118"/>
              <a:gd name="connsiteX971" fmla="*/ 10635800 w 11490376"/>
              <a:gd name="connsiteY971" fmla="*/ 4542659 h 6593118"/>
              <a:gd name="connsiteX972" fmla="*/ 10630834 w 11490376"/>
              <a:gd name="connsiteY972" fmla="*/ 4542659 h 6593118"/>
              <a:gd name="connsiteX973" fmla="*/ 10623383 w 11490376"/>
              <a:gd name="connsiteY973" fmla="*/ 4542659 h 6593118"/>
              <a:gd name="connsiteX974" fmla="*/ 10618416 w 11490376"/>
              <a:gd name="connsiteY974" fmla="*/ 4540188 h 6593118"/>
              <a:gd name="connsiteX975" fmla="*/ 10610966 w 11490376"/>
              <a:gd name="connsiteY975" fmla="*/ 4537719 h 6593118"/>
              <a:gd name="connsiteX976" fmla="*/ 10605999 w 11490376"/>
              <a:gd name="connsiteY976" fmla="*/ 4535248 h 6593118"/>
              <a:gd name="connsiteX977" fmla="*/ 10598548 w 11490376"/>
              <a:gd name="connsiteY977" fmla="*/ 4532779 h 6593118"/>
              <a:gd name="connsiteX978" fmla="*/ 10593581 w 11490376"/>
              <a:gd name="connsiteY978" fmla="*/ 4532779 h 6593118"/>
              <a:gd name="connsiteX979" fmla="*/ 10591098 w 11490376"/>
              <a:gd name="connsiteY979" fmla="*/ 4532779 h 6593118"/>
              <a:gd name="connsiteX980" fmla="*/ 10588614 w 11490376"/>
              <a:gd name="connsiteY980" fmla="*/ 4532779 h 6593118"/>
              <a:gd name="connsiteX981" fmla="*/ 10541430 w 11490376"/>
              <a:gd name="connsiteY981" fmla="*/ 4483377 h 6593118"/>
              <a:gd name="connsiteX982" fmla="*/ 10506661 w 11490376"/>
              <a:gd name="connsiteY982" fmla="*/ 4436445 h 6593118"/>
              <a:gd name="connsiteX983" fmla="*/ 10452490 w 11490376"/>
              <a:gd name="connsiteY983" fmla="*/ 4426650 h 6593118"/>
              <a:gd name="connsiteX984" fmla="*/ 10433161 w 11490376"/>
              <a:gd name="connsiteY984" fmla="*/ 4450798 h 6593118"/>
              <a:gd name="connsiteX985" fmla="*/ 10416027 w 11490376"/>
              <a:gd name="connsiteY985" fmla="*/ 4482601 h 6593118"/>
              <a:gd name="connsiteX986" fmla="*/ 10374419 w 11490376"/>
              <a:gd name="connsiteY986" fmla="*/ 4499727 h 6593118"/>
              <a:gd name="connsiteX987" fmla="*/ 10345049 w 11490376"/>
              <a:gd name="connsiteY987" fmla="*/ 4487494 h 6593118"/>
              <a:gd name="connsiteX988" fmla="*/ 10327915 w 11490376"/>
              <a:gd name="connsiteY988" fmla="*/ 4467924 h 6593118"/>
              <a:gd name="connsiteX989" fmla="*/ 10283859 w 11490376"/>
              <a:gd name="connsiteY989" fmla="*/ 4467924 h 6593118"/>
              <a:gd name="connsiteX990" fmla="*/ 10239803 w 11490376"/>
              <a:gd name="connsiteY990" fmla="*/ 4472816 h 6593118"/>
              <a:gd name="connsiteX991" fmla="*/ 10232462 w 11490376"/>
              <a:gd name="connsiteY991" fmla="*/ 4441013 h 6593118"/>
              <a:gd name="connsiteX992" fmla="*/ 10264280 w 11490376"/>
              <a:gd name="connsiteY992" fmla="*/ 4428781 h 6593118"/>
              <a:gd name="connsiteX993" fmla="*/ 10271621 w 11490376"/>
              <a:gd name="connsiteY993" fmla="*/ 4414102 h 6593118"/>
              <a:gd name="connsiteX994" fmla="*/ 10271621 w 11490376"/>
              <a:gd name="connsiteY994" fmla="*/ 4372514 h 6593118"/>
              <a:gd name="connsiteX995" fmla="*/ 10237356 w 11490376"/>
              <a:gd name="connsiteY995" fmla="*/ 4340711 h 6593118"/>
              <a:gd name="connsiteX996" fmla="*/ 10203090 w 11490376"/>
              <a:gd name="connsiteY996" fmla="*/ 4321139 h 6593118"/>
              <a:gd name="connsiteX997" fmla="*/ 10154139 w 11490376"/>
              <a:gd name="connsiteY997" fmla="*/ 4294230 h 6593118"/>
              <a:gd name="connsiteX998" fmla="*/ 10117426 w 11490376"/>
              <a:gd name="connsiteY998" fmla="*/ 4299122 h 6593118"/>
              <a:gd name="connsiteX999" fmla="*/ 10102740 w 11490376"/>
              <a:gd name="connsiteY999" fmla="*/ 4272213 h 6593118"/>
              <a:gd name="connsiteX1000" fmla="*/ 10117426 w 11490376"/>
              <a:gd name="connsiteY1000" fmla="*/ 4267319 h 6593118"/>
              <a:gd name="connsiteX1001" fmla="*/ 10156587 w 11490376"/>
              <a:gd name="connsiteY1001" fmla="*/ 4259981 h 6593118"/>
              <a:gd name="connsiteX1002" fmla="*/ 10200643 w 11490376"/>
              <a:gd name="connsiteY1002" fmla="*/ 4235517 h 6593118"/>
              <a:gd name="connsiteX1003" fmla="*/ 10237356 w 11490376"/>
              <a:gd name="connsiteY1003" fmla="*/ 4196374 h 6593118"/>
              <a:gd name="connsiteX1004" fmla="*/ 9903417 w 11490376"/>
              <a:gd name="connsiteY1004" fmla="*/ 4189035 h 6593118"/>
              <a:gd name="connsiteX1005" fmla="*/ 9903417 w 11490376"/>
              <a:gd name="connsiteY1005" fmla="*/ 4191663 h 6593118"/>
              <a:gd name="connsiteX1006" fmla="*/ 9908256 w 11490376"/>
              <a:gd name="connsiteY1006" fmla="*/ 4191663 h 6593118"/>
              <a:gd name="connsiteX1007" fmla="*/ 9913094 w 11490376"/>
              <a:gd name="connsiteY1007" fmla="*/ 4191663 h 6593118"/>
              <a:gd name="connsiteX1008" fmla="*/ 9915514 w 11490376"/>
              <a:gd name="connsiteY1008" fmla="*/ 4196919 h 6593118"/>
              <a:gd name="connsiteX1009" fmla="*/ 9917934 w 11490376"/>
              <a:gd name="connsiteY1009" fmla="*/ 4196919 h 6593118"/>
              <a:gd name="connsiteX1010" fmla="*/ 9917934 w 11490376"/>
              <a:gd name="connsiteY1010" fmla="*/ 4199546 h 6593118"/>
              <a:gd name="connsiteX1011" fmla="*/ 9920354 w 11490376"/>
              <a:gd name="connsiteY1011" fmla="*/ 4199546 h 6593118"/>
              <a:gd name="connsiteX1012" fmla="*/ 9922774 w 11490376"/>
              <a:gd name="connsiteY1012" fmla="*/ 4204801 h 6593118"/>
              <a:gd name="connsiteX1013" fmla="*/ 9922774 w 11490376"/>
              <a:gd name="connsiteY1013" fmla="*/ 4207428 h 6593118"/>
              <a:gd name="connsiteX1014" fmla="*/ 9925192 w 11490376"/>
              <a:gd name="connsiteY1014" fmla="*/ 4207428 h 6593118"/>
              <a:gd name="connsiteX1015" fmla="*/ 9922774 w 11490376"/>
              <a:gd name="connsiteY1015" fmla="*/ 4212684 h 6593118"/>
              <a:gd name="connsiteX1016" fmla="*/ 9922774 w 11490376"/>
              <a:gd name="connsiteY1016" fmla="*/ 4217940 h 6593118"/>
              <a:gd name="connsiteX1017" fmla="*/ 9920354 w 11490376"/>
              <a:gd name="connsiteY1017" fmla="*/ 4217940 h 6593118"/>
              <a:gd name="connsiteX1018" fmla="*/ 9920354 w 11490376"/>
              <a:gd name="connsiteY1018" fmla="*/ 4220568 h 6593118"/>
              <a:gd name="connsiteX1019" fmla="*/ 9917934 w 11490376"/>
              <a:gd name="connsiteY1019" fmla="*/ 4220568 h 6593118"/>
              <a:gd name="connsiteX1020" fmla="*/ 9915514 w 11490376"/>
              <a:gd name="connsiteY1020" fmla="*/ 4220568 h 6593118"/>
              <a:gd name="connsiteX1021" fmla="*/ 9913094 w 11490376"/>
              <a:gd name="connsiteY1021" fmla="*/ 4225823 h 6593118"/>
              <a:gd name="connsiteX1022" fmla="*/ 9908256 w 11490376"/>
              <a:gd name="connsiteY1022" fmla="*/ 4225823 h 6593118"/>
              <a:gd name="connsiteX1023" fmla="*/ 9903417 w 11490376"/>
              <a:gd name="connsiteY1023" fmla="*/ 4225823 h 6593118"/>
              <a:gd name="connsiteX1024" fmla="*/ 9900997 w 11490376"/>
              <a:gd name="connsiteY1024" fmla="*/ 4225823 h 6593118"/>
              <a:gd name="connsiteX1025" fmla="*/ 9896157 w 11490376"/>
              <a:gd name="connsiteY1025" fmla="*/ 4225823 h 6593118"/>
              <a:gd name="connsiteX1026" fmla="*/ 9893737 w 11490376"/>
              <a:gd name="connsiteY1026" fmla="*/ 4225823 h 6593118"/>
              <a:gd name="connsiteX1027" fmla="*/ 9891319 w 11490376"/>
              <a:gd name="connsiteY1027" fmla="*/ 4225823 h 6593118"/>
              <a:gd name="connsiteX1028" fmla="*/ 9888899 w 11490376"/>
              <a:gd name="connsiteY1028" fmla="*/ 4220568 h 6593118"/>
              <a:gd name="connsiteX1029" fmla="*/ 9886479 w 11490376"/>
              <a:gd name="connsiteY1029" fmla="*/ 4220568 h 6593118"/>
              <a:gd name="connsiteX1030" fmla="*/ 9884060 w 11490376"/>
              <a:gd name="connsiteY1030" fmla="*/ 4220568 h 6593118"/>
              <a:gd name="connsiteX1031" fmla="*/ 9881640 w 11490376"/>
              <a:gd name="connsiteY1031" fmla="*/ 4220568 h 6593118"/>
              <a:gd name="connsiteX1032" fmla="*/ 9881640 w 11490376"/>
              <a:gd name="connsiteY1032" fmla="*/ 4217940 h 6593118"/>
              <a:gd name="connsiteX1033" fmla="*/ 9881640 w 11490376"/>
              <a:gd name="connsiteY1033" fmla="*/ 4212684 h 6593118"/>
              <a:gd name="connsiteX1034" fmla="*/ 9881640 w 11490376"/>
              <a:gd name="connsiteY1034" fmla="*/ 4207428 h 6593118"/>
              <a:gd name="connsiteX1035" fmla="*/ 9881640 w 11490376"/>
              <a:gd name="connsiteY1035" fmla="*/ 4204801 h 6593118"/>
              <a:gd name="connsiteX1036" fmla="*/ 9881640 w 11490376"/>
              <a:gd name="connsiteY1036" fmla="*/ 4199546 h 6593118"/>
              <a:gd name="connsiteX1037" fmla="*/ 9884060 w 11490376"/>
              <a:gd name="connsiteY1037" fmla="*/ 4199546 h 6593118"/>
              <a:gd name="connsiteX1038" fmla="*/ 9886479 w 11490376"/>
              <a:gd name="connsiteY1038" fmla="*/ 4196919 h 6593118"/>
              <a:gd name="connsiteX1039" fmla="*/ 9888899 w 11490376"/>
              <a:gd name="connsiteY1039" fmla="*/ 4196919 h 6593118"/>
              <a:gd name="connsiteX1040" fmla="*/ 9891319 w 11490376"/>
              <a:gd name="connsiteY1040" fmla="*/ 4191663 h 6593118"/>
              <a:gd name="connsiteX1041" fmla="*/ 9893737 w 11490376"/>
              <a:gd name="connsiteY1041" fmla="*/ 4191663 h 6593118"/>
              <a:gd name="connsiteX1042" fmla="*/ 9896157 w 11490376"/>
              <a:gd name="connsiteY1042" fmla="*/ 4191663 h 6593118"/>
              <a:gd name="connsiteX1043" fmla="*/ 9900997 w 11490376"/>
              <a:gd name="connsiteY1043" fmla="*/ 4191663 h 6593118"/>
              <a:gd name="connsiteX1044" fmla="*/ 6414415 w 11490376"/>
              <a:gd name="connsiteY1044" fmla="*/ 4186943 h 6593118"/>
              <a:gd name="connsiteX1045" fmla="*/ 6394535 w 11490376"/>
              <a:gd name="connsiteY1045" fmla="*/ 4198075 h 6593118"/>
              <a:gd name="connsiteX1046" fmla="*/ 6414582 w 11490376"/>
              <a:gd name="connsiteY1046" fmla="*/ 4190054 h 6593118"/>
              <a:gd name="connsiteX1047" fmla="*/ 6414080 w 11490376"/>
              <a:gd name="connsiteY1047" fmla="*/ 4189871 h 6593118"/>
              <a:gd name="connsiteX1048" fmla="*/ 10728828 w 11490376"/>
              <a:gd name="connsiteY1048" fmla="*/ 4186846 h 6593118"/>
              <a:gd name="connsiteX1049" fmla="*/ 10796378 w 11490376"/>
              <a:gd name="connsiteY1049" fmla="*/ 4224384 h 6593118"/>
              <a:gd name="connsiteX1050" fmla="*/ 10786370 w 11490376"/>
              <a:gd name="connsiteY1050" fmla="*/ 4289451 h 6593118"/>
              <a:gd name="connsiteX1051" fmla="*/ 10753847 w 11490376"/>
              <a:gd name="connsiteY1051" fmla="*/ 4236898 h 6593118"/>
              <a:gd name="connsiteX1052" fmla="*/ 9105009 w 11490376"/>
              <a:gd name="connsiteY1052" fmla="*/ 4184657 h 6593118"/>
              <a:gd name="connsiteX1053" fmla="*/ 9131867 w 11490376"/>
              <a:gd name="connsiteY1053" fmla="*/ 4189584 h 6593118"/>
              <a:gd name="connsiteX1054" fmla="*/ 9151401 w 11490376"/>
              <a:gd name="connsiteY1054" fmla="*/ 4209292 h 6593118"/>
              <a:gd name="connsiteX1055" fmla="*/ 9161168 w 11490376"/>
              <a:gd name="connsiteY1055" fmla="*/ 4236390 h 6593118"/>
              <a:gd name="connsiteX1056" fmla="*/ 9136751 w 11490376"/>
              <a:gd name="connsiteY1056" fmla="*/ 4241317 h 6593118"/>
              <a:gd name="connsiteX1057" fmla="*/ 9100125 w 11490376"/>
              <a:gd name="connsiteY1057" fmla="*/ 4206828 h 6593118"/>
              <a:gd name="connsiteX1058" fmla="*/ 2936065 w 11490376"/>
              <a:gd name="connsiteY1058" fmla="*/ 4175439 h 6593118"/>
              <a:gd name="connsiteX1059" fmla="*/ 2935842 w 11490376"/>
              <a:gd name="connsiteY1059" fmla="*/ 4175577 h 6593118"/>
              <a:gd name="connsiteX1060" fmla="*/ 2943161 w 11490376"/>
              <a:gd name="connsiteY1060" fmla="*/ 4246508 h 6593118"/>
              <a:gd name="connsiteX1061" fmla="*/ 2943161 w 11490376"/>
              <a:gd name="connsiteY1061" fmla="*/ 4275858 h 6593118"/>
              <a:gd name="connsiteX1062" fmla="*/ 2911246 w 11490376"/>
              <a:gd name="connsiteY1062" fmla="*/ 4280429 h 6593118"/>
              <a:gd name="connsiteX1063" fmla="*/ 2911300 w 11490376"/>
              <a:gd name="connsiteY1063" fmla="*/ 4280532 h 6593118"/>
              <a:gd name="connsiteX1064" fmla="*/ 2945854 w 11490376"/>
              <a:gd name="connsiteY1064" fmla="*/ 4275926 h 6593118"/>
              <a:gd name="connsiteX1065" fmla="*/ 2945854 w 11490376"/>
              <a:gd name="connsiteY1065" fmla="*/ 4243950 h 6593118"/>
              <a:gd name="connsiteX1066" fmla="*/ 10138170 w 11490376"/>
              <a:gd name="connsiteY1066" fmla="*/ 4156189 h 6593118"/>
              <a:gd name="connsiteX1067" fmla="*/ 10175327 w 11490376"/>
              <a:gd name="connsiteY1067" fmla="*/ 4163517 h 6593118"/>
              <a:gd name="connsiteX1068" fmla="*/ 10207531 w 11490376"/>
              <a:gd name="connsiteY1068" fmla="*/ 4170844 h 6593118"/>
              <a:gd name="connsiteX1069" fmla="*/ 10197622 w 11490376"/>
              <a:gd name="connsiteY1069" fmla="*/ 4195269 h 6593118"/>
              <a:gd name="connsiteX1070" fmla="*/ 10172850 w 11490376"/>
              <a:gd name="connsiteY1070" fmla="*/ 4217251 h 6593118"/>
              <a:gd name="connsiteX1071" fmla="*/ 10150556 w 11490376"/>
              <a:gd name="connsiteY1071" fmla="*/ 4214808 h 6593118"/>
              <a:gd name="connsiteX1072" fmla="*/ 10115875 w 11490376"/>
              <a:gd name="connsiteY1072" fmla="*/ 4217251 h 6593118"/>
              <a:gd name="connsiteX1073" fmla="*/ 10123307 w 11490376"/>
              <a:gd name="connsiteY1073" fmla="*/ 4187941 h 6593118"/>
              <a:gd name="connsiteX1074" fmla="*/ 5874314 w 11490376"/>
              <a:gd name="connsiteY1074" fmla="*/ 4149708 h 6593118"/>
              <a:gd name="connsiteX1075" fmla="*/ 5875159 w 11490376"/>
              <a:gd name="connsiteY1075" fmla="*/ 4151568 h 6593118"/>
              <a:gd name="connsiteX1076" fmla="*/ 5889846 w 11490376"/>
              <a:gd name="connsiteY1076" fmla="*/ 4166273 h 6593118"/>
              <a:gd name="connsiteX1077" fmla="*/ 5892832 w 11490376"/>
              <a:gd name="connsiteY1077" fmla="*/ 4180220 h 6593118"/>
              <a:gd name="connsiteX1078" fmla="*/ 5890457 w 11490376"/>
              <a:gd name="connsiteY1078" fmla="*/ 4163725 h 6593118"/>
              <a:gd name="connsiteX1079" fmla="*/ 2936163 w 11490376"/>
              <a:gd name="connsiteY1079" fmla="*/ 4145695 h 6593118"/>
              <a:gd name="connsiteX1080" fmla="*/ 2935842 w 11490376"/>
              <a:gd name="connsiteY1080" fmla="*/ 4146229 h 6593118"/>
              <a:gd name="connsiteX1081" fmla="*/ 2955122 w 11490376"/>
              <a:gd name="connsiteY1081" fmla="*/ 4163142 h 6593118"/>
              <a:gd name="connsiteX1082" fmla="*/ 2955696 w 11490376"/>
              <a:gd name="connsiteY1082" fmla="*/ 4162782 h 6593118"/>
              <a:gd name="connsiteX1083" fmla="*/ 3358801 w 11490376"/>
              <a:gd name="connsiteY1083" fmla="*/ 4118977 h 6593118"/>
              <a:gd name="connsiteX1084" fmla="*/ 3357928 w 11490376"/>
              <a:gd name="connsiteY1084" fmla="*/ 4119050 h 6593118"/>
              <a:gd name="connsiteX1085" fmla="*/ 3354839 w 11490376"/>
              <a:gd name="connsiteY1085" fmla="*/ 4123731 h 6593118"/>
              <a:gd name="connsiteX1086" fmla="*/ 5713039 w 11490376"/>
              <a:gd name="connsiteY1086" fmla="*/ 4115955 h 6593118"/>
              <a:gd name="connsiteX1087" fmla="*/ 5716035 w 11490376"/>
              <a:gd name="connsiteY1087" fmla="*/ 4119705 h 6593118"/>
              <a:gd name="connsiteX1088" fmla="*/ 5729955 w 11490376"/>
              <a:gd name="connsiteY1088" fmla="*/ 4118776 h 6593118"/>
              <a:gd name="connsiteX1089" fmla="*/ 3388512 w 11490376"/>
              <a:gd name="connsiteY1089" fmla="*/ 4113203 h 6593118"/>
              <a:gd name="connsiteX1090" fmla="*/ 3387071 w 11490376"/>
              <a:gd name="connsiteY1090" fmla="*/ 4116598 h 6593118"/>
              <a:gd name="connsiteX1091" fmla="*/ 3364359 w 11490376"/>
              <a:gd name="connsiteY1091" fmla="*/ 4118508 h 6593118"/>
              <a:gd name="connsiteX1092" fmla="*/ 3387214 w 11490376"/>
              <a:gd name="connsiteY1092" fmla="*/ 4118508 h 6593118"/>
              <a:gd name="connsiteX1093" fmla="*/ 5757473 w 11490376"/>
              <a:gd name="connsiteY1093" fmla="*/ 4104268 h 6593118"/>
              <a:gd name="connsiteX1094" fmla="*/ 5746968 w 11490376"/>
              <a:gd name="connsiteY1094" fmla="*/ 4117641 h 6593118"/>
              <a:gd name="connsiteX1095" fmla="*/ 5752756 w 11490376"/>
              <a:gd name="connsiteY1095" fmla="*/ 4117255 h 6593118"/>
              <a:gd name="connsiteX1096" fmla="*/ 3020993 w 11490376"/>
              <a:gd name="connsiteY1096" fmla="*/ 4101735 h 6593118"/>
              <a:gd name="connsiteX1097" fmla="*/ 3034423 w 11490376"/>
              <a:gd name="connsiteY1097" fmla="*/ 4106211 h 6593118"/>
              <a:gd name="connsiteX1098" fmla="*/ 3054103 w 11490376"/>
              <a:gd name="connsiteY1098" fmla="*/ 4133266 h 6593118"/>
              <a:gd name="connsiteX1099" fmla="*/ 3076188 w 11490376"/>
              <a:gd name="connsiteY1099" fmla="*/ 4143302 h 6593118"/>
              <a:gd name="connsiteX1100" fmla="*/ 3052319 w 11490376"/>
              <a:gd name="connsiteY1100" fmla="*/ 4130354 h 6593118"/>
              <a:gd name="connsiteX1101" fmla="*/ 3035153 w 11490376"/>
              <a:gd name="connsiteY1101" fmla="*/ 4105961 h 6593118"/>
              <a:gd name="connsiteX1102" fmla="*/ 3492463 w 11490376"/>
              <a:gd name="connsiteY1102" fmla="*/ 4091111 h 6593118"/>
              <a:gd name="connsiteX1103" fmla="*/ 3496974 w 11490376"/>
              <a:gd name="connsiteY1103" fmla="*/ 4096372 h 6593118"/>
              <a:gd name="connsiteX1104" fmla="*/ 3536338 w 11490376"/>
              <a:gd name="connsiteY1104" fmla="*/ 4101291 h 6593118"/>
              <a:gd name="connsiteX1105" fmla="*/ 3536390 w 11490376"/>
              <a:gd name="connsiteY1105" fmla="*/ 4101131 h 6593118"/>
              <a:gd name="connsiteX1106" fmla="*/ 3497562 w 11490376"/>
              <a:gd name="connsiteY1106" fmla="*/ 4096243 h 6593118"/>
              <a:gd name="connsiteX1107" fmla="*/ 3143165 w 11490376"/>
              <a:gd name="connsiteY1107" fmla="*/ 4089919 h 6593118"/>
              <a:gd name="connsiteX1108" fmla="*/ 3145523 w 11490376"/>
              <a:gd name="connsiteY1108" fmla="*/ 4115718 h 6593118"/>
              <a:gd name="connsiteX1109" fmla="*/ 3116089 w 11490376"/>
              <a:gd name="connsiteY1109" fmla="*/ 4137673 h 6593118"/>
              <a:gd name="connsiteX1110" fmla="*/ 3079717 w 11490376"/>
              <a:gd name="connsiteY1110" fmla="*/ 4144907 h 6593118"/>
              <a:gd name="connsiteX1111" fmla="*/ 3081164 w 11490376"/>
              <a:gd name="connsiteY1111" fmla="*/ 4145565 h 6593118"/>
              <a:gd name="connsiteX1112" fmla="*/ 3118071 w 11490376"/>
              <a:gd name="connsiteY1112" fmla="*/ 4140646 h 6593118"/>
              <a:gd name="connsiteX1113" fmla="*/ 3147596 w 11490376"/>
              <a:gd name="connsiteY1113" fmla="*/ 4118508 h 6593118"/>
              <a:gd name="connsiteX1114" fmla="*/ 3145136 w 11490376"/>
              <a:gd name="connsiteY1114" fmla="*/ 4091453 h 6593118"/>
              <a:gd name="connsiteX1115" fmla="*/ 6585756 w 11490376"/>
              <a:gd name="connsiteY1115" fmla="*/ 4085933 h 6593118"/>
              <a:gd name="connsiteX1116" fmla="*/ 6564544 w 11490376"/>
              <a:gd name="connsiteY1116" fmla="*/ 4125901 h 6593118"/>
              <a:gd name="connsiteX1117" fmla="*/ 6561822 w 11490376"/>
              <a:gd name="connsiteY1117" fmla="*/ 4147608 h 6593118"/>
              <a:gd name="connsiteX1118" fmla="*/ 6565979 w 11490376"/>
              <a:gd name="connsiteY1118" fmla="*/ 4125765 h 6593118"/>
              <a:gd name="connsiteX1119" fmla="*/ 6585756 w 11490376"/>
              <a:gd name="connsiteY1119" fmla="*/ 4086783 h 6593118"/>
              <a:gd name="connsiteX1120" fmla="*/ 3432807 w 11490376"/>
              <a:gd name="connsiteY1120" fmla="*/ 4083858 h 6593118"/>
              <a:gd name="connsiteX1121" fmla="*/ 3428043 w 11490376"/>
              <a:gd name="connsiteY1121" fmla="*/ 4084300 h 6593118"/>
              <a:gd name="connsiteX1122" fmla="*/ 3428043 w 11490376"/>
              <a:gd name="connsiteY1122" fmla="*/ 4116052 h 6593118"/>
              <a:gd name="connsiteX1123" fmla="*/ 3428082 w 11490376"/>
              <a:gd name="connsiteY1123" fmla="*/ 4116049 h 6593118"/>
              <a:gd name="connsiteX1124" fmla="*/ 3430542 w 11490376"/>
              <a:gd name="connsiteY1124" fmla="*/ 4084074 h 6593118"/>
              <a:gd name="connsiteX1125" fmla="*/ 5838437 w 11490376"/>
              <a:gd name="connsiteY1125" fmla="*/ 4080544 h 6593118"/>
              <a:gd name="connsiteX1126" fmla="*/ 5838437 w 11490376"/>
              <a:gd name="connsiteY1126" fmla="*/ 4082941 h 6593118"/>
              <a:gd name="connsiteX1127" fmla="*/ 5862918 w 11490376"/>
              <a:gd name="connsiteY1127" fmla="*/ 4085392 h 6593118"/>
              <a:gd name="connsiteX1128" fmla="*/ 5865955 w 11490376"/>
              <a:gd name="connsiteY1128" fmla="*/ 4092234 h 6593118"/>
              <a:gd name="connsiteX1129" fmla="*/ 5863337 w 11490376"/>
              <a:gd name="connsiteY1129" fmla="*/ 4080544 h 6593118"/>
              <a:gd name="connsiteX1130" fmla="*/ 6480776 w 11490376"/>
              <a:gd name="connsiteY1130" fmla="*/ 4078287 h 6593118"/>
              <a:gd name="connsiteX1131" fmla="*/ 6461869 w 11490376"/>
              <a:gd name="connsiteY1131" fmla="*/ 4087814 h 6593118"/>
              <a:gd name="connsiteX1132" fmla="*/ 6425190 w 11490376"/>
              <a:gd name="connsiteY1132" fmla="*/ 4102600 h 6593118"/>
              <a:gd name="connsiteX1133" fmla="*/ 6425109 w 11490376"/>
              <a:gd name="connsiteY1133" fmla="*/ 4103295 h 6593118"/>
              <a:gd name="connsiteX1134" fmla="*/ 6460946 w 11490376"/>
              <a:gd name="connsiteY1134" fmla="*/ 4088995 h 6593118"/>
              <a:gd name="connsiteX1135" fmla="*/ 6480678 w 11490376"/>
              <a:gd name="connsiteY1135" fmla="*/ 4079153 h 6593118"/>
              <a:gd name="connsiteX1136" fmla="*/ 3007011 w 11490376"/>
              <a:gd name="connsiteY1136" fmla="*/ 4073469 h 6593118"/>
              <a:gd name="connsiteX1137" fmla="*/ 3009026 w 11490376"/>
              <a:gd name="connsiteY1137" fmla="*/ 4099757 h 6593118"/>
              <a:gd name="connsiteX1138" fmla="*/ 3006981 w 11490376"/>
              <a:gd name="connsiteY1138" fmla="*/ 4100527 h 6593118"/>
              <a:gd name="connsiteX1139" fmla="*/ 3011790 w 11490376"/>
              <a:gd name="connsiteY1139" fmla="*/ 4098989 h 6593118"/>
              <a:gd name="connsiteX1140" fmla="*/ 3010625 w 11490376"/>
              <a:gd name="connsiteY1140" fmla="*/ 4098642 h 6593118"/>
              <a:gd name="connsiteX1141" fmla="*/ 5762549 w 11490376"/>
              <a:gd name="connsiteY1141" fmla="*/ 4072467 h 6593118"/>
              <a:gd name="connsiteX1142" fmla="*/ 5759440 w 11490376"/>
              <a:gd name="connsiteY1142" fmla="*/ 4074904 h 6593118"/>
              <a:gd name="connsiteX1143" fmla="*/ 5759440 w 11490376"/>
              <a:gd name="connsiteY1143" fmla="*/ 4089512 h 6593118"/>
              <a:gd name="connsiteX1144" fmla="*/ 5762549 w 11490376"/>
              <a:gd name="connsiteY1144" fmla="*/ 4089857 h 6593118"/>
              <a:gd name="connsiteX1145" fmla="*/ 9766519 w 11490376"/>
              <a:gd name="connsiteY1145" fmla="*/ 4055459 h 6593118"/>
              <a:gd name="connsiteX1146" fmla="*/ 9790894 w 11490376"/>
              <a:gd name="connsiteY1146" fmla="*/ 4055459 h 6593118"/>
              <a:gd name="connsiteX1147" fmla="*/ 9798206 w 11490376"/>
              <a:gd name="connsiteY1147" fmla="*/ 4097489 h 6593118"/>
              <a:gd name="connsiteX1148" fmla="*/ 9778707 w 11490376"/>
              <a:gd name="connsiteY1148" fmla="*/ 4107377 h 6593118"/>
              <a:gd name="connsiteX1149" fmla="*/ 9737272 w 11490376"/>
              <a:gd name="connsiteY1149" fmla="*/ 4119739 h 6593118"/>
              <a:gd name="connsiteX1150" fmla="*/ 9720211 w 11490376"/>
              <a:gd name="connsiteY1150" fmla="*/ 4107377 h 6593118"/>
              <a:gd name="connsiteX1151" fmla="*/ 9683649 w 11490376"/>
              <a:gd name="connsiteY1151" fmla="*/ 4117267 h 6593118"/>
              <a:gd name="connsiteX1152" fmla="*/ 9661714 w 11490376"/>
              <a:gd name="connsiteY1152" fmla="*/ 4099961 h 6593118"/>
              <a:gd name="connsiteX1153" fmla="*/ 9642214 w 11490376"/>
              <a:gd name="connsiteY1153" fmla="*/ 4092544 h 6593118"/>
              <a:gd name="connsiteX1154" fmla="*/ 9649527 w 11490376"/>
              <a:gd name="connsiteY1154" fmla="*/ 4137046 h 6593118"/>
              <a:gd name="connsiteX1155" fmla="*/ 9666589 w 11490376"/>
              <a:gd name="connsiteY1155" fmla="*/ 4184020 h 6593118"/>
              <a:gd name="connsiteX1156" fmla="*/ 9688524 w 11490376"/>
              <a:gd name="connsiteY1156" fmla="*/ 4171658 h 6593118"/>
              <a:gd name="connsiteX1157" fmla="*/ 9712897 w 11490376"/>
              <a:gd name="connsiteY1157" fmla="*/ 4159297 h 6593118"/>
              <a:gd name="connsiteX1158" fmla="*/ 9729959 w 11490376"/>
              <a:gd name="connsiteY1158" fmla="*/ 4174130 h 6593118"/>
              <a:gd name="connsiteX1159" fmla="*/ 9708024 w 11490376"/>
              <a:gd name="connsiteY1159" fmla="*/ 4213687 h 6593118"/>
              <a:gd name="connsiteX1160" fmla="*/ 9683649 w 11490376"/>
              <a:gd name="connsiteY1160" fmla="*/ 4233466 h 6593118"/>
              <a:gd name="connsiteX1161" fmla="*/ 9729959 w 11490376"/>
              <a:gd name="connsiteY1161" fmla="*/ 4312580 h 6593118"/>
              <a:gd name="connsiteX1162" fmla="*/ 9732397 w 11490376"/>
              <a:gd name="connsiteY1162" fmla="*/ 4352137 h 6593118"/>
              <a:gd name="connsiteX1163" fmla="*/ 9700711 w 11490376"/>
              <a:gd name="connsiteY1163" fmla="*/ 4359555 h 6593118"/>
              <a:gd name="connsiteX1164" fmla="*/ 9693399 w 11490376"/>
              <a:gd name="connsiteY1164" fmla="*/ 4339776 h 6593118"/>
              <a:gd name="connsiteX1165" fmla="*/ 9666589 w 11490376"/>
              <a:gd name="connsiteY1165" fmla="*/ 4332358 h 6593118"/>
              <a:gd name="connsiteX1166" fmla="*/ 9666589 w 11490376"/>
              <a:gd name="connsiteY1166" fmla="*/ 4275496 h 6593118"/>
              <a:gd name="connsiteX1167" fmla="*/ 9642214 w 11490376"/>
              <a:gd name="connsiteY1167" fmla="*/ 4282912 h 6593118"/>
              <a:gd name="connsiteX1168" fmla="*/ 9630027 w 11490376"/>
              <a:gd name="connsiteY1168" fmla="*/ 4352137 h 6593118"/>
              <a:gd name="connsiteX1169" fmla="*/ 9600778 w 11490376"/>
              <a:gd name="connsiteY1169" fmla="*/ 4347193 h 6593118"/>
              <a:gd name="connsiteX1170" fmla="*/ 9595905 w 11490376"/>
              <a:gd name="connsiteY1170" fmla="*/ 4302691 h 6593118"/>
              <a:gd name="connsiteX1171" fmla="*/ 9564218 w 11490376"/>
              <a:gd name="connsiteY1171" fmla="*/ 4287856 h 6593118"/>
              <a:gd name="connsiteX1172" fmla="*/ 9564218 w 11490376"/>
              <a:gd name="connsiteY1172" fmla="*/ 4223576 h 6593118"/>
              <a:gd name="connsiteX1173" fmla="*/ 9591030 w 11490376"/>
              <a:gd name="connsiteY1173" fmla="*/ 4203799 h 6593118"/>
              <a:gd name="connsiteX1174" fmla="*/ 9598342 w 11490376"/>
              <a:gd name="connsiteY1174" fmla="*/ 4169186 h 6593118"/>
              <a:gd name="connsiteX1175" fmla="*/ 9615403 w 11490376"/>
              <a:gd name="connsiteY1175" fmla="*/ 4144462 h 6593118"/>
              <a:gd name="connsiteX1176" fmla="*/ 9622715 w 11490376"/>
              <a:gd name="connsiteY1176" fmla="*/ 4097489 h 6593118"/>
              <a:gd name="connsiteX1177" fmla="*/ 9627590 w 11490376"/>
              <a:gd name="connsiteY1177" fmla="*/ 4080182 h 6593118"/>
              <a:gd name="connsiteX1178" fmla="*/ 9673900 w 11490376"/>
              <a:gd name="connsiteY1178" fmla="*/ 4077710 h 6593118"/>
              <a:gd name="connsiteX1179" fmla="*/ 9751896 w 11490376"/>
              <a:gd name="connsiteY1179" fmla="*/ 4085126 h 6593118"/>
              <a:gd name="connsiteX1180" fmla="*/ 5836218 w 11490376"/>
              <a:gd name="connsiteY1180" fmla="*/ 4050467 h 6593118"/>
              <a:gd name="connsiteX1181" fmla="*/ 5818054 w 11490376"/>
              <a:gd name="connsiteY1181" fmla="*/ 4052854 h 6593118"/>
              <a:gd name="connsiteX1182" fmla="*/ 5836218 w 11490376"/>
              <a:gd name="connsiteY1182" fmla="*/ 4051272 h 6593118"/>
              <a:gd name="connsiteX1183" fmla="*/ 3191505 w 11490376"/>
              <a:gd name="connsiteY1183" fmla="*/ 4030200 h 6593118"/>
              <a:gd name="connsiteX1184" fmla="*/ 3189674 w 11490376"/>
              <a:gd name="connsiteY1184" fmla="*/ 4030340 h 6593118"/>
              <a:gd name="connsiteX1185" fmla="*/ 3177945 w 11490376"/>
              <a:gd name="connsiteY1185" fmla="*/ 4038672 h 6593118"/>
              <a:gd name="connsiteX1186" fmla="*/ 3357928 w 11490376"/>
              <a:gd name="connsiteY1186" fmla="*/ 4030038 h 6593118"/>
              <a:gd name="connsiteX1187" fmla="*/ 3357928 w 11490376"/>
              <a:gd name="connsiteY1187" fmla="*/ 4035663 h 6593118"/>
              <a:gd name="connsiteX1188" fmla="*/ 3370071 w 11490376"/>
              <a:gd name="connsiteY1188" fmla="*/ 4050379 h 6593118"/>
              <a:gd name="connsiteX1189" fmla="*/ 3373368 w 11490376"/>
              <a:gd name="connsiteY1189" fmla="*/ 4052228 h 6593118"/>
              <a:gd name="connsiteX1190" fmla="*/ 3370335 w 11490376"/>
              <a:gd name="connsiteY1190" fmla="*/ 4049905 h 6593118"/>
              <a:gd name="connsiteX1191" fmla="*/ 3358315 w 11490376"/>
              <a:gd name="connsiteY1191" fmla="*/ 4035164 h 6593118"/>
              <a:gd name="connsiteX1192" fmla="*/ 3294646 w 11490376"/>
              <a:gd name="connsiteY1192" fmla="*/ 4020963 h 6593118"/>
              <a:gd name="connsiteX1193" fmla="*/ 3300143 w 11490376"/>
              <a:gd name="connsiteY1193" fmla="*/ 4052098 h 6593118"/>
              <a:gd name="connsiteX1194" fmla="*/ 3290302 w 11490376"/>
              <a:gd name="connsiteY1194" fmla="*/ 4079155 h 6593118"/>
              <a:gd name="connsiteX1195" fmla="*/ 3307524 w 11490376"/>
              <a:gd name="connsiteY1195" fmla="*/ 4116049 h 6593118"/>
              <a:gd name="connsiteX1196" fmla="*/ 3324745 w 11490376"/>
              <a:gd name="connsiteY1196" fmla="*/ 4135726 h 6593118"/>
              <a:gd name="connsiteX1197" fmla="*/ 3325826 w 11490376"/>
              <a:gd name="connsiteY1197" fmla="*/ 4135607 h 6593118"/>
              <a:gd name="connsiteX1198" fmla="*/ 3309358 w 11490376"/>
              <a:gd name="connsiteY1198" fmla="*/ 4116598 h 6593118"/>
              <a:gd name="connsiteX1199" fmla="*/ 3292358 w 11490376"/>
              <a:gd name="connsiteY1199" fmla="*/ 4079810 h 6593118"/>
              <a:gd name="connsiteX1200" fmla="*/ 3302071 w 11490376"/>
              <a:gd name="connsiteY1200" fmla="*/ 4052831 h 6593118"/>
              <a:gd name="connsiteX1201" fmla="*/ 6824705 w 11490376"/>
              <a:gd name="connsiteY1201" fmla="*/ 4019806 h 6593118"/>
              <a:gd name="connsiteX1202" fmla="*/ 6823086 w 11490376"/>
              <a:gd name="connsiteY1202" fmla="*/ 4021003 h 6593118"/>
              <a:gd name="connsiteX1203" fmla="*/ 6822949 w 11490376"/>
              <a:gd name="connsiteY1203" fmla="*/ 4021343 h 6593118"/>
              <a:gd name="connsiteX1204" fmla="*/ 9915149 w 11490376"/>
              <a:gd name="connsiteY1204" fmla="*/ 4016043 h 6593118"/>
              <a:gd name="connsiteX1205" fmla="*/ 9927358 w 11490376"/>
              <a:gd name="connsiteY1205" fmla="*/ 4050106 h 6593118"/>
              <a:gd name="connsiteX1206" fmla="*/ 9924916 w 11490376"/>
              <a:gd name="connsiteY1206" fmla="*/ 4093901 h 6593118"/>
              <a:gd name="connsiteX1207" fmla="*/ 9912708 w 11490376"/>
              <a:gd name="connsiteY1207" fmla="*/ 4144996 h 6593118"/>
              <a:gd name="connsiteX1208" fmla="*/ 9876083 w 11490376"/>
              <a:gd name="connsiteY1208" fmla="*/ 4120666 h 6593118"/>
              <a:gd name="connsiteX1209" fmla="*/ 9866316 w 11490376"/>
              <a:gd name="connsiteY1209" fmla="*/ 4081736 h 6593118"/>
              <a:gd name="connsiteX1210" fmla="*/ 9898058 w 11490376"/>
              <a:gd name="connsiteY1210" fmla="*/ 4067138 h 6593118"/>
              <a:gd name="connsiteX1211" fmla="*/ 9898058 w 11490376"/>
              <a:gd name="connsiteY1211" fmla="*/ 4030641 h 6593118"/>
              <a:gd name="connsiteX1212" fmla="*/ 3140617 w 11490376"/>
              <a:gd name="connsiteY1212" fmla="*/ 4015703 h 6593118"/>
              <a:gd name="connsiteX1213" fmla="*/ 3125900 w 11490376"/>
              <a:gd name="connsiteY1213" fmla="*/ 4018142 h 6593118"/>
              <a:gd name="connsiteX1214" fmla="*/ 3116089 w 11490376"/>
              <a:gd name="connsiteY1214" fmla="*/ 4052293 h 6593118"/>
              <a:gd name="connsiteX1215" fmla="*/ 3120995 w 11490376"/>
              <a:gd name="connsiteY1215" fmla="*/ 4071809 h 6593118"/>
              <a:gd name="connsiteX1216" fmla="*/ 3122755 w 11490376"/>
              <a:gd name="connsiteY1216" fmla="*/ 4073170 h 6593118"/>
              <a:gd name="connsiteX1217" fmla="*/ 3118071 w 11490376"/>
              <a:gd name="connsiteY1217" fmla="*/ 4052098 h 6593118"/>
              <a:gd name="connsiteX1218" fmla="*/ 3127913 w 11490376"/>
              <a:gd name="connsiteY1218" fmla="*/ 4020123 h 6593118"/>
              <a:gd name="connsiteX1219" fmla="*/ 3140776 w 11490376"/>
              <a:gd name="connsiteY1219" fmla="*/ 4015836 h 6593118"/>
              <a:gd name="connsiteX1220" fmla="*/ 6010576 w 11490376"/>
              <a:gd name="connsiteY1220" fmla="*/ 3988355 h 6593118"/>
              <a:gd name="connsiteX1221" fmla="*/ 6010027 w 11490376"/>
              <a:gd name="connsiteY1221" fmla="*/ 3988798 h 6593118"/>
              <a:gd name="connsiteX1222" fmla="*/ 6015915 w 11490376"/>
              <a:gd name="connsiteY1222" fmla="*/ 3990747 h 6593118"/>
              <a:gd name="connsiteX1223" fmla="*/ 6452088 w 11490376"/>
              <a:gd name="connsiteY1223" fmla="*/ 3988249 h 6593118"/>
              <a:gd name="connsiteX1224" fmla="*/ 6452088 w 11490376"/>
              <a:gd name="connsiteY1224" fmla="*/ 3991702 h 6593118"/>
              <a:gd name="connsiteX1225" fmla="*/ 6452368 w 11490376"/>
              <a:gd name="connsiteY1225" fmla="*/ 3993039 h 6593118"/>
              <a:gd name="connsiteX1226" fmla="*/ 6454191 w 11490376"/>
              <a:gd name="connsiteY1226" fmla="*/ 3993039 h 6593118"/>
              <a:gd name="connsiteX1227" fmla="*/ 6454191 w 11490376"/>
              <a:gd name="connsiteY1227" fmla="*/ 3988671 h 6593118"/>
              <a:gd name="connsiteX1228" fmla="*/ 6416562 w 11490376"/>
              <a:gd name="connsiteY1228" fmla="*/ 3963990 h 6593118"/>
              <a:gd name="connsiteX1229" fmla="*/ 6427635 w 11490376"/>
              <a:gd name="connsiteY1229" fmla="*/ 3981845 h 6593118"/>
              <a:gd name="connsiteX1230" fmla="*/ 6428544 w 11490376"/>
              <a:gd name="connsiteY1230" fmla="*/ 3982029 h 6593118"/>
              <a:gd name="connsiteX1231" fmla="*/ 6417325 w 11490376"/>
              <a:gd name="connsiteY1231" fmla="*/ 3964037 h 6593118"/>
              <a:gd name="connsiteX1232" fmla="*/ 6228303 w 11490376"/>
              <a:gd name="connsiteY1232" fmla="*/ 3941159 h 6593118"/>
              <a:gd name="connsiteX1233" fmla="*/ 6226370 w 11490376"/>
              <a:gd name="connsiteY1233" fmla="*/ 3954788 h 6593118"/>
              <a:gd name="connsiteX1234" fmla="*/ 6227121 w 11490376"/>
              <a:gd name="connsiteY1234" fmla="*/ 3954737 h 6593118"/>
              <a:gd name="connsiteX1235" fmla="*/ 6229031 w 11490376"/>
              <a:gd name="connsiteY1235" fmla="*/ 3941266 h 6593118"/>
              <a:gd name="connsiteX1236" fmla="*/ 8773820 w 11490376"/>
              <a:gd name="connsiteY1236" fmla="*/ 3913124 h 6593118"/>
              <a:gd name="connsiteX1237" fmla="*/ 8817859 w 11490376"/>
              <a:gd name="connsiteY1237" fmla="*/ 3962305 h 6593118"/>
              <a:gd name="connsiteX1238" fmla="*/ 8871686 w 11490376"/>
              <a:gd name="connsiteY1238" fmla="*/ 3984437 h 6593118"/>
              <a:gd name="connsiteX1239" fmla="*/ 8937745 w 11490376"/>
              <a:gd name="connsiteY1239" fmla="*/ 4043456 h 6593118"/>
              <a:gd name="connsiteX1240" fmla="*/ 8986679 w 11490376"/>
              <a:gd name="connsiteY1240" fmla="*/ 4072965 h 6593118"/>
              <a:gd name="connsiteX1241" fmla="*/ 9023378 w 11490376"/>
              <a:gd name="connsiteY1241" fmla="*/ 4107393 h 6593118"/>
              <a:gd name="connsiteX1242" fmla="*/ 9023378 w 11490376"/>
              <a:gd name="connsiteY1242" fmla="*/ 4151657 h 6593118"/>
              <a:gd name="connsiteX1243" fmla="*/ 9042951 w 11490376"/>
              <a:gd name="connsiteY1243" fmla="*/ 4183625 h 6593118"/>
              <a:gd name="connsiteX1244" fmla="*/ 9042951 w 11490376"/>
              <a:gd name="connsiteY1244" fmla="*/ 4205757 h 6593118"/>
              <a:gd name="connsiteX1245" fmla="*/ 9099225 w 11490376"/>
              <a:gd name="connsiteY1245" fmla="*/ 4225430 h 6593118"/>
              <a:gd name="connsiteX1246" fmla="*/ 9118797 w 11490376"/>
              <a:gd name="connsiteY1246" fmla="*/ 4252479 h 6593118"/>
              <a:gd name="connsiteX1247" fmla="*/ 9118797 w 11490376"/>
              <a:gd name="connsiteY1247" fmla="*/ 4301661 h 6593118"/>
              <a:gd name="connsiteX1248" fmla="*/ 9126137 w 11490376"/>
              <a:gd name="connsiteY1248" fmla="*/ 4341007 h 6593118"/>
              <a:gd name="connsiteX1249" fmla="*/ 9062525 w 11490376"/>
              <a:gd name="connsiteY1249" fmla="*/ 4370516 h 6593118"/>
              <a:gd name="connsiteX1250" fmla="*/ 9040505 w 11490376"/>
              <a:gd name="connsiteY1250" fmla="*/ 4341007 h 6593118"/>
              <a:gd name="connsiteX1251" fmla="*/ 8976892 w 11490376"/>
              <a:gd name="connsiteY1251" fmla="*/ 4264775 h 6593118"/>
              <a:gd name="connsiteX1252" fmla="*/ 8903491 w 11490376"/>
              <a:gd name="connsiteY1252" fmla="*/ 4166411 h 6593118"/>
              <a:gd name="connsiteX1253" fmla="*/ 8881473 w 11490376"/>
              <a:gd name="connsiteY1253" fmla="*/ 4119689 h 6593118"/>
              <a:gd name="connsiteX1254" fmla="*/ 8871686 w 11490376"/>
              <a:gd name="connsiteY1254" fmla="*/ 4068046 h 6593118"/>
              <a:gd name="connsiteX1255" fmla="*/ 8832539 w 11490376"/>
              <a:gd name="connsiteY1255" fmla="*/ 4033620 h 6593118"/>
              <a:gd name="connsiteX1256" fmla="*/ 8776266 w 11490376"/>
              <a:gd name="connsiteY1256" fmla="*/ 3984437 h 6593118"/>
              <a:gd name="connsiteX1257" fmla="*/ 8712652 w 11490376"/>
              <a:gd name="connsiteY1257" fmla="*/ 3940173 h 6593118"/>
              <a:gd name="connsiteX1258" fmla="*/ 8719993 w 11490376"/>
              <a:gd name="connsiteY1258" fmla="*/ 3920500 h 6593118"/>
              <a:gd name="connsiteX1259" fmla="*/ 6989454 w 11490376"/>
              <a:gd name="connsiteY1259" fmla="*/ 3902288 h 6593118"/>
              <a:gd name="connsiteX1260" fmla="*/ 6986911 w 11490376"/>
              <a:gd name="connsiteY1260" fmla="*/ 3914934 h 6593118"/>
              <a:gd name="connsiteX1261" fmla="*/ 6952507 w 11490376"/>
              <a:gd name="connsiteY1261" fmla="*/ 3954032 h 6593118"/>
              <a:gd name="connsiteX1262" fmla="*/ 6903359 w 11490376"/>
              <a:gd name="connsiteY1262" fmla="*/ 3963806 h 6593118"/>
              <a:gd name="connsiteX1263" fmla="*/ 6868955 w 11490376"/>
              <a:gd name="connsiteY1263" fmla="*/ 3963806 h 6593118"/>
              <a:gd name="connsiteX1264" fmla="*/ 6841924 w 11490376"/>
              <a:gd name="connsiteY1264" fmla="*/ 4000462 h 6593118"/>
              <a:gd name="connsiteX1265" fmla="*/ 6824722 w 11490376"/>
              <a:gd name="connsiteY1265" fmla="*/ 3990688 h 6593118"/>
              <a:gd name="connsiteX1266" fmla="*/ 6814893 w 11490376"/>
              <a:gd name="connsiteY1266" fmla="*/ 3976024 h 6593118"/>
              <a:gd name="connsiteX1267" fmla="*/ 6768202 w 11490376"/>
              <a:gd name="connsiteY1267" fmla="*/ 3980912 h 6593118"/>
              <a:gd name="connsiteX1268" fmla="*/ 6768202 w 11490376"/>
              <a:gd name="connsiteY1268" fmla="*/ 3984361 h 6593118"/>
              <a:gd name="connsiteX1269" fmla="*/ 6815670 w 11490376"/>
              <a:gd name="connsiteY1269" fmla="*/ 3982021 h 6593118"/>
              <a:gd name="connsiteX1270" fmla="*/ 6825558 w 11490376"/>
              <a:gd name="connsiteY1270" fmla="*/ 3996639 h 6593118"/>
              <a:gd name="connsiteX1271" fmla="*/ 6841158 w 11490376"/>
              <a:gd name="connsiteY1271" fmla="*/ 4005424 h 6593118"/>
              <a:gd name="connsiteX1272" fmla="*/ 6841990 w 11490376"/>
              <a:gd name="connsiteY1272" fmla="*/ 4004697 h 6593118"/>
              <a:gd name="connsiteX1273" fmla="*/ 6869021 w 11490376"/>
              <a:gd name="connsiteY1273" fmla="*/ 3967869 h 6593118"/>
              <a:gd name="connsiteX1274" fmla="*/ 6903426 w 11490376"/>
              <a:gd name="connsiteY1274" fmla="*/ 3967869 h 6593118"/>
              <a:gd name="connsiteX1275" fmla="*/ 6952575 w 11490376"/>
              <a:gd name="connsiteY1275" fmla="*/ 3955593 h 6593118"/>
              <a:gd name="connsiteX1276" fmla="*/ 6986980 w 11490376"/>
              <a:gd name="connsiteY1276" fmla="*/ 3918764 h 6593118"/>
              <a:gd name="connsiteX1277" fmla="*/ 5097626 w 11490376"/>
              <a:gd name="connsiteY1277" fmla="*/ 3895708 h 6593118"/>
              <a:gd name="connsiteX1278" fmla="*/ 5102486 w 11490376"/>
              <a:gd name="connsiteY1278" fmla="*/ 3936620 h 6593118"/>
              <a:gd name="connsiteX1279" fmla="*/ 5102566 w 11490376"/>
              <a:gd name="connsiteY1279" fmla="*/ 3936648 h 6593118"/>
              <a:gd name="connsiteX1280" fmla="*/ 5100152 w 11490376"/>
              <a:gd name="connsiteY1280" fmla="*/ 3895960 h 6593118"/>
              <a:gd name="connsiteX1281" fmla="*/ 6297366 w 11490376"/>
              <a:gd name="connsiteY1281" fmla="*/ 3891675 h 6593118"/>
              <a:gd name="connsiteX1282" fmla="*/ 6309114 w 11490376"/>
              <a:gd name="connsiteY1282" fmla="*/ 3896748 h 6593118"/>
              <a:gd name="connsiteX1283" fmla="*/ 6318910 w 11490376"/>
              <a:gd name="connsiteY1283" fmla="*/ 3911551 h 6593118"/>
              <a:gd name="connsiteX1284" fmla="*/ 6326010 w 11490376"/>
              <a:gd name="connsiteY1284" fmla="*/ 3923476 h 6593118"/>
              <a:gd name="connsiteX1285" fmla="*/ 6326387 w 11490376"/>
              <a:gd name="connsiteY1285" fmla="*/ 3922158 h 6593118"/>
              <a:gd name="connsiteX1286" fmla="*/ 6321471 w 11490376"/>
              <a:gd name="connsiteY1286" fmla="*/ 3909839 h 6593118"/>
              <a:gd name="connsiteX1287" fmla="*/ 6309182 w 11490376"/>
              <a:gd name="connsiteY1287" fmla="*/ 3895059 h 6593118"/>
              <a:gd name="connsiteX1288" fmla="*/ 2845664 w 11490376"/>
              <a:gd name="connsiteY1288" fmla="*/ 3881604 h 6593118"/>
              <a:gd name="connsiteX1289" fmla="*/ 2845580 w 11490376"/>
              <a:gd name="connsiteY1289" fmla="*/ 3882078 h 6593118"/>
              <a:gd name="connsiteX1290" fmla="*/ 2909007 w 11490376"/>
              <a:gd name="connsiteY1290" fmla="*/ 3886970 h 6593118"/>
              <a:gd name="connsiteX1291" fmla="*/ 2909007 w 11490376"/>
              <a:gd name="connsiteY1291" fmla="*/ 3908982 h 6593118"/>
              <a:gd name="connsiteX1292" fmla="*/ 2962676 w 11490376"/>
              <a:gd name="connsiteY1292" fmla="*/ 3933440 h 6593118"/>
              <a:gd name="connsiteX1293" fmla="*/ 3016346 w 11490376"/>
              <a:gd name="connsiteY1293" fmla="*/ 3953008 h 6593118"/>
              <a:gd name="connsiteX1294" fmla="*/ 3016346 w 11490376"/>
              <a:gd name="connsiteY1294" fmla="*/ 4021491 h 6593118"/>
              <a:gd name="connsiteX1295" fmla="*/ 3013455 w 11490376"/>
              <a:gd name="connsiteY1295" fmla="*/ 4035259 h 6593118"/>
              <a:gd name="connsiteX1296" fmla="*/ 3017985 w 11490376"/>
              <a:gd name="connsiteY1296" fmla="*/ 4018142 h 6593118"/>
              <a:gd name="connsiteX1297" fmla="*/ 3017985 w 11490376"/>
              <a:gd name="connsiteY1297" fmla="*/ 3949840 h 6593118"/>
              <a:gd name="connsiteX1298" fmla="*/ 2964026 w 11490376"/>
              <a:gd name="connsiteY1298" fmla="*/ 3932764 h 6593118"/>
              <a:gd name="connsiteX1299" fmla="*/ 2910072 w 11490376"/>
              <a:gd name="connsiteY1299" fmla="*/ 3908370 h 6593118"/>
              <a:gd name="connsiteX1300" fmla="*/ 2910072 w 11490376"/>
              <a:gd name="connsiteY1300" fmla="*/ 3883976 h 6593118"/>
              <a:gd name="connsiteX1301" fmla="*/ 9485382 w 11490376"/>
              <a:gd name="connsiteY1301" fmla="*/ 3849621 h 6593118"/>
              <a:gd name="connsiteX1302" fmla="*/ 9527164 w 11490376"/>
              <a:gd name="connsiteY1302" fmla="*/ 3871686 h 6593118"/>
              <a:gd name="connsiteX1303" fmla="*/ 9551741 w 11490376"/>
              <a:gd name="connsiteY1303" fmla="*/ 3881492 h 6593118"/>
              <a:gd name="connsiteX1304" fmla="*/ 9595980 w 11490376"/>
              <a:gd name="connsiteY1304" fmla="*/ 3891299 h 6593118"/>
              <a:gd name="connsiteX1305" fmla="*/ 9603352 w 11490376"/>
              <a:gd name="connsiteY1305" fmla="*/ 3928073 h 6593118"/>
              <a:gd name="connsiteX1306" fmla="*/ 9568944 w 11490376"/>
              <a:gd name="connsiteY1306" fmla="*/ 3955040 h 6593118"/>
              <a:gd name="connsiteX1307" fmla="*/ 9541911 w 11490376"/>
              <a:gd name="connsiteY1307" fmla="*/ 3977104 h 6593118"/>
              <a:gd name="connsiteX1308" fmla="*/ 9541911 w 11490376"/>
              <a:gd name="connsiteY1308" fmla="*/ 4038394 h 6593118"/>
              <a:gd name="connsiteX1309" fmla="*/ 9576319 w 11490376"/>
              <a:gd name="connsiteY1309" fmla="*/ 4065362 h 6593118"/>
              <a:gd name="connsiteX1310" fmla="*/ 9576319 w 11490376"/>
              <a:gd name="connsiteY1310" fmla="*/ 4099685 h 6593118"/>
              <a:gd name="connsiteX1311" fmla="*/ 9544367 w 11490376"/>
              <a:gd name="connsiteY1311" fmla="*/ 4111942 h 6593118"/>
              <a:gd name="connsiteX1312" fmla="*/ 9529622 w 11490376"/>
              <a:gd name="connsiteY1312" fmla="*/ 4170780 h 6593118"/>
              <a:gd name="connsiteX1313" fmla="*/ 9500129 w 11490376"/>
              <a:gd name="connsiteY1313" fmla="*/ 4197748 h 6593118"/>
              <a:gd name="connsiteX1314" fmla="*/ 9500129 w 11490376"/>
              <a:gd name="connsiteY1314" fmla="*/ 4234522 h 6593118"/>
              <a:gd name="connsiteX1315" fmla="*/ 9480467 w 11490376"/>
              <a:gd name="connsiteY1315" fmla="*/ 4263941 h 6593118"/>
              <a:gd name="connsiteX1316" fmla="*/ 9470637 w 11490376"/>
              <a:gd name="connsiteY1316" fmla="*/ 4293360 h 6593118"/>
              <a:gd name="connsiteX1317" fmla="*/ 9423940 w 11490376"/>
              <a:gd name="connsiteY1317" fmla="*/ 4298263 h 6593118"/>
              <a:gd name="connsiteX1318" fmla="*/ 9404278 w 11490376"/>
              <a:gd name="connsiteY1318" fmla="*/ 4261489 h 6593118"/>
              <a:gd name="connsiteX1319" fmla="*/ 9377244 w 11490376"/>
              <a:gd name="connsiteY1319" fmla="*/ 4251683 h 6593118"/>
              <a:gd name="connsiteX1320" fmla="*/ 9357581 w 11490376"/>
              <a:gd name="connsiteY1320" fmla="*/ 4278651 h 6593118"/>
              <a:gd name="connsiteX1321" fmla="*/ 9305970 w 11490376"/>
              <a:gd name="connsiteY1321" fmla="*/ 4266392 h 6593118"/>
              <a:gd name="connsiteX1322" fmla="*/ 9288765 w 11490376"/>
              <a:gd name="connsiteY1322" fmla="*/ 4244328 h 6593118"/>
              <a:gd name="connsiteX1323" fmla="*/ 9269104 w 11490376"/>
              <a:gd name="connsiteY1323" fmla="*/ 4241877 h 6593118"/>
              <a:gd name="connsiteX1324" fmla="*/ 9266646 w 11490376"/>
              <a:gd name="connsiteY1324" fmla="*/ 4190393 h 6593118"/>
              <a:gd name="connsiteX1325" fmla="*/ 9234696 w 11490376"/>
              <a:gd name="connsiteY1325" fmla="*/ 4183038 h 6593118"/>
              <a:gd name="connsiteX1326" fmla="*/ 9232238 w 11490376"/>
              <a:gd name="connsiteY1326" fmla="*/ 4138910 h 6593118"/>
              <a:gd name="connsiteX1327" fmla="*/ 9205203 w 11490376"/>
              <a:gd name="connsiteY1327" fmla="*/ 4124200 h 6593118"/>
              <a:gd name="connsiteX1328" fmla="*/ 9215033 w 11490376"/>
              <a:gd name="connsiteY1328" fmla="*/ 4067813 h 6593118"/>
              <a:gd name="connsiteX1329" fmla="*/ 9291223 w 11490376"/>
              <a:gd name="connsiteY1329" fmla="*/ 4067813 h 6593118"/>
              <a:gd name="connsiteX1330" fmla="*/ 9305970 w 11490376"/>
              <a:gd name="connsiteY1330" fmla="*/ 4045749 h 6593118"/>
              <a:gd name="connsiteX1331" fmla="*/ 9313342 w 11490376"/>
              <a:gd name="connsiteY1331" fmla="*/ 4011427 h 6593118"/>
              <a:gd name="connsiteX1332" fmla="*/ 9360039 w 11490376"/>
              <a:gd name="connsiteY1332" fmla="*/ 4016330 h 6593118"/>
              <a:gd name="connsiteX1333" fmla="*/ 9377244 w 11490376"/>
              <a:gd name="connsiteY1333" fmla="*/ 3979556 h 6593118"/>
              <a:gd name="connsiteX1334" fmla="*/ 9411652 w 11490376"/>
              <a:gd name="connsiteY1334" fmla="*/ 3955040 h 6593118"/>
              <a:gd name="connsiteX1335" fmla="*/ 9441143 w 11490376"/>
              <a:gd name="connsiteY1335" fmla="*/ 3940330 h 6593118"/>
              <a:gd name="connsiteX1336" fmla="*/ 9448518 w 11490376"/>
              <a:gd name="connsiteY1336" fmla="*/ 3898653 h 6593118"/>
              <a:gd name="connsiteX1337" fmla="*/ 9475551 w 11490376"/>
              <a:gd name="connsiteY1337" fmla="*/ 3883943 h 6593118"/>
              <a:gd name="connsiteX1338" fmla="*/ 5269577 w 11490376"/>
              <a:gd name="connsiteY1338" fmla="*/ 3847006 h 6593118"/>
              <a:gd name="connsiteX1339" fmla="*/ 5265539 w 11490376"/>
              <a:gd name="connsiteY1339" fmla="*/ 3876369 h 6593118"/>
              <a:gd name="connsiteX1340" fmla="*/ 5269500 w 11490376"/>
              <a:gd name="connsiteY1340" fmla="*/ 3906491 h 6593118"/>
              <a:gd name="connsiteX1341" fmla="*/ 5266983 w 11490376"/>
              <a:gd name="connsiteY1341" fmla="*/ 3877189 h 6593118"/>
              <a:gd name="connsiteX1342" fmla="*/ 7029311 w 11490376"/>
              <a:gd name="connsiteY1342" fmla="*/ 3838298 h 6593118"/>
              <a:gd name="connsiteX1343" fmla="*/ 6996740 w 11490376"/>
              <a:gd name="connsiteY1343" fmla="*/ 3866061 h 6593118"/>
              <a:gd name="connsiteX1344" fmla="*/ 6996334 w 11490376"/>
              <a:gd name="connsiteY1344" fmla="*/ 3868077 h 6593118"/>
              <a:gd name="connsiteX1345" fmla="*/ 7031215 w 11490376"/>
              <a:gd name="connsiteY1345" fmla="*/ 3840198 h 6593118"/>
              <a:gd name="connsiteX1346" fmla="*/ 6246448 w 11490376"/>
              <a:gd name="connsiteY1346" fmla="*/ 3812644 h 6593118"/>
              <a:gd name="connsiteX1347" fmla="*/ 6252791 w 11490376"/>
              <a:gd name="connsiteY1347" fmla="*/ 3842465 h 6593118"/>
              <a:gd name="connsiteX1348" fmla="*/ 6276209 w 11490376"/>
              <a:gd name="connsiteY1348" fmla="*/ 3847911 h 6593118"/>
              <a:gd name="connsiteX1349" fmla="*/ 6255112 w 11490376"/>
              <a:gd name="connsiteY1349" fmla="*/ 3840862 h 6593118"/>
              <a:gd name="connsiteX1350" fmla="*/ 6235900 w 11490376"/>
              <a:gd name="connsiteY1350" fmla="*/ 3810545 h 6593118"/>
              <a:gd name="connsiteX1351" fmla="*/ 6218333 w 11490376"/>
              <a:gd name="connsiteY1351" fmla="*/ 3813748 h 6593118"/>
              <a:gd name="connsiteX1352" fmla="*/ 6218507 w 11490376"/>
              <a:gd name="connsiteY1352" fmla="*/ 3815325 h 6593118"/>
              <a:gd name="connsiteX1353" fmla="*/ 6532998 w 11490376"/>
              <a:gd name="connsiteY1353" fmla="*/ 3806198 h 6593118"/>
              <a:gd name="connsiteX1354" fmla="*/ 6530382 w 11490376"/>
              <a:gd name="connsiteY1354" fmla="*/ 3806373 h 6593118"/>
              <a:gd name="connsiteX1355" fmla="*/ 6550045 w 11490376"/>
              <a:gd name="connsiteY1355" fmla="*/ 3840862 h 6593118"/>
              <a:gd name="connsiteX1356" fmla="*/ 6569707 w 11490376"/>
              <a:gd name="connsiteY1356" fmla="*/ 3845789 h 6593118"/>
              <a:gd name="connsiteX1357" fmla="*/ 6569707 w 11490376"/>
              <a:gd name="connsiteY1357" fmla="*/ 3875351 h 6593118"/>
              <a:gd name="connsiteX1358" fmla="*/ 6589369 w 11490376"/>
              <a:gd name="connsiteY1358" fmla="*/ 3887668 h 6593118"/>
              <a:gd name="connsiteX1359" fmla="*/ 6599201 w 11490376"/>
              <a:gd name="connsiteY1359" fmla="*/ 3895059 h 6593118"/>
              <a:gd name="connsiteX1360" fmla="*/ 6616405 w 11490376"/>
              <a:gd name="connsiteY1360" fmla="*/ 3924621 h 6593118"/>
              <a:gd name="connsiteX1361" fmla="*/ 6616405 w 11490376"/>
              <a:gd name="connsiteY1361" fmla="*/ 3946791 h 6593118"/>
              <a:gd name="connsiteX1362" fmla="*/ 6564863 w 11490376"/>
              <a:gd name="connsiteY1362" fmla="*/ 3983693 h 6593118"/>
              <a:gd name="connsiteX1363" fmla="*/ 6569242 w 11490376"/>
              <a:gd name="connsiteY1363" fmla="*/ 3990488 h 6593118"/>
              <a:gd name="connsiteX1364" fmla="*/ 6565979 w 11490376"/>
              <a:gd name="connsiteY1364" fmla="*/ 3984458 h 6593118"/>
              <a:gd name="connsiteX1365" fmla="*/ 6615423 w 11490376"/>
              <a:gd name="connsiteY1365" fmla="*/ 3950350 h 6593118"/>
              <a:gd name="connsiteX1366" fmla="*/ 6650033 w 11490376"/>
              <a:gd name="connsiteY1366" fmla="*/ 3957659 h 6593118"/>
              <a:gd name="connsiteX1367" fmla="*/ 6684644 w 11490376"/>
              <a:gd name="connsiteY1367" fmla="*/ 3982021 h 6593118"/>
              <a:gd name="connsiteX1368" fmla="*/ 6689588 w 11490376"/>
              <a:gd name="connsiteY1368" fmla="*/ 4006385 h 6593118"/>
              <a:gd name="connsiteX1369" fmla="*/ 6766226 w 11490376"/>
              <a:gd name="connsiteY1369" fmla="*/ 3999076 h 6593118"/>
              <a:gd name="connsiteX1370" fmla="*/ 6766226 w 11490376"/>
              <a:gd name="connsiteY1370" fmla="*/ 3993315 h 6593118"/>
              <a:gd name="connsiteX1371" fmla="*/ 6689565 w 11490376"/>
              <a:gd name="connsiteY1371" fmla="*/ 4000462 h 6593118"/>
              <a:gd name="connsiteX1372" fmla="*/ 6687109 w 11490376"/>
              <a:gd name="connsiteY1372" fmla="*/ 3976024 h 6593118"/>
              <a:gd name="connsiteX1373" fmla="*/ 6652705 w 11490376"/>
              <a:gd name="connsiteY1373" fmla="*/ 3954032 h 6593118"/>
              <a:gd name="connsiteX1374" fmla="*/ 6618301 w 11490376"/>
              <a:gd name="connsiteY1374" fmla="*/ 3944257 h 6593118"/>
              <a:gd name="connsiteX1375" fmla="*/ 6618301 w 11490376"/>
              <a:gd name="connsiteY1375" fmla="*/ 3922265 h 6593118"/>
              <a:gd name="connsiteX1376" fmla="*/ 6601100 w 11490376"/>
              <a:gd name="connsiteY1376" fmla="*/ 3892940 h 6593118"/>
              <a:gd name="connsiteX1377" fmla="*/ 6591270 w 11490376"/>
              <a:gd name="connsiteY1377" fmla="*/ 3885610 h 6593118"/>
              <a:gd name="connsiteX1378" fmla="*/ 6571611 w 11490376"/>
              <a:gd name="connsiteY1378" fmla="*/ 3873391 h 6593118"/>
              <a:gd name="connsiteX1379" fmla="*/ 6571611 w 11490376"/>
              <a:gd name="connsiteY1379" fmla="*/ 3844067 h 6593118"/>
              <a:gd name="connsiteX1380" fmla="*/ 6551952 w 11490376"/>
              <a:gd name="connsiteY1380" fmla="*/ 3839180 h 6593118"/>
              <a:gd name="connsiteX1381" fmla="*/ 2822862 w 11490376"/>
              <a:gd name="connsiteY1381" fmla="*/ 3795402 h 6593118"/>
              <a:gd name="connsiteX1382" fmla="*/ 2821181 w 11490376"/>
              <a:gd name="connsiteY1382" fmla="*/ 3796474 h 6593118"/>
              <a:gd name="connsiteX1383" fmla="*/ 2852898 w 11490376"/>
              <a:gd name="connsiteY1383" fmla="*/ 3840498 h 6593118"/>
              <a:gd name="connsiteX1384" fmla="*/ 2850977 w 11490376"/>
              <a:gd name="connsiteY1384" fmla="*/ 3851419 h 6593118"/>
              <a:gd name="connsiteX1385" fmla="*/ 2853662 w 11490376"/>
              <a:gd name="connsiteY1385" fmla="*/ 3840067 h 6593118"/>
              <a:gd name="connsiteX1386" fmla="*/ 2821773 w 11490376"/>
              <a:gd name="connsiteY1386" fmla="*/ 3796158 h 6593118"/>
              <a:gd name="connsiteX1387" fmla="*/ 2594051 w 11490376"/>
              <a:gd name="connsiteY1387" fmla="*/ 3788307 h 6593118"/>
              <a:gd name="connsiteX1388" fmla="*/ 2630661 w 11490376"/>
              <a:gd name="connsiteY1388" fmla="*/ 3797959 h 6593118"/>
              <a:gd name="connsiteX1389" fmla="*/ 2677033 w 11490376"/>
              <a:gd name="connsiteY1389" fmla="*/ 3829332 h 6593118"/>
              <a:gd name="connsiteX1390" fmla="*/ 2669713 w 11490376"/>
              <a:gd name="connsiteY1390" fmla="*/ 3904142 h 6593118"/>
              <a:gd name="connsiteX1391" fmla="*/ 2655068 w 11490376"/>
              <a:gd name="connsiteY1391" fmla="*/ 3877596 h 6593118"/>
              <a:gd name="connsiteX1392" fmla="*/ 2620898 w 11490376"/>
              <a:gd name="connsiteY1392" fmla="*/ 3838984 h 6593118"/>
              <a:gd name="connsiteX1393" fmla="*/ 2586728 w 11490376"/>
              <a:gd name="connsiteY1393" fmla="*/ 3841398 h 6593118"/>
              <a:gd name="connsiteX1394" fmla="*/ 2598932 w 11490376"/>
              <a:gd name="connsiteY1394" fmla="*/ 3867943 h 6593118"/>
              <a:gd name="connsiteX1395" fmla="*/ 2567202 w 11490376"/>
              <a:gd name="connsiteY1395" fmla="*/ 3884836 h 6593118"/>
              <a:gd name="connsiteX1396" fmla="*/ 2540354 w 11490376"/>
              <a:gd name="connsiteY1396" fmla="*/ 3860703 h 6593118"/>
              <a:gd name="connsiteX1397" fmla="*/ 2469568 w 11490376"/>
              <a:gd name="connsiteY1397" fmla="*/ 3851051 h 6593118"/>
              <a:gd name="connsiteX1398" fmla="*/ 2467129 w 11490376"/>
              <a:gd name="connsiteY1398" fmla="*/ 3814853 h 6593118"/>
              <a:gd name="connsiteX1399" fmla="*/ 2498859 w 11490376"/>
              <a:gd name="connsiteY1399" fmla="*/ 3797959 h 6593118"/>
              <a:gd name="connsiteX1400" fmla="*/ 2564760 w 11490376"/>
              <a:gd name="connsiteY1400" fmla="*/ 3814853 h 6593118"/>
              <a:gd name="connsiteX1401" fmla="*/ 5112292 w 11490376"/>
              <a:gd name="connsiteY1401" fmla="*/ 3783378 h 6593118"/>
              <a:gd name="connsiteX1402" fmla="*/ 5074447 w 11490376"/>
              <a:gd name="connsiteY1402" fmla="*/ 3811853 h 6593118"/>
              <a:gd name="connsiteX1403" fmla="*/ 5064683 w 11490376"/>
              <a:gd name="connsiteY1403" fmla="*/ 3855930 h 6593118"/>
              <a:gd name="connsiteX1404" fmla="*/ 5038507 w 11490376"/>
              <a:gd name="connsiteY1404" fmla="*/ 3848768 h 6593118"/>
              <a:gd name="connsiteX1405" fmla="*/ 5038774 w 11490376"/>
              <a:gd name="connsiteY1405" fmla="*/ 3849265 h 6593118"/>
              <a:gd name="connsiteX1406" fmla="*/ 5065649 w 11490376"/>
              <a:gd name="connsiteY1406" fmla="*/ 3856524 h 6593118"/>
              <a:gd name="connsiteX1407" fmla="*/ 5075469 w 11490376"/>
              <a:gd name="connsiteY1407" fmla="*/ 3812700 h 6593118"/>
              <a:gd name="connsiteX1408" fmla="*/ 5114962 w 11490376"/>
              <a:gd name="connsiteY1408" fmla="*/ 3785764 h 6593118"/>
              <a:gd name="connsiteX1409" fmla="*/ 5878699 w 11490376"/>
              <a:gd name="connsiteY1409" fmla="*/ 3778335 h 6593118"/>
              <a:gd name="connsiteX1410" fmla="*/ 5879142 w 11490376"/>
              <a:gd name="connsiteY1410" fmla="*/ 3781905 h 6593118"/>
              <a:gd name="connsiteX1411" fmla="*/ 5906015 w 11490376"/>
              <a:gd name="connsiteY1411" fmla="*/ 3816375 h 6593118"/>
              <a:gd name="connsiteX1412" fmla="*/ 5918742 w 11490376"/>
              <a:gd name="connsiteY1412" fmla="*/ 3842028 h 6593118"/>
              <a:gd name="connsiteX1413" fmla="*/ 5905640 w 11490376"/>
              <a:gd name="connsiteY1413" fmla="*/ 3812335 h 6593118"/>
              <a:gd name="connsiteX1414" fmla="*/ 5272800 w 11490376"/>
              <a:gd name="connsiteY1414" fmla="*/ 3776545 h 6593118"/>
              <a:gd name="connsiteX1415" fmla="*/ 5272946 w 11490376"/>
              <a:gd name="connsiteY1415" fmla="*/ 3778418 h 6593118"/>
              <a:gd name="connsiteX1416" fmla="*/ 5295163 w 11490376"/>
              <a:gd name="connsiteY1416" fmla="*/ 3790662 h 6593118"/>
              <a:gd name="connsiteX1417" fmla="*/ 5290226 w 11490376"/>
              <a:gd name="connsiteY1417" fmla="*/ 3817598 h 6593118"/>
              <a:gd name="connsiteX1418" fmla="*/ 5286785 w 11490376"/>
              <a:gd name="connsiteY1418" fmla="*/ 3818573 h 6593118"/>
              <a:gd name="connsiteX1419" fmla="*/ 5291352 w 11490376"/>
              <a:gd name="connsiteY1419" fmla="*/ 3817996 h 6593118"/>
              <a:gd name="connsiteX1420" fmla="*/ 5296227 w 11490376"/>
              <a:gd name="connsiteY1420" fmla="*/ 3788399 h 6593118"/>
              <a:gd name="connsiteX1421" fmla="*/ 6203014 w 11490376"/>
              <a:gd name="connsiteY1421" fmla="*/ 3760948 h 6593118"/>
              <a:gd name="connsiteX1422" fmla="*/ 6198917 w 11490376"/>
              <a:gd name="connsiteY1422" fmla="*/ 3785717 h 6593118"/>
              <a:gd name="connsiteX1423" fmla="*/ 6201042 w 11490376"/>
              <a:gd name="connsiteY1423" fmla="*/ 3786634 h 6593118"/>
              <a:gd name="connsiteX1424" fmla="*/ 9713078 w 11490376"/>
              <a:gd name="connsiteY1424" fmla="*/ 3753271 h 6593118"/>
              <a:gd name="connsiteX1425" fmla="*/ 9732536 w 11490376"/>
              <a:gd name="connsiteY1425" fmla="*/ 3765700 h 6593118"/>
              <a:gd name="connsiteX1426" fmla="*/ 9717942 w 11490376"/>
              <a:gd name="connsiteY1426" fmla="*/ 3800499 h 6593118"/>
              <a:gd name="connsiteX1427" fmla="*/ 9700916 w 11490376"/>
              <a:gd name="connsiteY1427" fmla="*/ 3832813 h 6593118"/>
              <a:gd name="connsiteX1428" fmla="*/ 9669296 w 11490376"/>
              <a:gd name="connsiteY1428" fmla="*/ 3842755 h 6593118"/>
              <a:gd name="connsiteX1429" fmla="*/ 9676593 w 11490376"/>
              <a:gd name="connsiteY1429" fmla="*/ 3820384 h 6593118"/>
              <a:gd name="connsiteX1430" fmla="*/ 9688754 w 11490376"/>
              <a:gd name="connsiteY1430" fmla="*/ 3780613 h 6593118"/>
              <a:gd name="connsiteX1431" fmla="*/ 8198737 w 11490376"/>
              <a:gd name="connsiteY1431" fmla="*/ 3748891 h 6593118"/>
              <a:gd name="connsiteX1432" fmla="*/ 8231122 w 11490376"/>
              <a:gd name="connsiteY1432" fmla="*/ 3775789 h 6593118"/>
              <a:gd name="connsiteX1433" fmla="*/ 8246068 w 11490376"/>
              <a:gd name="connsiteY1433" fmla="*/ 3795351 h 6593118"/>
              <a:gd name="connsiteX1434" fmla="*/ 8246068 w 11490376"/>
              <a:gd name="connsiteY1434" fmla="*/ 3885825 h 6593118"/>
              <a:gd name="connsiteX1435" fmla="*/ 8196247 w 11490376"/>
              <a:gd name="connsiteY1435" fmla="*/ 3893161 h 6593118"/>
              <a:gd name="connsiteX1436" fmla="*/ 8176318 w 11490376"/>
              <a:gd name="connsiteY1436" fmla="*/ 3846701 h 6593118"/>
              <a:gd name="connsiteX1437" fmla="*/ 8178810 w 11490376"/>
              <a:gd name="connsiteY1437" fmla="*/ 3790461 h 6593118"/>
              <a:gd name="connsiteX1438" fmla="*/ 9803927 w 11490376"/>
              <a:gd name="connsiteY1438" fmla="*/ 3742322 h 6593118"/>
              <a:gd name="connsiteX1439" fmla="*/ 9835944 w 11490376"/>
              <a:gd name="connsiteY1439" fmla="*/ 3759276 h 6593118"/>
              <a:gd name="connsiteX1440" fmla="*/ 9850720 w 11490376"/>
              <a:gd name="connsiteY1440" fmla="*/ 3785918 h 6593118"/>
              <a:gd name="connsiteX1441" fmla="*/ 9850720 w 11490376"/>
              <a:gd name="connsiteY1441" fmla="*/ 3851312 h 6593118"/>
              <a:gd name="connsiteX1442" fmla="*/ 9828555 w 11490376"/>
              <a:gd name="connsiteY1442" fmla="*/ 3868267 h 6593118"/>
              <a:gd name="connsiteX1443" fmla="*/ 9806391 w 11490376"/>
              <a:gd name="connsiteY1443" fmla="*/ 3899752 h 6593118"/>
              <a:gd name="connsiteX1444" fmla="*/ 9779300 w 11490376"/>
              <a:gd name="connsiteY1444" fmla="*/ 3868267 h 6593118"/>
              <a:gd name="connsiteX1445" fmla="*/ 9754672 w 11490376"/>
              <a:gd name="connsiteY1445" fmla="*/ 3834358 h 6593118"/>
              <a:gd name="connsiteX1446" fmla="*/ 9734970 w 11490376"/>
              <a:gd name="connsiteY1446" fmla="*/ 3805294 h 6593118"/>
              <a:gd name="connsiteX1447" fmla="*/ 9769449 w 11490376"/>
              <a:gd name="connsiteY1447" fmla="*/ 3766542 h 6593118"/>
              <a:gd name="connsiteX1448" fmla="*/ 6578910 w 11490376"/>
              <a:gd name="connsiteY1448" fmla="*/ 3724911 h 6593118"/>
              <a:gd name="connsiteX1449" fmla="*/ 6577080 w 11490376"/>
              <a:gd name="connsiteY1449" fmla="*/ 3725078 h 6593118"/>
              <a:gd name="connsiteX1450" fmla="*/ 6567408 w 11490376"/>
              <a:gd name="connsiteY1450" fmla="*/ 3802640 h 6593118"/>
              <a:gd name="connsiteX1451" fmla="*/ 6569154 w 11490376"/>
              <a:gd name="connsiteY1451" fmla="*/ 3802524 h 6593118"/>
              <a:gd name="connsiteX1452" fmla="*/ 8921548 w 11490376"/>
              <a:gd name="connsiteY1452" fmla="*/ 3724803 h 6593118"/>
              <a:gd name="connsiteX1453" fmla="*/ 8950696 w 11490376"/>
              <a:gd name="connsiteY1453" fmla="*/ 3810886 h 6593118"/>
              <a:gd name="connsiteX1454" fmla="*/ 9001706 w 11490376"/>
              <a:gd name="connsiteY1454" fmla="*/ 3837941 h 6593118"/>
              <a:gd name="connsiteX1455" fmla="*/ 9055144 w 11490376"/>
              <a:gd name="connsiteY1455" fmla="*/ 3916647 h 6593118"/>
              <a:gd name="connsiteX1456" fmla="*/ 9064860 w 11490376"/>
              <a:gd name="connsiteY1456" fmla="*/ 4037163 h 6593118"/>
              <a:gd name="connsiteX1457" fmla="*/ 9060002 w 11490376"/>
              <a:gd name="connsiteY1457" fmla="*/ 4061759 h 6593118"/>
              <a:gd name="connsiteX1458" fmla="*/ 8989560 w 11490376"/>
              <a:gd name="connsiteY1458" fmla="*/ 4051921 h 6593118"/>
              <a:gd name="connsiteX1459" fmla="*/ 8953124 w 11490376"/>
              <a:gd name="connsiteY1459" fmla="*/ 4010108 h 6593118"/>
              <a:gd name="connsiteX1460" fmla="*/ 8909402 w 11490376"/>
              <a:gd name="connsiteY1460" fmla="*/ 3948620 h 6593118"/>
              <a:gd name="connsiteX1461" fmla="*/ 8894828 w 11490376"/>
              <a:gd name="connsiteY1461" fmla="*/ 3813346 h 6593118"/>
              <a:gd name="connsiteX1462" fmla="*/ 8889970 w 11490376"/>
              <a:gd name="connsiteY1462" fmla="*/ 3756777 h 6593118"/>
              <a:gd name="connsiteX1463" fmla="*/ 5885845 w 11490376"/>
              <a:gd name="connsiteY1463" fmla="*/ 3718355 h 6593118"/>
              <a:gd name="connsiteX1464" fmla="*/ 5895452 w 11490376"/>
              <a:gd name="connsiteY1464" fmla="*/ 3733849 h 6593118"/>
              <a:gd name="connsiteX1465" fmla="*/ 5895754 w 11490376"/>
              <a:gd name="connsiteY1465" fmla="*/ 3731457 h 6593118"/>
              <a:gd name="connsiteX1466" fmla="*/ 6178504 w 11490376"/>
              <a:gd name="connsiteY1466" fmla="*/ 3704012 h 6593118"/>
              <a:gd name="connsiteX1467" fmla="*/ 6186672 w 11490376"/>
              <a:gd name="connsiteY1467" fmla="*/ 3719098 h 6593118"/>
              <a:gd name="connsiteX1468" fmla="*/ 6203447 w 11490376"/>
              <a:gd name="connsiteY1468" fmla="*/ 3755314 h 6593118"/>
              <a:gd name="connsiteX1469" fmla="*/ 6203498 w 11490376"/>
              <a:gd name="connsiteY1469" fmla="*/ 3754639 h 6593118"/>
              <a:gd name="connsiteX1470" fmla="*/ 6188751 w 11490376"/>
              <a:gd name="connsiteY1470" fmla="*/ 3720151 h 6593118"/>
              <a:gd name="connsiteX1471" fmla="*/ 9755767 w 11490376"/>
              <a:gd name="connsiteY1471" fmla="*/ 3702906 h 6593118"/>
              <a:gd name="connsiteX1472" fmla="*/ 9755767 w 11490376"/>
              <a:gd name="connsiteY1472" fmla="*/ 3705388 h 6593118"/>
              <a:gd name="connsiteX1473" fmla="*/ 9761084 w 11490376"/>
              <a:gd name="connsiteY1473" fmla="*/ 3705388 h 6593118"/>
              <a:gd name="connsiteX1474" fmla="*/ 9763741 w 11490376"/>
              <a:gd name="connsiteY1474" fmla="*/ 3705388 h 6593118"/>
              <a:gd name="connsiteX1475" fmla="*/ 9763741 w 11490376"/>
              <a:gd name="connsiteY1475" fmla="*/ 3707869 h 6593118"/>
              <a:gd name="connsiteX1476" fmla="*/ 9766400 w 11490376"/>
              <a:gd name="connsiteY1476" fmla="*/ 3710351 h 6593118"/>
              <a:gd name="connsiteX1477" fmla="*/ 9766400 w 11490376"/>
              <a:gd name="connsiteY1477" fmla="*/ 3712833 h 6593118"/>
              <a:gd name="connsiteX1478" fmla="*/ 9766400 w 11490376"/>
              <a:gd name="connsiteY1478" fmla="*/ 3715315 h 6593118"/>
              <a:gd name="connsiteX1479" fmla="*/ 9771717 w 11490376"/>
              <a:gd name="connsiteY1479" fmla="*/ 3720278 h 6593118"/>
              <a:gd name="connsiteX1480" fmla="*/ 9766400 w 11490376"/>
              <a:gd name="connsiteY1480" fmla="*/ 3725242 h 6593118"/>
              <a:gd name="connsiteX1481" fmla="*/ 9766400 w 11490376"/>
              <a:gd name="connsiteY1481" fmla="*/ 3727724 h 6593118"/>
              <a:gd name="connsiteX1482" fmla="*/ 9766400 w 11490376"/>
              <a:gd name="connsiteY1482" fmla="*/ 3730206 h 6593118"/>
              <a:gd name="connsiteX1483" fmla="*/ 9763741 w 11490376"/>
              <a:gd name="connsiteY1483" fmla="*/ 3732687 h 6593118"/>
              <a:gd name="connsiteX1484" fmla="*/ 9763741 w 11490376"/>
              <a:gd name="connsiteY1484" fmla="*/ 3737651 h 6593118"/>
              <a:gd name="connsiteX1485" fmla="*/ 9761084 w 11490376"/>
              <a:gd name="connsiteY1485" fmla="*/ 3737651 h 6593118"/>
              <a:gd name="connsiteX1486" fmla="*/ 9755767 w 11490376"/>
              <a:gd name="connsiteY1486" fmla="*/ 3737651 h 6593118"/>
              <a:gd name="connsiteX1487" fmla="*/ 9750451 w 11490376"/>
              <a:gd name="connsiteY1487" fmla="*/ 3737651 h 6593118"/>
              <a:gd name="connsiteX1488" fmla="*/ 9745134 w 11490376"/>
              <a:gd name="connsiteY1488" fmla="*/ 3737651 h 6593118"/>
              <a:gd name="connsiteX1489" fmla="*/ 9742476 w 11490376"/>
              <a:gd name="connsiteY1489" fmla="*/ 3737651 h 6593118"/>
              <a:gd name="connsiteX1490" fmla="*/ 9742476 w 11490376"/>
              <a:gd name="connsiteY1490" fmla="*/ 3732687 h 6593118"/>
              <a:gd name="connsiteX1491" fmla="*/ 9739818 w 11490376"/>
              <a:gd name="connsiteY1491" fmla="*/ 3730206 h 6593118"/>
              <a:gd name="connsiteX1492" fmla="*/ 9737159 w 11490376"/>
              <a:gd name="connsiteY1492" fmla="*/ 3730206 h 6593118"/>
              <a:gd name="connsiteX1493" fmla="*/ 9737159 w 11490376"/>
              <a:gd name="connsiteY1493" fmla="*/ 3727724 h 6593118"/>
              <a:gd name="connsiteX1494" fmla="*/ 9737159 w 11490376"/>
              <a:gd name="connsiteY1494" fmla="*/ 3725242 h 6593118"/>
              <a:gd name="connsiteX1495" fmla="*/ 9737159 w 11490376"/>
              <a:gd name="connsiteY1495" fmla="*/ 3720278 h 6593118"/>
              <a:gd name="connsiteX1496" fmla="*/ 9737159 w 11490376"/>
              <a:gd name="connsiteY1496" fmla="*/ 3715315 h 6593118"/>
              <a:gd name="connsiteX1497" fmla="*/ 9737159 w 11490376"/>
              <a:gd name="connsiteY1497" fmla="*/ 3712833 h 6593118"/>
              <a:gd name="connsiteX1498" fmla="*/ 9739818 w 11490376"/>
              <a:gd name="connsiteY1498" fmla="*/ 3710351 h 6593118"/>
              <a:gd name="connsiteX1499" fmla="*/ 9742476 w 11490376"/>
              <a:gd name="connsiteY1499" fmla="*/ 3707869 h 6593118"/>
              <a:gd name="connsiteX1500" fmla="*/ 9742476 w 11490376"/>
              <a:gd name="connsiteY1500" fmla="*/ 3705388 h 6593118"/>
              <a:gd name="connsiteX1501" fmla="*/ 9745134 w 11490376"/>
              <a:gd name="connsiteY1501" fmla="*/ 3705388 h 6593118"/>
              <a:gd name="connsiteX1502" fmla="*/ 9750451 w 11490376"/>
              <a:gd name="connsiteY1502" fmla="*/ 3705388 h 6593118"/>
              <a:gd name="connsiteX1503" fmla="*/ 5871145 w 11490376"/>
              <a:gd name="connsiteY1503" fmla="*/ 3687448 h 6593118"/>
              <a:gd name="connsiteX1504" fmla="*/ 5869371 w 11490376"/>
              <a:gd name="connsiteY1504" fmla="*/ 3688342 h 6593118"/>
              <a:gd name="connsiteX1505" fmla="*/ 5876700 w 11490376"/>
              <a:gd name="connsiteY1505" fmla="*/ 3695728 h 6593118"/>
              <a:gd name="connsiteX1506" fmla="*/ 5877196 w 11490376"/>
              <a:gd name="connsiteY1506" fmla="*/ 3697062 h 6593118"/>
              <a:gd name="connsiteX1507" fmla="*/ 5875981 w 11490376"/>
              <a:gd name="connsiteY1507" fmla="*/ 3692242 h 6593118"/>
              <a:gd name="connsiteX1508" fmla="*/ 6175298 w 11490376"/>
              <a:gd name="connsiteY1508" fmla="*/ 3683653 h 6593118"/>
              <a:gd name="connsiteX1509" fmla="*/ 6170100 w 11490376"/>
              <a:gd name="connsiteY1509" fmla="*/ 3692242 h 6593118"/>
              <a:gd name="connsiteX1510" fmla="*/ 6152799 w 11490376"/>
              <a:gd name="connsiteY1510" fmla="*/ 3697144 h 6593118"/>
              <a:gd name="connsiteX1511" fmla="*/ 6128083 w 11490376"/>
              <a:gd name="connsiteY1511" fmla="*/ 3721653 h 6593118"/>
              <a:gd name="connsiteX1512" fmla="*/ 6113253 w 11490376"/>
              <a:gd name="connsiteY1512" fmla="*/ 3751063 h 6593118"/>
              <a:gd name="connsiteX1513" fmla="*/ 6091009 w 11490376"/>
              <a:gd name="connsiteY1513" fmla="*/ 3758416 h 6593118"/>
              <a:gd name="connsiteX1514" fmla="*/ 6078651 w 11490376"/>
              <a:gd name="connsiteY1514" fmla="*/ 3785375 h 6593118"/>
              <a:gd name="connsiteX1515" fmla="*/ 6044050 w 11490376"/>
              <a:gd name="connsiteY1515" fmla="*/ 3792728 h 6593118"/>
              <a:gd name="connsiteX1516" fmla="*/ 6029219 w 11490376"/>
              <a:gd name="connsiteY1516" fmla="*/ 3817237 h 6593118"/>
              <a:gd name="connsiteX1517" fmla="*/ 5989675 w 11490376"/>
              <a:gd name="connsiteY1517" fmla="*/ 3819688 h 6593118"/>
              <a:gd name="connsiteX1518" fmla="*/ 5977317 w 11490376"/>
              <a:gd name="connsiteY1518" fmla="*/ 3844196 h 6593118"/>
              <a:gd name="connsiteX1519" fmla="*/ 5945186 w 11490376"/>
              <a:gd name="connsiteY1519" fmla="*/ 3839294 h 6593118"/>
              <a:gd name="connsiteX1520" fmla="*/ 5923352 w 11490376"/>
              <a:gd name="connsiteY1520" fmla="*/ 3851322 h 6593118"/>
              <a:gd name="connsiteX1521" fmla="*/ 5925558 w 11490376"/>
              <a:gd name="connsiteY1521" fmla="*/ 3855770 h 6593118"/>
              <a:gd name="connsiteX1522" fmla="*/ 5908457 w 11490376"/>
              <a:gd name="connsiteY1522" fmla="*/ 3877930 h 6593118"/>
              <a:gd name="connsiteX1523" fmla="*/ 5893800 w 11490376"/>
              <a:gd name="connsiteY1523" fmla="*/ 3924712 h 6593118"/>
              <a:gd name="connsiteX1524" fmla="*/ 5918230 w 11490376"/>
              <a:gd name="connsiteY1524" fmla="*/ 3966569 h 6593118"/>
              <a:gd name="connsiteX1525" fmla="*/ 5935330 w 11490376"/>
              <a:gd name="connsiteY1525" fmla="*/ 4015812 h 6593118"/>
              <a:gd name="connsiteX1526" fmla="*/ 5945510 w 11490376"/>
              <a:gd name="connsiteY1526" fmla="*/ 4034279 h 6593118"/>
              <a:gd name="connsiteX1527" fmla="*/ 5946023 w 11490376"/>
              <a:gd name="connsiteY1527" fmla="*/ 4034211 h 6593118"/>
              <a:gd name="connsiteX1528" fmla="*/ 5936890 w 11490376"/>
              <a:gd name="connsiteY1528" fmla="*/ 4017648 h 6593118"/>
              <a:gd name="connsiteX1529" fmla="*/ 5919748 w 11490376"/>
              <a:gd name="connsiteY1529" fmla="*/ 3965833 h 6593118"/>
              <a:gd name="connsiteX1530" fmla="*/ 5895260 w 11490376"/>
              <a:gd name="connsiteY1530" fmla="*/ 3923888 h 6593118"/>
              <a:gd name="connsiteX1531" fmla="*/ 5909953 w 11490376"/>
              <a:gd name="connsiteY1531" fmla="*/ 3877009 h 6593118"/>
              <a:gd name="connsiteX1532" fmla="*/ 5927095 w 11490376"/>
              <a:gd name="connsiteY1532" fmla="*/ 3854802 h 6593118"/>
              <a:gd name="connsiteX1533" fmla="*/ 5946686 w 11490376"/>
              <a:gd name="connsiteY1533" fmla="*/ 3842465 h 6593118"/>
              <a:gd name="connsiteX1534" fmla="*/ 5980969 w 11490376"/>
              <a:gd name="connsiteY1534" fmla="*/ 3844933 h 6593118"/>
              <a:gd name="connsiteX1535" fmla="*/ 5990766 w 11490376"/>
              <a:gd name="connsiteY1535" fmla="*/ 3822728 h 6593118"/>
              <a:gd name="connsiteX1536" fmla="*/ 6029947 w 11490376"/>
              <a:gd name="connsiteY1536" fmla="*/ 3820260 h 6593118"/>
              <a:gd name="connsiteX1537" fmla="*/ 6047088 w 11490376"/>
              <a:gd name="connsiteY1537" fmla="*/ 3795586 h 6593118"/>
              <a:gd name="connsiteX1538" fmla="*/ 6078923 w 11490376"/>
              <a:gd name="connsiteY1538" fmla="*/ 3785717 h 6593118"/>
              <a:gd name="connsiteX1539" fmla="*/ 6091168 w 11490376"/>
              <a:gd name="connsiteY1539" fmla="*/ 3758576 h 6593118"/>
              <a:gd name="connsiteX1540" fmla="*/ 6115656 w 11490376"/>
              <a:gd name="connsiteY1540" fmla="*/ 3751174 h 6593118"/>
              <a:gd name="connsiteX1541" fmla="*/ 6130349 w 11490376"/>
              <a:gd name="connsiteY1541" fmla="*/ 3721566 h 6593118"/>
              <a:gd name="connsiteX1542" fmla="*/ 6154837 w 11490376"/>
              <a:gd name="connsiteY1542" fmla="*/ 3699360 h 6593118"/>
              <a:gd name="connsiteX1543" fmla="*/ 6171979 w 11490376"/>
              <a:gd name="connsiteY1543" fmla="*/ 3691958 h 6593118"/>
              <a:gd name="connsiteX1544" fmla="*/ 6171982 w 11490376"/>
              <a:gd name="connsiteY1544" fmla="*/ 3691962 h 6593118"/>
              <a:gd name="connsiteX1545" fmla="*/ 2872416 w 11490376"/>
              <a:gd name="connsiteY1545" fmla="*/ 3676628 h 6593118"/>
              <a:gd name="connsiteX1546" fmla="*/ 2889492 w 11490376"/>
              <a:gd name="connsiteY1546" fmla="*/ 3691303 h 6593118"/>
              <a:gd name="connsiteX1547" fmla="*/ 2884481 w 11490376"/>
              <a:gd name="connsiteY1547" fmla="*/ 3697697 h 6593118"/>
              <a:gd name="connsiteX1548" fmla="*/ 2890451 w 11490376"/>
              <a:gd name="connsiteY1548" fmla="*/ 3691264 h 6593118"/>
              <a:gd name="connsiteX1549" fmla="*/ 2927239 w 11490376"/>
              <a:gd name="connsiteY1549" fmla="*/ 3691264 h 6593118"/>
              <a:gd name="connsiteX1550" fmla="*/ 2939501 w 11490376"/>
              <a:gd name="connsiteY1550" fmla="*/ 3676628 h 6593118"/>
              <a:gd name="connsiteX1551" fmla="*/ 2939501 w 11490376"/>
              <a:gd name="connsiteY1551" fmla="*/ 3691264 h 6593118"/>
              <a:gd name="connsiteX1552" fmla="*/ 2966480 w 11490376"/>
              <a:gd name="connsiteY1552" fmla="*/ 3698582 h 6593118"/>
              <a:gd name="connsiteX1553" fmla="*/ 2973838 w 11490376"/>
              <a:gd name="connsiteY1553" fmla="*/ 3720537 h 6593118"/>
              <a:gd name="connsiteX1554" fmla="*/ 3005722 w 11490376"/>
              <a:gd name="connsiteY1554" fmla="*/ 3730294 h 6593118"/>
              <a:gd name="connsiteX1555" fmla="*/ 3025343 w 11490376"/>
              <a:gd name="connsiteY1555" fmla="*/ 3737613 h 6593118"/>
              <a:gd name="connsiteX1556" fmla="*/ 3032699 w 11490376"/>
              <a:gd name="connsiteY1556" fmla="*/ 3757128 h 6593118"/>
              <a:gd name="connsiteX1557" fmla="*/ 3108732 w 11490376"/>
              <a:gd name="connsiteY1557" fmla="*/ 3762006 h 6593118"/>
              <a:gd name="connsiteX1558" fmla="*/ 3135712 w 11490376"/>
              <a:gd name="connsiteY1558" fmla="*/ 3766885 h 6593118"/>
              <a:gd name="connsiteX1559" fmla="*/ 3157786 w 11490376"/>
              <a:gd name="connsiteY1559" fmla="*/ 3749810 h 6593118"/>
              <a:gd name="connsiteX1560" fmla="*/ 3199487 w 11490376"/>
              <a:gd name="connsiteY1560" fmla="*/ 3742492 h 6593118"/>
              <a:gd name="connsiteX1561" fmla="*/ 3253447 w 11490376"/>
              <a:gd name="connsiteY1561" fmla="*/ 3744930 h 6593118"/>
              <a:gd name="connsiteX1562" fmla="*/ 3253447 w 11490376"/>
              <a:gd name="connsiteY1562" fmla="*/ 3762006 h 6593118"/>
              <a:gd name="connsiteX1563" fmla="*/ 3243634 w 11490376"/>
              <a:gd name="connsiteY1563" fmla="*/ 3771765 h 6593118"/>
              <a:gd name="connsiteX1564" fmla="*/ 3260803 w 11490376"/>
              <a:gd name="connsiteY1564" fmla="*/ 3791279 h 6593118"/>
              <a:gd name="connsiteX1565" fmla="*/ 3273066 w 11490376"/>
              <a:gd name="connsiteY1565" fmla="*/ 3825431 h 6593118"/>
              <a:gd name="connsiteX1566" fmla="*/ 3287783 w 11490376"/>
              <a:gd name="connsiteY1566" fmla="*/ 3832749 h 6593118"/>
              <a:gd name="connsiteX1567" fmla="*/ 3287783 w 11490376"/>
              <a:gd name="connsiteY1567" fmla="*/ 3869339 h 6593118"/>
              <a:gd name="connsiteX1568" fmla="*/ 3273066 w 11490376"/>
              <a:gd name="connsiteY1568" fmla="*/ 3883976 h 6593118"/>
              <a:gd name="connsiteX1569" fmla="*/ 3268163 w 11490376"/>
              <a:gd name="connsiteY1569" fmla="*/ 3901051 h 6593118"/>
              <a:gd name="connsiteX1570" fmla="*/ 3246088 w 11490376"/>
              <a:gd name="connsiteY1570" fmla="*/ 3920567 h 6593118"/>
              <a:gd name="connsiteX1571" fmla="*/ 3243634 w 11490376"/>
              <a:gd name="connsiteY1571" fmla="*/ 3954719 h 6593118"/>
              <a:gd name="connsiteX1572" fmla="*/ 3260803 w 11490376"/>
              <a:gd name="connsiteY1572" fmla="*/ 3976672 h 6593118"/>
              <a:gd name="connsiteX1573" fmla="*/ 3260803 w 11490376"/>
              <a:gd name="connsiteY1573" fmla="*/ 4003505 h 6593118"/>
              <a:gd name="connsiteX1574" fmla="*/ 3254170 w 11490376"/>
              <a:gd name="connsiteY1574" fmla="*/ 4023300 h 6593118"/>
              <a:gd name="connsiteX1575" fmla="*/ 3263237 w 11490376"/>
              <a:gd name="connsiteY1575" fmla="*/ 4002905 h 6593118"/>
              <a:gd name="connsiteX1576" fmla="*/ 3265643 w 11490376"/>
              <a:gd name="connsiteY1576" fmla="*/ 4003507 h 6593118"/>
              <a:gd name="connsiteX1577" fmla="*/ 3265643 w 11490376"/>
              <a:gd name="connsiteY1577" fmla="*/ 3976803 h 6593118"/>
              <a:gd name="connsiteX1578" fmla="*/ 3248642 w 11490376"/>
              <a:gd name="connsiteY1578" fmla="*/ 3954730 h 6593118"/>
              <a:gd name="connsiteX1579" fmla="*/ 3251071 w 11490376"/>
              <a:gd name="connsiteY1579" fmla="*/ 3920394 h 6593118"/>
              <a:gd name="connsiteX1580" fmla="*/ 3270501 w 11490376"/>
              <a:gd name="connsiteY1580" fmla="*/ 3900774 h 6593118"/>
              <a:gd name="connsiteX1581" fmla="*/ 3277786 w 11490376"/>
              <a:gd name="connsiteY1581" fmla="*/ 3881154 h 6593118"/>
              <a:gd name="connsiteX1582" fmla="*/ 3292358 w 11490376"/>
              <a:gd name="connsiteY1582" fmla="*/ 3866438 h 6593118"/>
              <a:gd name="connsiteX1583" fmla="*/ 3292358 w 11490376"/>
              <a:gd name="connsiteY1583" fmla="*/ 3832103 h 6593118"/>
              <a:gd name="connsiteX1584" fmla="*/ 3319071 w 11490376"/>
              <a:gd name="connsiteY1584" fmla="*/ 3837007 h 6593118"/>
              <a:gd name="connsiteX1585" fmla="*/ 3328785 w 11490376"/>
              <a:gd name="connsiteY1585" fmla="*/ 3866438 h 6593118"/>
              <a:gd name="connsiteX1586" fmla="*/ 3348215 w 11490376"/>
              <a:gd name="connsiteY1586" fmla="*/ 3868891 h 6593118"/>
              <a:gd name="connsiteX1587" fmla="*/ 3355499 w 11490376"/>
              <a:gd name="connsiteY1587" fmla="*/ 3903226 h 6593118"/>
              <a:gd name="connsiteX1588" fmla="*/ 3382213 w 11490376"/>
              <a:gd name="connsiteY1588" fmla="*/ 3905679 h 6593118"/>
              <a:gd name="connsiteX1589" fmla="*/ 3396785 w 11490376"/>
              <a:gd name="connsiteY1589" fmla="*/ 3920394 h 6593118"/>
              <a:gd name="connsiteX1590" fmla="*/ 3401576 w 11490376"/>
              <a:gd name="connsiteY1590" fmla="*/ 3956683 h 6593118"/>
              <a:gd name="connsiteX1591" fmla="*/ 3401595 w 11490376"/>
              <a:gd name="connsiteY1591" fmla="*/ 3956546 h 6593118"/>
              <a:gd name="connsiteX1592" fmla="*/ 3432851 w 11490376"/>
              <a:gd name="connsiteY1592" fmla="*/ 3939348 h 6593118"/>
              <a:gd name="connsiteX1593" fmla="*/ 3444874 w 11490376"/>
              <a:gd name="connsiteY1593" fmla="*/ 3919694 h 6593118"/>
              <a:gd name="connsiteX1594" fmla="*/ 3485751 w 11490376"/>
              <a:gd name="connsiteY1594" fmla="*/ 3919694 h 6593118"/>
              <a:gd name="connsiteX1595" fmla="*/ 3500178 w 11490376"/>
              <a:gd name="connsiteY1595" fmla="*/ 3944261 h 6593118"/>
              <a:gd name="connsiteX1596" fmla="*/ 3490561 w 11490376"/>
              <a:gd name="connsiteY1596" fmla="*/ 3966373 h 6593118"/>
              <a:gd name="connsiteX1597" fmla="*/ 3490561 w 11490376"/>
              <a:gd name="connsiteY1597" fmla="*/ 4069560 h 6593118"/>
              <a:gd name="connsiteX1598" fmla="*/ 3481062 w 11490376"/>
              <a:gd name="connsiteY1598" fmla="*/ 4079264 h 6593118"/>
              <a:gd name="connsiteX1599" fmla="*/ 3482211 w 11490376"/>
              <a:gd name="connsiteY1599" fmla="*/ 4079155 h 6593118"/>
              <a:gd name="connsiteX1600" fmla="*/ 3483583 w 11490376"/>
              <a:gd name="connsiteY1600" fmla="*/ 4080755 h 6593118"/>
              <a:gd name="connsiteX1601" fmla="*/ 3492667 w 11490376"/>
              <a:gd name="connsiteY1601" fmla="*/ 4071608 h 6593118"/>
              <a:gd name="connsiteX1602" fmla="*/ 3492667 w 11490376"/>
              <a:gd name="connsiteY1602" fmla="*/ 3970606 h 6593118"/>
              <a:gd name="connsiteX1603" fmla="*/ 3504903 w 11490376"/>
              <a:gd name="connsiteY1603" fmla="*/ 3950898 h 6593118"/>
              <a:gd name="connsiteX1604" fmla="*/ 3522026 w 11490376"/>
              <a:gd name="connsiteY1604" fmla="*/ 3945971 h 6593118"/>
              <a:gd name="connsiteX1605" fmla="*/ 3526919 w 11490376"/>
              <a:gd name="connsiteY1605" fmla="*/ 3965679 h 6593118"/>
              <a:gd name="connsiteX1606" fmla="*/ 3551385 w 11490376"/>
              <a:gd name="connsiteY1606" fmla="*/ 3970606 h 6593118"/>
              <a:gd name="connsiteX1607" fmla="*/ 3568513 w 11490376"/>
              <a:gd name="connsiteY1607" fmla="*/ 3977996 h 6593118"/>
              <a:gd name="connsiteX1608" fmla="*/ 3573406 w 11490376"/>
              <a:gd name="connsiteY1608" fmla="*/ 4000167 h 6593118"/>
              <a:gd name="connsiteX1609" fmla="*/ 3597870 w 11490376"/>
              <a:gd name="connsiteY1609" fmla="*/ 4014948 h 6593118"/>
              <a:gd name="connsiteX1610" fmla="*/ 3604544 w 11490376"/>
              <a:gd name="connsiteY1610" fmla="*/ 4037340 h 6593118"/>
              <a:gd name="connsiteX1611" fmla="*/ 3605229 w 11490376"/>
              <a:gd name="connsiteY1611" fmla="*/ 4037340 h 6593118"/>
              <a:gd name="connsiteX1612" fmla="*/ 3624911 w 11490376"/>
              <a:gd name="connsiteY1612" fmla="*/ 4059478 h 6593118"/>
              <a:gd name="connsiteX1613" fmla="*/ 3651975 w 11490376"/>
              <a:gd name="connsiteY1613" fmla="*/ 4120969 h 6593118"/>
              <a:gd name="connsiteX1614" fmla="*/ 3642134 w 11490376"/>
              <a:gd name="connsiteY1614" fmla="*/ 4140646 h 6593118"/>
              <a:gd name="connsiteX1615" fmla="*/ 3624911 w 11490376"/>
              <a:gd name="connsiteY1615" fmla="*/ 4175081 h 6593118"/>
              <a:gd name="connsiteX1616" fmla="*/ 3605229 w 11490376"/>
              <a:gd name="connsiteY1616" fmla="*/ 4202137 h 6593118"/>
              <a:gd name="connsiteX1617" fmla="*/ 3573244 w 11490376"/>
              <a:gd name="connsiteY1617" fmla="*/ 4256249 h 6593118"/>
              <a:gd name="connsiteX1618" fmla="*/ 3597848 w 11490376"/>
              <a:gd name="connsiteY1618" fmla="*/ 4246411 h 6593118"/>
              <a:gd name="connsiteX1619" fmla="*/ 3615071 w 11490376"/>
              <a:gd name="connsiteY1619" fmla="*/ 4224274 h 6593118"/>
              <a:gd name="connsiteX1620" fmla="*/ 3634753 w 11490376"/>
              <a:gd name="connsiteY1620" fmla="*/ 4202137 h 6593118"/>
              <a:gd name="connsiteX1621" fmla="*/ 3656897 w 11490376"/>
              <a:gd name="connsiteY1621" fmla="*/ 4184920 h 6593118"/>
              <a:gd name="connsiteX1622" fmla="*/ 3683962 w 11490376"/>
              <a:gd name="connsiteY1622" fmla="*/ 4184920 h 6593118"/>
              <a:gd name="connsiteX1623" fmla="*/ 3703643 w 11490376"/>
              <a:gd name="connsiteY1623" fmla="*/ 4199678 h 6593118"/>
              <a:gd name="connsiteX1624" fmla="*/ 3688882 w 11490376"/>
              <a:gd name="connsiteY1624" fmla="*/ 4229193 h 6593118"/>
              <a:gd name="connsiteX1625" fmla="*/ 3674120 w 11490376"/>
              <a:gd name="connsiteY1625" fmla="*/ 4253790 h 6593118"/>
              <a:gd name="connsiteX1626" fmla="*/ 3706103 w 11490376"/>
              <a:gd name="connsiteY1626" fmla="*/ 4236572 h 6593118"/>
              <a:gd name="connsiteX1627" fmla="*/ 3715945 w 11490376"/>
              <a:gd name="connsiteY1627" fmla="*/ 4216895 h 6593118"/>
              <a:gd name="connsiteX1628" fmla="*/ 3740550 w 11490376"/>
              <a:gd name="connsiteY1628" fmla="*/ 4209516 h 6593118"/>
              <a:gd name="connsiteX1629" fmla="*/ 3779915 w 11490376"/>
              <a:gd name="connsiteY1629" fmla="*/ 4204597 h 6593118"/>
              <a:gd name="connsiteX1630" fmla="*/ 3811900 w 11490376"/>
              <a:gd name="connsiteY1630" fmla="*/ 4209516 h 6593118"/>
              <a:gd name="connsiteX1631" fmla="*/ 3841423 w 11490376"/>
              <a:gd name="connsiteY1631" fmla="*/ 4229193 h 6593118"/>
              <a:gd name="connsiteX1632" fmla="*/ 3863568 w 11490376"/>
              <a:gd name="connsiteY1632" fmla="*/ 4256249 h 6593118"/>
              <a:gd name="connsiteX1633" fmla="*/ 3893093 w 11490376"/>
              <a:gd name="connsiteY1633" fmla="*/ 4273466 h 6593118"/>
              <a:gd name="connsiteX1634" fmla="*/ 3915235 w 11490376"/>
              <a:gd name="connsiteY1634" fmla="*/ 4271007 h 6593118"/>
              <a:gd name="connsiteX1635" fmla="*/ 3937380 w 11490376"/>
              <a:gd name="connsiteY1635" fmla="*/ 4258708 h 6593118"/>
              <a:gd name="connsiteX1636" fmla="*/ 3954602 w 11490376"/>
              <a:gd name="connsiteY1636" fmla="*/ 4275926 h 6593118"/>
              <a:gd name="connsiteX1637" fmla="*/ 3989045 w 11490376"/>
              <a:gd name="connsiteY1637" fmla="*/ 4283306 h 6593118"/>
              <a:gd name="connsiteX1638" fmla="*/ 4023491 w 11490376"/>
              <a:gd name="connsiteY1638" fmla="*/ 4283306 h 6593118"/>
              <a:gd name="connsiteX1639" fmla="*/ 4048095 w 11490376"/>
              <a:gd name="connsiteY1639" fmla="*/ 4295604 h 6593118"/>
              <a:gd name="connsiteX1640" fmla="*/ 4055476 w 11490376"/>
              <a:gd name="connsiteY1640" fmla="*/ 4322659 h 6593118"/>
              <a:gd name="connsiteX1641" fmla="*/ 4085001 w 11490376"/>
              <a:gd name="connsiteY1641" fmla="*/ 4322659 h 6593118"/>
              <a:gd name="connsiteX1642" fmla="*/ 4104685 w 11490376"/>
              <a:gd name="connsiteY1642" fmla="*/ 4352175 h 6593118"/>
              <a:gd name="connsiteX1643" fmla="*/ 4126828 w 11490376"/>
              <a:gd name="connsiteY1643" fmla="*/ 4366933 h 6593118"/>
              <a:gd name="connsiteX1644" fmla="*/ 4153892 w 11490376"/>
              <a:gd name="connsiteY1644" fmla="*/ 4371853 h 6593118"/>
              <a:gd name="connsiteX1645" fmla="*/ 4168654 w 11490376"/>
              <a:gd name="connsiteY1645" fmla="*/ 4386611 h 6593118"/>
              <a:gd name="connsiteX1646" fmla="*/ 4176034 w 11490376"/>
              <a:gd name="connsiteY1646" fmla="*/ 4455481 h 6593118"/>
              <a:gd name="connsiteX1647" fmla="*/ 4200639 w 11490376"/>
              <a:gd name="connsiteY1647" fmla="*/ 4457940 h 6593118"/>
              <a:gd name="connsiteX1648" fmla="*/ 4193258 w 11490376"/>
              <a:gd name="connsiteY1648" fmla="*/ 4489916 h 6593118"/>
              <a:gd name="connsiteX1649" fmla="*/ 4178499 w 11490376"/>
              <a:gd name="connsiteY1649" fmla="*/ 4489916 h 6593118"/>
              <a:gd name="connsiteX1650" fmla="*/ 4180955 w 11490376"/>
              <a:gd name="connsiteY1650" fmla="*/ 4524352 h 6593118"/>
              <a:gd name="connsiteX1651" fmla="*/ 4166193 w 11490376"/>
              <a:gd name="connsiteY1651" fmla="*/ 4529271 h 6593118"/>
              <a:gd name="connsiteX1652" fmla="*/ 4166193 w 11490376"/>
              <a:gd name="connsiteY1652" fmla="*/ 4558787 h 6593118"/>
              <a:gd name="connsiteX1653" fmla="*/ 4139131 w 11490376"/>
              <a:gd name="connsiteY1653" fmla="*/ 4568624 h 6593118"/>
              <a:gd name="connsiteX1654" fmla="*/ 4129289 w 11490376"/>
              <a:gd name="connsiteY1654" fmla="*/ 4603061 h 6593118"/>
              <a:gd name="connsiteX1655" fmla="*/ 4112067 w 11490376"/>
              <a:gd name="connsiteY1655" fmla="*/ 4610439 h 6593118"/>
              <a:gd name="connsiteX1656" fmla="*/ 4102225 w 11490376"/>
              <a:gd name="connsiteY1656" fmla="*/ 4644874 h 6593118"/>
              <a:gd name="connsiteX1657" fmla="*/ 4085001 w 11490376"/>
              <a:gd name="connsiteY1657" fmla="*/ 4654713 h 6593118"/>
              <a:gd name="connsiteX1658" fmla="*/ 4085001 w 11490376"/>
              <a:gd name="connsiteY1658" fmla="*/ 4691607 h 6593118"/>
              <a:gd name="connsiteX1659" fmla="*/ 4053016 w 11490376"/>
              <a:gd name="connsiteY1659" fmla="*/ 4703906 h 6593118"/>
              <a:gd name="connsiteX1660" fmla="*/ 4043174 w 11490376"/>
              <a:gd name="connsiteY1660" fmla="*/ 4890839 h 6593118"/>
              <a:gd name="connsiteX1661" fmla="*/ 4025951 w 11490376"/>
              <a:gd name="connsiteY1661" fmla="*/ 4900678 h 6593118"/>
              <a:gd name="connsiteX1662" fmla="*/ 4021030 w 11490376"/>
              <a:gd name="connsiteY1662" fmla="*/ 4967088 h 6593118"/>
              <a:gd name="connsiteX1663" fmla="*/ 4006267 w 11490376"/>
              <a:gd name="connsiteY1663" fmla="*/ 5006443 h 6593118"/>
              <a:gd name="connsiteX1664" fmla="*/ 3989045 w 11490376"/>
              <a:gd name="connsiteY1664" fmla="*/ 5035959 h 6593118"/>
              <a:gd name="connsiteX1665" fmla="*/ 3979204 w 11490376"/>
              <a:gd name="connsiteY1665" fmla="*/ 5099910 h 6593118"/>
              <a:gd name="connsiteX1666" fmla="*/ 3922616 w 11490376"/>
              <a:gd name="connsiteY1666" fmla="*/ 5102369 h 6593118"/>
              <a:gd name="connsiteX1667" fmla="*/ 3915235 w 11490376"/>
              <a:gd name="connsiteY1667" fmla="*/ 5122046 h 6593118"/>
              <a:gd name="connsiteX1668" fmla="*/ 3841423 w 11490376"/>
              <a:gd name="connsiteY1668" fmla="*/ 5131885 h 6593118"/>
              <a:gd name="connsiteX1669" fmla="*/ 3804519 w 11490376"/>
              <a:gd name="connsiteY1669" fmla="*/ 5158942 h 6593118"/>
              <a:gd name="connsiteX1670" fmla="*/ 3784838 w 11490376"/>
              <a:gd name="connsiteY1670" fmla="*/ 5173700 h 6593118"/>
              <a:gd name="connsiteX1671" fmla="*/ 3772538 w 11490376"/>
              <a:gd name="connsiteY1671" fmla="*/ 5193377 h 6593118"/>
              <a:gd name="connsiteX1672" fmla="*/ 3743009 w 11490376"/>
              <a:gd name="connsiteY1672" fmla="*/ 5205675 h 6593118"/>
              <a:gd name="connsiteX1673" fmla="*/ 3735628 w 11490376"/>
              <a:gd name="connsiteY1673" fmla="*/ 5232730 h 6593118"/>
              <a:gd name="connsiteX1674" fmla="*/ 3723327 w 11490376"/>
              <a:gd name="connsiteY1674" fmla="*/ 5350794 h 6593118"/>
              <a:gd name="connsiteX1675" fmla="*/ 3683962 w 11490376"/>
              <a:gd name="connsiteY1675" fmla="*/ 5375391 h 6593118"/>
              <a:gd name="connsiteX1676" fmla="*/ 3688882 w 11490376"/>
              <a:gd name="connsiteY1676" fmla="*/ 5424584 h 6593118"/>
              <a:gd name="connsiteX1677" fmla="*/ 3669198 w 11490376"/>
              <a:gd name="connsiteY1677" fmla="*/ 5441801 h 6593118"/>
              <a:gd name="connsiteX1678" fmla="*/ 3661817 w 11490376"/>
              <a:gd name="connsiteY1678" fmla="*/ 5473777 h 6593118"/>
              <a:gd name="connsiteX1679" fmla="*/ 3627372 w 11490376"/>
              <a:gd name="connsiteY1679" fmla="*/ 5486075 h 6593118"/>
              <a:gd name="connsiteX1680" fmla="*/ 3637213 w 11490376"/>
              <a:gd name="connsiteY1680" fmla="*/ 5466397 h 6593118"/>
              <a:gd name="connsiteX1681" fmla="*/ 3642134 w 11490376"/>
              <a:gd name="connsiteY1681" fmla="*/ 5441801 h 6593118"/>
              <a:gd name="connsiteX1682" fmla="*/ 3634753 w 11490376"/>
              <a:gd name="connsiteY1682" fmla="*/ 5431962 h 6593118"/>
              <a:gd name="connsiteX1683" fmla="*/ 3619991 w 11490376"/>
              <a:gd name="connsiteY1683" fmla="*/ 5429503 h 6593118"/>
              <a:gd name="connsiteX1684" fmla="*/ 3617530 w 11490376"/>
              <a:gd name="connsiteY1684" fmla="*/ 5476236 h 6593118"/>
              <a:gd name="connsiteX1685" fmla="*/ 3607690 w 11490376"/>
              <a:gd name="connsiteY1685" fmla="*/ 5505752 h 6593118"/>
              <a:gd name="connsiteX1686" fmla="*/ 3605229 w 11490376"/>
              <a:gd name="connsiteY1686" fmla="*/ 5547566 h 6593118"/>
              <a:gd name="connsiteX1687" fmla="*/ 3588006 w 11490376"/>
              <a:gd name="connsiteY1687" fmla="*/ 5577082 h 6593118"/>
              <a:gd name="connsiteX1688" fmla="*/ 3585214 w 11490376"/>
              <a:gd name="connsiteY1688" fmla="*/ 5566844 h 6593118"/>
              <a:gd name="connsiteX1689" fmla="*/ 3587711 w 11490376"/>
              <a:gd name="connsiteY1689" fmla="*/ 5577051 h 6593118"/>
              <a:gd name="connsiteX1690" fmla="*/ 3565792 w 11490376"/>
              <a:gd name="connsiteY1690" fmla="*/ 5591982 h 6593118"/>
              <a:gd name="connsiteX1691" fmla="*/ 3556052 w 11490376"/>
              <a:gd name="connsiteY1691" fmla="*/ 5601936 h 6593118"/>
              <a:gd name="connsiteX1692" fmla="*/ 3551179 w 11490376"/>
              <a:gd name="connsiteY1692" fmla="*/ 5616866 h 6593118"/>
              <a:gd name="connsiteX1693" fmla="*/ 3524393 w 11490376"/>
              <a:gd name="connsiteY1693" fmla="*/ 5621842 h 6593118"/>
              <a:gd name="connsiteX1694" fmla="*/ 3517084 w 11490376"/>
              <a:gd name="connsiteY1694" fmla="*/ 5631795 h 6593118"/>
              <a:gd name="connsiteX1695" fmla="*/ 3502476 w 11490376"/>
              <a:gd name="connsiteY1695" fmla="*/ 5624331 h 6593118"/>
              <a:gd name="connsiteX1696" fmla="*/ 3465942 w 11490376"/>
              <a:gd name="connsiteY1696" fmla="*/ 5609400 h 6593118"/>
              <a:gd name="connsiteX1697" fmla="*/ 3439151 w 11490376"/>
              <a:gd name="connsiteY1697" fmla="*/ 5594470 h 6593118"/>
              <a:gd name="connsiteX1698" fmla="*/ 3424990 w 11490376"/>
              <a:gd name="connsiteY1698" fmla="*/ 5608940 h 6593118"/>
              <a:gd name="connsiteX1699" fmla="*/ 3424990 w 11490376"/>
              <a:gd name="connsiteY1699" fmla="*/ 5627454 h 6593118"/>
              <a:gd name="connsiteX1700" fmla="*/ 3439693 w 11490376"/>
              <a:gd name="connsiteY1700" fmla="*/ 5634811 h 6593118"/>
              <a:gd name="connsiteX1701" fmla="*/ 3461746 w 11490376"/>
              <a:gd name="connsiteY1701" fmla="*/ 5637263 h 6593118"/>
              <a:gd name="connsiteX1702" fmla="*/ 3461746 w 11490376"/>
              <a:gd name="connsiteY1702" fmla="*/ 5688767 h 6593118"/>
              <a:gd name="connsiteX1703" fmla="*/ 3481349 w 11490376"/>
              <a:gd name="connsiteY1703" fmla="*/ 5696125 h 6593118"/>
              <a:gd name="connsiteX1704" fmla="*/ 3476449 w 11490376"/>
              <a:gd name="connsiteY1704" fmla="*/ 5742723 h 6593118"/>
              <a:gd name="connsiteX1705" fmla="*/ 3454394 w 11490376"/>
              <a:gd name="connsiteY1705" fmla="*/ 5757438 h 6593118"/>
              <a:gd name="connsiteX1706" fmla="*/ 3424990 w 11490376"/>
              <a:gd name="connsiteY1706" fmla="*/ 5762343 h 6593118"/>
              <a:gd name="connsiteX1707" fmla="*/ 3415189 w 11490376"/>
              <a:gd name="connsiteY1707" fmla="*/ 5786869 h 6593118"/>
              <a:gd name="connsiteX1708" fmla="*/ 3398035 w 11490376"/>
              <a:gd name="connsiteY1708" fmla="*/ 5789322 h 6593118"/>
              <a:gd name="connsiteX1709" fmla="*/ 3331876 w 11490376"/>
              <a:gd name="connsiteY1709" fmla="*/ 5801585 h 6593118"/>
              <a:gd name="connsiteX1710" fmla="*/ 3307371 w 11490376"/>
              <a:gd name="connsiteY1710" fmla="*/ 5804037 h 6593118"/>
              <a:gd name="connsiteX1711" fmla="*/ 3300021 w 11490376"/>
              <a:gd name="connsiteY1711" fmla="*/ 5816299 h 6593118"/>
              <a:gd name="connsiteX1712" fmla="*/ 3307371 w 11490376"/>
              <a:gd name="connsiteY1712" fmla="*/ 5853087 h 6593118"/>
              <a:gd name="connsiteX1713" fmla="*/ 3307371 w 11490376"/>
              <a:gd name="connsiteY1713" fmla="*/ 5902138 h 6593118"/>
              <a:gd name="connsiteX1714" fmla="*/ 3273066 w 11490376"/>
              <a:gd name="connsiteY1714" fmla="*/ 5914402 h 6593118"/>
              <a:gd name="connsiteX1715" fmla="*/ 3216706 w 11490376"/>
              <a:gd name="connsiteY1715" fmla="*/ 5884971 h 6593118"/>
              <a:gd name="connsiteX1716" fmla="*/ 3209356 w 11490376"/>
              <a:gd name="connsiteY1716" fmla="*/ 5921759 h 6593118"/>
              <a:gd name="connsiteX1717" fmla="*/ 3236311 w 11490376"/>
              <a:gd name="connsiteY1717" fmla="*/ 5941379 h 6593118"/>
              <a:gd name="connsiteX1718" fmla="*/ 3246112 w 11490376"/>
              <a:gd name="connsiteY1718" fmla="*/ 5965905 h 6593118"/>
              <a:gd name="connsiteX1719" fmla="*/ 3253463 w 11490376"/>
              <a:gd name="connsiteY1719" fmla="*/ 5995335 h 6593118"/>
              <a:gd name="connsiteX1720" fmla="*/ 3238759 w 11490376"/>
              <a:gd name="connsiteY1720" fmla="*/ 6010050 h 6593118"/>
              <a:gd name="connsiteX1721" fmla="*/ 3224060 w 11490376"/>
              <a:gd name="connsiteY1721" fmla="*/ 6029671 h 6593118"/>
              <a:gd name="connsiteX1722" fmla="*/ 3209356 w 11490376"/>
              <a:gd name="connsiteY1722" fmla="*/ 6076269 h 6593118"/>
              <a:gd name="connsiteX1723" fmla="*/ 3189754 w 11490376"/>
              <a:gd name="connsiteY1723" fmla="*/ 6083627 h 6593118"/>
              <a:gd name="connsiteX1724" fmla="*/ 3184852 w 11490376"/>
              <a:gd name="connsiteY1724" fmla="*/ 6103248 h 6593118"/>
              <a:gd name="connsiteX1725" fmla="*/ 3160347 w 11490376"/>
              <a:gd name="connsiteY1725" fmla="*/ 6110605 h 6593118"/>
              <a:gd name="connsiteX1726" fmla="*/ 3155447 w 11490376"/>
              <a:gd name="connsiteY1726" fmla="*/ 6159656 h 6593118"/>
              <a:gd name="connsiteX1727" fmla="*/ 3209356 w 11490376"/>
              <a:gd name="connsiteY1727" fmla="*/ 6181729 h 6593118"/>
              <a:gd name="connsiteX1728" fmla="*/ 3209356 w 11490376"/>
              <a:gd name="connsiteY1728" fmla="*/ 6206254 h 6593118"/>
              <a:gd name="connsiteX1729" fmla="*/ 3209356 w 11490376"/>
              <a:gd name="connsiteY1729" fmla="*/ 6228328 h 6593118"/>
              <a:gd name="connsiteX1730" fmla="*/ 3189754 w 11490376"/>
              <a:gd name="connsiteY1730" fmla="*/ 6243042 h 6593118"/>
              <a:gd name="connsiteX1731" fmla="*/ 3175050 w 11490376"/>
              <a:gd name="connsiteY1731" fmla="*/ 6262664 h 6593118"/>
              <a:gd name="connsiteX1732" fmla="*/ 3177501 w 11490376"/>
              <a:gd name="connsiteY1732" fmla="*/ 6321524 h 6593118"/>
              <a:gd name="connsiteX1733" fmla="*/ 3150546 w 11490376"/>
              <a:gd name="connsiteY1733" fmla="*/ 6328881 h 6593118"/>
              <a:gd name="connsiteX1734" fmla="*/ 3130940 w 11490376"/>
              <a:gd name="connsiteY1734" fmla="*/ 6343597 h 6593118"/>
              <a:gd name="connsiteX1735" fmla="*/ 3133393 w 11490376"/>
              <a:gd name="connsiteY1735" fmla="*/ 6375480 h 6593118"/>
              <a:gd name="connsiteX1736" fmla="*/ 3130940 w 11490376"/>
              <a:gd name="connsiteY1736" fmla="*/ 6419625 h 6593118"/>
              <a:gd name="connsiteX1737" fmla="*/ 3023129 w 11490376"/>
              <a:gd name="connsiteY1737" fmla="*/ 6424532 h 6593118"/>
              <a:gd name="connsiteX1738" fmla="*/ 3018964 w 11490376"/>
              <a:gd name="connsiteY1738" fmla="*/ 6396750 h 6593118"/>
              <a:gd name="connsiteX1739" fmla="*/ 3023314 w 11490376"/>
              <a:gd name="connsiteY1739" fmla="*/ 6427067 h 6593118"/>
              <a:gd name="connsiteX1740" fmla="*/ 3129323 w 11490376"/>
              <a:gd name="connsiteY1740" fmla="*/ 6422156 h 6593118"/>
              <a:gd name="connsiteX1741" fmla="*/ 3136719 w 11490376"/>
              <a:gd name="connsiteY1741" fmla="*/ 6488472 h 6593118"/>
              <a:gd name="connsiteX1742" fmla="*/ 3109599 w 11490376"/>
              <a:gd name="connsiteY1742" fmla="*/ 6503209 h 6593118"/>
              <a:gd name="connsiteX1743" fmla="*/ 3099736 w 11490376"/>
              <a:gd name="connsiteY1743" fmla="*/ 6544964 h 6593118"/>
              <a:gd name="connsiteX1744" fmla="*/ 3082477 w 11490376"/>
              <a:gd name="connsiteY1744" fmla="*/ 6517947 h 6593118"/>
              <a:gd name="connsiteX1745" fmla="*/ 3062757 w 11490376"/>
              <a:gd name="connsiteY1745" fmla="*/ 6498297 h 6593118"/>
              <a:gd name="connsiteX1746" fmla="*/ 3030708 w 11490376"/>
              <a:gd name="connsiteY1746" fmla="*/ 6481104 h 6593118"/>
              <a:gd name="connsiteX1747" fmla="*/ 3018380 w 11490376"/>
              <a:gd name="connsiteY1747" fmla="*/ 6456542 h 6593118"/>
              <a:gd name="connsiteX1748" fmla="*/ 2993729 w 11490376"/>
              <a:gd name="connsiteY1748" fmla="*/ 6444261 h 6593118"/>
              <a:gd name="connsiteX1749" fmla="*/ 2983869 w 11490376"/>
              <a:gd name="connsiteY1749" fmla="*/ 6427067 h 6593118"/>
              <a:gd name="connsiteX1750" fmla="*/ 2978937 w 11490376"/>
              <a:gd name="connsiteY1750" fmla="*/ 6390224 h 6593118"/>
              <a:gd name="connsiteX1751" fmla="*/ 2954286 w 11490376"/>
              <a:gd name="connsiteY1751" fmla="*/ 6377944 h 6593118"/>
              <a:gd name="connsiteX1752" fmla="*/ 2934565 w 11490376"/>
              <a:gd name="connsiteY1752" fmla="*/ 6346014 h 6593118"/>
              <a:gd name="connsiteX1753" fmla="*/ 2917306 w 11490376"/>
              <a:gd name="connsiteY1753" fmla="*/ 6282152 h 6593118"/>
              <a:gd name="connsiteX1754" fmla="*/ 2941959 w 11490376"/>
              <a:gd name="connsiteY1754" fmla="*/ 6218292 h 6593118"/>
              <a:gd name="connsiteX1755" fmla="*/ 2917306 w 11490376"/>
              <a:gd name="connsiteY1755" fmla="*/ 6206011 h 6593118"/>
              <a:gd name="connsiteX1756" fmla="*/ 2919772 w 11490376"/>
              <a:gd name="connsiteY1756" fmla="*/ 6149519 h 6593118"/>
              <a:gd name="connsiteX1757" fmla="*/ 2934565 w 11490376"/>
              <a:gd name="connsiteY1757" fmla="*/ 6117589 h 6593118"/>
              <a:gd name="connsiteX1758" fmla="*/ 2929632 w 11490376"/>
              <a:gd name="connsiteY1758" fmla="*/ 6007060 h 6593118"/>
              <a:gd name="connsiteX1759" fmla="*/ 2922237 w 11490376"/>
              <a:gd name="connsiteY1759" fmla="*/ 5999692 h 6593118"/>
              <a:gd name="connsiteX1760" fmla="*/ 2897583 w 11490376"/>
              <a:gd name="connsiteY1760" fmla="*/ 5999692 h 6593118"/>
              <a:gd name="connsiteX1761" fmla="*/ 2912377 w 11490376"/>
              <a:gd name="connsiteY1761" fmla="*/ 5965305 h 6593118"/>
              <a:gd name="connsiteX1762" fmla="*/ 2885258 w 11490376"/>
              <a:gd name="connsiteY1762" fmla="*/ 5741792 h 6593118"/>
              <a:gd name="connsiteX1763" fmla="*/ 2895120 w 11490376"/>
              <a:gd name="connsiteY1763" fmla="*/ 5727055 h 6593118"/>
              <a:gd name="connsiteX1764" fmla="*/ 2907445 w 11490376"/>
              <a:gd name="connsiteY1764" fmla="*/ 5702493 h 6593118"/>
              <a:gd name="connsiteX1765" fmla="*/ 2922237 w 11490376"/>
              <a:gd name="connsiteY1765" fmla="*/ 5550210 h 6593118"/>
              <a:gd name="connsiteX1766" fmla="*/ 2912377 w 11490376"/>
              <a:gd name="connsiteY1766" fmla="*/ 5545297 h 6593118"/>
              <a:gd name="connsiteX1767" fmla="*/ 2919772 w 11490376"/>
              <a:gd name="connsiteY1767" fmla="*/ 5422488 h 6593118"/>
              <a:gd name="connsiteX1768" fmla="*/ 2929632 w 11490376"/>
              <a:gd name="connsiteY1768" fmla="*/ 5373365 h 6593118"/>
              <a:gd name="connsiteX1769" fmla="*/ 2917306 w 11490376"/>
              <a:gd name="connsiteY1769" fmla="*/ 5351258 h 6593118"/>
              <a:gd name="connsiteX1770" fmla="*/ 2941959 w 11490376"/>
              <a:gd name="connsiteY1770" fmla="*/ 5351258 h 6593118"/>
              <a:gd name="connsiteX1771" fmla="*/ 2944424 w 11490376"/>
              <a:gd name="connsiteY1771" fmla="*/ 5253011 h 6593118"/>
              <a:gd name="connsiteX1772" fmla="*/ 2954286 w 11490376"/>
              <a:gd name="connsiteY1772" fmla="*/ 5253011 h 6593118"/>
              <a:gd name="connsiteX1773" fmla="*/ 2954286 w 11490376"/>
              <a:gd name="connsiteY1773" fmla="*/ 5167045 h 6593118"/>
              <a:gd name="connsiteX1774" fmla="*/ 2941959 w 11490376"/>
              <a:gd name="connsiteY1774" fmla="*/ 5167045 h 6593118"/>
              <a:gd name="connsiteX1775" fmla="*/ 2941959 w 11490376"/>
              <a:gd name="connsiteY1775" fmla="*/ 5147396 h 6593118"/>
              <a:gd name="connsiteX1776" fmla="*/ 2956750 w 11490376"/>
              <a:gd name="connsiteY1776" fmla="*/ 5130203 h 6593118"/>
              <a:gd name="connsiteX1777" fmla="*/ 2954286 w 11490376"/>
              <a:gd name="connsiteY1777" fmla="*/ 4987743 h 6593118"/>
              <a:gd name="connsiteX1778" fmla="*/ 2944424 w 11490376"/>
              <a:gd name="connsiteY1778" fmla="*/ 4968094 h 6593118"/>
              <a:gd name="connsiteX1779" fmla="*/ 2937304 w 11490376"/>
              <a:gd name="connsiteY1779" fmla="*/ 4918426 h 6593118"/>
              <a:gd name="connsiteX1780" fmla="*/ 2935405 w 11490376"/>
              <a:gd name="connsiteY1780" fmla="*/ 4920155 h 6593118"/>
              <a:gd name="connsiteX1781" fmla="*/ 2906013 w 11490376"/>
              <a:gd name="connsiteY1781" fmla="*/ 4895621 h 6593118"/>
              <a:gd name="connsiteX1782" fmla="*/ 2857027 w 11490376"/>
              <a:gd name="connsiteY1782" fmla="*/ 4856365 h 6593118"/>
              <a:gd name="connsiteX1783" fmla="*/ 2803136 w 11490376"/>
              <a:gd name="connsiteY1783" fmla="*/ 4836736 h 6593118"/>
              <a:gd name="connsiteX1784" fmla="*/ 2768843 w 11490376"/>
              <a:gd name="connsiteY1784" fmla="*/ 4792574 h 6593118"/>
              <a:gd name="connsiteX1785" fmla="*/ 2732100 w 11490376"/>
              <a:gd name="connsiteY1785" fmla="*/ 4770491 h 6593118"/>
              <a:gd name="connsiteX1786" fmla="*/ 2719851 w 11490376"/>
              <a:gd name="connsiteY1786" fmla="*/ 4738597 h 6593118"/>
              <a:gd name="connsiteX1787" fmla="*/ 2729649 w 11490376"/>
              <a:gd name="connsiteY1787" fmla="*/ 4723875 h 6593118"/>
              <a:gd name="connsiteX1788" fmla="*/ 2712501 w 11490376"/>
              <a:gd name="connsiteY1788" fmla="*/ 4709154 h 6593118"/>
              <a:gd name="connsiteX1789" fmla="*/ 2695354 w 11490376"/>
              <a:gd name="connsiteY1789" fmla="*/ 4674806 h 6593118"/>
              <a:gd name="connsiteX1790" fmla="*/ 2685556 w 11490376"/>
              <a:gd name="connsiteY1790" fmla="*/ 4640456 h 6593118"/>
              <a:gd name="connsiteX1791" fmla="*/ 2670861 w 11490376"/>
              <a:gd name="connsiteY1791" fmla="*/ 4620828 h 6593118"/>
              <a:gd name="connsiteX1792" fmla="*/ 2661062 w 11490376"/>
              <a:gd name="connsiteY1792" fmla="*/ 4611013 h 6593118"/>
              <a:gd name="connsiteX1793" fmla="*/ 2656162 w 11490376"/>
              <a:gd name="connsiteY1793" fmla="*/ 4574211 h 6593118"/>
              <a:gd name="connsiteX1794" fmla="*/ 2634119 w 11490376"/>
              <a:gd name="connsiteY1794" fmla="*/ 4561944 h 6593118"/>
              <a:gd name="connsiteX1795" fmla="*/ 2621873 w 11490376"/>
              <a:gd name="connsiteY1795" fmla="*/ 4530049 h 6593118"/>
              <a:gd name="connsiteX1796" fmla="*/ 2616972 w 11490376"/>
              <a:gd name="connsiteY1796" fmla="*/ 4495699 h 6593118"/>
              <a:gd name="connsiteX1797" fmla="*/ 2597376 w 11490376"/>
              <a:gd name="connsiteY1797" fmla="*/ 4480978 h 6593118"/>
              <a:gd name="connsiteX1798" fmla="*/ 2582682 w 11490376"/>
              <a:gd name="connsiteY1798" fmla="*/ 4424548 h 6593118"/>
              <a:gd name="connsiteX1799" fmla="*/ 2545939 w 11490376"/>
              <a:gd name="connsiteY1799" fmla="*/ 4424548 h 6593118"/>
              <a:gd name="connsiteX1800" fmla="*/ 2545939 w 11490376"/>
              <a:gd name="connsiteY1800" fmla="*/ 4341129 h 6593118"/>
              <a:gd name="connsiteX1801" fmla="*/ 2560638 w 11490376"/>
              <a:gd name="connsiteY1801" fmla="*/ 4326408 h 6593118"/>
              <a:gd name="connsiteX1802" fmla="*/ 2580228 w 11490376"/>
              <a:gd name="connsiteY1802" fmla="*/ 4326408 h 6593118"/>
              <a:gd name="connsiteX1803" fmla="*/ 2584847 w 11490376"/>
              <a:gd name="connsiteY1803" fmla="*/ 4344897 h 6593118"/>
              <a:gd name="connsiteX1804" fmla="*/ 2584847 w 11490376"/>
              <a:gd name="connsiteY1804" fmla="*/ 4319382 h 6593118"/>
              <a:gd name="connsiteX1805" fmla="*/ 2582399 w 11490376"/>
              <a:gd name="connsiteY1805" fmla="*/ 4292194 h 6593118"/>
              <a:gd name="connsiteX1806" fmla="*/ 2557918 w 11490376"/>
              <a:gd name="connsiteY1806" fmla="*/ 4269949 h 6593118"/>
              <a:gd name="connsiteX1807" fmla="*/ 2548130 w 11490376"/>
              <a:gd name="connsiteY1807" fmla="*/ 4242762 h 6593118"/>
              <a:gd name="connsiteX1808" fmla="*/ 2557918 w 11490376"/>
              <a:gd name="connsiteY1808" fmla="*/ 4215574 h 6593118"/>
              <a:gd name="connsiteX1809" fmla="*/ 2575055 w 11490376"/>
              <a:gd name="connsiteY1809" fmla="*/ 4193328 h 6593118"/>
              <a:gd name="connsiteX1810" fmla="*/ 2582399 w 11490376"/>
              <a:gd name="connsiteY1810" fmla="*/ 4151312 h 6593118"/>
              <a:gd name="connsiteX1811" fmla="*/ 2611772 w 11490376"/>
              <a:gd name="connsiteY1811" fmla="*/ 4136481 h 6593118"/>
              <a:gd name="connsiteX1812" fmla="*/ 2663177 w 11490376"/>
              <a:gd name="connsiteY1812" fmla="*/ 4166140 h 6593118"/>
              <a:gd name="connsiteX1813" fmla="*/ 2719477 w 11490376"/>
              <a:gd name="connsiteY1813" fmla="*/ 4163669 h 6593118"/>
              <a:gd name="connsiteX1814" fmla="*/ 2741103 w 11490376"/>
              <a:gd name="connsiteY1814" fmla="*/ 4181534 h 6593118"/>
              <a:gd name="connsiteX1815" fmla="*/ 2721149 w 11490376"/>
              <a:gd name="connsiteY1815" fmla="*/ 4163348 h 6593118"/>
              <a:gd name="connsiteX1816" fmla="*/ 2665036 w 11490376"/>
              <a:gd name="connsiteY1816" fmla="*/ 4165795 h 6593118"/>
              <a:gd name="connsiteX1817" fmla="*/ 2613801 w 11490376"/>
              <a:gd name="connsiteY1817" fmla="*/ 4136445 h 6593118"/>
              <a:gd name="connsiteX1818" fmla="*/ 2640637 w 11490376"/>
              <a:gd name="connsiteY1818" fmla="*/ 4094865 h 6593118"/>
              <a:gd name="connsiteX1819" fmla="*/ 2647960 w 11490376"/>
              <a:gd name="connsiteY1819" fmla="*/ 4075299 h 6593118"/>
              <a:gd name="connsiteX1820" fmla="*/ 2679672 w 11490376"/>
              <a:gd name="connsiteY1820" fmla="*/ 4070407 h 6593118"/>
              <a:gd name="connsiteX1821" fmla="*/ 2669914 w 11490376"/>
              <a:gd name="connsiteY1821" fmla="*/ 3908982 h 6593118"/>
              <a:gd name="connsiteX1822" fmla="*/ 2677233 w 11490376"/>
              <a:gd name="connsiteY1822" fmla="*/ 3830716 h 6593118"/>
              <a:gd name="connsiteX1823" fmla="*/ 2711390 w 11490376"/>
              <a:gd name="connsiteY1823" fmla="*/ 3862512 h 6593118"/>
              <a:gd name="connsiteX1824" fmla="*/ 2713830 w 11490376"/>
              <a:gd name="connsiteY1824" fmla="*/ 3806257 h 6593118"/>
              <a:gd name="connsiteX1825" fmla="*/ 2752868 w 11490376"/>
              <a:gd name="connsiteY1825" fmla="*/ 3794028 h 6593118"/>
              <a:gd name="connsiteX1826" fmla="*/ 2755307 w 11490376"/>
              <a:gd name="connsiteY1826" fmla="*/ 3752449 h 6593118"/>
              <a:gd name="connsiteX1827" fmla="*/ 2794343 w 11490376"/>
              <a:gd name="connsiteY1827" fmla="*/ 3725545 h 6593118"/>
              <a:gd name="connsiteX1828" fmla="*/ 2835822 w 11490376"/>
              <a:gd name="connsiteY1828" fmla="*/ 3720653 h 6593118"/>
              <a:gd name="connsiteX1829" fmla="*/ 2848021 w 11490376"/>
              <a:gd name="connsiteY1829" fmla="*/ 3691303 h 6593118"/>
              <a:gd name="connsiteX1830" fmla="*/ 9585313 w 11490376"/>
              <a:gd name="connsiteY1830" fmla="*/ 3661300 h 6593118"/>
              <a:gd name="connsiteX1831" fmla="*/ 9596922 w 11490376"/>
              <a:gd name="connsiteY1831" fmla="*/ 3688198 h 6593118"/>
              <a:gd name="connsiteX1832" fmla="*/ 9585313 w 11490376"/>
              <a:gd name="connsiteY1832" fmla="*/ 3719985 h 6593118"/>
              <a:gd name="connsiteX1833" fmla="*/ 9562095 w 11490376"/>
              <a:gd name="connsiteY1833" fmla="*/ 3768891 h 6593118"/>
              <a:gd name="connsiteX1834" fmla="*/ 9527269 w 11490376"/>
              <a:gd name="connsiteY1834" fmla="*/ 3805570 h 6593118"/>
              <a:gd name="connsiteX1835" fmla="*/ 9522624 w 11490376"/>
              <a:gd name="connsiteY1835" fmla="*/ 3756664 h 6593118"/>
              <a:gd name="connsiteX1836" fmla="*/ 9541199 w 11490376"/>
              <a:gd name="connsiteY1836" fmla="*/ 3727321 h 6593118"/>
              <a:gd name="connsiteX1837" fmla="*/ 9571383 w 11490376"/>
              <a:gd name="connsiteY1837" fmla="*/ 3702870 h 6593118"/>
              <a:gd name="connsiteX1838" fmla="*/ 9576026 w 11490376"/>
              <a:gd name="connsiteY1838" fmla="*/ 3675972 h 6593118"/>
              <a:gd name="connsiteX1839" fmla="*/ 9690666 w 11490376"/>
              <a:gd name="connsiteY1839" fmla="*/ 3659111 h 6593118"/>
              <a:gd name="connsiteX1840" fmla="*/ 9721940 w 11490376"/>
              <a:gd name="connsiteY1840" fmla="*/ 3669183 h 6593118"/>
              <a:gd name="connsiteX1841" fmla="*/ 9732365 w 11490376"/>
              <a:gd name="connsiteY1841" fmla="*/ 3696884 h 6593118"/>
              <a:gd name="connsiteX1842" fmla="*/ 9690666 w 11490376"/>
              <a:gd name="connsiteY1842" fmla="*/ 3706956 h 6593118"/>
              <a:gd name="connsiteX1843" fmla="*/ 9680241 w 11490376"/>
              <a:gd name="connsiteY1843" fmla="*/ 3689329 h 6593118"/>
              <a:gd name="connsiteX1844" fmla="*/ 5021642 w 11490376"/>
              <a:gd name="connsiteY1844" fmla="*/ 3648901 h 6593118"/>
              <a:gd name="connsiteX1845" fmla="*/ 5025628 w 11490376"/>
              <a:gd name="connsiteY1845" fmla="*/ 3650234 h 6593118"/>
              <a:gd name="connsiteX1846" fmla="*/ 5029589 w 11490376"/>
              <a:gd name="connsiteY1846" fmla="*/ 3650978 h 6593118"/>
              <a:gd name="connsiteX1847" fmla="*/ 5024092 w 11490376"/>
              <a:gd name="connsiteY1847" fmla="*/ 3649601 h 6593118"/>
              <a:gd name="connsiteX1848" fmla="*/ 9792809 w 11490376"/>
              <a:gd name="connsiteY1848" fmla="*/ 3648162 h 6593118"/>
              <a:gd name="connsiteX1849" fmla="*/ 9815852 w 11490376"/>
              <a:gd name="connsiteY1849" fmla="*/ 3648162 h 6593118"/>
              <a:gd name="connsiteX1850" fmla="*/ 9811243 w 11490376"/>
              <a:gd name="connsiteY1850" fmla="*/ 3672094 h 6593118"/>
              <a:gd name="connsiteX1851" fmla="*/ 9797416 w 11490376"/>
              <a:gd name="connsiteY1851" fmla="*/ 3682730 h 6593118"/>
              <a:gd name="connsiteX1852" fmla="*/ 9781287 w 11490376"/>
              <a:gd name="connsiteY1852" fmla="*/ 3682730 h 6593118"/>
              <a:gd name="connsiteX1853" fmla="*/ 9774373 w 11490376"/>
              <a:gd name="connsiteY1853" fmla="*/ 3656139 h 6593118"/>
              <a:gd name="connsiteX1854" fmla="*/ 4858175 w 11490376"/>
              <a:gd name="connsiteY1854" fmla="*/ 3646992 h 6593118"/>
              <a:gd name="connsiteX1855" fmla="*/ 4855913 w 11490376"/>
              <a:gd name="connsiteY1855" fmla="*/ 3647745 h 6593118"/>
              <a:gd name="connsiteX1856" fmla="*/ 4844301 w 11490376"/>
              <a:gd name="connsiteY1856" fmla="*/ 3662650 h 6593118"/>
              <a:gd name="connsiteX1857" fmla="*/ 5862627 w 11490376"/>
              <a:gd name="connsiteY1857" fmla="*/ 3618117 h 6593118"/>
              <a:gd name="connsiteX1858" fmla="*/ 5866928 w 11490376"/>
              <a:gd name="connsiteY1858" fmla="*/ 3626787 h 6593118"/>
              <a:gd name="connsiteX1859" fmla="*/ 5871090 w 11490376"/>
              <a:gd name="connsiteY1859" fmla="*/ 3635177 h 6593118"/>
              <a:gd name="connsiteX1860" fmla="*/ 5866095 w 11490376"/>
              <a:gd name="connsiteY1860" fmla="*/ 3623619 h 6593118"/>
              <a:gd name="connsiteX1861" fmla="*/ 5438296 w 11490376"/>
              <a:gd name="connsiteY1861" fmla="*/ 3616355 h 6593118"/>
              <a:gd name="connsiteX1862" fmla="*/ 5456592 w 11490376"/>
              <a:gd name="connsiteY1862" fmla="*/ 3644006 h 6593118"/>
              <a:gd name="connsiteX1863" fmla="*/ 5457162 w 11490376"/>
              <a:gd name="connsiteY1863" fmla="*/ 3641866 h 6593118"/>
              <a:gd name="connsiteX1864" fmla="*/ 5457878 w 11490376"/>
              <a:gd name="connsiteY1864" fmla="*/ 3641811 h 6593118"/>
              <a:gd name="connsiteX1865" fmla="*/ 5439537 w 11490376"/>
              <a:gd name="connsiteY1865" fmla="*/ 3616480 h 6593118"/>
              <a:gd name="connsiteX1866" fmla="*/ 5687041 w 11490376"/>
              <a:gd name="connsiteY1866" fmla="*/ 3607043 h 6593118"/>
              <a:gd name="connsiteX1867" fmla="*/ 5692864 w 11490376"/>
              <a:gd name="connsiteY1867" fmla="*/ 3614585 h 6593118"/>
              <a:gd name="connsiteX1868" fmla="*/ 5700712 w 11490376"/>
              <a:gd name="connsiteY1868" fmla="*/ 3614585 h 6593118"/>
              <a:gd name="connsiteX1869" fmla="*/ 5693989 w 11490376"/>
              <a:gd name="connsiteY1869" fmla="*/ 3614022 h 6593118"/>
              <a:gd name="connsiteX1870" fmla="*/ 5596808 w 11490376"/>
              <a:gd name="connsiteY1870" fmla="*/ 3606929 h 6593118"/>
              <a:gd name="connsiteX1871" fmla="*/ 5602127 w 11490376"/>
              <a:gd name="connsiteY1871" fmla="*/ 3614585 h 6593118"/>
              <a:gd name="connsiteX1872" fmla="*/ 5602130 w 11490376"/>
              <a:gd name="connsiteY1872" fmla="*/ 3614567 h 6593118"/>
              <a:gd name="connsiteX1873" fmla="*/ 5728243 w 11490376"/>
              <a:gd name="connsiteY1873" fmla="*/ 3596819 h 6593118"/>
              <a:gd name="connsiteX1874" fmla="*/ 5723822 w 11490376"/>
              <a:gd name="connsiteY1874" fmla="*/ 3614585 h 6593118"/>
              <a:gd name="connsiteX1875" fmla="*/ 5724746 w 11490376"/>
              <a:gd name="connsiteY1875" fmla="*/ 3614585 h 6593118"/>
              <a:gd name="connsiteX1876" fmla="*/ 5729651 w 11490376"/>
              <a:gd name="connsiteY1876" fmla="*/ 3597291 h 6593118"/>
              <a:gd name="connsiteX1877" fmla="*/ 5772753 w 11490376"/>
              <a:gd name="connsiteY1877" fmla="*/ 3597291 h 6593118"/>
              <a:gd name="connsiteX1878" fmla="*/ 5772283 w 11490376"/>
              <a:gd name="connsiteY1878" fmla="*/ 3596819 h 6593118"/>
              <a:gd name="connsiteX1879" fmla="*/ 5655084 w 11490376"/>
              <a:gd name="connsiteY1879" fmla="*/ 3596125 h 6593118"/>
              <a:gd name="connsiteX1880" fmla="*/ 5647503 w 11490376"/>
              <a:gd name="connsiteY1880" fmla="*/ 3596819 h 6593118"/>
              <a:gd name="connsiteX1881" fmla="*/ 5605909 w 11490376"/>
              <a:gd name="connsiteY1881" fmla="*/ 3599275 h 6593118"/>
              <a:gd name="connsiteX1882" fmla="*/ 5605851 w 11490376"/>
              <a:gd name="connsiteY1882" fmla="*/ 3599690 h 6593118"/>
              <a:gd name="connsiteX1883" fmla="*/ 5648722 w 11490376"/>
              <a:gd name="connsiteY1883" fmla="*/ 3597291 h 6593118"/>
              <a:gd name="connsiteX1884" fmla="*/ 5532152 w 11490376"/>
              <a:gd name="connsiteY1884" fmla="*/ 3595416 h 6593118"/>
              <a:gd name="connsiteX1885" fmla="*/ 5527617 w 11490376"/>
              <a:gd name="connsiteY1885" fmla="*/ 3596819 h 6593118"/>
              <a:gd name="connsiteX1886" fmla="*/ 5527614 w 11490376"/>
              <a:gd name="connsiteY1886" fmla="*/ 3596823 h 6593118"/>
              <a:gd name="connsiteX1887" fmla="*/ 9604248 w 11490376"/>
              <a:gd name="connsiteY1887" fmla="*/ 3589038 h 6593118"/>
              <a:gd name="connsiteX1888" fmla="*/ 9639274 w 11490376"/>
              <a:gd name="connsiteY1888" fmla="*/ 3601671 h 6593118"/>
              <a:gd name="connsiteX1889" fmla="*/ 9639274 w 11490376"/>
              <a:gd name="connsiteY1889" fmla="*/ 3604198 h 6593118"/>
              <a:gd name="connsiteX1890" fmla="*/ 9641776 w 11490376"/>
              <a:gd name="connsiteY1890" fmla="*/ 3604198 h 6593118"/>
              <a:gd name="connsiteX1891" fmla="*/ 9644278 w 11490376"/>
              <a:gd name="connsiteY1891" fmla="*/ 3606724 h 6593118"/>
              <a:gd name="connsiteX1892" fmla="*/ 9646780 w 11490376"/>
              <a:gd name="connsiteY1892" fmla="*/ 3609251 h 6593118"/>
              <a:gd name="connsiteX1893" fmla="*/ 9649282 w 11490376"/>
              <a:gd name="connsiteY1893" fmla="*/ 3609251 h 6593118"/>
              <a:gd name="connsiteX1894" fmla="*/ 9651782 w 11490376"/>
              <a:gd name="connsiteY1894" fmla="*/ 3611777 h 6593118"/>
              <a:gd name="connsiteX1895" fmla="*/ 9656786 w 11490376"/>
              <a:gd name="connsiteY1895" fmla="*/ 3614305 h 6593118"/>
              <a:gd name="connsiteX1896" fmla="*/ 9659288 w 11490376"/>
              <a:gd name="connsiteY1896" fmla="*/ 3616831 h 6593118"/>
              <a:gd name="connsiteX1897" fmla="*/ 9661790 w 11490376"/>
              <a:gd name="connsiteY1897" fmla="*/ 3621884 h 6593118"/>
              <a:gd name="connsiteX1898" fmla="*/ 9664292 w 11490376"/>
              <a:gd name="connsiteY1898" fmla="*/ 3626937 h 6593118"/>
              <a:gd name="connsiteX1899" fmla="*/ 9666794 w 11490376"/>
              <a:gd name="connsiteY1899" fmla="*/ 3629465 h 6593118"/>
              <a:gd name="connsiteX1900" fmla="*/ 9666794 w 11490376"/>
              <a:gd name="connsiteY1900" fmla="*/ 3634518 h 6593118"/>
              <a:gd name="connsiteX1901" fmla="*/ 9666794 w 11490376"/>
              <a:gd name="connsiteY1901" fmla="*/ 3637044 h 6593118"/>
              <a:gd name="connsiteX1902" fmla="*/ 9664292 w 11490376"/>
              <a:gd name="connsiteY1902" fmla="*/ 3642097 h 6593118"/>
              <a:gd name="connsiteX1903" fmla="*/ 9661790 w 11490376"/>
              <a:gd name="connsiteY1903" fmla="*/ 3644624 h 6593118"/>
              <a:gd name="connsiteX1904" fmla="*/ 9659288 w 11490376"/>
              <a:gd name="connsiteY1904" fmla="*/ 3644624 h 6593118"/>
              <a:gd name="connsiteX1905" fmla="*/ 9656786 w 11490376"/>
              <a:gd name="connsiteY1905" fmla="*/ 3647150 h 6593118"/>
              <a:gd name="connsiteX1906" fmla="*/ 9651782 w 11490376"/>
              <a:gd name="connsiteY1906" fmla="*/ 3649678 h 6593118"/>
              <a:gd name="connsiteX1907" fmla="*/ 9649282 w 11490376"/>
              <a:gd name="connsiteY1907" fmla="*/ 3652204 h 6593118"/>
              <a:gd name="connsiteX1908" fmla="*/ 9646780 w 11490376"/>
              <a:gd name="connsiteY1908" fmla="*/ 3652204 h 6593118"/>
              <a:gd name="connsiteX1909" fmla="*/ 9644278 w 11490376"/>
              <a:gd name="connsiteY1909" fmla="*/ 3652204 h 6593118"/>
              <a:gd name="connsiteX1910" fmla="*/ 9641776 w 11490376"/>
              <a:gd name="connsiteY1910" fmla="*/ 3652204 h 6593118"/>
              <a:gd name="connsiteX1911" fmla="*/ 9621761 w 11490376"/>
              <a:gd name="connsiteY1911" fmla="*/ 3644624 h 6593118"/>
              <a:gd name="connsiteX1912" fmla="*/ 9599244 w 11490376"/>
              <a:gd name="connsiteY1912" fmla="*/ 3619358 h 6593118"/>
              <a:gd name="connsiteX1913" fmla="*/ 5559424 w 11490376"/>
              <a:gd name="connsiteY1913" fmla="*/ 3586988 h 6593118"/>
              <a:gd name="connsiteX1914" fmla="*/ 5558043 w 11490376"/>
              <a:gd name="connsiteY1914" fmla="*/ 3587414 h 6593118"/>
              <a:gd name="connsiteX1915" fmla="*/ 5565502 w 11490376"/>
              <a:gd name="connsiteY1915" fmla="*/ 3588097 h 6593118"/>
              <a:gd name="connsiteX1916" fmla="*/ 5410494 w 11490376"/>
              <a:gd name="connsiteY1916" fmla="*/ 3575969 h 6593118"/>
              <a:gd name="connsiteX1917" fmla="*/ 5412925 w 11490376"/>
              <a:gd name="connsiteY1917" fmla="*/ 3615158 h 6593118"/>
              <a:gd name="connsiteX1918" fmla="*/ 5426388 w 11490376"/>
              <a:gd name="connsiteY1918" fmla="*/ 3615158 h 6593118"/>
              <a:gd name="connsiteX1919" fmla="*/ 5415070 w 11490376"/>
              <a:gd name="connsiteY1919" fmla="*/ 3614022 h 6593118"/>
              <a:gd name="connsiteX1920" fmla="*/ 5412624 w 11490376"/>
              <a:gd name="connsiteY1920" fmla="*/ 3577157 h 6593118"/>
              <a:gd name="connsiteX1921" fmla="*/ 6163858 w 11490376"/>
              <a:gd name="connsiteY1921" fmla="*/ 3570529 h 6593118"/>
              <a:gd name="connsiteX1922" fmla="*/ 6157742 w 11490376"/>
              <a:gd name="connsiteY1922" fmla="*/ 3591758 h 6593118"/>
              <a:gd name="connsiteX1923" fmla="*/ 6130554 w 11490376"/>
              <a:gd name="connsiteY1923" fmla="*/ 3594209 h 6593118"/>
              <a:gd name="connsiteX1924" fmla="*/ 6125611 w 11490376"/>
              <a:gd name="connsiteY1924" fmla="*/ 3616266 h 6593118"/>
              <a:gd name="connsiteX1925" fmla="*/ 6152799 w 11490376"/>
              <a:gd name="connsiteY1925" fmla="*/ 3628521 h 6593118"/>
              <a:gd name="connsiteX1926" fmla="*/ 6157248 w 11490376"/>
              <a:gd name="connsiteY1926" fmla="*/ 3640654 h 6593118"/>
              <a:gd name="connsiteX1927" fmla="*/ 6154342 w 11490376"/>
              <a:gd name="connsiteY1927" fmla="*/ 3629002 h 6593118"/>
              <a:gd name="connsiteX1928" fmla="*/ 6127306 w 11490376"/>
              <a:gd name="connsiteY1928" fmla="*/ 3616684 h 6593118"/>
              <a:gd name="connsiteX1929" fmla="*/ 6132222 w 11490376"/>
              <a:gd name="connsiteY1929" fmla="*/ 3594512 h 6593118"/>
              <a:gd name="connsiteX1930" fmla="*/ 6159258 w 11490376"/>
              <a:gd name="connsiteY1930" fmla="*/ 3592048 h 6593118"/>
              <a:gd name="connsiteX1931" fmla="*/ 9732781 w 11490376"/>
              <a:gd name="connsiteY1931" fmla="*/ 3564951 h 6593118"/>
              <a:gd name="connsiteX1932" fmla="*/ 9769722 w 11490376"/>
              <a:gd name="connsiteY1932" fmla="*/ 3586302 h 6593118"/>
              <a:gd name="connsiteX1933" fmla="*/ 9769722 w 11490376"/>
              <a:gd name="connsiteY1933" fmla="*/ 3619512 h 6593118"/>
              <a:gd name="connsiteX1934" fmla="*/ 9720467 w 11490376"/>
              <a:gd name="connsiteY1934" fmla="*/ 3614769 h 6593118"/>
              <a:gd name="connsiteX1935" fmla="*/ 9693376 w 11490376"/>
              <a:gd name="connsiteY1935" fmla="*/ 3600535 h 6593118"/>
              <a:gd name="connsiteX1936" fmla="*/ 9698302 w 11490376"/>
              <a:gd name="connsiteY1936" fmla="*/ 3572067 h 6593118"/>
              <a:gd name="connsiteX1937" fmla="*/ 9078091 w 11490376"/>
              <a:gd name="connsiteY1937" fmla="*/ 3555304 h 6593118"/>
              <a:gd name="connsiteX1938" fmla="*/ 9067278 w 11490376"/>
              <a:gd name="connsiteY1938" fmla="*/ 3557455 h 6593118"/>
              <a:gd name="connsiteX1939" fmla="*/ 9078091 w 11490376"/>
              <a:gd name="connsiteY1939" fmla="*/ 3556081 h 6593118"/>
              <a:gd name="connsiteX1940" fmla="*/ 9137073 w 11490376"/>
              <a:gd name="connsiteY1940" fmla="*/ 3554564 h 6593118"/>
              <a:gd name="connsiteX1941" fmla="*/ 9137073 w 11490376"/>
              <a:gd name="connsiteY1941" fmla="*/ 3557459 h 6593118"/>
              <a:gd name="connsiteX1942" fmla="*/ 9105235 w 11490376"/>
              <a:gd name="connsiteY1942" fmla="*/ 3582387 h 6593118"/>
              <a:gd name="connsiteX1943" fmla="*/ 9105612 w 11490376"/>
              <a:gd name="connsiteY1943" fmla="*/ 3582808 h 6593118"/>
              <a:gd name="connsiteX1944" fmla="*/ 9138982 w 11490376"/>
              <a:gd name="connsiteY1944" fmla="*/ 3556146 h 6593118"/>
              <a:gd name="connsiteX1945" fmla="*/ 8831531 w 11490376"/>
              <a:gd name="connsiteY1945" fmla="*/ 3551560 h 6593118"/>
              <a:gd name="connsiteX1946" fmla="*/ 8832396 w 11490376"/>
              <a:gd name="connsiteY1946" fmla="*/ 3556797 h 6593118"/>
              <a:gd name="connsiteX1947" fmla="*/ 8844601 w 11490376"/>
              <a:gd name="connsiteY1947" fmla="*/ 3603585 h 6593118"/>
              <a:gd name="connsiteX1948" fmla="*/ 8873118 w 11490376"/>
              <a:gd name="connsiteY1948" fmla="*/ 3629959 h 6593118"/>
              <a:gd name="connsiteX1949" fmla="*/ 8873885 w 11490376"/>
              <a:gd name="connsiteY1949" fmla="*/ 3628178 h 6593118"/>
              <a:gd name="connsiteX1950" fmla="*/ 8844419 w 11490376"/>
              <a:gd name="connsiteY1950" fmla="*/ 3601307 h 6593118"/>
              <a:gd name="connsiteX1951" fmla="*/ 8832140 w 11490376"/>
              <a:gd name="connsiteY1951" fmla="*/ 3554892 h 6593118"/>
              <a:gd name="connsiteX1952" fmla="*/ 6650830 w 11490376"/>
              <a:gd name="connsiteY1952" fmla="*/ 3535607 h 6593118"/>
              <a:gd name="connsiteX1953" fmla="*/ 6658187 w 11490376"/>
              <a:gd name="connsiteY1953" fmla="*/ 3631464 h 6593118"/>
              <a:gd name="connsiteX1954" fmla="*/ 6611489 w 11490376"/>
              <a:gd name="connsiteY1954" fmla="*/ 3641319 h 6593118"/>
              <a:gd name="connsiteX1955" fmla="*/ 6604166 w 11490376"/>
              <a:gd name="connsiteY1955" fmla="*/ 3722051 h 6593118"/>
              <a:gd name="connsiteX1956" fmla="*/ 6606014 w 11490376"/>
              <a:gd name="connsiteY1956" fmla="*/ 3721884 h 6593118"/>
              <a:gd name="connsiteX1957" fmla="*/ 6613387 w 11490376"/>
              <a:gd name="connsiteY1957" fmla="*/ 3641244 h 6593118"/>
              <a:gd name="connsiteX1958" fmla="*/ 6660078 w 11490376"/>
              <a:gd name="connsiteY1958" fmla="*/ 3631468 h 6593118"/>
              <a:gd name="connsiteX1959" fmla="*/ 6652705 w 11490376"/>
              <a:gd name="connsiteY1959" fmla="*/ 3536166 h 6593118"/>
              <a:gd name="connsiteX1960" fmla="*/ 2216003 w 11490376"/>
              <a:gd name="connsiteY1960" fmla="*/ 3528938 h 6593118"/>
              <a:gd name="connsiteX1961" fmla="*/ 2185645 w 11490376"/>
              <a:gd name="connsiteY1961" fmla="*/ 3535929 h 6593118"/>
              <a:gd name="connsiteX1962" fmla="*/ 2185621 w 11490376"/>
              <a:gd name="connsiteY1962" fmla="*/ 3535997 h 6593118"/>
              <a:gd name="connsiteX1963" fmla="*/ 2216001 w 11490376"/>
              <a:gd name="connsiteY1963" fmla="*/ 3528941 h 6593118"/>
              <a:gd name="connsiteX1964" fmla="*/ 5498257 w 11490376"/>
              <a:gd name="connsiteY1964" fmla="*/ 3509302 h 6593118"/>
              <a:gd name="connsiteX1965" fmla="*/ 5404907 w 11490376"/>
              <a:gd name="connsiteY1965" fmla="*/ 3521607 h 6593118"/>
              <a:gd name="connsiteX1966" fmla="*/ 5377880 w 11490376"/>
              <a:gd name="connsiteY1966" fmla="*/ 3541299 h 6593118"/>
              <a:gd name="connsiteX1967" fmla="*/ 5318912 w 11490376"/>
              <a:gd name="connsiteY1967" fmla="*/ 3538837 h 6593118"/>
              <a:gd name="connsiteX1968" fmla="*/ 5299257 w 11490376"/>
              <a:gd name="connsiteY1968" fmla="*/ 3563451 h 6593118"/>
              <a:gd name="connsiteX1969" fmla="*/ 5279601 w 11490376"/>
              <a:gd name="connsiteY1969" fmla="*/ 3580681 h 6593118"/>
              <a:gd name="connsiteX1970" fmla="*/ 5232936 w 11490376"/>
              <a:gd name="connsiteY1970" fmla="*/ 3595450 h 6593118"/>
              <a:gd name="connsiteX1971" fmla="*/ 5225564 w 11490376"/>
              <a:gd name="connsiteY1971" fmla="*/ 3615141 h 6593118"/>
              <a:gd name="connsiteX1972" fmla="*/ 5213280 w 11490376"/>
              <a:gd name="connsiteY1972" fmla="*/ 3642217 h 6593118"/>
              <a:gd name="connsiteX1973" fmla="*/ 5188710 w 11490376"/>
              <a:gd name="connsiteY1973" fmla="*/ 3676678 h 6593118"/>
              <a:gd name="connsiteX1974" fmla="*/ 5176425 w 11490376"/>
              <a:gd name="connsiteY1974" fmla="*/ 3725906 h 6593118"/>
              <a:gd name="connsiteX1975" fmla="*/ 5134655 w 11490376"/>
              <a:gd name="connsiteY1975" fmla="*/ 3730829 h 6593118"/>
              <a:gd name="connsiteX1976" fmla="*/ 5102713 w 11490376"/>
              <a:gd name="connsiteY1976" fmla="*/ 3733290 h 6593118"/>
              <a:gd name="connsiteX1977" fmla="*/ 5095457 w 11490376"/>
              <a:gd name="connsiteY1977" fmla="*/ 3705664 h 6593118"/>
              <a:gd name="connsiteX1978" fmla="*/ 5101296 w 11490376"/>
              <a:gd name="connsiteY1978" fmla="*/ 3733492 h 6593118"/>
              <a:gd name="connsiteX1979" fmla="*/ 5089093 w 11490376"/>
              <a:gd name="connsiteY1979" fmla="*/ 3762876 h 6593118"/>
              <a:gd name="connsiteX1980" fmla="*/ 5091434 w 11490376"/>
              <a:gd name="connsiteY1980" fmla="*/ 3764757 h 6593118"/>
              <a:gd name="connsiteX1981" fmla="*/ 5090279 w 11490376"/>
              <a:gd name="connsiteY1981" fmla="*/ 3763726 h 6593118"/>
              <a:gd name="connsiteX1982" fmla="*/ 5102623 w 11490376"/>
              <a:gd name="connsiteY1982" fmla="*/ 3734340 h 6593118"/>
              <a:gd name="connsiteX1983" fmla="*/ 5134714 w 11490376"/>
              <a:gd name="connsiteY1983" fmla="*/ 3734340 h 6593118"/>
              <a:gd name="connsiteX1984" fmla="*/ 5179148 w 11490376"/>
              <a:gd name="connsiteY1984" fmla="*/ 3726994 h 6593118"/>
              <a:gd name="connsiteX1985" fmla="*/ 5198897 w 11490376"/>
              <a:gd name="connsiteY1985" fmla="*/ 3741687 h 6593118"/>
              <a:gd name="connsiteX1986" fmla="*/ 5270477 w 11490376"/>
              <a:gd name="connsiteY1986" fmla="*/ 3746585 h 6593118"/>
              <a:gd name="connsiteX1987" fmla="*/ 5271856 w 11490376"/>
              <a:gd name="connsiteY1987" fmla="*/ 3764375 h 6593118"/>
              <a:gd name="connsiteX1988" fmla="*/ 5271856 w 11490376"/>
              <a:gd name="connsiteY1988" fmla="*/ 3744005 h 6593118"/>
              <a:gd name="connsiteX1989" fmla="*/ 5272712 w 11490376"/>
              <a:gd name="connsiteY1989" fmla="*/ 3742273 h 6593118"/>
              <a:gd name="connsiteX1990" fmla="*/ 5270363 w 11490376"/>
              <a:gd name="connsiteY1990" fmla="*/ 3746415 h 6593118"/>
              <a:gd name="connsiteX1991" fmla="*/ 5199092 w 11490376"/>
              <a:gd name="connsiteY1991" fmla="*/ 3741462 h 6593118"/>
              <a:gd name="connsiteX1992" fmla="*/ 5179428 w 11490376"/>
              <a:gd name="connsiteY1992" fmla="*/ 3726602 h 6593118"/>
              <a:gd name="connsiteX1993" fmla="*/ 5189259 w 11490376"/>
              <a:gd name="connsiteY1993" fmla="*/ 3679549 h 6593118"/>
              <a:gd name="connsiteX1994" fmla="*/ 5213839 w 11490376"/>
              <a:gd name="connsiteY1994" fmla="*/ 3644876 h 6593118"/>
              <a:gd name="connsiteX1995" fmla="*/ 5226129 w 11490376"/>
              <a:gd name="connsiteY1995" fmla="*/ 3615158 h 6593118"/>
              <a:gd name="connsiteX1996" fmla="*/ 5235963 w 11490376"/>
              <a:gd name="connsiteY1996" fmla="*/ 3597823 h 6593118"/>
              <a:gd name="connsiteX1997" fmla="*/ 5280195 w 11490376"/>
              <a:gd name="connsiteY1997" fmla="*/ 3582963 h 6593118"/>
              <a:gd name="connsiteX1998" fmla="*/ 5299860 w 11490376"/>
              <a:gd name="connsiteY1998" fmla="*/ 3563152 h 6593118"/>
              <a:gd name="connsiteX1999" fmla="*/ 5319522 w 11490376"/>
              <a:gd name="connsiteY1999" fmla="*/ 3540863 h 6593118"/>
              <a:gd name="connsiteX2000" fmla="*/ 5378513 w 11490376"/>
              <a:gd name="connsiteY2000" fmla="*/ 3543339 h 6593118"/>
              <a:gd name="connsiteX2001" fmla="*/ 5388345 w 11490376"/>
              <a:gd name="connsiteY2001" fmla="*/ 3563152 h 6593118"/>
              <a:gd name="connsiteX2002" fmla="*/ 5390338 w 11490376"/>
              <a:gd name="connsiteY2002" fmla="*/ 3564267 h 6593118"/>
              <a:gd name="connsiteX2003" fmla="*/ 5380817 w 11490376"/>
              <a:gd name="connsiteY2003" fmla="*/ 3542749 h 6593118"/>
              <a:gd name="connsiteX2004" fmla="*/ 5407730 w 11490376"/>
              <a:gd name="connsiteY2004" fmla="*/ 3525546 h 6593118"/>
              <a:gd name="connsiteX2005" fmla="*/ 5498257 w 11490376"/>
              <a:gd name="connsiteY2005" fmla="*/ 3510799 h 6593118"/>
              <a:gd name="connsiteX2006" fmla="*/ 4981862 w 11490376"/>
              <a:gd name="connsiteY2006" fmla="*/ 3506850 h 6593118"/>
              <a:gd name="connsiteX2007" fmla="*/ 4980608 w 11490376"/>
              <a:gd name="connsiteY2007" fmla="*/ 3508441 h 6593118"/>
              <a:gd name="connsiteX2008" fmla="*/ 5006893 w 11490376"/>
              <a:gd name="connsiteY2008" fmla="*/ 3521607 h 6593118"/>
              <a:gd name="connsiteX2009" fmla="*/ 5012521 w 11490376"/>
              <a:gd name="connsiteY2009" fmla="*/ 3521932 h 6593118"/>
              <a:gd name="connsiteX2010" fmla="*/ 5008954 w 11490376"/>
              <a:gd name="connsiteY2010" fmla="*/ 3521652 h 6593118"/>
              <a:gd name="connsiteX2011" fmla="*/ 4875330 w 11490376"/>
              <a:gd name="connsiteY2011" fmla="*/ 3490807 h 6593118"/>
              <a:gd name="connsiteX2012" fmla="*/ 4890275 w 11490376"/>
              <a:gd name="connsiteY2012" fmla="*/ 3498267 h 6593118"/>
              <a:gd name="connsiteX2013" fmla="*/ 4917274 w 11490376"/>
              <a:gd name="connsiteY2013" fmla="*/ 3535024 h 6593118"/>
              <a:gd name="connsiteX2014" fmla="*/ 4943721 w 11490376"/>
              <a:gd name="connsiteY2014" fmla="*/ 3554226 h 6593118"/>
              <a:gd name="connsiteX2015" fmla="*/ 4943340 w 11490376"/>
              <a:gd name="connsiteY2015" fmla="*/ 3552571 h 6593118"/>
              <a:gd name="connsiteX2016" fmla="*/ 4917831 w 11490376"/>
              <a:gd name="connsiteY2016" fmla="*/ 3533987 h 6593118"/>
              <a:gd name="connsiteX2017" fmla="*/ 4890740 w 11490376"/>
              <a:gd name="connsiteY2017" fmla="*/ 3496981 h 6593118"/>
              <a:gd name="connsiteX2018" fmla="*/ 5888013 w 11490376"/>
              <a:gd name="connsiteY2018" fmla="*/ 3489442 h 6593118"/>
              <a:gd name="connsiteX2019" fmla="*/ 5882383 w 11490376"/>
              <a:gd name="connsiteY2019" fmla="*/ 3491138 h 6593118"/>
              <a:gd name="connsiteX2020" fmla="*/ 5870149 w 11490376"/>
              <a:gd name="connsiteY2020" fmla="*/ 3513257 h 6593118"/>
              <a:gd name="connsiteX2021" fmla="*/ 5845682 w 11490376"/>
              <a:gd name="connsiteY2021" fmla="*/ 3528003 h 6593118"/>
              <a:gd name="connsiteX2022" fmla="*/ 5833449 w 11490376"/>
              <a:gd name="connsiteY2022" fmla="*/ 3547664 h 6593118"/>
              <a:gd name="connsiteX2023" fmla="*/ 5833449 w 11490376"/>
              <a:gd name="connsiteY2023" fmla="*/ 3582072 h 6593118"/>
              <a:gd name="connsiteX2024" fmla="*/ 5808982 w 11490376"/>
              <a:gd name="connsiteY2024" fmla="*/ 3596819 h 6593118"/>
              <a:gd name="connsiteX2025" fmla="*/ 5808978 w 11490376"/>
              <a:gd name="connsiteY2025" fmla="*/ 3596823 h 6593118"/>
              <a:gd name="connsiteX2026" fmla="*/ 5835102 w 11490376"/>
              <a:gd name="connsiteY2026" fmla="*/ 3582468 h 6593118"/>
              <a:gd name="connsiteX2027" fmla="*/ 5835403 w 11490376"/>
              <a:gd name="connsiteY2027" fmla="*/ 3584891 h 6593118"/>
              <a:gd name="connsiteX2028" fmla="*/ 5849405 w 11490376"/>
              <a:gd name="connsiteY2028" fmla="*/ 3582539 h 6593118"/>
              <a:gd name="connsiteX2029" fmla="*/ 5848794 w 11490376"/>
              <a:gd name="connsiteY2029" fmla="*/ 3579503 h 6593118"/>
              <a:gd name="connsiteX2030" fmla="*/ 5833964 w 11490376"/>
              <a:gd name="connsiteY2030" fmla="*/ 3581954 h 6593118"/>
              <a:gd name="connsiteX2031" fmla="*/ 5833964 w 11490376"/>
              <a:gd name="connsiteY2031" fmla="*/ 3547643 h 6593118"/>
              <a:gd name="connsiteX2032" fmla="*/ 5846322 w 11490376"/>
              <a:gd name="connsiteY2032" fmla="*/ 3528035 h 6593118"/>
              <a:gd name="connsiteX2033" fmla="*/ 5871038 w 11490376"/>
              <a:gd name="connsiteY2033" fmla="*/ 3513330 h 6593118"/>
              <a:gd name="connsiteX2034" fmla="*/ 5883396 w 11490376"/>
              <a:gd name="connsiteY2034" fmla="*/ 3491273 h 6593118"/>
              <a:gd name="connsiteX2035" fmla="*/ 5522629 w 11490376"/>
              <a:gd name="connsiteY2035" fmla="*/ 3484728 h 6593118"/>
              <a:gd name="connsiteX2036" fmla="*/ 5498272 w 11490376"/>
              <a:gd name="connsiteY2036" fmla="*/ 3489608 h 6593118"/>
              <a:gd name="connsiteX2037" fmla="*/ 5498272 w 11490376"/>
              <a:gd name="connsiteY2037" fmla="*/ 3491135 h 6593118"/>
              <a:gd name="connsiteX2038" fmla="*/ 5522723 w 11490376"/>
              <a:gd name="connsiteY2038" fmla="*/ 3486222 h 6593118"/>
              <a:gd name="connsiteX2039" fmla="*/ 7035174 w 11490376"/>
              <a:gd name="connsiteY2039" fmla="*/ 3470970 h 6593118"/>
              <a:gd name="connsiteX2040" fmla="*/ 6988165 w 11490376"/>
              <a:gd name="connsiteY2040" fmla="*/ 3506308 h 6593118"/>
              <a:gd name="connsiteX2041" fmla="*/ 6988165 w 11490376"/>
              <a:gd name="connsiteY2041" fmla="*/ 3509131 h 6593118"/>
              <a:gd name="connsiteX2042" fmla="*/ 7034852 w 11490376"/>
              <a:gd name="connsiteY2042" fmla="*/ 3472104 h 6593118"/>
              <a:gd name="connsiteX2043" fmla="*/ 5149358 w 11490376"/>
              <a:gd name="connsiteY2043" fmla="*/ 3470724 h 6593118"/>
              <a:gd name="connsiteX2044" fmla="*/ 5149331 w 11490376"/>
              <a:gd name="connsiteY2044" fmla="*/ 3472310 h 6593118"/>
              <a:gd name="connsiteX2045" fmla="*/ 5175606 w 11490376"/>
              <a:gd name="connsiteY2045" fmla="*/ 3479489 h 6593118"/>
              <a:gd name="connsiteX2046" fmla="*/ 3110440 w 11490376"/>
              <a:gd name="connsiteY2046" fmla="*/ 3420425 h 6593118"/>
              <a:gd name="connsiteX2047" fmla="*/ 3110440 w 11490376"/>
              <a:gd name="connsiteY2047" fmla="*/ 3447522 h 6593118"/>
              <a:gd name="connsiteX2048" fmla="*/ 3090640 w 11490376"/>
              <a:gd name="connsiteY2048" fmla="*/ 3457377 h 6593118"/>
              <a:gd name="connsiteX2049" fmla="*/ 3070844 w 11490376"/>
              <a:gd name="connsiteY2049" fmla="*/ 3447522 h 6593118"/>
              <a:gd name="connsiteX2050" fmla="*/ 3055998 w 11490376"/>
              <a:gd name="connsiteY2050" fmla="*/ 3437669 h 6593118"/>
              <a:gd name="connsiteX2051" fmla="*/ 3075796 w 11490376"/>
              <a:gd name="connsiteY2051" fmla="*/ 3425352 h 6593118"/>
              <a:gd name="connsiteX2052" fmla="*/ 2684239 w 11490376"/>
              <a:gd name="connsiteY2052" fmla="*/ 3413856 h 6593118"/>
              <a:gd name="connsiteX2053" fmla="*/ 2711861 w 11490376"/>
              <a:gd name="connsiteY2053" fmla="*/ 3413856 h 6593118"/>
              <a:gd name="connsiteX2054" fmla="*/ 2747019 w 11490376"/>
              <a:gd name="connsiteY2054" fmla="*/ 3429184 h 6593118"/>
              <a:gd name="connsiteX2055" fmla="*/ 2736975 w 11490376"/>
              <a:gd name="connsiteY2055" fmla="*/ 3454731 h 6593118"/>
              <a:gd name="connsiteX2056" fmla="*/ 2691771 w 11490376"/>
              <a:gd name="connsiteY2056" fmla="*/ 3457286 h 6593118"/>
              <a:gd name="connsiteX2057" fmla="*/ 2664152 w 11490376"/>
              <a:gd name="connsiteY2057" fmla="*/ 3436848 h 6593118"/>
              <a:gd name="connsiteX2058" fmla="*/ 9069306 w 11490376"/>
              <a:gd name="connsiteY2058" fmla="*/ 3408305 h 6593118"/>
              <a:gd name="connsiteX2059" fmla="*/ 9105123 w 11490376"/>
              <a:gd name="connsiteY2059" fmla="*/ 3464394 h 6593118"/>
              <a:gd name="connsiteX2060" fmla="*/ 9136711 w 11490376"/>
              <a:gd name="connsiteY2060" fmla="*/ 3486187 h 6593118"/>
              <a:gd name="connsiteX2061" fmla="*/ 9136711 w 11490376"/>
              <a:gd name="connsiteY2061" fmla="*/ 3483139 h 6593118"/>
              <a:gd name="connsiteX2062" fmla="*/ 9104663 w 11490376"/>
              <a:gd name="connsiteY2062" fmla="*/ 3461066 h 6593118"/>
              <a:gd name="connsiteX2063" fmla="*/ 6214534 w 11490376"/>
              <a:gd name="connsiteY2063" fmla="*/ 3406625 h 6593118"/>
              <a:gd name="connsiteX2064" fmla="*/ 6209645 w 11490376"/>
              <a:gd name="connsiteY2064" fmla="*/ 3508428 h 6593118"/>
              <a:gd name="connsiteX2065" fmla="*/ 6201536 w 11490376"/>
              <a:gd name="connsiteY2065" fmla="*/ 3512448 h 6593118"/>
              <a:gd name="connsiteX2066" fmla="*/ 6210872 w 11490376"/>
              <a:gd name="connsiteY2066" fmla="*/ 3508291 h 6593118"/>
              <a:gd name="connsiteX2067" fmla="*/ 6215690 w 11490376"/>
              <a:gd name="connsiteY2067" fmla="*/ 3406855 h 6593118"/>
              <a:gd name="connsiteX2068" fmla="*/ 9001905 w 11490376"/>
              <a:gd name="connsiteY2068" fmla="*/ 3388472 h 6593118"/>
              <a:gd name="connsiteX2069" fmla="*/ 8978341 w 11490376"/>
              <a:gd name="connsiteY2069" fmla="*/ 3408041 h 6593118"/>
              <a:gd name="connsiteX2070" fmla="*/ 9001577 w 11490376"/>
              <a:gd name="connsiteY2070" fmla="*/ 3388778 h 6593118"/>
              <a:gd name="connsiteX2071" fmla="*/ 9005048 w 11490376"/>
              <a:gd name="connsiteY2071" fmla="*/ 3392545 h 6593118"/>
              <a:gd name="connsiteX2072" fmla="*/ 5516576 w 11490376"/>
              <a:gd name="connsiteY2072" fmla="*/ 3365923 h 6593118"/>
              <a:gd name="connsiteX2073" fmla="*/ 5515697 w 11490376"/>
              <a:gd name="connsiteY2073" fmla="*/ 3368993 h 6593118"/>
              <a:gd name="connsiteX2074" fmla="*/ 5515474 w 11490376"/>
              <a:gd name="connsiteY2074" fmla="*/ 3369044 h 6593118"/>
              <a:gd name="connsiteX2075" fmla="*/ 5515540 w 11490376"/>
              <a:gd name="connsiteY2075" fmla="*/ 3370083 h 6593118"/>
              <a:gd name="connsiteX2076" fmla="*/ 9628476 w 11490376"/>
              <a:gd name="connsiteY2076" fmla="*/ 3363491 h 6593118"/>
              <a:gd name="connsiteX2077" fmla="*/ 9664531 w 11490376"/>
              <a:gd name="connsiteY2077" fmla="*/ 3365962 h 6593118"/>
              <a:gd name="connsiteX2078" fmla="*/ 9671742 w 11490376"/>
              <a:gd name="connsiteY2078" fmla="*/ 3388196 h 6593118"/>
              <a:gd name="connsiteX2079" fmla="*/ 9683762 w 11490376"/>
              <a:gd name="connsiteY2079" fmla="*/ 3430195 h 6593118"/>
              <a:gd name="connsiteX2080" fmla="*/ 9683762 w 11490376"/>
              <a:gd name="connsiteY2080" fmla="*/ 3454901 h 6593118"/>
              <a:gd name="connsiteX2081" fmla="*/ 9678954 w 11490376"/>
              <a:gd name="connsiteY2081" fmla="*/ 3491958 h 6593118"/>
              <a:gd name="connsiteX2082" fmla="*/ 9690973 w 11490376"/>
              <a:gd name="connsiteY2082" fmla="*/ 3538897 h 6593118"/>
              <a:gd name="connsiteX2083" fmla="*/ 9657321 w 11490376"/>
              <a:gd name="connsiteY2083" fmla="*/ 3551250 h 6593118"/>
              <a:gd name="connsiteX2084" fmla="*/ 9618860 w 11490376"/>
              <a:gd name="connsiteY2084" fmla="*/ 3553721 h 6593118"/>
              <a:gd name="connsiteX2085" fmla="*/ 9604438 w 11490376"/>
              <a:gd name="connsiteY2085" fmla="*/ 3533956 h 6593118"/>
              <a:gd name="connsiteX2086" fmla="*/ 9577997 w 11490376"/>
              <a:gd name="connsiteY2086" fmla="*/ 3526545 h 6593118"/>
              <a:gd name="connsiteX2087" fmla="*/ 9570786 w 11490376"/>
              <a:gd name="connsiteY2087" fmla="*/ 3477134 h 6593118"/>
              <a:gd name="connsiteX2088" fmla="*/ 9594824 w 11490376"/>
              <a:gd name="connsiteY2088" fmla="*/ 3454901 h 6593118"/>
              <a:gd name="connsiteX2089" fmla="*/ 9604438 w 11490376"/>
              <a:gd name="connsiteY2089" fmla="*/ 3403019 h 6593118"/>
              <a:gd name="connsiteX2090" fmla="*/ 6131334 w 11490376"/>
              <a:gd name="connsiteY2090" fmla="*/ 3357032 h 6593118"/>
              <a:gd name="connsiteX2091" fmla="*/ 6138413 w 11490376"/>
              <a:gd name="connsiteY2091" fmla="*/ 3362086 h 6593118"/>
              <a:gd name="connsiteX2092" fmla="*/ 6132614 w 11490376"/>
              <a:gd name="connsiteY2092" fmla="*/ 3357742 h 6593118"/>
              <a:gd name="connsiteX2093" fmla="*/ 2902119 w 11490376"/>
              <a:gd name="connsiteY2093" fmla="*/ 3354732 h 6593118"/>
              <a:gd name="connsiteX2094" fmla="*/ 2904023 w 11490376"/>
              <a:gd name="connsiteY2094" fmla="*/ 3355014 h 6593118"/>
              <a:gd name="connsiteX2095" fmla="*/ 2906893 w 11490376"/>
              <a:gd name="connsiteY2095" fmla="*/ 3354732 h 6593118"/>
              <a:gd name="connsiteX2096" fmla="*/ 2906893 w 11490376"/>
              <a:gd name="connsiteY2096" fmla="*/ 3355440 h 6593118"/>
              <a:gd name="connsiteX2097" fmla="*/ 2934568 w 11490376"/>
              <a:gd name="connsiteY2097" fmla="*/ 3359539 h 6593118"/>
              <a:gd name="connsiteX2098" fmla="*/ 2947049 w 11490376"/>
              <a:gd name="connsiteY2098" fmla="*/ 3376363 h 6593118"/>
              <a:gd name="connsiteX2099" fmla="*/ 2962025 w 11490376"/>
              <a:gd name="connsiteY2099" fmla="*/ 3381169 h 6593118"/>
              <a:gd name="connsiteX2100" fmla="*/ 2979500 w 11490376"/>
              <a:gd name="connsiteY2100" fmla="*/ 3381169 h 6593118"/>
              <a:gd name="connsiteX2101" fmla="*/ 2986989 w 11490376"/>
              <a:gd name="connsiteY2101" fmla="*/ 3402800 h 6593118"/>
              <a:gd name="connsiteX2102" fmla="*/ 3006959 w 11490376"/>
              <a:gd name="connsiteY2102" fmla="*/ 3412414 h 6593118"/>
              <a:gd name="connsiteX2103" fmla="*/ 3029423 w 11490376"/>
              <a:gd name="connsiteY2103" fmla="*/ 3429238 h 6593118"/>
              <a:gd name="connsiteX2104" fmla="*/ 3021934 w 11490376"/>
              <a:gd name="connsiteY2104" fmla="*/ 3443658 h 6593118"/>
              <a:gd name="connsiteX2105" fmla="*/ 2989485 w 11490376"/>
              <a:gd name="connsiteY2105" fmla="*/ 3446062 h 6593118"/>
              <a:gd name="connsiteX2106" fmla="*/ 2934568 w 11490376"/>
              <a:gd name="connsiteY2106" fmla="*/ 3443658 h 6593118"/>
              <a:gd name="connsiteX2107" fmla="*/ 2895081 w 11490376"/>
              <a:gd name="connsiteY2107" fmla="*/ 3449994 h 6593118"/>
              <a:gd name="connsiteX2108" fmla="*/ 2894674 w 11490376"/>
              <a:gd name="connsiteY2108" fmla="*/ 3450868 h 6593118"/>
              <a:gd name="connsiteX2109" fmla="*/ 2891823 w 11490376"/>
              <a:gd name="connsiteY2109" fmla="*/ 3450517 h 6593118"/>
              <a:gd name="connsiteX2110" fmla="*/ 2889636 w 11490376"/>
              <a:gd name="connsiteY2110" fmla="*/ 3450868 h 6593118"/>
              <a:gd name="connsiteX2111" fmla="*/ 2889912 w 11490376"/>
              <a:gd name="connsiteY2111" fmla="*/ 3450283 h 6593118"/>
              <a:gd name="connsiteX2112" fmla="*/ 2855581 w 11490376"/>
              <a:gd name="connsiteY2112" fmla="*/ 3446062 h 6593118"/>
              <a:gd name="connsiteX2113" fmla="*/ 2811593 w 11490376"/>
              <a:gd name="connsiteY2113" fmla="*/ 3443658 h 6593118"/>
              <a:gd name="connsiteX2114" fmla="*/ 2804261 w 11490376"/>
              <a:gd name="connsiteY2114" fmla="*/ 3417221 h 6593118"/>
              <a:gd name="connsiteX2115" fmla="*/ 2860468 w 11490376"/>
              <a:gd name="connsiteY2115" fmla="*/ 3417221 h 6593118"/>
              <a:gd name="connsiteX2116" fmla="*/ 2882459 w 11490376"/>
              <a:gd name="connsiteY2116" fmla="*/ 3405204 h 6593118"/>
              <a:gd name="connsiteX2117" fmla="*/ 2867797 w 11490376"/>
              <a:gd name="connsiteY2117" fmla="*/ 3388380 h 6593118"/>
              <a:gd name="connsiteX2118" fmla="*/ 2882459 w 11490376"/>
              <a:gd name="connsiteY2118" fmla="*/ 3357135 h 6593118"/>
              <a:gd name="connsiteX2119" fmla="*/ 2902119 w 11490376"/>
              <a:gd name="connsiteY2119" fmla="*/ 3355202 h 6593118"/>
              <a:gd name="connsiteX2120" fmla="*/ 9027112 w 11490376"/>
              <a:gd name="connsiteY2120" fmla="*/ 3354619 h 6593118"/>
              <a:gd name="connsiteX2121" fmla="*/ 9026481 w 11490376"/>
              <a:gd name="connsiteY2121" fmla="*/ 3356634 h 6593118"/>
              <a:gd name="connsiteX2122" fmla="*/ 9051166 w 11490376"/>
              <a:gd name="connsiteY2122" fmla="*/ 3381234 h 6593118"/>
              <a:gd name="connsiteX2123" fmla="*/ 9050427 w 11490376"/>
              <a:gd name="connsiteY2123" fmla="*/ 3380133 h 6593118"/>
              <a:gd name="connsiteX2124" fmla="*/ 5476161 w 11490376"/>
              <a:gd name="connsiteY2124" fmla="*/ 3317313 h 6593118"/>
              <a:gd name="connsiteX2125" fmla="*/ 5476873 w 11490376"/>
              <a:gd name="connsiteY2125" fmla="*/ 3321418 h 6593118"/>
              <a:gd name="connsiteX2126" fmla="*/ 5476371 w 11490376"/>
              <a:gd name="connsiteY2126" fmla="*/ 3317403 h 6593118"/>
              <a:gd name="connsiteX2127" fmla="*/ 9226265 w 11490376"/>
              <a:gd name="connsiteY2127" fmla="*/ 3315316 h 6593118"/>
              <a:gd name="connsiteX2128" fmla="*/ 9248684 w 11490376"/>
              <a:gd name="connsiteY2128" fmla="*/ 3376425 h 6593118"/>
              <a:gd name="connsiteX2129" fmla="*/ 9213809 w 11490376"/>
              <a:gd name="connsiteY2129" fmla="*/ 3417979 h 6593118"/>
              <a:gd name="connsiteX2130" fmla="*/ 9183917 w 11490376"/>
              <a:gd name="connsiteY2130" fmla="*/ 3417979 h 6593118"/>
              <a:gd name="connsiteX2131" fmla="*/ 9178934 w 11490376"/>
              <a:gd name="connsiteY2131" fmla="*/ 3371536 h 6593118"/>
              <a:gd name="connsiteX2132" fmla="*/ 9201354 w 11490376"/>
              <a:gd name="connsiteY2132" fmla="*/ 3337315 h 6593118"/>
              <a:gd name="connsiteX2133" fmla="*/ 8861636 w 11490376"/>
              <a:gd name="connsiteY2133" fmla="*/ 3305664 h 6593118"/>
              <a:gd name="connsiteX2134" fmla="*/ 8861318 w 11490376"/>
              <a:gd name="connsiteY2134" fmla="*/ 3305945 h 6593118"/>
              <a:gd name="connsiteX2135" fmla="*/ 8861608 w 11490376"/>
              <a:gd name="connsiteY2135" fmla="*/ 3305720 h 6593118"/>
              <a:gd name="connsiteX2136" fmla="*/ 6034534 w 11490376"/>
              <a:gd name="connsiteY2136" fmla="*/ 3286000 h 6593118"/>
              <a:gd name="connsiteX2137" fmla="*/ 6053935 w 11490376"/>
              <a:gd name="connsiteY2137" fmla="*/ 3317262 h 6593118"/>
              <a:gd name="connsiteX2138" fmla="*/ 6065773 w 11490376"/>
              <a:gd name="connsiteY2138" fmla="*/ 3323130 h 6593118"/>
              <a:gd name="connsiteX2139" fmla="*/ 6056154 w 11490376"/>
              <a:gd name="connsiteY2139" fmla="*/ 3318326 h 6593118"/>
              <a:gd name="connsiteX2140" fmla="*/ 6036422 w 11490376"/>
              <a:gd name="connsiteY2140" fmla="*/ 3286301 h 6593118"/>
              <a:gd name="connsiteX2141" fmla="*/ 8970237 w 11490376"/>
              <a:gd name="connsiteY2141" fmla="*/ 3271017 h 6593118"/>
              <a:gd name="connsiteX2142" fmla="*/ 9030917 w 11490376"/>
              <a:gd name="connsiteY2142" fmla="*/ 3292786 h 6593118"/>
              <a:gd name="connsiteX2143" fmla="*/ 9030707 w 11490376"/>
              <a:gd name="connsiteY2143" fmla="*/ 3291841 h 6593118"/>
              <a:gd name="connsiteX2144" fmla="*/ 6282734 w 11490376"/>
              <a:gd name="connsiteY2144" fmla="*/ 3240863 h 6593118"/>
              <a:gd name="connsiteX2145" fmla="*/ 6259926 w 11490376"/>
              <a:gd name="connsiteY2145" fmla="*/ 3257974 h 6593118"/>
              <a:gd name="connsiteX2146" fmla="*/ 6284605 w 11490376"/>
              <a:gd name="connsiteY2146" fmla="*/ 3242232 h 6593118"/>
              <a:gd name="connsiteX2147" fmla="*/ 6515635 w 11490376"/>
              <a:gd name="connsiteY2147" fmla="*/ 3242232 h 6593118"/>
              <a:gd name="connsiteX2148" fmla="*/ 6527890 w 11490376"/>
              <a:gd name="connsiteY2148" fmla="*/ 3251787 h 6593118"/>
              <a:gd name="connsiteX2149" fmla="*/ 6516970 w 11490376"/>
              <a:gd name="connsiteY2149" fmla="*/ 3240863 h 6593118"/>
              <a:gd name="connsiteX2150" fmla="*/ 2517834 w 11490376"/>
              <a:gd name="connsiteY2150" fmla="*/ 3234295 h 6593118"/>
              <a:gd name="connsiteX2151" fmla="*/ 2566941 w 11490376"/>
              <a:gd name="connsiteY2151" fmla="*/ 3241673 h 6593118"/>
              <a:gd name="connsiteX2152" fmla="*/ 2635693 w 11490376"/>
              <a:gd name="connsiteY2152" fmla="*/ 3256429 h 6593118"/>
              <a:gd name="connsiteX2153" fmla="*/ 2699531 w 11490376"/>
              <a:gd name="connsiteY2153" fmla="*/ 3290858 h 6593118"/>
              <a:gd name="connsiteX2154" fmla="*/ 2797752 w 11490376"/>
              <a:gd name="connsiteY2154" fmla="*/ 3337584 h 6593118"/>
              <a:gd name="connsiteX2155" fmla="*/ 2814942 w 11490376"/>
              <a:gd name="connsiteY2155" fmla="*/ 3362177 h 6593118"/>
              <a:gd name="connsiteX2156" fmla="*/ 2765833 w 11490376"/>
              <a:gd name="connsiteY2156" fmla="*/ 3391689 h 6593118"/>
              <a:gd name="connsiteX2157" fmla="*/ 2689711 w 11490376"/>
              <a:gd name="connsiteY2157" fmla="*/ 3384310 h 6593118"/>
              <a:gd name="connsiteX2158" fmla="*/ 2699531 w 11490376"/>
              <a:gd name="connsiteY2158" fmla="*/ 3344962 h 6593118"/>
              <a:gd name="connsiteX2159" fmla="*/ 2674977 w 11490376"/>
              <a:gd name="connsiteY2159" fmla="*/ 3320369 h 6593118"/>
              <a:gd name="connsiteX2160" fmla="*/ 2620962 w 11490376"/>
              <a:gd name="connsiteY2160" fmla="*/ 3283481 h 6593118"/>
              <a:gd name="connsiteX2161" fmla="*/ 2601317 w 11490376"/>
              <a:gd name="connsiteY2161" fmla="*/ 3276103 h 6593118"/>
              <a:gd name="connsiteX2162" fmla="*/ 2495736 w 11490376"/>
              <a:gd name="connsiteY2162" fmla="*/ 3266265 h 6593118"/>
              <a:gd name="connsiteX2163" fmla="*/ 2453994 w 11490376"/>
              <a:gd name="connsiteY2163" fmla="*/ 3281021 h 6593118"/>
              <a:gd name="connsiteX2164" fmla="*/ 2488368 w 11490376"/>
              <a:gd name="connsiteY2164" fmla="*/ 3249051 h 6593118"/>
              <a:gd name="connsiteX2165" fmla="*/ 5900496 w 11490376"/>
              <a:gd name="connsiteY2165" fmla="*/ 3217798 h 6593118"/>
              <a:gd name="connsiteX2166" fmla="*/ 5927885 w 11490376"/>
              <a:gd name="connsiteY2166" fmla="*/ 3221678 h 6593118"/>
              <a:gd name="connsiteX2167" fmla="*/ 5927885 w 11490376"/>
              <a:gd name="connsiteY2167" fmla="*/ 3233932 h 6593118"/>
              <a:gd name="connsiteX2168" fmla="*/ 5938437 w 11490376"/>
              <a:gd name="connsiteY2168" fmla="*/ 3237670 h 6593118"/>
              <a:gd name="connsiteX2169" fmla="*/ 5930364 w 11490376"/>
              <a:gd name="connsiteY2169" fmla="*/ 3234569 h 6593118"/>
              <a:gd name="connsiteX2170" fmla="*/ 5930364 w 11490376"/>
              <a:gd name="connsiteY2170" fmla="*/ 3219786 h 6593118"/>
              <a:gd name="connsiteX2171" fmla="*/ 8947553 w 11490376"/>
              <a:gd name="connsiteY2171" fmla="*/ 3215259 h 6593118"/>
              <a:gd name="connsiteX2172" fmla="*/ 8923024 w 11490376"/>
              <a:gd name="connsiteY2172" fmla="*/ 3228679 h 6593118"/>
              <a:gd name="connsiteX2173" fmla="*/ 8923415 w 11490376"/>
              <a:gd name="connsiteY2173" fmla="*/ 3231417 h 6593118"/>
              <a:gd name="connsiteX2174" fmla="*/ 8923262 w 11490376"/>
              <a:gd name="connsiteY2174" fmla="*/ 3229282 h 6593118"/>
              <a:gd name="connsiteX2175" fmla="*/ 8947792 w 11490376"/>
              <a:gd name="connsiteY2175" fmla="*/ 3215947 h 6593118"/>
              <a:gd name="connsiteX2176" fmla="*/ 4913984 w 11490376"/>
              <a:gd name="connsiteY2176" fmla="*/ 3215159 h 6593118"/>
              <a:gd name="connsiteX2177" fmla="*/ 4907967 w 11490376"/>
              <a:gd name="connsiteY2177" fmla="*/ 3234795 h 6593118"/>
              <a:gd name="connsiteX2178" fmla="*/ 4907967 w 11490376"/>
              <a:gd name="connsiteY2178" fmla="*/ 3282345 h 6593118"/>
              <a:gd name="connsiteX2179" fmla="*/ 4907980 w 11490376"/>
              <a:gd name="connsiteY2179" fmla="*/ 3282345 h 6593118"/>
              <a:gd name="connsiteX2180" fmla="*/ 4910442 w 11490376"/>
              <a:gd name="connsiteY2180" fmla="*/ 3230537 h 6593118"/>
              <a:gd name="connsiteX2181" fmla="*/ 5872897 w 11490376"/>
              <a:gd name="connsiteY2181" fmla="*/ 3207429 h 6593118"/>
              <a:gd name="connsiteX2182" fmla="*/ 5889723 w 11490376"/>
              <a:gd name="connsiteY2182" fmla="*/ 3215879 h 6593118"/>
              <a:gd name="connsiteX2183" fmla="*/ 5897061 w 11490376"/>
              <a:gd name="connsiteY2183" fmla="*/ 3235540 h 6593118"/>
              <a:gd name="connsiteX2184" fmla="*/ 5901955 w 11490376"/>
              <a:gd name="connsiteY2184" fmla="*/ 3250286 h 6593118"/>
              <a:gd name="connsiteX2185" fmla="*/ 5919082 w 11490376"/>
              <a:gd name="connsiteY2185" fmla="*/ 3289610 h 6593118"/>
              <a:gd name="connsiteX2186" fmla="*/ 5906964 w 11490376"/>
              <a:gd name="connsiteY2186" fmla="*/ 3481925 h 6593118"/>
              <a:gd name="connsiteX2187" fmla="*/ 5908112 w 11490376"/>
              <a:gd name="connsiteY2187" fmla="*/ 3481469 h 6593118"/>
              <a:gd name="connsiteX2188" fmla="*/ 5922942 w 11490376"/>
              <a:gd name="connsiteY2188" fmla="*/ 3290302 h 6593118"/>
              <a:gd name="connsiteX2189" fmla="*/ 5905640 w 11490376"/>
              <a:gd name="connsiteY2189" fmla="*/ 3251088 h 6593118"/>
              <a:gd name="connsiteX2190" fmla="*/ 5898226 w 11490376"/>
              <a:gd name="connsiteY2190" fmla="*/ 3236382 h 6593118"/>
              <a:gd name="connsiteX2191" fmla="*/ 5893420 w 11490376"/>
              <a:gd name="connsiteY2191" fmla="*/ 3217327 h 6593118"/>
              <a:gd name="connsiteX2192" fmla="*/ 5893367 w 11490376"/>
              <a:gd name="connsiteY2192" fmla="*/ 3217324 h 6593118"/>
              <a:gd name="connsiteX2193" fmla="*/ 5873636 w 11490376"/>
              <a:gd name="connsiteY2193" fmla="*/ 3207470 h 6593118"/>
              <a:gd name="connsiteX2194" fmla="*/ 7278581 w 11490376"/>
              <a:gd name="connsiteY2194" fmla="*/ 3204997 h 6593118"/>
              <a:gd name="connsiteX2195" fmla="*/ 7278330 w 11490376"/>
              <a:gd name="connsiteY2195" fmla="*/ 3205406 h 6593118"/>
              <a:gd name="connsiteX2196" fmla="*/ 7306980 w 11490376"/>
              <a:gd name="connsiteY2196" fmla="*/ 3245167 h 6593118"/>
              <a:gd name="connsiteX2197" fmla="*/ 7284945 w 11490376"/>
              <a:gd name="connsiteY2197" fmla="*/ 3343329 h 6593118"/>
              <a:gd name="connsiteX2198" fmla="*/ 7182114 w 11490376"/>
              <a:gd name="connsiteY2198" fmla="*/ 3362962 h 6593118"/>
              <a:gd name="connsiteX2199" fmla="*/ 7076836 w 11490376"/>
              <a:gd name="connsiteY2199" fmla="*/ 3380140 h 6593118"/>
              <a:gd name="connsiteX2200" fmla="*/ 7047456 w 11490376"/>
              <a:gd name="connsiteY2200" fmla="*/ 3419404 h 6593118"/>
              <a:gd name="connsiteX2201" fmla="*/ 7035372 w 11490376"/>
              <a:gd name="connsiteY2201" fmla="*/ 3470273 h 6593118"/>
              <a:gd name="connsiteX2202" fmla="*/ 7049594 w 11490376"/>
              <a:gd name="connsiteY2202" fmla="*/ 3420266 h 6593118"/>
              <a:gd name="connsiteX2203" fmla="*/ 7076624 w 11490376"/>
              <a:gd name="connsiteY2203" fmla="*/ 3383239 h 6593118"/>
              <a:gd name="connsiteX2204" fmla="*/ 7184695 w 11490376"/>
              <a:gd name="connsiteY2204" fmla="*/ 3363499 h 6593118"/>
              <a:gd name="connsiteX2205" fmla="*/ 7184649 w 11490376"/>
              <a:gd name="connsiteY2205" fmla="*/ 3363350 h 6593118"/>
              <a:gd name="connsiteX2206" fmla="*/ 7285107 w 11490376"/>
              <a:gd name="connsiteY2206" fmla="*/ 3346174 h 6593118"/>
              <a:gd name="connsiteX2207" fmla="*/ 7309610 w 11490376"/>
              <a:gd name="connsiteY2207" fmla="*/ 3248023 h 6593118"/>
              <a:gd name="connsiteX2208" fmla="*/ 5823833 w 11490376"/>
              <a:gd name="connsiteY2208" fmla="*/ 3185298 h 6593118"/>
              <a:gd name="connsiteX2209" fmla="*/ 5826109 w 11490376"/>
              <a:gd name="connsiteY2209" fmla="*/ 3203591 h 6593118"/>
              <a:gd name="connsiteX2210" fmla="*/ 5828925 w 11490376"/>
              <a:gd name="connsiteY2210" fmla="*/ 3203748 h 6593118"/>
              <a:gd name="connsiteX2211" fmla="*/ 5824306 w 11490376"/>
              <a:gd name="connsiteY2211" fmla="*/ 3185298 h 6593118"/>
              <a:gd name="connsiteX2212" fmla="*/ 8827555 w 11490376"/>
              <a:gd name="connsiteY2212" fmla="*/ 3182806 h 6593118"/>
              <a:gd name="connsiteX2213" fmla="*/ 8834837 w 11490376"/>
              <a:gd name="connsiteY2213" fmla="*/ 3239129 h 6593118"/>
              <a:gd name="connsiteX2214" fmla="*/ 8871451 w 11490376"/>
              <a:gd name="connsiteY2214" fmla="*/ 3248980 h 6593118"/>
              <a:gd name="connsiteX2215" fmla="*/ 8878774 w 11490376"/>
              <a:gd name="connsiteY2215" fmla="*/ 3271143 h 6593118"/>
              <a:gd name="connsiteX2216" fmla="*/ 8863749 w 11490376"/>
              <a:gd name="connsiteY2216" fmla="*/ 3301460 h 6593118"/>
              <a:gd name="connsiteX2217" fmla="*/ 8878797 w 11490376"/>
              <a:gd name="connsiteY2217" fmla="*/ 3271521 h 6593118"/>
              <a:gd name="connsiteX2218" fmla="*/ 8883708 w 11490376"/>
              <a:gd name="connsiteY2218" fmla="*/ 3303278 h 6593118"/>
              <a:gd name="connsiteX2219" fmla="*/ 8893531 w 11490376"/>
              <a:gd name="connsiteY2219" fmla="*/ 3337478 h 6593118"/>
              <a:gd name="connsiteX2220" fmla="*/ 8910720 w 11490376"/>
              <a:gd name="connsiteY2220" fmla="*/ 3354578 h 6593118"/>
              <a:gd name="connsiteX2221" fmla="*/ 8937731 w 11490376"/>
              <a:gd name="connsiteY2221" fmla="*/ 3364349 h 6593118"/>
              <a:gd name="connsiteX2222" fmla="*/ 8972111 w 11490376"/>
              <a:gd name="connsiteY2222" fmla="*/ 3413206 h 6593118"/>
              <a:gd name="connsiteX2223" fmla="*/ 8972411 w 11490376"/>
              <a:gd name="connsiteY2223" fmla="*/ 3412959 h 6593118"/>
              <a:gd name="connsiteX2224" fmla="*/ 8938007 w 11490376"/>
              <a:gd name="connsiteY2224" fmla="*/ 3363981 h 6593118"/>
              <a:gd name="connsiteX2225" fmla="*/ 8910973 w 11490376"/>
              <a:gd name="connsiteY2225" fmla="*/ 3354186 h 6593118"/>
              <a:gd name="connsiteX2226" fmla="*/ 8893770 w 11490376"/>
              <a:gd name="connsiteY2226" fmla="*/ 3337042 h 6593118"/>
              <a:gd name="connsiteX2227" fmla="*/ 8886397 w 11490376"/>
              <a:gd name="connsiteY2227" fmla="*/ 3302754 h 6593118"/>
              <a:gd name="connsiteX2228" fmla="*/ 8879025 w 11490376"/>
              <a:gd name="connsiteY2228" fmla="*/ 3270916 h 6593118"/>
              <a:gd name="connsiteX2229" fmla="*/ 8925720 w 11490376"/>
              <a:gd name="connsiteY2229" fmla="*/ 3263569 h 6593118"/>
              <a:gd name="connsiteX2230" fmla="*/ 8925710 w 11490376"/>
              <a:gd name="connsiteY2230" fmla="*/ 3263438 h 6593118"/>
              <a:gd name="connsiteX2231" fmla="*/ 8878893 w 11490376"/>
              <a:gd name="connsiteY2231" fmla="*/ 3270480 h 6593118"/>
              <a:gd name="connsiteX2232" fmla="*/ 8871539 w 11490376"/>
              <a:gd name="connsiteY2232" fmla="*/ 3248350 h 6593118"/>
              <a:gd name="connsiteX2233" fmla="*/ 8837214 w 11490376"/>
              <a:gd name="connsiteY2233" fmla="*/ 3238514 h 6593118"/>
              <a:gd name="connsiteX2234" fmla="*/ 5134655 w 11490376"/>
              <a:gd name="connsiteY2234" fmla="*/ 3121954 h 6593118"/>
              <a:gd name="connsiteX2235" fmla="*/ 5134554 w 11490376"/>
              <a:gd name="connsiteY2235" fmla="*/ 3121985 h 6593118"/>
              <a:gd name="connsiteX2236" fmla="*/ 5134554 w 11490376"/>
              <a:gd name="connsiteY2236" fmla="*/ 3176261 h 6593118"/>
              <a:gd name="connsiteX2237" fmla="*/ 5146019 w 11490376"/>
              <a:gd name="connsiteY2237" fmla="*/ 3189182 h 6593118"/>
              <a:gd name="connsiteX2238" fmla="*/ 5134655 w 11490376"/>
              <a:gd name="connsiteY2238" fmla="*/ 3174545 h 6593118"/>
              <a:gd name="connsiteX2239" fmla="*/ 8582364 w 11490376"/>
              <a:gd name="connsiteY2239" fmla="*/ 3117530 h 6593118"/>
              <a:gd name="connsiteX2240" fmla="*/ 8589623 w 11490376"/>
              <a:gd name="connsiteY2240" fmla="*/ 3160797 h 6593118"/>
              <a:gd name="connsiteX2241" fmla="*/ 8593442 w 11490376"/>
              <a:gd name="connsiteY2241" fmla="*/ 3175338 h 6593118"/>
              <a:gd name="connsiteX2242" fmla="*/ 8590179 w 11490376"/>
              <a:gd name="connsiteY2242" fmla="*/ 3159637 h 6593118"/>
              <a:gd name="connsiteX2243" fmla="*/ 8582809 w 11490376"/>
              <a:gd name="connsiteY2243" fmla="*/ 3117778 h 6593118"/>
              <a:gd name="connsiteX2244" fmla="*/ 5156780 w 11490376"/>
              <a:gd name="connsiteY2244" fmla="*/ 3115305 h 6593118"/>
              <a:gd name="connsiteX2245" fmla="*/ 5154697 w 11490376"/>
              <a:gd name="connsiteY2245" fmla="*/ 3115931 h 6593118"/>
              <a:gd name="connsiteX2246" fmla="*/ 5156768 w 11490376"/>
              <a:gd name="connsiteY2246" fmla="*/ 3115470 h 6593118"/>
              <a:gd name="connsiteX2247" fmla="*/ 9594691 w 11490376"/>
              <a:gd name="connsiteY2247" fmla="*/ 3102908 h 6593118"/>
              <a:gd name="connsiteX2248" fmla="*/ 9625163 w 11490376"/>
              <a:gd name="connsiteY2248" fmla="*/ 3166541 h 6593118"/>
              <a:gd name="connsiteX2249" fmla="*/ 9604848 w 11490376"/>
              <a:gd name="connsiteY2249" fmla="*/ 3225277 h 6593118"/>
              <a:gd name="connsiteX2250" fmla="*/ 9564218 w 11490376"/>
              <a:gd name="connsiteY2250" fmla="*/ 3186120 h 6593118"/>
              <a:gd name="connsiteX2251" fmla="*/ 9569297 w 11490376"/>
              <a:gd name="connsiteY2251" fmla="*/ 3139619 h 6593118"/>
              <a:gd name="connsiteX2252" fmla="*/ 8518499 w 11490376"/>
              <a:gd name="connsiteY2252" fmla="*/ 3090280 h 6593118"/>
              <a:gd name="connsiteX2253" fmla="*/ 8537331 w 11490376"/>
              <a:gd name="connsiteY2253" fmla="*/ 3094020 h 6593118"/>
              <a:gd name="connsiteX2254" fmla="*/ 8563318 w 11490376"/>
              <a:gd name="connsiteY2254" fmla="*/ 3106926 h 6593118"/>
              <a:gd name="connsiteX2255" fmla="*/ 8538588 w 11490376"/>
              <a:gd name="connsiteY2255" fmla="*/ 3093156 h 6593118"/>
              <a:gd name="connsiteX2256" fmla="*/ 8678621 w 11490376"/>
              <a:gd name="connsiteY2256" fmla="*/ 3073908 h 6593118"/>
              <a:gd name="connsiteX2257" fmla="*/ 8671251 w 11490376"/>
              <a:gd name="connsiteY2257" fmla="*/ 3083308 h 6593118"/>
              <a:gd name="connsiteX2258" fmla="*/ 8669928 w 11490376"/>
              <a:gd name="connsiteY2258" fmla="*/ 3088349 h 6593118"/>
              <a:gd name="connsiteX2259" fmla="*/ 8671292 w 11490376"/>
              <a:gd name="connsiteY2259" fmla="*/ 3083989 h 6593118"/>
              <a:gd name="connsiteX2260" fmla="*/ 4972012 w 11490376"/>
              <a:gd name="connsiteY2260" fmla="*/ 3072044 h 6593118"/>
              <a:gd name="connsiteX2261" fmla="*/ 4971813 w 11490376"/>
              <a:gd name="connsiteY2261" fmla="*/ 3072062 h 6593118"/>
              <a:gd name="connsiteX2262" fmla="*/ 4971813 w 11490376"/>
              <a:gd name="connsiteY2262" fmla="*/ 3190986 h 6593118"/>
              <a:gd name="connsiteX2263" fmla="*/ 4972012 w 11490376"/>
              <a:gd name="connsiteY2263" fmla="*/ 3191063 h 6593118"/>
              <a:gd name="connsiteX2264" fmla="*/ 8808399 w 11490376"/>
              <a:gd name="connsiteY2264" fmla="*/ 3063456 h 6593118"/>
              <a:gd name="connsiteX2265" fmla="*/ 8795782 w 11490376"/>
              <a:gd name="connsiteY2265" fmla="*/ 3088913 h 6593118"/>
              <a:gd name="connsiteX2266" fmla="*/ 8771372 w 11490376"/>
              <a:gd name="connsiteY2266" fmla="*/ 3108614 h 6593118"/>
              <a:gd name="connsiteX2267" fmla="*/ 8768931 w 11490376"/>
              <a:gd name="connsiteY2267" fmla="*/ 3140628 h 6593118"/>
              <a:gd name="connsiteX2268" fmla="*/ 8807987 w 11490376"/>
              <a:gd name="connsiteY2268" fmla="*/ 3145552 h 6593118"/>
              <a:gd name="connsiteX2269" fmla="*/ 8827494 w 11490376"/>
              <a:gd name="connsiteY2269" fmla="*/ 3182452 h 6593118"/>
              <a:gd name="connsiteX2270" fmla="*/ 8827408 w 11490376"/>
              <a:gd name="connsiteY2270" fmla="*/ 3181958 h 6593118"/>
              <a:gd name="connsiteX2271" fmla="*/ 8810246 w 11490376"/>
              <a:gd name="connsiteY2271" fmla="*/ 3145074 h 6593118"/>
              <a:gd name="connsiteX2272" fmla="*/ 8771019 w 11490376"/>
              <a:gd name="connsiteY2272" fmla="*/ 3140156 h 6593118"/>
              <a:gd name="connsiteX2273" fmla="*/ 8773470 w 11490376"/>
              <a:gd name="connsiteY2273" fmla="*/ 3108189 h 6593118"/>
              <a:gd name="connsiteX2274" fmla="*/ 8797988 w 11490376"/>
              <a:gd name="connsiteY2274" fmla="*/ 3088518 h 6593118"/>
              <a:gd name="connsiteX2275" fmla="*/ 8459973 w 11490376"/>
              <a:gd name="connsiteY2275" fmla="*/ 3056223 h 6593118"/>
              <a:gd name="connsiteX2276" fmla="*/ 8458913 w 11490376"/>
              <a:gd name="connsiteY2276" fmla="*/ 3059410 h 6593118"/>
              <a:gd name="connsiteX2277" fmla="*/ 8499979 w 11490376"/>
              <a:gd name="connsiteY2277" fmla="*/ 3086601 h 6593118"/>
              <a:gd name="connsiteX2278" fmla="*/ 8502683 w 11490376"/>
              <a:gd name="connsiteY2278" fmla="*/ 3087139 h 6593118"/>
              <a:gd name="connsiteX2279" fmla="*/ 7788186 w 11490376"/>
              <a:gd name="connsiteY2279" fmla="*/ 3050199 h 6593118"/>
              <a:gd name="connsiteX2280" fmla="*/ 7799098 w 11490376"/>
              <a:gd name="connsiteY2280" fmla="*/ 3063002 h 6593118"/>
              <a:gd name="connsiteX2281" fmla="*/ 7827657 w 11490376"/>
              <a:gd name="connsiteY2281" fmla="*/ 3100217 h 6593118"/>
              <a:gd name="connsiteX2282" fmla="*/ 7801567 w 11490376"/>
              <a:gd name="connsiteY2282" fmla="*/ 3063610 h 6593118"/>
              <a:gd name="connsiteX2283" fmla="*/ 8314639 w 11490376"/>
              <a:gd name="connsiteY2283" fmla="*/ 3030695 h 6593118"/>
              <a:gd name="connsiteX2284" fmla="*/ 8327646 w 11490376"/>
              <a:gd name="connsiteY2284" fmla="*/ 3033592 h 6593118"/>
              <a:gd name="connsiteX2285" fmla="*/ 8326147 w 11490376"/>
              <a:gd name="connsiteY2285" fmla="*/ 3032600 h 6593118"/>
              <a:gd name="connsiteX2286" fmla="*/ 8451591 w 11490376"/>
              <a:gd name="connsiteY2286" fmla="*/ 3011468 h 6593118"/>
              <a:gd name="connsiteX2287" fmla="*/ 8449846 w 11490376"/>
              <a:gd name="connsiteY2287" fmla="*/ 3014750 h 6593118"/>
              <a:gd name="connsiteX2288" fmla="*/ 8447129 w 11490376"/>
              <a:gd name="connsiteY2288" fmla="*/ 3013582 h 6593118"/>
              <a:gd name="connsiteX2289" fmla="*/ 8428197 w 11490376"/>
              <a:gd name="connsiteY2289" fmla="*/ 3048837 h 6593118"/>
              <a:gd name="connsiteX2290" fmla="*/ 8430492 w 11490376"/>
              <a:gd name="connsiteY2290" fmla="*/ 3048837 h 6593118"/>
              <a:gd name="connsiteX2291" fmla="*/ 8450145 w 11490376"/>
              <a:gd name="connsiteY2291" fmla="*/ 3014366 h 6593118"/>
              <a:gd name="connsiteX2292" fmla="*/ 8741564 w 11490376"/>
              <a:gd name="connsiteY2292" fmla="*/ 2994752 h 6593118"/>
              <a:gd name="connsiteX2293" fmla="*/ 8747410 w 11490376"/>
              <a:gd name="connsiteY2293" fmla="*/ 3004517 h 6593118"/>
              <a:gd name="connsiteX2294" fmla="*/ 8747390 w 11490376"/>
              <a:gd name="connsiteY2294" fmla="*/ 3004676 h 6593118"/>
              <a:gd name="connsiteX2295" fmla="*/ 8786018 w 11490376"/>
              <a:gd name="connsiteY2295" fmla="*/ 2997800 h 6593118"/>
              <a:gd name="connsiteX2296" fmla="*/ 8795782 w 11490376"/>
              <a:gd name="connsiteY2296" fmla="*/ 3017501 h 6593118"/>
              <a:gd name="connsiteX2297" fmla="*/ 8809943 w 11490376"/>
              <a:gd name="connsiteY2297" fmla="*/ 3057976 h 6593118"/>
              <a:gd name="connsiteX2298" fmla="*/ 8797988 w 11490376"/>
              <a:gd name="connsiteY2298" fmla="*/ 3017209 h 6593118"/>
              <a:gd name="connsiteX2299" fmla="*/ 8788180 w 11490376"/>
              <a:gd name="connsiteY2299" fmla="*/ 2997537 h 6593118"/>
              <a:gd name="connsiteX2300" fmla="*/ 8746501 w 11490376"/>
              <a:gd name="connsiteY2300" fmla="*/ 3002455 h 6593118"/>
              <a:gd name="connsiteX2301" fmla="*/ 8187170 w 11490376"/>
              <a:gd name="connsiteY2301" fmla="*/ 2992073 h 6593118"/>
              <a:gd name="connsiteX2302" fmla="*/ 8187275 w 11490376"/>
              <a:gd name="connsiteY2302" fmla="*/ 2992206 h 6593118"/>
              <a:gd name="connsiteX2303" fmla="*/ 8228699 w 11490376"/>
              <a:gd name="connsiteY2303" fmla="*/ 3003737 h 6593118"/>
              <a:gd name="connsiteX2304" fmla="*/ 8227100 w 11490376"/>
              <a:gd name="connsiteY2304" fmla="*/ 3003088 h 6593118"/>
              <a:gd name="connsiteX2305" fmla="*/ 8469459 w 11490376"/>
              <a:gd name="connsiteY2305" fmla="*/ 2977866 h 6593118"/>
              <a:gd name="connsiteX2306" fmla="*/ 8468184 w 11490376"/>
              <a:gd name="connsiteY2306" fmla="*/ 2980264 h 6593118"/>
              <a:gd name="connsiteX2307" fmla="*/ 8506651 w 11490376"/>
              <a:gd name="connsiteY2307" fmla="*/ 2997131 h 6593118"/>
              <a:gd name="connsiteX2308" fmla="*/ 8507875 w 11490376"/>
              <a:gd name="connsiteY2308" fmla="*/ 2997131 h 6593118"/>
              <a:gd name="connsiteX2309" fmla="*/ 7804045 w 11490376"/>
              <a:gd name="connsiteY2309" fmla="*/ 2974593 h 6593118"/>
              <a:gd name="connsiteX2310" fmla="*/ 7781783 w 11490376"/>
              <a:gd name="connsiteY2310" fmla="*/ 2996695 h 6593118"/>
              <a:gd name="connsiteX2311" fmla="*/ 7771888 w 11490376"/>
              <a:gd name="connsiteY2311" fmla="*/ 3031076 h 6593118"/>
              <a:gd name="connsiteX2312" fmla="*/ 7772645 w 11490376"/>
              <a:gd name="connsiteY2312" fmla="*/ 3031964 h 6593118"/>
              <a:gd name="connsiteX2313" fmla="*/ 7781914 w 11490376"/>
              <a:gd name="connsiteY2313" fmla="*/ 2997131 h 6593118"/>
              <a:gd name="connsiteX2314" fmla="*/ 7806482 w 11490376"/>
              <a:gd name="connsiteY2314" fmla="*/ 2977432 h 6593118"/>
              <a:gd name="connsiteX2315" fmla="*/ 7865443 w 11490376"/>
              <a:gd name="connsiteY2315" fmla="*/ 2997131 h 6593118"/>
              <a:gd name="connsiteX2316" fmla="*/ 7865651 w 11490376"/>
              <a:gd name="connsiteY2316" fmla="*/ 2996611 h 6593118"/>
              <a:gd name="connsiteX2317" fmla="*/ 8585117 w 11490376"/>
              <a:gd name="connsiteY2317" fmla="*/ 2970249 h 6593118"/>
              <a:gd name="connsiteX2318" fmla="*/ 8584689 w 11490376"/>
              <a:gd name="connsiteY2318" fmla="*/ 2970488 h 6593118"/>
              <a:gd name="connsiteX2319" fmla="*/ 8565371 w 11490376"/>
              <a:gd name="connsiteY2319" fmla="*/ 2997131 h 6593118"/>
              <a:gd name="connsiteX2320" fmla="*/ 8565612 w 11490376"/>
              <a:gd name="connsiteY2320" fmla="*/ 2997131 h 6593118"/>
              <a:gd name="connsiteX2321" fmla="*/ 1858564 w 11490376"/>
              <a:gd name="connsiteY2321" fmla="*/ 2936487 h 6593118"/>
              <a:gd name="connsiteX2322" fmla="*/ 1845429 w 11490376"/>
              <a:gd name="connsiteY2322" fmla="*/ 2989041 h 6593118"/>
              <a:gd name="connsiteX2323" fmla="*/ 1812333 w 11490376"/>
              <a:gd name="connsiteY2323" fmla="*/ 2989041 h 6593118"/>
              <a:gd name="connsiteX2324" fmla="*/ 1812516 w 11490376"/>
              <a:gd name="connsiteY2324" fmla="*/ 2989700 h 6593118"/>
              <a:gd name="connsiteX2325" fmla="*/ 1849340 w 11490376"/>
              <a:gd name="connsiteY2325" fmla="*/ 2989700 h 6593118"/>
              <a:gd name="connsiteX2326" fmla="*/ 1861500 w 11490376"/>
              <a:gd name="connsiteY2326" fmla="*/ 2938732 h 6593118"/>
              <a:gd name="connsiteX2327" fmla="*/ 1791136 w 11490376"/>
              <a:gd name="connsiteY2327" fmla="*/ 2927532 h 6593118"/>
              <a:gd name="connsiteX2328" fmla="*/ 1792947 w 11490376"/>
              <a:gd name="connsiteY2328" fmla="*/ 2927934 h 6593118"/>
              <a:gd name="connsiteX2329" fmla="*/ 1792889 w 11490376"/>
              <a:gd name="connsiteY2329" fmla="*/ 2927728 h 6593118"/>
              <a:gd name="connsiteX2330" fmla="*/ 7586687 w 11490376"/>
              <a:gd name="connsiteY2330" fmla="*/ 2924060 h 6593118"/>
              <a:gd name="connsiteX2331" fmla="*/ 7537782 w 11490376"/>
              <a:gd name="connsiteY2331" fmla="*/ 2928814 h 6593118"/>
              <a:gd name="connsiteX2332" fmla="*/ 7537157 w 11490376"/>
              <a:gd name="connsiteY2332" fmla="*/ 2930057 h 6593118"/>
              <a:gd name="connsiteX2333" fmla="*/ 8273324 w 11490376"/>
              <a:gd name="connsiteY2333" fmla="*/ 2921310 h 6593118"/>
              <a:gd name="connsiteX2334" fmla="*/ 8269761 w 11490376"/>
              <a:gd name="connsiteY2334" fmla="*/ 2928456 h 6593118"/>
              <a:gd name="connsiteX2335" fmla="*/ 8271671 w 11490376"/>
              <a:gd name="connsiteY2335" fmla="*/ 2958821 h 6593118"/>
              <a:gd name="connsiteX2336" fmla="*/ 8298910 w 11490376"/>
              <a:gd name="connsiteY2336" fmla="*/ 2976036 h 6593118"/>
              <a:gd name="connsiteX2337" fmla="*/ 8336053 w 11490376"/>
              <a:gd name="connsiteY2337" fmla="*/ 2995710 h 6593118"/>
              <a:gd name="connsiteX2338" fmla="*/ 8362272 w 11490376"/>
              <a:gd name="connsiteY2338" fmla="*/ 2996550 h 6593118"/>
              <a:gd name="connsiteX2339" fmla="*/ 8339519 w 11490376"/>
              <a:gd name="connsiteY2339" fmla="*/ 2995079 h 6593118"/>
              <a:gd name="connsiteX2340" fmla="*/ 8305195 w 11490376"/>
              <a:gd name="connsiteY2340" fmla="*/ 2975406 h 6593118"/>
              <a:gd name="connsiteX2341" fmla="*/ 8278227 w 11490376"/>
              <a:gd name="connsiteY2341" fmla="*/ 2960652 h 6593118"/>
              <a:gd name="connsiteX2342" fmla="*/ 8189488 w 11490376"/>
              <a:gd name="connsiteY2342" fmla="*/ 2896720 h 6593118"/>
              <a:gd name="connsiteX2343" fmla="*/ 8219671 w 11490376"/>
              <a:gd name="connsiteY2343" fmla="*/ 2924392 h 6593118"/>
              <a:gd name="connsiteX2344" fmla="*/ 8254338 w 11490376"/>
              <a:gd name="connsiteY2344" fmla="*/ 2944066 h 6593118"/>
              <a:gd name="connsiteX2345" fmla="*/ 8255245 w 11490376"/>
              <a:gd name="connsiteY2345" fmla="*/ 2942565 h 6593118"/>
              <a:gd name="connsiteX2346" fmla="*/ 8226741 w 11490376"/>
              <a:gd name="connsiteY2346" fmla="*/ 2926227 h 6593118"/>
              <a:gd name="connsiteX2347" fmla="*/ 8194869 w 11490376"/>
              <a:gd name="connsiteY2347" fmla="*/ 2896720 h 6593118"/>
              <a:gd name="connsiteX2348" fmla="*/ 1522040 w 11490376"/>
              <a:gd name="connsiteY2348" fmla="*/ 2893360 h 6593118"/>
              <a:gd name="connsiteX2349" fmla="*/ 1522852 w 11490376"/>
              <a:gd name="connsiteY2349" fmla="*/ 2894170 h 6593118"/>
              <a:gd name="connsiteX2350" fmla="*/ 1569128 w 11490376"/>
              <a:gd name="connsiteY2350" fmla="*/ 2904666 h 6593118"/>
              <a:gd name="connsiteX2351" fmla="*/ 6833977 w 11490376"/>
              <a:gd name="connsiteY2351" fmla="*/ 2873802 h 6593118"/>
              <a:gd name="connsiteX2352" fmla="*/ 6834448 w 11490376"/>
              <a:gd name="connsiteY2352" fmla="*/ 2874605 h 6593118"/>
              <a:gd name="connsiteX2353" fmla="*/ 6861052 w 11490376"/>
              <a:gd name="connsiteY2353" fmla="*/ 2881877 h 6593118"/>
              <a:gd name="connsiteX2354" fmla="*/ 6860522 w 11490376"/>
              <a:gd name="connsiteY2354" fmla="*/ 2880953 h 6593118"/>
              <a:gd name="connsiteX2355" fmla="*/ 8126513 w 11490376"/>
              <a:gd name="connsiteY2355" fmla="*/ 2869753 h 6593118"/>
              <a:gd name="connsiteX2356" fmla="*/ 8151584 w 11490376"/>
              <a:gd name="connsiteY2356" fmla="*/ 2894880 h 6593118"/>
              <a:gd name="connsiteX2357" fmla="*/ 8153654 w 11490376"/>
              <a:gd name="connsiteY2357" fmla="*/ 2894880 h 6593118"/>
              <a:gd name="connsiteX2358" fmla="*/ 5288604 w 11490376"/>
              <a:gd name="connsiteY2358" fmla="*/ 2869467 h 6593118"/>
              <a:gd name="connsiteX2359" fmla="*/ 5243242 w 11490376"/>
              <a:gd name="connsiteY2359" fmla="*/ 2907472 h 6593118"/>
              <a:gd name="connsiteX2360" fmla="*/ 5216107 w 11490376"/>
              <a:gd name="connsiteY2360" fmla="*/ 2939395 h 6593118"/>
              <a:gd name="connsiteX2361" fmla="*/ 5186487 w 11490376"/>
              <a:gd name="connsiteY2361" fmla="*/ 2954129 h 6593118"/>
              <a:gd name="connsiteX2362" fmla="*/ 5159335 w 11490376"/>
              <a:gd name="connsiteY2362" fmla="*/ 2954129 h 6593118"/>
              <a:gd name="connsiteX2363" fmla="*/ 5151932 w 11490376"/>
              <a:gd name="connsiteY2363" fmla="*/ 2971319 h 6593118"/>
              <a:gd name="connsiteX2364" fmla="*/ 5124779 w 11490376"/>
              <a:gd name="connsiteY2364" fmla="*/ 2968863 h 6593118"/>
              <a:gd name="connsiteX2365" fmla="*/ 5119843 w 11490376"/>
              <a:gd name="connsiteY2365" fmla="*/ 2990965 h 6593118"/>
              <a:gd name="connsiteX2366" fmla="*/ 5082940 w 11490376"/>
              <a:gd name="connsiteY2366" fmla="*/ 2990965 h 6593118"/>
              <a:gd name="connsiteX2367" fmla="*/ 5082315 w 11490376"/>
              <a:gd name="connsiteY2367" fmla="*/ 2993161 h 6593118"/>
              <a:gd name="connsiteX2368" fmla="*/ 5070038 w 11490376"/>
              <a:gd name="connsiteY2368" fmla="*/ 3042474 h 6593118"/>
              <a:gd name="connsiteX2369" fmla="*/ 5054244 w 11490376"/>
              <a:gd name="connsiteY2369" fmla="*/ 3062863 h 6593118"/>
              <a:gd name="connsiteX2370" fmla="*/ 5055745 w 11490376"/>
              <a:gd name="connsiteY2370" fmla="*/ 3062775 h 6593118"/>
              <a:gd name="connsiteX2371" fmla="*/ 5072982 w 11490376"/>
              <a:gd name="connsiteY2371" fmla="*/ 3040571 h 6593118"/>
              <a:gd name="connsiteX2372" fmla="*/ 5084429 w 11490376"/>
              <a:gd name="connsiteY2372" fmla="*/ 2994700 h 6593118"/>
              <a:gd name="connsiteX2373" fmla="*/ 5083113 w 11490376"/>
              <a:gd name="connsiteY2373" fmla="*/ 2993124 h 6593118"/>
              <a:gd name="connsiteX2374" fmla="*/ 5084825 w 11490376"/>
              <a:gd name="connsiteY2374" fmla="*/ 2993124 h 6593118"/>
              <a:gd name="connsiteX2375" fmla="*/ 5085298 w 11490376"/>
              <a:gd name="connsiteY2375" fmla="*/ 2991229 h 6593118"/>
              <a:gd name="connsiteX2376" fmla="*/ 5086927 w 11490376"/>
              <a:gd name="connsiteY2376" fmla="*/ 2993124 h 6593118"/>
              <a:gd name="connsiteX2377" fmla="*/ 5119982 w 11490376"/>
              <a:gd name="connsiteY2377" fmla="*/ 2993124 h 6593118"/>
              <a:gd name="connsiteX2378" fmla="*/ 5124898 w 11490376"/>
              <a:gd name="connsiteY2378" fmla="*/ 2971015 h 6593118"/>
              <a:gd name="connsiteX2379" fmla="*/ 5151936 w 11490376"/>
              <a:gd name="connsiteY2379" fmla="*/ 2975928 h 6593118"/>
              <a:gd name="connsiteX2380" fmla="*/ 5159310 w 11490376"/>
              <a:gd name="connsiteY2380" fmla="*/ 2956275 h 6593118"/>
              <a:gd name="connsiteX2381" fmla="*/ 5186347 w 11490376"/>
              <a:gd name="connsiteY2381" fmla="*/ 2956275 h 6593118"/>
              <a:gd name="connsiteX2382" fmla="*/ 5215843 w 11490376"/>
              <a:gd name="connsiteY2382" fmla="*/ 2941536 h 6593118"/>
              <a:gd name="connsiteX2383" fmla="*/ 5242865 w 11490376"/>
              <a:gd name="connsiteY2383" fmla="*/ 2909599 h 6593118"/>
              <a:gd name="connsiteX2384" fmla="*/ 5289566 w 11490376"/>
              <a:gd name="connsiteY2384" fmla="*/ 2870292 h 6593118"/>
              <a:gd name="connsiteX2385" fmla="*/ 1674695 w 11490376"/>
              <a:gd name="connsiteY2385" fmla="*/ 2868288 h 6593118"/>
              <a:gd name="connsiteX2386" fmla="*/ 1672488 w 11490376"/>
              <a:gd name="connsiteY2386" fmla="*/ 2868603 h 6593118"/>
              <a:gd name="connsiteX2387" fmla="*/ 1663733 w 11490376"/>
              <a:gd name="connsiteY2387" fmla="*/ 2888312 h 6593118"/>
              <a:gd name="connsiteX2388" fmla="*/ 1613382 w 11490376"/>
              <a:gd name="connsiteY2388" fmla="*/ 2888312 h 6593118"/>
              <a:gd name="connsiteX2389" fmla="*/ 1574074 w 11490376"/>
              <a:gd name="connsiteY2389" fmla="*/ 2905787 h 6593118"/>
              <a:gd name="connsiteX2390" fmla="*/ 1576857 w 11490376"/>
              <a:gd name="connsiteY2390" fmla="*/ 2906417 h 6593118"/>
              <a:gd name="connsiteX2391" fmla="*/ 1616133 w 11490376"/>
              <a:gd name="connsiteY2391" fmla="*/ 2889273 h 6593118"/>
              <a:gd name="connsiteX2392" fmla="*/ 1667685 w 11490376"/>
              <a:gd name="connsiteY2392" fmla="*/ 2889273 h 6593118"/>
              <a:gd name="connsiteX2393" fmla="*/ 7010904 w 11490376"/>
              <a:gd name="connsiteY2393" fmla="*/ 2846769 h 6593118"/>
              <a:gd name="connsiteX2394" fmla="*/ 7010867 w 11490376"/>
              <a:gd name="connsiteY2394" fmla="*/ 2846869 h 6593118"/>
              <a:gd name="connsiteX2395" fmla="*/ 7029849 w 11490376"/>
              <a:gd name="connsiteY2395" fmla="*/ 2853899 h 6593118"/>
              <a:gd name="connsiteX2396" fmla="*/ 7029835 w 11490376"/>
              <a:gd name="connsiteY2396" fmla="*/ 2853803 h 6593118"/>
              <a:gd name="connsiteX2397" fmla="*/ 1727216 w 11490376"/>
              <a:gd name="connsiteY2397" fmla="*/ 2844516 h 6593118"/>
              <a:gd name="connsiteX2398" fmla="*/ 1703137 w 11490376"/>
              <a:gd name="connsiteY2398" fmla="*/ 2864224 h 6593118"/>
              <a:gd name="connsiteX2399" fmla="*/ 1691964 w 11490376"/>
              <a:gd name="connsiteY2399" fmla="*/ 2865820 h 6593118"/>
              <a:gd name="connsiteX2400" fmla="*/ 1704507 w 11490376"/>
              <a:gd name="connsiteY2400" fmla="*/ 2864777 h 6593118"/>
              <a:gd name="connsiteX2401" fmla="*/ 1727700 w 11490376"/>
              <a:gd name="connsiteY2401" fmla="*/ 2846262 h 6593118"/>
              <a:gd name="connsiteX2402" fmla="*/ 7452661 w 11490376"/>
              <a:gd name="connsiteY2402" fmla="*/ 2838427 h 6593118"/>
              <a:gd name="connsiteX2403" fmla="*/ 7452602 w 11490376"/>
              <a:gd name="connsiteY2403" fmla="*/ 2839105 h 6593118"/>
              <a:gd name="connsiteX2404" fmla="*/ 7491405 w 11490376"/>
              <a:gd name="connsiteY2404" fmla="*/ 2839105 h 6593118"/>
              <a:gd name="connsiteX2405" fmla="*/ 7491205 w 11490376"/>
              <a:gd name="connsiteY2405" fmla="*/ 2838427 h 6593118"/>
              <a:gd name="connsiteX2406" fmla="*/ 7752264 w 11490376"/>
              <a:gd name="connsiteY2406" fmla="*/ 2833635 h 6593118"/>
              <a:gd name="connsiteX2407" fmla="*/ 7739544 w 11490376"/>
              <a:gd name="connsiteY2407" fmla="*/ 2834610 h 6593118"/>
              <a:gd name="connsiteX2408" fmla="*/ 7752100 w 11490376"/>
              <a:gd name="connsiteY2408" fmla="*/ 2834610 h 6593118"/>
              <a:gd name="connsiteX2409" fmla="*/ 6808765 w 11490376"/>
              <a:gd name="connsiteY2409" fmla="*/ 2832261 h 6593118"/>
              <a:gd name="connsiteX2410" fmla="*/ 6769829 w 11490376"/>
              <a:gd name="connsiteY2410" fmla="*/ 2834665 h 6593118"/>
              <a:gd name="connsiteX2411" fmla="*/ 6770792 w 11490376"/>
              <a:gd name="connsiteY2411" fmla="*/ 2835340 h 6593118"/>
              <a:gd name="connsiteX2412" fmla="*/ 6809167 w 11490376"/>
              <a:gd name="connsiteY2412" fmla="*/ 2832936 h 6593118"/>
              <a:gd name="connsiteX2413" fmla="*/ 5757747 w 11490376"/>
              <a:gd name="connsiteY2413" fmla="*/ 2817977 h 6593118"/>
              <a:gd name="connsiteX2414" fmla="*/ 5739156 w 11490376"/>
              <a:gd name="connsiteY2414" fmla="*/ 2822678 h 6593118"/>
              <a:gd name="connsiteX2415" fmla="*/ 5711724 w 11490376"/>
              <a:gd name="connsiteY2415" fmla="*/ 2836552 h 6593118"/>
              <a:gd name="connsiteX2416" fmla="*/ 5740446 w 11490376"/>
              <a:gd name="connsiteY2416" fmla="*/ 2823165 h 6593118"/>
              <a:gd name="connsiteX2417" fmla="*/ 5757712 w 11490376"/>
              <a:gd name="connsiteY2417" fmla="*/ 2818238 h 6593118"/>
              <a:gd name="connsiteX2418" fmla="*/ 6720037 w 11490376"/>
              <a:gd name="connsiteY2418" fmla="*/ 2798177 h 6593118"/>
              <a:gd name="connsiteX2419" fmla="*/ 6709054 w 11490376"/>
              <a:gd name="connsiteY2419" fmla="*/ 2802516 h 6593118"/>
              <a:gd name="connsiteX2420" fmla="*/ 6709357 w 11490376"/>
              <a:gd name="connsiteY2420" fmla="*/ 2803028 h 6593118"/>
              <a:gd name="connsiteX2421" fmla="*/ 6704997 w 11490376"/>
              <a:gd name="connsiteY2421" fmla="*/ 2807172 h 6593118"/>
              <a:gd name="connsiteX2422" fmla="*/ 6709583 w 11490376"/>
              <a:gd name="connsiteY2422" fmla="*/ 2803437 h 6593118"/>
              <a:gd name="connsiteX2423" fmla="*/ 6721609 w 11490376"/>
              <a:gd name="connsiteY2423" fmla="*/ 2799420 h 6593118"/>
              <a:gd name="connsiteX2424" fmla="*/ 7761691 w 11490376"/>
              <a:gd name="connsiteY2424" fmla="*/ 2789114 h 6593118"/>
              <a:gd name="connsiteX2425" fmla="*/ 7760855 w 11490376"/>
              <a:gd name="connsiteY2425" fmla="*/ 2789568 h 6593118"/>
              <a:gd name="connsiteX2426" fmla="*/ 7760846 w 11490376"/>
              <a:gd name="connsiteY2426" fmla="*/ 2789616 h 6593118"/>
              <a:gd name="connsiteX2427" fmla="*/ 6999234 w 11490376"/>
              <a:gd name="connsiteY2427" fmla="*/ 2786043 h 6593118"/>
              <a:gd name="connsiteX2428" fmla="*/ 6990278 w 11490376"/>
              <a:gd name="connsiteY2428" fmla="*/ 2787656 h 6593118"/>
              <a:gd name="connsiteX2429" fmla="*/ 6985744 w 11490376"/>
              <a:gd name="connsiteY2429" fmla="*/ 2786659 h 6593118"/>
              <a:gd name="connsiteX2430" fmla="*/ 6991151 w 11490376"/>
              <a:gd name="connsiteY2430" fmla="*/ 2788439 h 6593118"/>
              <a:gd name="connsiteX2431" fmla="*/ 7017473 w 11490376"/>
              <a:gd name="connsiteY2431" fmla="*/ 2782757 h 6593118"/>
              <a:gd name="connsiteX2432" fmla="*/ 7016229 w 11490376"/>
              <a:gd name="connsiteY2432" fmla="*/ 2782981 h 6593118"/>
              <a:gd name="connsiteX2433" fmla="*/ 7020807 w 11490376"/>
              <a:gd name="connsiteY2433" fmla="*/ 2802576 h 6593118"/>
              <a:gd name="connsiteX2434" fmla="*/ 6672385 w 11490376"/>
              <a:gd name="connsiteY2434" fmla="*/ 2777542 h 6593118"/>
              <a:gd name="connsiteX2435" fmla="*/ 6641391 w 11490376"/>
              <a:gd name="connsiteY2435" fmla="*/ 2800328 h 6593118"/>
              <a:gd name="connsiteX2436" fmla="*/ 6643354 w 11490376"/>
              <a:gd name="connsiteY2436" fmla="*/ 2800539 h 6593118"/>
              <a:gd name="connsiteX2437" fmla="*/ 5330547 w 11490376"/>
              <a:gd name="connsiteY2437" fmla="*/ 2776300 h 6593118"/>
              <a:gd name="connsiteX2438" fmla="*/ 5317289 w 11490376"/>
              <a:gd name="connsiteY2438" fmla="*/ 2821522 h 6593118"/>
              <a:gd name="connsiteX2439" fmla="*/ 5280266 w 11490376"/>
              <a:gd name="connsiteY2439" fmla="*/ 2823979 h 6593118"/>
              <a:gd name="connsiteX2440" fmla="*/ 5270393 w 11490376"/>
              <a:gd name="connsiteY2440" fmla="*/ 2850991 h 6593118"/>
              <a:gd name="connsiteX2441" fmla="*/ 5272988 w 11490376"/>
              <a:gd name="connsiteY2441" fmla="*/ 2853251 h 6593118"/>
              <a:gd name="connsiteX2442" fmla="*/ 5279734 w 11490376"/>
              <a:gd name="connsiteY2442" fmla="*/ 2828530 h 6593118"/>
              <a:gd name="connsiteX2443" fmla="*/ 5316604 w 11490376"/>
              <a:gd name="connsiteY2443" fmla="*/ 2826073 h 6593118"/>
              <a:gd name="connsiteX2444" fmla="*/ 8042908 w 11490376"/>
              <a:gd name="connsiteY2444" fmla="*/ 2771030 h 6593118"/>
              <a:gd name="connsiteX2445" fmla="*/ 8069351 w 11490376"/>
              <a:gd name="connsiteY2445" fmla="*/ 2790305 h 6593118"/>
              <a:gd name="connsiteX2446" fmla="*/ 8069351 w 11490376"/>
              <a:gd name="connsiteY2446" fmla="*/ 2854323 h 6593118"/>
              <a:gd name="connsiteX2447" fmla="*/ 8078790 w 11490376"/>
              <a:gd name="connsiteY2447" fmla="*/ 2856472 h 6593118"/>
              <a:gd name="connsiteX2448" fmla="*/ 8072284 w 11490376"/>
              <a:gd name="connsiteY2448" fmla="*/ 2854918 h 6593118"/>
              <a:gd name="connsiteX2449" fmla="*/ 8072284 w 11490376"/>
              <a:gd name="connsiteY2449" fmla="*/ 2790986 h 6593118"/>
              <a:gd name="connsiteX2450" fmla="*/ 8045315 w 11490376"/>
              <a:gd name="connsiteY2450" fmla="*/ 2771313 h 6593118"/>
              <a:gd name="connsiteX2451" fmla="*/ 6604526 w 11490376"/>
              <a:gd name="connsiteY2451" fmla="*/ 2754740 h 6593118"/>
              <a:gd name="connsiteX2452" fmla="*/ 6598673 w 11490376"/>
              <a:gd name="connsiteY2452" fmla="*/ 2757891 h 6593118"/>
              <a:gd name="connsiteX2453" fmla="*/ 6604308 w 11490376"/>
              <a:gd name="connsiteY2453" fmla="*/ 2755215 h 6593118"/>
              <a:gd name="connsiteX2454" fmla="*/ 9968719 w 11490376"/>
              <a:gd name="connsiteY2454" fmla="*/ 2748165 h 6593118"/>
              <a:gd name="connsiteX2455" fmla="*/ 9993043 w 11490376"/>
              <a:gd name="connsiteY2455" fmla="*/ 2762850 h 6593118"/>
              <a:gd name="connsiteX2456" fmla="*/ 9973584 w 11490376"/>
              <a:gd name="connsiteY2456" fmla="*/ 2787322 h 6593118"/>
              <a:gd name="connsiteX2457" fmla="*/ 9951692 w 11490376"/>
              <a:gd name="connsiteY2457" fmla="*/ 2787322 h 6593118"/>
              <a:gd name="connsiteX2458" fmla="*/ 9954125 w 11490376"/>
              <a:gd name="connsiteY2458" fmla="*/ 2762850 h 6593118"/>
              <a:gd name="connsiteX2459" fmla="*/ 9954125 w 11490376"/>
              <a:gd name="connsiteY2459" fmla="*/ 2753060 h 6593118"/>
              <a:gd name="connsiteX2460" fmla="*/ 6927068 w 11490376"/>
              <a:gd name="connsiteY2460" fmla="*/ 2736665 h 6593118"/>
              <a:gd name="connsiteX2461" fmla="*/ 6927068 w 11490376"/>
              <a:gd name="connsiteY2461" fmla="*/ 2737312 h 6593118"/>
              <a:gd name="connsiteX2462" fmla="*/ 6959110 w 11490376"/>
              <a:gd name="connsiteY2462" fmla="*/ 2751919 h 6593118"/>
              <a:gd name="connsiteX2463" fmla="*/ 6964710 w 11490376"/>
              <a:gd name="connsiteY2463" fmla="*/ 2768513 h 6593118"/>
              <a:gd name="connsiteX2464" fmla="*/ 6960609 w 11490376"/>
              <a:gd name="connsiteY2464" fmla="*/ 2750909 h 6593118"/>
              <a:gd name="connsiteX2465" fmla="*/ 5327877 w 11490376"/>
              <a:gd name="connsiteY2465" fmla="*/ 2719419 h 6593118"/>
              <a:gd name="connsiteX2466" fmla="*/ 5312353 w 11490376"/>
              <a:gd name="connsiteY2466" fmla="*/ 2750308 h 6593118"/>
              <a:gd name="connsiteX2467" fmla="*/ 5314541 w 11490376"/>
              <a:gd name="connsiteY2467" fmla="*/ 2751518 h 6593118"/>
              <a:gd name="connsiteX2468" fmla="*/ 5328893 w 11490376"/>
              <a:gd name="connsiteY2468" fmla="*/ 2720437 h 6593118"/>
              <a:gd name="connsiteX2469" fmla="*/ 9899604 w 11490376"/>
              <a:gd name="connsiteY2469" fmla="*/ 2715318 h 6593118"/>
              <a:gd name="connsiteX2470" fmla="*/ 9913898 w 11490376"/>
              <a:gd name="connsiteY2470" fmla="*/ 2735432 h 6593118"/>
              <a:gd name="connsiteX2471" fmla="*/ 9918663 w 11490376"/>
              <a:gd name="connsiteY2471" fmla="*/ 2795772 h 6593118"/>
              <a:gd name="connsiteX2472" fmla="*/ 9918663 w 11490376"/>
              <a:gd name="connsiteY2472" fmla="*/ 2833485 h 6593118"/>
              <a:gd name="connsiteX2473" fmla="*/ 9899604 w 11490376"/>
              <a:gd name="connsiteY2473" fmla="*/ 2848570 h 6593118"/>
              <a:gd name="connsiteX2474" fmla="*/ 9885310 w 11490376"/>
              <a:gd name="connsiteY2474" fmla="*/ 2815886 h 6593118"/>
              <a:gd name="connsiteX2475" fmla="*/ 9890075 w 11490376"/>
              <a:gd name="connsiteY2475" fmla="*/ 2793258 h 6593118"/>
              <a:gd name="connsiteX2476" fmla="*/ 9873400 w 11490376"/>
              <a:gd name="connsiteY2476" fmla="*/ 2785716 h 6593118"/>
              <a:gd name="connsiteX2477" fmla="*/ 9856724 w 11490376"/>
              <a:gd name="connsiteY2477" fmla="*/ 2805829 h 6593118"/>
              <a:gd name="connsiteX2478" fmla="*/ 9840047 w 11490376"/>
              <a:gd name="connsiteY2478" fmla="*/ 2768117 h 6593118"/>
              <a:gd name="connsiteX2479" fmla="*/ 9859106 w 11490376"/>
              <a:gd name="connsiteY2479" fmla="*/ 2753030 h 6593118"/>
              <a:gd name="connsiteX2480" fmla="*/ 9873400 w 11490376"/>
              <a:gd name="connsiteY2480" fmla="*/ 2727889 h 6593118"/>
              <a:gd name="connsiteX2481" fmla="*/ 5641909 w 11490376"/>
              <a:gd name="connsiteY2481" fmla="*/ 2710366 h 6593118"/>
              <a:gd name="connsiteX2482" fmla="*/ 5641053 w 11490376"/>
              <a:gd name="connsiteY2482" fmla="*/ 2710610 h 6593118"/>
              <a:gd name="connsiteX2483" fmla="*/ 5633681 w 11490376"/>
              <a:gd name="connsiteY2483" fmla="*/ 2747459 h 6593118"/>
              <a:gd name="connsiteX2484" fmla="*/ 5645969 w 11490376"/>
              <a:gd name="connsiteY2484" fmla="*/ 2789223 h 6593118"/>
              <a:gd name="connsiteX2485" fmla="*/ 5677923 w 11490376"/>
              <a:gd name="connsiteY2485" fmla="*/ 2801506 h 6593118"/>
              <a:gd name="connsiteX2486" fmla="*/ 5687755 w 11490376"/>
              <a:gd name="connsiteY2486" fmla="*/ 2840813 h 6593118"/>
              <a:gd name="connsiteX2487" fmla="*/ 5703368 w 11490376"/>
              <a:gd name="connsiteY2487" fmla="*/ 2843041 h 6593118"/>
              <a:gd name="connsiteX2488" fmla="*/ 5703449 w 11490376"/>
              <a:gd name="connsiteY2488" fmla="*/ 2840409 h 6593118"/>
              <a:gd name="connsiteX2489" fmla="*/ 5704739 w 11490376"/>
              <a:gd name="connsiteY2489" fmla="*/ 2839808 h 6593118"/>
              <a:gd name="connsiteX2490" fmla="*/ 5688170 w 11490376"/>
              <a:gd name="connsiteY2490" fmla="*/ 2837413 h 6593118"/>
              <a:gd name="connsiteX2491" fmla="*/ 5678458 w 11490376"/>
              <a:gd name="connsiteY2491" fmla="*/ 2798121 h 6593118"/>
              <a:gd name="connsiteX2492" fmla="*/ 5646895 w 11490376"/>
              <a:gd name="connsiteY2492" fmla="*/ 2788297 h 6593118"/>
              <a:gd name="connsiteX2493" fmla="*/ 5634755 w 11490376"/>
              <a:gd name="connsiteY2493" fmla="*/ 2746548 h 6593118"/>
              <a:gd name="connsiteX2494" fmla="*/ 6610417 w 11490376"/>
              <a:gd name="connsiteY2494" fmla="*/ 2708829 h 6593118"/>
              <a:gd name="connsiteX2495" fmla="*/ 6617668 w 11490376"/>
              <a:gd name="connsiteY2495" fmla="*/ 2715318 h 6593118"/>
              <a:gd name="connsiteX2496" fmla="*/ 6604548 w 11490376"/>
              <a:gd name="connsiteY2496" fmla="*/ 2754689 h 6593118"/>
              <a:gd name="connsiteX2497" fmla="*/ 6621569 w 11490376"/>
              <a:gd name="connsiteY2497" fmla="*/ 2717561 h 6593118"/>
              <a:gd name="connsiteX2498" fmla="*/ 6930632 w 11490376"/>
              <a:gd name="connsiteY2498" fmla="*/ 2696247 h 6593118"/>
              <a:gd name="connsiteX2499" fmla="*/ 6927068 w 11490376"/>
              <a:gd name="connsiteY2499" fmla="*/ 2698359 h 6593118"/>
              <a:gd name="connsiteX2500" fmla="*/ 6927068 w 11490376"/>
              <a:gd name="connsiteY2500" fmla="*/ 2698718 h 6593118"/>
              <a:gd name="connsiteX2501" fmla="*/ 6525862 w 11490376"/>
              <a:gd name="connsiteY2501" fmla="*/ 2654005 h 6593118"/>
              <a:gd name="connsiteX2502" fmla="*/ 6528394 w 11490376"/>
              <a:gd name="connsiteY2502" fmla="*/ 2654005 h 6593118"/>
              <a:gd name="connsiteX2503" fmla="*/ 6530924 w 11490376"/>
              <a:gd name="connsiteY2503" fmla="*/ 2654005 h 6593118"/>
              <a:gd name="connsiteX2504" fmla="*/ 6533456 w 11490376"/>
              <a:gd name="connsiteY2504" fmla="*/ 2654005 h 6593118"/>
              <a:gd name="connsiteX2505" fmla="*/ 6538519 w 11490376"/>
              <a:gd name="connsiteY2505" fmla="*/ 2654005 h 6593118"/>
              <a:gd name="connsiteX2506" fmla="*/ 6538519 w 11490376"/>
              <a:gd name="connsiteY2506" fmla="*/ 2656469 h 6593118"/>
              <a:gd name="connsiteX2507" fmla="*/ 6538519 w 11490376"/>
              <a:gd name="connsiteY2507" fmla="*/ 2658933 h 6593118"/>
              <a:gd name="connsiteX2508" fmla="*/ 6538519 w 11490376"/>
              <a:gd name="connsiteY2508" fmla="*/ 2661395 h 6593118"/>
              <a:gd name="connsiteX2509" fmla="*/ 6535987 w 11490376"/>
              <a:gd name="connsiteY2509" fmla="*/ 2663859 h 6593118"/>
              <a:gd name="connsiteX2510" fmla="*/ 6533456 w 11490376"/>
              <a:gd name="connsiteY2510" fmla="*/ 2663859 h 6593118"/>
              <a:gd name="connsiteX2511" fmla="*/ 6530924 w 11490376"/>
              <a:gd name="connsiteY2511" fmla="*/ 2663859 h 6593118"/>
              <a:gd name="connsiteX2512" fmla="*/ 6528394 w 11490376"/>
              <a:gd name="connsiteY2512" fmla="*/ 2668786 h 6593118"/>
              <a:gd name="connsiteX2513" fmla="*/ 6528394 w 11490376"/>
              <a:gd name="connsiteY2513" fmla="*/ 2671249 h 6593118"/>
              <a:gd name="connsiteX2514" fmla="*/ 6528394 w 11490376"/>
              <a:gd name="connsiteY2514" fmla="*/ 2673713 h 6593118"/>
              <a:gd name="connsiteX2515" fmla="*/ 6528394 w 11490376"/>
              <a:gd name="connsiteY2515" fmla="*/ 2676177 h 6593118"/>
              <a:gd name="connsiteX2516" fmla="*/ 6525862 w 11490376"/>
              <a:gd name="connsiteY2516" fmla="*/ 2676177 h 6593118"/>
              <a:gd name="connsiteX2517" fmla="*/ 6525862 w 11490376"/>
              <a:gd name="connsiteY2517" fmla="*/ 2678640 h 6593118"/>
              <a:gd name="connsiteX2518" fmla="*/ 6520800 w 11490376"/>
              <a:gd name="connsiteY2518" fmla="*/ 2681103 h 6593118"/>
              <a:gd name="connsiteX2519" fmla="*/ 6518269 w 11490376"/>
              <a:gd name="connsiteY2519" fmla="*/ 2681103 h 6593118"/>
              <a:gd name="connsiteX2520" fmla="*/ 6513207 w 11490376"/>
              <a:gd name="connsiteY2520" fmla="*/ 2681103 h 6593118"/>
              <a:gd name="connsiteX2521" fmla="*/ 6508144 w 11490376"/>
              <a:gd name="connsiteY2521" fmla="*/ 2681103 h 6593118"/>
              <a:gd name="connsiteX2522" fmla="*/ 6505614 w 11490376"/>
              <a:gd name="connsiteY2522" fmla="*/ 2681103 h 6593118"/>
              <a:gd name="connsiteX2523" fmla="*/ 6500550 w 11490376"/>
              <a:gd name="connsiteY2523" fmla="*/ 2681103 h 6593118"/>
              <a:gd name="connsiteX2524" fmla="*/ 6498020 w 11490376"/>
              <a:gd name="connsiteY2524" fmla="*/ 2681103 h 6593118"/>
              <a:gd name="connsiteX2525" fmla="*/ 6495489 w 11490376"/>
              <a:gd name="connsiteY2525" fmla="*/ 2681103 h 6593118"/>
              <a:gd name="connsiteX2526" fmla="*/ 6490425 w 11490376"/>
              <a:gd name="connsiteY2526" fmla="*/ 2681103 h 6593118"/>
              <a:gd name="connsiteX2527" fmla="*/ 6490425 w 11490376"/>
              <a:gd name="connsiteY2527" fmla="*/ 2683566 h 6593118"/>
              <a:gd name="connsiteX2528" fmla="*/ 6487895 w 11490376"/>
              <a:gd name="connsiteY2528" fmla="*/ 2683566 h 6593118"/>
              <a:gd name="connsiteX2529" fmla="*/ 6482832 w 11490376"/>
              <a:gd name="connsiteY2529" fmla="*/ 2686030 h 6593118"/>
              <a:gd name="connsiteX2530" fmla="*/ 6480302 w 11490376"/>
              <a:gd name="connsiteY2530" fmla="*/ 2686030 h 6593118"/>
              <a:gd name="connsiteX2531" fmla="*/ 6475239 w 11490376"/>
              <a:gd name="connsiteY2531" fmla="*/ 2688494 h 6593118"/>
              <a:gd name="connsiteX2532" fmla="*/ 6472709 w 11490376"/>
              <a:gd name="connsiteY2532" fmla="*/ 2688494 h 6593118"/>
              <a:gd name="connsiteX2533" fmla="*/ 6470177 w 11490376"/>
              <a:gd name="connsiteY2533" fmla="*/ 2690957 h 6593118"/>
              <a:gd name="connsiteX2534" fmla="*/ 6467645 w 11490376"/>
              <a:gd name="connsiteY2534" fmla="*/ 2688494 h 6593118"/>
              <a:gd name="connsiteX2535" fmla="*/ 6462584 w 11490376"/>
              <a:gd name="connsiteY2535" fmla="*/ 2688494 h 6593118"/>
              <a:gd name="connsiteX2536" fmla="*/ 6460052 w 11490376"/>
              <a:gd name="connsiteY2536" fmla="*/ 2686030 h 6593118"/>
              <a:gd name="connsiteX2537" fmla="*/ 6460052 w 11490376"/>
              <a:gd name="connsiteY2537" fmla="*/ 2683566 h 6593118"/>
              <a:gd name="connsiteX2538" fmla="*/ 6460052 w 11490376"/>
              <a:gd name="connsiteY2538" fmla="*/ 2681103 h 6593118"/>
              <a:gd name="connsiteX2539" fmla="*/ 6460052 w 11490376"/>
              <a:gd name="connsiteY2539" fmla="*/ 2678640 h 6593118"/>
              <a:gd name="connsiteX2540" fmla="*/ 6460052 w 11490376"/>
              <a:gd name="connsiteY2540" fmla="*/ 2676177 h 6593118"/>
              <a:gd name="connsiteX2541" fmla="*/ 6460052 w 11490376"/>
              <a:gd name="connsiteY2541" fmla="*/ 2673713 h 6593118"/>
              <a:gd name="connsiteX2542" fmla="*/ 6460052 w 11490376"/>
              <a:gd name="connsiteY2542" fmla="*/ 2671249 h 6593118"/>
              <a:gd name="connsiteX2543" fmla="*/ 6460052 w 11490376"/>
              <a:gd name="connsiteY2543" fmla="*/ 2668786 h 6593118"/>
              <a:gd name="connsiteX2544" fmla="*/ 6460052 w 11490376"/>
              <a:gd name="connsiteY2544" fmla="*/ 2666322 h 6593118"/>
              <a:gd name="connsiteX2545" fmla="*/ 6462584 w 11490376"/>
              <a:gd name="connsiteY2545" fmla="*/ 2663859 h 6593118"/>
              <a:gd name="connsiteX2546" fmla="*/ 6465115 w 11490376"/>
              <a:gd name="connsiteY2546" fmla="*/ 2663859 h 6593118"/>
              <a:gd name="connsiteX2547" fmla="*/ 6467645 w 11490376"/>
              <a:gd name="connsiteY2547" fmla="*/ 2663859 h 6593118"/>
              <a:gd name="connsiteX2548" fmla="*/ 6470177 w 11490376"/>
              <a:gd name="connsiteY2548" fmla="*/ 2663859 h 6593118"/>
              <a:gd name="connsiteX2549" fmla="*/ 6472709 w 11490376"/>
              <a:gd name="connsiteY2549" fmla="*/ 2663859 h 6593118"/>
              <a:gd name="connsiteX2550" fmla="*/ 6477770 w 11490376"/>
              <a:gd name="connsiteY2550" fmla="*/ 2663859 h 6593118"/>
              <a:gd name="connsiteX2551" fmla="*/ 6480302 w 11490376"/>
              <a:gd name="connsiteY2551" fmla="*/ 2663859 h 6593118"/>
              <a:gd name="connsiteX2552" fmla="*/ 6485364 w 11490376"/>
              <a:gd name="connsiteY2552" fmla="*/ 2663859 h 6593118"/>
              <a:gd name="connsiteX2553" fmla="*/ 6490425 w 11490376"/>
              <a:gd name="connsiteY2553" fmla="*/ 2663859 h 6593118"/>
              <a:gd name="connsiteX2554" fmla="*/ 6495489 w 11490376"/>
              <a:gd name="connsiteY2554" fmla="*/ 2663859 h 6593118"/>
              <a:gd name="connsiteX2555" fmla="*/ 6498020 w 11490376"/>
              <a:gd name="connsiteY2555" fmla="*/ 2663859 h 6593118"/>
              <a:gd name="connsiteX2556" fmla="*/ 6500550 w 11490376"/>
              <a:gd name="connsiteY2556" fmla="*/ 2663859 h 6593118"/>
              <a:gd name="connsiteX2557" fmla="*/ 6505614 w 11490376"/>
              <a:gd name="connsiteY2557" fmla="*/ 2663859 h 6593118"/>
              <a:gd name="connsiteX2558" fmla="*/ 6508144 w 11490376"/>
              <a:gd name="connsiteY2558" fmla="*/ 2661395 h 6593118"/>
              <a:gd name="connsiteX2559" fmla="*/ 6510675 w 11490376"/>
              <a:gd name="connsiteY2559" fmla="*/ 2658933 h 6593118"/>
              <a:gd name="connsiteX2560" fmla="*/ 6518269 w 11490376"/>
              <a:gd name="connsiteY2560" fmla="*/ 2658933 h 6593118"/>
              <a:gd name="connsiteX2561" fmla="*/ 6520800 w 11490376"/>
              <a:gd name="connsiteY2561" fmla="*/ 2656469 h 6593118"/>
              <a:gd name="connsiteX2562" fmla="*/ 5660717 w 11490376"/>
              <a:gd name="connsiteY2562" fmla="*/ 2644281 h 6593118"/>
              <a:gd name="connsiteX2563" fmla="*/ 5655801 w 11490376"/>
              <a:gd name="connsiteY2563" fmla="*/ 2673760 h 6593118"/>
              <a:gd name="connsiteX2564" fmla="*/ 5673651 w 11490376"/>
              <a:gd name="connsiteY2564" fmla="*/ 2698292 h 6593118"/>
              <a:gd name="connsiteX2565" fmla="*/ 5676030 w 11490376"/>
              <a:gd name="connsiteY2565" fmla="*/ 2697432 h 6593118"/>
              <a:gd name="connsiteX2566" fmla="*/ 5656606 w 11490376"/>
              <a:gd name="connsiteY2566" fmla="*/ 2670417 h 6593118"/>
              <a:gd name="connsiteX2567" fmla="*/ 5660913 w 11490376"/>
              <a:gd name="connsiteY2567" fmla="*/ 2644281 h 6593118"/>
              <a:gd name="connsiteX2568" fmla="*/ 6921698 w 11490376"/>
              <a:gd name="connsiteY2568" fmla="*/ 2635894 h 6593118"/>
              <a:gd name="connsiteX2569" fmla="*/ 6922140 w 11490376"/>
              <a:gd name="connsiteY2569" fmla="*/ 2637494 h 6593118"/>
              <a:gd name="connsiteX2570" fmla="*/ 6957865 w 11490376"/>
              <a:gd name="connsiteY2570" fmla="*/ 2644551 h 6593118"/>
              <a:gd name="connsiteX2571" fmla="*/ 6958137 w 11490376"/>
              <a:gd name="connsiteY2571" fmla="*/ 2643115 h 6593118"/>
              <a:gd name="connsiteX2572" fmla="*/ 6764040 w 11490376"/>
              <a:gd name="connsiteY2572" fmla="*/ 2597590 h 6593118"/>
              <a:gd name="connsiteX2573" fmla="*/ 6716158 w 11490376"/>
              <a:gd name="connsiteY2573" fmla="*/ 2607110 h 6593118"/>
              <a:gd name="connsiteX2574" fmla="*/ 6717738 w 11490376"/>
              <a:gd name="connsiteY2574" fmla="*/ 2607110 h 6593118"/>
              <a:gd name="connsiteX2575" fmla="*/ 6764070 w 11490376"/>
              <a:gd name="connsiteY2575" fmla="*/ 2597679 h 6593118"/>
              <a:gd name="connsiteX2576" fmla="*/ 6246613 w 11490376"/>
              <a:gd name="connsiteY2576" fmla="*/ 2583933 h 6593118"/>
              <a:gd name="connsiteX2577" fmla="*/ 6246613 w 11490376"/>
              <a:gd name="connsiteY2577" fmla="*/ 2586279 h 6593118"/>
              <a:gd name="connsiteX2578" fmla="*/ 6248984 w 11490376"/>
              <a:gd name="connsiteY2578" fmla="*/ 2586279 h 6593118"/>
              <a:gd name="connsiteX2579" fmla="*/ 6251356 w 11490376"/>
              <a:gd name="connsiteY2579" fmla="*/ 2588625 h 6593118"/>
              <a:gd name="connsiteX2580" fmla="*/ 6253728 w 11490376"/>
              <a:gd name="connsiteY2580" fmla="*/ 2588625 h 6593118"/>
              <a:gd name="connsiteX2581" fmla="*/ 6253728 w 11490376"/>
              <a:gd name="connsiteY2581" fmla="*/ 2590971 h 6593118"/>
              <a:gd name="connsiteX2582" fmla="*/ 6253728 w 11490376"/>
              <a:gd name="connsiteY2582" fmla="*/ 2595664 h 6593118"/>
              <a:gd name="connsiteX2583" fmla="*/ 6256098 w 11490376"/>
              <a:gd name="connsiteY2583" fmla="*/ 2598010 h 6593118"/>
              <a:gd name="connsiteX2584" fmla="*/ 6256098 w 11490376"/>
              <a:gd name="connsiteY2584" fmla="*/ 2600356 h 6593118"/>
              <a:gd name="connsiteX2585" fmla="*/ 6256098 w 11490376"/>
              <a:gd name="connsiteY2585" fmla="*/ 2605049 h 6593118"/>
              <a:gd name="connsiteX2586" fmla="*/ 6253728 w 11490376"/>
              <a:gd name="connsiteY2586" fmla="*/ 2607395 h 6593118"/>
              <a:gd name="connsiteX2587" fmla="*/ 6253728 w 11490376"/>
              <a:gd name="connsiteY2587" fmla="*/ 2609741 h 6593118"/>
              <a:gd name="connsiteX2588" fmla="*/ 6251356 w 11490376"/>
              <a:gd name="connsiteY2588" fmla="*/ 2609741 h 6593118"/>
              <a:gd name="connsiteX2589" fmla="*/ 6246613 w 11490376"/>
              <a:gd name="connsiteY2589" fmla="*/ 2609741 h 6593118"/>
              <a:gd name="connsiteX2590" fmla="*/ 6241869 w 11490376"/>
              <a:gd name="connsiteY2590" fmla="*/ 2614434 h 6593118"/>
              <a:gd name="connsiteX2591" fmla="*/ 6239497 w 11490376"/>
              <a:gd name="connsiteY2591" fmla="*/ 2614434 h 6593118"/>
              <a:gd name="connsiteX2592" fmla="*/ 6234754 w 11490376"/>
              <a:gd name="connsiteY2592" fmla="*/ 2614434 h 6593118"/>
              <a:gd name="connsiteX2593" fmla="*/ 6230012 w 11490376"/>
              <a:gd name="connsiteY2593" fmla="*/ 2614434 h 6593118"/>
              <a:gd name="connsiteX2594" fmla="*/ 6225269 w 11490376"/>
              <a:gd name="connsiteY2594" fmla="*/ 2614434 h 6593118"/>
              <a:gd name="connsiteX2595" fmla="*/ 6220525 w 11490376"/>
              <a:gd name="connsiteY2595" fmla="*/ 2614434 h 6593118"/>
              <a:gd name="connsiteX2596" fmla="*/ 6215782 w 11490376"/>
              <a:gd name="connsiteY2596" fmla="*/ 2614434 h 6593118"/>
              <a:gd name="connsiteX2597" fmla="*/ 6211040 w 11490376"/>
              <a:gd name="connsiteY2597" fmla="*/ 2614434 h 6593118"/>
              <a:gd name="connsiteX2598" fmla="*/ 6206297 w 11490376"/>
              <a:gd name="connsiteY2598" fmla="*/ 2614434 h 6593118"/>
              <a:gd name="connsiteX2599" fmla="*/ 6203925 w 11490376"/>
              <a:gd name="connsiteY2599" fmla="*/ 2614434 h 6593118"/>
              <a:gd name="connsiteX2600" fmla="*/ 6199182 w 11490376"/>
              <a:gd name="connsiteY2600" fmla="*/ 2609741 h 6593118"/>
              <a:gd name="connsiteX2601" fmla="*/ 6194438 w 11490376"/>
              <a:gd name="connsiteY2601" fmla="*/ 2609741 h 6593118"/>
              <a:gd name="connsiteX2602" fmla="*/ 6189696 w 11490376"/>
              <a:gd name="connsiteY2602" fmla="*/ 2607395 h 6593118"/>
              <a:gd name="connsiteX2603" fmla="*/ 6184953 w 11490376"/>
              <a:gd name="connsiteY2603" fmla="*/ 2605049 h 6593118"/>
              <a:gd name="connsiteX2604" fmla="*/ 6182581 w 11490376"/>
              <a:gd name="connsiteY2604" fmla="*/ 2605049 h 6593118"/>
              <a:gd name="connsiteX2605" fmla="*/ 6180209 w 11490376"/>
              <a:gd name="connsiteY2605" fmla="*/ 2605049 h 6593118"/>
              <a:gd name="connsiteX2606" fmla="*/ 6180209 w 11490376"/>
              <a:gd name="connsiteY2606" fmla="*/ 2600356 h 6593118"/>
              <a:gd name="connsiteX2607" fmla="*/ 6180209 w 11490376"/>
              <a:gd name="connsiteY2607" fmla="*/ 2598010 h 6593118"/>
              <a:gd name="connsiteX2608" fmla="*/ 6182581 w 11490376"/>
              <a:gd name="connsiteY2608" fmla="*/ 2598010 h 6593118"/>
              <a:gd name="connsiteX2609" fmla="*/ 6182581 w 11490376"/>
              <a:gd name="connsiteY2609" fmla="*/ 2595664 h 6593118"/>
              <a:gd name="connsiteX2610" fmla="*/ 6184953 w 11490376"/>
              <a:gd name="connsiteY2610" fmla="*/ 2595664 h 6593118"/>
              <a:gd name="connsiteX2611" fmla="*/ 6189696 w 11490376"/>
              <a:gd name="connsiteY2611" fmla="*/ 2595664 h 6593118"/>
              <a:gd name="connsiteX2612" fmla="*/ 6194438 w 11490376"/>
              <a:gd name="connsiteY2612" fmla="*/ 2595664 h 6593118"/>
              <a:gd name="connsiteX2613" fmla="*/ 6201553 w 11490376"/>
              <a:gd name="connsiteY2613" fmla="*/ 2595664 h 6593118"/>
              <a:gd name="connsiteX2614" fmla="*/ 6206297 w 11490376"/>
              <a:gd name="connsiteY2614" fmla="*/ 2595664 h 6593118"/>
              <a:gd name="connsiteX2615" fmla="*/ 6211040 w 11490376"/>
              <a:gd name="connsiteY2615" fmla="*/ 2595664 h 6593118"/>
              <a:gd name="connsiteX2616" fmla="*/ 6215782 w 11490376"/>
              <a:gd name="connsiteY2616" fmla="*/ 2595664 h 6593118"/>
              <a:gd name="connsiteX2617" fmla="*/ 6218154 w 11490376"/>
              <a:gd name="connsiteY2617" fmla="*/ 2595664 h 6593118"/>
              <a:gd name="connsiteX2618" fmla="*/ 6220525 w 11490376"/>
              <a:gd name="connsiteY2618" fmla="*/ 2590971 h 6593118"/>
              <a:gd name="connsiteX2619" fmla="*/ 6225269 w 11490376"/>
              <a:gd name="connsiteY2619" fmla="*/ 2590971 h 6593118"/>
              <a:gd name="connsiteX2620" fmla="*/ 6230012 w 11490376"/>
              <a:gd name="connsiteY2620" fmla="*/ 2588625 h 6593118"/>
              <a:gd name="connsiteX2621" fmla="*/ 6232384 w 11490376"/>
              <a:gd name="connsiteY2621" fmla="*/ 2588625 h 6593118"/>
              <a:gd name="connsiteX2622" fmla="*/ 6237126 w 11490376"/>
              <a:gd name="connsiteY2622" fmla="*/ 2588625 h 6593118"/>
              <a:gd name="connsiteX2623" fmla="*/ 6239497 w 11490376"/>
              <a:gd name="connsiteY2623" fmla="*/ 2586279 h 6593118"/>
              <a:gd name="connsiteX2624" fmla="*/ 6241869 w 11490376"/>
              <a:gd name="connsiteY2624" fmla="*/ 2586279 h 6593118"/>
              <a:gd name="connsiteX2625" fmla="*/ 6244241 w 11490376"/>
              <a:gd name="connsiteY2625" fmla="*/ 2586279 h 6593118"/>
              <a:gd name="connsiteX2626" fmla="*/ 6854514 w 11490376"/>
              <a:gd name="connsiteY2626" fmla="*/ 2583005 h 6593118"/>
              <a:gd name="connsiteX2627" fmla="*/ 6820280 w 11490376"/>
              <a:gd name="connsiteY2627" fmla="*/ 2590296 h 6593118"/>
              <a:gd name="connsiteX2628" fmla="*/ 6798274 w 11490376"/>
              <a:gd name="connsiteY2628" fmla="*/ 2612176 h 6593118"/>
              <a:gd name="connsiteX2629" fmla="*/ 6778456 w 11490376"/>
              <a:gd name="connsiteY2629" fmla="*/ 2631879 h 6593118"/>
              <a:gd name="connsiteX2630" fmla="*/ 6778872 w 11490376"/>
              <a:gd name="connsiteY2630" fmla="*/ 2633150 h 6593118"/>
              <a:gd name="connsiteX2631" fmla="*/ 6801370 w 11490376"/>
              <a:gd name="connsiteY2631" fmla="*/ 2613147 h 6593118"/>
              <a:gd name="connsiteX2632" fmla="*/ 6821088 w 11490376"/>
              <a:gd name="connsiteY2632" fmla="*/ 2591236 h 6593118"/>
              <a:gd name="connsiteX2633" fmla="*/ 6855391 w 11490376"/>
              <a:gd name="connsiteY2633" fmla="*/ 2584459 h 6593118"/>
              <a:gd name="connsiteX2634" fmla="*/ 7604959 w 11490376"/>
              <a:gd name="connsiteY2634" fmla="*/ 2578294 h 6593118"/>
              <a:gd name="connsiteX2635" fmla="*/ 7604712 w 11490376"/>
              <a:gd name="connsiteY2635" fmla="*/ 2579644 h 6593118"/>
              <a:gd name="connsiteX2636" fmla="*/ 7645907 w 11490376"/>
              <a:gd name="connsiteY2636" fmla="*/ 2581805 h 6593118"/>
              <a:gd name="connsiteX2637" fmla="*/ 7642449 w 11490376"/>
              <a:gd name="connsiteY2637" fmla="*/ 2580248 h 6593118"/>
              <a:gd name="connsiteX2638" fmla="*/ 7920277 w 11490376"/>
              <a:gd name="connsiteY2638" fmla="*/ 2577057 h 6593118"/>
              <a:gd name="connsiteX2639" fmla="*/ 7915571 w 11490376"/>
              <a:gd name="connsiteY2639" fmla="*/ 2581779 h 6593118"/>
              <a:gd name="connsiteX2640" fmla="*/ 7915571 w 11490376"/>
              <a:gd name="connsiteY2640" fmla="*/ 2607760 h 6593118"/>
              <a:gd name="connsiteX2641" fmla="*/ 7842600 w 11490376"/>
              <a:gd name="connsiteY2641" fmla="*/ 2602863 h 6593118"/>
              <a:gd name="connsiteX2642" fmla="*/ 7826151 w 11490376"/>
              <a:gd name="connsiteY2642" fmla="*/ 2596652 h 6593118"/>
              <a:gd name="connsiteX2643" fmla="*/ 7841750 w 11490376"/>
              <a:gd name="connsiteY2643" fmla="*/ 2603905 h 6593118"/>
              <a:gd name="connsiteX2644" fmla="*/ 7917742 w 11490376"/>
              <a:gd name="connsiteY2644" fmla="*/ 2608792 h 6593118"/>
              <a:gd name="connsiteX2645" fmla="*/ 7910387 w 11490376"/>
              <a:gd name="connsiteY2645" fmla="*/ 2664979 h 6593118"/>
              <a:gd name="connsiteX2646" fmla="*/ 7880970 w 11490376"/>
              <a:gd name="connsiteY2646" fmla="*/ 2647878 h 6593118"/>
              <a:gd name="connsiteX2647" fmla="*/ 7856458 w 11490376"/>
              <a:gd name="connsiteY2647" fmla="*/ 2642993 h 6593118"/>
              <a:gd name="connsiteX2648" fmla="*/ 7856188 w 11490376"/>
              <a:gd name="connsiteY2648" fmla="*/ 2643096 h 6593118"/>
              <a:gd name="connsiteX2649" fmla="*/ 7880726 w 11490376"/>
              <a:gd name="connsiteY2649" fmla="*/ 2647968 h 6593118"/>
              <a:gd name="connsiteX2650" fmla="*/ 7907935 w 11490376"/>
              <a:gd name="connsiteY2650" fmla="*/ 2665159 h 6593118"/>
              <a:gd name="connsiteX2651" fmla="*/ 7902988 w 11490376"/>
              <a:gd name="connsiteY2651" fmla="*/ 2697085 h 6593118"/>
              <a:gd name="connsiteX2652" fmla="*/ 7920303 w 11490376"/>
              <a:gd name="connsiteY2652" fmla="*/ 2721642 h 6593118"/>
              <a:gd name="connsiteX2653" fmla="*/ 7917829 w 11490376"/>
              <a:gd name="connsiteY2653" fmla="*/ 2770758 h 6593118"/>
              <a:gd name="connsiteX2654" fmla="*/ 7949986 w 11490376"/>
              <a:gd name="connsiteY2654" fmla="*/ 2797773 h 6593118"/>
              <a:gd name="connsiteX2655" fmla="*/ 7954933 w 11490376"/>
              <a:gd name="connsiteY2655" fmla="*/ 2851801 h 6593118"/>
              <a:gd name="connsiteX2656" fmla="*/ 7932671 w 11490376"/>
              <a:gd name="connsiteY2656" fmla="*/ 2876360 h 6593118"/>
              <a:gd name="connsiteX2657" fmla="*/ 7928274 w 11490376"/>
              <a:gd name="connsiteY2657" fmla="*/ 2886545 h 6593118"/>
              <a:gd name="connsiteX2658" fmla="*/ 7931775 w 11490376"/>
              <a:gd name="connsiteY2658" fmla="*/ 2878944 h 6593118"/>
              <a:gd name="connsiteX2659" fmla="*/ 7956342 w 11490376"/>
              <a:gd name="connsiteY2659" fmla="*/ 2854323 h 6593118"/>
              <a:gd name="connsiteX2660" fmla="*/ 7951428 w 11490376"/>
              <a:gd name="connsiteY2660" fmla="*/ 2800153 h 6593118"/>
              <a:gd name="connsiteX2661" fmla="*/ 7954310 w 11490376"/>
              <a:gd name="connsiteY2661" fmla="*/ 2798132 h 6593118"/>
              <a:gd name="connsiteX2662" fmla="*/ 7920277 w 11490376"/>
              <a:gd name="connsiteY2662" fmla="*/ 2771313 h 6593118"/>
              <a:gd name="connsiteX2663" fmla="*/ 7925182 w 11490376"/>
              <a:gd name="connsiteY2663" fmla="*/ 2724594 h 6593118"/>
              <a:gd name="connsiteX2664" fmla="*/ 7905568 w 11490376"/>
              <a:gd name="connsiteY2664" fmla="*/ 2700004 h 6593118"/>
              <a:gd name="connsiteX2665" fmla="*/ 7912923 w 11490376"/>
              <a:gd name="connsiteY2665" fmla="*/ 2665579 h 6593118"/>
              <a:gd name="connsiteX2666" fmla="*/ 7920277 w 11490376"/>
              <a:gd name="connsiteY2666" fmla="*/ 2609024 h 6593118"/>
              <a:gd name="connsiteX2667" fmla="*/ 7580879 w 11490376"/>
              <a:gd name="connsiteY2667" fmla="*/ 2543664 h 6593118"/>
              <a:gd name="connsiteX2668" fmla="*/ 7564279 w 11490376"/>
              <a:gd name="connsiteY2668" fmla="*/ 2553938 h 6593118"/>
              <a:gd name="connsiteX2669" fmla="*/ 7569862 w 11490376"/>
              <a:gd name="connsiteY2669" fmla="*/ 2558189 h 6593118"/>
              <a:gd name="connsiteX2670" fmla="*/ 7589469 w 11490376"/>
              <a:gd name="connsiteY2670" fmla="*/ 2548428 h 6593118"/>
              <a:gd name="connsiteX2671" fmla="*/ 7600307 w 11490376"/>
              <a:gd name="connsiteY2671" fmla="*/ 2552475 h 6593118"/>
              <a:gd name="connsiteX2672" fmla="*/ 7600582 w 11490376"/>
              <a:gd name="connsiteY2672" fmla="*/ 2550981 h 6593118"/>
              <a:gd name="connsiteX2673" fmla="*/ 5900732 w 11490376"/>
              <a:gd name="connsiteY2673" fmla="*/ 2540137 h 6593118"/>
              <a:gd name="connsiteX2674" fmla="*/ 5905658 w 11490376"/>
              <a:gd name="connsiteY2674" fmla="*/ 2567509 h 6593118"/>
              <a:gd name="connsiteX2675" fmla="*/ 5908120 w 11490376"/>
              <a:gd name="connsiteY2675" fmla="*/ 2592392 h 6593118"/>
              <a:gd name="connsiteX2676" fmla="*/ 5866253 w 11490376"/>
              <a:gd name="connsiteY2676" fmla="*/ 2577463 h 6593118"/>
              <a:gd name="connsiteX2677" fmla="*/ 5846551 w 11490376"/>
              <a:gd name="connsiteY2677" fmla="*/ 2574974 h 6593118"/>
              <a:gd name="connsiteX2678" fmla="*/ 5839163 w 11490376"/>
              <a:gd name="connsiteY2678" fmla="*/ 2555068 h 6593118"/>
              <a:gd name="connsiteX2679" fmla="*/ 5831775 w 11490376"/>
              <a:gd name="connsiteY2679" fmla="*/ 2545114 h 6593118"/>
              <a:gd name="connsiteX2680" fmla="*/ 5871179 w 11490376"/>
              <a:gd name="connsiteY2680" fmla="*/ 2547602 h 6593118"/>
              <a:gd name="connsiteX2681" fmla="*/ 7908273 w 11490376"/>
              <a:gd name="connsiteY2681" fmla="*/ 2480408 h 6593118"/>
              <a:gd name="connsiteX2682" fmla="*/ 7879086 w 11490376"/>
              <a:gd name="connsiteY2682" fmla="*/ 2499999 h 6593118"/>
              <a:gd name="connsiteX2683" fmla="*/ 7874221 w 11490376"/>
              <a:gd name="connsiteY2683" fmla="*/ 2553881 h 6593118"/>
              <a:gd name="connsiteX2684" fmla="*/ 7913138 w 11490376"/>
              <a:gd name="connsiteY2684" fmla="*/ 2580821 h 6593118"/>
              <a:gd name="connsiteX2685" fmla="*/ 7913317 w 11490376"/>
              <a:gd name="connsiteY2685" fmla="*/ 2580462 h 6593118"/>
              <a:gd name="connsiteX2686" fmla="*/ 7878599 w 11490376"/>
              <a:gd name="connsiteY2686" fmla="*/ 2554926 h 6593118"/>
              <a:gd name="connsiteX2687" fmla="*/ 7883502 w 11490376"/>
              <a:gd name="connsiteY2687" fmla="*/ 2500829 h 6593118"/>
              <a:gd name="connsiteX2688" fmla="*/ 7911260 w 11490376"/>
              <a:gd name="connsiteY2688" fmla="*/ 2482270 h 6593118"/>
              <a:gd name="connsiteX2689" fmla="*/ 6898242 w 11490376"/>
              <a:gd name="connsiteY2689" fmla="*/ 2466356 h 6593118"/>
              <a:gd name="connsiteX2690" fmla="*/ 6913635 w 11490376"/>
              <a:gd name="connsiteY2690" fmla="*/ 2476525 h 6593118"/>
              <a:gd name="connsiteX2691" fmla="*/ 6930941 w 11490376"/>
              <a:gd name="connsiteY2691" fmla="*/ 2505923 h 6593118"/>
              <a:gd name="connsiteX2692" fmla="*/ 6934152 w 11490376"/>
              <a:gd name="connsiteY2692" fmla="*/ 2505923 h 6593118"/>
              <a:gd name="connsiteX2693" fmla="*/ 6960121 w 11490376"/>
              <a:gd name="connsiteY2693" fmla="*/ 2489445 h 6593118"/>
              <a:gd name="connsiteX2694" fmla="*/ 6958182 w 11490376"/>
              <a:gd name="connsiteY2694" fmla="*/ 2485577 h 6593118"/>
              <a:gd name="connsiteX2695" fmla="*/ 6931806 w 11490376"/>
              <a:gd name="connsiteY2695" fmla="*/ 2504819 h 6593118"/>
              <a:gd name="connsiteX2696" fmla="*/ 6914566 w 11490376"/>
              <a:gd name="connsiteY2696" fmla="*/ 2475173 h 6593118"/>
              <a:gd name="connsiteX2697" fmla="*/ 6881392 w 11490376"/>
              <a:gd name="connsiteY2697" fmla="*/ 2456611 h 6593118"/>
              <a:gd name="connsiteX2698" fmla="*/ 6869184 w 11490376"/>
              <a:gd name="connsiteY2698" fmla="*/ 2471177 h 6593118"/>
              <a:gd name="connsiteX2699" fmla="*/ 6883856 w 11490376"/>
              <a:gd name="connsiteY2699" fmla="*/ 2517367 h 6593118"/>
              <a:gd name="connsiteX2700" fmla="*/ 6903417 w 11490376"/>
              <a:gd name="connsiteY2700" fmla="*/ 2563555 h 6593118"/>
              <a:gd name="connsiteX2701" fmla="*/ 6910752 w 11490376"/>
              <a:gd name="connsiteY2701" fmla="*/ 2609745 h 6593118"/>
              <a:gd name="connsiteX2702" fmla="*/ 6872374 w 11490376"/>
              <a:gd name="connsiteY2702" fmla="*/ 2607501 h 6593118"/>
              <a:gd name="connsiteX2703" fmla="*/ 6872846 w 11490376"/>
              <a:gd name="connsiteY2703" fmla="*/ 2608278 h 6593118"/>
              <a:gd name="connsiteX2704" fmla="*/ 6914147 w 11490376"/>
              <a:gd name="connsiteY2704" fmla="*/ 2610678 h 6593118"/>
              <a:gd name="connsiteX2705" fmla="*/ 6913635 w 11490376"/>
              <a:gd name="connsiteY2705" fmla="*/ 2608817 h 6593118"/>
              <a:gd name="connsiteX2706" fmla="*/ 6906218 w 11490376"/>
              <a:gd name="connsiteY2706" fmla="*/ 2562269 h 6593118"/>
              <a:gd name="connsiteX2707" fmla="*/ 6886440 w 11490376"/>
              <a:gd name="connsiteY2707" fmla="*/ 2518172 h 6593118"/>
              <a:gd name="connsiteX2708" fmla="*/ 6871605 w 11490376"/>
              <a:gd name="connsiteY2708" fmla="*/ 2471624 h 6593118"/>
              <a:gd name="connsiteX2709" fmla="*/ 6882973 w 11490376"/>
              <a:gd name="connsiteY2709" fmla="*/ 2458107 h 6593118"/>
              <a:gd name="connsiteX2710" fmla="*/ 6882551 w 11490376"/>
              <a:gd name="connsiteY2710" fmla="*/ 2457879 h 6593118"/>
              <a:gd name="connsiteX2711" fmla="*/ 7433130 w 11490376"/>
              <a:gd name="connsiteY2711" fmla="*/ 2449437 h 6593118"/>
              <a:gd name="connsiteX2712" fmla="*/ 7432613 w 11490376"/>
              <a:gd name="connsiteY2712" fmla="*/ 2450808 h 6593118"/>
              <a:gd name="connsiteX2713" fmla="*/ 7459574 w 11490376"/>
              <a:gd name="connsiteY2713" fmla="*/ 2458130 h 6593118"/>
              <a:gd name="connsiteX2714" fmla="*/ 7476729 w 11490376"/>
              <a:gd name="connsiteY2714" fmla="*/ 2458130 h 6593118"/>
              <a:gd name="connsiteX2715" fmla="*/ 7486864 w 11490376"/>
              <a:gd name="connsiteY2715" fmla="*/ 2461914 h 6593118"/>
              <a:gd name="connsiteX2716" fmla="*/ 7487294 w 11490376"/>
              <a:gd name="connsiteY2716" fmla="*/ 2460741 h 6593118"/>
              <a:gd name="connsiteX2717" fmla="*/ 7467593 w 11490376"/>
              <a:gd name="connsiteY2717" fmla="*/ 2453425 h 6593118"/>
              <a:gd name="connsiteX2718" fmla="*/ 7447891 w 11490376"/>
              <a:gd name="connsiteY2718" fmla="*/ 2453425 h 6593118"/>
              <a:gd name="connsiteX2719" fmla="*/ 7912026 w 11490376"/>
              <a:gd name="connsiteY2719" fmla="*/ 2434938 h 6593118"/>
              <a:gd name="connsiteX2720" fmla="*/ 7885166 w 11490376"/>
              <a:gd name="connsiteY2720" fmla="*/ 2454735 h 6593118"/>
              <a:gd name="connsiteX2721" fmla="*/ 7860181 w 11490376"/>
              <a:gd name="connsiteY2721" fmla="*/ 2457676 h 6593118"/>
              <a:gd name="connsiteX2722" fmla="*/ 7886382 w 11490376"/>
              <a:gd name="connsiteY2722" fmla="*/ 2455917 h 6593118"/>
              <a:gd name="connsiteX2723" fmla="*/ 2620367 w 11490376"/>
              <a:gd name="connsiteY2723" fmla="*/ 2424955 h 6593118"/>
              <a:gd name="connsiteX2724" fmla="*/ 2640071 w 11490376"/>
              <a:gd name="connsiteY2724" fmla="*/ 2432838 h 6593118"/>
              <a:gd name="connsiteX2725" fmla="*/ 2640706 w 11490376"/>
              <a:gd name="connsiteY2725" fmla="*/ 2432279 h 6593118"/>
              <a:gd name="connsiteX2726" fmla="*/ 7926760 w 11490376"/>
              <a:gd name="connsiteY2726" fmla="*/ 2424079 h 6593118"/>
              <a:gd name="connsiteX2727" fmla="*/ 7925624 w 11490376"/>
              <a:gd name="connsiteY2727" fmla="*/ 2424916 h 6593118"/>
              <a:gd name="connsiteX2728" fmla="*/ 7952834 w 11490376"/>
              <a:gd name="connsiteY2728" fmla="*/ 2495368 h 6593118"/>
              <a:gd name="connsiteX2729" fmla="*/ 5699116 w 11490376"/>
              <a:gd name="connsiteY2729" fmla="*/ 2417510 h 6593118"/>
              <a:gd name="connsiteX2730" fmla="*/ 5704151 w 11490376"/>
              <a:gd name="connsiteY2730" fmla="*/ 2429709 h 6593118"/>
              <a:gd name="connsiteX2731" fmla="*/ 5706668 w 11490376"/>
              <a:gd name="connsiteY2731" fmla="*/ 2449230 h 6593118"/>
              <a:gd name="connsiteX2732" fmla="*/ 5704151 w 11490376"/>
              <a:gd name="connsiteY2732" fmla="*/ 2466311 h 6593118"/>
              <a:gd name="connsiteX2733" fmla="*/ 5699116 w 11490376"/>
              <a:gd name="connsiteY2733" fmla="*/ 2493150 h 6593118"/>
              <a:gd name="connsiteX2734" fmla="*/ 5681494 w 11490376"/>
              <a:gd name="connsiteY2734" fmla="*/ 2500471 h 6593118"/>
              <a:gd name="connsiteX2735" fmla="*/ 5666388 w 11490376"/>
              <a:gd name="connsiteY2735" fmla="*/ 2493150 h 6593118"/>
              <a:gd name="connsiteX2736" fmla="*/ 5666388 w 11490376"/>
              <a:gd name="connsiteY2736" fmla="*/ 2473629 h 6593118"/>
              <a:gd name="connsiteX2737" fmla="*/ 5666388 w 11490376"/>
              <a:gd name="connsiteY2737" fmla="*/ 2451670 h 6593118"/>
              <a:gd name="connsiteX2738" fmla="*/ 5658835 w 11490376"/>
              <a:gd name="connsiteY2738" fmla="*/ 2437029 h 6593118"/>
              <a:gd name="connsiteX2739" fmla="*/ 5663870 w 11490376"/>
              <a:gd name="connsiteY2739" fmla="*/ 2424830 h 6593118"/>
              <a:gd name="connsiteX2740" fmla="*/ 5671422 w 11490376"/>
              <a:gd name="connsiteY2740" fmla="*/ 2424830 h 6593118"/>
              <a:gd name="connsiteX2741" fmla="*/ 5689046 w 11490376"/>
              <a:gd name="connsiteY2741" fmla="*/ 2419950 h 6593118"/>
              <a:gd name="connsiteX2742" fmla="*/ 7403560 w 11490376"/>
              <a:gd name="connsiteY2742" fmla="*/ 2392451 h 6593118"/>
              <a:gd name="connsiteX2743" fmla="*/ 7378933 w 11490376"/>
              <a:gd name="connsiteY2743" fmla="*/ 2404646 h 6593118"/>
              <a:gd name="connsiteX2744" fmla="*/ 7354305 w 11490376"/>
              <a:gd name="connsiteY2744" fmla="*/ 2411962 h 6593118"/>
              <a:gd name="connsiteX2745" fmla="*/ 7349381 w 11490376"/>
              <a:gd name="connsiteY2745" fmla="*/ 2436352 h 6593118"/>
              <a:gd name="connsiteX2746" fmla="*/ 7305050 w 11490376"/>
              <a:gd name="connsiteY2746" fmla="*/ 2424158 h 6593118"/>
              <a:gd name="connsiteX2747" fmla="*/ 7305234 w 11490376"/>
              <a:gd name="connsiteY2747" fmla="*/ 2422968 h 6593118"/>
              <a:gd name="connsiteX2748" fmla="*/ 7280661 w 11490376"/>
              <a:gd name="connsiteY2748" fmla="*/ 2414190 h 6593118"/>
              <a:gd name="connsiteX2749" fmla="*/ 7280661 w 11490376"/>
              <a:gd name="connsiteY2749" fmla="*/ 2416641 h 6593118"/>
              <a:gd name="connsiteX2750" fmla="*/ 7314973 w 11490376"/>
              <a:gd name="connsiteY2750" fmla="*/ 2428843 h 6593118"/>
              <a:gd name="connsiteX2751" fmla="*/ 7359088 w 11490376"/>
              <a:gd name="connsiteY2751" fmla="*/ 2441045 h 6593118"/>
              <a:gd name="connsiteX2752" fmla="*/ 7363990 w 11490376"/>
              <a:gd name="connsiteY2752" fmla="*/ 2416641 h 6593118"/>
              <a:gd name="connsiteX2753" fmla="*/ 7386047 w 11490376"/>
              <a:gd name="connsiteY2753" fmla="*/ 2409319 h 6593118"/>
              <a:gd name="connsiteX2754" fmla="*/ 7406549 w 11490376"/>
              <a:gd name="connsiteY2754" fmla="*/ 2399111 h 6593118"/>
              <a:gd name="connsiteX2755" fmla="*/ 2599788 w 11490376"/>
              <a:gd name="connsiteY2755" fmla="*/ 2391676 h 6593118"/>
              <a:gd name="connsiteX2756" fmla="*/ 2585344 w 11490376"/>
              <a:gd name="connsiteY2756" fmla="*/ 2410941 h 6593118"/>
              <a:gd name="connsiteX2757" fmla="*/ 2588144 w 11490376"/>
              <a:gd name="connsiteY2757" fmla="*/ 2412060 h 6593118"/>
              <a:gd name="connsiteX2758" fmla="*/ 7888983 w 11490376"/>
              <a:gd name="connsiteY2758" fmla="*/ 2384682 h 6593118"/>
              <a:gd name="connsiteX2759" fmla="*/ 7806285 w 11490376"/>
              <a:gd name="connsiteY2759" fmla="*/ 2413876 h 6593118"/>
              <a:gd name="connsiteX2760" fmla="*/ 7804393 w 11490376"/>
              <a:gd name="connsiteY2760" fmla="*/ 2415243 h 6593118"/>
              <a:gd name="connsiteX2761" fmla="*/ 7887355 w 11490376"/>
              <a:gd name="connsiteY2761" fmla="*/ 2386852 h 6593118"/>
              <a:gd name="connsiteX2762" fmla="*/ 10164857 w 11490376"/>
              <a:gd name="connsiteY2762" fmla="*/ 2384663 h 6593118"/>
              <a:gd name="connsiteX2763" fmla="*/ 10201798 w 11490376"/>
              <a:gd name="connsiteY2763" fmla="*/ 2384663 h 6593118"/>
              <a:gd name="connsiteX2764" fmla="*/ 10211650 w 11490376"/>
              <a:gd name="connsiteY2764" fmla="*/ 2446298 h 6593118"/>
              <a:gd name="connsiteX2765" fmla="*/ 10223964 w 11490376"/>
              <a:gd name="connsiteY2765" fmla="*/ 2468487 h 6593118"/>
              <a:gd name="connsiteX2766" fmla="*/ 10253517 w 11490376"/>
              <a:gd name="connsiteY2766" fmla="*/ 2495606 h 6593118"/>
              <a:gd name="connsiteX2767" fmla="*/ 10209188 w 11490376"/>
              <a:gd name="connsiteY2767" fmla="*/ 2532588 h 6593118"/>
              <a:gd name="connsiteX2768" fmla="*/ 10228889 w 11490376"/>
              <a:gd name="connsiteY2768" fmla="*/ 2599153 h 6593118"/>
              <a:gd name="connsiteX2769" fmla="*/ 10219038 w 11490376"/>
              <a:gd name="connsiteY2769" fmla="*/ 2638601 h 6593118"/>
              <a:gd name="connsiteX2770" fmla="*/ 10201798 w 11490376"/>
              <a:gd name="connsiteY2770" fmla="*/ 2660789 h 6593118"/>
              <a:gd name="connsiteX2771" fmla="*/ 10182097 w 11490376"/>
              <a:gd name="connsiteY2771" fmla="*/ 2665719 h 6593118"/>
              <a:gd name="connsiteX2772" fmla="*/ 10169783 w 11490376"/>
              <a:gd name="connsiteY2772" fmla="*/ 2697770 h 6593118"/>
              <a:gd name="connsiteX2773" fmla="*/ 10145155 w 11490376"/>
              <a:gd name="connsiteY2773" fmla="*/ 2670651 h 6593118"/>
              <a:gd name="connsiteX2774" fmla="*/ 10132842 w 11490376"/>
              <a:gd name="connsiteY2774" fmla="*/ 2685443 h 6593118"/>
              <a:gd name="connsiteX2775" fmla="*/ 10086049 w 11490376"/>
              <a:gd name="connsiteY2775" fmla="*/ 2687908 h 6593118"/>
              <a:gd name="connsiteX2776" fmla="*/ 10076198 w 11490376"/>
              <a:gd name="connsiteY2776" fmla="*/ 2665719 h 6593118"/>
              <a:gd name="connsiteX2777" fmla="*/ 10056497 w 11490376"/>
              <a:gd name="connsiteY2777" fmla="*/ 2670651 h 6593118"/>
              <a:gd name="connsiteX2778" fmla="*/ 10056497 w 11490376"/>
              <a:gd name="connsiteY2778" fmla="*/ 2727355 h 6593118"/>
              <a:gd name="connsiteX2779" fmla="*/ 10034331 w 11490376"/>
              <a:gd name="connsiteY2779" fmla="*/ 2712563 h 6593118"/>
              <a:gd name="connsiteX2780" fmla="*/ 10019554 w 11490376"/>
              <a:gd name="connsiteY2780" fmla="*/ 2690373 h 6593118"/>
              <a:gd name="connsiteX2781" fmla="*/ 10009704 w 11490376"/>
              <a:gd name="connsiteY2781" fmla="*/ 2727355 h 6593118"/>
              <a:gd name="connsiteX2782" fmla="*/ 9985076 w 11490376"/>
              <a:gd name="connsiteY2782" fmla="*/ 2734752 h 6593118"/>
              <a:gd name="connsiteX2783" fmla="*/ 9967837 w 11490376"/>
              <a:gd name="connsiteY2783" fmla="*/ 2707631 h 6593118"/>
              <a:gd name="connsiteX2784" fmla="*/ 9938284 w 11490376"/>
              <a:gd name="connsiteY2784" fmla="*/ 2702701 h 6593118"/>
              <a:gd name="connsiteX2785" fmla="*/ 9921044 w 11490376"/>
              <a:gd name="connsiteY2785" fmla="*/ 2687908 h 6593118"/>
              <a:gd name="connsiteX2786" fmla="*/ 9948135 w 11490376"/>
              <a:gd name="connsiteY2786" fmla="*/ 2660789 h 6593118"/>
              <a:gd name="connsiteX2787" fmla="*/ 9977688 w 11490376"/>
              <a:gd name="connsiteY2787" fmla="*/ 2643531 h 6593118"/>
              <a:gd name="connsiteX2788" fmla="*/ 9999853 w 11490376"/>
              <a:gd name="connsiteY2788" fmla="*/ 2623807 h 6593118"/>
              <a:gd name="connsiteX2789" fmla="*/ 10054033 w 11490376"/>
              <a:gd name="connsiteY2789" fmla="*/ 2628739 h 6593118"/>
              <a:gd name="connsiteX2790" fmla="*/ 10056497 w 11490376"/>
              <a:gd name="connsiteY2790" fmla="*/ 2591757 h 6593118"/>
              <a:gd name="connsiteX2791" fmla="*/ 10068809 w 11490376"/>
              <a:gd name="connsiteY2791" fmla="*/ 2562171 h 6593118"/>
              <a:gd name="connsiteX2792" fmla="*/ 10088512 w 11490376"/>
              <a:gd name="connsiteY2792" fmla="*/ 2572033 h 6593118"/>
              <a:gd name="connsiteX2793" fmla="*/ 10137767 w 11490376"/>
              <a:gd name="connsiteY2793" fmla="*/ 2564638 h 6593118"/>
              <a:gd name="connsiteX2794" fmla="*/ 10145155 w 11490376"/>
              <a:gd name="connsiteY2794" fmla="*/ 2537518 h 6593118"/>
              <a:gd name="connsiteX2795" fmla="*/ 10145155 w 11490376"/>
              <a:gd name="connsiteY2795" fmla="*/ 2493141 h 6593118"/>
              <a:gd name="connsiteX2796" fmla="*/ 10159931 w 11490376"/>
              <a:gd name="connsiteY2796" fmla="*/ 2468487 h 6593118"/>
              <a:gd name="connsiteX2797" fmla="*/ 10147619 w 11490376"/>
              <a:gd name="connsiteY2797" fmla="*/ 2409317 h 6593118"/>
              <a:gd name="connsiteX2798" fmla="*/ 6205848 w 11490376"/>
              <a:gd name="connsiteY2798" fmla="*/ 2378306 h 6593118"/>
              <a:gd name="connsiteX2799" fmla="*/ 6184933 w 11490376"/>
              <a:gd name="connsiteY2799" fmla="*/ 2394447 h 6593118"/>
              <a:gd name="connsiteX2800" fmla="*/ 6187275 w 11490376"/>
              <a:gd name="connsiteY2800" fmla="*/ 2395147 h 6593118"/>
              <a:gd name="connsiteX2801" fmla="*/ 6209549 w 11490376"/>
              <a:gd name="connsiteY2801" fmla="*/ 2378306 h 6593118"/>
              <a:gd name="connsiteX2802" fmla="*/ 7900415 w 11490376"/>
              <a:gd name="connsiteY2802" fmla="*/ 2369264 h 6593118"/>
              <a:gd name="connsiteX2803" fmla="*/ 7897834 w 11490376"/>
              <a:gd name="connsiteY2803" fmla="*/ 2372876 h 6593118"/>
              <a:gd name="connsiteX2804" fmla="*/ 7900490 w 11490376"/>
              <a:gd name="connsiteY2804" fmla="*/ 2369334 h 6593118"/>
              <a:gd name="connsiteX2805" fmla="*/ 9778001 w 11490376"/>
              <a:gd name="connsiteY2805" fmla="*/ 2343058 h 6593118"/>
              <a:gd name="connsiteX2806" fmla="*/ 9782879 w 11490376"/>
              <a:gd name="connsiteY2806" fmla="*/ 2403817 h 6593118"/>
              <a:gd name="connsiteX2807" fmla="*/ 9760927 w 11490376"/>
              <a:gd name="connsiteY2807" fmla="*/ 2418400 h 6593118"/>
              <a:gd name="connsiteX2808" fmla="*/ 9741411 w 11490376"/>
              <a:gd name="connsiteY2808" fmla="*/ 2452426 h 6593118"/>
              <a:gd name="connsiteX2809" fmla="*/ 9709701 w 11490376"/>
              <a:gd name="connsiteY2809" fmla="*/ 2467008 h 6593118"/>
              <a:gd name="connsiteX2810" fmla="*/ 9748730 w 11490376"/>
              <a:gd name="connsiteY2810" fmla="*/ 2505895 h 6593118"/>
              <a:gd name="connsiteX2811" fmla="*/ 9747854 w 11490376"/>
              <a:gd name="connsiteY2811" fmla="*/ 2508511 h 6593118"/>
              <a:gd name="connsiteX2812" fmla="*/ 9815729 w 11490376"/>
              <a:gd name="connsiteY2812" fmla="*/ 2599790 h 6593118"/>
              <a:gd name="connsiteX2813" fmla="*/ 9815729 w 11490376"/>
              <a:gd name="connsiteY2813" fmla="*/ 2684512 h 6593118"/>
              <a:gd name="connsiteX2814" fmla="*/ 9762314 w 11490376"/>
              <a:gd name="connsiteY2814" fmla="*/ 2719396 h 6593118"/>
              <a:gd name="connsiteX2815" fmla="*/ 9725895 w 11490376"/>
              <a:gd name="connsiteY2815" fmla="*/ 2701954 h 6593118"/>
              <a:gd name="connsiteX2816" fmla="*/ 9730750 w 11490376"/>
              <a:gd name="connsiteY2816" fmla="*/ 2632183 h 6593118"/>
              <a:gd name="connsiteX2817" fmla="*/ 9701615 w 11490376"/>
              <a:gd name="connsiteY2817" fmla="*/ 2619725 h 6593118"/>
              <a:gd name="connsiteX2818" fmla="*/ 9704043 w 11490376"/>
              <a:gd name="connsiteY2818" fmla="*/ 2592314 h 6593118"/>
              <a:gd name="connsiteX2819" fmla="*/ 9684620 w 11490376"/>
              <a:gd name="connsiteY2819" fmla="*/ 2562412 h 6593118"/>
              <a:gd name="connsiteX2820" fmla="*/ 9696145 w 11490376"/>
              <a:gd name="connsiteY2820" fmla="*/ 2557680 h 6593118"/>
              <a:gd name="connsiteX2821" fmla="*/ 9685309 w 11490376"/>
              <a:gd name="connsiteY2821" fmla="*/ 2561794 h 6593118"/>
              <a:gd name="connsiteX2822" fmla="*/ 9668233 w 11490376"/>
              <a:gd name="connsiteY2822" fmla="*/ 2539921 h 6593118"/>
              <a:gd name="connsiteX2823" fmla="*/ 9624325 w 11490376"/>
              <a:gd name="connsiteY2823" fmla="*/ 2520477 h 6593118"/>
              <a:gd name="connsiteX2824" fmla="*/ 9651158 w 11490376"/>
              <a:gd name="connsiteY2824" fmla="*/ 2501034 h 6593118"/>
              <a:gd name="connsiteX2825" fmla="*/ 9653598 w 11490376"/>
              <a:gd name="connsiteY2825" fmla="*/ 2459718 h 6593118"/>
              <a:gd name="connsiteX2826" fmla="*/ 9624325 w 11490376"/>
              <a:gd name="connsiteY2826" fmla="*/ 2452426 h 6593118"/>
              <a:gd name="connsiteX2827" fmla="*/ 9614568 w 11490376"/>
              <a:gd name="connsiteY2827" fmla="*/ 2452426 h 6593118"/>
              <a:gd name="connsiteX2828" fmla="*/ 9648719 w 11490376"/>
              <a:gd name="connsiteY2828" fmla="*/ 2432982 h 6593118"/>
              <a:gd name="connsiteX2829" fmla="*/ 9668233 w 11490376"/>
              <a:gd name="connsiteY2829" fmla="*/ 2372223 h 6593118"/>
              <a:gd name="connsiteX2830" fmla="*/ 9697504 w 11490376"/>
              <a:gd name="connsiteY2830" fmla="*/ 2386805 h 6593118"/>
              <a:gd name="connsiteX2831" fmla="*/ 9731654 w 11490376"/>
              <a:gd name="connsiteY2831" fmla="*/ 2386805 h 6593118"/>
              <a:gd name="connsiteX2832" fmla="*/ 9765805 w 11490376"/>
              <a:gd name="connsiteY2832" fmla="*/ 2345487 h 6593118"/>
              <a:gd name="connsiteX2833" fmla="*/ 2747341 w 11490376"/>
              <a:gd name="connsiteY2833" fmla="*/ 2336487 h 6593118"/>
              <a:gd name="connsiteX2834" fmla="*/ 2745151 w 11490376"/>
              <a:gd name="connsiteY2834" fmla="*/ 2338678 h 6593118"/>
              <a:gd name="connsiteX2835" fmla="*/ 2826154 w 11490376"/>
              <a:gd name="connsiteY2835" fmla="*/ 2343058 h 6593118"/>
              <a:gd name="connsiteX2836" fmla="*/ 2826791 w 11490376"/>
              <a:gd name="connsiteY2836" fmla="*/ 2340784 h 6593118"/>
              <a:gd name="connsiteX2837" fmla="*/ 5706559 w 11490376"/>
              <a:gd name="connsiteY2837" fmla="*/ 2329918 h 6593118"/>
              <a:gd name="connsiteX2838" fmla="*/ 5696051 w 11490376"/>
              <a:gd name="connsiteY2838" fmla="*/ 2395287 h 6593118"/>
              <a:gd name="connsiteX2839" fmla="*/ 5677662 w 11490376"/>
              <a:gd name="connsiteY2839" fmla="*/ 2380202 h 6593118"/>
              <a:gd name="connsiteX2840" fmla="*/ 5669781 w 11490376"/>
              <a:gd name="connsiteY2840" fmla="*/ 2355060 h 6593118"/>
              <a:gd name="connsiteX2841" fmla="*/ 5693424 w 11490376"/>
              <a:gd name="connsiteY2841" fmla="*/ 2339975 h 6593118"/>
              <a:gd name="connsiteX2842" fmla="*/ 8074297 w 11490376"/>
              <a:gd name="connsiteY2842" fmla="*/ 2328727 h 6593118"/>
              <a:gd name="connsiteX2843" fmla="*/ 8075620 w 11490376"/>
              <a:gd name="connsiteY2843" fmla="*/ 2329918 h 6593118"/>
              <a:gd name="connsiteX2844" fmla="*/ 8073431 w 11490376"/>
              <a:gd name="connsiteY2844" fmla="*/ 2428458 h 6593118"/>
              <a:gd name="connsiteX2845" fmla="*/ 8044972 w 11490376"/>
              <a:gd name="connsiteY2845" fmla="*/ 2437216 h 6593118"/>
              <a:gd name="connsiteX2846" fmla="*/ 8031837 w 11490376"/>
              <a:gd name="connsiteY2846" fmla="*/ 2461304 h 6593118"/>
              <a:gd name="connsiteX2847" fmla="*/ 7972732 w 11490376"/>
              <a:gd name="connsiteY2847" fmla="*/ 2474443 h 6593118"/>
              <a:gd name="connsiteX2848" fmla="*/ 7974921 w 11490376"/>
              <a:gd name="connsiteY2848" fmla="*/ 2494151 h 6593118"/>
              <a:gd name="connsiteX2849" fmla="*/ 7961549 w 11490376"/>
              <a:gd name="connsiteY2849" fmla="*/ 2511348 h 6593118"/>
              <a:gd name="connsiteX2850" fmla="*/ 7964408 w 11490376"/>
              <a:gd name="connsiteY2850" fmla="*/ 2513125 h 6593118"/>
              <a:gd name="connsiteX2851" fmla="*/ 7981571 w 11490376"/>
              <a:gd name="connsiteY2851" fmla="*/ 2495911 h 6593118"/>
              <a:gd name="connsiteX2852" fmla="*/ 7976667 w 11490376"/>
              <a:gd name="connsiteY2852" fmla="*/ 2473781 h 6593118"/>
              <a:gd name="connsiteX2853" fmla="*/ 8035508 w 11490376"/>
              <a:gd name="connsiteY2853" fmla="*/ 2461486 h 6593118"/>
              <a:gd name="connsiteX2854" fmla="*/ 8047767 w 11490376"/>
              <a:gd name="connsiteY2854" fmla="*/ 2439356 h 6593118"/>
              <a:gd name="connsiteX2855" fmla="*/ 8077187 w 11490376"/>
              <a:gd name="connsiteY2855" fmla="*/ 2429520 h 6593118"/>
              <a:gd name="connsiteX2856" fmla="*/ 8079639 w 11490376"/>
              <a:gd name="connsiteY2856" fmla="*/ 2331162 h 6593118"/>
              <a:gd name="connsiteX2857" fmla="*/ 9122453 w 11490376"/>
              <a:gd name="connsiteY2857" fmla="*/ 2316460 h 6593118"/>
              <a:gd name="connsiteX2858" fmla="*/ 9075886 w 11490376"/>
              <a:gd name="connsiteY2858" fmla="*/ 2352839 h 6593118"/>
              <a:gd name="connsiteX2859" fmla="*/ 9007218 w 11490376"/>
              <a:gd name="connsiteY2859" fmla="*/ 2345494 h 6593118"/>
              <a:gd name="connsiteX2860" fmla="*/ 9006550 w 11490376"/>
              <a:gd name="connsiteY2860" fmla="*/ 2345940 h 6593118"/>
              <a:gd name="connsiteX2861" fmla="*/ 9075030 w 11490376"/>
              <a:gd name="connsiteY2861" fmla="*/ 2355751 h 6593118"/>
              <a:gd name="connsiteX2862" fmla="*/ 7639280 w 11490376"/>
              <a:gd name="connsiteY2862" fmla="*/ 2303025 h 6593118"/>
              <a:gd name="connsiteX2863" fmla="*/ 7674464 w 11490376"/>
              <a:gd name="connsiteY2863" fmla="*/ 2319284 h 6593118"/>
              <a:gd name="connsiteX2864" fmla="*/ 7676927 w 11490376"/>
              <a:gd name="connsiteY2864" fmla="*/ 2375380 h 6593118"/>
              <a:gd name="connsiteX2865" fmla="*/ 7689240 w 11490376"/>
              <a:gd name="connsiteY2865" fmla="*/ 2404646 h 6593118"/>
              <a:gd name="connsiteX2866" fmla="*/ 7731107 w 11490376"/>
              <a:gd name="connsiteY2866" fmla="*/ 2426596 h 6593118"/>
              <a:gd name="connsiteX2867" fmla="*/ 7755735 w 11490376"/>
              <a:gd name="connsiteY2867" fmla="*/ 2446107 h 6593118"/>
              <a:gd name="connsiteX2868" fmla="*/ 7736033 w 11490376"/>
              <a:gd name="connsiteY2868" fmla="*/ 2485130 h 6593118"/>
              <a:gd name="connsiteX2869" fmla="*/ 7708942 w 11490376"/>
              <a:gd name="connsiteY2869" fmla="*/ 2521714 h 6593118"/>
              <a:gd name="connsiteX2870" fmla="*/ 7670271 w 11490376"/>
              <a:gd name="connsiteY2870" fmla="*/ 2591128 h 6593118"/>
              <a:gd name="connsiteX2871" fmla="*/ 7677509 w 11490376"/>
              <a:gd name="connsiteY2871" fmla="*/ 2594134 h 6593118"/>
              <a:gd name="connsiteX2872" fmla="*/ 7699572 w 11490376"/>
              <a:gd name="connsiteY2872" fmla="*/ 2581919 h 6593118"/>
              <a:gd name="connsiteX2873" fmla="*/ 7753501 w 11490376"/>
              <a:gd name="connsiteY2873" fmla="*/ 2569704 h 6593118"/>
              <a:gd name="connsiteX2874" fmla="*/ 7768209 w 11490376"/>
              <a:gd name="connsiteY2874" fmla="*/ 2537947 h 6593118"/>
              <a:gd name="connsiteX2875" fmla="*/ 7787021 w 11490376"/>
              <a:gd name="connsiteY2875" fmla="*/ 2542633 h 6593118"/>
              <a:gd name="connsiteX2876" fmla="*/ 7786656 w 11490376"/>
              <a:gd name="connsiteY2876" fmla="*/ 2541634 h 6593118"/>
              <a:gd name="connsiteX2877" fmla="*/ 7767197 w 11490376"/>
              <a:gd name="connsiteY2877" fmla="*/ 2536737 h 6593118"/>
              <a:gd name="connsiteX2878" fmla="*/ 7752603 w 11490376"/>
              <a:gd name="connsiteY2878" fmla="*/ 2568575 h 6593118"/>
              <a:gd name="connsiteX2879" fmla="*/ 7699092 w 11490376"/>
              <a:gd name="connsiteY2879" fmla="*/ 2580821 h 6593118"/>
              <a:gd name="connsiteX2880" fmla="*/ 7677200 w 11490376"/>
              <a:gd name="connsiteY2880" fmla="*/ 2593066 h 6593118"/>
              <a:gd name="connsiteX2881" fmla="*/ 7713686 w 11490376"/>
              <a:gd name="connsiteY2881" fmla="*/ 2522042 h 6593118"/>
              <a:gd name="connsiteX2882" fmla="*/ 7742875 w 11490376"/>
              <a:gd name="connsiteY2882" fmla="*/ 2485305 h 6593118"/>
              <a:gd name="connsiteX2883" fmla="*/ 7761262 w 11490376"/>
              <a:gd name="connsiteY2883" fmla="*/ 2448275 h 6593118"/>
              <a:gd name="connsiteX2884" fmla="*/ 7760386 w 11490376"/>
              <a:gd name="connsiteY2884" fmla="*/ 2448166 h 6593118"/>
              <a:gd name="connsiteX2885" fmla="*/ 7761869 w 11490376"/>
              <a:gd name="connsiteY2885" fmla="*/ 2447054 h 6593118"/>
              <a:gd name="connsiteX2886" fmla="*/ 7762332 w 11490376"/>
              <a:gd name="connsiteY2886" fmla="*/ 2446120 h 6593118"/>
              <a:gd name="connsiteX2887" fmla="*/ 7762990 w 11490376"/>
              <a:gd name="connsiteY2887" fmla="*/ 2446212 h 6593118"/>
              <a:gd name="connsiteX2888" fmla="*/ 7801113 w 11490376"/>
              <a:gd name="connsiteY2888" fmla="*/ 2417612 h 6593118"/>
              <a:gd name="connsiteX2889" fmla="*/ 7762205 w 11490376"/>
              <a:gd name="connsiteY2889" fmla="*/ 2445717 h 6593118"/>
              <a:gd name="connsiteX2890" fmla="*/ 7745064 w 11490376"/>
              <a:gd name="connsiteY2890" fmla="*/ 2431021 h 6593118"/>
              <a:gd name="connsiteX2891" fmla="*/ 7696086 w 11490376"/>
              <a:gd name="connsiteY2891" fmla="*/ 2406529 h 6593118"/>
              <a:gd name="connsiteX2892" fmla="*/ 7683843 w 11490376"/>
              <a:gd name="connsiteY2892" fmla="*/ 2374688 h 6593118"/>
              <a:gd name="connsiteX2893" fmla="*/ 7681393 w 11490376"/>
              <a:gd name="connsiteY2893" fmla="*/ 2320802 h 6593118"/>
              <a:gd name="connsiteX2894" fmla="*/ 7644660 w 11490376"/>
              <a:gd name="connsiteY2894" fmla="*/ 2303657 h 6593118"/>
              <a:gd name="connsiteX2895" fmla="*/ 8060010 w 11490376"/>
              <a:gd name="connsiteY2895" fmla="*/ 2302668 h 6593118"/>
              <a:gd name="connsiteX2896" fmla="*/ 8053729 w 11490376"/>
              <a:gd name="connsiteY2896" fmla="*/ 2310210 h 6593118"/>
              <a:gd name="connsiteX2897" fmla="*/ 8055764 w 11490376"/>
              <a:gd name="connsiteY2897" fmla="*/ 2312042 h 6593118"/>
              <a:gd name="connsiteX2898" fmla="*/ 5189631 w 11490376"/>
              <a:gd name="connsiteY2898" fmla="*/ 2288314 h 6593118"/>
              <a:gd name="connsiteX2899" fmla="*/ 5216739 w 11490376"/>
              <a:gd name="connsiteY2899" fmla="*/ 2303047 h 6593118"/>
              <a:gd name="connsiteX2900" fmla="*/ 5246305 w 11490376"/>
              <a:gd name="connsiteY2900" fmla="*/ 2295680 h 6593118"/>
              <a:gd name="connsiteX2901" fmla="*/ 5300520 w 11490376"/>
              <a:gd name="connsiteY2901" fmla="*/ 2312870 h 6593118"/>
              <a:gd name="connsiteX2902" fmla="*/ 5344878 w 11490376"/>
              <a:gd name="connsiteY2902" fmla="*/ 2327603 h 6593118"/>
              <a:gd name="connsiteX2903" fmla="*/ 5396629 w 11490376"/>
              <a:gd name="connsiteY2903" fmla="*/ 2332515 h 6593118"/>
              <a:gd name="connsiteX2904" fmla="*/ 5421271 w 11490376"/>
              <a:gd name="connsiteY2904" fmla="*/ 2349706 h 6593118"/>
              <a:gd name="connsiteX2905" fmla="*/ 5487809 w 11490376"/>
              <a:gd name="connsiteY2905" fmla="*/ 2349706 h 6593118"/>
              <a:gd name="connsiteX2906" fmla="*/ 5460701 w 11490376"/>
              <a:gd name="connsiteY2906" fmla="*/ 2376717 h 6593118"/>
              <a:gd name="connsiteX2907" fmla="*/ 5440986 w 11490376"/>
              <a:gd name="connsiteY2907" fmla="*/ 2396363 h 6593118"/>
              <a:gd name="connsiteX2908" fmla="*/ 5413879 w 11490376"/>
              <a:gd name="connsiteY2908" fmla="*/ 2430742 h 6593118"/>
              <a:gd name="connsiteX2909" fmla="*/ 5386771 w 11490376"/>
              <a:gd name="connsiteY2909" fmla="*/ 2438109 h 6593118"/>
              <a:gd name="connsiteX2910" fmla="*/ 5369522 w 11490376"/>
              <a:gd name="connsiteY2910" fmla="*/ 2462667 h 6593118"/>
              <a:gd name="connsiteX2911" fmla="*/ 5352272 w 11490376"/>
              <a:gd name="connsiteY2911" fmla="*/ 2484767 h 6593118"/>
              <a:gd name="connsiteX2912" fmla="*/ 5376914 w 11490376"/>
              <a:gd name="connsiteY2912" fmla="*/ 2514236 h 6593118"/>
              <a:gd name="connsiteX2913" fmla="*/ 5369522 w 11490376"/>
              <a:gd name="connsiteY2913" fmla="*/ 2541248 h 6593118"/>
              <a:gd name="connsiteX2914" fmla="*/ 5352272 w 11490376"/>
              <a:gd name="connsiteY2914" fmla="*/ 2560894 h 6593118"/>
              <a:gd name="connsiteX2915" fmla="*/ 5327628 w 11490376"/>
              <a:gd name="connsiteY2915" fmla="*/ 2575628 h 6593118"/>
              <a:gd name="connsiteX2916" fmla="*/ 5327628 w 11490376"/>
              <a:gd name="connsiteY2916" fmla="*/ 2597728 h 6593118"/>
              <a:gd name="connsiteX2917" fmla="*/ 5307913 w 11490376"/>
              <a:gd name="connsiteY2917" fmla="*/ 2612462 h 6593118"/>
              <a:gd name="connsiteX2918" fmla="*/ 5224131 w 11490376"/>
              <a:gd name="connsiteY2918" fmla="*/ 2610007 h 6593118"/>
              <a:gd name="connsiteX2919" fmla="*/ 5204417 w 11490376"/>
              <a:gd name="connsiteY2919" fmla="*/ 2622285 h 6593118"/>
              <a:gd name="connsiteX2920" fmla="*/ 5182237 w 11490376"/>
              <a:gd name="connsiteY2920" fmla="*/ 2629653 h 6593118"/>
              <a:gd name="connsiteX2921" fmla="*/ 5157595 w 11490376"/>
              <a:gd name="connsiteY2921" fmla="*/ 2612462 h 6593118"/>
              <a:gd name="connsiteX2922" fmla="*/ 5157595 w 11490376"/>
              <a:gd name="connsiteY2922" fmla="*/ 2587906 h 6593118"/>
              <a:gd name="connsiteX2923" fmla="*/ 5135416 w 11490376"/>
              <a:gd name="connsiteY2923" fmla="*/ 2582995 h 6593118"/>
              <a:gd name="connsiteX2924" fmla="*/ 5133302 w 11490376"/>
              <a:gd name="connsiteY2924" fmla="*/ 2564042 h 6593118"/>
              <a:gd name="connsiteX2925" fmla="*/ 5118128 w 11490376"/>
              <a:gd name="connsiteY2925" fmla="*/ 2592418 h 6593118"/>
              <a:gd name="connsiteX2926" fmla="*/ 5091214 w 11490376"/>
              <a:gd name="connsiteY2926" fmla="*/ 2592418 h 6593118"/>
              <a:gd name="connsiteX2927" fmla="*/ 5064299 w 11490376"/>
              <a:gd name="connsiteY2927" fmla="*/ 2582563 h 6593118"/>
              <a:gd name="connsiteX2928" fmla="*/ 5061854 w 11490376"/>
              <a:gd name="connsiteY2928" fmla="*/ 2555465 h 6593118"/>
              <a:gd name="connsiteX2929" fmla="*/ 5059406 w 11490376"/>
              <a:gd name="connsiteY2929" fmla="*/ 2530830 h 6593118"/>
              <a:gd name="connsiteX2930" fmla="*/ 5034941 w 11490376"/>
              <a:gd name="connsiteY2930" fmla="*/ 2520977 h 6593118"/>
              <a:gd name="connsiteX2931" fmla="*/ 5037387 w 11490376"/>
              <a:gd name="connsiteY2931" fmla="*/ 2481561 h 6593118"/>
              <a:gd name="connsiteX2932" fmla="*/ 5059406 w 11490376"/>
              <a:gd name="connsiteY2932" fmla="*/ 2466779 h 6593118"/>
              <a:gd name="connsiteX2933" fmla="*/ 5074086 w 11490376"/>
              <a:gd name="connsiteY2933" fmla="*/ 2442145 h 6593118"/>
              <a:gd name="connsiteX2934" fmla="*/ 5069193 w 11490376"/>
              <a:gd name="connsiteY2934" fmla="*/ 2427363 h 6593118"/>
              <a:gd name="connsiteX2935" fmla="*/ 5069193 w 11490376"/>
              <a:gd name="connsiteY2935" fmla="*/ 2390411 h 6593118"/>
              <a:gd name="connsiteX2936" fmla="*/ 5079411 w 11490376"/>
              <a:gd name="connsiteY2936" fmla="*/ 2363664 h 6593118"/>
              <a:gd name="connsiteX2937" fmla="*/ 5078736 w 11490376"/>
              <a:gd name="connsiteY2937" fmla="*/ 2361983 h 6593118"/>
              <a:gd name="connsiteX2938" fmla="*/ 5061486 w 11490376"/>
              <a:gd name="connsiteY2938" fmla="*/ 2342339 h 6593118"/>
              <a:gd name="connsiteX2939" fmla="*/ 5059021 w 11490376"/>
              <a:gd name="connsiteY2939" fmla="*/ 2315326 h 6593118"/>
              <a:gd name="connsiteX2940" fmla="*/ 5078736 w 11490376"/>
              <a:gd name="connsiteY2940" fmla="*/ 2307959 h 6593118"/>
              <a:gd name="connsiteX2941" fmla="*/ 5071344 w 11490376"/>
              <a:gd name="connsiteY2941" fmla="*/ 2290769 h 6593118"/>
              <a:gd name="connsiteX2942" fmla="*/ 8075620 w 11490376"/>
              <a:gd name="connsiteY2942" fmla="*/ 2283933 h 6593118"/>
              <a:gd name="connsiteX2943" fmla="*/ 8069455 w 11490376"/>
              <a:gd name="connsiteY2943" fmla="*/ 2291332 h 6593118"/>
              <a:gd name="connsiteX2944" fmla="*/ 8121305 w 11490376"/>
              <a:gd name="connsiteY2944" fmla="*/ 2285761 h 6593118"/>
              <a:gd name="connsiteX2945" fmla="*/ 6848927 w 11490376"/>
              <a:gd name="connsiteY2945" fmla="*/ 2275167 h 6593118"/>
              <a:gd name="connsiteX2946" fmla="*/ 6850201 w 11490376"/>
              <a:gd name="connsiteY2946" fmla="*/ 2276455 h 6593118"/>
              <a:gd name="connsiteX2947" fmla="*/ 6861374 w 11490376"/>
              <a:gd name="connsiteY2947" fmla="*/ 2288504 h 6593118"/>
              <a:gd name="connsiteX2948" fmla="*/ 6852956 w 11490376"/>
              <a:gd name="connsiteY2948" fmla="*/ 2278885 h 6593118"/>
              <a:gd name="connsiteX2949" fmla="*/ 2869935 w 11490376"/>
              <a:gd name="connsiteY2949" fmla="*/ 2262035 h 6593118"/>
              <a:gd name="connsiteX2950" fmla="*/ 2867746 w 11490376"/>
              <a:gd name="connsiteY2950" fmla="*/ 2264226 h 6593118"/>
              <a:gd name="connsiteX2951" fmla="*/ 3006393 w 11490376"/>
              <a:gd name="connsiteY2951" fmla="*/ 2270435 h 6593118"/>
              <a:gd name="connsiteX2952" fmla="*/ 6131860 w 11490376"/>
              <a:gd name="connsiteY2952" fmla="*/ 2244407 h 6593118"/>
              <a:gd name="connsiteX2953" fmla="*/ 6142357 w 11490376"/>
              <a:gd name="connsiteY2953" fmla="*/ 2253557 h 6593118"/>
              <a:gd name="connsiteX2954" fmla="*/ 6140661 w 11490376"/>
              <a:gd name="connsiteY2954" fmla="*/ 2254858 h 6593118"/>
              <a:gd name="connsiteX2955" fmla="*/ 6149358 w 11490376"/>
              <a:gd name="connsiteY2955" fmla="*/ 2261329 h 6593118"/>
              <a:gd name="connsiteX2956" fmla="*/ 6150856 w 11490376"/>
              <a:gd name="connsiteY2956" fmla="*/ 2259099 h 6593118"/>
              <a:gd name="connsiteX2957" fmla="*/ 6142592 w 11490376"/>
              <a:gd name="connsiteY2957" fmla="*/ 2252839 h 6593118"/>
              <a:gd name="connsiteX2958" fmla="*/ 3034691 w 11490376"/>
              <a:gd name="connsiteY2958" fmla="*/ 2243125 h 6593118"/>
              <a:gd name="connsiteX2959" fmla="*/ 3012296 w 11490376"/>
              <a:gd name="connsiteY2959" fmla="*/ 2270700 h 6593118"/>
              <a:gd name="connsiteX2960" fmla="*/ 3014409 w 11490376"/>
              <a:gd name="connsiteY2960" fmla="*/ 2270795 h 6593118"/>
              <a:gd name="connsiteX2961" fmla="*/ 7850364 w 11490376"/>
              <a:gd name="connsiteY2961" fmla="*/ 2242425 h 6593118"/>
              <a:gd name="connsiteX2962" fmla="*/ 7847993 w 11490376"/>
              <a:gd name="connsiteY2962" fmla="*/ 2244558 h 6593118"/>
              <a:gd name="connsiteX2963" fmla="*/ 7880788 w 11490376"/>
              <a:gd name="connsiteY2963" fmla="*/ 2277364 h 6593118"/>
              <a:gd name="connsiteX2964" fmla="*/ 7881565 w 11490376"/>
              <a:gd name="connsiteY2964" fmla="*/ 2276032 h 6593118"/>
              <a:gd name="connsiteX2965" fmla="*/ 9169429 w 11490376"/>
              <a:gd name="connsiteY2965" fmla="*/ 2237660 h 6593118"/>
              <a:gd name="connsiteX2966" fmla="*/ 9182905 w 11490376"/>
              <a:gd name="connsiteY2966" fmla="*/ 2242640 h 6593118"/>
              <a:gd name="connsiteX2967" fmla="*/ 9183105 w 11490376"/>
              <a:gd name="connsiteY2967" fmla="*/ 2242439 h 6593118"/>
              <a:gd name="connsiteX2968" fmla="*/ 8540300 w 11490376"/>
              <a:gd name="connsiteY2968" fmla="*/ 2236613 h 6593118"/>
              <a:gd name="connsiteX2969" fmla="*/ 8545462 w 11490376"/>
              <a:gd name="connsiteY2969" fmla="*/ 2237723 h 6593118"/>
              <a:gd name="connsiteX2970" fmla="*/ 8584689 w 11490376"/>
              <a:gd name="connsiteY2970" fmla="*/ 2259852 h 6593118"/>
              <a:gd name="connsiteX2971" fmla="*/ 8609207 w 11490376"/>
              <a:gd name="connsiteY2971" fmla="*/ 2306573 h 6593118"/>
              <a:gd name="connsiteX2972" fmla="*/ 8633723 w 11490376"/>
              <a:gd name="connsiteY2972" fmla="*/ 2328703 h 6593118"/>
              <a:gd name="connsiteX2973" fmla="*/ 8829860 w 11490376"/>
              <a:gd name="connsiteY2973" fmla="*/ 2343457 h 6593118"/>
              <a:gd name="connsiteX2974" fmla="*/ 8873990 w 11490376"/>
              <a:gd name="connsiteY2974" fmla="*/ 2355751 h 6593118"/>
              <a:gd name="connsiteX2975" fmla="*/ 8925476 w 11490376"/>
              <a:gd name="connsiteY2975" fmla="*/ 2385259 h 6593118"/>
              <a:gd name="connsiteX2976" fmla="*/ 8976961 w 11490376"/>
              <a:gd name="connsiteY2976" fmla="*/ 2368047 h 6593118"/>
              <a:gd name="connsiteX2977" fmla="*/ 9004826 w 11490376"/>
              <a:gd name="connsiteY2977" fmla="*/ 2347087 h 6593118"/>
              <a:gd name="connsiteX2978" fmla="*/ 8977788 w 11490376"/>
              <a:gd name="connsiteY2978" fmla="*/ 2365078 h 6593118"/>
              <a:gd name="connsiteX2979" fmla="*/ 8926287 w 11490376"/>
              <a:gd name="connsiteY2979" fmla="*/ 2382214 h 6593118"/>
              <a:gd name="connsiteX2980" fmla="*/ 8874786 w 11490376"/>
              <a:gd name="connsiteY2980" fmla="*/ 2352839 h 6593118"/>
              <a:gd name="connsiteX2981" fmla="*/ 8830643 w 11490376"/>
              <a:gd name="connsiteY2981" fmla="*/ 2340598 h 6593118"/>
              <a:gd name="connsiteX2982" fmla="*/ 8634448 w 11490376"/>
              <a:gd name="connsiteY2982" fmla="*/ 2325911 h 6593118"/>
              <a:gd name="connsiteX2983" fmla="*/ 8609924 w 11490376"/>
              <a:gd name="connsiteY2983" fmla="*/ 2303878 h 6593118"/>
              <a:gd name="connsiteX2984" fmla="*/ 8585399 w 11490376"/>
              <a:gd name="connsiteY2984" fmla="*/ 2257367 h 6593118"/>
              <a:gd name="connsiteX2985" fmla="*/ 8546160 w 11490376"/>
              <a:gd name="connsiteY2985" fmla="*/ 2237782 h 6593118"/>
              <a:gd name="connsiteX2986" fmla="*/ 9134744 w 11490376"/>
              <a:gd name="connsiteY2986" fmla="*/ 2225543 h 6593118"/>
              <a:gd name="connsiteX2987" fmla="*/ 9136322 w 11490376"/>
              <a:gd name="connsiteY2987" fmla="*/ 2252318 h 6593118"/>
              <a:gd name="connsiteX2988" fmla="*/ 9136322 w 11490376"/>
              <a:gd name="connsiteY2988" fmla="*/ 2226093 h 6593118"/>
              <a:gd name="connsiteX2989" fmla="*/ 6051187 w 11490376"/>
              <a:gd name="connsiteY2989" fmla="*/ 2196790 h 6593118"/>
              <a:gd name="connsiteX2990" fmla="*/ 6051309 w 11490376"/>
              <a:gd name="connsiteY2990" fmla="*/ 2197186 h 6593118"/>
              <a:gd name="connsiteX2991" fmla="*/ 6088222 w 11490376"/>
              <a:gd name="connsiteY2991" fmla="*/ 2219244 h 6593118"/>
              <a:gd name="connsiteX2992" fmla="*/ 6119088 w 11490376"/>
              <a:gd name="connsiteY2992" fmla="*/ 2234616 h 6593118"/>
              <a:gd name="connsiteX2993" fmla="*/ 6088718 w 11490376"/>
              <a:gd name="connsiteY2993" fmla="*/ 2215740 h 6593118"/>
              <a:gd name="connsiteX2994" fmla="*/ 8185854 w 11490376"/>
              <a:gd name="connsiteY2994" fmla="*/ 2195888 h 6593118"/>
              <a:gd name="connsiteX2995" fmla="*/ 8149122 w 11490376"/>
              <a:gd name="connsiteY2995" fmla="*/ 2215483 h 6593118"/>
              <a:gd name="connsiteX2996" fmla="*/ 8146673 w 11490376"/>
              <a:gd name="connsiteY2996" fmla="*/ 2264469 h 6593118"/>
              <a:gd name="connsiteX2997" fmla="*/ 8131981 w 11490376"/>
              <a:gd name="connsiteY2997" fmla="*/ 2284062 h 6593118"/>
              <a:gd name="connsiteX2998" fmla="*/ 8092798 w 11490376"/>
              <a:gd name="connsiteY2998" fmla="*/ 2249772 h 6593118"/>
              <a:gd name="connsiteX2999" fmla="*/ 8043822 w 11490376"/>
              <a:gd name="connsiteY2999" fmla="*/ 2249772 h 6593118"/>
              <a:gd name="connsiteX3000" fmla="*/ 7970356 w 11490376"/>
              <a:gd name="connsiteY3000" fmla="*/ 2259570 h 6593118"/>
              <a:gd name="connsiteX3001" fmla="*/ 7943420 w 11490376"/>
              <a:gd name="connsiteY3001" fmla="*/ 2237526 h 6593118"/>
              <a:gd name="connsiteX3002" fmla="*/ 7896892 w 11490376"/>
              <a:gd name="connsiteY3002" fmla="*/ 2249772 h 6593118"/>
              <a:gd name="connsiteX3003" fmla="*/ 7896187 w 11490376"/>
              <a:gd name="connsiteY3003" fmla="*/ 2251065 h 6593118"/>
              <a:gd name="connsiteX3004" fmla="*/ 7942084 w 11490376"/>
              <a:gd name="connsiteY3004" fmla="*/ 2237948 h 6593118"/>
              <a:gd name="connsiteX3005" fmla="*/ 7968354 w 11490376"/>
              <a:gd name="connsiteY3005" fmla="*/ 2259845 h 6593118"/>
              <a:gd name="connsiteX3006" fmla="*/ 8042783 w 11490376"/>
              <a:gd name="connsiteY3006" fmla="*/ 2251087 h 6593118"/>
              <a:gd name="connsiteX3007" fmla="*/ 8090944 w 11490376"/>
              <a:gd name="connsiteY3007" fmla="*/ 2253276 h 6593118"/>
              <a:gd name="connsiteX3008" fmla="*/ 8128931 w 11490376"/>
              <a:gd name="connsiteY3008" fmla="*/ 2284941 h 6593118"/>
              <a:gd name="connsiteX3009" fmla="*/ 8133577 w 11490376"/>
              <a:gd name="connsiteY3009" fmla="*/ 2284442 h 6593118"/>
              <a:gd name="connsiteX3010" fmla="*/ 8148287 w 11490376"/>
              <a:gd name="connsiteY3010" fmla="*/ 2264771 h 6593118"/>
              <a:gd name="connsiteX3011" fmla="*/ 8150738 w 11490376"/>
              <a:gd name="connsiteY3011" fmla="*/ 2215592 h 6593118"/>
              <a:gd name="connsiteX3012" fmla="*/ 8186913 w 11490376"/>
              <a:gd name="connsiteY3012" fmla="*/ 2196241 h 6593118"/>
              <a:gd name="connsiteX3013" fmla="*/ 9235398 w 11490376"/>
              <a:gd name="connsiteY3013" fmla="*/ 2193029 h 6593118"/>
              <a:gd name="connsiteX3014" fmla="*/ 9218127 w 11490376"/>
              <a:gd name="connsiteY3014" fmla="*/ 2205958 h 6593118"/>
              <a:gd name="connsiteX3015" fmla="*/ 9197759 w 11490376"/>
              <a:gd name="connsiteY3015" fmla="*/ 2227742 h 6593118"/>
              <a:gd name="connsiteX3016" fmla="*/ 9217228 w 11490376"/>
              <a:gd name="connsiteY3016" fmla="*/ 2208215 h 6593118"/>
              <a:gd name="connsiteX3017" fmla="*/ 5606618 w 11490376"/>
              <a:gd name="connsiteY3017" fmla="*/ 2162911 h 6593118"/>
              <a:gd name="connsiteX3018" fmla="*/ 5606618 w 11490376"/>
              <a:gd name="connsiteY3018" fmla="*/ 2163238 h 6593118"/>
              <a:gd name="connsiteX3019" fmla="*/ 5637656 w 11490376"/>
              <a:gd name="connsiteY3019" fmla="*/ 2163238 h 6593118"/>
              <a:gd name="connsiteX3020" fmla="*/ 5637927 w 11490376"/>
              <a:gd name="connsiteY3020" fmla="*/ 2162911 h 6593118"/>
              <a:gd name="connsiteX3021" fmla="*/ 9853362 w 11490376"/>
              <a:gd name="connsiteY3021" fmla="*/ 2162358 h 6593118"/>
              <a:gd name="connsiteX3022" fmla="*/ 9849768 w 11490376"/>
              <a:gd name="connsiteY3022" fmla="*/ 2225427 h 6593118"/>
              <a:gd name="connsiteX3023" fmla="*/ 9817896 w 11490376"/>
              <a:gd name="connsiteY3023" fmla="*/ 2222969 h 6593118"/>
              <a:gd name="connsiteX3024" fmla="*/ 9798282 w 11490376"/>
              <a:gd name="connsiteY3024" fmla="*/ 2257394 h 6593118"/>
              <a:gd name="connsiteX3025" fmla="*/ 9799917 w 11490376"/>
              <a:gd name="connsiteY3025" fmla="*/ 2283623 h 6593118"/>
              <a:gd name="connsiteX3026" fmla="*/ 9799917 w 11490376"/>
              <a:gd name="connsiteY3026" fmla="*/ 2261697 h 6593118"/>
              <a:gd name="connsiteX3027" fmla="*/ 9817107 w 11490376"/>
              <a:gd name="connsiteY3027" fmla="*/ 2224865 h 6593118"/>
              <a:gd name="connsiteX3028" fmla="*/ 9851488 w 11490376"/>
              <a:gd name="connsiteY3028" fmla="*/ 2229775 h 6593118"/>
              <a:gd name="connsiteX3029" fmla="*/ 10164097 w 11490376"/>
              <a:gd name="connsiteY3029" fmla="*/ 2152547 h 6593118"/>
              <a:gd name="connsiteX3030" fmla="*/ 10181148 w 11490376"/>
              <a:gd name="connsiteY3030" fmla="*/ 2186648 h 6593118"/>
              <a:gd name="connsiteX3031" fmla="*/ 10195763 w 11490376"/>
              <a:gd name="connsiteY3031" fmla="*/ 2225621 h 6593118"/>
              <a:gd name="connsiteX3032" fmla="*/ 10246914 w 11490376"/>
              <a:gd name="connsiteY3032" fmla="*/ 2242673 h 6593118"/>
              <a:gd name="connsiteX3033" fmla="*/ 10283450 w 11490376"/>
              <a:gd name="connsiteY3033" fmla="*/ 2254851 h 6593118"/>
              <a:gd name="connsiteX3034" fmla="*/ 10290758 w 11490376"/>
              <a:gd name="connsiteY3034" fmla="*/ 2301132 h 6593118"/>
              <a:gd name="connsiteX3035" fmla="*/ 10266400 w 11490376"/>
              <a:gd name="connsiteY3035" fmla="*/ 2313311 h 6593118"/>
              <a:gd name="connsiteX3036" fmla="*/ 10263964 w 11490376"/>
              <a:gd name="connsiteY3036" fmla="*/ 2315746 h 6593118"/>
              <a:gd name="connsiteX3037" fmla="*/ 10263964 w 11490376"/>
              <a:gd name="connsiteY3037" fmla="*/ 2318182 h 6593118"/>
              <a:gd name="connsiteX3038" fmla="*/ 10261529 w 11490376"/>
              <a:gd name="connsiteY3038" fmla="*/ 2320618 h 6593118"/>
              <a:gd name="connsiteX3039" fmla="*/ 10259092 w 11490376"/>
              <a:gd name="connsiteY3039" fmla="*/ 2325489 h 6593118"/>
              <a:gd name="connsiteX3040" fmla="*/ 10254222 w 11490376"/>
              <a:gd name="connsiteY3040" fmla="*/ 2332797 h 6593118"/>
              <a:gd name="connsiteX3041" fmla="*/ 10254222 w 11490376"/>
              <a:gd name="connsiteY3041" fmla="*/ 2337669 h 6593118"/>
              <a:gd name="connsiteX3042" fmla="*/ 10249349 w 11490376"/>
              <a:gd name="connsiteY3042" fmla="*/ 2342540 h 6593118"/>
              <a:gd name="connsiteX3043" fmla="*/ 10244479 w 11490376"/>
              <a:gd name="connsiteY3043" fmla="*/ 2347412 h 6593118"/>
              <a:gd name="connsiteX3044" fmla="*/ 10244479 w 11490376"/>
              <a:gd name="connsiteY3044" fmla="*/ 2354720 h 6593118"/>
              <a:gd name="connsiteX3045" fmla="*/ 10242042 w 11490376"/>
              <a:gd name="connsiteY3045" fmla="*/ 2359592 h 6593118"/>
              <a:gd name="connsiteX3046" fmla="*/ 10242042 w 11490376"/>
              <a:gd name="connsiteY3046" fmla="*/ 2362027 h 6593118"/>
              <a:gd name="connsiteX3047" fmla="*/ 10242042 w 11490376"/>
              <a:gd name="connsiteY3047" fmla="*/ 2364462 h 6593118"/>
              <a:gd name="connsiteX3048" fmla="*/ 10239606 w 11490376"/>
              <a:gd name="connsiteY3048" fmla="*/ 2366899 h 6593118"/>
              <a:gd name="connsiteX3049" fmla="*/ 10237171 w 11490376"/>
              <a:gd name="connsiteY3049" fmla="*/ 2366899 h 6593118"/>
              <a:gd name="connsiteX3050" fmla="*/ 10237171 w 11490376"/>
              <a:gd name="connsiteY3050" fmla="*/ 2364462 h 6593118"/>
              <a:gd name="connsiteX3051" fmla="*/ 10232299 w 11490376"/>
              <a:gd name="connsiteY3051" fmla="*/ 2359592 h 6593118"/>
              <a:gd name="connsiteX3052" fmla="*/ 10229864 w 11490376"/>
              <a:gd name="connsiteY3052" fmla="*/ 2359592 h 6593118"/>
              <a:gd name="connsiteX3053" fmla="*/ 10227428 w 11490376"/>
              <a:gd name="connsiteY3053" fmla="*/ 2354720 h 6593118"/>
              <a:gd name="connsiteX3054" fmla="*/ 10227428 w 11490376"/>
              <a:gd name="connsiteY3054" fmla="*/ 2347412 h 6593118"/>
              <a:gd name="connsiteX3055" fmla="*/ 10224991 w 11490376"/>
              <a:gd name="connsiteY3055" fmla="*/ 2347412 h 6593118"/>
              <a:gd name="connsiteX3056" fmla="*/ 10222556 w 11490376"/>
              <a:gd name="connsiteY3056" fmla="*/ 2344977 h 6593118"/>
              <a:gd name="connsiteX3057" fmla="*/ 10222556 w 11490376"/>
              <a:gd name="connsiteY3057" fmla="*/ 2342540 h 6593118"/>
              <a:gd name="connsiteX3058" fmla="*/ 10222556 w 11490376"/>
              <a:gd name="connsiteY3058" fmla="*/ 2340104 h 6593118"/>
              <a:gd name="connsiteX3059" fmla="*/ 10183584 w 11490376"/>
              <a:gd name="connsiteY3059" fmla="*/ 2332797 h 6593118"/>
              <a:gd name="connsiteX3060" fmla="*/ 10142176 w 11490376"/>
              <a:gd name="connsiteY3060" fmla="*/ 2347412 h 6593118"/>
              <a:gd name="connsiteX3061" fmla="*/ 10120254 w 11490376"/>
              <a:gd name="connsiteY3061" fmla="*/ 2330361 h 6593118"/>
              <a:gd name="connsiteX3062" fmla="*/ 10139741 w 11490376"/>
              <a:gd name="connsiteY3062" fmla="*/ 2293824 h 6593118"/>
              <a:gd name="connsiteX3063" fmla="*/ 10161662 w 11490376"/>
              <a:gd name="connsiteY3063" fmla="*/ 2254851 h 6593118"/>
              <a:gd name="connsiteX3064" fmla="*/ 10156790 w 11490376"/>
              <a:gd name="connsiteY3064" fmla="*/ 2215878 h 6593118"/>
              <a:gd name="connsiteX3065" fmla="*/ 10149484 w 11490376"/>
              <a:gd name="connsiteY3065" fmla="*/ 2172033 h 6593118"/>
              <a:gd name="connsiteX3066" fmla="*/ 6075064 w 11490376"/>
              <a:gd name="connsiteY3066" fmla="*/ 2149817 h 6593118"/>
              <a:gd name="connsiteX3067" fmla="*/ 6073911 w 11490376"/>
              <a:gd name="connsiteY3067" fmla="*/ 2151472 h 6593118"/>
              <a:gd name="connsiteX3068" fmla="*/ 6074024 w 11490376"/>
              <a:gd name="connsiteY3068" fmla="*/ 2151439 h 6593118"/>
              <a:gd name="connsiteX3069" fmla="*/ 5650524 w 11490376"/>
              <a:gd name="connsiteY3069" fmla="*/ 2148022 h 6593118"/>
              <a:gd name="connsiteX3070" fmla="*/ 5649982 w 11490376"/>
              <a:gd name="connsiteY3070" fmla="*/ 2148704 h 6593118"/>
              <a:gd name="connsiteX3071" fmla="*/ 5662093 w 11490376"/>
              <a:gd name="connsiteY3071" fmla="*/ 2165685 h 6593118"/>
              <a:gd name="connsiteX3072" fmla="*/ 5663675 w 11490376"/>
              <a:gd name="connsiteY3072" fmla="*/ 2164101 h 6593118"/>
              <a:gd name="connsiteX3073" fmla="*/ 7448754 w 11490376"/>
              <a:gd name="connsiteY3073" fmla="*/ 2142003 h 6593118"/>
              <a:gd name="connsiteX3074" fmla="*/ 7448754 w 11490376"/>
              <a:gd name="connsiteY3074" fmla="*/ 2181193 h 6593118"/>
              <a:gd name="connsiteX3075" fmla="*/ 7414469 w 11490376"/>
              <a:gd name="connsiteY3075" fmla="*/ 2188540 h 6593118"/>
              <a:gd name="connsiteX3076" fmla="*/ 7408942 w 11490376"/>
              <a:gd name="connsiteY3076" fmla="*/ 2193147 h 6593118"/>
              <a:gd name="connsiteX3077" fmla="*/ 7415874 w 11490376"/>
              <a:gd name="connsiteY3077" fmla="*/ 2277822 h 6593118"/>
              <a:gd name="connsiteX3078" fmla="*/ 7452815 w 11490376"/>
              <a:gd name="connsiteY3078" fmla="*/ 2277822 h 6593118"/>
              <a:gd name="connsiteX3079" fmla="*/ 7470055 w 11490376"/>
              <a:gd name="connsiteY3079" fmla="*/ 2294895 h 6593118"/>
              <a:gd name="connsiteX3080" fmla="*/ 7511922 w 11490376"/>
              <a:gd name="connsiteY3080" fmla="*/ 2294895 h 6593118"/>
              <a:gd name="connsiteX3081" fmla="*/ 7516848 w 11490376"/>
              <a:gd name="connsiteY3081" fmla="*/ 2236361 h 6593118"/>
              <a:gd name="connsiteX3082" fmla="*/ 7539013 w 11490376"/>
              <a:gd name="connsiteY3082" fmla="*/ 2277822 h 6593118"/>
              <a:gd name="connsiteX3083" fmla="*/ 7551327 w 11490376"/>
              <a:gd name="connsiteY3083" fmla="*/ 2309528 h 6593118"/>
              <a:gd name="connsiteX3084" fmla="*/ 7557709 w 11490376"/>
              <a:gd name="connsiteY3084" fmla="*/ 2307772 h 6593118"/>
              <a:gd name="connsiteX3085" fmla="*/ 7546706 w 11490376"/>
              <a:gd name="connsiteY3085" fmla="*/ 2279165 h 6593118"/>
              <a:gd name="connsiteX3086" fmla="*/ 7522218 w 11490376"/>
              <a:gd name="connsiteY3086" fmla="*/ 2237526 h 6593118"/>
              <a:gd name="connsiteX3087" fmla="*/ 7536911 w 11490376"/>
              <a:gd name="connsiteY3087" fmla="*/ 2222830 h 6593118"/>
              <a:gd name="connsiteX3088" fmla="*/ 7517321 w 11490376"/>
              <a:gd name="connsiteY3088" fmla="*/ 2195888 h 6593118"/>
              <a:gd name="connsiteX3089" fmla="*/ 7517321 w 11490376"/>
              <a:gd name="connsiteY3089" fmla="*/ 2142003 h 6593118"/>
              <a:gd name="connsiteX3090" fmla="*/ 3080078 w 11490376"/>
              <a:gd name="connsiteY3090" fmla="*/ 2141599 h 6593118"/>
              <a:gd name="connsiteX3091" fmla="*/ 3079139 w 11490376"/>
              <a:gd name="connsiteY3091" fmla="*/ 2144130 h 6593118"/>
              <a:gd name="connsiteX3092" fmla="*/ 3126050 w 11490376"/>
              <a:gd name="connsiteY3092" fmla="*/ 2156927 h 6593118"/>
              <a:gd name="connsiteX3093" fmla="*/ 3134806 w 11490376"/>
              <a:gd name="connsiteY3093" fmla="*/ 2251072 h 6593118"/>
              <a:gd name="connsiteX3094" fmla="*/ 3128239 w 11490376"/>
              <a:gd name="connsiteY3094" fmla="*/ 2154736 h 6593118"/>
              <a:gd name="connsiteX3095" fmla="*/ 9343734 w 11490376"/>
              <a:gd name="connsiteY3095" fmla="*/ 2132480 h 6593118"/>
              <a:gd name="connsiteX3096" fmla="*/ 9299057 w 11490376"/>
              <a:gd name="connsiteY3096" fmla="*/ 2152103 h 6593118"/>
              <a:gd name="connsiteX3097" fmla="*/ 9258815 w 11490376"/>
              <a:gd name="connsiteY3097" fmla="*/ 2176969 h 6593118"/>
              <a:gd name="connsiteX3098" fmla="*/ 9300587 w 11490376"/>
              <a:gd name="connsiteY3098" fmla="*/ 2154118 h 6593118"/>
              <a:gd name="connsiteX3099" fmla="*/ 8393533 w 11490376"/>
              <a:gd name="connsiteY3099" fmla="*/ 2115081 h 6593118"/>
              <a:gd name="connsiteX3100" fmla="*/ 8403263 w 11490376"/>
              <a:gd name="connsiteY3100" fmla="*/ 2154118 h 6593118"/>
              <a:gd name="connsiteX3101" fmla="*/ 8408844 w 11490376"/>
              <a:gd name="connsiteY3101" fmla="*/ 2166839 h 6593118"/>
              <a:gd name="connsiteX3102" fmla="*/ 8403919 w 11490376"/>
              <a:gd name="connsiteY3102" fmla="*/ 2154551 h 6593118"/>
              <a:gd name="connsiteX3103" fmla="*/ 8394110 w 11490376"/>
              <a:gd name="connsiteY3103" fmla="*/ 2115383 h 6593118"/>
              <a:gd name="connsiteX3104" fmla="*/ 5693560 w 11490376"/>
              <a:gd name="connsiteY3104" fmla="*/ 2107280 h 6593118"/>
              <a:gd name="connsiteX3105" fmla="*/ 5700249 w 11490376"/>
              <a:gd name="connsiteY3105" fmla="*/ 2130649 h 6593118"/>
              <a:gd name="connsiteX3106" fmla="*/ 5688411 w 11490376"/>
              <a:gd name="connsiteY3106" fmla="*/ 2157948 h 6593118"/>
              <a:gd name="connsiteX3107" fmla="*/ 5674203 w 11490376"/>
              <a:gd name="connsiteY3107" fmla="*/ 2152984 h 6593118"/>
              <a:gd name="connsiteX3108" fmla="*/ 5672352 w 11490376"/>
              <a:gd name="connsiteY3108" fmla="*/ 2155410 h 6593118"/>
              <a:gd name="connsiteX3109" fmla="*/ 5674311 w 11490376"/>
              <a:gd name="connsiteY3109" fmla="*/ 2153449 h 6593118"/>
              <a:gd name="connsiteX3110" fmla="*/ 5688974 w 11490376"/>
              <a:gd name="connsiteY3110" fmla="*/ 2158343 h 6593118"/>
              <a:gd name="connsiteX3111" fmla="*/ 5701192 w 11490376"/>
              <a:gd name="connsiteY3111" fmla="*/ 2131421 h 6593118"/>
              <a:gd name="connsiteX3112" fmla="*/ 5715853 w 11490376"/>
              <a:gd name="connsiteY3112" fmla="*/ 2138764 h 6593118"/>
              <a:gd name="connsiteX3113" fmla="*/ 5752509 w 11490376"/>
              <a:gd name="connsiteY3113" fmla="*/ 2138764 h 6593118"/>
              <a:gd name="connsiteX3114" fmla="*/ 5753026 w 11490376"/>
              <a:gd name="connsiteY3114" fmla="*/ 2138525 h 6593118"/>
              <a:gd name="connsiteX3115" fmla="*/ 5718546 w 11490376"/>
              <a:gd name="connsiteY3115" fmla="*/ 2138525 h 6593118"/>
              <a:gd name="connsiteX3116" fmla="*/ 5701267 w 11490376"/>
              <a:gd name="connsiteY3116" fmla="*/ 2128536 h 6593118"/>
              <a:gd name="connsiteX3117" fmla="*/ 5694447 w 11490376"/>
              <a:gd name="connsiteY3117" fmla="*/ 2107842 h 6593118"/>
              <a:gd name="connsiteX3118" fmla="*/ 6322136 w 11490376"/>
              <a:gd name="connsiteY3118" fmla="*/ 2107066 h 6593118"/>
              <a:gd name="connsiteX3119" fmla="*/ 6328706 w 11490376"/>
              <a:gd name="connsiteY3119" fmla="*/ 2113131 h 6593118"/>
              <a:gd name="connsiteX3120" fmla="*/ 6374677 w 11490376"/>
              <a:gd name="connsiteY3120" fmla="*/ 2178824 h 6593118"/>
              <a:gd name="connsiteX3121" fmla="*/ 6330894 w 11490376"/>
              <a:gd name="connsiteY3121" fmla="*/ 2113131 h 6593118"/>
              <a:gd name="connsiteX3122" fmla="*/ 6237601 w 11490376"/>
              <a:gd name="connsiteY3122" fmla="*/ 2103463 h 6593118"/>
              <a:gd name="connsiteX3123" fmla="*/ 6234638 w 11490376"/>
              <a:gd name="connsiteY3123" fmla="*/ 2104352 h 6593118"/>
              <a:gd name="connsiteX3124" fmla="*/ 6235648 w 11490376"/>
              <a:gd name="connsiteY3124" fmla="*/ 2104450 h 6593118"/>
              <a:gd name="connsiteX3125" fmla="*/ 5630686 w 11490376"/>
              <a:gd name="connsiteY3125" fmla="*/ 2098409 h 6593118"/>
              <a:gd name="connsiteX3126" fmla="*/ 5619537 w 11490376"/>
              <a:gd name="connsiteY3126" fmla="*/ 2099650 h 6593118"/>
              <a:gd name="connsiteX3127" fmla="*/ 5630696 w 11490376"/>
              <a:gd name="connsiteY3127" fmla="*/ 2098479 h 6593118"/>
              <a:gd name="connsiteX3128" fmla="*/ 9872541 w 11490376"/>
              <a:gd name="connsiteY3128" fmla="*/ 2090802 h 6593118"/>
              <a:gd name="connsiteX3129" fmla="*/ 9879189 w 11490376"/>
              <a:gd name="connsiteY3129" fmla="*/ 2119693 h 6593118"/>
              <a:gd name="connsiteX3130" fmla="*/ 9854671 w 11490376"/>
              <a:gd name="connsiteY3130" fmla="*/ 2139364 h 6593118"/>
              <a:gd name="connsiteX3131" fmla="*/ 9854579 w 11490376"/>
              <a:gd name="connsiteY3131" fmla="*/ 2140976 h 6593118"/>
              <a:gd name="connsiteX3132" fmla="*/ 9880958 w 11490376"/>
              <a:gd name="connsiteY3132" fmla="*/ 2124192 h 6593118"/>
              <a:gd name="connsiteX3133" fmla="*/ 9873591 w 11490376"/>
              <a:gd name="connsiteY3133" fmla="*/ 2092270 h 6593118"/>
              <a:gd name="connsiteX3134" fmla="*/ 9332459 w 11490376"/>
              <a:gd name="connsiteY3134" fmla="*/ 2087726 h 6593118"/>
              <a:gd name="connsiteX3135" fmla="*/ 9276069 w 11490376"/>
              <a:gd name="connsiteY3135" fmla="*/ 2095103 h 6593118"/>
              <a:gd name="connsiteX3136" fmla="*/ 9247160 w 11490376"/>
              <a:gd name="connsiteY3136" fmla="*/ 2102352 h 6593118"/>
              <a:gd name="connsiteX3137" fmla="*/ 9247556 w 11490376"/>
              <a:gd name="connsiteY3137" fmla="*/ 2103143 h 6593118"/>
              <a:gd name="connsiteX3138" fmla="*/ 9276985 w 11490376"/>
              <a:gd name="connsiteY3138" fmla="*/ 2095799 h 6593118"/>
              <a:gd name="connsiteX3139" fmla="*/ 9333026 w 11490376"/>
              <a:gd name="connsiteY3139" fmla="*/ 2088503 h 6593118"/>
              <a:gd name="connsiteX3140" fmla="*/ 2530614 w 11490376"/>
              <a:gd name="connsiteY3140" fmla="*/ 2078095 h 6593118"/>
              <a:gd name="connsiteX3141" fmla="*/ 2408023 w 11490376"/>
              <a:gd name="connsiteY3141" fmla="*/ 2093423 h 6593118"/>
              <a:gd name="connsiteX3142" fmla="*/ 2412402 w 11490376"/>
              <a:gd name="connsiteY3142" fmla="*/ 2113131 h 6593118"/>
              <a:gd name="connsiteX3143" fmla="*/ 2313891 w 11490376"/>
              <a:gd name="connsiteY3143" fmla="*/ 2104372 h 6593118"/>
              <a:gd name="connsiteX3144" fmla="*/ 2311702 w 11490376"/>
              <a:gd name="connsiteY3144" fmla="*/ 2104372 h 6593118"/>
              <a:gd name="connsiteX3145" fmla="*/ 2408023 w 11490376"/>
              <a:gd name="connsiteY3145" fmla="*/ 2117511 h 6593118"/>
              <a:gd name="connsiteX3146" fmla="*/ 2340160 w 11490376"/>
              <a:gd name="connsiteY3146" fmla="*/ 2163496 h 6593118"/>
              <a:gd name="connsiteX3147" fmla="*/ 2340160 w 11490376"/>
              <a:gd name="connsiteY3147" fmla="*/ 2191963 h 6593118"/>
              <a:gd name="connsiteX3148" fmla="*/ 2399265 w 11490376"/>
              <a:gd name="connsiteY3148" fmla="*/ 2209482 h 6593118"/>
              <a:gd name="connsiteX3149" fmla="*/ 2453995 w 11490376"/>
              <a:gd name="connsiteY3149" fmla="*/ 2139408 h 6593118"/>
              <a:gd name="connsiteX3150" fmla="*/ 2458372 w 11490376"/>
              <a:gd name="connsiteY3150" fmla="*/ 2152547 h 6593118"/>
              <a:gd name="connsiteX3151" fmla="*/ 2526237 w 11490376"/>
              <a:gd name="connsiteY3151" fmla="*/ 2163496 h 6593118"/>
              <a:gd name="connsiteX3152" fmla="*/ 2539370 w 11490376"/>
              <a:gd name="connsiteY3152" fmla="*/ 2198532 h 6593118"/>
              <a:gd name="connsiteX3153" fmla="*/ 2482456 w 11490376"/>
              <a:gd name="connsiteY3153" fmla="*/ 2198532 h 6593118"/>
              <a:gd name="connsiteX3154" fmla="*/ 2440860 w 11490376"/>
              <a:gd name="connsiteY3154" fmla="*/ 2237949 h 6593118"/>
              <a:gd name="connsiteX3155" fmla="*/ 2438671 w 11490376"/>
              <a:gd name="connsiteY3155" fmla="*/ 2277365 h 6593118"/>
              <a:gd name="connsiteX3156" fmla="*/ 2467129 w 11490376"/>
              <a:gd name="connsiteY3156" fmla="*/ 2251087 h 6593118"/>
              <a:gd name="connsiteX3157" fmla="*/ 2447426 w 11490376"/>
              <a:gd name="connsiteY3157" fmla="*/ 2323350 h 6593118"/>
              <a:gd name="connsiteX3158" fmla="*/ 2445239 w 11490376"/>
              <a:gd name="connsiteY3158" fmla="*/ 2395613 h 6593118"/>
              <a:gd name="connsiteX3159" fmla="*/ 2478076 w 11490376"/>
              <a:gd name="connsiteY3159" fmla="*/ 2439407 h 6593118"/>
              <a:gd name="connsiteX3160" fmla="*/ 2519670 w 11490376"/>
              <a:gd name="connsiteY3160" fmla="*/ 2399991 h 6593118"/>
              <a:gd name="connsiteX3161" fmla="*/ 2497778 w 11490376"/>
              <a:gd name="connsiteY3161" fmla="*/ 2314590 h 6593118"/>
              <a:gd name="connsiteX3162" fmla="*/ 2499967 w 11490376"/>
              <a:gd name="connsiteY3162" fmla="*/ 2268605 h 6593118"/>
              <a:gd name="connsiteX3163" fmla="*/ 2539370 w 11490376"/>
              <a:gd name="connsiteY3163" fmla="*/ 2248897 h 6593118"/>
              <a:gd name="connsiteX3164" fmla="*/ 2539370 w 11490376"/>
              <a:gd name="connsiteY3164" fmla="*/ 2205102 h 6593118"/>
              <a:gd name="connsiteX3165" fmla="*/ 2598477 w 11490376"/>
              <a:gd name="connsiteY3165" fmla="*/ 2270795 h 6593118"/>
              <a:gd name="connsiteX3166" fmla="*/ 2585344 w 11490376"/>
              <a:gd name="connsiteY3166" fmla="*/ 2334298 h 6593118"/>
              <a:gd name="connsiteX3167" fmla="*/ 2615993 w 11490376"/>
              <a:gd name="connsiteY3167" fmla="*/ 2316781 h 6593118"/>
              <a:gd name="connsiteX3168" fmla="*/ 2631316 w 11490376"/>
              <a:gd name="connsiteY3168" fmla="*/ 2340867 h 6593118"/>
              <a:gd name="connsiteX3169" fmla="*/ 2613259 w 11490376"/>
              <a:gd name="connsiteY3169" fmla="*/ 2370970 h 6593118"/>
              <a:gd name="connsiteX3170" fmla="*/ 2637882 w 11490376"/>
              <a:gd name="connsiteY3170" fmla="*/ 2336487 h 6593118"/>
              <a:gd name="connsiteX3171" fmla="*/ 2661961 w 11490376"/>
              <a:gd name="connsiteY3171" fmla="*/ 2356195 h 6593118"/>
              <a:gd name="connsiteX3172" fmla="*/ 2668530 w 11490376"/>
              <a:gd name="connsiteY3172" fmla="*/ 2275174 h 6593118"/>
              <a:gd name="connsiteX3173" fmla="*/ 2710122 w 11490376"/>
              <a:gd name="connsiteY3173" fmla="*/ 2281743 h 6593118"/>
              <a:gd name="connsiteX3174" fmla="*/ 2675094 w 11490376"/>
              <a:gd name="connsiteY3174" fmla="*/ 2218240 h 6593118"/>
              <a:gd name="connsiteX3175" fmla="*/ 2563451 w 11490376"/>
              <a:gd name="connsiteY3175" fmla="*/ 2198532 h 6593118"/>
              <a:gd name="connsiteX3176" fmla="*/ 7051659 w 11490376"/>
              <a:gd name="connsiteY3176" fmla="*/ 2077597 h 6593118"/>
              <a:gd name="connsiteX3177" fmla="*/ 7049420 w 11490376"/>
              <a:gd name="connsiteY3177" fmla="*/ 2079994 h 6593118"/>
              <a:gd name="connsiteX3178" fmla="*/ 7034686 w 11490376"/>
              <a:gd name="connsiteY3178" fmla="*/ 2143836 h 6593118"/>
              <a:gd name="connsiteX3179" fmla="*/ 7005215 w 11490376"/>
              <a:gd name="connsiteY3179" fmla="*/ 2173301 h 6593118"/>
              <a:gd name="connsiteX3180" fmla="*/ 6958556 w 11490376"/>
              <a:gd name="connsiteY3180" fmla="*/ 2219955 h 6593118"/>
              <a:gd name="connsiteX3181" fmla="*/ 6938910 w 11490376"/>
              <a:gd name="connsiteY3181" fmla="*/ 2251875 h 6593118"/>
              <a:gd name="connsiteX3182" fmla="*/ 6958556 w 11490376"/>
              <a:gd name="connsiteY3182" fmla="*/ 2300984 h 6593118"/>
              <a:gd name="connsiteX3183" fmla="*/ 6887337 w 11490376"/>
              <a:gd name="connsiteY3183" fmla="*/ 2318172 h 6593118"/>
              <a:gd name="connsiteX3184" fmla="*/ 6886172 w 11490376"/>
              <a:gd name="connsiteY3184" fmla="*/ 2316842 h 6593118"/>
              <a:gd name="connsiteX3185" fmla="*/ 6885844 w 11490376"/>
              <a:gd name="connsiteY3185" fmla="*/ 2317506 h 6593118"/>
              <a:gd name="connsiteX3186" fmla="*/ 6899790 w 11490376"/>
              <a:gd name="connsiteY3186" fmla="*/ 2366470 h 6593118"/>
              <a:gd name="connsiteX3187" fmla="*/ 6900155 w 11490376"/>
              <a:gd name="connsiteY3187" fmla="*/ 2367203 h 6593118"/>
              <a:gd name="connsiteX3188" fmla="*/ 6889119 w 11490376"/>
              <a:gd name="connsiteY3188" fmla="*/ 2320982 h 6593118"/>
              <a:gd name="connsiteX3189" fmla="*/ 6960121 w 11490376"/>
              <a:gd name="connsiteY3189" fmla="*/ 2301451 h 6593118"/>
              <a:gd name="connsiteX3190" fmla="*/ 6996846 w 11490376"/>
              <a:gd name="connsiteY3190" fmla="*/ 2369813 h 6593118"/>
              <a:gd name="connsiteX3191" fmla="*/ 7031123 w 11490376"/>
              <a:gd name="connsiteY3191" fmla="*/ 2406434 h 6593118"/>
              <a:gd name="connsiteX3192" fmla="*/ 7067849 w 11490376"/>
              <a:gd name="connsiteY3192" fmla="*/ 2428408 h 6593118"/>
              <a:gd name="connsiteX3193" fmla="*/ 7072745 w 11490376"/>
              <a:gd name="connsiteY3193" fmla="*/ 2452822 h 6593118"/>
              <a:gd name="connsiteX3194" fmla="*/ 7050710 w 11490376"/>
              <a:gd name="connsiteY3194" fmla="*/ 2460147 h 6593118"/>
              <a:gd name="connsiteX3195" fmla="*/ 7040917 w 11490376"/>
              <a:gd name="connsiteY3195" fmla="*/ 2494327 h 6593118"/>
              <a:gd name="connsiteX3196" fmla="*/ 7023778 w 11490376"/>
              <a:gd name="connsiteY3196" fmla="*/ 2511418 h 6593118"/>
              <a:gd name="connsiteX3197" fmla="*/ 7009088 w 11490376"/>
              <a:gd name="connsiteY3197" fmla="*/ 2465030 h 6593118"/>
              <a:gd name="connsiteX3198" fmla="*/ 7006045 w 11490376"/>
              <a:gd name="connsiteY3198" fmla="*/ 2467052 h 6593118"/>
              <a:gd name="connsiteX3199" fmla="*/ 7019945 w 11490376"/>
              <a:gd name="connsiteY3199" fmla="*/ 2508373 h 6593118"/>
              <a:gd name="connsiteX3200" fmla="*/ 7029835 w 11490376"/>
              <a:gd name="connsiteY3200" fmla="*/ 2554921 h 6593118"/>
              <a:gd name="connsiteX3201" fmla="*/ 7066919 w 11490376"/>
              <a:gd name="connsiteY3201" fmla="*/ 2579419 h 6593118"/>
              <a:gd name="connsiteX3202" fmla="*/ 7104004 w 11490376"/>
              <a:gd name="connsiteY3202" fmla="*/ 2608817 h 6593118"/>
              <a:gd name="connsiteX3203" fmla="*/ 7148506 w 11490376"/>
              <a:gd name="connsiteY3203" fmla="*/ 2616167 h 6593118"/>
              <a:gd name="connsiteX3204" fmla="*/ 7168285 w 11490376"/>
              <a:gd name="connsiteY3204" fmla="*/ 2599018 h 6593118"/>
              <a:gd name="connsiteX3205" fmla="*/ 7205370 w 11490376"/>
              <a:gd name="connsiteY3205" fmla="*/ 2584318 h 6593118"/>
              <a:gd name="connsiteX3206" fmla="*/ 7206905 w 11490376"/>
              <a:gd name="connsiteY3206" fmla="*/ 2583665 h 6593118"/>
              <a:gd name="connsiteX3207" fmla="*/ 7199782 w 11490376"/>
              <a:gd name="connsiteY3207" fmla="*/ 2541106 h 6593118"/>
              <a:gd name="connsiteX3208" fmla="*/ 7194880 w 11490376"/>
              <a:gd name="connsiteY3208" fmla="*/ 2516702 h 6593118"/>
              <a:gd name="connsiteX3209" fmla="*/ 7187528 w 11490376"/>
              <a:gd name="connsiteY3209" fmla="*/ 2499617 h 6593118"/>
              <a:gd name="connsiteX3210" fmla="*/ 7182627 w 11490376"/>
              <a:gd name="connsiteY3210" fmla="*/ 2458130 h 6593118"/>
              <a:gd name="connsiteX3211" fmla="*/ 7167921 w 11490376"/>
              <a:gd name="connsiteY3211" fmla="*/ 2443487 h 6593118"/>
              <a:gd name="connsiteX3212" fmla="*/ 7177725 w 11490376"/>
              <a:gd name="connsiteY3212" fmla="*/ 2428843 h 6593118"/>
              <a:gd name="connsiteX3213" fmla="*/ 7160568 w 11490376"/>
              <a:gd name="connsiteY3213" fmla="*/ 2416641 h 6593118"/>
              <a:gd name="connsiteX3214" fmla="*/ 7163019 w 11490376"/>
              <a:gd name="connsiteY3214" fmla="*/ 2389795 h 6593118"/>
              <a:gd name="connsiteX3215" fmla="*/ 7199782 w 11490376"/>
              <a:gd name="connsiteY3215" fmla="*/ 2428843 h 6593118"/>
              <a:gd name="connsiteX3216" fmla="*/ 7219389 w 11490376"/>
              <a:gd name="connsiteY3216" fmla="*/ 2397117 h 6593118"/>
              <a:gd name="connsiteX3217" fmla="*/ 7251250 w 11490376"/>
              <a:gd name="connsiteY3217" fmla="*/ 2382473 h 6593118"/>
              <a:gd name="connsiteX3218" fmla="*/ 7279784 w 11490376"/>
              <a:gd name="connsiteY3218" fmla="*/ 2394312 h 6593118"/>
              <a:gd name="connsiteX3219" fmla="*/ 7279784 w 11490376"/>
              <a:gd name="connsiteY3219" fmla="*/ 2391831 h 6593118"/>
              <a:gd name="connsiteX3220" fmla="*/ 7250398 w 11490376"/>
              <a:gd name="connsiteY3220" fmla="*/ 2379585 h 6593118"/>
              <a:gd name="connsiteX3221" fmla="*/ 7218563 w 11490376"/>
              <a:gd name="connsiteY3221" fmla="*/ 2394281 h 6593118"/>
              <a:gd name="connsiteX3222" fmla="*/ 7206318 w 11490376"/>
              <a:gd name="connsiteY3222" fmla="*/ 2345295 h 6593118"/>
              <a:gd name="connsiteX3223" fmla="*/ 7167137 w 11490376"/>
              <a:gd name="connsiteY3223" fmla="*/ 2340397 h 6593118"/>
              <a:gd name="connsiteX3224" fmla="*/ 7154892 w 11490376"/>
              <a:gd name="connsiteY3224" fmla="*/ 2374688 h 6593118"/>
              <a:gd name="connsiteX3225" fmla="*/ 7140199 w 11490376"/>
              <a:gd name="connsiteY3225" fmla="*/ 2313454 h 6593118"/>
              <a:gd name="connsiteX3226" fmla="*/ 7086325 w 11490376"/>
              <a:gd name="connsiteY3226" fmla="*/ 2313454 h 6593118"/>
              <a:gd name="connsiteX3227" fmla="*/ 7071633 w 11490376"/>
              <a:gd name="connsiteY3227" fmla="*/ 2276716 h 6593118"/>
              <a:gd name="connsiteX3228" fmla="*/ 7069183 w 11490376"/>
              <a:gd name="connsiteY3228" fmla="*/ 2252222 h 6593118"/>
              <a:gd name="connsiteX3229" fmla="*/ 7096121 w 11490376"/>
              <a:gd name="connsiteY3229" fmla="*/ 2249772 h 6593118"/>
              <a:gd name="connsiteX3230" fmla="*/ 7098569 w 11490376"/>
              <a:gd name="connsiteY3230" fmla="*/ 2222830 h 6593118"/>
              <a:gd name="connsiteX3231" fmla="*/ 7115711 w 11490376"/>
              <a:gd name="connsiteY3231" fmla="*/ 2205685 h 6593118"/>
              <a:gd name="connsiteX3232" fmla="*/ 7167137 w 11490376"/>
              <a:gd name="connsiteY3232" fmla="*/ 2205685 h 6593118"/>
              <a:gd name="connsiteX3233" fmla="*/ 7154892 w 11490376"/>
              <a:gd name="connsiteY3233" fmla="*/ 2183642 h 6593118"/>
              <a:gd name="connsiteX3234" fmla="*/ 7167137 w 11490376"/>
              <a:gd name="connsiteY3234" fmla="*/ 2139554 h 6593118"/>
              <a:gd name="connsiteX3235" fmla="*/ 7140199 w 11490376"/>
              <a:gd name="connsiteY3235" fmla="*/ 2124858 h 6593118"/>
              <a:gd name="connsiteX3236" fmla="*/ 7127956 w 11490376"/>
              <a:gd name="connsiteY3236" fmla="*/ 2142003 h 6593118"/>
              <a:gd name="connsiteX3237" fmla="*/ 7083876 w 11490376"/>
              <a:gd name="connsiteY3237" fmla="*/ 2129757 h 6593118"/>
              <a:gd name="connsiteX3238" fmla="*/ 7037348 w 11490376"/>
              <a:gd name="connsiteY3238" fmla="*/ 2142003 h 6593118"/>
              <a:gd name="connsiteX3239" fmla="*/ 8307020 w 11490376"/>
              <a:gd name="connsiteY3239" fmla="*/ 2072643 h 6593118"/>
              <a:gd name="connsiteX3240" fmla="*/ 8298501 w 11490376"/>
              <a:gd name="connsiteY3240" fmla="*/ 2078321 h 6593118"/>
              <a:gd name="connsiteX3241" fmla="*/ 8288705 w 11490376"/>
              <a:gd name="connsiteY3241" fmla="*/ 2105265 h 6593118"/>
              <a:gd name="connsiteX3242" fmla="*/ 8259320 w 11490376"/>
              <a:gd name="connsiteY3242" fmla="*/ 2112612 h 6593118"/>
              <a:gd name="connsiteX3243" fmla="*/ 8244627 w 11490376"/>
              <a:gd name="connsiteY3243" fmla="*/ 2129757 h 6593118"/>
              <a:gd name="connsiteX3244" fmla="*/ 8230017 w 11490376"/>
              <a:gd name="connsiteY3244" fmla="*/ 2210130 h 6593118"/>
              <a:gd name="connsiteX3245" fmla="*/ 8231644 w 11490376"/>
              <a:gd name="connsiteY3245" fmla="*/ 2210673 h 6593118"/>
              <a:gd name="connsiteX3246" fmla="*/ 8246355 w 11490376"/>
              <a:gd name="connsiteY3246" fmla="*/ 2129528 h 6593118"/>
              <a:gd name="connsiteX3247" fmla="*/ 8263516 w 11490376"/>
              <a:gd name="connsiteY3247" fmla="*/ 2112316 h 6593118"/>
              <a:gd name="connsiteX3248" fmla="*/ 8292937 w 11490376"/>
              <a:gd name="connsiteY3248" fmla="*/ 2104939 h 6593118"/>
              <a:gd name="connsiteX3249" fmla="*/ 8300291 w 11490376"/>
              <a:gd name="connsiteY3249" fmla="*/ 2077890 h 6593118"/>
              <a:gd name="connsiteX3250" fmla="*/ 5919943 w 11490376"/>
              <a:gd name="connsiteY3250" fmla="*/ 2064230 h 6593118"/>
              <a:gd name="connsiteX3251" fmla="*/ 5919530 w 11490376"/>
              <a:gd name="connsiteY3251" fmla="*/ 2064695 h 6593118"/>
              <a:gd name="connsiteX3252" fmla="*/ 5918939 w 11490376"/>
              <a:gd name="connsiteY3252" fmla="*/ 2064429 h 6593118"/>
              <a:gd name="connsiteX3253" fmla="*/ 5923439 w 11490376"/>
              <a:gd name="connsiteY3253" fmla="*/ 2098570 h 6593118"/>
              <a:gd name="connsiteX3254" fmla="*/ 5908627 w 11490376"/>
              <a:gd name="connsiteY3254" fmla="*/ 2118548 h 6593118"/>
              <a:gd name="connsiteX3255" fmla="*/ 5908627 w 11490376"/>
              <a:gd name="connsiteY3255" fmla="*/ 2128536 h 6593118"/>
              <a:gd name="connsiteX3256" fmla="*/ 5898049 w 11490376"/>
              <a:gd name="connsiteY3256" fmla="*/ 2143515 h 6593118"/>
              <a:gd name="connsiteX3257" fmla="*/ 5909871 w 11490376"/>
              <a:gd name="connsiteY3257" fmla="*/ 2129511 h 6593118"/>
              <a:gd name="connsiteX3258" fmla="*/ 5909871 w 11490376"/>
              <a:gd name="connsiteY3258" fmla="*/ 2119700 h 6593118"/>
              <a:gd name="connsiteX3259" fmla="*/ 5924776 w 11490376"/>
              <a:gd name="connsiteY3259" fmla="*/ 2097627 h 6593118"/>
              <a:gd name="connsiteX3260" fmla="*/ 8324080 w 11490376"/>
              <a:gd name="connsiteY3260" fmla="*/ 2063024 h 6593118"/>
              <a:gd name="connsiteX3261" fmla="*/ 8324067 w 11490376"/>
              <a:gd name="connsiteY3261" fmla="*/ 2063037 h 6593118"/>
              <a:gd name="connsiteX3262" fmla="*/ 8341971 w 11490376"/>
              <a:gd name="connsiteY3262" fmla="*/ 2087726 h 6593118"/>
              <a:gd name="connsiteX3263" fmla="*/ 8342145 w 11490376"/>
              <a:gd name="connsiteY3263" fmla="*/ 2087818 h 6593118"/>
              <a:gd name="connsiteX3264" fmla="*/ 5922200 w 11490376"/>
              <a:gd name="connsiteY3264" fmla="*/ 2061693 h 6593118"/>
              <a:gd name="connsiteX3265" fmla="*/ 5920669 w 11490376"/>
              <a:gd name="connsiteY3265" fmla="*/ 2063413 h 6593118"/>
              <a:gd name="connsiteX3266" fmla="*/ 5953434 w 11490376"/>
              <a:gd name="connsiteY3266" fmla="*/ 2068035 h 6593118"/>
              <a:gd name="connsiteX3267" fmla="*/ 6073048 w 11490376"/>
              <a:gd name="connsiteY3267" fmla="*/ 2060157 h 6593118"/>
              <a:gd name="connsiteX3268" fmla="*/ 6086255 w 11490376"/>
              <a:gd name="connsiteY3268" fmla="*/ 2065744 h 6593118"/>
              <a:gd name="connsiteX3269" fmla="*/ 6114459 w 11490376"/>
              <a:gd name="connsiteY3269" fmla="*/ 2088949 h 6593118"/>
              <a:gd name="connsiteX3270" fmla="*/ 6114464 w 11490376"/>
              <a:gd name="connsiteY3270" fmla="*/ 2088940 h 6593118"/>
              <a:gd name="connsiteX3271" fmla="*/ 6114508 w 11490376"/>
              <a:gd name="connsiteY3271" fmla="*/ 2088595 h 6593118"/>
              <a:gd name="connsiteX3272" fmla="*/ 6084991 w 11490376"/>
              <a:gd name="connsiteY3272" fmla="*/ 2063621 h 6593118"/>
              <a:gd name="connsiteX3273" fmla="*/ 6067684 w 11490376"/>
              <a:gd name="connsiteY3273" fmla="*/ 2058601 h 6593118"/>
              <a:gd name="connsiteX3274" fmla="*/ 6010721 w 11490376"/>
              <a:gd name="connsiteY3274" fmla="*/ 2070650 h 6593118"/>
              <a:gd name="connsiteX3275" fmla="*/ 6011726 w 11490376"/>
              <a:gd name="connsiteY3275" fmla="*/ 2070650 h 6593118"/>
              <a:gd name="connsiteX3276" fmla="*/ 6067762 w 11490376"/>
              <a:gd name="connsiteY3276" fmla="*/ 2058623 h 6593118"/>
              <a:gd name="connsiteX3277" fmla="*/ 5811825 w 11490376"/>
              <a:gd name="connsiteY3277" fmla="*/ 2024133 h 6593118"/>
              <a:gd name="connsiteX3278" fmla="*/ 5809682 w 11490376"/>
              <a:gd name="connsiteY3278" fmla="*/ 2058871 h 6593118"/>
              <a:gd name="connsiteX3279" fmla="*/ 5809883 w 11490376"/>
              <a:gd name="connsiteY3279" fmla="*/ 2058616 h 6593118"/>
              <a:gd name="connsiteX3280" fmla="*/ 5812133 w 11490376"/>
              <a:gd name="connsiteY3280" fmla="*/ 2024487 h 6593118"/>
              <a:gd name="connsiteX3281" fmla="*/ 5561529 w 11490376"/>
              <a:gd name="connsiteY3281" fmla="*/ 1999263 h 6593118"/>
              <a:gd name="connsiteX3282" fmla="*/ 5562347 w 11490376"/>
              <a:gd name="connsiteY3282" fmla="*/ 1999536 h 6593118"/>
              <a:gd name="connsiteX3283" fmla="*/ 5567528 w 11490376"/>
              <a:gd name="connsiteY3283" fmla="*/ 1999263 h 6593118"/>
              <a:gd name="connsiteX3284" fmla="*/ 8604116 w 11490376"/>
              <a:gd name="connsiteY3284" fmla="*/ 1993628 h 6593118"/>
              <a:gd name="connsiteX3285" fmla="*/ 8599029 w 11490376"/>
              <a:gd name="connsiteY3285" fmla="*/ 1994053 h 6593118"/>
              <a:gd name="connsiteX3286" fmla="*/ 8611309 w 11490376"/>
              <a:gd name="connsiteY3286" fmla="*/ 2013696 h 6593118"/>
              <a:gd name="connsiteX3287" fmla="*/ 8627079 w 11490376"/>
              <a:gd name="connsiteY3287" fmla="*/ 2051989 h 6593118"/>
              <a:gd name="connsiteX3288" fmla="*/ 8629543 w 11490376"/>
              <a:gd name="connsiteY3288" fmla="*/ 2051735 h 6593118"/>
              <a:gd name="connsiteX3289" fmla="*/ 8612376 w 11490376"/>
              <a:gd name="connsiteY3289" fmla="*/ 2010118 h 6593118"/>
              <a:gd name="connsiteX3290" fmla="*/ 9104925 w 11490376"/>
              <a:gd name="connsiteY3290" fmla="*/ 1986686 h 6593118"/>
              <a:gd name="connsiteX3291" fmla="*/ 9098137 w 11490376"/>
              <a:gd name="connsiteY3291" fmla="*/ 1997997 h 6593118"/>
              <a:gd name="connsiteX3292" fmla="*/ 9106295 w 11490376"/>
              <a:gd name="connsiteY3292" fmla="*/ 1987529 h 6593118"/>
              <a:gd name="connsiteX3293" fmla="*/ 3530216 w 11490376"/>
              <a:gd name="connsiteY3293" fmla="*/ 1983601 h 6593118"/>
              <a:gd name="connsiteX3294" fmla="*/ 3551120 w 11490376"/>
              <a:gd name="connsiteY3294" fmla="*/ 1994126 h 6593118"/>
              <a:gd name="connsiteX3295" fmla="*/ 3548663 w 11490376"/>
              <a:gd name="connsiteY3295" fmla="*/ 2013939 h 6593118"/>
              <a:gd name="connsiteX3296" fmla="*/ 3560959 w 11490376"/>
              <a:gd name="connsiteY3296" fmla="*/ 2046134 h 6593118"/>
              <a:gd name="connsiteX3297" fmla="*/ 3590471 w 11490376"/>
              <a:gd name="connsiteY3297" fmla="*/ 2046134 h 6593118"/>
              <a:gd name="connsiteX3298" fmla="*/ 3617525 w 11490376"/>
              <a:gd name="connsiteY3298" fmla="*/ 2056039 h 6593118"/>
              <a:gd name="connsiteX3299" fmla="*/ 3624901 w 11490376"/>
              <a:gd name="connsiteY3299" fmla="*/ 2105570 h 6593118"/>
              <a:gd name="connsiteX3300" fmla="*/ 3610146 w 11490376"/>
              <a:gd name="connsiteY3300" fmla="*/ 2142718 h 6593118"/>
              <a:gd name="connsiteX3301" fmla="*/ 3590471 w 11490376"/>
              <a:gd name="connsiteY3301" fmla="*/ 2187296 h 6593118"/>
              <a:gd name="connsiteX3302" fmla="*/ 3583093 w 11490376"/>
              <a:gd name="connsiteY3302" fmla="*/ 2157577 h 6593118"/>
              <a:gd name="connsiteX3303" fmla="*/ 3560959 w 11490376"/>
              <a:gd name="connsiteY3303" fmla="*/ 2155101 h 6593118"/>
              <a:gd name="connsiteX3304" fmla="*/ 3560959 w 11490376"/>
              <a:gd name="connsiteY3304" fmla="*/ 2187296 h 6593118"/>
              <a:gd name="connsiteX3305" fmla="*/ 3536366 w 11490376"/>
              <a:gd name="connsiteY3305" fmla="*/ 2177389 h 6593118"/>
              <a:gd name="connsiteX3306" fmla="*/ 3531446 w 11490376"/>
              <a:gd name="connsiteY3306" fmla="*/ 2130336 h 6593118"/>
              <a:gd name="connsiteX3307" fmla="*/ 3504395 w 11490376"/>
              <a:gd name="connsiteY3307" fmla="*/ 2130336 h 6593118"/>
              <a:gd name="connsiteX3308" fmla="*/ 3467502 w 11490376"/>
              <a:gd name="connsiteY3308" fmla="*/ 2145194 h 6593118"/>
              <a:gd name="connsiteX3309" fmla="*/ 3428152 w 11490376"/>
              <a:gd name="connsiteY3309" fmla="*/ 2140241 h 6593118"/>
              <a:gd name="connsiteX3310" fmla="*/ 3428152 w 11490376"/>
              <a:gd name="connsiteY3310" fmla="*/ 2090712 h 6593118"/>
              <a:gd name="connsiteX3311" fmla="*/ 3442907 w 11490376"/>
              <a:gd name="connsiteY3311" fmla="*/ 2056039 h 6593118"/>
              <a:gd name="connsiteX3312" fmla="*/ 3474879 w 11490376"/>
              <a:gd name="connsiteY3312" fmla="*/ 2041181 h 6593118"/>
              <a:gd name="connsiteX3313" fmla="*/ 3494557 w 11490376"/>
              <a:gd name="connsiteY3313" fmla="*/ 2013939 h 6593118"/>
              <a:gd name="connsiteX3314" fmla="*/ 3511771 w 11490376"/>
              <a:gd name="connsiteY3314" fmla="*/ 1989174 h 6593118"/>
              <a:gd name="connsiteX3315" fmla="*/ 3526527 w 11490376"/>
              <a:gd name="connsiteY3315" fmla="*/ 1981744 h 6593118"/>
              <a:gd name="connsiteX3316" fmla="*/ 3536366 w 11490376"/>
              <a:gd name="connsiteY3316" fmla="*/ 1981744 h 6593118"/>
              <a:gd name="connsiteX3317" fmla="*/ 3530216 w 11490376"/>
              <a:gd name="connsiteY3317" fmla="*/ 1983601 h 6593118"/>
              <a:gd name="connsiteX3318" fmla="*/ 8286765 w 11490376"/>
              <a:gd name="connsiteY3318" fmla="*/ 1979172 h 6593118"/>
              <a:gd name="connsiteX3319" fmla="*/ 8320074 w 11490376"/>
              <a:gd name="connsiteY3319" fmla="*/ 2062459 h 6593118"/>
              <a:gd name="connsiteX3320" fmla="*/ 8320326 w 11490376"/>
              <a:gd name="connsiteY3320" fmla="*/ 2062263 h 6593118"/>
              <a:gd name="connsiteX3321" fmla="*/ 8287143 w 11490376"/>
              <a:gd name="connsiteY3321" fmla="*/ 1979320 h 6593118"/>
              <a:gd name="connsiteX3322" fmla="*/ 5571475 w 11490376"/>
              <a:gd name="connsiteY3322" fmla="*/ 1970673 h 6593118"/>
              <a:gd name="connsiteX3323" fmla="*/ 5561909 w 11490376"/>
              <a:gd name="connsiteY3323" fmla="*/ 1981341 h 6593118"/>
              <a:gd name="connsiteX3324" fmla="*/ 5557758 w 11490376"/>
              <a:gd name="connsiteY3324" fmla="*/ 1998004 h 6593118"/>
              <a:gd name="connsiteX3325" fmla="*/ 5558593 w 11490376"/>
              <a:gd name="connsiteY3325" fmla="*/ 1998282 h 6593118"/>
              <a:gd name="connsiteX3326" fmla="*/ 9326994 w 11490376"/>
              <a:gd name="connsiteY3326" fmla="*/ 1943993 h 6593118"/>
              <a:gd name="connsiteX3327" fmla="*/ 9325947 w 11490376"/>
              <a:gd name="connsiteY3327" fmla="*/ 1944943 h 6593118"/>
              <a:gd name="connsiteX3328" fmla="*/ 9323194 w 11490376"/>
              <a:gd name="connsiteY3328" fmla="*/ 1969712 h 6593118"/>
              <a:gd name="connsiteX3329" fmla="*/ 9595500 w 11490376"/>
              <a:gd name="connsiteY3329" fmla="*/ 1927011 h 6593118"/>
              <a:gd name="connsiteX3330" fmla="*/ 9602145 w 11490376"/>
              <a:gd name="connsiteY3330" fmla="*/ 1964779 h 6593118"/>
              <a:gd name="connsiteX3331" fmla="*/ 9602758 w 11490376"/>
              <a:gd name="connsiteY3331" fmla="*/ 1965560 h 6593118"/>
              <a:gd name="connsiteX3332" fmla="*/ 9596084 w 11490376"/>
              <a:gd name="connsiteY3332" fmla="*/ 1927756 h 6593118"/>
              <a:gd name="connsiteX3333" fmla="*/ 7603030 w 11490376"/>
              <a:gd name="connsiteY3333" fmla="*/ 1886493 h 6593118"/>
              <a:gd name="connsiteX3334" fmla="*/ 7599519 w 11490376"/>
              <a:gd name="connsiteY3334" fmla="*/ 1888467 h 6593118"/>
              <a:gd name="connsiteX3335" fmla="*/ 7616076 w 11490376"/>
              <a:gd name="connsiteY3335" fmla="*/ 1931035 h 6593118"/>
              <a:gd name="connsiteX3336" fmla="*/ 7617724 w 11490376"/>
              <a:gd name="connsiteY3336" fmla="*/ 1928915 h 6593118"/>
              <a:gd name="connsiteX3337" fmla="*/ 7615275 w 11490376"/>
              <a:gd name="connsiteY3337" fmla="*/ 1924016 h 6593118"/>
              <a:gd name="connsiteX3338" fmla="*/ 7612825 w 11490376"/>
              <a:gd name="connsiteY3338" fmla="*/ 1919117 h 6593118"/>
              <a:gd name="connsiteX3339" fmla="*/ 7610377 w 11490376"/>
              <a:gd name="connsiteY3339" fmla="*/ 1914219 h 6593118"/>
              <a:gd name="connsiteX3340" fmla="*/ 7607928 w 11490376"/>
              <a:gd name="connsiteY3340" fmla="*/ 1909320 h 6593118"/>
              <a:gd name="connsiteX3341" fmla="*/ 7605479 w 11490376"/>
              <a:gd name="connsiteY3341" fmla="*/ 1901973 h 6593118"/>
              <a:gd name="connsiteX3342" fmla="*/ 7603030 w 11490376"/>
              <a:gd name="connsiteY3342" fmla="*/ 1897074 h 6593118"/>
              <a:gd name="connsiteX3343" fmla="*/ 7603030 w 11490376"/>
              <a:gd name="connsiteY3343" fmla="*/ 1892175 h 6593118"/>
              <a:gd name="connsiteX3344" fmla="*/ 7603030 w 11490376"/>
              <a:gd name="connsiteY3344" fmla="*/ 1887276 h 6593118"/>
              <a:gd name="connsiteX3345" fmla="*/ 7067168 w 11490376"/>
              <a:gd name="connsiteY3345" fmla="*/ 1875489 h 6593118"/>
              <a:gd name="connsiteX3346" fmla="*/ 7019951 w 11490376"/>
              <a:gd name="connsiteY3346" fmla="*/ 1930211 h 6593118"/>
              <a:gd name="connsiteX3347" fmla="*/ 7037141 w 11490376"/>
              <a:gd name="connsiteY3347" fmla="*/ 1971953 h 6593118"/>
              <a:gd name="connsiteX3348" fmla="*/ 7078889 w 11490376"/>
              <a:gd name="connsiteY3348" fmla="*/ 1996508 h 6593118"/>
              <a:gd name="connsiteX3349" fmla="*/ 7083659 w 11490376"/>
              <a:gd name="connsiteY3349" fmla="*/ 2041816 h 6593118"/>
              <a:gd name="connsiteX3350" fmla="*/ 7083876 w 11490376"/>
              <a:gd name="connsiteY3350" fmla="*/ 2041583 h 6593118"/>
              <a:gd name="connsiteX3351" fmla="*/ 7081428 w 11490376"/>
              <a:gd name="connsiteY3351" fmla="*/ 1995046 h 6593118"/>
              <a:gd name="connsiteX3352" fmla="*/ 7039797 w 11490376"/>
              <a:gd name="connsiteY3352" fmla="*/ 1968103 h 6593118"/>
              <a:gd name="connsiteX3353" fmla="*/ 7022655 w 11490376"/>
              <a:gd name="connsiteY3353" fmla="*/ 1928915 h 6593118"/>
              <a:gd name="connsiteX3354" fmla="*/ 7638389 w 11490376"/>
              <a:gd name="connsiteY3354" fmla="*/ 1866607 h 6593118"/>
              <a:gd name="connsiteX3355" fmla="*/ 7605993 w 11490376"/>
              <a:gd name="connsiteY3355" fmla="*/ 1884827 h 6593118"/>
              <a:gd name="connsiteX3356" fmla="*/ 7607928 w 11490376"/>
              <a:gd name="connsiteY3356" fmla="*/ 1884827 h 6593118"/>
              <a:gd name="connsiteX3357" fmla="*/ 7610377 w 11490376"/>
              <a:gd name="connsiteY3357" fmla="*/ 1884827 h 6593118"/>
              <a:gd name="connsiteX3358" fmla="*/ 7615275 w 11490376"/>
              <a:gd name="connsiteY3358" fmla="*/ 1882378 h 6593118"/>
              <a:gd name="connsiteX3359" fmla="*/ 7617724 w 11490376"/>
              <a:gd name="connsiteY3359" fmla="*/ 1879929 h 6593118"/>
              <a:gd name="connsiteX3360" fmla="*/ 7620172 w 11490376"/>
              <a:gd name="connsiteY3360" fmla="*/ 1877479 h 6593118"/>
              <a:gd name="connsiteX3361" fmla="*/ 7625070 w 11490376"/>
              <a:gd name="connsiteY3361" fmla="*/ 1875029 h 6593118"/>
              <a:gd name="connsiteX3362" fmla="*/ 7627519 w 11490376"/>
              <a:gd name="connsiteY3362" fmla="*/ 1875029 h 6593118"/>
              <a:gd name="connsiteX3363" fmla="*/ 7629968 w 11490376"/>
              <a:gd name="connsiteY3363" fmla="*/ 1872580 h 6593118"/>
              <a:gd name="connsiteX3364" fmla="*/ 7634865 w 11490376"/>
              <a:gd name="connsiteY3364" fmla="*/ 1870132 h 6593118"/>
              <a:gd name="connsiteX3365" fmla="*/ 7637315 w 11490376"/>
              <a:gd name="connsiteY3365" fmla="*/ 1867682 h 6593118"/>
              <a:gd name="connsiteX3366" fmla="*/ 8628500 w 11490376"/>
              <a:gd name="connsiteY3366" fmla="*/ 1866369 h 6593118"/>
              <a:gd name="connsiteX3367" fmla="*/ 8628500 w 11490376"/>
              <a:gd name="connsiteY3367" fmla="*/ 1932666 h 6593118"/>
              <a:gd name="connsiteX3368" fmla="*/ 8628500 w 11490376"/>
              <a:gd name="connsiteY3368" fmla="*/ 1990535 h 6593118"/>
              <a:gd name="connsiteX3369" fmla="*/ 8629543 w 11490376"/>
              <a:gd name="connsiteY3369" fmla="*/ 1990535 h 6593118"/>
              <a:gd name="connsiteX3370" fmla="*/ 8629543 w 11490376"/>
              <a:gd name="connsiteY3370" fmla="*/ 1929335 h 6593118"/>
              <a:gd name="connsiteX3371" fmla="*/ 8629543 w 11490376"/>
              <a:gd name="connsiteY3371" fmla="*/ 1866794 h 6593118"/>
              <a:gd name="connsiteX3372" fmla="*/ 9331451 w 11490376"/>
              <a:gd name="connsiteY3372" fmla="*/ 1857893 h 6593118"/>
              <a:gd name="connsiteX3373" fmla="*/ 9330858 w 11490376"/>
              <a:gd name="connsiteY3373" fmla="*/ 1859002 h 6593118"/>
              <a:gd name="connsiteX3374" fmla="*/ 9352671 w 11490376"/>
              <a:gd name="connsiteY3374" fmla="*/ 1919581 h 6593118"/>
              <a:gd name="connsiteX3375" fmla="*/ 9354524 w 11490376"/>
              <a:gd name="connsiteY3375" fmla="*/ 1918058 h 6593118"/>
              <a:gd name="connsiteX3376" fmla="*/ 7184015 w 11490376"/>
              <a:gd name="connsiteY3376" fmla="*/ 1816739 h 6593118"/>
              <a:gd name="connsiteX3377" fmla="*/ 7182034 w 11490376"/>
              <a:gd name="connsiteY3377" fmla="*/ 1817260 h 6593118"/>
              <a:gd name="connsiteX3378" fmla="*/ 7171811 w 11490376"/>
              <a:gd name="connsiteY3378" fmla="*/ 1839406 h 6593118"/>
              <a:gd name="connsiteX3379" fmla="*/ 7128005 w 11490376"/>
              <a:gd name="connsiteY3379" fmla="*/ 1804983 h 6593118"/>
              <a:gd name="connsiteX3380" fmla="*/ 7077096 w 11490376"/>
              <a:gd name="connsiteY3380" fmla="*/ 1863982 h 6593118"/>
              <a:gd name="connsiteX3381" fmla="*/ 7128768 w 11490376"/>
              <a:gd name="connsiteY3381" fmla="*/ 1805840 h 6593118"/>
              <a:gd name="connsiteX3382" fmla="*/ 7671754 w 11490376"/>
              <a:gd name="connsiteY3382" fmla="*/ 1795060 h 6593118"/>
              <a:gd name="connsiteX3383" fmla="*/ 7670738 w 11490376"/>
              <a:gd name="connsiteY3383" fmla="*/ 1795160 h 6593118"/>
              <a:gd name="connsiteX3384" fmla="*/ 7680434 w 11490376"/>
              <a:gd name="connsiteY3384" fmla="*/ 1848482 h 6593118"/>
              <a:gd name="connsiteX3385" fmla="*/ 7681393 w 11490376"/>
              <a:gd name="connsiteY3385" fmla="*/ 1848088 h 6593118"/>
              <a:gd name="connsiteX3386" fmla="*/ 10063337 w 11490376"/>
              <a:gd name="connsiteY3386" fmla="*/ 1775907 h 6593118"/>
              <a:gd name="connsiteX3387" fmla="*/ 10102255 w 11490376"/>
              <a:gd name="connsiteY3387" fmla="*/ 1783260 h 6593118"/>
              <a:gd name="connsiteX3388" fmla="*/ 10109553 w 11490376"/>
              <a:gd name="connsiteY3388" fmla="*/ 1832278 h 6593118"/>
              <a:gd name="connsiteX3389" fmla="*/ 10136308 w 11490376"/>
              <a:gd name="connsiteY3389" fmla="*/ 1866591 h 6593118"/>
              <a:gd name="connsiteX3390" fmla="*/ 10170362 w 11490376"/>
              <a:gd name="connsiteY3390" fmla="*/ 1915610 h 6593118"/>
              <a:gd name="connsiteX3391" fmla="*/ 10146038 w 11490376"/>
              <a:gd name="connsiteY3391" fmla="*/ 1910708 h 6593118"/>
              <a:gd name="connsiteX3392" fmla="*/ 10172793 w 11490376"/>
              <a:gd name="connsiteY3392" fmla="*/ 1979334 h 6593118"/>
              <a:gd name="connsiteX3393" fmla="*/ 10192252 w 11490376"/>
              <a:gd name="connsiteY3393" fmla="*/ 2025902 h 6593118"/>
              <a:gd name="connsiteX3394" fmla="*/ 10172793 w 11490376"/>
              <a:gd name="connsiteY3394" fmla="*/ 2040608 h 6593118"/>
              <a:gd name="connsiteX3395" fmla="*/ 10133875 w 11490376"/>
              <a:gd name="connsiteY3395" fmla="*/ 2023451 h 6593118"/>
              <a:gd name="connsiteX3396" fmla="*/ 10119281 w 11490376"/>
              <a:gd name="connsiteY3396" fmla="*/ 2023451 h 6593118"/>
              <a:gd name="connsiteX3397" fmla="*/ 10114418 w 11490376"/>
              <a:gd name="connsiteY3397" fmla="*/ 2008746 h 6593118"/>
              <a:gd name="connsiteX3398" fmla="*/ 10126579 w 11490376"/>
              <a:gd name="connsiteY3398" fmla="*/ 1974433 h 6593118"/>
              <a:gd name="connsiteX3399" fmla="*/ 10104688 w 11490376"/>
              <a:gd name="connsiteY3399" fmla="*/ 1952374 h 6593118"/>
              <a:gd name="connsiteX3400" fmla="*/ 10092526 w 11490376"/>
              <a:gd name="connsiteY3400" fmla="*/ 1903355 h 6593118"/>
              <a:gd name="connsiteX3401" fmla="*/ 10082796 w 11490376"/>
              <a:gd name="connsiteY3401" fmla="*/ 1859239 h 6593118"/>
              <a:gd name="connsiteX3402" fmla="*/ 10070635 w 11490376"/>
              <a:gd name="connsiteY3402" fmla="*/ 1824925 h 6593118"/>
              <a:gd name="connsiteX3403" fmla="*/ 10070635 w 11490376"/>
              <a:gd name="connsiteY3403" fmla="*/ 1797965 h 6593118"/>
              <a:gd name="connsiteX3404" fmla="*/ 6158363 w 11490376"/>
              <a:gd name="connsiteY3404" fmla="*/ 1768594 h 6593118"/>
              <a:gd name="connsiteX3405" fmla="*/ 6125117 w 11490376"/>
              <a:gd name="connsiteY3405" fmla="*/ 1778096 h 6593118"/>
              <a:gd name="connsiteX3406" fmla="*/ 6127306 w 11490376"/>
              <a:gd name="connsiteY3406" fmla="*/ 1813132 h 6593118"/>
              <a:gd name="connsiteX3407" fmla="*/ 6126310 w 11490376"/>
              <a:gd name="connsiteY3407" fmla="*/ 1812231 h 6593118"/>
              <a:gd name="connsiteX3408" fmla="*/ 6126310 w 11490376"/>
              <a:gd name="connsiteY3408" fmla="*/ 1859534 h 6593118"/>
              <a:gd name="connsiteX3409" fmla="*/ 6129737 w 11490376"/>
              <a:gd name="connsiteY3409" fmla="*/ 1859534 h 6593118"/>
              <a:gd name="connsiteX3410" fmla="*/ 6129737 w 11490376"/>
              <a:gd name="connsiteY3410" fmla="*/ 1813455 h 6593118"/>
              <a:gd name="connsiteX3411" fmla="*/ 6127306 w 11490376"/>
              <a:gd name="connsiteY3411" fmla="*/ 1781254 h 6593118"/>
              <a:gd name="connsiteX3412" fmla="*/ 6171089 w 11490376"/>
              <a:gd name="connsiteY3412" fmla="*/ 1764957 h 6593118"/>
              <a:gd name="connsiteX3413" fmla="*/ 6165415 w 11490376"/>
              <a:gd name="connsiteY3413" fmla="*/ 1766578 h 6593118"/>
              <a:gd name="connsiteX3414" fmla="*/ 6207515 w 11490376"/>
              <a:gd name="connsiteY3414" fmla="*/ 1771346 h 6593118"/>
              <a:gd name="connsiteX3415" fmla="*/ 6209083 w 11490376"/>
              <a:gd name="connsiteY3415" fmla="*/ 1764957 h 6593118"/>
              <a:gd name="connsiteX3416" fmla="*/ 6254656 w 11490376"/>
              <a:gd name="connsiteY3416" fmla="*/ 1727410 h 6593118"/>
              <a:gd name="connsiteX3417" fmla="*/ 6217061 w 11490376"/>
              <a:gd name="connsiteY3417" fmla="*/ 1732110 h 6593118"/>
              <a:gd name="connsiteX3418" fmla="*/ 6216467 w 11490376"/>
              <a:gd name="connsiteY3418" fmla="*/ 1741030 h 6593118"/>
              <a:gd name="connsiteX3419" fmla="*/ 5144125 w 11490376"/>
              <a:gd name="connsiteY3419" fmla="*/ 1723352 h 6593118"/>
              <a:gd name="connsiteX3420" fmla="*/ 5169436 w 11490376"/>
              <a:gd name="connsiteY3420" fmla="*/ 1730651 h 6593118"/>
              <a:gd name="connsiteX3421" fmla="*/ 5184623 w 11490376"/>
              <a:gd name="connsiteY3421" fmla="*/ 1747683 h 6593118"/>
              <a:gd name="connsiteX3422" fmla="*/ 5192216 w 11490376"/>
              <a:gd name="connsiteY3422" fmla="*/ 1769580 h 6593118"/>
              <a:gd name="connsiteX3423" fmla="*/ 5161843 w 11490376"/>
              <a:gd name="connsiteY3423" fmla="*/ 1786612 h 6593118"/>
              <a:gd name="connsiteX3424" fmla="*/ 5125501 w 11490376"/>
              <a:gd name="connsiteY3424" fmla="*/ 1786612 h 6593118"/>
              <a:gd name="connsiteX3425" fmla="*/ 5126447 w 11490376"/>
              <a:gd name="connsiteY3425" fmla="*/ 1788781 h 6593118"/>
              <a:gd name="connsiteX3426" fmla="*/ 5162569 w 11490376"/>
              <a:gd name="connsiteY3426" fmla="*/ 1788781 h 6593118"/>
              <a:gd name="connsiteX3427" fmla="*/ 5177016 w 11490376"/>
              <a:gd name="connsiteY3427" fmla="*/ 1828022 h 6593118"/>
              <a:gd name="connsiteX3428" fmla="*/ 5169792 w 11490376"/>
              <a:gd name="connsiteY3428" fmla="*/ 1879525 h 6593118"/>
              <a:gd name="connsiteX3429" fmla="*/ 5143304 w 11490376"/>
              <a:gd name="connsiteY3429" fmla="*/ 1884430 h 6593118"/>
              <a:gd name="connsiteX3430" fmla="*/ 5111999 w 11490376"/>
              <a:gd name="connsiteY3430" fmla="*/ 1884430 h 6593118"/>
              <a:gd name="connsiteX3431" fmla="*/ 5075879 w 11490376"/>
              <a:gd name="connsiteY3431" fmla="*/ 1908956 h 6593118"/>
              <a:gd name="connsiteX3432" fmla="*/ 5037350 w 11490376"/>
              <a:gd name="connsiteY3432" fmla="*/ 1911409 h 6593118"/>
              <a:gd name="connsiteX3433" fmla="*/ 5037350 w 11490376"/>
              <a:gd name="connsiteY3433" fmla="*/ 1891788 h 6593118"/>
              <a:gd name="connsiteX3434" fmla="*/ 5034942 w 11490376"/>
              <a:gd name="connsiteY3434" fmla="*/ 1859905 h 6593118"/>
              <a:gd name="connsiteX3435" fmla="*/ 5054206 w 11490376"/>
              <a:gd name="connsiteY3435" fmla="*/ 1847642 h 6593118"/>
              <a:gd name="connsiteX3436" fmla="*/ 5054206 w 11490376"/>
              <a:gd name="connsiteY3436" fmla="*/ 1828022 h 6593118"/>
              <a:gd name="connsiteX3437" fmla="*/ 5034942 w 11490376"/>
              <a:gd name="connsiteY3437" fmla="*/ 1823117 h 6593118"/>
              <a:gd name="connsiteX3438" fmla="*/ 5034942 w 11490376"/>
              <a:gd name="connsiteY3438" fmla="*/ 1793686 h 6593118"/>
              <a:gd name="connsiteX3439" fmla="*/ 5042166 w 11490376"/>
              <a:gd name="connsiteY3439" fmla="*/ 1776518 h 6593118"/>
              <a:gd name="connsiteX3440" fmla="*/ 5099960 w 11490376"/>
              <a:gd name="connsiteY3440" fmla="*/ 1769161 h 6593118"/>
              <a:gd name="connsiteX3441" fmla="*/ 5099960 w 11490376"/>
              <a:gd name="connsiteY3441" fmla="*/ 1744636 h 6593118"/>
              <a:gd name="connsiteX3442" fmla="*/ 5109591 w 11490376"/>
              <a:gd name="connsiteY3442" fmla="*/ 1729921 h 6593118"/>
              <a:gd name="connsiteX3443" fmla="*/ 5123788 w 11490376"/>
              <a:gd name="connsiteY3443" fmla="*/ 1738183 h 6593118"/>
              <a:gd name="connsiteX3444" fmla="*/ 5123876 w 11490376"/>
              <a:gd name="connsiteY3444" fmla="*/ 1737950 h 6593118"/>
              <a:gd name="connsiteX3445" fmla="*/ 6448400 w 11490376"/>
              <a:gd name="connsiteY3445" fmla="*/ 1644637 h 6593118"/>
              <a:gd name="connsiteX3446" fmla="*/ 6455433 w 11490376"/>
              <a:gd name="connsiteY3446" fmla="*/ 1768870 h 6593118"/>
              <a:gd name="connsiteX3447" fmla="*/ 6440849 w 11490376"/>
              <a:gd name="connsiteY3447" fmla="*/ 1786207 h 6593118"/>
              <a:gd name="connsiteX3448" fmla="*/ 6423836 w 11490376"/>
              <a:gd name="connsiteY3448" fmla="*/ 1835747 h 6593118"/>
              <a:gd name="connsiteX3449" fmla="*/ 6399875 w 11490376"/>
              <a:gd name="connsiteY3449" fmla="*/ 1874814 h 6593118"/>
              <a:gd name="connsiteX3450" fmla="*/ 6403136 w 11490376"/>
              <a:gd name="connsiteY3450" fmla="*/ 1874445 h 6593118"/>
              <a:gd name="connsiteX3451" fmla="*/ 6427215 w 11490376"/>
              <a:gd name="connsiteY3451" fmla="*/ 1835029 h 6593118"/>
              <a:gd name="connsiteX3452" fmla="*/ 6428695 w 11490376"/>
              <a:gd name="connsiteY3452" fmla="*/ 1834926 h 6593118"/>
              <a:gd name="connsiteX3453" fmla="*/ 6442837 w 11490376"/>
              <a:gd name="connsiteY3453" fmla="*/ 1787795 h 6593118"/>
              <a:gd name="connsiteX3454" fmla="*/ 6457573 w 11490376"/>
              <a:gd name="connsiteY3454" fmla="*/ 1770606 h 6593118"/>
              <a:gd name="connsiteX3455" fmla="*/ 6450204 w 11490376"/>
              <a:gd name="connsiteY3455" fmla="*/ 1645377 h 6593118"/>
              <a:gd name="connsiteX3456" fmla="*/ 6272809 w 11490376"/>
              <a:gd name="connsiteY3456" fmla="*/ 1632264 h 6593118"/>
              <a:gd name="connsiteX3457" fmla="*/ 6269599 w 11490376"/>
              <a:gd name="connsiteY3457" fmla="*/ 1646709 h 6593118"/>
              <a:gd name="connsiteX3458" fmla="*/ 6268312 w 11490376"/>
              <a:gd name="connsiteY3458" fmla="*/ 1650001 h 6593118"/>
              <a:gd name="connsiteX3459" fmla="*/ 6276295 w 11490376"/>
              <a:gd name="connsiteY3459" fmla="*/ 1656102 h 6593118"/>
              <a:gd name="connsiteX3460" fmla="*/ 6273976 w 11490376"/>
              <a:gd name="connsiteY3460" fmla="*/ 1632749 h 6593118"/>
              <a:gd name="connsiteX3461" fmla="*/ 6318403 w 11490376"/>
              <a:gd name="connsiteY3461" fmla="*/ 1619742 h 6593118"/>
              <a:gd name="connsiteX3462" fmla="*/ 6326613 w 11490376"/>
              <a:gd name="connsiteY3462" fmla="*/ 1622729 h 6593118"/>
              <a:gd name="connsiteX3463" fmla="*/ 6326828 w 11490376"/>
              <a:gd name="connsiteY3463" fmla="*/ 1622569 h 6593118"/>
              <a:gd name="connsiteX3464" fmla="*/ 6291103 w 11490376"/>
              <a:gd name="connsiteY3464" fmla="*/ 1610577 h 6593118"/>
              <a:gd name="connsiteX3465" fmla="*/ 6276723 w 11490376"/>
              <a:gd name="connsiteY3465" fmla="*/ 1656429 h 6593118"/>
              <a:gd name="connsiteX3466" fmla="*/ 6278002 w 11490376"/>
              <a:gd name="connsiteY3466" fmla="*/ 1657406 h 6593118"/>
              <a:gd name="connsiteX3467" fmla="*/ 6292379 w 11490376"/>
              <a:gd name="connsiteY3467" fmla="*/ 1611006 h 6593118"/>
              <a:gd name="connsiteX3468" fmla="*/ 5677662 w 11490376"/>
              <a:gd name="connsiteY3468" fmla="*/ 1574447 h 6593118"/>
              <a:gd name="connsiteX3469" fmla="*/ 5700320 w 11490376"/>
              <a:gd name="connsiteY3469" fmla="*/ 1574447 h 6593118"/>
              <a:gd name="connsiteX3470" fmla="*/ 5715425 w 11490376"/>
              <a:gd name="connsiteY3470" fmla="*/ 1574447 h 6593118"/>
              <a:gd name="connsiteX3471" fmla="*/ 5667592 w 11490376"/>
              <a:gd name="connsiteY3471" fmla="*/ 1607147 h 6593118"/>
              <a:gd name="connsiteX3472" fmla="*/ 5158576 w 11490376"/>
              <a:gd name="connsiteY3472" fmla="*/ 1561308 h 6593118"/>
              <a:gd name="connsiteX3473" fmla="*/ 5166020 w 11490376"/>
              <a:gd name="connsiteY3473" fmla="*/ 1587490 h 6593118"/>
              <a:gd name="connsiteX3474" fmla="*/ 5143687 w 11490376"/>
              <a:gd name="connsiteY3474" fmla="*/ 1613672 h 6593118"/>
              <a:gd name="connsiteX3475" fmla="*/ 5131284 w 11490376"/>
              <a:gd name="connsiteY3475" fmla="*/ 1601771 h 6593118"/>
              <a:gd name="connsiteX3476" fmla="*/ 5136247 w 11490376"/>
              <a:gd name="connsiteY3476" fmla="*/ 1575589 h 6593118"/>
              <a:gd name="connsiteX3477" fmla="*/ 980725 w 11490376"/>
              <a:gd name="connsiteY3477" fmla="*/ 1552549 h 6593118"/>
              <a:gd name="connsiteX3478" fmla="*/ 980482 w 11490376"/>
              <a:gd name="connsiteY3478" fmla="*/ 1553098 h 6593118"/>
              <a:gd name="connsiteX3479" fmla="*/ 997082 w 11490376"/>
              <a:gd name="connsiteY3479" fmla="*/ 1553098 h 6593118"/>
              <a:gd name="connsiteX3480" fmla="*/ 997231 w 11490376"/>
              <a:gd name="connsiteY3480" fmla="*/ 1552549 h 6593118"/>
              <a:gd name="connsiteX3481" fmla="*/ 5254395 w 11490376"/>
              <a:gd name="connsiteY3481" fmla="*/ 1550360 h 6593118"/>
              <a:gd name="connsiteX3482" fmla="*/ 5254395 w 11490376"/>
              <a:gd name="connsiteY3482" fmla="*/ 1587039 h 6593118"/>
              <a:gd name="connsiteX3483" fmla="*/ 5308576 w 11490376"/>
              <a:gd name="connsiteY3483" fmla="*/ 1587039 h 6593118"/>
              <a:gd name="connsiteX3484" fmla="*/ 5306114 w 11490376"/>
              <a:gd name="connsiteY3484" fmla="*/ 1626162 h 6593118"/>
              <a:gd name="connsiteX3485" fmla="*/ 5274098 w 11490376"/>
              <a:gd name="connsiteY3485" fmla="*/ 1635943 h 6593118"/>
              <a:gd name="connsiteX3486" fmla="*/ 5333205 w 11490376"/>
              <a:gd name="connsiteY3486" fmla="*/ 1677513 h 6593118"/>
              <a:gd name="connsiteX3487" fmla="*/ 5325816 w 11490376"/>
              <a:gd name="connsiteY3487" fmla="*/ 1719081 h 6593118"/>
              <a:gd name="connsiteX3488" fmla="*/ 5350443 w 11490376"/>
              <a:gd name="connsiteY3488" fmla="*/ 1726417 h 6593118"/>
              <a:gd name="connsiteX3489" fmla="*/ 5345519 w 11490376"/>
              <a:gd name="connsiteY3489" fmla="*/ 1755760 h 6593118"/>
              <a:gd name="connsiteX3490" fmla="*/ 5370146 w 11490376"/>
              <a:gd name="connsiteY3490" fmla="*/ 1765541 h 6593118"/>
              <a:gd name="connsiteX3491" fmla="*/ 5377534 w 11490376"/>
              <a:gd name="connsiteY3491" fmla="*/ 1787549 h 6593118"/>
              <a:gd name="connsiteX3492" fmla="*/ 5377534 w 11490376"/>
              <a:gd name="connsiteY3492" fmla="*/ 1824226 h 6593118"/>
              <a:gd name="connsiteX3493" fmla="*/ 5424327 w 11490376"/>
              <a:gd name="connsiteY3493" fmla="*/ 1838898 h 6593118"/>
              <a:gd name="connsiteX3494" fmla="*/ 5421864 w 11490376"/>
              <a:gd name="connsiteY3494" fmla="*/ 1895139 h 6593118"/>
              <a:gd name="connsiteX3495" fmla="*/ 5397236 w 11490376"/>
              <a:gd name="connsiteY3495" fmla="*/ 1890249 h 6593118"/>
              <a:gd name="connsiteX3496" fmla="*/ 5382460 w 11490376"/>
              <a:gd name="connsiteY3496" fmla="*/ 1902475 h 6593118"/>
              <a:gd name="connsiteX3497" fmla="*/ 5409550 w 11490376"/>
              <a:gd name="connsiteY3497" fmla="*/ 1926927 h 6593118"/>
              <a:gd name="connsiteX3498" fmla="*/ 5365220 w 11490376"/>
              <a:gd name="connsiteY3498" fmla="*/ 1936708 h 6593118"/>
              <a:gd name="connsiteX3499" fmla="*/ 5325816 w 11490376"/>
              <a:gd name="connsiteY3499" fmla="*/ 1961160 h 6593118"/>
              <a:gd name="connsiteX3500" fmla="*/ 5281486 w 11490376"/>
              <a:gd name="connsiteY3500" fmla="*/ 1951379 h 6593118"/>
              <a:gd name="connsiteX3501" fmla="*/ 5247007 w 11490376"/>
              <a:gd name="connsiteY3501" fmla="*/ 1968496 h 6593118"/>
              <a:gd name="connsiteX3502" fmla="*/ 5195296 w 11490376"/>
              <a:gd name="connsiteY3502" fmla="*/ 1988058 h 6593118"/>
              <a:gd name="connsiteX3503" fmla="*/ 5197758 w 11490376"/>
              <a:gd name="connsiteY3503" fmla="*/ 1966051 h 6593118"/>
              <a:gd name="connsiteX3504" fmla="*/ 5217460 w 11490376"/>
              <a:gd name="connsiteY3504" fmla="*/ 1939153 h 6593118"/>
              <a:gd name="connsiteX3505" fmla="*/ 5242083 w 11490376"/>
              <a:gd name="connsiteY3505" fmla="*/ 1914702 h 6593118"/>
              <a:gd name="connsiteX3506" fmla="*/ 5261784 w 11490376"/>
              <a:gd name="connsiteY3506" fmla="*/ 1912256 h 6593118"/>
              <a:gd name="connsiteX3507" fmla="*/ 5266710 w 11490376"/>
              <a:gd name="connsiteY3507" fmla="*/ 1902475 h 6593118"/>
              <a:gd name="connsiteX3508" fmla="*/ 5210072 w 11490376"/>
              <a:gd name="connsiteY3508" fmla="*/ 1890249 h 6593118"/>
              <a:gd name="connsiteX3509" fmla="*/ 5229774 w 11490376"/>
              <a:gd name="connsiteY3509" fmla="*/ 1880468 h 6593118"/>
              <a:gd name="connsiteX3510" fmla="*/ 5234699 w 11490376"/>
              <a:gd name="connsiteY3510" fmla="*/ 1853570 h 6593118"/>
              <a:gd name="connsiteX3511" fmla="*/ 5224848 w 11490376"/>
              <a:gd name="connsiteY3511" fmla="*/ 1838898 h 6593118"/>
              <a:gd name="connsiteX3512" fmla="*/ 5229774 w 11490376"/>
              <a:gd name="connsiteY3512" fmla="*/ 1812000 h 6593118"/>
              <a:gd name="connsiteX3513" fmla="*/ 5254395 w 11490376"/>
              <a:gd name="connsiteY3513" fmla="*/ 1812000 h 6593118"/>
              <a:gd name="connsiteX3514" fmla="*/ 5283950 w 11490376"/>
              <a:gd name="connsiteY3514" fmla="*/ 1792439 h 6593118"/>
              <a:gd name="connsiteX3515" fmla="*/ 5288874 w 11490376"/>
              <a:gd name="connsiteY3515" fmla="*/ 1775322 h 6593118"/>
              <a:gd name="connsiteX3516" fmla="*/ 5271636 w 11490376"/>
              <a:gd name="connsiteY3516" fmla="*/ 1767986 h 6593118"/>
              <a:gd name="connsiteX3517" fmla="*/ 5259321 w 11490376"/>
              <a:gd name="connsiteY3517" fmla="*/ 1748424 h 6593118"/>
              <a:gd name="connsiteX3518" fmla="*/ 5202682 w 11490376"/>
              <a:gd name="connsiteY3518" fmla="*/ 1736198 h 6593118"/>
              <a:gd name="connsiteX3519" fmla="*/ 5210072 w 11490376"/>
              <a:gd name="connsiteY3519" fmla="*/ 1719081 h 6593118"/>
              <a:gd name="connsiteX3520" fmla="*/ 5205146 w 11490376"/>
              <a:gd name="connsiteY3520" fmla="*/ 1699520 h 6593118"/>
              <a:gd name="connsiteX3521" fmla="*/ 5182980 w 11490376"/>
              <a:gd name="connsiteY3521" fmla="*/ 1694630 h 6593118"/>
              <a:gd name="connsiteX3522" fmla="*/ 5175592 w 11490376"/>
              <a:gd name="connsiteY3522" fmla="*/ 1675067 h 6593118"/>
              <a:gd name="connsiteX3523" fmla="*/ 5195296 w 11490376"/>
              <a:gd name="connsiteY3523" fmla="*/ 1662841 h 6593118"/>
              <a:gd name="connsiteX3524" fmla="*/ 5195296 w 11490376"/>
              <a:gd name="connsiteY3524" fmla="*/ 1638388 h 6593118"/>
              <a:gd name="connsiteX3525" fmla="*/ 5190368 w 11490376"/>
              <a:gd name="connsiteY3525" fmla="*/ 1621271 h 6593118"/>
              <a:gd name="connsiteX3526" fmla="*/ 5170667 w 11490376"/>
              <a:gd name="connsiteY3526" fmla="*/ 1611490 h 6593118"/>
              <a:gd name="connsiteX3527" fmla="*/ 5195296 w 11490376"/>
              <a:gd name="connsiteY3527" fmla="*/ 1584594 h 6593118"/>
              <a:gd name="connsiteX3528" fmla="*/ 5210072 w 11490376"/>
              <a:gd name="connsiteY3528" fmla="*/ 1555250 h 6593118"/>
              <a:gd name="connsiteX3529" fmla="*/ 6227902 w 11490376"/>
              <a:gd name="connsiteY3529" fmla="*/ 1549816 h 6593118"/>
              <a:gd name="connsiteX3530" fmla="*/ 6229937 w 11490376"/>
              <a:gd name="connsiteY3530" fmla="*/ 1551454 h 6593118"/>
              <a:gd name="connsiteX3531" fmla="*/ 6295746 w 11490376"/>
              <a:gd name="connsiteY3531" fmla="*/ 1553821 h 6593118"/>
              <a:gd name="connsiteX3532" fmla="*/ 6294641 w 11490376"/>
              <a:gd name="connsiteY3532" fmla="*/ 1552232 h 6593118"/>
              <a:gd name="connsiteX3533" fmla="*/ 1018783 w 11490376"/>
              <a:gd name="connsiteY3533" fmla="*/ 1529640 h 6593118"/>
              <a:gd name="connsiteX3534" fmla="*/ 1024095 w 11490376"/>
              <a:gd name="connsiteY3534" fmla="*/ 1530970 h 6593118"/>
              <a:gd name="connsiteX3535" fmla="*/ 1078125 w 11490376"/>
              <a:gd name="connsiteY3535" fmla="*/ 1589977 h 6593118"/>
              <a:gd name="connsiteX3536" fmla="*/ 1087948 w 11490376"/>
              <a:gd name="connsiteY3536" fmla="*/ 1634231 h 6593118"/>
              <a:gd name="connsiteX3537" fmla="*/ 1105140 w 11490376"/>
              <a:gd name="connsiteY3537" fmla="*/ 1641608 h 6593118"/>
              <a:gd name="connsiteX3538" fmla="*/ 1119875 w 11490376"/>
              <a:gd name="connsiteY3538" fmla="*/ 1700613 h 6593118"/>
              <a:gd name="connsiteX3539" fmla="*/ 1123015 w 11490376"/>
              <a:gd name="connsiteY3539" fmla="*/ 1701440 h 6593118"/>
              <a:gd name="connsiteX3540" fmla="*/ 1109885 w 11490376"/>
              <a:gd name="connsiteY3540" fmla="*/ 1642329 h 6593118"/>
              <a:gd name="connsiteX3541" fmla="*/ 1090183 w 11490376"/>
              <a:gd name="connsiteY3541" fmla="*/ 1633570 h 6593118"/>
              <a:gd name="connsiteX3542" fmla="*/ 1081426 w 11490376"/>
              <a:gd name="connsiteY3542" fmla="*/ 1589776 h 6593118"/>
              <a:gd name="connsiteX3543" fmla="*/ 1028887 w 11490376"/>
              <a:gd name="connsiteY3543" fmla="*/ 1530652 h 6593118"/>
              <a:gd name="connsiteX3544" fmla="*/ 5282307 w 11490376"/>
              <a:gd name="connsiteY3544" fmla="*/ 1521892 h 6593118"/>
              <a:gd name="connsiteX3545" fmla="*/ 5312799 w 11490376"/>
              <a:gd name="connsiteY3545" fmla="*/ 1521892 h 6593118"/>
              <a:gd name="connsiteX3546" fmla="*/ 5286998 w 11490376"/>
              <a:gd name="connsiteY3546" fmla="*/ 1552393 h 6593118"/>
              <a:gd name="connsiteX3547" fmla="*/ 917243 w 11490376"/>
              <a:gd name="connsiteY3547" fmla="*/ 1493425 h 6593118"/>
              <a:gd name="connsiteX3548" fmla="*/ 914229 w 11490376"/>
              <a:gd name="connsiteY3548" fmla="*/ 1494631 h 6593118"/>
              <a:gd name="connsiteX3549" fmla="*/ 928317 w 11490376"/>
              <a:gd name="connsiteY3549" fmla="*/ 1506384 h 6593118"/>
              <a:gd name="connsiteX3550" fmla="*/ 938141 w 11490376"/>
              <a:gd name="connsiteY3550" fmla="*/ 1553098 h 6593118"/>
              <a:gd name="connsiteX3551" fmla="*/ 970067 w 11490376"/>
              <a:gd name="connsiteY3551" fmla="*/ 1572766 h 6593118"/>
              <a:gd name="connsiteX3552" fmla="*/ 970590 w 11490376"/>
              <a:gd name="connsiteY3552" fmla="*/ 1571370 h 6593118"/>
              <a:gd name="connsiteX3553" fmla="*/ 941322 w 11490376"/>
              <a:gd name="connsiteY3553" fmla="*/ 1552549 h 6593118"/>
              <a:gd name="connsiteX3554" fmla="*/ 930378 w 11490376"/>
              <a:gd name="connsiteY3554" fmla="*/ 1506564 h 6593118"/>
              <a:gd name="connsiteX3555" fmla="*/ 5342435 w 11490376"/>
              <a:gd name="connsiteY3555" fmla="*/ 1436492 h 6593118"/>
              <a:gd name="connsiteX3556" fmla="*/ 5349879 w 11490376"/>
              <a:gd name="connsiteY3556" fmla="*/ 1477982 h 6593118"/>
              <a:gd name="connsiteX3557" fmla="*/ 5325068 w 11490376"/>
              <a:gd name="connsiteY3557" fmla="*/ 1477982 h 6593118"/>
              <a:gd name="connsiteX3558" fmla="*/ 5315144 w 11490376"/>
              <a:gd name="connsiteY3558" fmla="*/ 1457237 h 6593118"/>
              <a:gd name="connsiteX3559" fmla="*/ 6383464 w 11490376"/>
              <a:gd name="connsiteY3559" fmla="*/ 1311580 h 6593118"/>
              <a:gd name="connsiteX3560" fmla="*/ 6358328 w 11490376"/>
              <a:gd name="connsiteY3560" fmla="*/ 1332106 h 6593118"/>
              <a:gd name="connsiteX3561" fmla="*/ 6321475 w 11490376"/>
              <a:gd name="connsiteY3561" fmla="*/ 1371341 h 6593118"/>
              <a:gd name="connsiteX3562" fmla="*/ 6287080 w 11490376"/>
              <a:gd name="connsiteY3562" fmla="*/ 1413028 h 6593118"/>
              <a:gd name="connsiteX3563" fmla="*/ 6277252 w 11490376"/>
              <a:gd name="connsiteY3563" fmla="*/ 1447358 h 6593118"/>
              <a:gd name="connsiteX3564" fmla="*/ 6278778 w 11490376"/>
              <a:gd name="connsiteY3564" fmla="*/ 1459538 h 6593118"/>
              <a:gd name="connsiteX3565" fmla="*/ 6278299 w 11490376"/>
              <a:gd name="connsiteY3565" fmla="*/ 1451397 h 6593118"/>
              <a:gd name="connsiteX3566" fmla="*/ 6288123 w 11490376"/>
              <a:gd name="connsiteY3566" fmla="*/ 1419477 h 6593118"/>
              <a:gd name="connsiteX3567" fmla="*/ 6320047 w 11490376"/>
              <a:gd name="connsiteY3567" fmla="*/ 1377733 h 6593118"/>
              <a:gd name="connsiteX3568" fmla="*/ 6359340 w 11490376"/>
              <a:gd name="connsiteY3568" fmla="*/ 1338446 h 6593118"/>
              <a:gd name="connsiteX3569" fmla="*/ 6386354 w 11490376"/>
              <a:gd name="connsiteY3569" fmla="*/ 1313891 h 6593118"/>
              <a:gd name="connsiteX3570" fmla="*/ 2727822 w 11490376"/>
              <a:gd name="connsiteY3570" fmla="*/ 1213134 h 6593118"/>
              <a:gd name="connsiteX3571" fmla="*/ 2786599 w 11490376"/>
              <a:gd name="connsiteY3571" fmla="*/ 1233057 h 6593118"/>
              <a:gd name="connsiteX3572" fmla="*/ 2806191 w 11490376"/>
              <a:gd name="connsiteY3572" fmla="*/ 1270411 h 6593118"/>
              <a:gd name="connsiteX3573" fmla="*/ 2757212 w 11490376"/>
              <a:gd name="connsiteY3573" fmla="*/ 1290334 h 6593118"/>
              <a:gd name="connsiteX3574" fmla="*/ 2700885 w 11490376"/>
              <a:gd name="connsiteY3574" fmla="*/ 1337651 h 6593118"/>
              <a:gd name="connsiteX3575" fmla="*/ 2664152 w 11490376"/>
              <a:gd name="connsiteY3575" fmla="*/ 1290334 h 6593118"/>
              <a:gd name="connsiteX3576" fmla="*/ 2671497 w 11490376"/>
              <a:gd name="connsiteY3576" fmla="*/ 1238038 h 6593118"/>
              <a:gd name="connsiteX3577" fmla="*/ 4672624 w 11490376"/>
              <a:gd name="connsiteY3577" fmla="*/ 1116785 h 6593118"/>
              <a:gd name="connsiteX3578" fmla="*/ 4716472 w 11490376"/>
              <a:gd name="connsiteY3578" fmla="*/ 1153686 h 6593118"/>
              <a:gd name="connsiteX3579" fmla="*/ 4738396 w 11490376"/>
              <a:gd name="connsiteY3579" fmla="*/ 1124166 h 6593118"/>
              <a:gd name="connsiteX3580" fmla="*/ 4806606 w 11490376"/>
              <a:gd name="connsiteY3580" fmla="*/ 1146306 h 6593118"/>
              <a:gd name="connsiteX3581" fmla="*/ 4867506 w 11490376"/>
              <a:gd name="connsiteY3581" fmla="*/ 1126625 h 6593118"/>
              <a:gd name="connsiteX3582" fmla="*/ 4928406 w 11490376"/>
              <a:gd name="connsiteY3582" fmla="*/ 1126625 h 6593118"/>
              <a:gd name="connsiteX3583" fmla="*/ 4940587 w 11490376"/>
              <a:gd name="connsiteY3583" fmla="*/ 1183208 h 6593118"/>
              <a:gd name="connsiteX3584" fmla="*/ 4928406 w 11490376"/>
              <a:gd name="connsiteY3584" fmla="*/ 1234870 h 6593118"/>
              <a:gd name="connsiteX3585" fmla="*/ 4884556 w 11490376"/>
              <a:gd name="connsiteY3585" fmla="*/ 1264391 h 6593118"/>
              <a:gd name="connsiteX3586" fmla="*/ 4840711 w 11490376"/>
              <a:gd name="connsiteY3586" fmla="*/ 1264391 h 6593118"/>
              <a:gd name="connsiteX3587" fmla="*/ 4794429 w 11490376"/>
              <a:gd name="connsiteY3587" fmla="*/ 1313593 h 6593118"/>
              <a:gd name="connsiteX3588" fmla="*/ 4774935 w 11490376"/>
              <a:gd name="connsiteY3588" fmla="*/ 1291452 h 6593118"/>
              <a:gd name="connsiteX3589" fmla="*/ 4718910 w 11490376"/>
              <a:gd name="connsiteY3589" fmla="*/ 1264391 h 6593118"/>
              <a:gd name="connsiteX3590" fmla="*/ 4665316 w 11490376"/>
              <a:gd name="connsiteY3590" fmla="*/ 1276691 h 6593118"/>
              <a:gd name="connsiteX3591" fmla="*/ 4684806 w 11490376"/>
              <a:gd name="connsiteY3591" fmla="*/ 1244710 h 6593118"/>
              <a:gd name="connsiteX3592" fmla="*/ 4684806 w 11490376"/>
              <a:gd name="connsiteY3592" fmla="*/ 1195508 h 6593118"/>
              <a:gd name="connsiteX3593" fmla="*/ 4623904 w 11490376"/>
              <a:gd name="connsiteY3593" fmla="*/ 1207809 h 6593118"/>
              <a:gd name="connsiteX3594" fmla="*/ 4619033 w 11490376"/>
              <a:gd name="connsiteY3594" fmla="*/ 1178287 h 6593118"/>
              <a:gd name="connsiteX3595" fmla="*/ 6304495 w 11490376"/>
              <a:gd name="connsiteY3595" fmla="*/ 1106654 h 6593118"/>
              <a:gd name="connsiteX3596" fmla="*/ 6305891 w 11490376"/>
              <a:gd name="connsiteY3596" fmla="*/ 1123372 h 6593118"/>
              <a:gd name="connsiteX3597" fmla="*/ 6305313 w 11490376"/>
              <a:gd name="connsiteY3597" fmla="*/ 1110089 h 6593118"/>
              <a:gd name="connsiteX3598" fmla="*/ 3011491 w 11490376"/>
              <a:gd name="connsiteY3598" fmla="*/ 1051092 h 6593118"/>
              <a:gd name="connsiteX3599" fmla="*/ 3013922 w 11490376"/>
              <a:gd name="connsiteY3599" fmla="*/ 1053574 h 6593118"/>
              <a:gd name="connsiteX3600" fmla="*/ 3018786 w 11490376"/>
              <a:gd name="connsiteY3600" fmla="*/ 1053574 h 6593118"/>
              <a:gd name="connsiteX3601" fmla="*/ 3021218 w 11490376"/>
              <a:gd name="connsiteY3601" fmla="*/ 1056055 h 6593118"/>
              <a:gd name="connsiteX3602" fmla="*/ 3026082 w 11490376"/>
              <a:gd name="connsiteY3602" fmla="*/ 1056055 h 6593118"/>
              <a:gd name="connsiteX3603" fmla="*/ 3030947 w 11490376"/>
              <a:gd name="connsiteY3603" fmla="*/ 1058535 h 6593118"/>
              <a:gd name="connsiteX3604" fmla="*/ 3030947 w 11490376"/>
              <a:gd name="connsiteY3604" fmla="*/ 1061017 h 6593118"/>
              <a:gd name="connsiteX3605" fmla="*/ 3030947 w 11490376"/>
              <a:gd name="connsiteY3605" fmla="*/ 1063500 h 6593118"/>
              <a:gd name="connsiteX3606" fmla="*/ 3033378 w 11490376"/>
              <a:gd name="connsiteY3606" fmla="*/ 1068464 h 6593118"/>
              <a:gd name="connsiteX3607" fmla="*/ 3035811 w 11490376"/>
              <a:gd name="connsiteY3607" fmla="*/ 1068464 h 6593118"/>
              <a:gd name="connsiteX3608" fmla="*/ 3038242 w 11490376"/>
              <a:gd name="connsiteY3608" fmla="*/ 1075908 h 6593118"/>
              <a:gd name="connsiteX3609" fmla="*/ 3038242 w 11490376"/>
              <a:gd name="connsiteY3609" fmla="*/ 1078391 h 6593118"/>
              <a:gd name="connsiteX3610" fmla="*/ 3038242 w 11490376"/>
              <a:gd name="connsiteY3610" fmla="*/ 1080873 h 6593118"/>
              <a:gd name="connsiteX3611" fmla="*/ 3038242 w 11490376"/>
              <a:gd name="connsiteY3611" fmla="*/ 1085835 h 6593118"/>
              <a:gd name="connsiteX3612" fmla="*/ 3035811 w 11490376"/>
              <a:gd name="connsiteY3612" fmla="*/ 1093282 h 6593118"/>
              <a:gd name="connsiteX3613" fmla="*/ 3030947 w 11490376"/>
              <a:gd name="connsiteY3613" fmla="*/ 1095764 h 6593118"/>
              <a:gd name="connsiteX3614" fmla="*/ 3028515 w 11490376"/>
              <a:gd name="connsiteY3614" fmla="*/ 1100726 h 6593118"/>
              <a:gd name="connsiteX3615" fmla="*/ 3021218 w 11490376"/>
              <a:gd name="connsiteY3615" fmla="*/ 1105689 h 6593118"/>
              <a:gd name="connsiteX3616" fmla="*/ 3013922 w 11490376"/>
              <a:gd name="connsiteY3616" fmla="*/ 1110653 h 6593118"/>
              <a:gd name="connsiteX3617" fmla="*/ 3011491 w 11490376"/>
              <a:gd name="connsiteY3617" fmla="*/ 1113134 h 6593118"/>
              <a:gd name="connsiteX3618" fmla="*/ 3001761 w 11490376"/>
              <a:gd name="connsiteY3618" fmla="*/ 1118098 h 6593118"/>
              <a:gd name="connsiteX3619" fmla="*/ 2996897 w 11490376"/>
              <a:gd name="connsiteY3619" fmla="*/ 1120580 h 6593118"/>
              <a:gd name="connsiteX3620" fmla="*/ 2992032 w 11490376"/>
              <a:gd name="connsiteY3620" fmla="*/ 1120580 h 6593118"/>
              <a:gd name="connsiteX3621" fmla="*/ 2984735 w 11490376"/>
              <a:gd name="connsiteY3621" fmla="*/ 1123062 h 6593118"/>
              <a:gd name="connsiteX3622" fmla="*/ 2982303 w 11490376"/>
              <a:gd name="connsiteY3622" fmla="*/ 1123062 h 6593118"/>
              <a:gd name="connsiteX3623" fmla="*/ 2979871 w 11490376"/>
              <a:gd name="connsiteY3623" fmla="*/ 1123062 h 6593118"/>
              <a:gd name="connsiteX3624" fmla="*/ 2977438 w 11490376"/>
              <a:gd name="connsiteY3624" fmla="*/ 1120580 h 6593118"/>
              <a:gd name="connsiteX3625" fmla="*/ 2975007 w 11490376"/>
              <a:gd name="connsiteY3625" fmla="*/ 1120580 h 6593118"/>
              <a:gd name="connsiteX3626" fmla="*/ 2975007 w 11490376"/>
              <a:gd name="connsiteY3626" fmla="*/ 1118098 h 6593118"/>
              <a:gd name="connsiteX3627" fmla="*/ 2977438 w 11490376"/>
              <a:gd name="connsiteY3627" fmla="*/ 1113134 h 6593118"/>
              <a:gd name="connsiteX3628" fmla="*/ 2979871 w 11490376"/>
              <a:gd name="connsiteY3628" fmla="*/ 1110653 h 6593118"/>
              <a:gd name="connsiteX3629" fmla="*/ 2979871 w 11490376"/>
              <a:gd name="connsiteY3629" fmla="*/ 1105689 h 6593118"/>
              <a:gd name="connsiteX3630" fmla="*/ 2982303 w 11490376"/>
              <a:gd name="connsiteY3630" fmla="*/ 1100726 h 6593118"/>
              <a:gd name="connsiteX3631" fmla="*/ 2982303 w 11490376"/>
              <a:gd name="connsiteY3631" fmla="*/ 1095764 h 6593118"/>
              <a:gd name="connsiteX3632" fmla="*/ 2982303 w 11490376"/>
              <a:gd name="connsiteY3632" fmla="*/ 1093282 h 6593118"/>
              <a:gd name="connsiteX3633" fmla="*/ 2982303 w 11490376"/>
              <a:gd name="connsiteY3633" fmla="*/ 1085835 h 6593118"/>
              <a:gd name="connsiteX3634" fmla="*/ 2982303 w 11490376"/>
              <a:gd name="connsiteY3634" fmla="*/ 1080873 h 6593118"/>
              <a:gd name="connsiteX3635" fmla="*/ 2984735 w 11490376"/>
              <a:gd name="connsiteY3635" fmla="*/ 1078391 h 6593118"/>
              <a:gd name="connsiteX3636" fmla="*/ 2984735 w 11490376"/>
              <a:gd name="connsiteY3636" fmla="*/ 1075908 h 6593118"/>
              <a:gd name="connsiteX3637" fmla="*/ 2987169 w 11490376"/>
              <a:gd name="connsiteY3637" fmla="*/ 1068464 h 6593118"/>
              <a:gd name="connsiteX3638" fmla="*/ 2989601 w 11490376"/>
              <a:gd name="connsiteY3638" fmla="*/ 1068464 h 6593118"/>
              <a:gd name="connsiteX3639" fmla="*/ 2992032 w 11490376"/>
              <a:gd name="connsiteY3639" fmla="*/ 1063500 h 6593118"/>
              <a:gd name="connsiteX3640" fmla="*/ 2992032 w 11490376"/>
              <a:gd name="connsiteY3640" fmla="*/ 1061017 h 6593118"/>
              <a:gd name="connsiteX3641" fmla="*/ 2996897 w 11490376"/>
              <a:gd name="connsiteY3641" fmla="*/ 1058535 h 6593118"/>
              <a:gd name="connsiteX3642" fmla="*/ 2999328 w 11490376"/>
              <a:gd name="connsiteY3642" fmla="*/ 1056055 h 6593118"/>
              <a:gd name="connsiteX3643" fmla="*/ 3001761 w 11490376"/>
              <a:gd name="connsiteY3643" fmla="*/ 1056055 h 6593118"/>
              <a:gd name="connsiteX3644" fmla="*/ 3004195 w 11490376"/>
              <a:gd name="connsiteY3644" fmla="*/ 1053574 h 6593118"/>
              <a:gd name="connsiteX3645" fmla="*/ 3009059 w 11490376"/>
              <a:gd name="connsiteY3645" fmla="*/ 1053574 h 6593118"/>
              <a:gd name="connsiteX3646" fmla="*/ 5896901 w 11490376"/>
              <a:gd name="connsiteY3646" fmla="*/ 1036900 h 6593118"/>
              <a:gd name="connsiteX3647" fmla="*/ 5891976 w 11490376"/>
              <a:gd name="connsiteY3647" fmla="*/ 1068809 h 6593118"/>
              <a:gd name="connsiteX3648" fmla="*/ 5872275 w 11490376"/>
              <a:gd name="connsiteY3648" fmla="*/ 1078628 h 6593118"/>
              <a:gd name="connsiteX3649" fmla="*/ 5867349 w 11490376"/>
              <a:gd name="connsiteY3649" fmla="*/ 1110537 h 6593118"/>
              <a:gd name="connsiteX3650" fmla="*/ 5842720 w 11490376"/>
              <a:gd name="connsiteY3650" fmla="*/ 1110537 h 6593118"/>
              <a:gd name="connsiteX3651" fmla="*/ 5832870 w 11490376"/>
              <a:gd name="connsiteY3651" fmla="*/ 1139991 h 6593118"/>
              <a:gd name="connsiteX3652" fmla="*/ 5815630 w 11490376"/>
              <a:gd name="connsiteY3652" fmla="*/ 1149810 h 6593118"/>
              <a:gd name="connsiteX3653" fmla="*/ 5810705 w 11490376"/>
              <a:gd name="connsiteY3653" fmla="*/ 1193991 h 6593118"/>
              <a:gd name="connsiteX3654" fmla="*/ 5793465 w 11490376"/>
              <a:gd name="connsiteY3654" fmla="*/ 1228355 h 6593118"/>
              <a:gd name="connsiteX3655" fmla="*/ 5815630 w 11490376"/>
              <a:gd name="connsiteY3655" fmla="*/ 1245537 h 6593118"/>
              <a:gd name="connsiteX3656" fmla="*/ 5799733 w 11490376"/>
              <a:gd name="connsiteY3656" fmla="*/ 1256855 h 6593118"/>
              <a:gd name="connsiteX3657" fmla="*/ 5802931 w 11490376"/>
              <a:gd name="connsiteY3657" fmla="*/ 1257497 h 6593118"/>
              <a:gd name="connsiteX3658" fmla="*/ 5820058 w 11490376"/>
              <a:gd name="connsiteY3658" fmla="*/ 1245201 h 6593118"/>
              <a:gd name="connsiteX3659" fmla="*/ 5795591 w 11490376"/>
              <a:gd name="connsiteY3659" fmla="*/ 1227990 h 6593118"/>
              <a:gd name="connsiteX3660" fmla="*/ 5812718 w 11490376"/>
              <a:gd name="connsiteY3660" fmla="*/ 1193563 h 6593118"/>
              <a:gd name="connsiteX3661" fmla="*/ 5820058 w 11490376"/>
              <a:gd name="connsiteY3661" fmla="*/ 1149302 h 6593118"/>
              <a:gd name="connsiteX3662" fmla="*/ 5834738 w 11490376"/>
              <a:gd name="connsiteY3662" fmla="*/ 1139467 h 6593118"/>
              <a:gd name="connsiteX3663" fmla="*/ 5846970 w 11490376"/>
              <a:gd name="connsiteY3663" fmla="*/ 1112419 h 6593118"/>
              <a:gd name="connsiteX3664" fmla="*/ 5868990 w 11490376"/>
              <a:gd name="connsiteY3664" fmla="*/ 1112419 h 6593118"/>
              <a:gd name="connsiteX3665" fmla="*/ 5873884 w 11490376"/>
              <a:gd name="connsiteY3665" fmla="*/ 1077993 h 6593118"/>
              <a:gd name="connsiteX3666" fmla="*/ 5893457 w 11490376"/>
              <a:gd name="connsiteY3666" fmla="*/ 1068158 h 6593118"/>
              <a:gd name="connsiteX3667" fmla="*/ 5898169 w 11490376"/>
              <a:gd name="connsiteY3667" fmla="*/ 1037374 h 6593118"/>
              <a:gd name="connsiteX3668" fmla="*/ 5953545 w 11490376"/>
              <a:gd name="connsiteY3668" fmla="*/ 1014809 h 6593118"/>
              <a:gd name="connsiteX3669" fmla="*/ 5936306 w 11490376"/>
              <a:gd name="connsiteY3669" fmla="*/ 1031991 h 6593118"/>
              <a:gd name="connsiteX3670" fmla="*/ 5917797 w 11490376"/>
              <a:gd name="connsiteY3670" fmla="*/ 1043520 h 6593118"/>
              <a:gd name="connsiteX3671" fmla="*/ 5917924 w 11490376"/>
              <a:gd name="connsiteY3671" fmla="*/ 1043568 h 6593118"/>
              <a:gd name="connsiteX3672" fmla="*/ 5937498 w 11490376"/>
              <a:gd name="connsiteY3672" fmla="*/ 1033732 h 6593118"/>
              <a:gd name="connsiteX3673" fmla="*/ 5956325 w 11490376"/>
              <a:gd name="connsiteY3673" fmla="*/ 1014809 h 6593118"/>
              <a:gd name="connsiteX3674" fmla="*/ 6056275 w 11490376"/>
              <a:gd name="connsiteY3674" fmla="*/ 973847 h 6593118"/>
              <a:gd name="connsiteX3675" fmla="*/ 6081851 w 11490376"/>
              <a:gd name="connsiteY3675" fmla="*/ 1004226 h 6593118"/>
              <a:gd name="connsiteX3676" fmla="*/ 6108763 w 11490376"/>
              <a:gd name="connsiteY3676" fmla="*/ 1028814 h 6593118"/>
              <a:gd name="connsiteX3677" fmla="*/ 6111210 w 11490376"/>
              <a:gd name="connsiteY3677" fmla="*/ 1050945 h 6593118"/>
              <a:gd name="connsiteX3678" fmla="*/ 6116102 w 11490376"/>
              <a:gd name="connsiteY3678" fmla="*/ 1127139 h 6593118"/>
              <a:gd name="connsiteX3679" fmla="*/ 6117556 w 11490376"/>
              <a:gd name="connsiteY3679" fmla="*/ 1126123 h 6593118"/>
              <a:gd name="connsiteX3680" fmla="*/ 6112643 w 11490376"/>
              <a:gd name="connsiteY3680" fmla="*/ 1050104 h 6593118"/>
              <a:gd name="connsiteX3681" fmla="*/ 6110187 w 11490376"/>
              <a:gd name="connsiteY3681" fmla="*/ 1025582 h 6593118"/>
              <a:gd name="connsiteX3682" fmla="*/ 6083161 w 11490376"/>
              <a:gd name="connsiteY3682" fmla="*/ 1001062 h 6593118"/>
              <a:gd name="connsiteX3683" fmla="*/ 6058338 w 11490376"/>
              <a:gd name="connsiteY3683" fmla="*/ 974220 h 6593118"/>
              <a:gd name="connsiteX3684" fmla="*/ 6052055 w 11490376"/>
              <a:gd name="connsiteY3684" fmla="*/ 973082 h 6593118"/>
              <a:gd name="connsiteX3685" fmla="*/ 6032352 w 11490376"/>
              <a:gd name="connsiteY3685" fmla="*/ 990263 h 6593118"/>
              <a:gd name="connsiteX3686" fmla="*/ 6013253 w 11490376"/>
              <a:gd name="connsiteY3686" fmla="*/ 1014061 h 6593118"/>
              <a:gd name="connsiteX3687" fmla="*/ 6013344 w 11490376"/>
              <a:gd name="connsiteY3687" fmla="*/ 1014061 h 6593118"/>
              <a:gd name="connsiteX3688" fmla="*/ 6032917 w 11490376"/>
              <a:gd name="connsiteY3688" fmla="*/ 991930 h 6593118"/>
              <a:gd name="connsiteX3689" fmla="*/ 6053685 w 11490376"/>
              <a:gd name="connsiteY3689" fmla="*/ 973377 h 6593118"/>
              <a:gd name="connsiteX3690" fmla="*/ 2955159 w 11490376"/>
              <a:gd name="connsiteY3690" fmla="*/ 952552 h 6593118"/>
              <a:gd name="connsiteX3691" fmla="*/ 2957641 w 11490376"/>
              <a:gd name="connsiteY3691" fmla="*/ 954952 h 6593118"/>
              <a:gd name="connsiteX3692" fmla="*/ 2960123 w 11490376"/>
              <a:gd name="connsiteY3692" fmla="*/ 954952 h 6593118"/>
              <a:gd name="connsiteX3693" fmla="*/ 2965085 w 11490376"/>
              <a:gd name="connsiteY3693" fmla="*/ 957355 h 6593118"/>
              <a:gd name="connsiteX3694" fmla="*/ 2965085 w 11490376"/>
              <a:gd name="connsiteY3694" fmla="*/ 959757 h 6593118"/>
              <a:gd name="connsiteX3695" fmla="*/ 2967565 w 11490376"/>
              <a:gd name="connsiteY3695" fmla="*/ 962158 h 6593118"/>
              <a:gd name="connsiteX3696" fmla="*/ 2970047 w 11490376"/>
              <a:gd name="connsiteY3696" fmla="*/ 966961 h 6593118"/>
              <a:gd name="connsiteX3697" fmla="*/ 2970047 w 11490376"/>
              <a:gd name="connsiteY3697" fmla="*/ 969364 h 6593118"/>
              <a:gd name="connsiteX3698" fmla="*/ 2972526 w 11490376"/>
              <a:gd name="connsiteY3698" fmla="*/ 976568 h 6593118"/>
              <a:gd name="connsiteX3699" fmla="*/ 2972526 w 11490376"/>
              <a:gd name="connsiteY3699" fmla="*/ 978971 h 6593118"/>
              <a:gd name="connsiteX3700" fmla="*/ 2972526 w 11490376"/>
              <a:gd name="connsiteY3700" fmla="*/ 983773 h 6593118"/>
              <a:gd name="connsiteX3701" fmla="*/ 2972526 w 11490376"/>
              <a:gd name="connsiteY3701" fmla="*/ 986175 h 6593118"/>
              <a:gd name="connsiteX3702" fmla="*/ 2972526 w 11490376"/>
              <a:gd name="connsiteY3702" fmla="*/ 993379 h 6593118"/>
              <a:gd name="connsiteX3703" fmla="*/ 2972526 w 11490376"/>
              <a:gd name="connsiteY3703" fmla="*/ 998185 h 6593118"/>
              <a:gd name="connsiteX3704" fmla="*/ 2972526 w 11490376"/>
              <a:gd name="connsiteY3704" fmla="*/ 1000585 h 6593118"/>
              <a:gd name="connsiteX3705" fmla="*/ 2970047 w 11490376"/>
              <a:gd name="connsiteY3705" fmla="*/ 1005389 h 6593118"/>
              <a:gd name="connsiteX3706" fmla="*/ 2970047 w 11490376"/>
              <a:gd name="connsiteY3706" fmla="*/ 1010192 h 6593118"/>
              <a:gd name="connsiteX3707" fmla="*/ 2967565 w 11490376"/>
              <a:gd name="connsiteY3707" fmla="*/ 1014995 h 6593118"/>
              <a:gd name="connsiteX3708" fmla="*/ 2965085 w 11490376"/>
              <a:gd name="connsiteY3708" fmla="*/ 1017397 h 6593118"/>
              <a:gd name="connsiteX3709" fmla="*/ 2965085 w 11490376"/>
              <a:gd name="connsiteY3709" fmla="*/ 1022200 h 6593118"/>
              <a:gd name="connsiteX3710" fmla="*/ 2960123 w 11490376"/>
              <a:gd name="connsiteY3710" fmla="*/ 1024602 h 6593118"/>
              <a:gd name="connsiteX3711" fmla="*/ 2957641 w 11490376"/>
              <a:gd name="connsiteY3711" fmla="*/ 1024602 h 6593118"/>
              <a:gd name="connsiteX3712" fmla="*/ 2955159 w 11490376"/>
              <a:gd name="connsiteY3712" fmla="*/ 1024602 h 6593118"/>
              <a:gd name="connsiteX3713" fmla="*/ 2952679 w 11490376"/>
              <a:gd name="connsiteY3713" fmla="*/ 1024602 h 6593118"/>
              <a:gd name="connsiteX3714" fmla="*/ 2947718 w 11490376"/>
              <a:gd name="connsiteY3714" fmla="*/ 1022200 h 6593118"/>
              <a:gd name="connsiteX3715" fmla="*/ 2947718 w 11490376"/>
              <a:gd name="connsiteY3715" fmla="*/ 1017397 h 6593118"/>
              <a:gd name="connsiteX3716" fmla="*/ 2945237 w 11490376"/>
              <a:gd name="connsiteY3716" fmla="*/ 1014995 h 6593118"/>
              <a:gd name="connsiteX3717" fmla="*/ 2942757 w 11490376"/>
              <a:gd name="connsiteY3717" fmla="*/ 1014995 h 6593118"/>
              <a:gd name="connsiteX3718" fmla="*/ 2942757 w 11490376"/>
              <a:gd name="connsiteY3718" fmla="*/ 1010192 h 6593118"/>
              <a:gd name="connsiteX3719" fmla="*/ 2942757 w 11490376"/>
              <a:gd name="connsiteY3719" fmla="*/ 1005389 h 6593118"/>
              <a:gd name="connsiteX3720" fmla="*/ 2940275 w 11490376"/>
              <a:gd name="connsiteY3720" fmla="*/ 1000585 h 6593118"/>
              <a:gd name="connsiteX3721" fmla="*/ 2940275 w 11490376"/>
              <a:gd name="connsiteY3721" fmla="*/ 998185 h 6593118"/>
              <a:gd name="connsiteX3722" fmla="*/ 2940275 w 11490376"/>
              <a:gd name="connsiteY3722" fmla="*/ 993379 h 6593118"/>
              <a:gd name="connsiteX3723" fmla="*/ 2937793 w 11490376"/>
              <a:gd name="connsiteY3723" fmla="*/ 986175 h 6593118"/>
              <a:gd name="connsiteX3724" fmla="*/ 2940275 w 11490376"/>
              <a:gd name="connsiteY3724" fmla="*/ 983773 h 6593118"/>
              <a:gd name="connsiteX3725" fmla="*/ 2940275 w 11490376"/>
              <a:gd name="connsiteY3725" fmla="*/ 978971 h 6593118"/>
              <a:gd name="connsiteX3726" fmla="*/ 2940275 w 11490376"/>
              <a:gd name="connsiteY3726" fmla="*/ 976568 h 6593118"/>
              <a:gd name="connsiteX3727" fmla="*/ 2942757 w 11490376"/>
              <a:gd name="connsiteY3727" fmla="*/ 969364 h 6593118"/>
              <a:gd name="connsiteX3728" fmla="*/ 2942757 w 11490376"/>
              <a:gd name="connsiteY3728" fmla="*/ 966961 h 6593118"/>
              <a:gd name="connsiteX3729" fmla="*/ 2942757 w 11490376"/>
              <a:gd name="connsiteY3729" fmla="*/ 962158 h 6593118"/>
              <a:gd name="connsiteX3730" fmla="*/ 2945237 w 11490376"/>
              <a:gd name="connsiteY3730" fmla="*/ 962158 h 6593118"/>
              <a:gd name="connsiteX3731" fmla="*/ 2947718 w 11490376"/>
              <a:gd name="connsiteY3731" fmla="*/ 959757 h 6593118"/>
              <a:gd name="connsiteX3732" fmla="*/ 2947718 w 11490376"/>
              <a:gd name="connsiteY3732" fmla="*/ 957355 h 6593118"/>
              <a:gd name="connsiteX3733" fmla="*/ 2952679 w 11490376"/>
              <a:gd name="connsiteY3733" fmla="*/ 954952 h 6593118"/>
              <a:gd name="connsiteX3734" fmla="*/ 2955159 w 11490376"/>
              <a:gd name="connsiteY3734" fmla="*/ 954952 h 6593118"/>
              <a:gd name="connsiteX3735" fmla="*/ 5826668 w 11490376"/>
              <a:gd name="connsiteY3735" fmla="*/ 943793 h 6593118"/>
              <a:gd name="connsiteX3736" fmla="*/ 5853423 w 11490376"/>
              <a:gd name="connsiteY3736" fmla="*/ 943793 h 6593118"/>
              <a:gd name="connsiteX3737" fmla="*/ 5841262 w 11490376"/>
              <a:gd name="connsiteY3737" fmla="*/ 980745 h 6593118"/>
              <a:gd name="connsiteX3738" fmla="*/ 5812072 w 11490376"/>
              <a:gd name="connsiteY3738" fmla="*/ 970892 h 6593118"/>
              <a:gd name="connsiteX3739" fmla="*/ 3720155 w 11490376"/>
              <a:gd name="connsiteY3739" fmla="*/ 935035 h 6593118"/>
              <a:gd name="connsiteX3740" fmla="*/ 3782486 w 11490376"/>
              <a:gd name="connsiteY3740" fmla="*/ 959364 h 6593118"/>
              <a:gd name="connsiteX3741" fmla="*/ 3737608 w 11490376"/>
              <a:gd name="connsiteY3741" fmla="*/ 976398 h 6593118"/>
              <a:gd name="connsiteX3742" fmla="*/ 3695224 w 11490376"/>
              <a:gd name="connsiteY3742" fmla="*/ 976398 h 6593118"/>
              <a:gd name="connsiteX3743" fmla="*/ 6881313 w 11490376"/>
              <a:gd name="connsiteY3743" fmla="*/ 921894 h 6593118"/>
              <a:gd name="connsiteX3744" fmla="*/ 6908535 w 11490376"/>
              <a:gd name="connsiteY3744" fmla="*/ 943967 h 6593118"/>
              <a:gd name="connsiteX3745" fmla="*/ 6888738 w 11490376"/>
              <a:gd name="connsiteY3745" fmla="*/ 975850 h 6593118"/>
              <a:gd name="connsiteX3746" fmla="*/ 6866466 w 11490376"/>
              <a:gd name="connsiteY3746" fmla="*/ 980755 h 6593118"/>
              <a:gd name="connsiteX3747" fmla="*/ 6854092 w 11490376"/>
              <a:gd name="connsiteY3747" fmla="*/ 951325 h 6593118"/>
              <a:gd name="connsiteX3748" fmla="*/ 2377167 w 11490376"/>
              <a:gd name="connsiteY3748" fmla="*/ 921894 h 6593118"/>
              <a:gd name="connsiteX3749" fmla="*/ 2427516 w 11490376"/>
              <a:gd name="connsiteY3749" fmla="*/ 973629 h 6593118"/>
              <a:gd name="connsiteX3750" fmla="*/ 2389156 w 11490376"/>
              <a:gd name="connsiteY3750" fmla="*/ 998263 h 6593118"/>
              <a:gd name="connsiteX3751" fmla="*/ 2329214 w 11490376"/>
              <a:gd name="connsiteY3751" fmla="*/ 990873 h 6593118"/>
              <a:gd name="connsiteX3752" fmla="*/ 2341201 w 11490376"/>
              <a:gd name="connsiteY3752" fmla="*/ 946531 h 6593118"/>
              <a:gd name="connsiteX3753" fmla="*/ 5980198 w 11490376"/>
              <a:gd name="connsiteY3753" fmla="*/ 915326 h 6593118"/>
              <a:gd name="connsiteX3754" fmla="*/ 5961809 w 11490376"/>
              <a:gd name="connsiteY3754" fmla="*/ 945826 h 6593118"/>
              <a:gd name="connsiteX3755" fmla="*/ 5943420 w 11490376"/>
              <a:gd name="connsiteY3755" fmla="*/ 924710 h 6593118"/>
              <a:gd name="connsiteX3756" fmla="*/ 6199864 w 11490376"/>
              <a:gd name="connsiteY3756" fmla="*/ 914128 h 6593118"/>
              <a:gd name="connsiteX3757" fmla="*/ 6199820 w 11490376"/>
              <a:gd name="connsiteY3757" fmla="*/ 914172 h 6593118"/>
              <a:gd name="connsiteX3758" fmla="*/ 6175193 w 11490376"/>
              <a:gd name="connsiteY3758" fmla="*/ 941174 h 6593118"/>
              <a:gd name="connsiteX3759" fmla="*/ 6171354 w 11490376"/>
              <a:gd name="connsiteY3759" fmla="*/ 952650 h 6593118"/>
              <a:gd name="connsiteX3760" fmla="*/ 6176522 w 11490376"/>
              <a:gd name="connsiteY3760" fmla="*/ 939757 h 6593118"/>
              <a:gd name="connsiteX3761" fmla="*/ 5882125 w 11490376"/>
              <a:gd name="connsiteY3761" fmla="*/ 910946 h 6593118"/>
              <a:gd name="connsiteX3762" fmla="*/ 5916604 w 11490376"/>
              <a:gd name="connsiteY3762" fmla="*/ 910946 h 6593118"/>
              <a:gd name="connsiteX3763" fmla="*/ 5919067 w 11490376"/>
              <a:gd name="connsiteY3763" fmla="*/ 937953 h 6593118"/>
              <a:gd name="connsiteX3764" fmla="*/ 5919067 w 11490376"/>
              <a:gd name="connsiteY3764" fmla="*/ 960049 h 6593118"/>
              <a:gd name="connsiteX3765" fmla="*/ 5911679 w 11490376"/>
              <a:gd name="connsiteY3765" fmla="*/ 989512 h 6593118"/>
              <a:gd name="connsiteX3766" fmla="*/ 5904291 w 11490376"/>
              <a:gd name="connsiteY3766" fmla="*/ 950229 h 6593118"/>
              <a:gd name="connsiteX3767" fmla="*/ 5887051 w 11490376"/>
              <a:gd name="connsiteY3767" fmla="*/ 942863 h 6593118"/>
              <a:gd name="connsiteX3768" fmla="*/ 7161830 w 11490376"/>
              <a:gd name="connsiteY3768" fmla="*/ 867150 h 6593118"/>
              <a:gd name="connsiteX3769" fmla="*/ 7196192 w 11490376"/>
              <a:gd name="connsiteY3769" fmla="*/ 877455 h 6593118"/>
              <a:gd name="connsiteX3770" fmla="*/ 7208465 w 11490376"/>
              <a:gd name="connsiteY3770" fmla="*/ 908369 h 6593118"/>
              <a:gd name="connsiteX3771" fmla="*/ 7152012 w 11490376"/>
              <a:gd name="connsiteY3771" fmla="*/ 903218 h 6593118"/>
              <a:gd name="connsiteX3772" fmla="*/ 7129922 w 11490376"/>
              <a:gd name="connsiteY3772" fmla="*/ 898064 h 6593118"/>
              <a:gd name="connsiteX3773" fmla="*/ 2534992 w 11490376"/>
              <a:gd name="connsiteY3773" fmla="*/ 843064 h 6593118"/>
              <a:gd name="connsiteX3774" fmla="*/ 2583152 w 11490376"/>
              <a:gd name="connsiteY3774" fmla="*/ 884669 h 6593118"/>
              <a:gd name="connsiteX3775" fmla="*/ 2567828 w 11490376"/>
              <a:gd name="connsiteY3775" fmla="*/ 924085 h 6593118"/>
              <a:gd name="connsiteX3776" fmla="*/ 2576589 w 11490376"/>
              <a:gd name="connsiteY3776" fmla="*/ 959121 h 6593118"/>
              <a:gd name="connsiteX3777" fmla="*/ 2605046 w 11490376"/>
              <a:gd name="connsiteY3777" fmla="*/ 985398 h 6593118"/>
              <a:gd name="connsiteX3778" fmla="*/ 2622559 w 11490376"/>
              <a:gd name="connsiteY3778" fmla="*/ 1035762 h 6593118"/>
              <a:gd name="connsiteX3779" fmla="*/ 2661961 w 11490376"/>
              <a:gd name="connsiteY3779" fmla="*/ 985398 h 6593118"/>
              <a:gd name="connsiteX3780" fmla="*/ 2683853 w 11490376"/>
              <a:gd name="connsiteY3780" fmla="*/ 1029193 h 6593118"/>
              <a:gd name="connsiteX3781" fmla="*/ 2681663 w 11490376"/>
              <a:gd name="connsiteY3781" fmla="*/ 1099266 h 6593118"/>
              <a:gd name="connsiteX3782" fmla="*/ 2710122 w 11490376"/>
              <a:gd name="connsiteY3782" fmla="*/ 1099266 h 6593118"/>
              <a:gd name="connsiteX3783" fmla="*/ 2723259 w 11490376"/>
              <a:gd name="connsiteY3783" fmla="*/ 1059850 h 6593118"/>
              <a:gd name="connsiteX3784" fmla="*/ 2767046 w 11490376"/>
              <a:gd name="connsiteY3784" fmla="*/ 1016056 h 6593118"/>
              <a:gd name="connsiteX3785" fmla="*/ 2784557 w 11490376"/>
              <a:gd name="connsiteY3785" fmla="*/ 959121 h 6593118"/>
              <a:gd name="connsiteX3786" fmla="*/ 2863369 w 11490376"/>
              <a:gd name="connsiteY3786" fmla="*/ 967880 h 6593118"/>
              <a:gd name="connsiteX3787" fmla="*/ 2883070 w 11490376"/>
              <a:gd name="connsiteY3787" fmla="*/ 1024814 h 6593118"/>
              <a:gd name="connsiteX3788" fmla="*/ 2850236 w 11490376"/>
              <a:gd name="connsiteY3788" fmla="*/ 1040143 h 6593118"/>
              <a:gd name="connsiteX3789" fmla="*/ 2867746 w 11490376"/>
              <a:gd name="connsiteY3789" fmla="*/ 1112405 h 6593118"/>
              <a:gd name="connsiteX3790" fmla="*/ 2767046 w 11490376"/>
              <a:gd name="connsiteY3790" fmla="*/ 1162771 h 6593118"/>
              <a:gd name="connsiteX3791" fmla="*/ 2753908 w 11490376"/>
              <a:gd name="connsiteY3791" fmla="*/ 1140871 h 6593118"/>
              <a:gd name="connsiteX3792" fmla="*/ 2701367 w 11490376"/>
              <a:gd name="connsiteY3792" fmla="*/ 1143062 h 6593118"/>
              <a:gd name="connsiteX3793" fmla="*/ 2694797 w 11490376"/>
              <a:gd name="connsiteY3793" fmla="*/ 1184668 h 6593118"/>
              <a:gd name="connsiteX3794" fmla="*/ 2633506 w 11490376"/>
              <a:gd name="connsiteY3794" fmla="*/ 1184668 h 6593118"/>
              <a:gd name="connsiteX3795" fmla="*/ 2615992 w 11490376"/>
              <a:gd name="connsiteY3795" fmla="*/ 1167149 h 6593118"/>
              <a:gd name="connsiteX3796" fmla="*/ 2587530 w 11490376"/>
              <a:gd name="connsiteY3796" fmla="*/ 1169340 h 6593118"/>
              <a:gd name="connsiteX3797" fmla="*/ 2589722 w 11490376"/>
              <a:gd name="connsiteY3797" fmla="*/ 1193426 h 6593118"/>
              <a:gd name="connsiteX3798" fmla="*/ 2648829 w 11490376"/>
              <a:gd name="connsiteY3798" fmla="*/ 1217514 h 6593118"/>
              <a:gd name="connsiteX3799" fmla="*/ 2633506 w 11490376"/>
              <a:gd name="connsiteY3799" fmla="*/ 1270069 h 6593118"/>
              <a:gd name="connsiteX3800" fmla="*/ 2602856 w 11490376"/>
              <a:gd name="connsiteY3800" fmla="*/ 1291966 h 6593118"/>
              <a:gd name="connsiteX3801" fmla="*/ 2554696 w 11490376"/>
              <a:gd name="connsiteY3801" fmla="*/ 1298535 h 6593118"/>
              <a:gd name="connsiteX3802" fmla="*/ 2526237 w 11490376"/>
              <a:gd name="connsiteY3802" fmla="*/ 1342330 h 6593118"/>
              <a:gd name="connsiteX3803" fmla="*/ 2460561 w 11490376"/>
              <a:gd name="connsiteY3803" fmla="*/ 1392696 h 6593118"/>
              <a:gd name="connsiteX3804" fmla="*/ 2403644 w 11490376"/>
              <a:gd name="connsiteY3804" fmla="*/ 1443061 h 6593118"/>
              <a:gd name="connsiteX3805" fmla="*/ 2357670 w 11490376"/>
              <a:gd name="connsiteY3805" fmla="*/ 1513133 h 6593118"/>
              <a:gd name="connsiteX3806" fmla="*/ 2355482 w 11490376"/>
              <a:gd name="connsiteY3806" fmla="*/ 1565688 h 6593118"/>
              <a:gd name="connsiteX3807" fmla="*/ 2397076 w 11490376"/>
              <a:gd name="connsiteY3807" fmla="*/ 1572257 h 6593118"/>
              <a:gd name="connsiteX3808" fmla="*/ 2418968 w 11490376"/>
              <a:gd name="connsiteY3808" fmla="*/ 1662037 h 6593118"/>
              <a:gd name="connsiteX3809" fmla="*/ 2515290 w 11490376"/>
              <a:gd name="connsiteY3809" fmla="*/ 1672986 h 6593118"/>
              <a:gd name="connsiteX3810" fmla="*/ 2576589 w 11490376"/>
              <a:gd name="connsiteY3810" fmla="*/ 1732110 h 6593118"/>
              <a:gd name="connsiteX3811" fmla="*/ 2615992 w 11490376"/>
              <a:gd name="connsiteY3811" fmla="*/ 1736489 h 6593118"/>
              <a:gd name="connsiteX3812" fmla="*/ 2648829 w 11490376"/>
              <a:gd name="connsiteY3812" fmla="*/ 1775905 h 6593118"/>
              <a:gd name="connsiteX3813" fmla="*/ 2714502 w 11490376"/>
              <a:gd name="connsiteY3813" fmla="*/ 1771526 h 6593118"/>
              <a:gd name="connsiteX3814" fmla="*/ 2707935 w 11490376"/>
              <a:gd name="connsiteY3814" fmla="*/ 1848168 h 6593118"/>
              <a:gd name="connsiteX3815" fmla="*/ 2701367 w 11490376"/>
              <a:gd name="connsiteY3815" fmla="*/ 1913861 h 6593118"/>
              <a:gd name="connsiteX3816" fmla="*/ 2725449 w 11490376"/>
              <a:gd name="connsiteY3816" fmla="*/ 1964227 h 6593118"/>
              <a:gd name="connsiteX3817" fmla="*/ 2753908 w 11490376"/>
              <a:gd name="connsiteY3817" fmla="*/ 1966416 h 6593118"/>
              <a:gd name="connsiteX3818" fmla="*/ 2777993 w 11490376"/>
              <a:gd name="connsiteY3818" fmla="*/ 1940139 h 6593118"/>
              <a:gd name="connsiteX3819" fmla="*/ 2804261 w 11490376"/>
              <a:gd name="connsiteY3819" fmla="*/ 1964227 h 6593118"/>
              <a:gd name="connsiteX3820" fmla="*/ 2815205 w 11490376"/>
              <a:gd name="connsiteY3820" fmla="*/ 1935760 h 6593118"/>
              <a:gd name="connsiteX3821" fmla="*/ 2830532 w 11490376"/>
              <a:gd name="connsiteY3821" fmla="*/ 1856928 h 6593118"/>
              <a:gd name="connsiteX3822" fmla="*/ 2828343 w 11490376"/>
              <a:gd name="connsiteY3822" fmla="*/ 1828460 h 6593118"/>
              <a:gd name="connsiteX3823" fmla="*/ 2834912 w 11490376"/>
              <a:gd name="connsiteY3823" fmla="*/ 1775905 h 6593118"/>
              <a:gd name="connsiteX3824" fmla="*/ 2885258 w 11490376"/>
              <a:gd name="connsiteY3824" fmla="*/ 1749629 h 6593118"/>
              <a:gd name="connsiteX3825" fmla="*/ 2887449 w 11490376"/>
              <a:gd name="connsiteY3825" fmla="*/ 1747439 h 6593118"/>
              <a:gd name="connsiteX3826" fmla="*/ 2889636 w 11490376"/>
              <a:gd name="connsiteY3826" fmla="*/ 1738680 h 6593118"/>
              <a:gd name="connsiteX3827" fmla="*/ 2889636 w 11490376"/>
              <a:gd name="connsiteY3827" fmla="*/ 1725541 h 6593118"/>
              <a:gd name="connsiteX3828" fmla="*/ 2891825 w 11490376"/>
              <a:gd name="connsiteY3828" fmla="*/ 1708023 h 6593118"/>
              <a:gd name="connsiteX3829" fmla="*/ 2896204 w 11490376"/>
              <a:gd name="connsiteY3829" fmla="*/ 1690505 h 6593118"/>
              <a:gd name="connsiteX3830" fmla="*/ 2896204 w 11490376"/>
              <a:gd name="connsiteY3830" fmla="*/ 1668608 h 6593118"/>
              <a:gd name="connsiteX3831" fmla="*/ 2896204 w 11490376"/>
              <a:gd name="connsiteY3831" fmla="*/ 1648900 h 6593118"/>
              <a:gd name="connsiteX3832" fmla="*/ 2891825 w 11490376"/>
              <a:gd name="connsiteY3832" fmla="*/ 1627001 h 6593118"/>
              <a:gd name="connsiteX3833" fmla="*/ 2889636 w 11490376"/>
              <a:gd name="connsiteY3833" fmla="*/ 1609484 h 6593118"/>
              <a:gd name="connsiteX3834" fmla="*/ 2885258 w 11490376"/>
              <a:gd name="connsiteY3834" fmla="*/ 1591965 h 6593118"/>
              <a:gd name="connsiteX3835" fmla="*/ 2876503 w 11490376"/>
              <a:gd name="connsiteY3835" fmla="*/ 1581016 h 6593118"/>
              <a:gd name="connsiteX3836" fmla="*/ 2867746 w 11490376"/>
              <a:gd name="connsiteY3836" fmla="*/ 1570068 h 6593118"/>
              <a:gd name="connsiteX3837" fmla="*/ 2902770 w 11490376"/>
              <a:gd name="connsiteY3837" fmla="*/ 1554738 h 6593118"/>
              <a:gd name="connsiteX3838" fmla="*/ 2911528 w 11490376"/>
              <a:gd name="connsiteY3838" fmla="*/ 1486856 h 6593118"/>
              <a:gd name="connsiteX3839" fmla="*/ 2904959 w 11490376"/>
              <a:gd name="connsiteY3839" fmla="*/ 1462768 h 6593118"/>
              <a:gd name="connsiteX3840" fmla="*/ 2911528 w 11490376"/>
              <a:gd name="connsiteY3840" fmla="*/ 1405834 h 6593118"/>
              <a:gd name="connsiteX3841" fmla="*/ 2948740 w 11490376"/>
              <a:gd name="connsiteY3841" fmla="*/ 1351090 h 6593118"/>
              <a:gd name="connsiteX3842" fmla="*/ 3005652 w 11490376"/>
              <a:gd name="connsiteY3842" fmla="*/ 1381746 h 6593118"/>
              <a:gd name="connsiteX3843" fmla="*/ 3082267 w 11490376"/>
              <a:gd name="connsiteY3843" fmla="*/ 1381746 h 6593118"/>
              <a:gd name="connsiteX3844" fmla="*/ 3110724 w 11490376"/>
              <a:gd name="connsiteY3844" fmla="*/ 1410213 h 6593118"/>
              <a:gd name="connsiteX3845" fmla="*/ 3145751 w 11490376"/>
              <a:gd name="connsiteY3845" fmla="*/ 1445250 h 6593118"/>
              <a:gd name="connsiteX3846" fmla="*/ 3191727 w 11490376"/>
              <a:gd name="connsiteY3846" fmla="*/ 1462768 h 6593118"/>
              <a:gd name="connsiteX3847" fmla="*/ 3172022 w 11490376"/>
              <a:gd name="connsiteY3847" fmla="*/ 1489045 h 6593118"/>
              <a:gd name="connsiteX3848" fmla="*/ 3174211 w 11490376"/>
              <a:gd name="connsiteY3848" fmla="*/ 1587585 h 6593118"/>
              <a:gd name="connsiteX3849" fmla="*/ 3228941 w 11490376"/>
              <a:gd name="connsiteY3849" fmla="*/ 1602913 h 6593118"/>
              <a:gd name="connsiteX3850" fmla="*/ 3283669 w 11490376"/>
              <a:gd name="connsiteY3850" fmla="*/ 1583205 h 6593118"/>
              <a:gd name="connsiteX3851" fmla="*/ 3303370 w 11490376"/>
              <a:gd name="connsiteY3851" fmla="*/ 1552549 h 6593118"/>
              <a:gd name="connsiteX3852" fmla="*/ 3334018 w 11490376"/>
              <a:gd name="connsiteY3852" fmla="*/ 1502184 h 6593118"/>
              <a:gd name="connsiteX3853" fmla="*/ 3351530 w 11490376"/>
              <a:gd name="connsiteY3853" fmla="*/ 1528461 h 6593118"/>
              <a:gd name="connsiteX3854" fmla="*/ 3362477 w 11490376"/>
              <a:gd name="connsiteY3854" fmla="*/ 1576637 h 6593118"/>
              <a:gd name="connsiteX3855" fmla="*/ 3390935 w 11490376"/>
              <a:gd name="connsiteY3855" fmla="*/ 1576637 h 6593118"/>
              <a:gd name="connsiteX3856" fmla="*/ 3397502 w 11490376"/>
              <a:gd name="connsiteY3856" fmla="*/ 1640140 h 6593118"/>
              <a:gd name="connsiteX3857" fmla="*/ 3417206 w 11490376"/>
              <a:gd name="connsiteY3857" fmla="*/ 1635761 h 6593118"/>
              <a:gd name="connsiteX3858" fmla="*/ 3417206 w 11490376"/>
              <a:gd name="connsiteY3858" fmla="*/ 1664228 h 6593118"/>
              <a:gd name="connsiteX3859" fmla="*/ 3397502 w 11490376"/>
              <a:gd name="connsiteY3859" fmla="*/ 1675176 h 6593118"/>
              <a:gd name="connsiteX3860" fmla="*/ 3401882 w 11490376"/>
              <a:gd name="connsiteY3860" fmla="*/ 1701453 h 6593118"/>
              <a:gd name="connsiteX3861" fmla="*/ 3425961 w 11490376"/>
              <a:gd name="connsiteY3861" fmla="*/ 1705833 h 6593118"/>
              <a:gd name="connsiteX3862" fmla="*/ 3436907 w 11490376"/>
              <a:gd name="connsiteY3862" fmla="*/ 1764957 h 6593118"/>
              <a:gd name="connsiteX3863" fmla="*/ 3485069 w 11490376"/>
              <a:gd name="connsiteY3863" fmla="*/ 1758388 h 6593118"/>
              <a:gd name="connsiteX3864" fmla="*/ 3480690 w 11490376"/>
              <a:gd name="connsiteY3864" fmla="*/ 1784665 h 6593118"/>
              <a:gd name="connsiteX3865" fmla="*/ 3515716 w 11490376"/>
              <a:gd name="connsiteY3865" fmla="*/ 1775905 h 6593118"/>
              <a:gd name="connsiteX3866" fmla="*/ 3491635 w 11490376"/>
              <a:gd name="connsiteY3866" fmla="*/ 1810942 h 6593118"/>
              <a:gd name="connsiteX3867" fmla="*/ 3480690 w 11490376"/>
              <a:gd name="connsiteY3867" fmla="*/ 1835029 h 6593118"/>
              <a:gd name="connsiteX3868" fmla="*/ 3432530 w 11490376"/>
              <a:gd name="connsiteY3868" fmla="*/ 1848168 h 6593118"/>
              <a:gd name="connsiteX3869" fmla="*/ 3452229 w 11490376"/>
              <a:gd name="connsiteY3869" fmla="*/ 1856928 h 6593118"/>
              <a:gd name="connsiteX3870" fmla="*/ 3491635 w 11490376"/>
              <a:gd name="connsiteY3870" fmla="*/ 1848168 h 6593118"/>
              <a:gd name="connsiteX3871" fmla="*/ 3526660 w 11490376"/>
              <a:gd name="connsiteY3871" fmla="*/ 1828460 h 6593118"/>
              <a:gd name="connsiteX3872" fmla="*/ 3557310 w 11490376"/>
              <a:gd name="connsiteY3872" fmla="*/ 1830649 h 6593118"/>
              <a:gd name="connsiteX3873" fmla="*/ 3563876 w 11490376"/>
              <a:gd name="connsiteY3873" fmla="*/ 1863497 h 6593118"/>
              <a:gd name="connsiteX3874" fmla="*/ 3563876 w 11490376"/>
              <a:gd name="connsiteY3874" fmla="*/ 1905103 h 6593118"/>
              <a:gd name="connsiteX3875" fmla="*/ 3568254 w 11490376"/>
              <a:gd name="connsiteY3875" fmla="*/ 1929191 h 6593118"/>
              <a:gd name="connsiteX3876" fmla="*/ 3563876 w 11490376"/>
              <a:gd name="connsiteY3876" fmla="*/ 1948899 h 6593118"/>
              <a:gd name="connsiteX3877" fmla="*/ 3522283 w 11490376"/>
              <a:gd name="connsiteY3877" fmla="*/ 1959847 h 6593118"/>
              <a:gd name="connsiteX3878" fmla="*/ 3485069 w 11490376"/>
              <a:gd name="connsiteY3878" fmla="*/ 1955467 h 6593118"/>
              <a:gd name="connsiteX3879" fmla="*/ 3436907 w 11490376"/>
              <a:gd name="connsiteY3879" fmla="*/ 1999263 h 6593118"/>
              <a:gd name="connsiteX3880" fmla="*/ 3353721 w 11490376"/>
              <a:gd name="connsiteY3880" fmla="*/ 2010212 h 6593118"/>
              <a:gd name="connsiteX3881" fmla="*/ 3266155 w 11490376"/>
              <a:gd name="connsiteY3881" fmla="*/ 2010212 h 6593118"/>
              <a:gd name="connsiteX3882" fmla="*/ 3224562 w 11490376"/>
              <a:gd name="connsiteY3882" fmla="*/ 2003643 h 6593118"/>
              <a:gd name="connsiteX3883" fmla="*/ 3191727 w 11490376"/>
              <a:gd name="connsiteY3883" fmla="*/ 2032109 h 6593118"/>
              <a:gd name="connsiteX3884" fmla="*/ 3147941 w 11490376"/>
              <a:gd name="connsiteY3884" fmla="*/ 2054007 h 6593118"/>
              <a:gd name="connsiteX3885" fmla="*/ 3104157 w 11490376"/>
              <a:gd name="connsiteY3885" fmla="*/ 2108751 h 6593118"/>
              <a:gd name="connsiteX3886" fmla="*/ 3178589 w 11490376"/>
              <a:gd name="connsiteY3886" fmla="*/ 2075904 h 6593118"/>
              <a:gd name="connsiteX3887" fmla="*/ 3220186 w 11490376"/>
              <a:gd name="connsiteY3887" fmla="*/ 2054007 h 6593118"/>
              <a:gd name="connsiteX3888" fmla="*/ 3263967 w 11490376"/>
              <a:gd name="connsiteY3888" fmla="*/ 2080284 h 6593118"/>
              <a:gd name="connsiteX3889" fmla="*/ 3235510 w 11490376"/>
              <a:gd name="connsiteY3889" fmla="*/ 2124080 h 6593118"/>
              <a:gd name="connsiteX3890" fmla="*/ 3274911 w 11490376"/>
              <a:gd name="connsiteY3890" fmla="*/ 2167875 h 6593118"/>
              <a:gd name="connsiteX3891" fmla="*/ 3373422 w 11490376"/>
              <a:gd name="connsiteY3891" fmla="*/ 2216051 h 6593118"/>
              <a:gd name="connsiteX3892" fmla="*/ 3285857 w 11490376"/>
              <a:gd name="connsiteY3892" fmla="*/ 2262035 h 6593118"/>
              <a:gd name="connsiteX3893" fmla="*/ 3200483 w 11490376"/>
              <a:gd name="connsiteY3893" fmla="*/ 2321159 h 6593118"/>
              <a:gd name="connsiteX3894" fmla="*/ 3180780 w 11490376"/>
              <a:gd name="connsiteY3894" fmla="*/ 2299262 h 6593118"/>
              <a:gd name="connsiteX3895" fmla="*/ 3285857 w 11490376"/>
              <a:gd name="connsiteY3895" fmla="*/ 2200722 h 6593118"/>
              <a:gd name="connsiteX3896" fmla="*/ 3279291 w 11490376"/>
              <a:gd name="connsiteY3896" fmla="*/ 2187583 h 6593118"/>
              <a:gd name="connsiteX3897" fmla="*/ 3246453 w 11490376"/>
              <a:gd name="connsiteY3897" fmla="*/ 2187583 h 6593118"/>
              <a:gd name="connsiteX3898" fmla="*/ 3161076 w 11490376"/>
              <a:gd name="connsiteY3898" fmla="*/ 2262035 h 6593118"/>
              <a:gd name="connsiteX3899" fmla="*/ 3134806 w 11490376"/>
              <a:gd name="connsiteY3899" fmla="*/ 2251087 h 6593118"/>
              <a:gd name="connsiteX3900" fmla="*/ 3158887 w 11490376"/>
              <a:gd name="connsiteY3900" fmla="*/ 2264226 h 6593118"/>
              <a:gd name="connsiteX3901" fmla="*/ 3139185 w 11490376"/>
              <a:gd name="connsiteY3901" fmla="*/ 2288314 h 6593118"/>
              <a:gd name="connsiteX3902" fmla="*/ 3106346 w 11490376"/>
              <a:gd name="connsiteY3902" fmla="*/ 2290503 h 6593118"/>
              <a:gd name="connsiteX3903" fmla="*/ 3093211 w 11490376"/>
              <a:gd name="connsiteY3903" fmla="*/ 2316781 h 6593118"/>
              <a:gd name="connsiteX3904" fmla="*/ 3064754 w 11490376"/>
              <a:gd name="connsiteY3904" fmla="*/ 2310210 h 6593118"/>
              <a:gd name="connsiteX3905" fmla="*/ 3060377 w 11490376"/>
              <a:gd name="connsiteY3905" fmla="*/ 2329918 h 6593118"/>
              <a:gd name="connsiteX3906" fmla="*/ 3029730 w 11490376"/>
              <a:gd name="connsiteY3906" fmla="*/ 2329918 h 6593118"/>
              <a:gd name="connsiteX3907" fmla="*/ 3018786 w 11490376"/>
              <a:gd name="connsiteY3907" fmla="*/ 2360575 h 6593118"/>
              <a:gd name="connsiteX3908" fmla="*/ 3014409 w 11490376"/>
              <a:gd name="connsiteY3908" fmla="*/ 2386853 h 6593118"/>
              <a:gd name="connsiteX3909" fmla="*/ 3038487 w 11490376"/>
              <a:gd name="connsiteY3909" fmla="*/ 2410941 h 6593118"/>
              <a:gd name="connsiteX3910" fmla="*/ 3007842 w 11490376"/>
              <a:gd name="connsiteY3910" fmla="*/ 2430649 h 6593118"/>
              <a:gd name="connsiteX3911" fmla="*/ 2944362 w 11490376"/>
              <a:gd name="connsiteY3911" fmla="*/ 2437218 h 6593118"/>
              <a:gd name="connsiteX3912" fmla="*/ 2929038 w 11490376"/>
              <a:gd name="connsiteY3912" fmla="*/ 2465685 h 6593118"/>
              <a:gd name="connsiteX3913" fmla="*/ 2920281 w 11490376"/>
              <a:gd name="connsiteY3913" fmla="*/ 2483202 h 6593118"/>
              <a:gd name="connsiteX3914" fmla="*/ 2880883 w 11490376"/>
              <a:gd name="connsiteY3914" fmla="*/ 2487582 h 6593118"/>
              <a:gd name="connsiteX3915" fmla="*/ 2863369 w 11490376"/>
              <a:gd name="connsiteY3915" fmla="*/ 2511670 h 6593118"/>
              <a:gd name="connsiteX3916" fmla="*/ 2854613 w 11490376"/>
              <a:gd name="connsiteY3916" fmla="*/ 2572984 h 6593118"/>
              <a:gd name="connsiteX3917" fmla="*/ 2828345 w 11490376"/>
              <a:gd name="connsiteY3917" fmla="*/ 2583933 h 6593118"/>
              <a:gd name="connsiteX3918" fmla="*/ 2813019 w 11490376"/>
              <a:gd name="connsiteY3918" fmla="*/ 2601450 h 6593118"/>
              <a:gd name="connsiteX3919" fmla="*/ 2797692 w 11490376"/>
              <a:gd name="connsiteY3919" fmla="*/ 2623349 h 6593118"/>
              <a:gd name="connsiteX3920" fmla="*/ 2817397 w 11490376"/>
              <a:gd name="connsiteY3920" fmla="*/ 2634297 h 6593118"/>
              <a:gd name="connsiteX3921" fmla="*/ 2813019 w 11490376"/>
              <a:gd name="connsiteY3921" fmla="*/ 2708750 h 6593118"/>
              <a:gd name="connsiteX3922" fmla="*/ 2788936 w 11490376"/>
              <a:gd name="connsiteY3922" fmla="*/ 2721888 h 6593118"/>
              <a:gd name="connsiteX3923" fmla="*/ 2782371 w 11490376"/>
              <a:gd name="connsiteY3923" fmla="*/ 2748165 h 6593118"/>
              <a:gd name="connsiteX3924" fmla="*/ 2742964 w 11490376"/>
              <a:gd name="connsiteY3924" fmla="*/ 2745976 h 6593118"/>
              <a:gd name="connsiteX3925" fmla="*/ 2725449 w 11490376"/>
              <a:gd name="connsiteY3925" fmla="*/ 2770064 h 6593118"/>
              <a:gd name="connsiteX3926" fmla="*/ 2686043 w 11490376"/>
              <a:gd name="connsiteY3926" fmla="*/ 2783201 h 6593118"/>
              <a:gd name="connsiteX3927" fmla="*/ 2677287 w 11490376"/>
              <a:gd name="connsiteY3927" fmla="*/ 2816049 h 6593118"/>
              <a:gd name="connsiteX3928" fmla="*/ 2646641 w 11490376"/>
              <a:gd name="connsiteY3928" fmla="*/ 2822617 h 6593118"/>
              <a:gd name="connsiteX3929" fmla="*/ 2618181 w 11490376"/>
              <a:gd name="connsiteY3929" fmla="*/ 2848896 h 6593118"/>
              <a:gd name="connsiteX3930" fmla="*/ 2607234 w 11490376"/>
              <a:gd name="connsiteY3930" fmla="*/ 2883932 h 6593118"/>
              <a:gd name="connsiteX3931" fmla="*/ 2607234 w 11490376"/>
              <a:gd name="connsiteY3931" fmla="*/ 2936487 h 6593118"/>
              <a:gd name="connsiteX3932" fmla="*/ 2605046 w 11490376"/>
              <a:gd name="connsiteY3932" fmla="*/ 2984661 h 6593118"/>
              <a:gd name="connsiteX3933" fmla="*/ 2620370 w 11490376"/>
              <a:gd name="connsiteY3933" fmla="*/ 2991231 h 6593118"/>
              <a:gd name="connsiteX3934" fmla="*/ 2622559 w 11490376"/>
              <a:gd name="connsiteY3934" fmla="*/ 3050355 h 6593118"/>
              <a:gd name="connsiteX3935" fmla="*/ 2633506 w 11490376"/>
              <a:gd name="connsiteY3935" fmla="*/ 3067872 h 6593118"/>
              <a:gd name="connsiteX3936" fmla="*/ 2646641 w 11490376"/>
              <a:gd name="connsiteY3936" fmla="*/ 3153274 h 6593118"/>
              <a:gd name="connsiteX3937" fmla="*/ 2633506 w 11490376"/>
              <a:gd name="connsiteY3937" fmla="*/ 3188310 h 6593118"/>
              <a:gd name="connsiteX3938" fmla="*/ 2613801 w 11490376"/>
              <a:gd name="connsiteY3938" fmla="*/ 3166412 h 6593118"/>
              <a:gd name="connsiteX3939" fmla="*/ 2578775 w 11490376"/>
              <a:gd name="connsiteY3939" fmla="*/ 3142324 h 6593118"/>
              <a:gd name="connsiteX3940" fmla="*/ 2559073 w 11490376"/>
              <a:gd name="connsiteY3940" fmla="*/ 3094150 h 6593118"/>
              <a:gd name="connsiteX3941" fmla="*/ 2543752 w 11490376"/>
              <a:gd name="connsiteY3941" fmla="*/ 3043785 h 6593118"/>
              <a:gd name="connsiteX3942" fmla="*/ 2552508 w 11490376"/>
              <a:gd name="connsiteY3942" fmla="*/ 2989041 h 6593118"/>
              <a:gd name="connsiteX3943" fmla="*/ 2524049 w 11490376"/>
              <a:gd name="connsiteY3943" fmla="*/ 2962764 h 6593118"/>
              <a:gd name="connsiteX3944" fmla="*/ 2486832 w 11490376"/>
              <a:gd name="connsiteY3944" fmla="*/ 2932107 h 6593118"/>
              <a:gd name="connsiteX3945" fmla="*/ 2445239 w 11490376"/>
              <a:gd name="connsiteY3945" fmla="*/ 2943056 h 6593118"/>
              <a:gd name="connsiteX3946" fmla="*/ 2414591 w 11490376"/>
              <a:gd name="connsiteY3946" fmla="*/ 2925537 h 6593118"/>
              <a:gd name="connsiteX3947" fmla="*/ 2333591 w 11490376"/>
              <a:gd name="connsiteY3947" fmla="*/ 2927728 h 6593118"/>
              <a:gd name="connsiteX3948" fmla="*/ 2305136 w 11490376"/>
              <a:gd name="connsiteY3948" fmla="*/ 2947435 h 6593118"/>
              <a:gd name="connsiteX3949" fmla="*/ 2322647 w 11490376"/>
              <a:gd name="connsiteY3949" fmla="*/ 2984661 h 6593118"/>
              <a:gd name="connsiteX3950" fmla="*/ 2285434 w 11490376"/>
              <a:gd name="connsiteY3950" fmla="*/ 2989041 h 6593118"/>
              <a:gd name="connsiteX3951" fmla="*/ 2246036 w 11490376"/>
              <a:gd name="connsiteY3951" fmla="*/ 2980282 h 6593118"/>
              <a:gd name="connsiteX3952" fmla="*/ 2239469 w 11490376"/>
              <a:gd name="connsiteY3952" fmla="*/ 2927728 h 6593118"/>
              <a:gd name="connsiteX3953" fmla="*/ 2213199 w 11490376"/>
              <a:gd name="connsiteY3953" fmla="*/ 2936487 h 6593118"/>
              <a:gd name="connsiteX3954" fmla="*/ 2202254 w 11490376"/>
              <a:gd name="connsiteY3954" fmla="*/ 2975903 h 6593118"/>
              <a:gd name="connsiteX3955" fmla="*/ 2182553 w 11490376"/>
              <a:gd name="connsiteY3955" fmla="*/ 2969332 h 6593118"/>
              <a:gd name="connsiteX3956" fmla="*/ 2160661 w 11490376"/>
              <a:gd name="connsiteY3956" fmla="*/ 2936487 h 6593118"/>
              <a:gd name="connsiteX3957" fmla="*/ 2134392 w 11490376"/>
              <a:gd name="connsiteY3957" fmla="*/ 2951815 h 6593118"/>
              <a:gd name="connsiteX3958" fmla="*/ 2114691 w 11490376"/>
              <a:gd name="connsiteY3958" fmla="*/ 2975903 h 6593118"/>
              <a:gd name="connsiteX3959" fmla="*/ 2092798 w 11490376"/>
              <a:gd name="connsiteY3959" fmla="*/ 3008748 h 6593118"/>
              <a:gd name="connsiteX3960" fmla="*/ 2073097 w 11490376"/>
              <a:gd name="connsiteY3960" fmla="*/ 3032836 h 6593118"/>
              <a:gd name="connsiteX3961" fmla="*/ 2031505 w 11490376"/>
              <a:gd name="connsiteY3961" fmla="*/ 3050355 h 6593118"/>
              <a:gd name="connsiteX3962" fmla="*/ 2018367 w 11490376"/>
              <a:gd name="connsiteY3962" fmla="*/ 3109479 h 6593118"/>
              <a:gd name="connsiteX3963" fmla="*/ 1969576 w 11490376"/>
              <a:gd name="connsiteY3963" fmla="*/ 3109479 h 6593118"/>
              <a:gd name="connsiteX3964" fmla="*/ 1969624 w 11490376"/>
              <a:gd name="connsiteY3964" fmla="*/ 3109723 h 6593118"/>
              <a:gd name="connsiteX3965" fmla="*/ 2018717 w 11490376"/>
              <a:gd name="connsiteY3965" fmla="*/ 3109723 h 6593118"/>
              <a:gd name="connsiteX3966" fmla="*/ 2008899 w 11490376"/>
              <a:gd name="connsiteY3966" fmla="*/ 3158713 h 6593118"/>
              <a:gd name="connsiteX3967" fmla="*/ 1991717 w 11490376"/>
              <a:gd name="connsiteY3967" fmla="*/ 3210151 h 6593118"/>
              <a:gd name="connsiteX3968" fmla="*/ 2011354 w 11490376"/>
              <a:gd name="connsiteY3968" fmla="*/ 3278735 h 6593118"/>
              <a:gd name="connsiteX3969" fmla="*/ 2028539 w 11490376"/>
              <a:gd name="connsiteY3969" fmla="*/ 3379164 h 6593118"/>
              <a:gd name="connsiteX3970" fmla="*/ 2087453 w 11490376"/>
              <a:gd name="connsiteY3970" fmla="*/ 3420804 h 6593118"/>
              <a:gd name="connsiteX3971" fmla="*/ 2166008 w 11490376"/>
              <a:gd name="connsiteY3971" fmla="*/ 3418354 h 6593118"/>
              <a:gd name="connsiteX3972" fmla="*/ 2220012 w 11490376"/>
              <a:gd name="connsiteY3972" fmla="*/ 3401208 h 6593118"/>
              <a:gd name="connsiteX3973" fmla="*/ 2256834 w 11490376"/>
              <a:gd name="connsiteY3973" fmla="*/ 3327725 h 6593118"/>
              <a:gd name="connsiteX3974" fmla="*/ 2288740 w 11490376"/>
              <a:gd name="connsiteY3974" fmla="*/ 3300780 h 6593118"/>
              <a:gd name="connsiteX3975" fmla="*/ 2369746 w 11490376"/>
              <a:gd name="connsiteY3975" fmla="*/ 3308129 h 6593118"/>
              <a:gd name="connsiteX3976" fmla="*/ 2377109 w 11490376"/>
              <a:gd name="connsiteY3976" fmla="*/ 3342421 h 6593118"/>
              <a:gd name="connsiteX3977" fmla="*/ 2362381 w 11490376"/>
              <a:gd name="connsiteY3977" fmla="*/ 3352219 h 6593118"/>
              <a:gd name="connsiteX3978" fmla="*/ 2364835 w 11490376"/>
              <a:gd name="connsiteY3978" fmla="*/ 3398758 h 6593118"/>
              <a:gd name="connsiteX3979" fmla="*/ 2340287 w 11490376"/>
              <a:gd name="connsiteY3979" fmla="*/ 3430602 h 6593118"/>
              <a:gd name="connsiteX3980" fmla="*/ 2296102 w 11490376"/>
              <a:gd name="connsiteY3980" fmla="*/ 3455096 h 6593118"/>
              <a:gd name="connsiteX3981" fmla="*/ 2276465 w 11490376"/>
              <a:gd name="connsiteY3981" fmla="*/ 3462444 h 6593118"/>
              <a:gd name="connsiteX3982" fmla="*/ 2274501 w 11490376"/>
              <a:gd name="connsiteY3982" fmla="*/ 3463247 h 6593118"/>
              <a:gd name="connsiteX3983" fmla="*/ 2269936 w 11490376"/>
              <a:gd name="connsiteY3983" fmla="*/ 3509198 h 6593118"/>
              <a:gd name="connsiteX3984" fmla="*/ 2269936 w 11490376"/>
              <a:gd name="connsiteY3984" fmla="*/ 3543747 h 6593118"/>
              <a:gd name="connsiteX3985" fmla="*/ 2284950 w 11490376"/>
              <a:gd name="connsiteY3985" fmla="*/ 3545636 h 6593118"/>
              <a:gd name="connsiteX3986" fmla="*/ 2272301 w 11490376"/>
              <a:gd name="connsiteY3986" fmla="*/ 3542369 h 6593118"/>
              <a:gd name="connsiteX3987" fmla="*/ 2272301 w 11490376"/>
              <a:gd name="connsiteY3987" fmla="*/ 3510937 h 6593118"/>
              <a:gd name="connsiteX3988" fmla="*/ 2276979 w 11490376"/>
              <a:gd name="connsiteY3988" fmla="*/ 3464996 h 6593118"/>
              <a:gd name="connsiteX3989" fmla="*/ 2295699 w 11490376"/>
              <a:gd name="connsiteY3989" fmla="*/ 3457742 h 6593118"/>
              <a:gd name="connsiteX3990" fmla="*/ 2337818 w 11490376"/>
              <a:gd name="connsiteY3990" fmla="*/ 3433564 h 6593118"/>
              <a:gd name="connsiteX3991" fmla="*/ 2330799 w 11490376"/>
              <a:gd name="connsiteY3991" fmla="*/ 3479503 h 6593118"/>
              <a:gd name="connsiteX3992" fmla="*/ 2337818 w 11490376"/>
              <a:gd name="connsiteY3992" fmla="*/ 3527861 h 6593118"/>
              <a:gd name="connsiteX3993" fmla="*/ 2314418 w 11490376"/>
              <a:gd name="connsiteY3993" fmla="*/ 3544787 h 6593118"/>
              <a:gd name="connsiteX3994" fmla="*/ 2291019 w 11490376"/>
              <a:gd name="connsiteY3994" fmla="*/ 3547204 h 6593118"/>
              <a:gd name="connsiteX3995" fmla="*/ 2289460 w 11490376"/>
              <a:gd name="connsiteY3995" fmla="*/ 3546801 h 6593118"/>
              <a:gd name="connsiteX3996" fmla="*/ 2285791 w 11490376"/>
              <a:gd name="connsiteY3996" fmla="*/ 3570805 h 6593118"/>
              <a:gd name="connsiteX3997" fmla="*/ 2289454 w 11490376"/>
              <a:gd name="connsiteY3997" fmla="*/ 3549221 h 6593118"/>
              <a:gd name="connsiteX3998" fmla="*/ 2311568 w 11490376"/>
              <a:gd name="connsiteY3998" fmla="*/ 3546806 h 6593118"/>
              <a:gd name="connsiteX3999" fmla="*/ 2338596 w 11490376"/>
              <a:gd name="connsiteY3999" fmla="*/ 3529914 h 6593118"/>
              <a:gd name="connsiteX4000" fmla="*/ 2350879 w 11490376"/>
              <a:gd name="connsiteY4000" fmla="*/ 3549221 h 6593118"/>
              <a:gd name="connsiteX4001" fmla="*/ 2375456 w 11490376"/>
              <a:gd name="connsiteY4001" fmla="*/ 3532327 h 6593118"/>
              <a:gd name="connsiteX4002" fmla="*/ 2431968 w 11490376"/>
              <a:gd name="connsiteY4002" fmla="*/ 3532327 h 6593118"/>
              <a:gd name="connsiteX4003" fmla="*/ 2454083 w 11490376"/>
              <a:gd name="connsiteY4003" fmla="*/ 3554046 h 6593118"/>
              <a:gd name="connsiteX4004" fmla="*/ 2490942 w 11490376"/>
              <a:gd name="connsiteY4004" fmla="*/ 3563700 h 6593118"/>
              <a:gd name="connsiteX4005" fmla="*/ 2468825 w 11490376"/>
              <a:gd name="connsiteY4005" fmla="*/ 3590245 h 6593118"/>
              <a:gd name="connsiteX4006" fmla="*/ 2414770 w 11490376"/>
              <a:gd name="connsiteY4006" fmla="*/ 3590245 h 6593118"/>
              <a:gd name="connsiteX4007" fmla="*/ 2402524 w 11490376"/>
              <a:gd name="connsiteY4007" fmla="*/ 3626323 h 6593118"/>
              <a:gd name="connsiteX4008" fmla="*/ 2403644 w 11490376"/>
              <a:gd name="connsiteY4008" fmla="*/ 3626264 h 6593118"/>
              <a:gd name="connsiteX4009" fmla="*/ 2415917 w 11490376"/>
              <a:gd name="connsiteY4009" fmla="*/ 3591227 h 6593118"/>
              <a:gd name="connsiteX4010" fmla="*/ 2469915 w 11490376"/>
              <a:gd name="connsiteY4010" fmla="*/ 3591227 h 6593118"/>
              <a:gd name="connsiteX4011" fmla="*/ 2482188 w 11490376"/>
              <a:gd name="connsiteY4011" fmla="*/ 3608745 h 6593118"/>
              <a:gd name="connsiteX4012" fmla="*/ 2469915 w 11490376"/>
              <a:gd name="connsiteY4012" fmla="*/ 3636274 h 6593118"/>
              <a:gd name="connsiteX4013" fmla="*/ 2460229 w 11490376"/>
              <a:gd name="connsiteY4013" fmla="*/ 3744909 h 6593118"/>
              <a:gd name="connsiteX4014" fmla="*/ 2460652 w 11490376"/>
              <a:gd name="connsiteY4014" fmla="*/ 3744935 h 6593118"/>
              <a:gd name="connsiteX4015" fmla="*/ 2495053 w 11490376"/>
              <a:gd name="connsiteY4015" fmla="*/ 3764149 h 6593118"/>
              <a:gd name="connsiteX4016" fmla="*/ 2497508 w 11490376"/>
              <a:gd name="connsiteY4016" fmla="*/ 3795370 h 6593118"/>
              <a:gd name="connsiteX4017" fmla="*/ 2465565 w 11490376"/>
              <a:gd name="connsiteY4017" fmla="*/ 3812182 h 6593118"/>
              <a:gd name="connsiteX4018" fmla="*/ 2396763 w 11490376"/>
              <a:gd name="connsiteY4018" fmla="*/ 3795370 h 6593118"/>
              <a:gd name="connsiteX4019" fmla="*/ 2379566 w 11490376"/>
              <a:gd name="connsiteY4019" fmla="*/ 3768951 h 6593118"/>
              <a:gd name="connsiteX4020" fmla="*/ 2382020 w 11490376"/>
              <a:gd name="connsiteY4020" fmla="*/ 3740132 h 6593118"/>
              <a:gd name="connsiteX4021" fmla="*/ 2382941 w 11490376"/>
              <a:gd name="connsiteY4021" fmla="*/ 3740188 h 6593118"/>
              <a:gd name="connsiteX4022" fmla="*/ 2359462 w 11490376"/>
              <a:gd name="connsiteY4022" fmla="*/ 3713855 h 6593118"/>
              <a:gd name="connsiteX4023" fmla="*/ 2342281 w 11490376"/>
              <a:gd name="connsiteY4023" fmla="*/ 3668808 h 6593118"/>
              <a:gd name="connsiteX4024" fmla="*/ 2322647 w 11490376"/>
              <a:gd name="connsiteY4024" fmla="*/ 3648788 h 6593118"/>
              <a:gd name="connsiteX4025" fmla="*/ 2357006 w 11490376"/>
              <a:gd name="connsiteY4025" fmla="*/ 3628766 h 6593118"/>
              <a:gd name="connsiteX4026" fmla="*/ 2400295 w 11490376"/>
              <a:gd name="connsiteY4026" fmla="*/ 3626443 h 6593118"/>
              <a:gd name="connsiteX4027" fmla="*/ 2355794 w 11490376"/>
              <a:gd name="connsiteY4027" fmla="*/ 3626443 h 6593118"/>
              <a:gd name="connsiteX4028" fmla="*/ 2323852 w 11490376"/>
              <a:gd name="connsiteY4028" fmla="*/ 3645749 h 6593118"/>
              <a:gd name="connsiteX4029" fmla="*/ 2318939 w 11490376"/>
              <a:gd name="connsiteY4029" fmla="*/ 3599898 h 6593118"/>
              <a:gd name="connsiteX4030" fmla="*/ 2279626 w 11490376"/>
              <a:gd name="connsiteY4030" fmla="*/ 3599898 h 6593118"/>
              <a:gd name="connsiteX4031" fmla="*/ 2253006 w 11490376"/>
              <a:gd name="connsiteY4031" fmla="*/ 3611785 h 6593118"/>
              <a:gd name="connsiteX4032" fmla="*/ 2252781 w 11490376"/>
              <a:gd name="connsiteY4032" fmla="*/ 3612847 h 6593118"/>
              <a:gd name="connsiteX4033" fmla="*/ 2203744 w 11490376"/>
              <a:gd name="connsiteY4033" fmla="*/ 3610379 h 6593118"/>
              <a:gd name="connsiteX4034" fmla="*/ 2169418 w 11490376"/>
              <a:gd name="connsiteY4034" fmla="*/ 3580766 h 6593118"/>
              <a:gd name="connsiteX4035" fmla="*/ 2170035 w 11490376"/>
              <a:gd name="connsiteY4035" fmla="*/ 3578901 h 6593118"/>
              <a:gd name="connsiteX4036" fmla="*/ 2143912 w 11490376"/>
              <a:gd name="connsiteY4036" fmla="*/ 3545727 h 6593118"/>
              <a:gd name="connsiteX4037" fmla="*/ 2102181 w 11490376"/>
              <a:gd name="connsiteY4037" fmla="*/ 3531030 h 6593118"/>
              <a:gd name="connsiteX4038" fmla="*/ 2075180 w 11490376"/>
              <a:gd name="connsiteY4038" fmla="*/ 3518782 h 6593118"/>
              <a:gd name="connsiteX4039" fmla="*/ 2043268 w 11490376"/>
              <a:gd name="connsiteY4039" fmla="*/ 3540828 h 6593118"/>
              <a:gd name="connsiteX4040" fmla="*/ 1945077 w 11490376"/>
              <a:gd name="connsiteY4040" fmla="*/ 3508984 h 6593118"/>
              <a:gd name="connsiteX4041" fmla="*/ 1751147 w 11490376"/>
              <a:gd name="connsiteY4041" fmla="*/ 3381613 h 6593118"/>
              <a:gd name="connsiteX4042" fmla="*/ 1716780 w 11490376"/>
              <a:gd name="connsiteY4042" fmla="*/ 3362017 h 6593118"/>
              <a:gd name="connsiteX4043" fmla="*/ 1729056 w 11490376"/>
              <a:gd name="connsiteY4043" fmla="*/ 3325276 h 6593118"/>
              <a:gd name="connsiteX4044" fmla="*/ 1714325 w 11490376"/>
              <a:gd name="connsiteY4044" fmla="*/ 3283634 h 6593118"/>
              <a:gd name="connsiteX4045" fmla="*/ 1711871 w 11490376"/>
              <a:gd name="connsiteY4045" fmla="*/ 3239544 h 6593118"/>
              <a:gd name="connsiteX4046" fmla="*/ 1684868 w 11490376"/>
              <a:gd name="connsiteY4046" fmla="*/ 3237094 h 6593118"/>
              <a:gd name="connsiteX4047" fmla="*/ 1684868 w 11490376"/>
              <a:gd name="connsiteY4047" fmla="*/ 3205252 h 6593118"/>
              <a:gd name="connsiteX4048" fmla="*/ 1640681 w 11490376"/>
              <a:gd name="connsiteY4048" fmla="*/ 3185656 h 6593118"/>
              <a:gd name="connsiteX4049" fmla="*/ 1638226 w 11490376"/>
              <a:gd name="connsiteY4049" fmla="*/ 3141566 h 6593118"/>
              <a:gd name="connsiteX4050" fmla="*/ 1603860 w 11490376"/>
              <a:gd name="connsiteY4050" fmla="*/ 3129318 h 6593118"/>
              <a:gd name="connsiteX4051" fmla="*/ 1606314 w 11490376"/>
              <a:gd name="connsiteY4051" fmla="*/ 3092577 h 6593118"/>
              <a:gd name="connsiteX4052" fmla="*/ 1586677 w 11490376"/>
              <a:gd name="connsiteY4052" fmla="*/ 3077880 h 6593118"/>
              <a:gd name="connsiteX4053" fmla="*/ 1559674 w 11490376"/>
              <a:gd name="connsiteY4053" fmla="*/ 3033790 h 6593118"/>
              <a:gd name="connsiteX4054" fmla="*/ 1530216 w 11490376"/>
              <a:gd name="connsiteY4054" fmla="*/ 3004395 h 6593118"/>
              <a:gd name="connsiteX4055" fmla="*/ 1525307 w 11490376"/>
              <a:gd name="connsiteY4055" fmla="*/ 2938261 h 6593118"/>
              <a:gd name="connsiteX4056" fmla="*/ 1495848 w 11490376"/>
              <a:gd name="connsiteY4056" fmla="*/ 2916216 h 6593118"/>
              <a:gd name="connsiteX4057" fmla="*/ 1468846 w 11490376"/>
              <a:gd name="connsiteY4057" fmla="*/ 2886823 h 6593118"/>
              <a:gd name="connsiteX4058" fmla="*/ 1444297 w 11490376"/>
              <a:gd name="connsiteY4058" fmla="*/ 2872126 h 6593118"/>
              <a:gd name="connsiteX4059" fmla="*/ 1444297 w 11490376"/>
              <a:gd name="connsiteY4059" fmla="*/ 2928463 h 6593118"/>
              <a:gd name="connsiteX4060" fmla="*/ 1466393 w 11490376"/>
              <a:gd name="connsiteY4060" fmla="*/ 2972553 h 6593118"/>
              <a:gd name="connsiteX4061" fmla="*/ 1493394 w 11490376"/>
              <a:gd name="connsiteY4061" fmla="*/ 3021542 h 6593118"/>
              <a:gd name="connsiteX4062" fmla="*/ 1537580 w 11490376"/>
              <a:gd name="connsiteY4062" fmla="*/ 3075430 h 6593118"/>
              <a:gd name="connsiteX4063" fmla="*/ 1559674 w 11490376"/>
              <a:gd name="connsiteY4063" fmla="*/ 3134217 h 6593118"/>
              <a:gd name="connsiteX4064" fmla="*/ 1591586 w 11490376"/>
              <a:gd name="connsiteY4064" fmla="*/ 3195454 h 6593118"/>
              <a:gd name="connsiteX4065" fmla="*/ 1608770 w 11490376"/>
              <a:gd name="connsiteY4065" fmla="*/ 3251791 h 6593118"/>
              <a:gd name="connsiteX4066" fmla="*/ 1581768 w 11490376"/>
              <a:gd name="connsiteY4066" fmla="*/ 3251791 h 6593118"/>
              <a:gd name="connsiteX4067" fmla="*/ 1513034 w 11490376"/>
              <a:gd name="connsiteY4067" fmla="*/ 3175858 h 6593118"/>
              <a:gd name="connsiteX4068" fmla="*/ 1508124 w 11490376"/>
              <a:gd name="connsiteY4068" fmla="*/ 3119520 h 6593118"/>
              <a:gd name="connsiteX4069" fmla="*/ 1468846 w 11490376"/>
              <a:gd name="connsiteY4069" fmla="*/ 3087678 h 6593118"/>
              <a:gd name="connsiteX4070" fmla="*/ 1409932 w 11490376"/>
              <a:gd name="connsiteY4070" fmla="*/ 3043588 h 6593118"/>
              <a:gd name="connsiteX4071" fmla="*/ 1429571 w 11490376"/>
              <a:gd name="connsiteY4071" fmla="*/ 3031340 h 6593118"/>
              <a:gd name="connsiteX4072" fmla="*/ 1439389 w 11490376"/>
              <a:gd name="connsiteY4072" fmla="*/ 2997049 h 6593118"/>
              <a:gd name="connsiteX4073" fmla="*/ 1407477 w 11490376"/>
              <a:gd name="connsiteY4073" fmla="*/ 2948058 h 6593118"/>
              <a:gd name="connsiteX4074" fmla="*/ 1375565 w 11490376"/>
              <a:gd name="connsiteY4074" fmla="*/ 2908867 h 6593118"/>
              <a:gd name="connsiteX4075" fmla="*/ 1368201 w 11490376"/>
              <a:gd name="connsiteY4075" fmla="*/ 2818238 h 6593118"/>
              <a:gd name="connsiteX4076" fmla="*/ 1440581 w 11490376"/>
              <a:gd name="connsiteY4076" fmla="*/ 2822897 h 6593118"/>
              <a:gd name="connsiteX4077" fmla="*/ 1440441 w 11490376"/>
              <a:gd name="connsiteY4077" fmla="*/ 2822617 h 6593118"/>
              <a:gd name="connsiteX4078" fmla="*/ 1363824 w 11490376"/>
              <a:gd name="connsiteY4078" fmla="*/ 2816049 h 6593118"/>
              <a:gd name="connsiteX4079" fmla="*/ 1366012 w 11490376"/>
              <a:gd name="connsiteY4079" fmla="*/ 2789772 h 6593118"/>
              <a:gd name="connsiteX4080" fmla="*/ 1320041 w 11490376"/>
              <a:gd name="connsiteY4080" fmla="*/ 2772253 h 6593118"/>
              <a:gd name="connsiteX4081" fmla="*/ 1291582 w 11490376"/>
              <a:gd name="connsiteY4081" fmla="*/ 2748165 h 6593118"/>
              <a:gd name="connsiteX4082" fmla="*/ 1258747 w 11490376"/>
              <a:gd name="connsiteY4082" fmla="*/ 2732837 h 6593118"/>
              <a:gd name="connsiteX4083" fmla="*/ 1263124 w 11490376"/>
              <a:gd name="connsiteY4083" fmla="*/ 2682472 h 6593118"/>
              <a:gd name="connsiteX4084" fmla="*/ 1221531 w 11490376"/>
              <a:gd name="connsiteY4084" fmla="*/ 2673713 h 6593118"/>
              <a:gd name="connsiteX4085" fmla="*/ 1223719 w 11490376"/>
              <a:gd name="connsiteY4085" fmla="*/ 2647437 h 6593118"/>
              <a:gd name="connsiteX4086" fmla="*/ 1236855 w 11490376"/>
              <a:gd name="connsiteY4086" fmla="*/ 2614589 h 6593118"/>
              <a:gd name="connsiteX4087" fmla="*/ 1212775 w 11490376"/>
              <a:gd name="connsiteY4087" fmla="*/ 2586122 h 6593118"/>
              <a:gd name="connsiteX4088" fmla="*/ 1184316 w 11490376"/>
              <a:gd name="connsiteY4088" fmla="*/ 2557656 h 6593118"/>
              <a:gd name="connsiteX4089" fmla="*/ 1177747 w 11490376"/>
              <a:gd name="connsiteY4089" fmla="*/ 2450357 h 6593118"/>
              <a:gd name="connsiteX4090" fmla="*/ 1197451 w 11490376"/>
              <a:gd name="connsiteY4090" fmla="*/ 2432838 h 6593118"/>
              <a:gd name="connsiteX4091" fmla="*/ 1184316 w 11490376"/>
              <a:gd name="connsiteY4091" fmla="*/ 2417510 h 6593118"/>
              <a:gd name="connsiteX4092" fmla="*/ 1179937 w 11490376"/>
              <a:gd name="connsiteY4092" fmla="*/ 2399991 h 6593118"/>
              <a:gd name="connsiteX4093" fmla="*/ 1190883 w 11490376"/>
              <a:gd name="connsiteY4093" fmla="*/ 2382473 h 6593118"/>
              <a:gd name="connsiteX4094" fmla="*/ 1195261 w 11490376"/>
              <a:gd name="connsiteY4094" fmla="*/ 2343058 h 6593118"/>
              <a:gd name="connsiteX4095" fmla="*/ 1212775 w 11490376"/>
              <a:gd name="connsiteY4095" fmla="*/ 2329918 h 6593118"/>
              <a:gd name="connsiteX4096" fmla="*/ 1212775 w 11490376"/>
              <a:gd name="connsiteY4096" fmla="*/ 2268605 h 6593118"/>
              <a:gd name="connsiteX4097" fmla="*/ 1232476 w 11490376"/>
              <a:gd name="connsiteY4097" fmla="*/ 2251087 h 6593118"/>
              <a:gd name="connsiteX4098" fmla="*/ 1249989 w 11490376"/>
              <a:gd name="connsiteY4098" fmla="*/ 2183204 h 6593118"/>
              <a:gd name="connsiteX4099" fmla="*/ 1265313 w 11490376"/>
              <a:gd name="connsiteY4099" fmla="*/ 2176635 h 6593118"/>
              <a:gd name="connsiteX4100" fmla="*/ 1239044 w 11490376"/>
              <a:gd name="connsiteY4100" fmla="*/ 2143788 h 6593118"/>
              <a:gd name="connsiteX4101" fmla="*/ 1239044 w 11490376"/>
              <a:gd name="connsiteY4101" fmla="*/ 2117511 h 6593118"/>
              <a:gd name="connsiteX4102" fmla="*/ 1274069 w 11490376"/>
              <a:gd name="connsiteY4102" fmla="*/ 2108751 h 6593118"/>
              <a:gd name="connsiteX4103" fmla="*/ 1293772 w 11490376"/>
              <a:gd name="connsiteY4103" fmla="*/ 2135030 h 6593118"/>
              <a:gd name="connsiteX4104" fmla="*/ 1309094 w 11490376"/>
              <a:gd name="connsiteY4104" fmla="*/ 2156927 h 6593118"/>
              <a:gd name="connsiteX4105" fmla="*/ 1315661 w 11490376"/>
              <a:gd name="connsiteY4105" fmla="*/ 2084664 h 6593118"/>
              <a:gd name="connsiteX4106" fmla="*/ 2248226 w 11490376"/>
              <a:gd name="connsiteY4106" fmla="*/ 2082475 h 6593118"/>
              <a:gd name="connsiteX4107" fmla="*/ 2246036 w 11490376"/>
              <a:gd name="connsiteY4107" fmla="*/ 2104368 h 6593118"/>
              <a:gd name="connsiteX4108" fmla="*/ 2252604 w 11490376"/>
              <a:gd name="connsiteY4108" fmla="*/ 2080284 h 6593118"/>
              <a:gd name="connsiteX4109" fmla="*/ 1315661 w 11490376"/>
              <a:gd name="connsiteY4109" fmla="*/ 2084664 h 6593118"/>
              <a:gd name="connsiteX4110" fmla="*/ 1271880 w 11490376"/>
              <a:gd name="connsiteY4110" fmla="*/ 2025540 h 6593118"/>
              <a:gd name="connsiteX4111" fmla="*/ 1225908 w 11490376"/>
              <a:gd name="connsiteY4111" fmla="*/ 1992693 h 6593118"/>
              <a:gd name="connsiteX4112" fmla="*/ 1188693 w 11490376"/>
              <a:gd name="connsiteY4112" fmla="*/ 1951088 h 6593118"/>
              <a:gd name="connsiteX4113" fmla="*/ 1186504 w 11490376"/>
              <a:gd name="connsiteY4113" fmla="*/ 1898533 h 6593118"/>
              <a:gd name="connsiteX4114" fmla="*/ 1182127 w 11490376"/>
              <a:gd name="connsiteY4114" fmla="*/ 1854737 h 6593118"/>
              <a:gd name="connsiteX4115" fmla="*/ 1149289 w 11490376"/>
              <a:gd name="connsiteY4115" fmla="*/ 1856928 h 6593118"/>
              <a:gd name="connsiteX4116" fmla="*/ 1144910 w 11490376"/>
              <a:gd name="connsiteY4116" fmla="*/ 1826271 h 6593118"/>
              <a:gd name="connsiteX4117" fmla="*/ 1125209 w 11490376"/>
              <a:gd name="connsiteY4117" fmla="*/ 1815321 h 6593118"/>
              <a:gd name="connsiteX4118" fmla="*/ 1129587 w 11490376"/>
              <a:gd name="connsiteY4118" fmla="*/ 1764957 h 6593118"/>
              <a:gd name="connsiteX4119" fmla="*/ 1144910 w 11490376"/>
              <a:gd name="connsiteY4119" fmla="*/ 1736489 h 6593118"/>
              <a:gd name="connsiteX4120" fmla="*/ 1168990 w 11490376"/>
              <a:gd name="connsiteY4120" fmla="*/ 1712402 h 6593118"/>
              <a:gd name="connsiteX4121" fmla="*/ 1123499 w 11490376"/>
              <a:gd name="connsiteY4121" fmla="*/ 1701568 h 6593118"/>
              <a:gd name="connsiteX4122" fmla="*/ 1166535 w 11490376"/>
              <a:gd name="connsiteY4122" fmla="*/ 1712906 h 6593118"/>
              <a:gd name="connsiteX4123" fmla="*/ 1141976 w 11490376"/>
              <a:gd name="connsiteY4123" fmla="*/ 1737493 h 6593118"/>
              <a:gd name="connsiteX4124" fmla="*/ 1114962 w 11490376"/>
              <a:gd name="connsiteY4124" fmla="*/ 1737493 h 6593118"/>
              <a:gd name="connsiteX4125" fmla="*/ 1087948 w 11490376"/>
              <a:gd name="connsiteY4125" fmla="*/ 1722740 h 6593118"/>
              <a:gd name="connsiteX4126" fmla="*/ 1087948 w 11490376"/>
              <a:gd name="connsiteY4126" fmla="*/ 1693237 h 6593118"/>
              <a:gd name="connsiteX4127" fmla="*/ 1065846 w 11490376"/>
              <a:gd name="connsiteY4127" fmla="*/ 1690779 h 6593118"/>
              <a:gd name="connsiteX4128" fmla="*/ 1051111 w 11490376"/>
              <a:gd name="connsiteY4128" fmla="*/ 1673569 h 6593118"/>
              <a:gd name="connsiteX4129" fmla="*/ 1051111 w 11490376"/>
              <a:gd name="connsiteY4129" fmla="*/ 1641608 h 6593118"/>
              <a:gd name="connsiteX4130" fmla="*/ 1053566 w 11490376"/>
              <a:gd name="connsiteY4130" fmla="*/ 1624397 h 6593118"/>
              <a:gd name="connsiteX4131" fmla="*/ 1038830 w 11490376"/>
              <a:gd name="connsiteY4131" fmla="*/ 1621938 h 6593118"/>
              <a:gd name="connsiteX4132" fmla="*/ 1024095 w 11490376"/>
              <a:gd name="connsiteY4132" fmla="*/ 1634231 h 6593118"/>
              <a:gd name="connsiteX4133" fmla="*/ 1004448 w 11490376"/>
              <a:gd name="connsiteY4133" fmla="*/ 1621938 h 6593118"/>
              <a:gd name="connsiteX4134" fmla="*/ 989710 w 11490376"/>
              <a:gd name="connsiteY4134" fmla="*/ 1597352 h 6593118"/>
              <a:gd name="connsiteX4135" fmla="*/ 974979 w 11490376"/>
              <a:gd name="connsiteY4135" fmla="*/ 1621938 h 6593118"/>
              <a:gd name="connsiteX4136" fmla="*/ 945508 w 11490376"/>
              <a:gd name="connsiteY4136" fmla="*/ 1607187 h 6593118"/>
              <a:gd name="connsiteX4137" fmla="*/ 938141 w 11490376"/>
              <a:gd name="connsiteY4137" fmla="*/ 1580142 h 6593118"/>
              <a:gd name="connsiteX4138" fmla="*/ 908672 w 11490376"/>
              <a:gd name="connsiteY4138" fmla="*/ 1582601 h 6593118"/>
              <a:gd name="connsiteX4139" fmla="*/ 903759 w 11490376"/>
              <a:gd name="connsiteY4139" fmla="*/ 1555556 h 6593118"/>
              <a:gd name="connsiteX4140" fmla="*/ 866921 w 11490376"/>
              <a:gd name="connsiteY4140" fmla="*/ 1545722 h 6593118"/>
              <a:gd name="connsiteX4141" fmla="*/ 862009 w 11490376"/>
              <a:gd name="connsiteY4141" fmla="*/ 1526053 h 6593118"/>
              <a:gd name="connsiteX4142" fmla="*/ 852187 w 11490376"/>
              <a:gd name="connsiteY4142" fmla="*/ 1516219 h 6593118"/>
              <a:gd name="connsiteX4143" fmla="*/ 744124 w 11490376"/>
              <a:gd name="connsiteY4143" fmla="*/ 1508842 h 6593118"/>
              <a:gd name="connsiteX4144" fmla="*/ 744124 w 11490376"/>
              <a:gd name="connsiteY4144" fmla="*/ 1479339 h 6593118"/>
              <a:gd name="connsiteX4145" fmla="*/ 712198 w 11490376"/>
              <a:gd name="connsiteY4145" fmla="*/ 1474423 h 6593118"/>
              <a:gd name="connsiteX4146" fmla="*/ 699918 w 11490376"/>
              <a:gd name="connsiteY4146" fmla="*/ 1452295 h 6593118"/>
              <a:gd name="connsiteX4147" fmla="*/ 655713 w 11490376"/>
              <a:gd name="connsiteY4147" fmla="*/ 1467046 h 6593118"/>
              <a:gd name="connsiteX4148" fmla="*/ 648345 w 11490376"/>
              <a:gd name="connsiteY4148" fmla="*/ 1506384 h 6593118"/>
              <a:gd name="connsiteX4149" fmla="*/ 616419 w 11490376"/>
              <a:gd name="connsiteY4149" fmla="*/ 1523595 h 6593118"/>
              <a:gd name="connsiteX4150" fmla="*/ 616419 w 11490376"/>
              <a:gd name="connsiteY4150" fmla="*/ 1526053 h 6593118"/>
              <a:gd name="connsiteX4151" fmla="*/ 616419 w 11490376"/>
              <a:gd name="connsiteY4151" fmla="*/ 1528512 h 6593118"/>
              <a:gd name="connsiteX4152" fmla="*/ 611507 w 11490376"/>
              <a:gd name="connsiteY4152" fmla="*/ 1533428 h 6593118"/>
              <a:gd name="connsiteX4153" fmla="*/ 604140 w 11490376"/>
              <a:gd name="connsiteY4153" fmla="*/ 1540805 h 6593118"/>
              <a:gd name="connsiteX4154" fmla="*/ 599229 w 11490376"/>
              <a:gd name="connsiteY4154" fmla="*/ 1550638 h 6593118"/>
              <a:gd name="connsiteX4155" fmla="*/ 589405 w 11490376"/>
              <a:gd name="connsiteY4155" fmla="*/ 1558015 h 6593118"/>
              <a:gd name="connsiteX4156" fmla="*/ 579581 w 11490376"/>
              <a:gd name="connsiteY4156" fmla="*/ 1567849 h 6593118"/>
              <a:gd name="connsiteX4157" fmla="*/ 572213 w 11490376"/>
              <a:gd name="connsiteY4157" fmla="*/ 1575224 h 6593118"/>
              <a:gd name="connsiteX4158" fmla="*/ 562391 w 11490376"/>
              <a:gd name="connsiteY4158" fmla="*/ 1582601 h 6593118"/>
              <a:gd name="connsiteX4159" fmla="*/ 552567 w 11490376"/>
              <a:gd name="connsiteY4159" fmla="*/ 1585059 h 6593118"/>
              <a:gd name="connsiteX4160" fmla="*/ 542744 w 11490376"/>
              <a:gd name="connsiteY4160" fmla="*/ 1587519 h 6593118"/>
              <a:gd name="connsiteX4161" fmla="*/ 532920 w 11490376"/>
              <a:gd name="connsiteY4161" fmla="*/ 1587519 h 6593118"/>
              <a:gd name="connsiteX4162" fmla="*/ 505906 w 11490376"/>
              <a:gd name="connsiteY4162" fmla="*/ 1567849 h 6593118"/>
              <a:gd name="connsiteX4163" fmla="*/ 530465 w 11490376"/>
              <a:gd name="connsiteY4163" fmla="*/ 1550638 h 6593118"/>
              <a:gd name="connsiteX4164" fmla="*/ 513273 w 11490376"/>
              <a:gd name="connsiteY4164" fmla="*/ 1526053 h 6593118"/>
              <a:gd name="connsiteX4165" fmla="*/ 606596 w 11490376"/>
              <a:gd name="connsiteY4165" fmla="*/ 1459671 h 6593118"/>
              <a:gd name="connsiteX4166" fmla="*/ 547656 w 11490376"/>
              <a:gd name="connsiteY4166" fmla="*/ 1444920 h 6593118"/>
              <a:gd name="connsiteX4167" fmla="*/ 481347 w 11490376"/>
              <a:gd name="connsiteY4167" fmla="*/ 1526053 h 6593118"/>
              <a:gd name="connsiteX4168" fmla="*/ 427318 w 11490376"/>
              <a:gd name="connsiteY4168" fmla="*/ 1577684 h 6593118"/>
              <a:gd name="connsiteX4169" fmla="*/ 434686 w 11490376"/>
              <a:gd name="connsiteY4169" fmla="*/ 1609645 h 6593118"/>
              <a:gd name="connsiteX4170" fmla="*/ 385570 w 11490376"/>
              <a:gd name="connsiteY4170" fmla="*/ 1641608 h 6593118"/>
              <a:gd name="connsiteX4171" fmla="*/ 358554 w 11490376"/>
              <a:gd name="connsiteY4171" fmla="*/ 1661276 h 6593118"/>
              <a:gd name="connsiteX4172" fmla="*/ 338909 w 11490376"/>
              <a:gd name="connsiteY4172" fmla="*/ 1678486 h 6593118"/>
              <a:gd name="connsiteX4173" fmla="*/ 166998 w 11490376"/>
              <a:gd name="connsiteY4173" fmla="*/ 1794040 h 6593118"/>
              <a:gd name="connsiteX4174" fmla="*/ 2456 w 11490376"/>
              <a:gd name="connsiteY4174" fmla="*/ 1826001 h 6593118"/>
              <a:gd name="connsiteX4175" fmla="*/ 0 w 11490376"/>
              <a:gd name="connsiteY4175" fmla="*/ 1806333 h 6593118"/>
              <a:gd name="connsiteX4176" fmla="*/ 49118 w 11490376"/>
              <a:gd name="connsiteY4176" fmla="*/ 1784205 h 6593118"/>
              <a:gd name="connsiteX4177" fmla="*/ 149807 w 11490376"/>
              <a:gd name="connsiteY4177" fmla="*/ 1737493 h 6593118"/>
              <a:gd name="connsiteX4178" fmla="*/ 292248 w 11490376"/>
              <a:gd name="connsiteY4178" fmla="*/ 1644066 h 6593118"/>
              <a:gd name="connsiteX4179" fmla="*/ 282424 w 11490376"/>
              <a:gd name="connsiteY4179" fmla="*/ 1587519 h 6593118"/>
              <a:gd name="connsiteX4180" fmla="*/ 240673 w 11490376"/>
              <a:gd name="connsiteY4180" fmla="*/ 1602269 h 6593118"/>
              <a:gd name="connsiteX4181" fmla="*/ 223482 w 11490376"/>
              <a:gd name="connsiteY4181" fmla="*/ 1587519 h 6593118"/>
              <a:gd name="connsiteX4182" fmla="*/ 166998 w 11490376"/>
              <a:gd name="connsiteY4182" fmla="*/ 1607187 h 6593118"/>
              <a:gd name="connsiteX4183" fmla="*/ 162086 w 11490376"/>
              <a:gd name="connsiteY4183" fmla="*/ 1567849 h 6593118"/>
              <a:gd name="connsiteX4184" fmla="*/ 181733 w 11490376"/>
              <a:gd name="connsiteY4184" fmla="*/ 1538346 h 6593118"/>
              <a:gd name="connsiteX4185" fmla="*/ 181733 w 11490376"/>
              <a:gd name="connsiteY4185" fmla="*/ 1489174 h 6593118"/>
              <a:gd name="connsiteX4186" fmla="*/ 162086 w 11490376"/>
              <a:gd name="connsiteY4186" fmla="*/ 1518677 h 6593118"/>
              <a:gd name="connsiteX4187" fmla="*/ 125248 w 11490376"/>
              <a:gd name="connsiteY4187" fmla="*/ 1526053 h 6593118"/>
              <a:gd name="connsiteX4188" fmla="*/ 93323 w 11490376"/>
              <a:gd name="connsiteY4188" fmla="*/ 1489174 h 6593118"/>
              <a:gd name="connsiteX4189" fmla="*/ 137529 w 11490376"/>
              <a:gd name="connsiteY4189" fmla="*/ 1462130 h 6593118"/>
              <a:gd name="connsiteX4190" fmla="*/ 105601 w 11490376"/>
              <a:gd name="connsiteY4190" fmla="*/ 1452295 h 6593118"/>
              <a:gd name="connsiteX4191" fmla="*/ 88411 w 11490376"/>
              <a:gd name="connsiteY4191" fmla="*/ 1420334 h 6593118"/>
              <a:gd name="connsiteX4192" fmla="*/ 137529 w 11490376"/>
              <a:gd name="connsiteY4192" fmla="*/ 1395747 h 6593118"/>
              <a:gd name="connsiteX4193" fmla="*/ 142440 w 11490376"/>
              <a:gd name="connsiteY4193" fmla="*/ 1358868 h 6593118"/>
              <a:gd name="connsiteX4194" fmla="*/ 194012 w 11490376"/>
              <a:gd name="connsiteY4194" fmla="*/ 1334283 h 6593118"/>
              <a:gd name="connsiteX4195" fmla="*/ 223482 w 11490376"/>
              <a:gd name="connsiteY4195" fmla="*/ 1358868 h 6593118"/>
              <a:gd name="connsiteX4196" fmla="*/ 235763 w 11490376"/>
              <a:gd name="connsiteY4196" fmla="*/ 1321990 h 6593118"/>
              <a:gd name="connsiteX4197" fmla="*/ 292248 w 11490376"/>
              <a:gd name="connsiteY4197" fmla="*/ 1321990 h 6593118"/>
              <a:gd name="connsiteX4198" fmla="*/ 297158 w 11490376"/>
              <a:gd name="connsiteY4198" fmla="*/ 1277736 h 6593118"/>
              <a:gd name="connsiteX4199" fmla="*/ 319262 w 11490376"/>
              <a:gd name="connsiteY4199" fmla="*/ 1260525 h 6593118"/>
              <a:gd name="connsiteX4200" fmla="*/ 302070 w 11490376"/>
              <a:gd name="connsiteY4200" fmla="*/ 1243315 h 6593118"/>
              <a:gd name="connsiteX4201" fmla="*/ 252953 w 11490376"/>
              <a:gd name="connsiteY4201" fmla="*/ 1272818 h 6593118"/>
              <a:gd name="connsiteX4202" fmla="*/ 181733 w 11490376"/>
              <a:gd name="connsiteY4202" fmla="*/ 1272818 h 6593118"/>
              <a:gd name="connsiteX4203" fmla="*/ 157174 w 11490376"/>
              <a:gd name="connsiteY4203" fmla="*/ 1255608 h 6593118"/>
              <a:gd name="connsiteX4204" fmla="*/ 162086 w 11490376"/>
              <a:gd name="connsiteY4204" fmla="*/ 1218729 h 6593118"/>
              <a:gd name="connsiteX4205" fmla="*/ 125248 w 11490376"/>
              <a:gd name="connsiteY4205" fmla="*/ 1199061 h 6593118"/>
              <a:gd name="connsiteX4206" fmla="*/ 142440 w 11490376"/>
              <a:gd name="connsiteY4206" fmla="*/ 1174475 h 6593118"/>
              <a:gd name="connsiteX4207" fmla="*/ 203836 w 11490376"/>
              <a:gd name="connsiteY4207" fmla="*/ 1167098 h 6593118"/>
              <a:gd name="connsiteX4208" fmla="*/ 203836 w 11490376"/>
              <a:gd name="connsiteY4208" fmla="*/ 1149889 h 6593118"/>
              <a:gd name="connsiteX4209" fmla="*/ 240673 w 11490376"/>
              <a:gd name="connsiteY4209" fmla="*/ 1137596 h 6593118"/>
              <a:gd name="connsiteX4210" fmla="*/ 265232 w 11490376"/>
              <a:gd name="connsiteY4210" fmla="*/ 1167098 h 6593118"/>
              <a:gd name="connsiteX4211" fmla="*/ 314350 w 11490376"/>
              <a:gd name="connsiteY4211" fmla="*/ 1154807 h 6593118"/>
              <a:gd name="connsiteX4212" fmla="*/ 388025 w 11490376"/>
              <a:gd name="connsiteY4212" fmla="*/ 1142514 h 6593118"/>
              <a:gd name="connsiteX4213" fmla="*/ 282424 w 11490376"/>
              <a:gd name="connsiteY4213" fmla="*/ 1100718 h 6593118"/>
              <a:gd name="connsiteX4214" fmla="*/ 216115 w 11490376"/>
              <a:gd name="connsiteY4214" fmla="*/ 1051545 h 6593118"/>
              <a:gd name="connsiteX4215" fmla="*/ 228394 w 11490376"/>
              <a:gd name="connsiteY4215" fmla="*/ 1022042 h 6593118"/>
              <a:gd name="connsiteX4216" fmla="*/ 351187 w 11490376"/>
              <a:gd name="connsiteY4216" fmla="*/ 1002373 h 6593118"/>
              <a:gd name="connsiteX4217" fmla="*/ 383113 w 11490376"/>
              <a:gd name="connsiteY4217" fmla="*/ 933532 h 6593118"/>
              <a:gd name="connsiteX4218" fmla="*/ 469068 w 11490376"/>
              <a:gd name="connsiteY4218" fmla="*/ 928616 h 6593118"/>
              <a:gd name="connsiteX4219" fmla="*/ 486259 w 11490376"/>
              <a:gd name="connsiteY4219" fmla="*/ 891737 h 6593118"/>
              <a:gd name="connsiteX4220" fmla="*/ 562391 w 11490376"/>
              <a:gd name="connsiteY4220" fmla="*/ 891737 h 6593118"/>
              <a:gd name="connsiteX4221" fmla="*/ 589405 w 11490376"/>
              <a:gd name="connsiteY4221" fmla="*/ 867150 h 6593118"/>
              <a:gd name="connsiteX4222" fmla="*/ 616419 w 11490376"/>
              <a:gd name="connsiteY4222" fmla="*/ 869610 h 6593118"/>
              <a:gd name="connsiteX4223" fmla="*/ 616419 w 11490376"/>
              <a:gd name="connsiteY4223" fmla="*/ 904030 h 6593118"/>
              <a:gd name="connsiteX4224" fmla="*/ 670449 w 11490376"/>
              <a:gd name="connsiteY4224" fmla="*/ 911404 h 6593118"/>
              <a:gd name="connsiteX4225" fmla="*/ 707286 w 11490376"/>
              <a:gd name="connsiteY4225" fmla="*/ 876985 h 6593118"/>
              <a:gd name="connsiteX4226" fmla="*/ 744124 w 11490376"/>
              <a:gd name="connsiteY4226" fmla="*/ 928616 h 6593118"/>
              <a:gd name="connsiteX4227" fmla="*/ 854642 w 11490376"/>
              <a:gd name="connsiteY4227" fmla="*/ 918781 h 6593118"/>
              <a:gd name="connsiteX4228" fmla="*/ 879200 w 11490376"/>
              <a:gd name="connsiteY4228" fmla="*/ 943367 h 6593118"/>
              <a:gd name="connsiteX4229" fmla="*/ 916039 w 11490376"/>
              <a:gd name="connsiteY4229" fmla="*/ 940908 h 6593118"/>
              <a:gd name="connsiteX4230" fmla="*/ 1001993 w 11490376"/>
              <a:gd name="connsiteY4230" fmla="*/ 931074 h 6593118"/>
              <a:gd name="connsiteX4231" fmla="*/ 1038830 w 11490376"/>
              <a:gd name="connsiteY4231" fmla="*/ 965495 h 6593118"/>
              <a:gd name="connsiteX4232" fmla="*/ 881656 w 11490376"/>
              <a:gd name="connsiteY4232" fmla="*/ 1506384 h 6593118"/>
              <a:gd name="connsiteX4233" fmla="*/ 884814 w 11490376"/>
              <a:gd name="connsiteY4233" fmla="*/ 1505169 h 6593118"/>
              <a:gd name="connsiteX4234" fmla="*/ 1042021 w 11490376"/>
              <a:gd name="connsiteY4234" fmla="*/ 967880 h 6593118"/>
              <a:gd name="connsiteX4235" fmla="*/ 1142721 w 11490376"/>
              <a:gd name="connsiteY4235" fmla="*/ 985398 h 6593118"/>
              <a:gd name="connsiteX4236" fmla="*/ 1232474 w 11490376"/>
              <a:gd name="connsiteY4236" fmla="*/ 1029193 h 6593118"/>
              <a:gd name="connsiteX4237" fmla="*/ 1271880 w 11490376"/>
              <a:gd name="connsiteY4237" fmla="*/ 1031384 h 6593118"/>
              <a:gd name="connsiteX4238" fmla="*/ 1274068 w 11490376"/>
              <a:gd name="connsiteY4238" fmla="*/ 998537 h 6593118"/>
              <a:gd name="connsiteX4239" fmla="*/ 1309094 w 11490376"/>
              <a:gd name="connsiteY4239" fmla="*/ 970070 h 6593118"/>
              <a:gd name="connsiteX4240" fmla="*/ 1394469 w 11490376"/>
              <a:gd name="connsiteY4240" fmla="*/ 917516 h 6593118"/>
              <a:gd name="connsiteX4241" fmla="*/ 1420739 w 11490376"/>
              <a:gd name="connsiteY4241" fmla="*/ 930654 h 6593118"/>
              <a:gd name="connsiteX4242" fmla="*/ 1357254 w 11490376"/>
              <a:gd name="connsiteY4242" fmla="*/ 970070 h 6593118"/>
              <a:gd name="connsiteX4243" fmla="*/ 1425116 w 11490376"/>
              <a:gd name="connsiteY4243" fmla="*/ 967880 h 6593118"/>
              <a:gd name="connsiteX4244" fmla="*/ 1447007 w 11490376"/>
              <a:gd name="connsiteY4244" fmla="*/ 943793 h 6593118"/>
              <a:gd name="connsiteX4245" fmla="*/ 1462333 w 11490376"/>
              <a:gd name="connsiteY4245" fmla="*/ 917516 h 6593118"/>
              <a:gd name="connsiteX4246" fmla="*/ 1484223 w 11490376"/>
              <a:gd name="connsiteY4246" fmla="*/ 906566 h 6593118"/>
              <a:gd name="connsiteX4247" fmla="*/ 1512682 w 11490376"/>
              <a:gd name="connsiteY4247" fmla="*/ 959121 h 6593118"/>
              <a:gd name="connsiteX4248" fmla="*/ 1554274 w 11490376"/>
              <a:gd name="connsiteY4248" fmla="*/ 963501 h 6593118"/>
              <a:gd name="connsiteX4249" fmla="*/ 1573976 w 11490376"/>
              <a:gd name="connsiteY4249" fmla="*/ 943793 h 6593118"/>
              <a:gd name="connsiteX4250" fmla="*/ 1595868 w 11490376"/>
              <a:gd name="connsiteY4250" fmla="*/ 978828 h 6593118"/>
              <a:gd name="connsiteX4251" fmla="*/ 1628705 w 11490376"/>
              <a:gd name="connsiteY4251" fmla="*/ 956932 h 6593118"/>
              <a:gd name="connsiteX4252" fmla="*/ 1757863 w 11490376"/>
              <a:gd name="connsiteY4252" fmla="*/ 998537 h 6593118"/>
              <a:gd name="connsiteX4253" fmla="*/ 1841049 w 11490376"/>
              <a:gd name="connsiteY4253" fmla="*/ 1000726 h 6593118"/>
              <a:gd name="connsiteX4254" fmla="*/ 1902344 w 11490376"/>
              <a:gd name="connsiteY4254" fmla="*/ 1031384 h 6593118"/>
              <a:gd name="connsiteX4255" fmla="*/ 1891399 w 11490376"/>
              <a:gd name="connsiteY4255" fmla="*/ 1077369 h 6593118"/>
              <a:gd name="connsiteX4256" fmla="*/ 1972396 w 11490376"/>
              <a:gd name="connsiteY4256" fmla="*/ 1051092 h 6593118"/>
              <a:gd name="connsiteX4257" fmla="*/ 2033692 w 11490376"/>
              <a:gd name="connsiteY4257" fmla="*/ 1108027 h 6593118"/>
              <a:gd name="connsiteX4258" fmla="*/ 2075286 w 11490376"/>
              <a:gd name="connsiteY4258" fmla="*/ 1105836 h 6593118"/>
              <a:gd name="connsiteX4259" fmla="*/ 2070906 w 11490376"/>
              <a:gd name="connsiteY4259" fmla="*/ 1077369 h 6593118"/>
              <a:gd name="connsiteX4260" fmla="*/ 2119068 w 11490376"/>
              <a:gd name="connsiteY4260" fmla="*/ 1027004 h 6593118"/>
              <a:gd name="connsiteX4261" fmla="*/ 2171606 w 11490376"/>
              <a:gd name="connsiteY4261" fmla="*/ 1066419 h 6593118"/>
              <a:gd name="connsiteX4262" fmla="*/ 2327026 w 11490376"/>
              <a:gd name="connsiteY4262" fmla="*/ 1077369 h 6593118"/>
              <a:gd name="connsiteX4263" fmla="*/ 2355482 w 11490376"/>
              <a:gd name="connsiteY4263" fmla="*/ 1040143 h 6593118"/>
              <a:gd name="connsiteX4264" fmla="*/ 2399265 w 11490376"/>
              <a:gd name="connsiteY4264" fmla="*/ 1035762 h 6593118"/>
              <a:gd name="connsiteX4265" fmla="*/ 2423344 w 11490376"/>
              <a:gd name="connsiteY4265" fmla="*/ 1070799 h 6593118"/>
              <a:gd name="connsiteX4266" fmla="*/ 2462752 w 11490376"/>
              <a:gd name="connsiteY4266" fmla="*/ 1051092 h 6593118"/>
              <a:gd name="connsiteX4267" fmla="*/ 2497775 w 11490376"/>
              <a:gd name="connsiteY4267" fmla="*/ 1027004 h 6593118"/>
              <a:gd name="connsiteX4268" fmla="*/ 2480264 w 11490376"/>
              <a:gd name="connsiteY4268" fmla="*/ 956932 h 6593118"/>
              <a:gd name="connsiteX4269" fmla="*/ 2434292 w 11490376"/>
              <a:gd name="connsiteY4269" fmla="*/ 924085 h 6593118"/>
              <a:gd name="connsiteX4270" fmla="*/ 2467129 w 11490376"/>
              <a:gd name="connsiteY4270" fmla="*/ 904377 h 6593118"/>
              <a:gd name="connsiteX4271" fmla="*/ 2486831 w 11490376"/>
              <a:gd name="connsiteY4271" fmla="*/ 871531 h 6593118"/>
              <a:gd name="connsiteX4272" fmla="*/ 5106475 w 11490376"/>
              <a:gd name="connsiteY4272" fmla="*/ 843063 h 6593118"/>
              <a:gd name="connsiteX4273" fmla="*/ 5142047 w 11490376"/>
              <a:gd name="connsiteY4273" fmla="*/ 867981 h 6593118"/>
              <a:gd name="connsiteX4274" fmla="*/ 5087503 w 11490376"/>
              <a:gd name="connsiteY4274" fmla="*/ 912834 h 6593118"/>
              <a:gd name="connsiteX4275" fmla="*/ 10940158 w 11490376"/>
              <a:gd name="connsiteY4275" fmla="*/ 783939 h 6593118"/>
              <a:gd name="connsiteX4276" fmla="*/ 10973795 w 11490376"/>
              <a:gd name="connsiteY4276" fmla="*/ 803403 h 6593118"/>
              <a:gd name="connsiteX4277" fmla="*/ 10964185 w 11490376"/>
              <a:gd name="connsiteY4277" fmla="*/ 839900 h 6593118"/>
              <a:gd name="connsiteX4278" fmla="*/ 10925741 w 11490376"/>
              <a:gd name="connsiteY4278" fmla="*/ 842332 h 6593118"/>
              <a:gd name="connsiteX4279" fmla="*/ 10877687 w 11490376"/>
              <a:gd name="connsiteY4279" fmla="*/ 847199 h 6593118"/>
              <a:gd name="connsiteX4280" fmla="*/ 10884896 w 11490376"/>
              <a:gd name="connsiteY4280" fmla="*/ 815569 h 6593118"/>
              <a:gd name="connsiteX4281" fmla="*/ 10913728 w 11490376"/>
              <a:gd name="connsiteY4281" fmla="*/ 788805 h 6593118"/>
              <a:gd name="connsiteX4282" fmla="*/ 2132460 w 11490376"/>
              <a:gd name="connsiteY4282" fmla="*/ 733576 h 6593118"/>
              <a:gd name="connsiteX4283" fmla="*/ 2206223 w 11490376"/>
              <a:gd name="connsiteY4283" fmla="*/ 745829 h 6593118"/>
              <a:gd name="connsiteX4284" fmla="*/ 2186552 w 11490376"/>
              <a:gd name="connsiteY4284" fmla="*/ 787495 h 6593118"/>
              <a:gd name="connsiteX4285" fmla="*/ 2225893 w 11490376"/>
              <a:gd name="connsiteY4285" fmla="*/ 863474 h 6593118"/>
              <a:gd name="connsiteX4286" fmla="*/ 2287354 w 11490376"/>
              <a:gd name="connsiteY4286" fmla="*/ 900238 h 6593118"/>
              <a:gd name="connsiteX4287" fmla="*/ 2230810 w 11490376"/>
              <a:gd name="connsiteY4287" fmla="*/ 910042 h 6593118"/>
              <a:gd name="connsiteX4288" fmla="*/ 2252938 w 11490376"/>
              <a:gd name="connsiteY4288" fmla="*/ 973766 h 6593118"/>
              <a:gd name="connsiteX4289" fmla="*/ 2161963 w 11490376"/>
              <a:gd name="connsiteY4289" fmla="*/ 990922 h 6593118"/>
              <a:gd name="connsiteX4290" fmla="*/ 2016901 w 11490376"/>
              <a:gd name="connsiteY4290" fmla="*/ 998277 h 6593118"/>
              <a:gd name="connsiteX4291" fmla="*/ 1930846 w 11490376"/>
              <a:gd name="connsiteY4291" fmla="*/ 998277 h 6593118"/>
              <a:gd name="connsiteX4292" fmla="*/ 1869379 w 11490376"/>
              <a:gd name="connsiteY4292" fmla="*/ 966413 h 6593118"/>
              <a:gd name="connsiteX4293" fmla="*/ 1800535 w 11490376"/>
              <a:gd name="connsiteY4293" fmla="*/ 929649 h 6593118"/>
              <a:gd name="connsiteX4294" fmla="*/ 1820205 w 11490376"/>
              <a:gd name="connsiteY4294" fmla="*/ 910042 h 6593118"/>
              <a:gd name="connsiteX4295" fmla="*/ 1918552 w 11490376"/>
              <a:gd name="connsiteY4295" fmla="*/ 885532 h 6593118"/>
              <a:gd name="connsiteX4296" fmla="*/ 1790699 w 11490376"/>
              <a:gd name="connsiteY4296" fmla="*/ 863474 h 6593118"/>
              <a:gd name="connsiteX4297" fmla="*/ 1795617 w 11490376"/>
              <a:gd name="connsiteY4297" fmla="*/ 831612 h 6593118"/>
              <a:gd name="connsiteX4298" fmla="*/ 1874297 w 11490376"/>
              <a:gd name="connsiteY4298" fmla="*/ 824259 h 6593118"/>
              <a:gd name="connsiteX4299" fmla="*/ 1874297 w 11490376"/>
              <a:gd name="connsiteY4299" fmla="*/ 794849 h 6593118"/>
              <a:gd name="connsiteX4300" fmla="*/ 1943141 w 11490376"/>
              <a:gd name="connsiteY4300" fmla="*/ 755633 h 6593118"/>
              <a:gd name="connsiteX4301" fmla="*/ 1999691 w 11490376"/>
              <a:gd name="connsiteY4301" fmla="*/ 740927 h 6593118"/>
              <a:gd name="connsiteX4302" fmla="*/ 2021818 w 11490376"/>
              <a:gd name="connsiteY4302" fmla="*/ 787495 h 6593118"/>
              <a:gd name="connsiteX4303" fmla="*/ 2046407 w 11490376"/>
              <a:gd name="connsiteY4303" fmla="*/ 745829 h 6593118"/>
              <a:gd name="connsiteX4304" fmla="*/ 2078370 w 11490376"/>
              <a:gd name="connsiteY4304" fmla="*/ 767887 h 6593118"/>
              <a:gd name="connsiteX4305" fmla="*/ 2115250 w 11490376"/>
              <a:gd name="connsiteY4305" fmla="*/ 812006 h 6593118"/>
              <a:gd name="connsiteX4306" fmla="*/ 2795110 w 11490376"/>
              <a:gd name="connsiteY4306" fmla="*/ 681019 h 6593118"/>
              <a:gd name="connsiteX4307" fmla="*/ 2770510 w 11490376"/>
              <a:gd name="connsiteY4307" fmla="*/ 769672 h 6593118"/>
              <a:gd name="connsiteX4308" fmla="*/ 2814793 w 11490376"/>
              <a:gd name="connsiteY4308" fmla="*/ 779522 h 6593118"/>
              <a:gd name="connsiteX4309" fmla="*/ 2822173 w 11490376"/>
              <a:gd name="connsiteY4309" fmla="*/ 735196 h 6593118"/>
              <a:gd name="connsiteX4310" fmla="*/ 2863999 w 11490376"/>
              <a:gd name="connsiteY4310" fmla="*/ 681019 h 6593118"/>
              <a:gd name="connsiteX4311" fmla="*/ 2947641 w 11490376"/>
              <a:gd name="connsiteY4311" fmla="*/ 685945 h 6593118"/>
              <a:gd name="connsiteX4312" fmla="*/ 2932881 w 11490376"/>
              <a:gd name="connsiteY4312" fmla="*/ 796759 h 6593118"/>
              <a:gd name="connsiteX4313" fmla="*/ 2967320 w 11490376"/>
              <a:gd name="connsiteY4313" fmla="*/ 747509 h 6593118"/>
              <a:gd name="connsiteX4314" fmla="*/ 3092784 w 11490376"/>
              <a:gd name="connsiteY4314" fmla="*/ 735196 h 6593118"/>
              <a:gd name="connsiteX4315" fmla="*/ 3139530 w 11490376"/>
              <a:gd name="connsiteY4315" fmla="*/ 813998 h 6593118"/>
              <a:gd name="connsiteX4316" fmla="*/ 3201040 w 11490376"/>
              <a:gd name="connsiteY4316" fmla="*/ 846010 h 6593118"/>
              <a:gd name="connsiteX4317" fmla="*/ 3301907 w 11490376"/>
              <a:gd name="connsiteY4317" fmla="*/ 887874 h 6593118"/>
              <a:gd name="connsiteX4318" fmla="*/ 3328968 w 11490376"/>
              <a:gd name="connsiteY4318" fmla="*/ 942049 h 6593118"/>
              <a:gd name="connsiteX4319" fmla="*/ 3294526 w 11490376"/>
              <a:gd name="connsiteY4319" fmla="*/ 983914 h 6593118"/>
              <a:gd name="connsiteX4320" fmla="*/ 3343730 w 11490376"/>
              <a:gd name="connsiteY4320" fmla="*/ 1052864 h 6593118"/>
              <a:gd name="connsiteX4321" fmla="*/ 3410157 w 11490376"/>
              <a:gd name="connsiteY4321" fmla="*/ 1072565 h 6593118"/>
              <a:gd name="connsiteX4322" fmla="*/ 3471661 w 11490376"/>
              <a:gd name="connsiteY4322" fmla="*/ 1114427 h 6593118"/>
              <a:gd name="connsiteX4323" fmla="*/ 3447060 w 11490376"/>
              <a:gd name="connsiteY4323" fmla="*/ 1156291 h 6593118"/>
              <a:gd name="connsiteX4324" fmla="*/ 3410157 w 11490376"/>
              <a:gd name="connsiteY4324" fmla="*/ 1217855 h 6593118"/>
              <a:gd name="connsiteX4325" fmla="*/ 3314209 w 11490376"/>
              <a:gd name="connsiteY4325" fmla="*/ 1119353 h 6593118"/>
              <a:gd name="connsiteX4326" fmla="*/ 3282226 w 11490376"/>
              <a:gd name="connsiteY4326" fmla="*/ 1129204 h 6593118"/>
              <a:gd name="connsiteX4327" fmla="*/ 3274845 w 11490376"/>
              <a:gd name="connsiteY4327" fmla="*/ 1200616 h 6593118"/>
              <a:gd name="connsiteX4328" fmla="*/ 3336350 w 11490376"/>
              <a:gd name="connsiteY4328" fmla="*/ 1210467 h 6593118"/>
              <a:gd name="connsiteX4329" fmla="*/ 3356031 w 11490376"/>
              <a:gd name="connsiteY4329" fmla="*/ 1286805 h 6593118"/>
              <a:gd name="connsiteX4330" fmla="*/ 3328968 w 11490376"/>
              <a:gd name="connsiteY4330" fmla="*/ 1345906 h 6593118"/>
              <a:gd name="connsiteX4331" fmla="*/ 3245323 w 11490376"/>
              <a:gd name="connsiteY4331" fmla="*/ 1291729 h 6593118"/>
              <a:gd name="connsiteX4332" fmla="*/ 3287145 w 11490376"/>
              <a:gd name="connsiteY4332" fmla="*/ 1390232 h 6593118"/>
              <a:gd name="connsiteX4333" fmla="*/ 3164133 w 11490376"/>
              <a:gd name="connsiteY4333" fmla="*/ 1328669 h 6593118"/>
              <a:gd name="connsiteX4334" fmla="*/ 3073103 w 11490376"/>
              <a:gd name="connsiteY4334" fmla="*/ 1254791 h 6593118"/>
              <a:gd name="connsiteX4335" fmla="*/ 2982083 w 11490376"/>
              <a:gd name="connsiteY4335" fmla="*/ 1279417 h 6593118"/>
              <a:gd name="connsiteX4336" fmla="*/ 2937800 w 11490376"/>
              <a:gd name="connsiteY4336" fmla="*/ 1237556 h 6593118"/>
              <a:gd name="connsiteX4337" fmla="*/ 2962402 w 11490376"/>
              <a:gd name="connsiteY4337" fmla="*/ 1200616 h 6593118"/>
              <a:gd name="connsiteX4338" fmla="*/ 3073103 w 11490376"/>
              <a:gd name="connsiteY4338" fmla="*/ 1175991 h 6593118"/>
              <a:gd name="connsiteX4339" fmla="*/ 3139530 w 11490376"/>
              <a:gd name="connsiteY4339" fmla="*/ 1102114 h 6593118"/>
              <a:gd name="connsiteX4340" fmla="*/ 3134608 w 11490376"/>
              <a:gd name="connsiteY4340" fmla="*/ 1035625 h 6593118"/>
              <a:gd name="connsiteX4341" fmla="*/ 3097705 w 11490376"/>
              <a:gd name="connsiteY4341" fmla="*/ 1003613 h 6593118"/>
              <a:gd name="connsiteX4342" fmla="*/ 3036203 w 11490376"/>
              <a:gd name="connsiteY4342" fmla="*/ 1003613 h 6593118"/>
              <a:gd name="connsiteX4343" fmla="*/ 3041123 w 11490376"/>
              <a:gd name="connsiteY4343" fmla="*/ 961750 h 6593118"/>
              <a:gd name="connsiteX4344" fmla="*/ 2974700 w 11490376"/>
              <a:gd name="connsiteY4344" fmla="*/ 900185 h 6593118"/>
              <a:gd name="connsiteX4345" fmla="*/ 2918119 w 11490376"/>
              <a:gd name="connsiteY4345" fmla="*/ 937125 h 6593118"/>
              <a:gd name="connsiteX4346" fmla="*/ 2846779 w 11490376"/>
              <a:gd name="connsiteY4346" fmla="*/ 900185 h 6593118"/>
              <a:gd name="connsiteX4347" fmla="*/ 2728680 w 11490376"/>
              <a:gd name="connsiteY4347" fmla="*/ 917424 h 6593118"/>
              <a:gd name="connsiteX4348" fmla="*/ 2716380 w 11490376"/>
              <a:gd name="connsiteY4348" fmla="*/ 895261 h 6593118"/>
              <a:gd name="connsiteX4349" fmla="*/ 2740983 w 11490376"/>
              <a:gd name="connsiteY4349" fmla="*/ 868173 h 6593118"/>
              <a:gd name="connsiteX4350" fmla="*/ 2686855 w 11490376"/>
              <a:gd name="connsiteY4350" fmla="*/ 846010 h 6593118"/>
              <a:gd name="connsiteX4351" fmla="*/ 2679474 w 11490376"/>
              <a:gd name="connsiteY4351" fmla="*/ 779522 h 6593118"/>
              <a:gd name="connsiteX4352" fmla="*/ 2721300 w 11490376"/>
              <a:gd name="connsiteY4352" fmla="*/ 703182 h 6593118"/>
              <a:gd name="connsiteX4353" fmla="*/ 2205903 w 11490376"/>
              <a:gd name="connsiteY4353" fmla="*/ 681019 h 6593118"/>
              <a:gd name="connsiteX4354" fmla="*/ 2208456 w 11490376"/>
              <a:gd name="connsiteY4354" fmla="*/ 681019 h 6593118"/>
              <a:gd name="connsiteX4355" fmla="*/ 2213564 w 11490376"/>
              <a:gd name="connsiteY4355" fmla="*/ 681019 h 6593118"/>
              <a:gd name="connsiteX4356" fmla="*/ 2218673 w 11490376"/>
              <a:gd name="connsiteY4356" fmla="*/ 681019 h 6593118"/>
              <a:gd name="connsiteX4357" fmla="*/ 2226334 w 11490376"/>
              <a:gd name="connsiteY4357" fmla="*/ 681019 h 6593118"/>
              <a:gd name="connsiteX4358" fmla="*/ 2228888 w 11490376"/>
              <a:gd name="connsiteY4358" fmla="*/ 681019 h 6593118"/>
              <a:gd name="connsiteX4359" fmla="*/ 2233995 w 11490376"/>
              <a:gd name="connsiteY4359" fmla="*/ 681019 h 6593118"/>
              <a:gd name="connsiteX4360" fmla="*/ 2239104 w 11490376"/>
              <a:gd name="connsiteY4360" fmla="*/ 683648 h 6593118"/>
              <a:gd name="connsiteX4361" fmla="*/ 2244212 w 11490376"/>
              <a:gd name="connsiteY4361" fmla="*/ 686275 h 6593118"/>
              <a:gd name="connsiteX4362" fmla="*/ 2246765 w 11490376"/>
              <a:gd name="connsiteY4362" fmla="*/ 688903 h 6593118"/>
              <a:gd name="connsiteX4363" fmla="*/ 2251874 w 11490376"/>
              <a:gd name="connsiteY4363" fmla="*/ 688903 h 6593118"/>
              <a:gd name="connsiteX4364" fmla="*/ 2254428 w 11490376"/>
              <a:gd name="connsiteY4364" fmla="*/ 691532 h 6593118"/>
              <a:gd name="connsiteX4365" fmla="*/ 2254428 w 11490376"/>
              <a:gd name="connsiteY4365" fmla="*/ 696786 h 6593118"/>
              <a:gd name="connsiteX4366" fmla="*/ 2254428 w 11490376"/>
              <a:gd name="connsiteY4366" fmla="*/ 699414 h 6593118"/>
              <a:gd name="connsiteX4367" fmla="*/ 2254428 w 11490376"/>
              <a:gd name="connsiteY4367" fmla="*/ 702042 h 6593118"/>
              <a:gd name="connsiteX4368" fmla="*/ 2254428 w 11490376"/>
              <a:gd name="connsiteY4368" fmla="*/ 704668 h 6593118"/>
              <a:gd name="connsiteX4369" fmla="*/ 2254428 w 11490376"/>
              <a:gd name="connsiteY4369" fmla="*/ 707297 h 6593118"/>
              <a:gd name="connsiteX4370" fmla="*/ 2251874 w 11490376"/>
              <a:gd name="connsiteY4370" fmla="*/ 709925 h 6593118"/>
              <a:gd name="connsiteX4371" fmla="*/ 2246765 w 11490376"/>
              <a:gd name="connsiteY4371" fmla="*/ 709925 h 6593118"/>
              <a:gd name="connsiteX4372" fmla="*/ 2244212 w 11490376"/>
              <a:gd name="connsiteY4372" fmla="*/ 712552 h 6593118"/>
              <a:gd name="connsiteX4373" fmla="*/ 2239104 w 11490376"/>
              <a:gd name="connsiteY4373" fmla="*/ 715179 h 6593118"/>
              <a:gd name="connsiteX4374" fmla="*/ 2233995 w 11490376"/>
              <a:gd name="connsiteY4374" fmla="*/ 717809 h 6593118"/>
              <a:gd name="connsiteX4375" fmla="*/ 2228888 w 11490376"/>
              <a:gd name="connsiteY4375" fmla="*/ 717809 h 6593118"/>
              <a:gd name="connsiteX4376" fmla="*/ 2226334 w 11490376"/>
              <a:gd name="connsiteY4376" fmla="*/ 717809 h 6593118"/>
              <a:gd name="connsiteX4377" fmla="*/ 2218673 w 11490376"/>
              <a:gd name="connsiteY4377" fmla="*/ 717809 h 6593118"/>
              <a:gd name="connsiteX4378" fmla="*/ 2213564 w 11490376"/>
              <a:gd name="connsiteY4378" fmla="*/ 717809 h 6593118"/>
              <a:gd name="connsiteX4379" fmla="*/ 2208456 w 11490376"/>
              <a:gd name="connsiteY4379" fmla="*/ 717809 h 6593118"/>
              <a:gd name="connsiteX4380" fmla="*/ 2205903 w 11490376"/>
              <a:gd name="connsiteY4380" fmla="*/ 717809 h 6593118"/>
              <a:gd name="connsiteX4381" fmla="*/ 2200795 w 11490376"/>
              <a:gd name="connsiteY4381" fmla="*/ 715179 h 6593118"/>
              <a:gd name="connsiteX4382" fmla="*/ 2195686 w 11490376"/>
              <a:gd name="connsiteY4382" fmla="*/ 712552 h 6593118"/>
              <a:gd name="connsiteX4383" fmla="*/ 2193133 w 11490376"/>
              <a:gd name="connsiteY4383" fmla="*/ 712552 h 6593118"/>
              <a:gd name="connsiteX4384" fmla="*/ 2190578 w 11490376"/>
              <a:gd name="connsiteY4384" fmla="*/ 709925 h 6593118"/>
              <a:gd name="connsiteX4385" fmla="*/ 2185472 w 11490376"/>
              <a:gd name="connsiteY4385" fmla="*/ 709925 h 6593118"/>
              <a:gd name="connsiteX4386" fmla="*/ 2185472 w 11490376"/>
              <a:gd name="connsiteY4386" fmla="*/ 707297 h 6593118"/>
              <a:gd name="connsiteX4387" fmla="*/ 2182918 w 11490376"/>
              <a:gd name="connsiteY4387" fmla="*/ 704668 h 6593118"/>
              <a:gd name="connsiteX4388" fmla="*/ 2182918 w 11490376"/>
              <a:gd name="connsiteY4388" fmla="*/ 702042 h 6593118"/>
              <a:gd name="connsiteX4389" fmla="*/ 2180362 w 11490376"/>
              <a:gd name="connsiteY4389" fmla="*/ 699414 h 6593118"/>
              <a:gd name="connsiteX4390" fmla="*/ 2182918 w 11490376"/>
              <a:gd name="connsiteY4390" fmla="*/ 699414 h 6593118"/>
              <a:gd name="connsiteX4391" fmla="*/ 2182918 w 11490376"/>
              <a:gd name="connsiteY4391" fmla="*/ 696786 h 6593118"/>
              <a:gd name="connsiteX4392" fmla="*/ 2185472 w 11490376"/>
              <a:gd name="connsiteY4392" fmla="*/ 691532 h 6593118"/>
              <a:gd name="connsiteX4393" fmla="*/ 2185472 w 11490376"/>
              <a:gd name="connsiteY4393" fmla="*/ 688903 h 6593118"/>
              <a:gd name="connsiteX4394" fmla="*/ 2190578 w 11490376"/>
              <a:gd name="connsiteY4394" fmla="*/ 688903 h 6593118"/>
              <a:gd name="connsiteX4395" fmla="*/ 2193133 w 11490376"/>
              <a:gd name="connsiteY4395" fmla="*/ 686275 h 6593118"/>
              <a:gd name="connsiteX4396" fmla="*/ 2195686 w 11490376"/>
              <a:gd name="connsiteY4396" fmla="*/ 686275 h 6593118"/>
              <a:gd name="connsiteX4397" fmla="*/ 2200795 w 11490376"/>
              <a:gd name="connsiteY4397" fmla="*/ 683648 h 6593118"/>
              <a:gd name="connsiteX4398" fmla="*/ 2439292 w 11490376"/>
              <a:gd name="connsiteY4398" fmla="*/ 672261 h 6593118"/>
              <a:gd name="connsiteX4399" fmla="*/ 2431940 w 11490376"/>
              <a:gd name="connsiteY4399" fmla="*/ 740580 h 6593118"/>
              <a:gd name="connsiteX4400" fmla="*/ 2451544 w 11490376"/>
              <a:gd name="connsiteY4400" fmla="*/ 784502 h 6593118"/>
              <a:gd name="connsiteX4401" fmla="*/ 2419689 w 11490376"/>
              <a:gd name="connsiteY4401" fmla="*/ 840623 h 6593118"/>
              <a:gd name="connsiteX4402" fmla="*/ 2365776 w 11490376"/>
              <a:gd name="connsiteY4402" fmla="*/ 833303 h 6593118"/>
              <a:gd name="connsiteX4403" fmla="*/ 2341271 w 11490376"/>
              <a:gd name="connsiteY4403" fmla="*/ 801583 h 6593118"/>
              <a:gd name="connsiteX4404" fmla="*/ 2289812 w 11490376"/>
              <a:gd name="connsiteY4404" fmla="*/ 772302 h 6593118"/>
              <a:gd name="connsiteX4405" fmla="*/ 2297162 w 11490376"/>
              <a:gd name="connsiteY4405" fmla="*/ 735702 h 6593118"/>
              <a:gd name="connsiteX4406" fmla="*/ 2351070 w 11490376"/>
              <a:gd name="connsiteY4406" fmla="*/ 764982 h 6593118"/>
              <a:gd name="connsiteX4407" fmla="*/ 2358423 w 11490376"/>
              <a:gd name="connsiteY4407" fmla="*/ 723500 h 6593118"/>
              <a:gd name="connsiteX4408" fmla="*/ 2346174 w 11490376"/>
              <a:gd name="connsiteY4408" fmla="*/ 684461 h 6593118"/>
              <a:gd name="connsiteX4409" fmla="*/ 2581618 w 11490376"/>
              <a:gd name="connsiteY4409" fmla="*/ 665692 h 6593118"/>
              <a:gd name="connsiteX4410" fmla="*/ 2631285 w 11490376"/>
              <a:gd name="connsiteY4410" fmla="*/ 673097 h 6593118"/>
              <a:gd name="connsiteX4411" fmla="*/ 2666046 w 11490376"/>
              <a:gd name="connsiteY4411" fmla="*/ 685440 h 6593118"/>
              <a:gd name="connsiteX4412" fmla="*/ 2633768 w 11490376"/>
              <a:gd name="connsiteY4412" fmla="*/ 722467 h 6593118"/>
              <a:gd name="connsiteX4413" fmla="*/ 2584104 w 11490376"/>
              <a:gd name="connsiteY4413" fmla="*/ 761962 h 6593118"/>
              <a:gd name="connsiteX4414" fmla="*/ 2549340 w 11490376"/>
              <a:gd name="connsiteY4414" fmla="*/ 761962 h 6593118"/>
              <a:gd name="connsiteX4415" fmla="*/ 2536922 w 11490376"/>
              <a:gd name="connsiteY4415" fmla="*/ 798990 h 6593118"/>
              <a:gd name="connsiteX4416" fmla="*/ 2502155 w 11490376"/>
              <a:gd name="connsiteY4416" fmla="*/ 798990 h 6593118"/>
              <a:gd name="connsiteX4417" fmla="*/ 2507122 w 11490376"/>
              <a:gd name="connsiteY4417" fmla="*/ 742213 h 6593118"/>
              <a:gd name="connsiteX4418" fmla="*/ 2524505 w 11490376"/>
              <a:gd name="connsiteY4418" fmla="*/ 690376 h 6593118"/>
              <a:gd name="connsiteX4419" fmla="*/ 1739256 w 11490376"/>
              <a:gd name="connsiteY4419" fmla="*/ 628466 h 6593118"/>
              <a:gd name="connsiteX4420" fmla="*/ 1771121 w 11490376"/>
              <a:gd name="connsiteY4420" fmla="*/ 657693 h 6593118"/>
              <a:gd name="connsiteX4421" fmla="*/ 1849558 w 11490376"/>
              <a:gd name="connsiteY4421" fmla="*/ 674742 h 6593118"/>
              <a:gd name="connsiteX4422" fmla="*/ 1910838 w 11490376"/>
              <a:gd name="connsiteY4422" fmla="*/ 730760 h 6593118"/>
              <a:gd name="connsiteX4423" fmla="*/ 1861816 w 11490376"/>
              <a:gd name="connsiteY4423" fmla="*/ 767293 h 6593118"/>
              <a:gd name="connsiteX4424" fmla="*/ 1788279 w 11490376"/>
              <a:gd name="connsiteY4424" fmla="*/ 784342 h 6593118"/>
              <a:gd name="connsiteX4425" fmla="*/ 1739256 w 11490376"/>
              <a:gd name="connsiteY4425" fmla="*/ 816003 h 6593118"/>
              <a:gd name="connsiteX4426" fmla="*/ 1643658 w 11490376"/>
              <a:gd name="connsiteY4426" fmla="*/ 864715 h 6593118"/>
              <a:gd name="connsiteX4427" fmla="*/ 1597086 w 11490376"/>
              <a:gd name="connsiteY4427" fmla="*/ 833054 h 6593118"/>
              <a:gd name="connsiteX4428" fmla="*/ 1565220 w 11490376"/>
              <a:gd name="connsiteY4428" fmla="*/ 798956 h 6593118"/>
              <a:gd name="connsiteX4429" fmla="*/ 1609342 w 11490376"/>
              <a:gd name="connsiteY4429" fmla="*/ 750244 h 6593118"/>
              <a:gd name="connsiteX4430" fmla="*/ 1633854 w 11490376"/>
              <a:gd name="connsiteY4430" fmla="*/ 706404 h 6593118"/>
              <a:gd name="connsiteX4431" fmla="*/ 1675524 w 11490376"/>
              <a:gd name="connsiteY4431" fmla="*/ 638209 h 6593118"/>
              <a:gd name="connsiteX4432" fmla="*/ 1702488 w 11490376"/>
              <a:gd name="connsiteY4432" fmla="*/ 665000 h 6593118"/>
              <a:gd name="connsiteX4433" fmla="*/ 7502696 w 11490376"/>
              <a:gd name="connsiteY4433" fmla="*/ 608758 h 6593118"/>
              <a:gd name="connsiteX4434" fmla="*/ 7507387 w 11490376"/>
              <a:gd name="connsiteY4434" fmla="*/ 608758 h 6593118"/>
              <a:gd name="connsiteX4435" fmla="*/ 7509733 w 11490376"/>
              <a:gd name="connsiteY4435" fmla="*/ 608758 h 6593118"/>
              <a:gd name="connsiteX4436" fmla="*/ 7512078 w 11490376"/>
              <a:gd name="connsiteY4436" fmla="*/ 611221 h 6593118"/>
              <a:gd name="connsiteX4437" fmla="*/ 7514424 w 11490376"/>
              <a:gd name="connsiteY4437" fmla="*/ 611221 h 6593118"/>
              <a:gd name="connsiteX4438" fmla="*/ 7519115 w 11490376"/>
              <a:gd name="connsiteY4438" fmla="*/ 613685 h 6593118"/>
              <a:gd name="connsiteX4439" fmla="*/ 7519115 w 11490376"/>
              <a:gd name="connsiteY4439" fmla="*/ 616149 h 6593118"/>
              <a:gd name="connsiteX4440" fmla="*/ 7519115 w 11490376"/>
              <a:gd name="connsiteY4440" fmla="*/ 618612 h 6593118"/>
              <a:gd name="connsiteX4441" fmla="*/ 7519115 w 11490376"/>
              <a:gd name="connsiteY4441" fmla="*/ 621075 h 6593118"/>
              <a:gd name="connsiteX4442" fmla="*/ 7519115 w 11490376"/>
              <a:gd name="connsiteY4442" fmla="*/ 626002 h 6593118"/>
              <a:gd name="connsiteX4443" fmla="*/ 7519115 w 11490376"/>
              <a:gd name="connsiteY4443" fmla="*/ 628466 h 6593118"/>
              <a:gd name="connsiteX4444" fmla="*/ 7523806 w 11490376"/>
              <a:gd name="connsiteY4444" fmla="*/ 628466 h 6593118"/>
              <a:gd name="connsiteX4445" fmla="*/ 7519115 w 11490376"/>
              <a:gd name="connsiteY4445" fmla="*/ 630929 h 6593118"/>
              <a:gd name="connsiteX4446" fmla="*/ 7519115 w 11490376"/>
              <a:gd name="connsiteY4446" fmla="*/ 633393 h 6593118"/>
              <a:gd name="connsiteX4447" fmla="*/ 7519115 w 11490376"/>
              <a:gd name="connsiteY4447" fmla="*/ 635857 h 6593118"/>
              <a:gd name="connsiteX4448" fmla="*/ 7519115 w 11490376"/>
              <a:gd name="connsiteY4448" fmla="*/ 638320 h 6593118"/>
              <a:gd name="connsiteX4449" fmla="*/ 7519115 w 11490376"/>
              <a:gd name="connsiteY4449" fmla="*/ 640783 h 6593118"/>
              <a:gd name="connsiteX4450" fmla="*/ 7519115 w 11490376"/>
              <a:gd name="connsiteY4450" fmla="*/ 643246 h 6593118"/>
              <a:gd name="connsiteX4451" fmla="*/ 7514424 w 11490376"/>
              <a:gd name="connsiteY4451" fmla="*/ 643246 h 6593118"/>
              <a:gd name="connsiteX4452" fmla="*/ 7512078 w 11490376"/>
              <a:gd name="connsiteY4452" fmla="*/ 645710 h 6593118"/>
              <a:gd name="connsiteX4453" fmla="*/ 7509733 w 11490376"/>
              <a:gd name="connsiteY4453" fmla="*/ 645710 h 6593118"/>
              <a:gd name="connsiteX4454" fmla="*/ 7507387 w 11490376"/>
              <a:gd name="connsiteY4454" fmla="*/ 645710 h 6593118"/>
              <a:gd name="connsiteX4455" fmla="*/ 7502696 w 11490376"/>
              <a:gd name="connsiteY4455" fmla="*/ 645710 h 6593118"/>
              <a:gd name="connsiteX4456" fmla="*/ 7500351 w 11490376"/>
              <a:gd name="connsiteY4456" fmla="*/ 645710 h 6593118"/>
              <a:gd name="connsiteX4457" fmla="*/ 7500351 w 11490376"/>
              <a:gd name="connsiteY4457" fmla="*/ 643246 h 6593118"/>
              <a:gd name="connsiteX4458" fmla="*/ 7498005 w 11490376"/>
              <a:gd name="connsiteY4458" fmla="*/ 643246 h 6593118"/>
              <a:gd name="connsiteX4459" fmla="*/ 7495660 w 11490376"/>
              <a:gd name="connsiteY4459" fmla="*/ 640783 h 6593118"/>
              <a:gd name="connsiteX4460" fmla="*/ 7493314 w 11490376"/>
              <a:gd name="connsiteY4460" fmla="*/ 638320 h 6593118"/>
              <a:gd name="connsiteX4461" fmla="*/ 7493314 w 11490376"/>
              <a:gd name="connsiteY4461" fmla="*/ 635857 h 6593118"/>
              <a:gd name="connsiteX4462" fmla="*/ 7493314 w 11490376"/>
              <a:gd name="connsiteY4462" fmla="*/ 633393 h 6593118"/>
              <a:gd name="connsiteX4463" fmla="*/ 7493314 w 11490376"/>
              <a:gd name="connsiteY4463" fmla="*/ 630929 h 6593118"/>
              <a:gd name="connsiteX4464" fmla="*/ 7493314 w 11490376"/>
              <a:gd name="connsiteY4464" fmla="*/ 628466 h 6593118"/>
              <a:gd name="connsiteX4465" fmla="*/ 7493314 w 11490376"/>
              <a:gd name="connsiteY4465" fmla="*/ 626002 h 6593118"/>
              <a:gd name="connsiteX4466" fmla="*/ 7493314 w 11490376"/>
              <a:gd name="connsiteY4466" fmla="*/ 621075 h 6593118"/>
              <a:gd name="connsiteX4467" fmla="*/ 7493314 w 11490376"/>
              <a:gd name="connsiteY4467" fmla="*/ 618612 h 6593118"/>
              <a:gd name="connsiteX4468" fmla="*/ 7495660 w 11490376"/>
              <a:gd name="connsiteY4468" fmla="*/ 616149 h 6593118"/>
              <a:gd name="connsiteX4469" fmla="*/ 7498005 w 11490376"/>
              <a:gd name="connsiteY4469" fmla="*/ 613685 h 6593118"/>
              <a:gd name="connsiteX4470" fmla="*/ 7500351 w 11490376"/>
              <a:gd name="connsiteY4470" fmla="*/ 611221 h 6593118"/>
              <a:gd name="connsiteX4471" fmla="*/ 2543556 w 11490376"/>
              <a:gd name="connsiteY4471" fmla="*/ 575911 h 6593118"/>
              <a:gd name="connsiteX4472" fmla="*/ 2586244 w 11490376"/>
              <a:gd name="connsiteY4472" fmla="*/ 580862 h 6593118"/>
              <a:gd name="connsiteX4473" fmla="*/ 2593778 w 11490376"/>
              <a:gd name="connsiteY4473" fmla="*/ 613043 h 6593118"/>
              <a:gd name="connsiteX4474" fmla="*/ 2556111 w 11490376"/>
              <a:gd name="connsiteY4474" fmla="*/ 630370 h 6593118"/>
              <a:gd name="connsiteX4475" fmla="*/ 2510913 w 11490376"/>
              <a:gd name="connsiteY4475" fmla="*/ 613043 h 6593118"/>
              <a:gd name="connsiteX4476" fmla="*/ 1898841 w 11490376"/>
              <a:gd name="connsiteY4476" fmla="*/ 560584 h 6593118"/>
              <a:gd name="connsiteX4477" fmla="*/ 1901469 w 11490376"/>
              <a:gd name="connsiteY4477" fmla="*/ 563193 h 6593118"/>
              <a:gd name="connsiteX4478" fmla="*/ 1904096 w 11490376"/>
              <a:gd name="connsiteY4478" fmla="*/ 563193 h 6593118"/>
              <a:gd name="connsiteX4479" fmla="*/ 1909348 w 11490376"/>
              <a:gd name="connsiteY4479" fmla="*/ 565804 h 6593118"/>
              <a:gd name="connsiteX4480" fmla="*/ 1911976 w 11490376"/>
              <a:gd name="connsiteY4480" fmla="*/ 568416 h 6593118"/>
              <a:gd name="connsiteX4481" fmla="*/ 1911976 w 11490376"/>
              <a:gd name="connsiteY4481" fmla="*/ 571027 h 6593118"/>
              <a:gd name="connsiteX4482" fmla="*/ 1914603 w 11490376"/>
              <a:gd name="connsiteY4482" fmla="*/ 573638 h 6593118"/>
              <a:gd name="connsiteX4483" fmla="*/ 1914603 w 11490376"/>
              <a:gd name="connsiteY4483" fmla="*/ 576247 h 6593118"/>
              <a:gd name="connsiteX4484" fmla="*/ 1917230 w 11490376"/>
              <a:gd name="connsiteY4484" fmla="*/ 581470 h 6593118"/>
              <a:gd name="connsiteX4485" fmla="*/ 1917230 w 11490376"/>
              <a:gd name="connsiteY4485" fmla="*/ 584081 h 6593118"/>
              <a:gd name="connsiteX4486" fmla="*/ 1917230 w 11490376"/>
              <a:gd name="connsiteY4486" fmla="*/ 589303 h 6593118"/>
              <a:gd name="connsiteX4487" fmla="*/ 1917230 w 11490376"/>
              <a:gd name="connsiteY4487" fmla="*/ 594525 h 6593118"/>
              <a:gd name="connsiteX4488" fmla="*/ 1917230 w 11490376"/>
              <a:gd name="connsiteY4488" fmla="*/ 599746 h 6593118"/>
              <a:gd name="connsiteX4489" fmla="*/ 1917230 w 11490376"/>
              <a:gd name="connsiteY4489" fmla="*/ 602357 h 6593118"/>
              <a:gd name="connsiteX4490" fmla="*/ 1917230 w 11490376"/>
              <a:gd name="connsiteY4490" fmla="*/ 607579 h 6593118"/>
              <a:gd name="connsiteX4491" fmla="*/ 1914603 w 11490376"/>
              <a:gd name="connsiteY4491" fmla="*/ 612801 h 6593118"/>
              <a:gd name="connsiteX4492" fmla="*/ 1914603 w 11490376"/>
              <a:gd name="connsiteY4492" fmla="*/ 615411 h 6593118"/>
              <a:gd name="connsiteX4493" fmla="*/ 1911976 w 11490376"/>
              <a:gd name="connsiteY4493" fmla="*/ 618022 h 6593118"/>
              <a:gd name="connsiteX4494" fmla="*/ 1911976 w 11490376"/>
              <a:gd name="connsiteY4494" fmla="*/ 620635 h 6593118"/>
              <a:gd name="connsiteX4495" fmla="*/ 1909348 w 11490376"/>
              <a:gd name="connsiteY4495" fmla="*/ 623244 h 6593118"/>
              <a:gd name="connsiteX4496" fmla="*/ 1904096 w 11490376"/>
              <a:gd name="connsiteY4496" fmla="*/ 625856 h 6593118"/>
              <a:gd name="connsiteX4497" fmla="*/ 1901469 w 11490376"/>
              <a:gd name="connsiteY4497" fmla="*/ 625856 h 6593118"/>
              <a:gd name="connsiteX4498" fmla="*/ 1898841 w 11490376"/>
              <a:gd name="connsiteY4498" fmla="*/ 625856 h 6593118"/>
              <a:gd name="connsiteX4499" fmla="*/ 1896213 w 11490376"/>
              <a:gd name="connsiteY4499" fmla="*/ 625856 h 6593118"/>
              <a:gd name="connsiteX4500" fmla="*/ 1890961 w 11490376"/>
              <a:gd name="connsiteY4500" fmla="*/ 623244 h 6593118"/>
              <a:gd name="connsiteX4501" fmla="*/ 1888334 w 11490376"/>
              <a:gd name="connsiteY4501" fmla="*/ 623244 h 6593118"/>
              <a:gd name="connsiteX4502" fmla="*/ 1888334 w 11490376"/>
              <a:gd name="connsiteY4502" fmla="*/ 620635 h 6593118"/>
              <a:gd name="connsiteX4503" fmla="*/ 1885706 w 11490376"/>
              <a:gd name="connsiteY4503" fmla="*/ 618022 h 6593118"/>
              <a:gd name="connsiteX4504" fmla="*/ 1885706 w 11490376"/>
              <a:gd name="connsiteY4504" fmla="*/ 615411 h 6593118"/>
              <a:gd name="connsiteX4505" fmla="*/ 1885706 w 11490376"/>
              <a:gd name="connsiteY4505" fmla="*/ 612801 h 6593118"/>
              <a:gd name="connsiteX4506" fmla="*/ 1883080 w 11490376"/>
              <a:gd name="connsiteY4506" fmla="*/ 607579 h 6593118"/>
              <a:gd name="connsiteX4507" fmla="*/ 1883080 w 11490376"/>
              <a:gd name="connsiteY4507" fmla="*/ 602357 h 6593118"/>
              <a:gd name="connsiteX4508" fmla="*/ 1883080 w 11490376"/>
              <a:gd name="connsiteY4508" fmla="*/ 599746 h 6593118"/>
              <a:gd name="connsiteX4509" fmla="*/ 1880452 w 11490376"/>
              <a:gd name="connsiteY4509" fmla="*/ 594525 h 6593118"/>
              <a:gd name="connsiteX4510" fmla="*/ 1883080 w 11490376"/>
              <a:gd name="connsiteY4510" fmla="*/ 589303 h 6593118"/>
              <a:gd name="connsiteX4511" fmla="*/ 1883080 w 11490376"/>
              <a:gd name="connsiteY4511" fmla="*/ 584081 h 6593118"/>
              <a:gd name="connsiteX4512" fmla="*/ 1883080 w 11490376"/>
              <a:gd name="connsiteY4512" fmla="*/ 581470 h 6593118"/>
              <a:gd name="connsiteX4513" fmla="*/ 1885706 w 11490376"/>
              <a:gd name="connsiteY4513" fmla="*/ 576247 h 6593118"/>
              <a:gd name="connsiteX4514" fmla="*/ 1885706 w 11490376"/>
              <a:gd name="connsiteY4514" fmla="*/ 573638 h 6593118"/>
              <a:gd name="connsiteX4515" fmla="*/ 1885706 w 11490376"/>
              <a:gd name="connsiteY4515" fmla="*/ 571027 h 6593118"/>
              <a:gd name="connsiteX4516" fmla="*/ 1888334 w 11490376"/>
              <a:gd name="connsiteY4516" fmla="*/ 568416 h 6593118"/>
              <a:gd name="connsiteX4517" fmla="*/ 1888334 w 11490376"/>
              <a:gd name="connsiteY4517" fmla="*/ 565804 h 6593118"/>
              <a:gd name="connsiteX4518" fmla="*/ 1890961 w 11490376"/>
              <a:gd name="connsiteY4518" fmla="*/ 565804 h 6593118"/>
              <a:gd name="connsiteX4519" fmla="*/ 1896213 w 11490376"/>
              <a:gd name="connsiteY4519" fmla="*/ 563193 h 6593118"/>
              <a:gd name="connsiteX4520" fmla="*/ 1898841 w 11490376"/>
              <a:gd name="connsiteY4520" fmla="*/ 563193 h 6593118"/>
              <a:gd name="connsiteX4521" fmla="*/ 9759275 w 11490376"/>
              <a:gd name="connsiteY4521" fmla="*/ 534304 h 6593118"/>
              <a:gd name="connsiteX4522" fmla="*/ 9778600 w 11490376"/>
              <a:gd name="connsiteY4522" fmla="*/ 549157 h 6593118"/>
              <a:gd name="connsiteX4523" fmla="*/ 9829328 w 11490376"/>
              <a:gd name="connsiteY4523" fmla="*/ 549157 h 6593118"/>
              <a:gd name="connsiteX4524" fmla="*/ 9887301 w 11490376"/>
              <a:gd name="connsiteY4524" fmla="*/ 549157 h 6593118"/>
              <a:gd name="connsiteX4525" fmla="*/ 9894548 w 11490376"/>
              <a:gd name="connsiteY4525" fmla="*/ 581337 h 6593118"/>
              <a:gd name="connsiteX4526" fmla="*/ 9819666 w 11490376"/>
              <a:gd name="connsiteY4526" fmla="*/ 588764 h 6593118"/>
              <a:gd name="connsiteX4527" fmla="*/ 9778600 w 11490376"/>
              <a:gd name="connsiteY4527" fmla="*/ 576386 h 6593118"/>
              <a:gd name="connsiteX4528" fmla="*/ 9756860 w 11490376"/>
              <a:gd name="connsiteY4528" fmla="*/ 551632 h 6593118"/>
              <a:gd name="connsiteX4529" fmla="*/ 2320735 w 11490376"/>
              <a:gd name="connsiteY4529" fmla="*/ 501458 h 6593118"/>
              <a:gd name="connsiteX4530" fmla="*/ 2349962 w 11490376"/>
              <a:gd name="connsiteY4530" fmla="*/ 536115 h 6593118"/>
              <a:gd name="connsiteX4531" fmla="*/ 2369452 w 11490376"/>
              <a:gd name="connsiteY4531" fmla="*/ 546017 h 6593118"/>
              <a:gd name="connsiteX4532" fmla="*/ 2418167 w 11490376"/>
              <a:gd name="connsiteY4532" fmla="*/ 513836 h 6593118"/>
              <a:gd name="connsiteX4533" fmla="*/ 2466882 w 11490376"/>
              <a:gd name="connsiteY4533" fmla="*/ 518788 h 6593118"/>
              <a:gd name="connsiteX4534" fmla="*/ 2462010 w 11490376"/>
              <a:gd name="connsiteY4534" fmla="*/ 593049 h 6593118"/>
              <a:gd name="connsiteX4535" fmla="*/ 2359706 w 11490376"/>
              <a:gd name="connsiteY4535" fmla="*/ 612852 h 6593118"/>
              <a:gd name="connsiteX4536" fmla="*/ 2328045 w 11490376"/>
              <a:gd name="connsiteY4536" fmla="*/ 575721 h 6593118"/>
              <a:gd name="connsiteX4537" fmla="*/ 2296380 w 11490376"/>
              <a:gd name="connsiteY4537" fmla="*/ 526213 h 6593118"/>
              <a:gd name="connsiteX4538" fmla="*/ 2161496 w 11490376"/>
              <a:gd name="connsiteY4538" fmla="*/ 501458 h 6593118"/>
              <a:gd name="connsiteX4539" fmla="*/ 2173778 w 11490376"/>
              <a:gd name="connsiteY4539" fmla="*/ 546419 h 6593118"/>
              <a:gd name="connsiteX4540" fmla="*/ 2240104 w 11490376"/>
              <a:gd name="connsiteY4540" fmla="*/ 566400 h 6593118"/>
              <a:gd name="connsiteX4541" fmla="*/ 2272032 w 11490376"/>
              <a:gd name="connsiteY4541" fmla="*/ 636335 h 6593118"/>
              <a:gd name="connsiteX4542" fmla="*/ 2210625 w 11490376"/>
              <a:gd name="connsiteY4542" fmla="*/ 616352 h 6593118"/>
              <a:gd name="connsiteX4543" fmla="*/ 2141845 w 11490376"/>
              <a:gd name="connsiteY4543" fmla="*/ 628842 h 6593118"/>
              <a:gd name="connsiteX4544" fmla="*/ 2087801 w 11490376"/>
              <a:gd name="connsiteY4544" fmla="*/ 648823 h 6593118"/>
              <a:gd name="connsiteX4545" fmla="*/ 2026389 w 11490376"/>
              <a:gd name="connsiteY4545" fmla="*/ 658815 h 6593118"/>
              <a:gd name="connsiteX4546" fmla="*/ 1952694 w 11490376"/>
              <a:gd name="connsiteY4546" fmla="*/ 638832 h 6593118"/>
              <a:gd name="connsiteX4547" fmla="*/ 1964977 w 11490376"/>
              <a:gd name="connsiteY4547" fmla="*/ 583883 h 6593118"/>
              <a:gd name="connsiteX4548" fmla="*/ 2033759 w 11490376"/>
              <a:gd name="connsiteY4548" fmla="*/ 583883 h 6593118"/>
              <a:gd name="connsiteX4549" fmla="*/ 2063237 w 11490376"/>
              <a:gd name="connsiteY4549" fmla="*/ 551414 h 6593118"/>
              <a:gd name="connsiteX4550" fmla="*/ 2100084 w 11490376"/>
              <a:gd name="connsiteY4550" fmla="*/ 546419 h 6593118"/>
              <a:gd name="connsiteX4551" fmla="*/ 2104997 w 11490376"/>
              <a:gd name="connsiteY4551" fmla="*/ 508953 h 6593118"/>
              <a:gd name="connsiteX4552" fmla="*/ 9502178 w 11490376"/>
              <a:gd name="connsiteY4552" fmla="*/ 499268 h 6593118"/>
              <a:gd name="connsiteX4553" fmla="*/ 9539206 w 11490376"/>
              <a:gd name="connsiteY4553" fmla="*/ 518776 h 6593118"/>
              <a:gd name="connsiteX4554" fmla="*/ 9551550 w 11490376"/>
              <a:gd name="connsiteY4554" fmla="*/ 535848 h 6593118"/>
              <a:gd name="connsiteX4555" fmla="*/ 9591047 w 11490376"/>
              <a:gd name="connsiteY4555" fmla="*/ 535848 h 6593118"/>
              <a:gd name="connsiteX4556" fmla="*/ 9595984 w 11490376"/>
              <a:gd name="connsiteY4556" fmla="*/ 509022 h 6593118"/>
              <a:gd name="connsiteX4557" fmla="*/ 9610796 w 11490376"/>
              <a:gd name="connsiteY4557" fmla="*/ 501706 h 6593118"/>
              <a:gd name="connsiteX4558" fmla="*/ 9645355 w 11490376"/>
              <a:gd name="connsiteY4558" fmla="*/ 518776 h 6593118"/>
              <a:gd name="connsiteX4559" fmla="*/ 9665104 w 11490376"/>
              <a:gd name="connsiteY4559" fmla="*/ 555356 h 6593118"/>
              <a:gd name="connsiteX4560" fmla="*/ 9699665 w 11490376"/>
              <a:gd name="connsiteY4560" fmla="*/ 569987 h 6593118"/>
              <a:gd name="connsiteX4561" fmla="*/ 9682384 w 11490376"/>
              <a:gd name="connsiteY4561" fmla="*/ 594375 h 6593118"/>
              <a:gd name="connsiteX4562" fmla="*/ 9635482 w 11490376"/>
              <a:gd name="connsiteY4562" fmla="*/ 596813 h 6593118"/>
              <a:gd name="connsiteX4563" fmla="*/ 9600921 w 11490376"/>
              <a:gd name="connsiteY4563" fmla="*/ 582181 h 6593118"/>
              <a:gd name="connsiteX4564" fmla="*/ 9576235 w 11490376"/>
              <a:gd name="connsiteY4564" fmla="*/ 604129 h 6593118"/>
              <a:gd name="connsiteX4565" fmla="*/ 9516989 w 11490376"/>
              <a:gd name="connsiteY4565" fmla="*/ 596813 h 6593118"/>
              <a:gd name="connsiteX4566" fmla="*/ 9470086 w 11490376"/>
              <a:gd name="connsiteY4566" fmla="*/ 562671 h 6593118"/>
              <a:gd name="connsiteX4567" fmla="*/ 9470086 w 11490376"/>
              <a:gd name="connsiteY4567" fmla="*/ 518776 h 6593118"/>
              <a:gd name="connsiteX4568" fmla="*/ 2651566 w 11490376"/>
              <a:gd name="connsiteY4568" fmla="*/ 470802 h 6593118"/>
              <a:gd name="connsiteX4569" fmla="*/ 2717322 w 11490376"/>
              <a:gd name="connsiteY4569" fmla="*/ 478160 h 6593118"/>
              <a:gd name="connsiteX4570" fmla="*/ 2734371 w 11490376"/>
              <a:gd name="connsiteY4570" fmla="*/ 546830 h 6593118"/>
              <a:gd name="connsiteX4571" fmla="*/ 2848841 w 11490376"/>
              <a:gd name="connsiteY4571" fmla="*/ 576261 h 6593118"/>
              <a:gd name="connsiteX4572" fmla="*/ 2980344 w 11490376"/>
              <a:gd name="connsiteY4572" fmla="*/ 583619 h 6593118"/>
              <a:gd name="connsiteX4573" fmla="*/ 2990084 w 11490376"/>
              <a:gd name="connsiteY4573" fmla="*/ 652290 h 6593118"/>
              <a:gd name="connsiteX4574" fmla="*/ 2899981 w 11490376"/>
              <a:gd name="connsiteY4574" fmla="*/ 627765 h 6593118"/>
              <a:gd name="connsiteX4575" fmla="*/ 2741676 w 11490376"/>
              <a:gd name="connsiteY4575" fmla="*/ 644933 h 6593118"/>
              <a:gd name="connsiteX4576" fmla="*/ 2688095 w 11490376"/>
              <a:gd name="connsiteY4576" fmla="*/ 620407 h 6593118"/>
              <a:gd name="connsiteX4577" fmla="*/ 2634517 w 11490376"/>
              <a:gd name="connsiteY4577" fmla="*/ 556641 h 6593118"/>
              <a:gd name="connsiteX4578" fmla="*/ 2602857 w 11490376"/>
              <a:gd name="connsiteY4578" fmla="*/ 514948 h 6593118"/>
              <a:gd name="connsiteX4579" fmla="*/ 7351067 w 11490376"/>
              <a:gd name="connsiteY4579" fmla="*/ 462043 h 6593118"/>
              <a:gd name="connsiteX4580" fmla="*/ 7410139 w 11490376"/>
              <a:gd name="connsiteY4580" fmla="*/ 466923 h 6593118"/>
              <a:gd name="connsiteX4581" fmla="*/ 7427369 w 11490376"/>
              <a:gd name="connsiteY4581" fmla="*/ 488887 h 6593118"/>
              <a:gd name="connsiteX4582" fmla="*/ 7405217 w 11490376"/>
              <a:gd name="connsiteY4582" fmla="*/ 501089 h 6593118"/>
              <a:gd name="connsiteX4583" fmla="*/ 7353528 w 11490376"/>
              <a:gd name="connsiteY4583" fmla="*/ 518172 h 6593118"/>
              <a:gd name="connsiteX4584" fmla="*/ 7287073 w 11490376"/>
              <a:gd name="connsiteY4584" fmla="*/ 540136 h 6593118"/>
              <a:gd name="connsiteX4585" fmla="*/ 7255075 w 11490376"/>
              <a:gd name="connsiteY4585" fmla="*/ 552338 h 6593118"/>
              <a:gd name="connsiteX4586" fmla="*/ 7200925 w 11490376"/>
              <a:gd name="connsiteY4586" fmla="*/ 591385 h 6593118"/>
              <a:gd name="connsiteX4587" fmla="*/ 7151698 w 11490376"/>
              <a:gd name="connsiteY4587" fmla="*/ 618229 h 6593118"/>
              <a:gd name="connsiteX4588" fmla="*/ 7109856 w 11490376"/>
              <a:gd name="connsiteY4588" fmla="*/ 649954 h 6593118"/>
              <a:gd name="connsiteX4589" fmla="*/ 7097550 w 11490376"/>
              <a:gd name="connsiteY4589" fmla="*/ 667037 h 6593118"/>
              <a:gd name="connsiteX4590" fmla="*/ 7070475 w 11490376"/>
              <a:gd name="connsiteY4590" fmla="*/ 691441 h 6593118"/>
              <a:gd name="connsiteX4591" fmla="*/ 7070475 w 11490376"/>
              <a:gd name="connsiteY4591" fmla="*/ 701203 h 6593118"/>
              <a:gd name="connsiteX4592" fmla="*/ 7060629 w 11490376"/>
              <a:gd name="connsiteY4592" fmla="*/ 740249 h 6593118"/>
              <a:gd name="connsiteX4593" fmla="*/ 7060629 w 11490376"/>
              <a:gd name="connsiteY4593" fmla="*/ 789057 h 6593118"/>
              <a:gd name="connsiteX4594" fmla="*/ 7085243 w 11490376"/>
              <a:gd name="connsiteY4594" fmla="*/ 813462 h 6593118"/>
              <a:gd name="connsiteX4595" fmla="*/ 7122163 w 11490376"/>
              <a:gd name="connsiteY4595" fmla="*/ 832984 h 6593118"/>
              <a:gd name="connsiteX4596" fmla="*/ 7117239 w 11490376"/>
              <a:gd name="connsiteY4596" fmla="*/ 857389 h 6593118"/>
              <a:gd name="connsiteX4597" fmla="*/ 7055707 w 11490376"/>
              <a:gd name="connsiteY4597" fmla="*/ 864709 h 6593118"/>
              <a:gd name="connsiteX4598" fmla="*/ 7011402 w 11490376"/>
              <a:gd name="connsiteY4598" fmla="*/ 857389 h 6593118"/>
              <a:gd name="connsiteX4599" fmla="*/ 6984327 w 11490376"/>
              <a:gd name="connsiteY4599" fmla="*/ 801259 h 6593118"/>
              <a:gd name="connsiteX4600" fmla="*/ 6954791 w 11490376"/>
              <a:gd name="connsiteY4600" fmla="*/ 784176 h 6593118"/>
              <a:gd name="connsiteX4601" fmla="*/ 6959715 w 11490376"/>
              <a:gd name="connsiteY4601" fmla="*/ 737808 h 6593118"/>
              <a:gd name="connsiteX4602" fmla="*/ 6969559 w 11490376"/>
              <a:gd name="connsiteY4602" fmla="*/ 698762 h 6593118"/>
              <a:gd name="connsiteX4603" fmla="*/ 6986789 w 11490376"/>
              <a:gd name="connsiteY4603" fmla="*/ 686559 h 6593118"/>
              <a:gd name="connsiteX4604" fmla="*/ 6996634 w 11490376"/>
              <a:gd name="connsiteY4604" fmla="*/ 667037 h 6593118"/>
              <a:gd name="connsiteX4605" fmla="*/ 6994173 w 11490376"/>
              <a:gd name="connsiteY4605" fmla="*/ 654834 h 6593118"/>
              <a:gd name="connsiteX4606" fmla="*/ 6994173 w 11490376"/>
              <a:gd name="connsiteY4606" fmla="*/ 647513 h 6593118"/>
              <a:gd name="connsiteX4607" fmla="*/ 7021248 w 11490376"/>
              <a:gd name="connsiteY4607" fmla="*/ 649954 h 6593118"/>
              <a:gd name="connsiteX4608" fmla="*/ 7023709 w 11490376"/>
              <a:gd name="connsiteY4608" fmla="*/ 625551 h 6593118"/>
              <a:gd name="connsiteX4609" fmla="*/ 7033555 w 11490376"/>
              <a:gd name="connsiteY4609" fmla="*/ 581622 h 6593118"/>
              <a:gd name="connsiteX4610" fmla="*/ 7095088 w 11490376"/>
              <a:gd name="connsiteY4610" fmla="*/ 569421 h 6593118"/>
              <a:gd name="connsiteX4611" fmla="*/ 7112318 w 11490376"/>
              <a:gd name="connsiteY4611" fmla="*/ 540136 h 6593118"/>
              <a:gd name="connsiteX4612" fmla="*/ 7151698 w 11490376"/>
              <a:gd name="connsiteY4612" fmla="*/ 540136 h 6593118"/>
              <a:gd name="connsiteX4613" fmla="*/ 7186157 w 11490376"/>
              <a:gd name="connsiteY4613" fmla="*/ 510850 h 6593118"/>
              <a:gd name="connsiteX4614" fmla="*/ 7255075 w 11490376"/>
              <a:gd name="connsiteY4614" fmla="*/ 508411 h 6593118"/>
              <a:gd name="connsiteX4615" fmla="*/ 7311686 w 11490376"/>
              <a:gd name="connsiteY4615" fmla="*/ 493767 h 6593118"/>
              <a:gd name="connsiteX4616" fmla="*/ 1963334 w 11490376"/>
              <a:gd name="connsiteY4616" fmla="*/ 437955 h 6593118"/>
              <a:gd name="connsiteX4617" fmla="*/ 1963334 w 11490376"/>
              <a:gd name="connsiteY4617" fmla="*/ 509541 h 6593118"/>
              <a:gd name="connsiteX4618" fmla="*/ 1908452 w 11490376"/>
              <a:gd name="connsiteY4618" fmla="*/ 509541 h 6593118"/>
              <a:gd name="connsiteX4619" fmla="*/ 1843593 w 11490376"/>
              <a:gd name="connsiteY4619" fmla="*/ 571253 h 6593118"/>
              <a:gd name="connsiteX4620" fmla="*/ 1751296 w 11490376"/>
              <a:gd name="connsiteY4620" fmla="*/ 558911 h 6593118"/>
              <a:gd name="connsiteX4621" fmla="*/ 1756284 w 11490376"/>
              <a:gd name="connsiteY4621" fmla="*/ 514479 h 6593118"/>
              <a:gd name="connsiteX4622" fmla="*/ 1826132 w 11490376"/>
              <a:gd name="connsiteY4622" fmla="*/ 497199 h 6593118"/>
              <a:gd name="connsiteX4623" fmla="*/ 1908452 w 11490376"/>
              <a:gd name="connsiteY4623" fmla="*/ 457702 h 6593118"/>
              <a:gd name="connsiteX4624" fmla="*/ 2158150 w 11490376"/>
              <a:gd name="connsiteY4624" fmla="*/ 418247 h 6593118"/>
              <a:gd name="connsiteX4625" fmla="*/ 2153132 w 11490376"/>
              <a:gd name="connsiteY4625" fmla="*/ 454272 h 6593118"/>
              <a:gd name="connsiteX4626" fmla="*/ 2102943 w 11490376"/>
              <a:gd name="connsiteY4626" fmla="*/ 466281 h 6593118"/>
              <a:gd name="connsiteX4627" fmla="*/ 2057772 w 11490376"/>
              <a:gd name="connsiteY4627" fmla="*/ 490298 h 6593118"/>
              <a:gd name="connsiteX4628" fmla="*/ 2057772 w 11490376"/>
              <a:gd name="connsiteY4628" fmla="*/ 459076 h 6593118"/>
              <a:gd name="connsiteX4629" fmla="*/ 2077847 w 11490376"/>
              <a:gd name="connsiteY4629" fmla="*/ 423050 h 6593118"/>
              <a:gd name="connsiteX4630" fmla="*/ 2123019 w 11490376"/>
              <a:gd name="connsiteY4630" fmla="*/ 423050 h 6593118"/>
              <a:gd name="connsiteX4631" fmla="*/ 8449226 w 11490376"/>
              <a:gd name="connsiteY4631" fmla="*/ 402919 h 6593118"/>
              <a:gd name="connsiteX4632" fmla="*/ 8476240 w 11490376"/>
              <a:gd name="connsiteY4632" fmla="*/ 417651 h 6593118"/>
              <a:gd name="connsiteX4633" fmla="*/ 8508165 w 11490376"/>
              <a:gd name="connsiteY4633" fmla="*/ 439751 h 6593118"/>
              <a:gd name="connsiteX4634" fmla="*/ 8522900 w 11490376"/>
              <a:gd name="connsiteY4634" fmla="*/ 469216 h 6593118"/>
              <a:gd name="connsiteX4635" fmla="*/ 8562193 w 11490376"/>
              <a:gd name="connsiteY4635" fmla="*/ 488860 h 6593118"/>
              <a:gd name="connsiteX4636" fmla="*/ 8584295 w 11490376"/>
              <a:gd name="connsiteY4636" fmla="*/ 464305 h 6593118"/>
              <a:gd name="connsiteX4637" fmla="*/ 8699717 w 11490376"/>
              <a:gd name="connsiteY4637" fmla="*/ 474126 h 6593118"/>
              <a:gd name="connsiteX4638" fmla="*/ 8721819 w 11490376"/>
              <a:gd name="connsiteY4638" fmla="*/ 506048 h 6593118"/>
              <a:gd name="connsiteX4639" fmla="*/ 8773392 w 11490376"/>
              <a:gd name="connsiteY4639" fmla="*/ 528147 h 6593118"/>
              <a:gd name="connsiteX4640" fmla="*/ 8763569 w 11490376"/>
              <a:gd name="connsiteY4640" fmla="*/ 579711 h 6593118"/>
              <a:gd name="connsiteX4641" fmla="*/ 8726731 w 11490376"/>
              <a:gd name="connsiteY4641" fmla="*/ 616543 h 6593118"/>
              <a:gd name="connsiteX4642" fmla="*/ 8697262 w 11490376"/>
              <a:gd name="connsiteY4642" fmla="*/ 631276 h 6593118"/>
              <a:gd name="connsiteX4643" fmla="*/ 8626043 w 11490376"/>
              <a:gd name="connsiteY4643" fmla="*/ 670563 h 6593118"/>
              <a:gd name="connsiteX4644" fmla="*/ 8586750 w 11490376"/>
              <a:gd name="connsiteY4644" fmla="*/ 712305 h 6593118"/>
              <a:gd name="connsiteX4645" fmla="*/ 8660424 w 11490376"/>
              <a:gd name="connsiteY4645" fmla="*/ 687751 h 6593118"/>
              <a:gd name="connsiteX4646" fmla="*/ 8711997 w 11490376"/>
              <a:gd name="connsiteY4646" fmla="*/ 665651 h 6593118"/>
              <a:gd name="connsiteX4647" fmla="*/ 8763569 w 11490376"/>
              <a:gd name="connsiteY4647" fmla="*/ 665651 h 6593118"/>
              <a:gd name="connsiteX4648" fmla="*/ 8913373 w 11490376"/>
              <a:gd name="connsiteY4648" fmla="*/ 665651 h 6593118"/>
              <a:gd name="connsiteX4649" fmla="*/ 8991959 w 11490376"/>
              <a:gd name="connsiteY4649" fmla="*/ 685296 h 6593118"/>
              <a:gd name="connsiteX4650" fmla="*/ 9043530 w 11490376"/>
              <a:gd name="connsiteY4650" fmla="*/ 709850 h 6593118"/>
              <a:gd name="connsiteX4651" fmla="*/ 9104925 w 11490376"/>
              <a:gd name="connsiteY4651" fmla="*/ 729494 h 6593118"/>
              <a:gd name="connsiteX4652" fmla="*/ 9127028 w 11490376"/>
              <a:gd name="connsiteY4652" fmla="*/ 670563 h 6593118"/>
              <a:gd name="connsiteX4653" fmla="*/ 9203157 w 11490376"/>
              <a:gd name="connsiteY4653" fmla="*/ 665651 h 6593118"/>
              <a:gd name="connsiteX4654" fmla="*/ 9262096 w 11490376"/>
              <a:gd name="connsiteY4654" fmla="*/ 687751 h 6593118"/>
              <a:gd name="connsiteX4655" fmla="*/ 9286654 w 11490376"/>
              <a:gd name="connsiteY4655" fmla="*/ 736860 h 6593118"/>
              <a:gd name="connsiteX4656" fmla="*/ 9254728 w 11490376"/>
              <a:gd name="connsiteY4656" fmla="*/ 746682 h 6593118"/>
              <a:gd name="connsiteX4657" fmla="*/ 9242449 w 11490376"/>
              <a:gd name="connsiteY4657" fmla="*/ 768782 h 6593118"/>
              <a:gd name="connsiteX4658" fmla="*/ 9286654 w 11490376"/>
              <a:gd name="connsiteY4658" fmla="*/ 785969 h 6593118"/>
              <a:gd name="connsiteX4659" fmla="*/ 9357873 w 11490376"/>
              <a:gd name="connsiteY4659" fmla="*/ 808069 h 6593118"/>
              <a:gd name="connsiteX4660" fmla="*/ 9414356 w 11490376"/>
              <a:gd name="connsiteY4660" fmla="*/ 803158 h 6593118"/>
              <a:gd name="connsiteX4661" fmla="*/ 9419268 w 11490376"/>
              <a:gd name="connsiteY4661" fmla="*/ 763870 h 6593118"/>
              <a:gd name="connsiteX4662" fmla="*/ 9441370 w 11490376"/>
              <a:gd name="connsiteY4662" fmla="*/ 788425 h 6593118"/>
              <a:gd name="connsiteX4663" fmla="*/ 9480663 w 11490376"/>
              <a:gd name="connsiteY4663" fmla="*/ 808069 h 6593118"/>
              <a:gd name="connsiteX4664" fmla="*/ 9507675 w 11490376"/>
              <a:gd name="connsiteY4664" fmla="*/ 790881 h 6593118"/>
              <a:gd name="connsiteX4665" fmla="*/ 9551880 w 11490376"/>
              <a:gd name="connsiteY4665" fmla="*/ 793336 h 6593118"/>
              <a:gd name="connsiteX4666" fmla="*/ 9605908 w 11490376"/>
              <a:gd name="connsiteY4666" fmla="*/ 803158 h 6593118"/>
              <a:gd name="connsiteX4667" fmla="*/ 9650113 w 11490376"/>
              <a:gd name="connsiteY4667" fmla="*/ 793336 h 6593118"/>
              <a:gd name="connsiteX4668" fmla="*/ 9630466 w 11490376"/>
              <a:gd name="connsiteY4668" fmla="*/ 746682 h 6593118"/>
              <a:gd name="connsiteX4669" fmla="*/ 9662391 w 11490376"/>
              <a:gd name="connsiteY4669" fmla="*/ 724583 h 6593118"/>
              <a:gd name="connsiteX4670" fmla="*/ 9694317 w 11490376"/>
              <a:gd name="connsiteY4670" fmla="*/ 704940 h 6593118"/>
              <a:gd name="connsiteX4671" fmla="*/ 9718875 w 11490376"/>
              <a:gd name="connsiteY4671" fmla="*/ 736860 h 6593118"/>
              <a:gd name="connsiteX4672" fmla="*/ 9777815 w 11490376"/>
              <a:gd name="connsiteY4672" fmla="*/ 736860 h 6593118"/>
              <a:gd name="connsiteX4673" fmla="*/ 9809739 w 11490376"/>
              <a:gd name="connsiteY4673" fmla="*/ 773692 h 6593118"/>
              <a:gd name="connsiteX4674" fmla="*/ 9839210 w 11490376"/>
              <a:gd name="connsiteY4674" fmla="*/ 761415 h 6593118"/>
              <a:gd name="connsiteX4675" fmla="*/ 9944808 w 11490376"/>
              <a:gd name="connsiteY4675" fmla="*/ 761415 h 6593118"/>
              <a:gd name="connsiteX4676" fmla="*/ 9952176 w 11490376"/>
              <a:gd name="connsiteY4676" fmla="*/ 781059 h 6593118"/>
              <a:gd name="connsiteX4677" fmla="*/ 9996381 w 11490376"/>
              <a:gd name="connsiteY4677" fmla="*/ 800702 h 6593118"/>
              <a:gd name="connsiteX4678" fmla="*/ 10062686 w 11490376"/>
              <a:gd name="connsiteY4678" fmla="*/ 835079 h 6593118"/>
              <a:gd name="connsiteX4679" fmla="*/ 10116714 w 11490376"/>
              <a:gd name="connsiteY4679" fmla="*/ 844901 h 6593118"/>
              <a:gd name="connsiteX4680" fmla="*/ 10141272 w 11490376"/>
              <a:gd name="connsiteY4680" fmla="*/ 835079 h 6593118"/>
              <a:gd name="connsiteX4681" fmla="*/ 10173198 w 11490376"/>
              <a:gd name="connsiteY4681" fmla="*/ 825256 h 6593118"/>
              <a:gd name="connsiteX4682" fmla="*/ 10271430 w 11490376"/>
              <a:gd name="connsiteY4682" fmla="*/ 847356 h 6593118"/>
              <a:gd name="connsiteX4683" fmla="*/ 10310723 w 11490376"/>
              <a:gd name="connsiteY4683" fmla="*/ 889098 h 6593118"/>
              <a:gd name="connsiteX4684" fmla="*/ 10352471 w 11490376"/>
              <a:gd name="connsiteY4684" fmla="*/ 923475 h 6593118"/>
              <a:gd name="connsiteX4685" fmla="*/ 10381940 w 11490376"/>
              <a:gd name="connsiteY4685" fmla="*/ 933297 h 6593118"/>
              <a:gd name="connsiteX4686" fmla="*/ 10401588 w 11490376"/>
              <a:gd name="connsiteY4686" fmla="*/ 903831 h 6593118"/>
              <a:gd name="connsiteX4687" fmla="*/ 10487540 w 11490376"/>
              <a:gd name="connsiteY4687" fmla="*/ 891555 h 6593118"/>
              <a:gd name="connsiteX4688" fmla="*/ 10539112 w 11490376"/>
              <a:gd name="connsiteY4688" fmla="*/ 911198 h 6593118"/>
              <a:gd name="connsiteX4689" fmla="*/ 10578404 w 11490376"/>
              <a:gd name="connsiteY4689" fmla="*/ 903831 h 6593118"/>
              <a:gd name="connsiteX4690" fmla="*/ 10600507 w 11490376"/>
              <a:gd name="connsiteY4690" fmla="*/ 925930 h 6593118"/>
              <a:gd name="connsiteX4691" fmla="*/ 10637344 w 11490376"/>
              <a:gd name="connsiteY4691" fmla="*/ 918563 h 6593118"/>
              <a:gd name="connsiteX4692" fmla="*/ 10647168 w 11490376"/>
              <a:gd name="connsiteY4692" fmla="*/ 871911 h 6593118"/>
              <a:gd name="connsiteX4693" fmla="*/ 10725753 w 11490376"/>
              <a:gd name="connsiteY4693" fmla="*/ 879276 h 6593118"/>
              <a:gd name="connsiteX4694" fmla="*/ 10792059 w 11490376"/>
              <a:gd name="connsiteY4694" fmla="*/ 879276 h 6593118"/>
              <a:gd name="connsiteX4695" fmla="*/ 10838720 w 11490376"/>
              <a:gd name="connsiteY4695" fmla="*/ 896465 h 6593118"/>
              <a:gd name="connsiteX4696" fmla="*/ 10860822 w 11490376"/>
              <a:gd name="connsiteY4696" fmla="*/ 911198 h 6593118"/>
              <a:gd name="connsiteX4697" fmla="*/ 10909937 w 11490376"/>
              <a:gd name="connsiteY4697" fmla="*/ 930842 h 6593118"/>
              <a:gd name="connsiteX4698" fmla="*/ 10954142 w 11490376"/>
              <a:gd name="connsiteY4698" fmla="*/ 933297 h 6593118"/>
              <a:gd name="connsiteX4699" fmla="*/ 11000803 w 11490376"/>
              <a:gd name="connsiteY4699" fmla="*/ 960307 h 6593118"/>
              <a:gd name="connsiteX4700" fmla="*/ 11032727 w 11490376"/>
              <a:gd name="connsiteY4700" fmla="*/ 997137 h 6593118"/>
              <a:gd name="connsiteX4701" fmla="*/ 11103946 w 11490376"/>
              <a:gd name="connsiteY4701" fmla="*/ 997137 h 6593118"/>
              <a:gd name="connsiteX4702" fmla="*/ 11111313 w 11490376"/>
              <a:gd name="connsiteY4702" fmla="*/ 1026604 h 6593118"/>
              <a:gd name="connsiteX4703" fmla="*/ 11162886 w 11490376"/>
              <a:gd name="connsiteY4703" fmla="*/ 1041336 h 6593118"/>
              <a:gd name="connsiteX4704" fmla="*/ 11177620 w 11490376"/>
              <a:gd name="connsiteY4704" fmla="*/ 1060981 h 6593118"/>
              <a:gd name="connsiteX4705" fmla="*/ 11199722 w 11490376"/>
              <a:gd name="connsiteY4705" fmla="*/ 1100268 h 6593118"/>
              <a:gd name="connsiteX4706" fmla="*/ 11214458 w 11490376"/>
              <a:gd name="connsiteY4706" fmla="*/ 1078168 h 6593118"/>
              <a:gd name="connsiteX4707" fmla="*/ 11270941 w 11490376"/>
              <a:gd name="connsiteY4707" fmla="*/ 1068346 h 6593118"/>
              <a:gd name="connsiteX4708" fmla="*/ 11310234 w 11490376"/>
              <a:gd name="connsiteY4708" fmla="*/ 1095356 h 6593118"/>
              <a:gd name="connsiteX4709" fmla="*/ 11376541 w 11490376"/>
              <a:gd name="connsiteY4709" fmla="*/ 1095356 h 6593118"/>
              <a:gd name="connsiteX4710" fmla="*/ 11369172 w 11490376"/>
              <a:gd name="connsiteY4710" fmla="*/ 1139555 h 6593118"/>
              <a:gd name="connsiteX4711" fmla="*/ 11342159 w 11490376"/>
              <a:gd name="connsiteY4711" fmla="*/ 1151832 h 6593118"/>
              <a:gd name="connsiteX4712" fmla="*/ 11315145 w 11490376"/>
              <a:gd name="connsiteY4712" fmla="*/ 1151832 h 6593118"/>
              <a:gd name="connsiteX4713" fmla="*/ 11305322 w 11490376"/>
              <a:gd name="connsiteY4713" fmla="*/ 1181297 h 6593118"/>
              <a:gd name="connsiteX4714" fmla="*/ 11337246 w 11490376"/>
              <a:gd name="connsiteY4714" fmla="*/ 1218129 h 6593118"/>
              <a:gd name="connsiteX4715" fmla="*/ 11305322 w 11490376"/>
              <a:gd name="connsiteY4715" fmla="*/ 1247594 h 6593118"/>
              <a:gd name="connsiteX4716" fmla="*/ 11283220 w 11490376"/>
              <a:gd name="connsiteY4716" fmla="*/ 1240229 h 6593118"/>
              <a:gd name="connsiteX4717" fmla="*/ 11256206 w 11490376"/>
              <a:gd name="connsiteY4717" fmla="*/ 1203397 h 6593118"/>
              <a:gd name="connsiteX4718" fmla="*/ 11209546 w 11490376"/>
              <a:gd name="connsiteY4718" fmla="*/ 1200942 h 6593118"/>
              <a:gd name="connsiteX4719" fmla="*/ 11182532 w 11490376"/>
              <a:gd name="connsiteY4719" fmla="*/ 1171475 h 6593118"/>
              <a:gd name="connsiteX4720" fmla="*/ 11116225 w 11490376"/>
              <a:gd name="connsiteY4720" fmla="*/ 1166565 h 6593118"/>
              <a:gd name="connsiteX4721" fmla="*/ 11103946 w 11490376"/>
              <a:gd name="connsiteY4721" fmla="*/ 1134645 h 6593118"/>
              <a:gd name="connsiteX4722" fmla="*/ 11089211 w 11490376"/>
              <a:gd name="connsiteY4722" fmla="*/ 1092901 h 6593118"/>
              <a:gd name="connsiteX4723" fmla="*/ 11047463 w 11490376"/>
              <a:gd name="connsiteY4723" fmla="*/ 1105178 h 6593118"/>
              <a:gd name="connsiteX4724" fmla="*/ 11047463 w 11490376"/>
              <a:gd name="connsiteY4724" fmla="*/ 1144465 h 6593118"/>
              <a:gd name="connsiteX4725" fmla="*/ 11064653 w 11490376"/>
              <a:gd name="connsiteY4725" fmla="*/ 1166565 h 6593118"/>
              <a:gd name="connsiteX4726" fmla="*/ 11020449 w 11490376"/>
              <a:gd name="connsiteY4726" fmla="*/ 1196030 h 6593118"/>
              <a:gd name="connsiteX4727" fmla="*/ 10995891 w 11490376"/>
              <a:gd name="connsiteY4727" fmla="*/ 1218129 h 6593118"/>
              <a:gd name="connsiteX4728" fmla="*/ 11059742 w 11490376"/>
              <a:gd name="connsiteY4728" fmla="*/ 1259872 h 6593118"/>
              <a:gd name="connsiteX4729" fmla="*/ 11106403 w 11490376"/>
              <a:gd name="connsiteY4729" fmla="*/ 1318803 h 6593118"/>
              <a:gd name="connsiteX4730" fmla="*/ 11094123 w 11490376"/>
              <a:gd name="connsiteY4730" fmla="*/ 1345813 h 6593118"/>
              <a:gd name="connsiteX4731" fmla="*/ 11042551 w 11490376"/>
              <a:gd name="connsiteY4731" fmla="*/ 1326168 h 6593118"/>
              <a:gd name="connsiteX4732" fmla="*/ 11015537 w 11490376"/>
              <a:gd name="connsiteY4732" fmla="*/ 1331080 h 6593118"/>
              <a:gd name="connsiteX4733" fmla="*/ 10968877 w 11490376"/>
              <a:gd name="connsiteY4733" fmla="*/ 1365456 h 6593118"/>
              <a:gd name="connsiteX4734" fmla="*/ 10919761 w 11490376"/>
              <a:gd name="connsiteY4734" fmla="*/ 1363000 h 6593118"/>
              <a:gd name="connsiteX4735" fmla="*/ 10912394 w 11490376"/>
              <a:gd name="connsiteY4735" fmla="*/ 1397377 h 6593118"/>
              <a:gd name="connsiteX4736" fmla="*/ 10892747 w 11490376"/>
              <a:gd name="connsiteY4736" fmla="*/ 1414565 h 6593118"/>
              <a:gd name="connsiteX4737" fmla="*/ 10875556 w 11490376"/>
              <a:gd name="connsiteY4737" fmla="*/ 1478407 h 6593118"/>
              <a:gd name="connsiteX4738" fmla="*/ 10855911 w 11490376"/>
              <a:gd name="connsiteY4738" fmla="*/ 1463674 h 6593118"/>
              <a:gd name="connsiteX4739" fmla="*/ 10831352 w 11490376"/>
              <a:gd name="connsiteY4739" fmla="*/ 1431754 h 6593118"/>
              <a:gd name="connsiteX4740" fmla="*/ 10804339 w 11490376"/>
              <a:gd name="connsiteY4740" fmla="*/ 1424387 h 6593118"/>
              <a:gd name="connsiteX4741" fmla="*/ 10757678 w 11490376"/>
              <a:gd name="connsiteY4741" fmla="*/ 1431754 h 6593118"/>
              <a:gd name="connsiteX4742" fmla="*/ 10728209 w 11490376"/>
              <a:gd name="connsiteY4742" fmla="*/ 1453852 h 6593118"/>
              <a:gd name="connsiteX4743" fmla="*/ 10671725 w 11490376"/>
              <a:gd name="connsiteY4743" fmla="*/ 1480863 h 6593118"/>
              <a:gd name="connsiteX4744" fmla="*/ 10649623 w 11490376"/>
              <a:gd name="connsiteY4744" fmla="*/ 1507873 h 6593118"/>
              <a:gd name="connsiteX4745" fmla="*/ 10647168 w 11490376"/>
              <a:gd name="connsiteY4745" fmla="*/ 1510328 h 6593118"/>
              <a:gd name="connsiteX4746" fmla="*/ 10647168 w 11490376"/>
              <a:gd name="connsiteY4746" fmla="*/ 1512783 h 6593118"/>
              <a:gd name="connsiteX4747" fmla="*/ 10647168 w 11490376"/>
              <a:gd name="connsiteY4747" fmla="*/ 1517694 h 6593118"/>
              <a:gd name="connsiteX4748" fmla="*/ 10647168 w 11490376"/>
              <a:gd name="connsiteY4748" fmla="*/ 1520150 h 6593118"/>
              <a:gd name="connsiteX4749" fmla="*/ 10644711 w 11490376"/>
              <a:gd name="connsiteY4749" fmla="*/ 1527516 h 6593118"/>
              <a:gd name="connsiteX4750" fmla="*/ 10642256 w 11490376"/>
              <a:gd name="connsiteY4750" fmla="*/ 1532428 h 6593118"/>
              <a:gd name="connsiteX4751" fmla="*/ 10642256 w 11490376"/>
              <a:gd name="connsiteY4751" fmla="*/ 1537338 h 6593118"/>
              <a:gd name="connsiteX4752" fmla="*/ 10639800 w 11490376"/>
              <a:gd name="connsiteY4752" fmla="*/ 1544705 h 6593118"/>
              <a:gd name="connsiteX4753" fmla="*/ 10639800 w 11490376"/>
              <a:gd name="connsiteY4753" fmla="*/ 1549615 h 6593118"/>
              <a:gd name="connsiteX4754" fmla="*/ 10637344 w 11490376"/>
              <a:gd name="connsiteY4754" fmla="*/ 1554526 h 6593118"/>
              <a:gd name="connsiteX4755" fmla="*/ 10637344 w 11490376"/>
              <a:gd name="connsiteY4755" fmla="*/ 1561893 h 6593118"/>
              <a:gd name="connsiteX4756" fmla="*/ 10637344 w 11490376"/>
              <a:gd name="connsiteY4756" fmla="*/ 1569258 h 6593118"/>
              <a:gd name="connsiteX4757" fmla="*/ 10637344 w 11490376"/>
              <a:gd name="connsiteY4757" fmla="*/ 1571715 h 6593118"/>
              <a:gd name="connsiteX4758" fmla="*/ 10642256 w 11490376"/>
              <a:gd name="connsiteY4758" fmla="*/ 1574170 h 6593118"/>
              <a:gd name="connsiteX4759" fmla="*/ 10642256 w 11490376"/>
              <a:gd name="connsiteY4759" fmla="*/ 1576625 h 6593118"/>
              <a:gd name="connsiteX4760" fmla="*/ 10644711 w 11490376"/>
              <a:gd name="connsiteY4760" fmla="*/ 1576625 h 6593118"/>
              <a:gd name="connsiteX4761" fmla="*/ 10647168 w 11490376"/>
              <a:gd name="connsiteY4761" fmla="*/ 1579080 h 6593118"/>
              <a:gd name="connsiteX4762" fmla="*/ 10649623 w 11490376"/>
              <a:gd name="connsiteY4762" fmla="*/ 1581536 h 6593118"/>
              <a:gd name="connsiteX4763" fmla="*/ 10652080 w 11490376"/>
              <a:gd name="connsiteY4763" fmla="*/ 1581536 h 6593118"/>
              <a:gd name="connsiteX4764" fmla="*/ 10654535 w 11490376"/>
              <a:gd name="connsiteY4764" fmla="*/ 1581536 h 6593118"/>
              <a:gd name="connsiteX4765" fmla="*/ 10659447 w 11490376"/>
              <a:gd name="connsiteY4765" fmla="*/ 1581536 h 6593118"/>
              <a:gd name="connsiteX4766" fmla="*/ 10698739 w 11490376"/>
              <a:gd name="connsiteY4766" fmla="*/ 1625734 h 6593118"/>
              <a:gd name="connsiteX4767" fmla="*/ 10713473 w 11490376"/>
              <a:gd name="connsiteY4767" fmla="*/ 1652744 h 6593118"/>
              <a:gd name="connsiteX4768" fmla="*/ 10691372 w 11490376"/>
              <a:gd name="connsiteY4768" fmla="*/ 1657655 h 6593118"/>
              <a:gd name="connsiteX4769" fmla="*/ 10686461 w 11490376"/>
              <a:gd name="connsiteY4769" fmla="*/ 1694487 h 6593118"/>
              <a:gd name="connsiteX4770" fmla="*/ 10691372 w 11490376"/>
              <a:gd name="connsiteY4770" fmla="*/ 1741141 h 6593118"/>
              <a:gd name="connsiteX4771" fmla="*/ 10656990 w 11490376"/>
              <a:gd name="connsiteY4771" fmla="*/ 1741141 h 6593118"/>
              <a:gd name="connsiteX4772" fmla="*/ 10656990 w 11490376"/>
              <a:gd name="connsiteY4772" fmla="*/ 1780428 h 6593118"/>
              <a:gd name="connsiteX4773" fmla="*/ 10622609 w 11490376"/>
              <a:gd name="connsiteY4773" fmla="*/ 1849180 h 6593118"/>
              <a:gd name="connsiteX4774" fmla="*/ 10588228 w 11490376"/>
              <a:gd name="connsiteY4774" fmla="*/ 1905656 h 6593118"/>
              <a:gd name="connsiteX4775" fmla="*/ 10558759 w 11490376"/>
              <a:gd name="connsiteY4775" fmla="*/ 1886012 h 6593118"/>
              <a:gd name="connsiteX4776" fmla="*/ 10534200 w 11490376"/>
              <a:gd name="connsiteY4776" fmla="*/ 1849180 h 6593118"/>
              <a:gd name="connsiteX4777" fmla="*/ 10517009 w 11490376"/>
              <a:gd name="connsiteY4777" fmla="*/ 1787795 h 6593118"/>
              <a:gd name="connsiteX4778" fmla="*/ 10487540 w 11490376"/>
              <a:gd name="connsiteY4778" fmla="*/ 1736230 h 6593118"/>
              <a:gd name="connsiteX4779" fmla="*/ 10477717 w 11490376"/>
              <a:gd name="connsiteY4779" fmla="*/ 1660111 h 6593118"/>
              <a:gd name="connsiteX4780" fmla="*/ 10482628 w 11490376"/>
              <a:gd name="connsiteY4780" fmla="*/ 1588903 h 6593118"/>
              <a:gd name="connsiteX4781" fmla="*/ 10521921 w 11490376"/>
              <a:gd name="connsiteY4781" fmla="*/ 1539793 h 6593118"/>
              <a:gd name="connsiteX4782" fmla="*/ 10563671 w 11490376"/>
              <a:gd name="connsiteY4782" fmla="*/ 1475951 h 6593118"/>
              <a:gd name="connsiteX4783" fmla="*/ 10612787 w 11490376"/>
              <a:gd name="connsiteY4783" fmla="*/ 1436664 h 6593118"/>
              <a:gd name="connsiteX4784" fmla="*/ 10632433 w 11490376"/>
              <a:gd name="connsiteY4784" fmla="*/ 1397377 h 6593118"/>
              <a:gd name="connsiteX4785" fmla="*/ 10607875 w 11490376"/>
              <a:gd name="connsiteY4785" fmla="*/ 1353178 h 6593118"/>
              <a:gd name="connsiteX4786" fmla="*/ 10585773 w 11490376"/>
              <a:gd name="connsiteY4786" fmla="*/ 1363000 h 6593118"/>
              <a:gd name="connsiteX4787" fmla="*/ 10553847 w 11490376"/>
              <a:gd name="connsiteY4787" fmla="*/ 1417020 h 6593118"/>
              <a:gd name="connsiteX4788" fmla="*/ 10534200 w 11490376"/>
              <a:gd name="connsiteY4788" fmla="*/ 1409655 h 6593118"/>
              <a:gd name="connsiteX4789" fmla="*/ 10502275 w 11490376"/>
              <a:gd name="connsiteY4789" fmla="*/ 1370367 h 6593118"/>
              <a:gd name="connsiteX4790" fmla="*/ 10411411 w 11490376"/>
              <a:gd name="connsiteY4790" fmla="*/ 1370367 h 6593118"/>
              <a:gd name="connsiteX4791" fmla="*/ 10391764 w 11490376"/>
              <a:gd name="connsiteY4791" fmla="*/ 1404744 h 6593118"/>
              <a:gd name="connsiteX4792" fmla="*/ 10377029 w 11490376"/>
              <a:gd name="connsiteY4792" fmla="*/ 1463674 h 6593118"/>
              <a:gd name="connsiteX4793" fmla="*/ 10372118 w 11490376"/>
              <a:gd name="connsiteY4793" fmla="*/ 1507873 h 6593118"/>
              <a:gd name="connsiteX4794" fmla="*/ 10278797 w 11490376"/>
              <a:gd name="connsiteY4794" fmla="*/ 1520150 h 6593118"/>
              <a:gd name="connsiteX4795" fmla="*/ 10278797 w 11490376"/>
              <a:gd name="connsiteY4795" fmla="*/ 1498051 h 6593118"/>
              <a:gd name="connsiteX4796" fmla="*/ 10212491 w 11490376"/>
              <a:gd name="connsiteY4796" fmla="*/ 1480863 h 6593118"/>
              <a:gd name="connsiteX4797" fmla="*/ 10192845 w 11490376"/>
              <a:gd name="connsiteY4797" fmla="*/ 1517694 h 6593118"/>
              <a:gd name="connsiteX4798" fmla="*/ 10099524 w 11490376"/>
              <a:gd name="connsiteY4798" fmla="*/ 1507873 h 6593118"/>
              <a:gd name="connsiteX4799" fmla="*/ 10033217 w 11490376"/>
              <a:gd name="connsiteY4799" fmla="*/ 1512783 h 6593118"/>
              <a:gd name="connsiteX4800" fmla="*/ 9949720 w 11490376"/>
              <a:gd name="connsiteY4800" fmla="*/ 1534883 h 6593118"/>
              <a:gd name="connsiteX4801" fmla="*/ 9922706 w 11490376"/>
              <a:gd name="connsiteY4801" fmla="*/ 1576625 h 6593118"/>
              <a:gd name="connsiteX4802" fmla="*/ 9900605 w 11490376"/>
              <a:gd name="connsiteY4802" fmla="*/ 1623279 h 6593118"/>
              <a:gd name="connsiteX4803" fmla="*/ 9861312 w 11490376"/>
              <a:gd name="connsiteY4803" fmla="*/ 1687121 h 6593118"/>
              <a:gd name="connsiteX4804" fmla="*/ 9826929 w 11490376"/>
              <a:gd name="connsiteY4804" fmla="*/ 1721496 h 6593118"/>
              <a:gd name="connsiteX4805" fmla="*/ 9836753 w 11490376"/>
              <a:gd name="connsiteY4805" fmla="*/ 1748508 h 6593118"/>
              <a:gd name="connsiteX4806" fmla="*/ 9893236 w 11490376"/>
              <a:gd name="connsiteY4806" fmla="*/ 1777973 h 6593118"/>
              <a:gd name="connsiteX4807" fmla="*/ 9898148 w 11490376"/>
              <a:gd name="connsiteY4807" fmla="*/ 1809893 h 6593118"/>
              <a:gd name="connsiteX4808" fmla="*/ 9922706 w 11490376"/>
              <a:gd name="connsiteY4808" fmla="*/ 1807438 h 6593118"/>
              <a:gd name="connsiteX4809" fmla="*/ 9939898 w 11490376"/>
              <a:gd name="connsiteY4809" fmla="*/ 1773061 h 6593118"/>
              <a:gd name="connsiteX4810" fmla="*/ 9998836 w 11490376"/>
              <a:gd name="connsiteY4810" fmla="*/ 1792705 h 6593118"/>
              <a:gd name="connsiteX4811" fmla="*/ 10035674 w 11490376"/>
              <a:gd name="connsiteY4811" fmla="*/ 1846725 h 6593118"/>
              <a:gd name="connsiteX4812" fmla="*/ 10045496 w 11490376"/>
              <a:gd name="connsiteY4812" fmla="*/ 1935121 h 6593118"/>
              <a:gd name="connsiteX4813" fmla="*/ 10033217 w 11490376"/>
              <a:gd name="connsiteY4813" fmla="*/ 1959676 h 6593118"/>
              <a:gd name="connsiteX4814" fmla="*/ 10050408 w 11490376"/>
              <a:gd name="connsiteY4814" fmla="*/ 2040705 h 6593118"/>
              <a:gd name="connsiteX4815" fmla="*/ 10018483 w 11490376"/>
              <a:gd name="connsiteY4815" fmla="*/ 2124192 h 6593118"/>
              <a:gd name="connsiteX4816" fmla="*/ 9981646 w 11490376"/>
              <a:gd name="connsiteY4816" fmla="*/ 2207678 h 6593118"/>
              <a:gd name="connsiteX4817" fmla="*/ 9937441 w 11490376"/>
              <a:gd name="connsiteY4817" fmla="*/ 2278885 h 6593118"/>
              <a:gd name="connsiteX4818" fmla="*/ 9880958 w 11490376"/>
              <a:gd name="connsiteY4818" fmla="*/ 2323084 h 6593118"/>
              <a:gd name="connsiteX4819" fmla="*/ 9836753 w 11490376"/>
              <a:gd name="connsiteY4819" fmla="*/ 2308350 h 6593118"/>
              <a:gd name="connsiteX4820" fmla="*/ 9831646 w 11490376"/>
              <a:gd name="connsiteY4820" fmla="*/ 2307329 h 6593118"/>
              <a:gd name="connsiteX4821" fmla="*/ 9798282 w 11490376"/>
              <a:gd name="connsiteY4821" fmla="*/ 2333620 h 6593118"/>
              <a:gd name="connsiteX4822" fmla="*/ 9763958 w 11490376"/>
              <a:gd name="connsiteY4822" fmla="*/ 2343457 h 6593118"/>
              <a:gd name="connsiteX4823" fmla="*/ 9729635 w 11490376"/>
              <a:gd name="connsiteY4823" fmla="*/ 2385259 h 6593118"/>
              <a:gd name="connsiteX4824" fmla="*/ 9695311 w 11490376"/>
              <a:gd name="connsiteY4824" fmla="*/ 2385259 h 6593118"/>
              <a:gd name="connsiteX4825" fmla="*/ 9665889 w 11490376"/>
              <a:gd name="connsiteY4825" fmla="*/ 2370505 h 6593118"/>
              <a:gd name="connsiteX4826" fmla="*/ 9646276 w 11490376"/>
              <a:gd name="connsiteY4826" fmla="*/ 2429520 h 6593118"/>
              <a:gd name="connsiteX4827" fmla="*/ 9611953 w 11490376"/>
              <a:gd name="connsiteY4827" fmla="*/ 2451650 h 6593118"/>
              <a:gd name="connsiteX4828" fmla="*/ 9567822 w 11490376"/>
              <a:gd name="connsiteY4828" fmla="*/ 2478698 h 6593118"/>
              <a:gd name="connsiteX4829" fmla="*/ 9518788 w 11490376"/>
              <a:gd name="connsiteY4829" fmla="*/ 2495911 h 6593118"/>
              <a:gd name="connsiteX4830" fmla="*/ 9513885 w 11490376"/>
              <a:gd name="connsiteY4830" fmla="*/ 2454110 h 6593118"/>
              <a:gd name="connsiteX4831" fmla="*/ 9504078 w 11490376"/>
              <a:gd name="connsiteY4831" fmla="*/ 2414766 h 6593118"/>
              <a:gd name="connsiteX4832" fmla="*/ 9489367 w 11490376"/>
              <a:gd name="connsiteY4832" fmla="*/ 2412308 h 6593118"/>
              <a:gd name="connsiteX4833" fmla="*/ 9467303 w 11490376"/>
              <a:gd name="connsiteY4833" fmla="*/ 2429520 h 6593118"/>
              <a:gd name="connsiteX4834" fmla="*/ 9450141 w 11490376"/>
              <a:gd name="connsiteY4834" fmla="*/ 2456569 h 6593118"/>
              <a:gd name="connsiteX4835" fmla="*/ 9401106 w 11490376"/>
              <a:gd name="connsiteY4835" fmla="*/ 2493452 h 6593118"/>
              <a:gd name="connsiteX4836" fmla="*/ 9403557 w 11490376"/>
              <a:gd name="connsiteY4836" fmla="*/ 2530336 h 6593118"/>
              <a:gd name="connsiteX4837" fmla="*/ 9440334 w 11490376"/>
              <a:gd name="connsiteY4837" fmla="*/ 2562303 h 6593118"/>
              <a:gd name="connsiteX4838" fmla="*/ 9477109 w 11490376"/>
              <a:gd name="connsiteY4838" fmla="*/ 2564762 h 6593118"/>
              <a:gd name="connsiteX4839" fmla="*/ 9504078 w 11490376"/>
              <a:gd name="connsiteY4839" fmla="*/ 2537713 h 6593118"/>
              <a:gd name="connsiteX4840" fmla="*/ 9558016 w 11490376"/>
              <a:gd name="connsiteY4840" fmla="*/ 2542632 h 6593118"/>
              <a:gd name="connsiteX4841" fmla="*/ 9567822 w 11490376"/>
              <a:gd name="connsiteY4841" fmla="*/ 2591810 h 6593118"/>
              <a:gd name="connsiteX4842" fmla="*/ 9521239 w 11490376"/>
              <a:gd name="connsiteY4842" fmla="*/ 2606564 h 6593118"/>
              <a:gd name="connsiteX4843" fmla="*/ 9484464 w 11490376"/>
              <a:gd name="connsiteY4843" fmla="*/ 2640989 h 6593118"/>
              <a:gd name="connsiteX4844" fmla="*/ 9499175 w 11490376"/>
              <a:gd name="connsiteY4844" fmla="*/ 2687710 h 6593118"/>
              <a:gd name="connsiteX4845" fmla="*/ 9531047 w 11490376"/>
              <a:gd name="connsiteY4845" fmla="*/ 2749183 h 6593118"/>
              <a:gd name="connsiteX4846" fmla="*/ 9575177 w 11490376"/>
              <a:gd name="connsiteY4846" fmla="*/ 2795903 h 6593118"/>
              <a:gd name="connsiteX4847" fmla="*/ 9575177 w 11490376"/>
              <a:gd name="connsiteY4847" fmla="*/ 2835247 h 6593118"/>
              <a:gd name="connsiteX4848" fmla="*/ 9584985 w 11490376"/>
              <a:gd name="connsiteY4848" fmla="*/ 2879508 h 6593118"/>
              <a:gd name="connsiteX4849" fmla="*/ 9602145 w 11490376"/>
              <a:gd name="connsiteY4849" fmla="*/ 2977866 h 6593118"/>
              <a:gd name="connsiteX4850" fmla="*/ 9577629 w 11490376"/>
              <a:gd name="connsiteY4850" fmla="*/ 2985242 h 6593118"/>
              <a:gd name="connsiteX4851" fmla="*/ 9572726 w 11490376"/>
              <a:gd name="connsiteY4851" fmla="*/ 3017209 h 6593118"/>
              <a:gd name="connsiteX4852" fmla="*/ 9538401 w 11490376"/>
              <a:gd name="connsiteY4852" fmla="*/ 3049175 h 6593118"/>
              <a:gd name="connsiteX4853" fmla="*/ 9540854 w 11490376"/>
              <a:gd name="connsiteY4853" fmla="*/ 3095895 h 6593118"/>
              <a:gd name="connsiteX4854" fmla="*/ 9506529 w 11490376"/>
              <a:gd name="connsiteY4854" fmla="*/ 3120484 h 6593118"/>
              <a:gd name="connsiteX4855" fmla="*/ 9484464 w 11490376"/>
              <a:gd name="connsiteY4855" fmla="*/ 3122943 h 6593118"/>
              <a:gd name="connsiteX4856" fmla="*/ 9477109 w 11490376"/>
              <a:gd name="connsiteY4856" fmla="*/ 3159828 h 6593118"/>
              <a:gd name="connsiteX4857" fmla="*/ 9450141 w 11490376"/>
              <a:gd name="connsiteY4857" fmla="*/ 3167204 h 6593118"/>
              <a:gd name="connsiteX4858" fmla="*/ 9442785 w 11490376"/>
              <a:gd name="connsiteY4858" fmla="*/ 3204089 h 6593118"/>
              <a:gd name="connsiteX4859" fmla="*/ 9381493 w 11490376"/>
              <a:gd name="connsiteY4859" fmla="*/ 3221302 h 6593118"/>
              <a:gd name="connsiteX4860" fmla="*/ 9337362 w 11490376"/>
              <a:gd name="connsiteY4860" fmla="*/ 3213925 h 6593118"/>
              <a:gd name="connsiteX4861" fmla="*/ 9280972 w 11490376"/>
              <a:gd name="connsiteY4861" fmla="*/ 3233596 h 6593118"/>
              <a:gd name="connsiteX4862" fmla="*/ 9224584 w 11490376"/>
              <a:gd name="connsiteY4862" fmla="*/ 3277857 h 6593118"/>
              <a:gd name="connsiteX4863" fmla="*/ 9202518 w 11490376"/>
              <a:gd name="connsiteY4863" fmla="*/ 3297528 h 6593118"/>
              <a:gd name="connsiteX4864" fmla="*/ 9187808 w 11490376"/>
              <a:gd name="connsiteY4864" fmla="*/ 3248350 h 6593118"/>
              <a:gd name="connsiteX4865" fmla="*/ 9165743 w 11490376"/>
              <a:gd name="connsiteY4865" fmla="*/ 3236056 h 6593118"/>
              <a:gd name="connsiteX4866" fmla="*/ 9151033 w 11490376"/>
              <a:gd name="connsiteY4866" fmla="*/ 3277857 h 6593118"/>
              <a:gd name="connsiteX4867" fmla="*/ 9097096 w 11490376"/>
              <a:gd name="connsiteY4867" fmla="*/ 3204089 h 6593118"/>
              <a:gd name="connsiteX4868" fmla="*/ 9043158 w 11490376"/>
              <a:gd name="connsiteY4868" fmla="*/ 3184418 h 6593118"/>
              <a:gd name="connsiteX4869" fmla="*/ 9039513 w 11490376"/>
              <a:gd name="connsiteY4869" fmla="*/ 3184418 h 6593118"/>
              <a:gd name="connsiteX4870" fmla="*/ 9094802 w 11490376"/>
              <a:gd name="connsiteY4870" fmla="*/ 3203550 h 6593118"/>
              <a:gd name="connsiteX4871" fmla="*/ 9146571 w 11490376"/>
              <a:gd name="connsiteY4871" fmla="*/ 3277126 h 6593118"/>
              <a:gd name="connsiteX4872" fmla="*/ 9102197 w 11490376"/>
              <a:gd name="connsiteY4872" fmla="*/ 3311461 h 6593118"/>
              <a:gd name="connsiteX4873" fmla="*/ 9087406 w 11490376"/>
              <a:gd name="connsiteY4873" fmla="*/ 3328629 h 6593118"/>
              <a:gd name="connsiteX4874" fmla="*/ 9087406 w 11490376"/>
              <a:gd name="connsiteY4874" fmla="*/ 3380133 h 6593118"/>
              <a:gd name="connsiteX4875" fmla="*/ 9146571 w 11490376"/>
              <a:gd name="connsiteY4875" fmla="*/ 3448804 h 6593118"/>
              <a:gd name="connsiteX4876" fmla="*/ 9198341 w 11490376"/>
              <a:gd name="connsiteY4876" fmla="*/ 3505213 h 6593118"/>
              <a:gd name="connsiteX4877" fmla="*/ 9218063 w 11490376"/>
              <a:gd name="connsiteY4877" fmla="*/ 3583694 h 6593118"/>
              <a:gd name="connsiteX4878" fmla="*/ 9208203 w 11490376"/>
              <a:gd name="connsiteY4878" fmla="*/ 3676890 h 6593118"/>
              <a:gd name="connsiteX4879" fmla="*/ 9193411 w 11490376"/>
              <a:gd name="connsiteY4879" fmla="*/ 3696510 h 6593118"/>
              <a:gd name="connsiteX4880" fmla="*/ 9136711 w 11490376"/>
              <a:gd name="connsiteY4880" fmla="*/ 3748014 h 6593118"/>
              <a:gd name="connsiteX4881" fmla="*/ 9072614 w 11490376"/>
              <a:gd name="connsiteY4881" fmla="*/ 3794613 h 6593118"/>
              <a:gd name="connsiteX4882" fmla="*/ 9060289 w 11490376"/>
              <a:gd name="connsiteY4882" fmla="*/ 3757825 h 6593118"/>
              <a:gd name="connsiteX4883" fmla="*/ 9077545 w 11490376"/>
              <a:gd name="connsiteY4883" fmla="*/ 3733298 h 6593118"/>
              <a:gd name="connsiteX4884" fmla="*/ 9062754 w 11490376"/>
              <a:gd name="connsiteY4884" fmla="*/ 3711226 h 6593118"/>
              <a:gd name="connsiteX4885" fmla="*/ 9063766 w 11490376"/>
              <a:gd name="connsiteY4885" fmla="*/ 3710507 h 6593118"/>
              <a:gd name="connsiteX4886" fmla="*/ 9042523 w 11490376"/>
              <a:gd name="connsiteY4886" fmla="*/ 3688904 h 6593118"/>
              <a:gd name="connsiteX4887" fmla="*/ 8996419 w 11490376"/>
              <a:gd name="connsiteY4887" fmla="*/ 3698774 h 6593118"/>
              <a:gd name="connsiteX4888" fmla="*/ 8991567 w 11490376"/>
              <a:gd name="connsiteY4888" fmla="*/ 3642025 h 6593118"/>
              <a:gd name="connsiteX4889" fmla="*/ 8960021 w 11490376"/>
              <a:gd name="connsiteY4889" fmla="*/ 3614884 h 6593118"/>
              <a:gd name="connsiteX4890" fmla="*/ 8974581 w 11490376"/>
              <a:gd name="connsiteY4890" fmla="*/ 3572939 h 6593118"/>
              <a:gd name="connsiteX4891" fmla="*/ 9010536 w 11490376"/>
              <a:gd name="connsiteY4891" fmla="*/ 3541252 h 6593118"/>
              <a:gd name="connsiteX4892" fmla="*/ 9008944 w 11490376"/>
              <a:gd name="connsiteY4892" fmla="*/ 3540235 h 6593118"/>
              <a:gd name="connsiteX4893" fmla="*/ 8972111 w 11490376"/>
              <a:gd name="connsiteY4893" fmla="*/ 3574436 h 6593118"/>
              <a:gd name="connsiteX4894" fmla="*/ 8957377 w 11490376"/>
              <a:gd name="connsiteY4894" fmla="*/ 3615965 h 6593118"/>
              <a:gd name="connsiteX4895" fmla="*/ 8922997 w 11490376"/>
              <a:gd name="connsiteY4895" fmla="*/ 3611078 h 6593118"/>
              <a:gd name="connsiteX4896" fmla="*/ 8898441 w 11490376"/>
              <a:gd name="connsiteY4896" fmla="*/ 3686807 h 6593118"/>
              <a:gd name="connsiteX4897" fmla="*/ 8920542 w 11490376"/>
              <a:gd name="connsiteY4897" fmla="*/ 3723451 h 6593118"/>
              <a:gd name="connsiteX4898" fmla="*/ 8888619 w 11490376"/>
              <a:gd name="connsiteY4898" fmla="*/ 3755208 h 6593118"/>
              <a:gd name="connsiteX4899" fmla="*/ 8861608 w 11490376"/>
              <a:gd name="connsiteY4899" fmla="*/ 3735664 h 6593118"/>
              <a:gd name="connsiteX4900" fmla="*/ 8834995 w 11490376"/>
              <a:gd name="connsiteY4900" fmla="*/ 3706784 h 6593118"/>
              <a:gd name="connsiteX4901" fmla="*/ 8834837 w 11490376"/>
              <a:gd name="connsiteY4901" fmla="*/ 3707013 h 6593118"/>
              <a:gd name="connsiteX4902" fmla="*/ 8834721 w 11490376"/>
              <a:gd name="connsiteY4902" fmla="*/ 3706487 h 6593118"/>
              <a:gd name="connsiteX4903" fmla="*/ 8834596 w 11490376"/>
              <a:gd name="connsiteY4903" fmla="*/ 3706351 h 6593118"/>
              <a:gd name="connsiteX4904" fmla="*/ 8834667 w 11490376"/>
              <a:gd name="connsiteY4904" fmla="*/ 3706239 h 6593118"/>
              <a:gd name="connsiteX4905" fmla="*/ 8820191 w 11490376"/>
              <a:gd name="connsiteY4905" fmla="*/ 3640524 h 6593118"/>
              <a:gd name="connsiteX4906" fmla="*/ 8810428 w 11490376"/>
              <a:gd name="connsiteY4906" fmla="*/ 3593735 h 6593118"/>
              <a:gd name="connsiteX4907" fmla="*/ 8783577 w 11490376"/>
              <a:gd name="connsiteY4907" fmla="*/ 3574036 h 6593118"/>
              <a:gd name="connsiteX4908" fmla="*/ 8795782 w 11490376"/>
              <a:gd name="connsiteY4908" fmla="*/ 3482921 h 6593118"/>
              <a:gd name="connsiteX4909" fmla="*/ 8761607 w 11490376"/>
              <a:gd name="connsiteY4909" fmla="*/ 3428745 h 6593118"/>
              <a:gd name="connsiteX4910" fmla="*/ 8742081 w 11490376"/>
              <a:gd name="connsiteY4910" fmla="*/ 3458295 h 6593118"/>
              <a:gd name="connsiteX4911" fmla="*/ 8717670 w 11490376"/>
              <a:gd name="connsiteY4911" fmla="*/ 3482921 h 6593118"/>
              <a:gd name="connsiteX4912" fmla="*/ 8683497 w 11490376"/>
              <a:gd name="connsiteY4912" fmla="*/ 3470608 h 6593118"/>
              <a:gd name="connsiteX4913" fmla="*/ 8673733 w 11490376"/>
              <a:gd name="connsiteY4913" fmla="*/ 3391807 h 6593118"/>
              <a:gd name="connsiteX4914" fmla="*/ 8666410 w 11490376"/>
              <a:gd name="connsiteY4914" fmla="*/ 3354868 h 6593118"/>
              <a:gd name="connsiteX4915" fmla="*/ 8637119 w 11490376"/>
              <a:gd name="connsiteY4915" fmla="*/ 3313005 h 6593118"/>
              <a:gd name="connsiteX4916" fmla="*/ 8605386 w 11490376"/>
              <a:gd name="connsiteY4916" fmla="*/ 3285918 h 6593118"/>
              <a:gd name="connsiteX4917" fmla="*/ 8607827 w 11490376"/>
              <a:gd name="connsiteY4917" fmla="*/ 3266217 h 6593118"/>
              <a:gd name="connsiteX4918" fmla="*/ 8608826 w 11490376"/>
              <a:gd name="connsiteY4918" fmla="*/ 3264490 h 6593118"/>
              <a:gd name="connsiteX4919" fmla="*/ 8589623 w 11490376"/>
              <a:gd name="connsiteY4919" fmla="*/ 3259723 h 6593118"/>
              <a:gd name="connsiteX4920" fmla="*/ 8559742 w 11490376"/>
              <a:gd name="connsiteY4920" fmla="*/ 3220151 h 6593118"/>
              <a:gd name="connsiteX4921" fmla="*/ 8564722 w 11490376"/>
              <a:gd name="connsiteY4921" fmla="*/ 3185529 h 6593118"/>
              <a:gd name="connsiteX4922" fmla="*/ 8544802 w 11490376"/>
              <a:gd name="connsiteY4922" fmla="*/ 3158323 h 6593118"/>
              <a:gd name="connsiteX4923" fmla="*/ 8534841 w 11490376"/>
              <a:gd name="connsiteY4923" fmla="*/ 3185529 h 6593118"/>
              <a:gd name="connsiteX4924" fmla="*/ 8502469 w 11490376"/>
              <a:gd name="connsiteY4924" fmla="*/ 3197893 h 6593118"/>
              <a:gd name="connsiteX4925" fmla="*/ 8499979 w 11490376"/>
              <a:gd name="connsiteY4925" fmla="*/ 3237464 h 6593118"/>
              <a:gd name="connsiteX4926" fmla="*/ 8462418 w 11490376"/>
              <a:gd name="connsiteY4926" fmla="*/ 3233075 h 6593118"/>
              <a:gd name="connsiteX4927" fmla="*/ 8462429 w 11490376"/>
              <a:gd name="connsiteY4927" fmla="*/ 3233503 h 6593118"/>
              <a:gd name="connsiteX4928" fmla="*/ 8437862 w 11490376"/>
              <a:gd name="connsiteY4928" fmla="*/ 3238427 h 6593118"/>
              <a:gd name="connsiteX4929" fmla="*/ 8413294 w 11490376"/>
              <a:gd name="connsiteY4929" fmla="*/ 3253200 h 6593118"/>
              <a:gd name="connsiteX4930" fmla="*/ 8413294 w 11490376"/>
              <a:gd name="connsiteY4930" fmla="*/ 3297520 h 6593118"/>
              <a:gd name="connsiteX4931" fmla="*/ 8401010 w 11490376"/>
              <a:gd name="connsiteY4931" fmla="*/ 3309831 h 6593118"/>
              <a:gd name="connsiteX4932" fmla="*/ 8373986 w 11490376"/>
              <a:gd name="connsiteY4932" fmla="*/ 3349226 h 6593118"/>
              <a:gd name="connsiteX4933" fmla="*/ 8329766 w 11490376"/>
              <a:gd name="connsiteY4933" fmla="*/ 3363999 h 6593118"/>
              <a:gd name="connsiteX4934" fmla="*/ 8305199 w 11490376"/>
              <a:gd name="connsiteY4934" fmla="*/ 3396007 h 6593118"/>
              <a:gd name="connsiteX4935" fmla="*/ 8268347 w 11490376"/>
              <a:gd name="connsiteY4935" fmla="*/ 3410781 h 6593118"/>
              <a:gd name="connsiteX4936" fmla="*/ 8251149 w 11490376"/>
              <a:gd name="connsiteY4936" fmla="*/ 3460026 h 6593118"/>
              <a:gd name="connsiteX4937" fmla="*/ 8214299 w 11490376"/>
              <a:gd name="connsiteY4937" fmla="*/ 3487109 h 6593118"/>
              <a:gd name="connsiteX4938" fmla="*/ 8162708 w 11490376"/>
              <a:gd name="connsiteY4938" fmla="*/ 3516657 h 6593118"/>
              <a:gd name="connsiteX4939" fmla="*/ 8177447 w 11490376"/>
              <a:gd name="connsiteY4939" fmla="*/ 3644691 h 6593118"/>
              <a:gd name="connsiteX4940" fmla="*/ 8162708 w 11490376"/>
              <a:gd name="connsiteY4940" fmla="*/ 3649616 h 6593118"/>
              <a:gd name="connsiteX4941" fmla="*/ 8177447 w 11490376"/>
              <a:gd name="connsiteY4941" fmla="*/ 3708708 h 6593118"/>
              <a:gd name="connsiteX4942" fmla="*/ 8150423 w 11490376"/>
              <a:gd name="connsiteY4942" fmla="*/ 3750567 h 6593118"/>
              <a:gd name="connsiteX4943" fmla="*/ 8128313 w 11490376"/>
              <a:gd name="connsiteY4943" fmla="*/ 3792424 h 6593118"/>
              <a:gd name="connsiteX4944" fmla="*/ 8086549 w 11490376"/>
              <a:gd name="connsiteY4944" fmla="*/ 3812122 h 6593118"/>
              <a:gd name="connsiteX4945" fmla="*/ 8066895 w 11490376"/>
              <a:gd name="connsiteY4945" fmla="*/ 3797348 h 6593118"/>
              <a:gd name="connsiteX4946" fmla="*/ 8059525 w 11490376"/>
              <a:gd name="connsiteY4946" fmla="*/ 3750567 h 6593118"/>
              <a:gd name="connsiteX4947" fmla="*/ 8015304 w 11490376"/>
              <a:gd name="connsiteY4947" fmla="*/ 3654540 h 6593118"/>
              <a:gd name="connsiteX4948" fmla="*/ 7978453 w 11490376"/>
              <a:gd name="connsiteY4948" fmla="*/ 3543740 h 6593118"/>
              <a:gd name="connsiteX4949" fmla="*/ 7934232 w 11490376"/>
              <a:gd name="connsiteY4949" fmla="*/ 3479723 h 6593118"/>
              <a:gd name="connsiteX4950" fmla="*/ 7917034 w 11490376"/>
              <a:gd name="connsiteY4950" fmla="*/ 3393545 h 6593118"/>
              <a:gd name="connsiteX4951" fmla="*/ 7917034 w 11490376"/>
              <a:gd name="connsiteY4951" fmla="*/ 3317217 h 6593118"/>
              <a:gd name="connsiteX4952" fmla="*/ 7907208 w 11490376"/>
              <a:gd name="connsiteY4952" fmla="*/ 3255662 h 6593118"/>
              <a:gd name="connsiteX4953" fmla="*/ 7890010 w 11490376"/>
              <a:gd name="connsiteY4953" fmla="*/ 3218729 h 6593118"/>
              <a:gd name="connsiteX4954" fmla="*/ 7890010 w 11490376"/>
              <a:gd name="connsiteY4954" fmla="*/ 3253200 h 6593118"/>
              <a:gd name="connsiteX4955" fmla="*/ 7862986 w 11490376"/>
              <a:gd name="connsiteY4955" fmla="*/ 3277822 h 6593118"/>
              <a:gd name="connsiteX4956" fmla="*/ 7811395 w 11490376"/>
              <a:gd name="connsiteY4956" fmla="*/ 3275360 h 6593118"/>
              <a:gd name="connsiteX4957" fmla="*/ 7772086 w 11490376"/>
              <a:gd name="connsiteY4957" fmla="*/ 3221191 h 6593118"/>
              <a:gd name="connsiteX4958" fmla="*/ 7794197 w 11490376"/>
              <a:gd name="connsiteY4958" fmla="*/ 3194107 h 6593118"/>
              <a:gd name="connsiteX4959" fmla="*/ 7762260 w 11490376"/>
              <a:gd name="connsiteY4959" fmla="*/ 3196569 h 6593118"/>
              <a:gd name="connsiteX4960" fmla="*/ 7745062 w 11490376"/>
              <a:gd name="connsiteY4960" fmla="*/ 3167023 h 6593118"/>
              <a:gd name="connsiteX4961" fmla="*/ 7764717 w 11490376"/>
              <a:gd name="connsiteY4961" fmla="*/ 3144863 h 6593118"/>
              <a:gd name="connsiteX4962" fmla="*/ 7833506 w 11490376"/>
              <a:gd name="connsiteY4962" fmla="*/ 3144863 h 6593118"/>
              <a:gd name="connsiteX4963" fmla="*/ 7833641 w 11490376"/>
              <a:gd name="connsiteY4963" fmla="*/ 3144044 h 6593118"/>
              <a:gd name="connsiteX4964" fmla="*/ 7764468 w 11490376"/>
              <a:gd name="connsiteY4964" fmla="*/ 3144044 h 6593118"/>
              <a:gd name="connsiteX4965" fmla="*/ 7744679 w 11490376"/>
              <a:gd name="connsiteY4965" fmla="*/ 3166146 h 6593118"/>
              <a:gd name="connsiteX4966" fmla="*/ 7712522 w 11490376"/>
              <a:gd name="connsiteY4966" fmla="*/ 3144044 h 6593118"/>
              <a:gd name="connsiteX4967" fmla="*/ 7670472 w 11490376"/>
              <a:gd name="connsiteY4967" fmla="*/ 3117030 h 6593118"/>
              <a:gd name="connsiteX4968" fmla="*/ 7665524 w 11490376"/>
              <a:gd name="connsiteY4968" fmla="*/ 3087561 h 6593118"/>
              <a:gd name="connsiteX4969" fmla="*/ 7623474 w 11490376"/>
              <a:gd name="connsiteY4969" fmla="*/ 3102296 h 6593118"/>
              <a:gd name="connsiteX4970" fmla="*/ 7564108 w 11490376"/>
              <a:gd name="connsiteY4970" fmla="*/ 3102296 h 6593118"/>
              <a:gd name="connsiteX4971" fmla="*/ 7549266 w 11490376"/>
              <a:gd name="connsiteY4971" fmla="*/ 3070370 h 6593118"/>
              <a:gd name="connsiteX4972" fmla="*/ 7525895 w 11490376"/>
              <a:gd name="connsiteY4972" fmla="*/ 3062635 h 6593118"/>
              <a:gd name="connsiteX4973" fmla="*/ 7516882 w 11490376"/>
              <a:gd name="connsiteY4973" fmla="*/ 3093890 h 6593118"/>
              <a:gd name="connsiteX4974" fmla="*/ 7494631 w 11490376"/>
              <a:gd name="connsiteY4974" fmla="*/ 3086540 h 6593118"/>
              <a:gd name="connsiteX4975" fmla="*/ 7388321 w 11490376"/>
              <a:gd name="connsiteY4975" fmla="*/ 3093890 h 6593118"/>
              <a:gd name="connsiteX4976" fmla="*/ 7348765 w 11490376"/>
              <a:gd name="connsiteY4976" fmla="*/ 3069391 h 6593118"/>
              <a:gd name="connsiteX4977" fmla="*/ 7338875 w 11490376"/>
              <a:gd name="connsiteY4977" fmla="*/ 3013045 h 6593118"/>
              <a:gd name="connsiteX4978" fmla="*/ 7316624 w 11490376"/>
              <a:gd name="connsiteY4978" fmla="*/ 3003245 h 6593118"/>
              <a:gd name="connsiteX4979" fmla="*/ 7301790 w 11490376"/>
              <a:gd name="connsiteY4979" fmla="*/ 3032644 h 6593118"/>
              <a:gd name="connsiteX4980" fmla="*/ 7193008 w 11490376"/>
              <a:gd name="connsiteY4980" fmla="*/ 3027743 h 6593118"/>
              <a:gd name="connsiteX4981" fmla="*/ 7173229 w 11490376"/>
              <a:gd name="connsiteY4981" fmla="*/ 2998345 h 6593118"/>
              <a:gd name="connsiteX4982" fmla="*/ 7141089 w 11490376"/>
              <a:gd name="connsiteY4982" fmla="*/ 2995895 h 6593118"/>
              <a:gd name="connsiteX4983" fmla="*/ 7146034 w 11490376"/>
              <a:gd name="connsiteY4983" fmla="*/ 2976296 h 6593118"/>
              <a:gd name="connsiteX4984" fmla="*/ 7113894 w 11490376"/>
              <a:gd name="connsiteY4984" fmla="*/ 2964047 h 6593118"/>
              <a:gd name="connsiteX4985" fmla="*/ 7104004 w 11490376"/>
              <a:gd name="connsiteY4985" fmla="*/ 2915050 h 6593118"/>
              <a:gd name="connsiteX4986" fmla="*/ 7086698 w 11490376"/>
              <a:gd name="connsiteY4986" fmla="*/ 2880752 h 6593118"/>
              <a:gd name="connsiteX4987" fmla="*/ 7086698 w 11490376"/>
              <a:gd name="connsiteY4987" fmla="*/ 2897900 h 6593118"/>
              <a:gd name="connsiteX4988" fmla="*/ 7049614 w 11490376"/>
              <a:gd name="connsiteY4988" fmla="*/ 2905250 h 6593118"/>
              <a:gd name="connsiteX4989" fmla="*/ 7034779 w 11490376"/>
              <a:gd name="connsiteY4989" fmla="*/ 2888101 h 6593118"/>
              <a:gd name="connsiteX4990" fmla="*/ 7034506 w 11490376"/>
              <a:gd name="connsiteY4990" fmla="*/ 2886206 h 6593118"/>
              <a:gd name="connsiteX4991" fmla="*/ 7003473 w 11490376"/>
              <a:gd name="connsiteY4991" fmla="*/ 2897995 h 6593118"/>
              <a:gd name="connsiteX4992" fmla="*/ 6983757 w 11490376"/>
              <a:gd name="connsiteY4992" fmla="*/ 2902864 h 6593118"/>
              <a:gd name="connsiteX4993" fmla="*/ 6978827 w 11490376"/>
              <a:gd name="connsiteY4993" fmla="*/ 2953992 h 6593118"/>
              <a:gd name="connsiteX4994" fmla="*/ 6954180 w 11490376"/>
              <a:gd name="connsiteY4994" fmla="*/ 2973467 h 6593118"/>
              <a:gd name="connsiteX4995" fmla="*/ 6931999 w 11490376"/>
              <a:gd name="connsiteY4995" fmla="*/ 2961295 h 6593118"/>
              <a:gd name="connsiteX4996" fmla="*/ 6892564 w 11490376"/>
              <a:gd name="connsiteY4996" fmla="*/ 2936949 h 6593118"/>
              <a:gd name="connsiteX4997" fmla="*/ 6880223 w 11490376"/>
              <a:gd name="connsiteY4997" fmla="*/ 2915383 h 6593118"/>
              <a:gd name="connsiteX4998" fmla="*/ 6893210 w 11490376"/>
              <a:gd name="connsiteY4998" fmla="*/ 2938410 h 6593118"/>
              <a:gd name="connsiteX4999" fmla="*/ 6954418 w 11490376"/>
              <a:gd name="connsiteY4999" fmla="*/ 2975222 h 6593118"/>
              <a:gd name="connsiteX5000" fmla="*/ 6978902 w 11490376"/>
              <a:gd name="connsiteY5000" fmla="*/ 2955589 h 6593118"/>
              <a:gd name="connsiteX5001" fmla="*/ 7027868 w 11490376"/>
              <a:gd name="connsiteY5001" fmla="*/ 2958043 h 6593118"/>
              <a:gd name="connsiteX5002" fmla="*/ 7067042 w 11490376"/>
              <a:gd name="connsiteY5002" fmla="*/ 3002216 h 6593118"/>
              <a:gd name="connsiteX5003" fmla="*/ 7118458 w 11490376"/>
              <a:gd name="connsiteY5003" fmla="*/ 3051297 h 6593118"/>
              <a:gd name="connsiteX5004" fmla="*/ 7120906 w 11490376"/>
              <a:gd name="connsiteY5004" fmla="*/ 3095469 h 6593118"/>
              <a:gd name="connsiteX5005" fmla="*/ 7140492 w 11490376"/>
              <a:gd name="connsiteY5005" fmla="*/ 3112648 h 6593118"/>
              <a:gd name="connsiteX5006" fmla="*/ 7169872 w 11490376"/>
              <a:gd name="connsiteY5006" fmla="*/ 3193633 h 6593118"/>
              <a:gd name="connsiteX5007" fmla="*/ 7170404 w 11490376"/>
              <a:gd name="connsiteY5007" fmla="*/ 3193670 h 6593118"/>
              <a:gd name="connsiteX5008" fmla="*/ 7143056 w 11490376"/>
              <a:gd name="connsiteY5008" fmla="*/ 3115561 h 6593118"/>
              <a:gd name="connsiteX5009" fmla="*/ 7176847 w 11490376"/>
              <a:gd name="connsiteY5009" fmla="*/ 3142324 h 6593118"/>
              <a:gd name="connsiteX5010" fmla="*/ 7205811 w 11490376"/>
              <a:gd name="connsiteY5010" fmla="*/ 3152057 h 6593118"/>
              <a:gd name="connsiteX5011" fmla="*/ 7263738 w 11490376"/>
              <a:gd name="connsiteY5011" fmla="*/ 3142324 h 6593118"/>
              <a:gd name="connsiteX5012" fmla="*/ 7290288 w 11490376"/>
              <a:gd name="connsiteY5012" fmla="*/ 3113128 h 6593118"/>
              <a:gd name="connsiteX5013" fmla="*/ 7319252 w 11490376"/>
              <a:gd name="connsiteY5013" fmla="*/ 3076632 h 6593118"/>
              <a:gd name="connsiteX5014" fmla="*/ 7328604 w 11490376"/>
              <a:gd name="connsiteY5014" fmla="*/ 3121411 h 6593118"/>
              <a:gd name="connsiteX5015" fmla="*/ 7329211 w 11490376"/>
              <a:gd name="connsiteY5015" fmla="*/ 3120426 h 6593118"/>
              <a:gd name="connsiteX5016" fmla="*/ 7353714 w 11490376"/>
              <a:gd name="connsiteY5016" fmla="*/ 3149871 h 6593118"/>
              <a:gd name="connsiteX5017" fmla="*/ 7417418 w 11490376"/>
              <a:gd name="connsiteY5017" fmla="*/ 3159686 h 6593118"/>
              <a:gd name="connsiteX5018" fmla="*/ 7419869 w 11490376"/>
              <a:gd name="connsiteY5018" fmla="*/ 3194039 h 6593118"/>
              <a:gd name="connsiteX5019" fmla="*/ 7449272 w 11490376"/>
              <a:gd name="connsiteY5019" fmla="*/ 3203854 h 6593118"/>
              <a:gd name="connsiteX5020" fmla="*/ 7439471 w 11490376"/>
              <a:gd name="connsiteY5020" fmla="*/ 3270107 h 6593118"/>
              <a:gd name="connsiteX5021" fmla="*/ 7412518 w 11490376"/>
              <a:gd name="connsiteY5021" fmla="*/ 3284829 h 6593118"/>
              <a:gd name="connsiteX5022" fmla="*/ 7397818 w 11490376"/>
              <a:gd name="connsiteY5022" fmla="*/ 3311821 h 6593118"/>
              <a:gd name="connsiteX5023" fmla="*/ 7390466 w 11490376"/>
              <a:gd name="connsiteY5023" fmla="*/ 3378073 h 6593118"/>
              <a:gd name="connsiteX5024" fmla="*/ 7351263 w 11490376"/>
              <a:gd name="connsiteY5024" fmla="*/ 3387888 h 6593118"/>
              <a:gd name="connsiteX5025" fmla="*/ 7334112 w 11490376"/>
              <a:gd name="connsiteY5025" fmla="*/ 3409973 h 6593118"/>
              <a:gd name="connsiteX5026" fmla="*/ 7302260 w 11490376"/>
              <a:gd name="connsiteY5026" fmla="*/ 3417334 h 6593118"/>
              <a:gd name="connsiteX5027" fmla="*/ 7282658 w 11490376"/>
              <a:gd name="connsiteY5027" fmla="*/ 3454141 h 6593118"/>
              <a:gd name="connsiteX5028" fmla="*/ 7221403 w 11490376"/>
              <a:gd name="connsiteY5028" fmla="*/ 3463956 h 6593118"/>
              <a:gd name="connsiteX5029" fmla="*/ 7199350 w 11490376"/>
              <a:gd name="connsiteY5029" fmla="*/ 3409973 h 6593118"/>
              <a:gd name="connsiteX5030" fmla="*/ 7199247 w 11490376"/>
              <a:gd name="connsiteY5030" fmla="*/ 3409643 h 6593118"/>
              <a:gd name="connsiteX5031" fmla="*/ 7199482 w 11490376"/>
              <a:gd name="connsiteY5031" fmla="*/ 3410392 h 6593118"/>
              <a:gd name="connsiteX5032" fmla="*/ 7221597 w 11490376"/>
              <a:gd name="connsiteY5032" fmla="*/ 3464699 h 6593118"/>
              <a:gd name="connsiteX5033" fmla="*/ 7192110 w 11490376"/>
              <a:gd name="connsiteY5033" fmla="*/ 3489383 h 6593118"/>
              <a:gd name="connsiteX5034" fmla="*/ 7192110 w 11490376"/>
              <a:gd name="connsiteY5034" fmla="*/ 3516536 h 6593118"/>
              <a:gd name="connsiteX5035" fmla="*/ 7113481 w 11490376"/>
              <a:gd name="connsiteY5035" fmla="*/ 3531347 h 6593118"/>
              <a:gd name="connsiteX5036" fmla="*/ 7086451 w 11490376"/>
              <a:gd name="connsiteY5036" fmla="*/ 3556031 h 6593118"/>
              <a:gd name="connsiteX5037" fmla="*/ 6993079 w 11490376"/>
              <a:gd name="connsiteY5037" fmla="*/ 3558501 h 6593118"/>
              <a:gd name="connsiteX5038" fmla="*/ 6980794 w 11490376"/>
              <a:gd name="connsiteY5038" fmla="*/ 3570843 h 6593118"/>
              <a:gd name="connsiteX5039" fmla="*/ 6946393 w 11490376"/>
              <a:gd name="connsiteY5039" fmla="*/ 3605401 h 6593118"/>
              <a:gd name="connsiteX5040" fmla="*/ 6919365 w 11490376"/>
              <a:gd name="connsiteY5040" fmla="*/ 3632554 h 6593118"/>
              <a:gd name="connsiteX5041" fmla="*/ 6882507 w 11490376"/>
              <a:gd name="connsiteY5041" fmla="*/ 3612806 h 6593118"/>
              <a:gd name="connsiteX5042" fmla="*/ 6867763 w 11490376"/>
              <a:gd name="connsiteY5042" fmla="*/ 3588121 h 6593118"/>
              <a:gd name="connsiteX5043" fmla="*/ 6867763 w 11490376"/>
              <a:gd name="connsiteY5043" fmla="*/ 3546158 h 6593118"/>
              <a:gd name="connsiteX5044" fmla="*/ 6862849 w 11490376"/>
              <a:gd name="connsiteY5044" fmla="*/ 3464699 h 6593118"/>
              <a:gd name="connsiteX5045" fmla="*/ 6889878 w 11490376"/>
              <a:gd name="connsiteY5045" fmla="*/ 3447419 h 6593118"/>
              <a:gd name="connsiteX5046" fmla="*/ 6931650 w 11490376"/>
              <a:gd name="connsiteY5046" fmla="*/ 3444951 h 6593118"/>
              <a:gd name="connsiteX5047" fmla="*/ 6973422 w 11490376"/>
              <a:gd name="connsiteY5047" fmla="*/ 3447419 h 6593118"/>
              <a:gd name="connsiteX5048" fmla="*/ 6986246 w 11490376"/>
              <a:gd name="connsiteY5048" fmla="*/ 3451714 h 6593118"/>
              <a:gd name="connsiteX5049" fmla="*/ 6986246 w 11490376"/>
              <a:gd name="connsiteY5049" fmla="*/ 3451308 h 6593118"/>
              <a:gd name="connsiteX5050" fmla="*/ 6971556 w 11490376"/>
              <a:gd name="connsiteY5050" fmla="*/ 3446400 h 6593118"/>
              <a:gd name="connsiteX5051" fmla="*/ 6929934 w 11490376"/>
              <a:gd name="connsiteY5051" fmla="*/ 3443945 h 6593118"/>
              <a:gd name="connsiteX5052" fmla="*/ 6888312 w 11490376"/>
              <a:gd name="connsiteY5052" fmla="*/ 3446400 h 6593118"/>
              <a:gd name="connsiteX5053" fmla="*/ 6861380 w 11490376"/>
              <a:gd name="connsiteY5053" fmla="*/ 3461124 h 6593118"/>
              <a:gd name="connsiteX5054" fmla="*/ 6822207 w 11490376"/>
              <a:gd name="connsiteY5054" fmla="*/ 3416951 h 6593118"/>
              <a:gd name="connsiteX5055" fmla="*/ 6809965 w 11490376"/>
              <a:gd name="connsiteY5055" fmla="*/ 3372777 h 6593118"/>
              <a:gd name="connsiteX5056" fmla="*/ 6787930 w 11490376"/>
              <a:gd name="connsiteY5056" fmla="*/ 3335967 h 6593118"/>
              <a:gd name="connsiteX5057" fmla="*/ 6741411 w 11490376"/>
              <a:gd name="connsiteY5057" fmla="*/ 3281978 h 6593118"/>
              <a:gd name="connsiteX5058" fmla="*/ 6724273 w 11490376"/>
              <a:gd name="connsiteY5058" fmla="*/ 3242714 h 6593118"/>
              <a:gd name="connsiteX5059" fmla="*/ 6697341 w 11490376"/>
              <a:gd name="connsiteY5059" fmla="*/ 3164183 h 6593118"/>
              <a:gd name="connsiteX5060" fmla="*/ 6658167 w 11490376"/>
              <a:gd name="connsiteY5060" fmla="*/ 3100378 h 6593118"/>
              <a:gd name="connsiteX5061" fmla="*/ 6609200 w 11490376"/>
              <a:gd name="connsiteY5061" fmla="*/ 3053751 h 6593118"/>
              <a:gd name="connsiteX5062" fmla="*/ 6601855 w 11490376"/>
              <a:gd name="connsiteY5062" fmla="*/ 2997307 h 6593118"/>
              <a:gd name="connsiteX5063" fmla="*/ 6572475 w 11490376"/>
              <a:gd name="connsiteY5063" fmla="*/ 2980130 h 6593118"/>
              <a:gd name="connsiteX5064" fmla="*/ 6565892 w 11490376"/>
              <a:gd name="connsiteY5064" fmla="*/ 2944943 h 6593118"/>
              <a:gd name="connsiteX5065" fmla="*/ 6565129 w 11490376"/>
              <a:gd name="connsiteY5065" fmla="*/ 2944943 h 6593118"/>
              <a:gd name="connsiteX5066" fmla="*/ 6565129 w 11490376"/>
              <a:gd name="connsiteY5066" fmla="*/ 2940865 h 6593118"/>
              <a:gd name="connsiteX5067" fmla="*/ 6565129 w 11490376"/>
              <a:gd name="connsiteY5067" fmla="*/ 2938676 h 6593118"/>
              <a:gd name="connsiteX5068" fmla="*/ 6547618 w 11490376"/>
              <a:gd name="connsiteY5068" fmla="*/ 2975901 h 6593118"/>
              <a:gd name="connsiteX5069" fmla="*/ 6508213 w 11490376"/>
              <a:gd name="connsiteY5069" fmla="*/ 2932106 h 6593118"/>
              <a:gd name="connsiteX5070" fmla="*/ 6479754 w 11490376"/>
              <a:gd name="connsiteY5070" fmla="*/ 2903638 h 6593118"/>
              <a:gd name="connsiteX5071" fmla="*/ 6479754 w 11490376"/>
              <a:gd name="connsiteY5071" fmla="*/ 2938675 h 6593118"/>
              <a:gd name="connsiteX5072" fmla="*/ 6527915 w 11490376"/>
              <a:gd name="connsiteY5072" fmla="*/ 3019697 h 6593118"/>
              <a:gd name="connsiteX5073" fmla="*/ 6611101 w 11490376"/>
              <a:gd name="connsiteY5073" fmla="*/ 3153273 h 6593118"/>
              <a:gd name="connsiteX5074" fmla="*/ 6597967 w 11490376"/>
              <a:gd name="connsiteY5074" fmla="*/ 3159842 h 6593118"/>
              <a:gd name="connsiteX5075" fmla="*/ 6597967 w 11490376"/>
              <a:gd name="connsiteY5075" fmla="*/ 3210206 h 6593118"/>
              <a:gd name="connsiteX5076" fmla="*/ 6597386 w 11490376"/>
              <a:gd name="connsiteY5076" fmla="*/ 3210683 h 6593118"/>
              <a:gd name="connsiteX5077" fmla="*/ 6643441 w 11490376"/>
              <a:gd name="connsiteY5077" fmla="*/ 3244696 h 6593118"/>
              <a:gd name="connsiteX5078" fmla="*/ 6660645 w 11490376"/>
              <a:gd name="connsiteY5078" fmla="*/ 3291503 h 6593118"/>
              <a:gd name="connsiteX5079" fmla="*/ 6665560 w 11490376"/>
              <a:gd name="connsiteY5079" fmla="*/ 3325992 h 6593118"/>
              <a:gd name="connsiteX5080" fmla="*/ 6640983 w 11490376"/>
              <a:gd name="connsiteY5080" fmla="*/ 3392506 h 6593118"/>
              <a:gd name="connsiteX5081" fmla="*/ 6643441 w 11490376"/>
              <a:gd name="connsiteY5081" fmla="*/ 3436848 h 6593118"/>
              <a:gd name="connsiteX5082" fmla="*/ 6658187 w 11490376"/>
              <a:gd name="connsiteY5082" fmla="*/ 3473801 h 6593118"/>
              <a:gd name="connsiteX5083" fmla="*/ 6658187 w 11490376"/>
              <a:gd name="connsiteY5083" fmla="*/ 3503363 h 6593118"/>
              <a:gd name="connsiteX5084" fmla="*/ 6628694 w 11490376"/>
              <a:gd name="connsiteY5084" fmla="*/ 3500899 h 6593118"/>
              <a:gd name="connsiteX5085" fmla="*/ 6626236 w 11490376"/>
              <a:gd name="connsiteY5085" fmla="*/ 3527998 h 6593118"/>
              <a:gd name="connsiteX5086" fmla="*/ 6628155 w 11490376"/>
              <a:gd name="connsiteY5086" fmla="*/ 3528576 h 6593118"/>
              <a:gd name="connsiteX5087" fmla="*/ 6630589 w 11490376"/>
              <a:gd name="connsiteY5087" fmla="*/ 3501955 h 6593118"/>
              <a:gd name="connsiteX5088" fmla="*/ 6660078 w 11490376"/>
              <a:gd name="connsiteY5088" fmla="*/ 3504399 h 6593118"/>
              <a:gd name="connsiteX5089" fmla="*/ 6660078 w 11490376"/>
              <a:gd name="connsiteY5089" fmla="*/ 3475074 h 6593118"/>
              <a:gd name="connsiteX5090" fmla="*/ 6645333 w 11490376"/>
              <a:gd name="connsiteY5090" fmla="*/ 3440863 h 6593118"/>
              <a:gd name="connsiteX5091" fmla="*/ 6642876 w 11490376"/>
              <a:gd name="connsiteY5091" fmla="*/ 3394434 h 6593118"/>
              <a:gd name="connsiteX5092" fmla="*/ 6667449 w 11490376"/>
              <a:gd name="connsiteY5092" fmla="*/ 3328455 h 6593118"/>
              <a:gd name="connsiteX5093" fmla="*/ 6679736 w 11490376"/>
              <a:gd name="connsiteY5093" fmla="*/ 3357779 h 6593118"/>
              <a:gd name="connsiteX5094" fmla="*/ 6699396 w 11490376"/>
              <a:gd name="connsiteY5094" fmla="*/ 3389546 h 6593118"/>
              <a:gd name="connsiteX5095" fmla="*/ 6714140 w 11490376"/>
              <a:gd name="connsiteY5095" fmla="*/ 3411539 h 6593118"/>
              <a:gd name="connsiteX5096" fmla="*/ 6738714 w 11490376"/>
              <a:gd name="connsiteY5096" fmla="*/ 3455526 h 6593118"/>
              <a:gd name="connsiteX5097" fmla="*/ 6753458 w 11490376"/>
              <a:gd name="connsiteY5097" fmla="*/ 3482406 h 6593118"/>
              <a:gd name="connsiteX5098" fmla="*/ 6755916 w 11490376"/>
              <a:gd name="connsiteY5098" fmla="*/ 3514173 h 6593118"/>
              <a:gd name="connsiteX5099" fmla="*/ 6797691 w 11490376"/>
              <a:gd name="connsiteY5099" fmla="*/ 3526391 h 6593118"/>
              <a:gd name="connsiteX5100" fmla="*/ 6817351 w 11490376"/>
              <a:gd name="connsiteY5100" fmla="*/ 3572821 h 6593118"/>
              <a:gd name="connsiteX5101" fmla="*/ 6844382 w 11490376"/>
              <a:gd name="connsiteY5101" fmla="*/ 3624138 h 6593118"/>
              <a:gd name="connsiteX5102" fmla="*/ 6835116 w 11490376"/>
              <a:gd name="connsiteY5102" fmla="*/ 3649475 h 6593118"/>
              <a:gd name="connsiteX5103" fmla="*/ 6901979 w 11490376"/>
              <a:gd name="connsiteY5103" fmla="*/ 3691392 h 6593118"/>
              <a:gd name="connsiteX5104" fmla="*/ 6865828 w 11490376"/>
              <a:gd name="connsiteY5104" fmla="*/ 3723745 h 6593118"/>
              <a:gd name="connsiteX5105" fmla="*/ 6868955 w 11490376"/>
              <a:gd name="connsiteY5105" fmla="*/ 3724328 h 6593118"/>
              <a:gd name="connsiteX5106" fmla="*/ 6869249 w 11490376"/>
              <a:gd name="connsiteY5106" fmla="*/ 3724593 h 6593118"/>
              <a:gd name="connsiteX5107" fmla="*/ 6903426 w 11490376"/>
              <a:gd name="connsiteY5107" fmla="*/ 3692886 h 6593118"/>
              <a:gd name="connsiteX5108" fmla="*/ 6945203 w 11490376"/>
              <a:gd name="connsiteY5108" fmla="*/ 3707617 h 6593118"/>
              <a:gd name="connsiteX5109" fmla="*/ 7018928 w 11490376"/>
              <a:gd name="connsiteY5109" fmla="*/ 3714983 h 6593118"/>
              <a:gd name="connsiteX5110" fmla="*/ 7041044 w 11490376"/>
              <a:gd name="connsiteY5110" fmla="*/ 3697796 h 6593118"/>
              <a:gd name="connsiteX5111" fmla="*/ 7065618 w 11490376"/>
              <a:gd name="connsiteY5111" fmla="*/ 3685521 h 6593118"/>
              <a:gd name="connsiteX5112" fmla="*/ 7102481 w 11490376"/>
              <a:gd name="connsiteY5112" fmla="*/ 3678155 h 6593118"/>
              <a:gd name="connsiteX5113" fmla="*/ 7141800 w 11490376"/>
              <a:gd name="connsiteY5113" fmla="*/ 3643783 h 6593118"/>
              <a:gd name="connsiteX5114" fmla="*/ 7171290 w 11490376"/>
              <a:gd name="connsiteY5114" fmla="*/ 3680610 h 6593118"/>
              <a:gd name="connsiteX5115" fmla="*/ 7190950 w 11490376"/>
              <a:gd name="connsiteY5115" fmla="*/ 3705162 h 6593118"/>
              <a:gd name="connsiteX5116" fmla="*/ 7171290 w 11490376"/>
              <a:gd name="connsiteY5116" fmla="*/ 3724803 h 6593118"/>
              <a:gd name="connsiteX5117" fmla="*/ 7159003 w 11490376"/>
              <a:gd name="connsiteY5117" fmla="*/ 3768998 h 6593118"/>
              <a:gd name="connsiteX5118" fmla="*/ 7129513 w 11490376"/>
              <a:gd name="connsiteY5118" fmla="*/ 3808281 h 6593118"/>
              <a:gd name="connsiteX5119" fmla="*/ 7107396 w 11490376"/>
              <a:gd name="connsiteY5119" fmla="*/ 3857385 h 6593118"/>
              <a:gd name="connsiteX5120" fmla="*/ 7092651 w 11490376"/>
              <a:gd name="connsiteY5120" fmla="*/ 3926130 h 6593118"/>
              <a:gd name="connsiteX5121" fmla="*/ 7053331 w 11490376"/>
              <a:gd name="connsiteY5121" fmla="*/ 3982600 h 6593118"/>
              <a:gd name="connsiteX5122" fmla="*/ 6989437 w 11490376"/>
              <a:gd name="connsiteY5122" fmla="*/ 4048890 h 6593118"/>
              <a:gd name="connsiteX5123" fmla="*/ 6923086 w 11490376"/>
              <a:gd name="connsiteY5123" fmla="*/ 4107814 h 6593118"/>
              <a:gd name="connsiteX5124" fmla="*/ 6881309 w 11490376"/>
              <a:gd name="connsiteY5124" fmla="*/ 4137277 h 6593118"/>
              <a:gd name="connsiteX5125" fmla="*/ 6859192 w 11490376"/>
              <a:gd name="connsiteY5125" fmla="*/ 4174106 h 6593118"/>
              <a:gd name="connsiteX5126" fmla="*/ 6834391 w 11490376"/>
              <a:gd name="connsiteY5126" fmla="*/ 4205641 h 6593118"/>
              <a:gd name="connsiteX5127" fmla="*/ 6835447 w 11490376"/>
              <a:gd name="connsiteY5127" fmla="*/ 4206162 h 6593118"/>
              <a:gd name="connsiteX5128" fmla="*/ 6820614 w 11490376"/>
              <a:gd name="connsiteY5128" fmla="*/ 4220780 h 6593118"/>
              <a:gd name="connsiteX5129" fmla="*/ 6808253 w 11490376"/>
              <a:gd name="connsiteY5129" fmla="*/ 4245143 h 6593118"/>
              <a:gd name="connsiteX5130" fmla="*/ 6781059 w 11490376"/>
              <a:gd name="connsiteY5130" fmla="*/ 4269507 h 6593118"/>
              <a:gd name="connsiteX5131" fmla="*/ 6776115 w 11490376"/>
              <a:gd name="connsiteY5131" fmla="*/ 4291432 h 6593118"/>
              <a:gd name="connsiteX5132" fmla="*/ 6763754 w 11490376"/>
              <a:gd name="connsiteY5132" fmla="*/ 4315796 h 6593118"/>
              <a:gd name="connsiteX5133" fmla="*/ 6707562 w 11490376"/>
              <a:gd name="connsiteY5133" fmla="*/ 4286906 h 6593118"/>
              <a:gd name="connsiteX5134" fmla="*/ 6707771 w 11490376"/>
              <a:gd name="connsiteY5134" fmla="*/ 4289589 h 6593118"/>
              <a:gd name="connsiteX5135" fmla="*/ 6762066 w 11490376"/>
              <a:gd name="connsiteY5135" fmla="*/ 4316567 h 6593118"/>
              <a:gd name="connsiteX5136" fmla="*/ 6764534 w 11490376"/>
              <a:gd name="connsiteY5136" fmla="*/ 4336187 h 6593118"/>
              <a:gd name="connsiteX5137" fmla="*/ 6764534 w 11490376"/>
              <a:gd name="connsiteY5137" fmla="*/ 4363165 h 6593118"/>
              <a:gd name="connsiteX5138" fmla="*/ 6752194 w 11490376"/>
              <a:gd name="connsiteY5138" fmla="*/ 4377880 h 6593118"/>
              <a:gd name="connsiteX5139" fmla="*/ 6747259 w 11490376"/>
              <a:gd name="connsiteY5139" fmla="*/ 4404859 h 6593118"/>
              <a:gd name="connsiteX5140" fmla="*/ 6767003 w 11490376"/>
              <a:gd name="connsiteY5140" fmla="*/ 4409764 h 6593118"/>
              <a:gd name="connsiteX5141" fmla="*/ 6764534 w 11490376"/>
              <a:gd name="connsiteY5141" fmla="*/ 4449004 h 6593118"/>
              <a:gd name="connsiteX5142" fmla="*/ 6771939 w 11490376"/>
              <a:gd name="connsiteY5142" fmla="*/ 4488244 h 6593118"/>
              <a:gd name="connsiteX5143" fmla="*/ 6774407 w 11490376"/>
              <a:gd name="connsiteY5143" fmla="*/ 4532391 h 6593118"/>
              <a:gd name="connsiteX5144" fmla="*/ 6789215 w 11490376"/>
              <a:gd name="connsiteY5144" fmla="*/ 4547107 h 6593118"/>
              <a:gd name="connsiteX5145" fmla="*/ 6799086 w 11490376"/>
              <a:gd name="connsiteY5145" fmla="*/ 4566727 h 6593118"/>
              <a:gd name="connsiteX5146" fmla="*/ 6757130 w 11490376"/>
              <a:gd name="connsiteY5146" fmla="*/ 4576536 h 6593118"/>
              <a:gd name="connsiteX5147" fmla="*/ 6749727 w 11490376"/>
              <a:gd name="connsiteY5147" fmla="*/ 4593704 h 6593118"/>
              <a:gd name="connsiteX5148" fmla="*/ 6707771 w 11490376"/>
              <a:gd name="connsiteY5148" fmla="*/ 4593704 h 6593118"/>
              <a:gd name="connsiteX5149" fmla="*/ 6700367 w 11490376"/>
              <a:gd name="connsiteY5149" fmla="*/ 4615778 h 6593118"/>
              <a:gd name="connsiteX5150" fmla="*/ 6628799 w 11490376"/>
              <a:gd name="connsiteY5150" fmla="*/ 4608666 h 6593118"/>
              <a:gd name="connsiteX5151" fmla="*/ 6629928 w 11490376"/>
              <a:gd name="connsiteY5151" fmla="*/ 4612055 h 6593118"/>
              <a:gd name="connsiteX5152" fmla="*/ 6701030 w 11490376"/>
              <a:gd name="connsiteY5152" fmla="*/ 4616965 h 6593118"/>
              <a:gd name="connsiteX5153" fmla="*/ 6708386 w 11490376"/>
              <a:gd name="connsiteY5153" fmla="*/ 4594870 h 6593118"/>
              <a:gd name="connsiteX5154" fmla="*/ 6750066 w 11490376"/>
              <a:gd name="connsiteY5154" fmla="*/ 4594870 h 6593118"/>
              <a:gd name="connsiteX5155" fmla="*/ 6757422 w 11490376"/>
              <a:gd name="connsiteY5155" fmla="*/ 4577685 h 6593118"/>
              <a:gd name="connsiteX5156" fmla="*/ 6799103 w 11490376"/>
              <a:gd name="connsiteY5156" fmla="*/ 4567866 h 6593118"/>
              <a:gd name="connsiteX5157" fmla="*/ 6799103 w 11490376"/>
              <a:gd name="connsiteY5157" fmla="*/ 4641514 h 6593118"/>
              <a:gd name="connsiteX5158" fmla="*/ 6799103 w 11490376"/>
              <a:gd name="connsiteY5158" fmla="*/ 4771628 h 6593118"/>
              <a:gd name="connsiteX5159" fmla="*/ 6777036 w 11490376"/>
              <a:gd name="connsiteY5159" fmla="*/ 4796178 h 6593118"/>
              <a:gd name="connsiteX5160" fmla="*/ 6767230 w 11490376"/>
              <a:gd name="connsiteY5160" fmla="*/ 4820727 h 6593118"/>
              <a:gd name="connsiteX5161" fmla="*/ 6710837 w 11490376"/>
              <a:gd name="connsiteY5161" fmla="*/ 4828092 h 6593118"/>
              <a:gd name="connsiteX5162" fmla="*/ 6705934 w 11490376"/>
              <a:gd name="connsiteY5162" fmla="*/ 4847732 h 6593118"/>
              <a:gd name="connsiteX5163" fmla="*/ 6681416 w 11490376"/>
              <a:gd name="connsiteY5163" fmla="*/ 4855097 h 6593118"/>
              <a:gd name="connsiteX5164" fmla="*/ 6671608 w 11490376"/>
              <a:gd name="connsiteY5164" fmla="*/ 4864917 h 6593118"/>
              <a:gd name="connsiteX5165" fmla="*/ 6661801 w 11490376"/>
              <a:gd name="connsiteY5165" fmla="*/ 4909106 h 6593118"/>
              <a:gd name="connsiteX5166" fmla="*/ 6632379 w 11490376"/>
              <a:gd name="connsiteY5166" fmla="*/ 4918926 h 6593118"/>
              <a:gd name="connsiteX5167" fmla="*/ 6612766 w 11490376"/>
              <a:gd name="connsiteY5167" fmla="*/ 4933657 h 6593118"/>
              <a:gd name="connsiteX5168" fmla="*/ 6602958 w 11490376"/>
              <a:gd name="connsiteY5168" fmla="*/ 4953295 h 6593118"/>
              <a:gd name="connsiteX5169" fmla="*/ 6600505 w 11490376"/>
              <a:gd name="connsiteY5169" fmla="*/ 5031855 h 6593118"/>
              <a:gd name="connsiteX5170" fmla="*/ 6607861 w 11490376"/>
              <a:gd name="connsiteY5170" fmla="*/ 5034309 h 6593118"/>
              <a:gd name="connsiteX5171" fmla="*/ 6607861 w 11490376"/>
              <a:gd name="connsiteY5171" fmla="*/ 5107959 h 6593118"/>
              <a:gd name="connsiteX5172" fmla="*/ 6612766 w 11490376"/>
              <a:gd name="connsiteY5172" fmla="*/ 5139873 h 6593118"/>
              <a:gd name="connsiteX5173" fmla="*/ 6600505 w 11490376"/>
              <a:gd name="connsiteY5173" fmla="*/ 5142329 h 6593118"/>
              <a:gd name="connsiteX5174" fmla="*/ 6598054 w 11490376"/>
              <a:gd name="connsiteY5174" fmla="*/ 5161969 h 6593118"/>
              <a:gd name="connsiteX5175" fmla="*/ 6571084 w 11490376"/>
              <a:gd name="connsiteY5175" fmla="*/ 5161969 h 6593118"/>
              <a:gd name="connsiteX5176" fmla="*/ 6561276 w 11490376"/>
              <a:gd name="connsiteY5176" fmla="*/ 5171788 h 6593118"/>
              <a:gd name="connsiteX5177" fmla="*/ 6529403 w 11490376"/>
              <a:gd name="connsiteY5177" fmla="*/ 5176698 h 6593118"/>
              <a:gd name="connsiteX5178" fmla="*/ 6524499 w 11490376"/>
              <a:gd name="connsiteY5178" fmla="*/ 5203703 h 6593118"/>
              <a:gd name="connsiteX5179" fmla="*/ 6524499 w 11490376"/>
              <a:gd name="connsiteY5179" fmla="*/ 5228253 h 6593118"/>
              <a:gd name="connsiteX5180" fmla="*/ 6524499 w 11490376"/>
              <a:gd name="connsiteY5180" fmla="*/ 5255257 h 6593118"/>
              <a:gd name="connsiteX5181" fmla="*/ 6522048 w 11490376"/>
              <a:gd name="connsiteY5181" fmla="*/ 5274897 h 6593118"/>
              <a:gd name="connsiteX5182" fmla="*/ 6519739 w 11490376"/>
              <a:gd name="connsiteY5182" fmla="*/ 5274126 h 6593118"/>
              <a:gd name="connsiteX5183" fmla="*/ 6521079 w 11490376"/>
              <a:gd name="connsiteY5183" fmla="*/ 5274686 h 6593118"/>
              <a:gd name="connsiteX5184" fmla="*/ 6501424 w 11490376"/>
              <a:gd name="connsiteY5184" fmla="*/ 5314163 h 6593118"/>
              <a:gd name="connsiteX5185" fmla="*/ 6474397 w 11490376"/>
              <a:gd name="connsiteY5185" fmla="*/ 5316630 h 6593118"/>
              <a:gd name="connsiteX5186" fmla="*/ 6462111 w 11490376"/>
              <a:gd name="connsiteY5186" fmla="*/ 5353638 h 6593118"/>
              <a:gd name="connsiteX5187" fmla="*/ 6454741 w 11490376"/>
              <a:gd name="connsiteY5187" fmla="*/ 5395580 h 6593118"/>
              <a:gd name="connsiteX5188" fmla="*/ 6408057 w 11490376"/>
              <a:gd name="connsiteY5188" fmla="*/ 5435056 h 6593118"/>
              <a:gd name="connsiteX5189" fmla="*/ 6378574 w 11490376"/>
              <a:gd name="connsiteY5189" fmla="*/ 5457261 h 6593118"/>
              <a:gd name="connsiteX5190" fmla="*/ 6351547 w 11490376"/>
              <a:gd name="connsiteY5190" fmla="*/ 5504137 h 6593118"/>
              <a:gd name="connsiteX5191" fmla="*/ 6324520 w 11490376"/>
              <a:gd name="connsiteY5191" fmla="*/ 5521409 h 6593118"/>
              <a:gd name="connsiteX5192" fmla="*/ 6272923 w 11490376"/>
              <a:gd name="connsiteY5192" fmla="*/ 5528809 h 6593118"/>
              <a:gd name="connsiteX5193" fmla="*/ 6255724 w 11490376"/>
              <a:gd name="connsiteY5193" fmla="*/ 5543613 h 6593118"/>
              <a:gd name="connsiteX5194" fmla="*/ 6213957 w 11490376"/>
              <a:gd name="connsiteY5194" fmla="*/ 5560884 h 6593118"/>
              <a:gd name="connsiteX5195" fmla="*/ 6206585 w 11490376"/>
              <a:gd name="connsiteY5195" fmla="*/ 5548547 h 6593118"/>
              <a:gd name="connsiteX5196" fmla="*/ 6132876 w 11490376"/>
              <a:gd name="connsiteY5196" fmla="*/ 5546081 h 6593118"/>
              <a:gd name="connsiteX5197" fmla="*/ 6113219 w 11490376"/>
              <a:gd name="connsiteY5197" fmla="*/ 5573219 h 6593118"/>
              <a:gd name="connsiteX5198" fmla="*/ 6091107 w 11490376"/>
              <a:gd name="connsiteY5198" fmla="*/ 5588022 h 6593118"/>
              <a:gd name="connsiteX5199" fmla="*/ 6046881 w 11490376"/>
              <a:gd name="connsiteY5199" fmla="*/ 5583088 h 6593118"/>
              <a:gd name="connsiteX5200" fmla="*/ 5983000 w 11490376"/>
              <a:gd name="connsiteY5200" fmla="*/ 5499203 h 6593118"/>
              <a:gd name="connsiteX5201" fmla="*/ 6002655 w 11490376"/>
              <a:gd name="connsiteY5201" fmla="*/ 5484400 h 6593118"/>
              <a:gd name="connsiteX5202" fmla="*/ 6007570 w 11490376"/>
              <a:gd name="connsiteY5202" fmla="*/ 5454793 h 6593118"/>
              <a:gd name="connsiteX5203" fmla="*/ 5990371 w 11490376"/>
              <a:gd name="connsiteY5203" fmla="*/ 5454793 h 6593118"/>
              <a:gd name="connsiteX5204" fmla="*/ 5990371 w 11490376"/>
              <a:gd name="connsiteY5204" fmla="*/ 5439990 h 6593118"/>
              <a:gd name="connsiteX5205" fmla="*/ 5975629 w 11490376"/>
              <a:gd name="connsiteY5205" fmla="*/ 5432589 h 6593118"/>
              <a:gd name="connsiteX5206" fmla="*/ 5973172 w 11490376"/>
              <a:gd name="connsiteY5206" fmla="*/ 5385711 h 6593118"/>
              <a:gd name="connsiteX5207" fmla="*/ 5948602 w 11490376"/>
              <a:gd name="connsiteY5207" fmla="*/ 5375843 h 6593118"/>
              <a:gd name="connsiteX5208" fmla="*/ 5948602 w 11490376"/>
              <a:gd name="connsiteY5208" fmla="*/ 5336367 h 6593118"/>
              <a:gd name="connsiteX5209" fmla="*/ 5941231 w 11490376"/>
              <a:gd name="connsiteY5209" fmla="*/ 5319097 h 6593118"/>
              <a:gd name="connsiteX5210" fmla="*/ 5965801 w 11490376"/>
              <a:gd name="connsiteY5210" fmla="*/ 5316630 h 6593118"/>
              <a:gd name="connsiteX5211" fmla="*/ 5975248 w 11490376"/>
              <a:gd name="connsiteY5211" fmla="*/ 5304772 h 6593118"/>
              <a:gd name="connsiteX5212" fmla="*/ 5974813 w 11490376"/>
              <a:gd name="connsiteY5212" fmla="*/ 5303980 h 6593118"/>
              <a:gd name="connsiteX5213" fmla="*/ 5964939 w 11490376"/>
              <a:gd name="connsiteY5213" fmla="*/ 5316273 h 6593118"/>
              <a:gd name="connsiteX5214" fmla="*/ 5940254 w 11490376"/>
              <a:gd name="connsiteY5214" fmla="*/ 5318731 h 6593118"/>
              <a:gd name="connsiteX5215" fmla="*/ 5930380 w 11490376"/>
              <a:gd name="connsiteY5215" fmla="*/ 5286773 h 6593118"/>
              <a:gd name="connsiteX5216" fmla="*/ 5910631 w 11490376"/>
              <a:gd name="connsiteY5216" fmla="*/ 5264648 h 6593118"/>
              <a:gd name="connsiteX5217" fmla="*/ 5885944 w 11490376"/>
              <a:gd name="connsiteY5217" fmla="*/ 5259730 h 6593118"/>
              <a:gd name="connsiteX5218" fmla="*/ 5888414 w 11490376"/>
              <a:gd name="connsiteY5218" fmla="*/ 5213022 h 6593118"/>
              <a:gd name="connsiteX5219" fmla="*/ 5878539 w 11490376"/>
              <a:gd name="connsiteY5219" fmla="*/ 5158939 h 6593118"/>
              <a:gd name="connsiteX5220" fmla="*/ 5876070 w 11490376"/>
              <a:gd name="connsiteY5220" fmla="*/ 5122065 h 6593118"/>
              <a:gd name="connsiteX5221" fmla="*/ 5873602 w 11490376"/>
              <a:gd name="connsiteY5221" fmla="*/ 5072897 h 6593118"/>
              <a:gd name="connsiteX5222" fmla="*/ 5861260 w 11490376"/>
              <a:gd name="connsiteY5222" fmla="*/ 5038481 h 6593118"/>
              <a:gd name="connsiteX5223" fmla="*/ 5848916 w 11490376"/>
              <a:gd name="connsiteY5223" fmla="*/ 5011439 h 6593118"/>
              <a:gd name="connsiteX5224" fmla="*/ 5836573 w 11490376"/>
              <a:gd name="connsiteY5224" fmla="*/ 4986856 h 6593118"/>
              <a:gd name="connsiteX5225" fmla="*/ 5814356 w 11490376"/>
              <a:gd name="connsiteY5225" fmla="*/ 4942606 h 6593118"/>
              <a:gd name="connsiteX5226" fmla="*/ 5802013 w 11490376"/>
              <a:gd name="connsiteY5226" fmla="*/ 4918023 h 6593118"/>
              <a:gd name="connsiteX5227" fmla="*/ 5774858 w 11490376"/>
              <a:gd name="connsiteY5227" fmla="*/ 4881147 h 6593118"/>
              <a:gd name="connsiteX5228" fmla="*/ 5777328 w 11490376"/>
              <a:gd name="connsiteY5228" fmla="*/ 4834439 h 6593118"/>
              <a:gd name="connsiteX5229" fmla="*/ 5811887 w 11490376"/>
              <a:gd name="connsiteY5229" fmla="*/ 4819690 h 6593118"/>
              <a:gd name="connsiteX5230" fmla="*/ 5851385 w 11490376"/>
              <a:gd name="connsiteY5230" fmla="*/ 4836897 h 6593118"/>
              <a:gd name="connsiteX5231" fmla="*/ 5913099 w 11490376"/>
              <a:gd name="connsiteY5231" fmla="*/ 4841815 h 6593118"/>
              <a:gd name="connsiteX5232" fmla="*/ 6004198 w 11490376"/>
              <a:gd name="connsiteY5232" fmla="*/ 4839362 h 6593118"/>
              <a:gd name="connsiteX5233" fmla="*/ 6003061 w 11490376"/>
              <a:gd name="connsiteY5233" fmla="*/ 4837542 h 6593118"/>
              <a:gd name="connsiteX5234" fmla="*/ 5912165 w 11490376"/>
              <a:gd name="connsiteY5234" fmla="*/ 4840002 h 6593118"/>
              <a:gd name="connsiteX5235" fmla="*/ 5850748 w 11490376"/>
              <a:gd name="connsiteY5235" fmla="*/ 4835083 h 6593118"/>
              <a:gd name="connsiteX5236" fmla="*/ 5811441 w 11490376"/>
              <a:gd name="connsiteY5236" fmla="*/ 4817866 h 6593118"/>
              <a:gd name="connsiteX5237" fmla="*/ 5777048 w 11490376"/>
              <a:gd name="connsiteY5237" fmla="*/ 4832624 h 6593118"/>
              <a:gd name="connsiteX5238" fmla="*/ 5777048 w 11490376"/>
              <a:gd name="connsiteY5238" fmla="*/ 4773596 h 6593118"/>
              <a:gd name="connsiteX5239" fmla="*/ 5816355 w 11490376"/>
              <a:gd name="connsiteY5239" fmla="*/ 4702273 h 6593118"/>
              <a:gd name="connsiteX5240" fmla="*/ 5836009 w 11490376"/>
              <a:gd name="connsiteY5240" fmla="*/ 4655542 h 6593118"/>
              <a:gd name="connsiteX5241" fmla="*/ 5838465 w 11490376"/>
              <a:gd name="connsiteY5241" fmla="*/ 4645704 h 6593118"/>
              <a:gd name="connsiteX5242" fmla="*/ 5855661 w 11490376"/>
              <a:gd name="connsiteY5242" fmla="*/ 4640786 h 6593118"/>
              <a:gd name="connsiteX5243" fmla="*/ 5863031 w 11490376"/>
              <a:gd name="connsiteY5243" fmla="*/ 4603894 h 6593118"/>
              <a:gd name="connsiteX5244" fmla="*/ 5840922 w 11490376"/>
              <a:gd name="connsiteY5244" fmla="*/ 4567003 h 6593118"/>
              <a:gd name="connsiteX5245" fmla="*/ 5833552 w 11490376"/>
              <a:gd name="connsiteY5245" fmla="*/ 4520274 h 6593118"/>
              <a:gd name="connsiteX5246" fmla="*/ 5828638 w 11490376"/>
              <a:gd name="connsiteY5246" fmla="*/ 4471084 h 6593118"/>
              <a:gd name="connsiteX5247" fmla="*/ 5811441 w 11490376"/>
              <a:gd name="connsiteY5247" fmla="*/ 4458787 h 6593118"/>
              <a:gd name="connsiteX5248" fmla="*/ 5811441 w 11490376"/>
              <a:gd name="connsiteY5248" fmla="*/ 4404679 h 6593118"/>
              <a:gd name="connsiteX5249" fmla="*/ 5789332 w 11490376"/>
              <a:gd name="connsiteY5249" fmla="*/ 4404679 h 6593118"/>
              <a:gd name="connsiteX5250" fmla="*/ 5796702 w 11490376"/>
              <a:gd name="connsiteY5250" fmla="*/ 4382544 h 6593118"/>
              <a:gd name="connsiteX5251" fmla="*/ 5811441 w 11490376"/>
              <a:gd name="connsiteY5251" fmla="*/ 4387463 h 6593118"/>
              <a:gd name="connsiteX5252" fmla="*/ 5863031 w 11490376"/>
              <a:gd name="connsiteY5252" fmla="*/ 4389923 h 6593118"/>
              <a:gd name="connsiteX5253" fmla="*/ 5899882 w 11490376"/>
              <a:gd name="connsiteY5253" fmla="*/ 4375166 h 6593118"/>
              <a:gd name="connsiteX5254" fmla="*/ 5963755 w 11490376"/>
              <a:gd name="connsiteY5254" fmla="*/ 4382544 h 6593118"/>
              <a:gd name="connsiteX5255" fmla="*/ 5978496 w 11490376"/>
              <a:gd name="connsiteY5255" fmla="*/ 4444030 h 6593118"/>
              <a:gd name="connsiteX5256" fmla="*/ 5994943 w 11490376"/>
              <a:gd name="connsiteY5256" fmla="*/ 4448735 h 6593118"/>
              <a:gd name="connsiteX5257" fmla="*/ 5994819 w 11490376"/>
              <a:gd name="connsiteY5257" fmla="*/ 4447612 h 6593118"/>
              <a:gd name="connsiteX5258" fmla="*/ 5980147 w 11490376"/>
              <a:gd name="connsiteY5258" fmla="*/ 4442683 h 6593118"/>
              <a:gd name="connsiteX5259" fmla="*/ 5965475 w 11490376"/>
              <a:gd name="connsiteY5259" fmla="*/ 4381074 h 6593118"/>
              <a:gd name="connsiteX5260" fmla="*/ 5899453 w 11490376"/>
              <a:gd name="connsiteY5260" fmla="*/ 4373680 h 6593118"/>
              <a:gd name="connsiteX5261" fmla="*/ 5865219 w 11490376"/>
              <a:gd name="connsiteY5261" fmla="*/ 4388467 h 6593118"/>
              <a:gd name="connsiteX5262" fmla="*/ 5813867 w 11490376"/>
              <a:gd name="connsiteY5262" fmla="*/ 4386003 h 6593118"/>
              <a:gd name="connsiteX5263" fmla="*/ 5796750 w 11490376"/>
              <a:gd name="connsiteY5263" fmla="*/ 4378609 h 6593118"/>
              <a:gd name="connsiteX5264" fmla="*/ 5799195 w 11490376"/>
              <a:gd name="connsiteY5264" fmla="*/ 4363823 h 6593118"/>
              <a:gd name="connsiteX5265" fmla="*/ 5813867 w 11490376"/>
              <a:gd name="connsiteY5265" fmla="*/ 4356430 h 6593118"/>
              <a:gd name="connsiteX5266" fmla="*/ 5806531 w 11490376"/>
              <a:gd name="connsiteY5266" fmla="*/ 4353965 h 6593118"/>
              <a:gd name="connsiteX5267" fmla="*/ 5799195 w 11490376"/>
              <a:gd name="connsiteY5267" fmla="*/ 4341644 h 6593118"/>
              <a:gd name="connsiteX5268" fmla="*/ 5813867 w 11490376"/>
              <a:gd name="connsiteY5268" fmla="*/ 4336715 h 6593118"/>
              <a:gd name="connsiteX5269" fmla="*/ 5830984 w 11490376"/>
              <a:gd name="connsiteY5269" fmla="*/ 4329323 h 6593118"/>
              <a:gd name="connsiteX5270" fmla="*/ 5857883 w 11490376"/>
              <a:gd name="connsiteY5270" fmla="*/ 4319465 h 6593118"/>
              <a:gd name="connsiteX5271" fmla="*/ 5872555 w 11490376"/>
              <a:gd name="connsiteY5271" fmla="*/ 4329323 h 6593118"/>
              <a:gd name="connsiteX5272" fmla="*/ 5901898 w 11490376"/>
              <a:gd name="connsiteY5272" fmla="*/ 4329323 h 6593118"/>
              <a:gd name="connsiteX5273" fmla="*/ 5911679 w 11490376"/>
              <a:gd name="connsiteY5273" fmla="*/ 4317000 h 6593118"/>
              <a:gd name="connsiteX5274" fmla="*/ 5948358 w 11490376"/>
              <a:gd name="connsiteY5274" fmla="*/ 4302214 h 6593118"/>
              <a:gd name="connsiteX5275" fmla="*/ 5950804 w 11490376"/>
              <a:gd name="connsiteY5275" fmla="*/ 4243069 h 6593118"/>
              <a:gd name="connsiteX5276" fmla="*/ 5980147 w 11490376"/>
              <a:gd name="connsiteY5276" fmla="*/ 4243069 h 6593118"/>
              <a:gd name="connsiteX5277" fmla="*/ 5982592 w 11490376"/>
              <a:gd name="connsiteY5277" fmla="*/ 4193781 h 6593118"/>
              <a:gd name="connsiteX5278" fmla="*/ 5997264 w 11490376"/>
              <a:gd name="connsiteY5278" fmla="*/ 4176531 h 6593118"/>
              <a:gd name="connsiteX5279" fmla="*/ 6007045 w 11490376"/>
              <a:gd name="connsiteY5279" fmla="*/ 4161745 h 6593118"/>
              <a:gd name="connsiteX5280" fmla="*/ 6009490 w 11490376"/>
              <a:gd name="connsiteY5280" fmla="*/ 4050847 h 6593118"/>
              <a:gd name="connsiteX5281" fmla="*/ 6019271 w 11490376"/>
              <a:gd name="connsiteY5281" fmla="*/ 4040990 h 6593118"/>
              <a:gd name="connsiteX5282" fmla="*/ 6029052 w 11490376"/>
              <a:gd name="connsiteY5282" fmla="*/ 3996631 h 6593118"/>
              <a:gd name="connsiteX5283" fmla="*/ 6028235 w 11490376"/>
              <a:gd name="connsiteY5283" fmla="*/ 3996264 h 6593118"/>
              <a:gd name="connsiteX5284" fmla="*/ 6018659 w 11490376"/>
              <a:gd name="connsiteY5284" fmla="*/ 4041400 h 6593118"/>
              <a:gd name="connsiteX5285" fmla="*/ 6008797 w 11490376"/>
              <a:gd name="connsiteY5285" fmla="*/ 4051185 h 6593118"/>
              <a:gd name="connsiteX5286" fmla="*/ 6006332 w 11490376"/>
              <a:gd name="connsiteY5286" fmla="*/ 4161279 h 6593118"/>
              <a:gd name="connsiteX5287" fmla="*/ 5996470 w 11490376"/>
              <a:gd name="connsiteY5287" fmla="*/ 4175958 h 6593118"/>
              <a:gd name="connsiteX5288" fmla="*/ 5981678 w 11490376"/>
              <a:gd name="connsiteY5288" fmla="*/ 4193084 h 6593118"/>
              <a:gd name="connsiteX5289" fmla="*/ 5979212 w 11490376"/>
              <a:gd name="connsiteY5289" fmla="*/ 4239567 h 6593118"/>
              <a:gd name="connsiteX5290" fmla="*/ 5949628 w 11490376"/>
              <a:gd name="connsiteY5290" fmla="*/ 4242013 h 6593118"/>
              <a:gd name="connsiteX5291" fmla="*/ 5947161 w 11490376"/>
              <a:gd name="connsiteY5291" fmla="*/ 4300730 h 6593118"/>
              <a:gd name="connsiteX5292" fmla="*/ 5910181 w 11490376"/>
              <a:gd name="connsiteY5292" fmla="*/ 4315408 h 6593118"/>
              <a:gd name="connsiteX5293" fmla="*/ 5902784 w 11490376"/>
              <a:gd name="connsiteY5293" fmla="*/ 4327642 h 6593118"/>
              <a:gd name="connsiteX5294" fmla="*/ 5873199 w 11490376"/>
              <a:gd name="connsiteY5294" fmla="*/ 4327642 h 6593118"/>
              <a:gd name="connsiteX5295" fmla="*/ 5855942 w 11490376"/>
              <a:gd name="connsiteY5295" fmla="*/ 4317855 h 6593118"/>
              <a:gd name="connsiteX5296" fmla="*/ 5831287 w 11490376"/>
              <a:gd name="connsiteY5296" fmla="*/ 4327642 h 6593118"/>
              <a:gd name="connsiteX5297" fmla="*/ 5811564 w 11490376"/>
              <a:gd name="connsiteY5297" fmla="*/ 4334980 h 6593118"/>
              <a:gd name="connsiteX5298" fmla="*/ 5796771 w 11490376"/>
              <a:gd name="connsiteY5298" fmla="*/ 4339874 h 6593118"/>
              <a:gd name="connsiteX5299" fmla="*/ 5796771 w 11490376"/>
              <a:gd name="connsiteY5299" fmla="*/ 4322748 h 6593118"/>
              <a:gd name="connsiteX5300" fmla="*/ 5778724 w 11490376"/>
              <a:gd name="connsiteY5300" fmla="*/ 4313794 h 6593118"/>
              <a:gd name="connsiteX5301" fmla="*/ 5777236 w 11490376"/>
              <a:gd name="connsiteY5301" fmla="*/ 4315780 h 6593118"/>
              <a:gd name="connsiteX5302" fmla="*/ 5764997 w 11490376"/>
              <a:gd name="connsiteY5302" fmla="*/ 4301075 h 6593118"/>
              <a:gd name="connsiteX5303" fmla="*/ 5730723 w 11490376"/>
              <a:gd name="connsiteY5303" fmla="*/ 4259409 h 6593118"/>
              <a:gd name="connsiteX5304" fmla="*/ 5686659 w 11490376"/>
              <a:gd name="connsiteY5304" fmla="*/ 4220194 h 6593118"/>
              <a:gd name="connsiteX5305" fmla="*/ 5689107 w 11490376"/>
              <a:gd name="connsiteY5305" fmla="*/ 4188332 h 6593118"/>
              <a:gd name="connsiteX5306" fmla="*/ 5671970 w 11490376"/>
              <a:gd name="connsiteY5306" fmla="*/ 4178528 h 6593118"/>
              <a:gd name="connsiteX5307" fmla="*/ 5676866 w 11490376"/>
              <a:gd name="connsiteY5307" fmla="*/ 4168724 h 6593118"/>
              <a:gd name="connsiteX5308" fmla="*/ 5706244 w 11490376"/>
              <a:gd name="connsiteY5308" fmla="*/ 4154019 h 6593118"/>
              <a:gd name="connsiteX5309" fmla="*/ 5706244 w 11490376"/>
              <a:gd name="connsiteY5309" fmla="*/ 4114823 h 6593118"/>
              <a:gd name="connsiteX5310" fmla="*/ 5704806 w 11490376"/>
              <a:gd name="connsiteY5310" fmla="*/ 4114583 h 6593118"/>
              <a:gd name="connsiteX5311" fmla="*/ 5708883 w 11490376"/>
              <a:gd name="connsiteY5311" fmla="*/ 4086043 h 6593118"/>
              <a:gd name="connsiteX5312" fmla="*/ 5703252 w 11490376"/>
              <a:gd name="connsiteY5312" fmla="*/ 4057669 h 6593118"/>
              <a:gd name="connsiteX5313" fmla="*/ 5720352 w 11490376"/>
              <a:gd name="connsiteY5313" fmla="*/ 4020736 h 6593118"/>
              <a:gd name="connsiteX5314" fmla="*/ 5703252 w 11490376"/>
              <a:gd name="connsiteY5314" fmla="*/ 4001039 h 6593118"/>
              <a:gd name="connsiteX5315" fmla="*/ 5666608 w 11490376"/>
              <a:gd name="connsiteY5315" fmla="*/ 3986265 h 6593118"/>
              <a:gd name="connsiteX5316" fmla="*/ 5612863 w 11490376"/>
              <a:gd name="connsiteY5316" fmla="*/ 3969031 h 6593118"/>
              <a:gd name="connsiteX5317" fmla="*/ 5676380 w 11490376"/>
              <a:gd name="connsiteY5317" fmla="*/ 3914863 h 6593118"/>
              <a:gd name="connsiteX5318" fmla="*/ 5698366 w 11490376"/>
              <a:gd name="connsiteY5318" fmla="*/ 3887778 h 6593118"/>
              <a:gd name="connsiteX5319" fmla="*/ 5727681 w 11490376"/>
              <a:gd name="connsiteY5319" fmla="*/ 3860695 h 6593118"/>
              <a:gd name="connsiteX5320" fmla="*/ 5766768 w 11490376"/>
              <a:gd name="connsiteY5320" fmla="*/ 3833610 h 6593118"/>
              <a:gd name="connsiteX5321" fmla="*/ 5788755 w 11490376"/>
              <a:gd name="connsiteY5321" fmla="*/ 3791753 h 6593118"/>
              <a:gd name="connsiteX5322" fmla="*/ 5805855 w 11490376"/>
              <a:gd name="connsiteY5322" fmla="*/ 3725275 h 6593118"/>
              <a:gd name="connsiteX5323" fmla="*/ 5815627 w 11490376"/>
              <a:gd name="connsiteY5323" fmla="*/ 3708039 h 6593118"/>
              <a:gd name="connsiteX5324" fmla="*/ 5837613 w 11490376"/>
              <a:gd name="connsiteY5324" fmla="*/ 3693267 h 6593118"/>
              <a:gd name="connsiteX5325" fmla="*/ 5842498 w 11490376"/>
              <a:gd name="connsiteY5325" fmla="*/ 3644023 h 6593118"/>
              <a:gd name="connsiteX5326" fmla="*/ 5842327 w 11490376"/>
              <a:gd name="connsiteY5326" fmla="*/ 3642643 h 6593118"/>
              <a:gd name="connsiteX5327" fmla="*/ 5835102 w 11490376"/>
              <a:gd name="connsiteY5327" fmla="*/ 3691171 h 6593118"/>
              <a:gd name="connsiteX5328" fmla="*/ 5815483 w 11490376"/>
              <a:gd name="connsiteY5328" fmla="*/ 3703523 h 6593118"/>
              <a:gd name="connsiteX5329" fmla="*/ 5805673 w 11490376"/>
              <a:gd name="connsiteY5329" fmla="*/ 3723286 h 6593118"/>
              <a:gd name="connsiteX5330" fmla="*/ 5788507 w 11490376"/>
              <a:gd name="connsiteY5330" fmla="*/ 3789991 h 6593118"/>
              <a:gd name="connsiteX5331" fmla="*/ 5766436 w 11490376"/>
              <a:gd name="connsiteY5331" fmla="*/ 3831989 h 6593118"/>
              <a:gd name="connsiteX5332" fmla="*/ 5727198 w 11490376"/>
              <a:gd name="connsiteY5332" fmla="*/ 3856694 h 6593118"/>
              <a:gd name="connsiteX5333" fmla="*/ 5697769 w 11490376"/>
              <a:gd name="connsiteY5333" fmla="*/ 3883871 h 6593118"/>
              <a:gd name="connsiteX5334" fmla="*/ 5675697 w 11490376"/>
              <a:gd name="connsiteY5334" fmla="*/ 3911046 h 6593118"/>
              <a:gd name="connsiteX5335" fmla="*/ 5611936 w 11490376"/>
              <a:gd name="connsiteY5335" fmla="*/ 3965397 h 6593118"/>
              <a:gd name="connsiteX5336" fmla="*/ 5580056 w 11490376"/>
              <a:gd name="connsiteY5336" fmla="*/ 3962926 h 6593118"/>
              <a:gd name="connsiteX5337" fmla="*/ 5553080 w 11490376"/>
              <a:gd name="connsiteY5337" fmla="*/ 3945632 h 6593118"/>
              <a:gd name="connsiteX5338" fmla="*/ 5555532 w 11490376"/>
              <a:gd name="connsiteY5338" fmla="*/ 3908576 h 6593118"/>
              <a:gd name="connsiteX5339" fmla="*/ 5540818 w 11490376"/>
              <a:gd name="connsiteY5339" fmla="*/ 3888811 h 6593118"/>
              <a:gd name="connsiteX5340" fmla="*/ 5526104 w 11490376"/>
              <a:gd name="connsiteY5340" fmla="*/ 3871517 h 6593118"/>
              <a:gd name="connsiteX5341" fmla="*/ 5494222 w 11490376"/>
              <a:gd name="connsiteY5341" fmla="*/ 3876459 h 6593118"/>
              <a:gd name="connsiteX5342" fmla="*/ 5464794 w 11490376"/>
              <a:gd name="connsiteY5342" fmla="*/ 3871517 h 6593118"/>
              <a:gd name="connsiteX5343" fmla="*/ 5457437 w 11490376"/>
              <a:gd name="connsiteY5343" fmla="*/ 3792462 h 6593118"/>
              <a:gd name="connsiteX5344" fmla="*/ 5477056 w 11490376"/>
              <a:gd name="connsiteY5344" fmla="*/ 3765286 h 6593118"/>
              <a:gd name="connsiteX5345" fmla="*/ 5496674 w 11490376"/>
              <a:gd name="connsiteY5345" fmla="*/ 3686230 h 6593118"/>
              <a:gd name="connsiteX5346" fmla="*/ 5491955 w 11490376"/>
              <a:gd name="connsiteY5346" fmla="*/ 3641056 h 6593118"/>
              <a:gd name="connsiteX5347" fmla="*/ 5490916 w 11490376"/>
              <a:gd name="connsiteY5347" fmla="*/ 3641056 h 6593118"/>
              <a:gd name="connsiteX5348" fmla="*/ 5489457 w 11490376"/>
              <a:gd name="connsiteY5348" fmla="*/ 3641169 h 6593118"/>
              <a:gd name="connsiteX5349" fmla="*/ 5496567 w 11490376"/>
              <a:gd name="connsiteY5349" fmla="*/ 3686208 h 6593118"/>
              <a:gd name="connsiteX5350" fmla="*/ 5476865 w 11490376"/>
              <a:gd name="connsiteY5350" fmla="*/ 3765040 h 6593118"/>
              <a:gd name="connsiteX5351" fmla="*/ 5457162 w 11490376"/>
              <a:gd name="connsiteY5351" fmla="*/ 3792139 h 6593118"/>
              <a:gd name="connsiteX5352" fmla="*/ 5464550 w 11490376"/>
              <a:gd name="connsiteY5352" fmla="*/ 3873435 h 6593118"/>
              <a:gd name="connsiteX5353" fmla="*/ 5420221 w 11490376"/>
              <a:gd name="connsiteY5353" fmla="*/ 3893143 h 6593118"/>
              <a:gd name="connsiteX5354" fmla="*/ 5407907 w 11490376"/>
              <a:gd name="connsiteY5354" fmla="*/ 3846336 h 6593118"/>
              <a:gd name="connsiteX5355" fmla="*/ 5405445 w 11490376"/>
              <a:gd name="connsiteY5355" fmla="*/ 3801994 h 6593118"/>
              <a:gd name="connsiteX5356" fmla="*/ 5398057 w 11490376"/>
              <a:gd name="connsiteY5356" fmla="*/ 3752723 h 6593118"/>
              <a:gd name="connsiteX5357" fmla="*/ 5382130 w 11490376"/>
              <a:gd name="connsiteY5357" fmla="*/ 3729964 h 6593118"/>
              <a:gd name="connsiteX5358" fmla="*/ 5380971 w 11490376"/>
              <a:gd name="connsiteY5358" fmla="*/ 3731555 h 6593118"/>
              <a:gd name="connsiteX5359" fmla="*/ 5376320 w 11490376"/>
              <a:gd name="connsiteY5359" fmla="*/ 3732226 h 6593118"/>
              <a:gd name="connsiteX5360" fmla="*/ 5383006 w 11490376"/>
              <a:gd name="connsiteY5360" fmla="*/ 3733563 h 6593118"/>
              <a:gd name="connsiteX5361" fmla="*/ 5396141 w 11490376"/>
              <a:gd name="connsiteY5361" fmla="*/ 3753271 h 6593118"/>
              <a:gd name="connsiteX5362" fmla="*/ 5400519 w 11490376"/>
              <a:gd name="connsiteY5362" fmla="*/ 3786116 h 6593118"/>
              <a:gd name="connsiteX5363" fmla="*/ 5400519 w 11490376"/>
              <a:gd name="connsiteY5363" fmla="*/ 3834292 h 6593118"/>
              <a:gd name="connsiteX5364" fmla="*/ 5415842 w 11490376"/>
              <a:gd name="connsiteY5364" fmla="*/ 3886847 h 6593118"/>
              <a:gd name="connsiteX5365" fmla="*/ 5389573 w 11490376"/>
              <a:gd name="connsiteY5365" fmla="*/ 3910934 h 6593118"/>
              <a:gd name="connsiteX5366" fmla="*/ 5389326 w 11490376"/>
              <a:gd name="connsiteY5366" fmla="*/ 3909490 h 6593118"/>
              <a:gd name="connsiteX5367" fmla="*/ 5379082 w 11490376"/>
              <a:gd name="connsiteY5367" fmla="*/ 3921584 h 6593118"/>
              <a:gd name="connsiteX5368" fmla="*/ 5352276 w 11490376"/>
              <a:gd name="connsiteY5368" fmla="*/ 3921584 h 6593118"/>
              <a:gd name="connsiteX5369" fmla="*/ 5337655 w 11490376"/>
              <a:gd name="connsiteY5369" fmla="*/ 3938849 h 6593118"/>
              <a:gd name="connsiteX5370" fmla="*/ 5310848 w 11490376"/>
              <a:gd name="connsiteY5370" fmla="*/ 3941315 h 6593118"/>
              <a:gd name="connsiteX5371" fmla="*/ 5271856 w 11490376"/>
              <a:gd name="connsiteY5371" fmla="*/ 3933916 h 6593118"/>
              <a:gd name="connsiteX5372" fmla="*/ 5271754 w 11490376"/>
              <a:gd name="connsiteY5372" fmla="*/ 3932724 h 6593118"/>
              <a:gd name="connsiteX5373" fmla="*/ 5184085 w 11490376"/>
              <a:gd name="connsiteY5373" fmla="*/ 3935140 h 6593118"/>
              <a:gd name="connsiteX5374" fmla="*/ 5144589 w 11490376"/>
              <a:gd name="connsiteY5374" fmla="*/ 3952281 h 6593118"/>
              <a:gd name="connsiteX5375" fmla="*/ 5143826 w 11490376"/>
              <a:gd name="connsiteY5375" fmla="*/ 3952015 h 6593118"/>
              <a:gd name="connsiteX5376" fmla="*/ 5136793 w 11490376"/>
              <a:gd name="connsiteY5376" fmla="*/ 3970590 h 6593118"/>
              <a:gd name="connsiteX5377" fmla="*/ 5114736 w 11490376"/>
              <a:gd name="connsiteY5377" fmla="*/ 3985149 h 6593118"/>
              <a:gd name="connsiteX5378" fmla="*/ 5070631 w 11490376"/>
              <a:gd name="connsiteY5378" fmla="*/ 3973016 h 6593118"/>
              <a:gd name="connsiteX5379" fmla="*/ 4982411 w 11490376"/>
              <a:gd name="connsiteY5379" fmla="*/ 3871104 h 6593118"/>
              <a:gd name="connsiteX5380" fmla="*/ 4983192 w 11490376"/>
              <a:gd name="connsiteY5380" fmla="*/ 3869666 h 6593118"/>
              <a:gd name="connsiteX5381" fmla="*/ 4973976 w 11490376"/>
              <a:gd name="connsiteY5381" fmla="*/ 3851397 h 6593118"/>
              <a:gd name="connsiteX5382" fmla="*/ 4941450 w 11490376"/>
              <a:gd name="connsiteY5382" fmla="*/ 3841482 h 6593118"/>
              <a:gd name="connsiteX5383" fmla="*/ 4936446 w 11490376"/>
              <a:gd name="connsiteY5383" fmla="*/ 3811734 h 6593118"/>
              <a:gd name="connsiteX5384" fmla="*/ 4908925 w 11490376"/>
              <a:gd name="connsiteY5384" fmla="*/ 3804298 h 6593118"/>
              <a:gd name="connsiteX5385" fmla="*/ 4901533 w 11490376"/>
              <a:gd name="connsiteY5385" fmla="*/ 3767669 h 6593118"/>
              <a:gd name="connsiteX5386" fmla="*/ 4901138 w 11490376"/>
              <a:gd name="connsiteY5386" fmla="*/ 3767774 h 6593118"/>
              <a:gd name="connsiteX5387" fmla="*/ 4857201 w 11490376"/>
              <a:gd name="connsiteY5387" fmla="*/ 3721247 h 6593118"/>
              <a:gd name="connsiteX5388" fmla="*/ 4840261 w 11490376"/>
              <a:gd name="connsiteY5388" fmla="*/ 3667836 h 6593118"/>
              <a:gd name="connsiteX5389" fmla="*/ 4838733 w 11490376"/>
              <a:gd name="connsiteY5389" fmla="*/ 3669799 h 6593118"/>
              <a:gd name="connsiteX5390" fmla="*/ 4826458 w 11490376"/>
              <a:gd name="connsiteY5390" fmla="*/ 3655096 h 6593118"/>
              <a:gd name="connsiteX5391" fmla="*/ 4794552 w 11490376"/>
              <a:gd name="connsiteY5391" fmla="*/ 3655096 h 6593118"/>
              <a:gd name="connsiteX5392" fmla="*/ 4792097 w 11490376"/>
              <a:gd name="connsiteY5392" fmla="*/ 3628142 h 6593118"/>
              <a:gd name="connsiteX5393" fmla="*/ 4797007 w 11490376"/>
              <a:gd name="connsiteY5393" fmla="*/ 3603636 h 6593118"/>
              <a:gd name="connsiteX5394" fmla="*/ 4819097 w 11490376"/>
              <a:gd name="connsiteY5394" fmla="*/ 3588934 h 6593118"/>
              <a:gd name="connsiteX5395" fmla="*/ 4801915 w 11490376"/>
              <a:gd name="connsiteY5395" fmla="*/ 3574231 h 6593118"/>
              <a:gd name="connsiteX5396" fmla="*/ 4777369 w 11490376"/>
              <a:gd name="connsiteY5396" fmla="*/ 3544825 h 6593118"/>
              <a:gd name="connsiteX5397" fmla="*/ 4750372 w 11490376"/>
              <a:gd name="connsiteY5397" fmla="*/ 3535024 h 6593118"/>
              <a:gd name="connsiteX5398" fmla="*/ 4774914 w 11490376"/>
              <a:gd name="connsiteY5398" fmla="*/ 3525222 h 6593118"/>
              <a:gd name="connsiteX5399" fmla="*/ 4819097 w 11490376"/>
              <a:gd name="connsiteY5399" fmla="*/ 3473762 h 6593118"/>
              <a:gd name="connsiteX5400" fmla="*/ 4851004 w 11490376"/>
              <a:gd name="connsiteY5400" fmla="*/ 3466411 h 6593118"/>
              <a:gd name="connsiteX5401" fmla="*/ 4862670 w 11490376"/>
              <a:gd name="connsiteY5401" fmla="*/ 3481940 h 6593118"/>
              <a:gd name="connsiteX5402" fmla="*/ 4851335 w 11490376"/>
              <a:gd name="connsiteY5402" fmla="*/ 3464910 h 6593118"/>
              <a:gd name="connsiteX5403" fmla="*/ 4819319 w 11490376"/>
              <a:gd name="connsiteY5403" fmla="*/ 3472310 h 6593118"/>
              <a:gd name="connsiteX5404" fmla="*/ 4819319 w 11490376"/>
              <a:gd name="connsiteY5404" fmla="*/ 3390896 h 6593118"/>
              <a:gd name="connsiteX5405" fmla="*/ 4809470 w 11490376"/>
              <a:gd name="connsiteY5405" fmla="*/ 3376094 h 6593118"/>
              <a:gd name="connsiteX5406" fmla="*/ 4809470 w 11490376"/>
              <a:gd name="connsiteY5406" fmla="*/ 3270009 h 6593118"/>
              <a:gd name="connsiteX5407" fmla="*/ 4809544 w 11490376"/>
              <a:gd name="connsiteY5407" fmla="*/ 3270035 h 6593118"/>
              <a:gd name="connsiteX5408" fmla="*/ 4807287 w 11490376"/>
              <a:gd name="connsiteY5408" fmla="*/ 3222467 h 6593118"/>
              <a:gd name="connsiteX5409" fmla="*/ 4819564 w 11490376"/>
              <a:gd name="connsiteY5409" fmla="*/ 3187947 h 6593118"/>
              <a:gd name="connsiteX5410" fmla="*/ 4836759 w 11490376"/>
              <a:gd name="connsiteY5410" fmla="*/ 3175618 h 6593118"/>
              <a:gd name="connsiteX5411" fmla="*/ 4826932 w 11490376"/>
              <a:gd name="connsiteY5411" fmla="*/ 3148497 h 6593118"/>
              <a:gd name="connsiteX5412" fmla="*/ 4851488 w 11490376"/>
              <a:gd name="connsiteY5412" fmla="*/ 3143565 h 6593118"/>
              <a:gd name="connsiteX5413" fmla="*/ 4846578 w 11490376"/>
              <a:gd name="connsiteY5413" fmla="*/ 3089321 h 6593118"/>
              <a:gd name="connsiteX5414" fmla="*/ 4863766 w 11490376"/>
              <a:gd name="connsiteY5414" fmla="*/ 3074527 h 6593118"/>
              <a:gd name="connsiteX5415" fmla="*/ 4893233 w 11490376"/>
              <a:gd name="connsiteY5415" fmla="*/ 3062199 h 6593118"/>
              <a:gd name="connsiteX5416" fmla="*/ 4907967 w 11490376"/>
              <a:gd name="connsiteY5416" fmla="*/ 3037543 h 6593118"/>
              <a:gd name="connsiteX5417" fmla="*/ 4915334 w 11490376"/>
              <a:gd name="connsiteY5417" fmla="*/ 2990695 h 6593118"/>
              <a:gd name="connsiteX5418" fmla="*/ 4957079 w 11490376"/>
              <a:gd name="connsiteY5418" fmla="*/ 2998091 h 6593118"/>
              <a:gd name="connsiteX5419" fmla="*/ 4971813 w 11490376"/>
              <a:gd name="connsiteY5419" fmla="*/ 2975901 h 6593118"/>
              <a:gd name="connsiteX5420" fmla="*/ 5062672 w 11490376"/>
              <a:gd name="connsiteY5420" fmla="*/ 2975901 h 6593118"/>
              <a:gd name="connsiteX5421" fmla="*/ 5087146 w 11490376"/>
              <a:gd name="connsiteY5421" fmla="*/ 2975901 h 6593118"/>
              <a:gd name="connsiteX5422" fmla="*/ 5087755 w 11490376"/>
              <a:gd name="connsiteY5422" fmla="*/ 2973775 h 6593118"/>
              <a:gd name="connsiteX5423" fmla="*/ 5060606 w 11490376"/>
              <a:gd name="connsiteY5423" fmla="*/ 2973775 h 6593118"/>
              <a:gd name="connsiteX5424" fmla="*/ 4969279 w 11490376"/>
              <a:gd name="connsiteY5424" fmla="*/ 2973775 h 6593118"/>
              <a:gd name="connsiteX5425" fmla="*/ 4991494 w 11490376"/>
              <a:gd name="connsiteY5425" fmla="*/ 2944307 h 6593118"/>
              <a:gd name="connsiteX5426" fmla="*/ 5011239 w 11490376"/>
              <a:gd name="connsiteY5426" fmla="*/ 2932028 h 6593118"/>
              <a:gd name="connsiteX5427" fmla="*/ 5030987 w 11490376"/>
              <a:gd name="connsiteY5427" fmla="*/ 2914839 h 6593118"/>
              <a:gd name="connsiteX5428" fmla="*/ 5045796 w 11490376"/>
              <a:gd name="connsiteY5428" fmla="*/ 2806788 h 6593118"/>
              <a:gd name="connsiteX5429" fmla="*/ 5058137 w 11490376"/>
              <a:gd name="connsiteY5429" fmla="*/ 2769953 h 6593118"/>
              <a:gd name="connsiteX5430" fmla="*/ 5072946 w 11490376"/>
              <a:gd name="connsiteY5430" fmla="*/ 2774865 h 6593118"/>
              <a:gd name="connsiteX5431" fmla="*/ 5075414 w 11490376"/>
              <a:gd name="connsiteY5431" fmla="*/ 2750308 h 6593118"/>
              <a:gd name="connsiteX5432" fmla="*/ 5134652 w 11490376"/>
              <a:gd name="connsiteY5432" fmla="*/ 2747852 h 6593118"/>
              <a:gd name="connsiteX5433" fmla="*/ 5134652 w 11490376"/>
              <a:gd name="connsiteY5433" fmla="*/ 2718385 h 6593118"/>
              <a:gd name="connsiteX5434" fmla="*/ 5156868 w 11490376"/>
              <a:gd name="connsiteY5434" fmla="*/ 2696284 h 6593118"/>
              <a:gd name="connsiteX5435" fmla="*/ 5171678 w 11490376"/>
              <a:gd name="connsiteY5435" fmla="*/ 2671727 h 6593118"/>
              <a:gd name="connsiteX5436" fmla="*/ 5179083 w 11490376"/>
              <a:gd name="connsiteY5436" fmla="*/ 2649625 h 6593118"/>
              <a:gd name="connsiteX5437" fmla="*/ 5206233 w 11490376"/>
              <a:gd name="connsiteY5437" fmla="*/ 2666814 h 6593118"/>
              <a:gd name="connsiteX5438" fmla="*/ 5235852 w 11490376"/>
              <a:gd name="connsiteY5438" fmla="*/ 2669271 h 6593118"/>
              <a:gd name="connsiteX5439" fmla="*/ 5260520 w 11490376"/>
              <a:gd name="connsiteY5439" fmla="*/ 2696284 h 6593118"/>
              <a:gd name="connsiteX5440" fmla="*/ 5302480 w 11490376"/>
              <a:gd name="connsiteY5440" fmla="*/ 2688916 h 6593118"/>
              <a:gd name="connsiteX5441" fmla="*/ 5303417 w 11490376"/>
              <a:gd name="connsiteY5441" fmla="*/ 2689848 h 6593118"/>
              <a:gd name="connsiteX5442" fmla="*/ 5319062 w 11490376"/>
              <a:gd name="connsiteY5442" fmla="*/ 2654107 h 6593118"/>
              <a:gd name="connsiteX5443" fmla="*/ 5370679 w 11490376"/>
              <a:gd name="connsiteY5443" fmla="*/ 2644281 h 6593118"/>
              <a:gd name="connsiteX5444" fmla="*/ 5397716 w 11490376"/>
              <a:gd name="connsiteY5444" fmla="*/ 2619713 h 6593118"/>
              <a:gd name="connsiteX5445" fmla="*/ 5476371 w 11490376"/>
              <a:gd name="connsiteY5445" fmla="*/ 2612344 h 6593118"/>
              <a:gd name="connsiteX5446" fmla="*/ 5515697 w 11490376"/>
              <a:gd name="connsiteY5446" fmla="*/ 2600061 h 6593118"/>
              <a:gd name="connsiteX5447" fmla="*/ 5564858 w 11490376"/>
              <a:gd name="connsiteY5447" fmla="*/ 2592691 h 6593118"/>
              <a:gd name="connsiteX5448" fmla="*/ 5670549 w 11490376"/>
              <a:gd name="connsiteY5448" fmla="*/ 2600061 h 6593118"/>
              <a:gd name="connsiteX5449" fmla="*/ 5677367 w 11490376"/>
              <a:gd name="connsiteY5449" fmla="*/ 2640948 h 6593118"/>
              <a:gd name="connsiteX5450" fmla="*/ 5678458 w 11490376"/>
              <a:gd name="connsiteY5450" fmla="*/ 2640948 h 6593118"/>
              <a:gd name="connsiteX5451" fmla="*/ 5671173 w 11490376"/>
              <a:gd name="connsiteY5451" fmla="*/ 2596744 h 6593118"/>
              <a:gd name="connsiteX5452" fmla="*/ 5695454 w 11490376"/>
              <a:gd name="connsiteY5452" fmla="*/ 2582008 h 6593118"/>
              <a:gd name="connsiteX5453" fmla="*/ 5712449 w 11490376"/>
              <a:gd name="connsiteY5453" fmla="*/ 2579553 h 6593118"/>
              <a:gd name="connsiteX5454" fmla="*/ 5729444 w 11490376"/>
              <a:gd name="connsiteY5454" fmla="*/ 2591832 h 6593118"/>
              <a:gd name="connsiteX5455" fmla="*/ 5758579 w 11490376"/>
              <a:gd name="connsiteY5455" fmla="*/ 2601655 h 6593118"/>
              <a:gd name="connsiteX5456" fmla="*/ 5748867 w 11490376"/>
              <a:gd name="connsiteY5456" fmla="*/ 2631125 h 6593118"/>
              <a:gd name="connsiteX5457" fmla="*/ 5761008 w 11490376"/>
              <a:gd name="connsiteY5457" fmla="*/ 2653227 h 6593118"/>
              <a:gd name="connsiteX5458" fmla="*/ 5758579 w 11490376"/>
              <a:gd name="connsiteY5458" fmla="*/ 2694976 h 6593118"/>
              <a:gd name="connsiteX5459" fmla="*/ 5731872 w 11490376"/>
              <a:gd name="connsiteY5459" fmla="*/ 2702343 h 6593118"/>
              <a:gd name="connsiteX5460" fmla="*/ 5731872 w 11490376"/>
              <a:gd name="connsiteY5460" fmla="*/ 2736726 h 6593118"/>
              <a:gd name="connsiteX5461" fmla="*/ 5748867 w 11490376"/>
              <a:gd name="connsiteY5461" fmla="*/ 2744093 h 6593118"/>
              <a:gd name="connsiteX5462" fmla="*/ 5765864 w 11490376"/>
              <a:gd name="connsiteY5462" fmla="*/ 2763740 h 6593118"/>
              <a:gd name="connsiteX5463" fmla="*/ 5765778 w 11490376"/>
              <a:gd name="connsiteY5463" fmla="*/ 2764374 h 6593118"/>
              <a:gd name="connsiteX5464" fmla="*/ 5794708 w 11490376"/>
              <a:gd name="connsiteY5464" fmla="*/ 2778822 h 6593118"/>
              <a:gd name="connsiteX5465" fmla="*/ 5814440 w 11490376"/>
              <a:gd name="connsiteY5465" fmla="*/ 2781286 h 6593118"/>
              <a:gd name="connsiteX5466" fmla="*/ 5895833 w 11490376"/>
              <a:gd name="connsiteY5466" fmla="*/ 2796066 h 6593118"/>
              <a:gd name="connsiteX5467" fmla="*/ 5905699 w 11490376"/>
              <a:gd name="connsiteY5467" fmla="*/ 2825627 h 6593118"/>
              <a:gd name="connsiteX5468" fmla="*/ 5962429 w 11490376"/>
              <a:gd name="connsiteY5468" fmla="*/ 2835482 h 6593118"/>
              <a:gd name="connsiteX5469" fmla="*/ 5964895 w 11490376"/>
              <a:gd name="connsiteY5469" fmla="*/ 2852726 h 6593118"/>
              <a:gd name="connsiteX5470" fmla="*/ 6014224 w 11490376"/>
              <a:gd name="connsiteY5470" fmla="*/ 2862581 h 6593118"/>
              <a:gd name="connsiteX5471" fmla="*/ 6046288 w 11490376"/>
              <a:gd name="connsiteY5471" fmla="*/ 2877362 h 6593118"/>
              <a:gd name="connsiteX5472" fmla="*/ 6056154 w 11490376"/>
              <a:gd name="connsiteY5472" fmla="*/ 2860117 h 6593118"/>
              <a:gd name="connsiteX5473" fmla="*/ 6056154 w 11490376"/>
              <a:gd name="connsiteY5473" fmla="*/ 2808383 h 6593118"/>
              <a:gd name="connsiteX5474" fmla="*/ 6070953 w 11490376"/>
              <a:gd name="connsiteY5474" fmla="*/ 2793603 h 6593118"/>
              <a:gd name="connsiteX5475" fmla="*/ 6085752 w 11490376"/>
              <a:gd name="connsiteY5475" fmla="*/ 2771431 h 6593118"/>
              <a:gd name="connsiteX5476" fmla="*/ 6100551 w 11490376"/>
              <a:gd name="connsiteY5476" fmla="*/ 2759114 h 6593118"/>
              <a:gd name="connsiteX5477" fmla="*/ 6137547 w 11490376"/>
              <a:gd name="connsiteY5477" fmla="*/ 2761577 h 6593118"/>
              <a:gd name="connsiteX5478" fmla="*/ 6157279 w 11490376"/>
              <a:gd name="connsiteY5478" fmla="*/ 2781286 h 6593118"/>
              <a:gd name="connsiteX5479" fmla="*/ 6177011 w 11490376"/>
              <a:gd name="connsiteY5479" fmla="*/ 2798530 h 6593118"/>
              <a:gd name="connsiteX5480" fmla="*/ 6209076 w 11490376"/>
              <a:gd name="connsiteY5480" fmla="*/ 2798530 h 6593118"/>
              <a:gd name="connsiteX5481" fmla="*/ 6238673 w 11490376"/>
              <a:gd name="connsiteY5481" fmla="*/ 2808383 h 6593118"/>
              <a:gd name="connsiteX5482" fmla="*/ 6236565 w 11490376"/>
              <a:gd name="connsiteY5482" fmla="*/ 2837855 h 6593118"/>
              <a:gd name="connsiteX5483" fmla="*/ 6330894 w 11490376"/>
              <a:gd name="connsiteY5483" fmla="*/ 2833566 h 6593118"/>
              <a:gd name="connsiteX5484" fmla="*/ 6354974 w 11490376"/>
              <a:gd name="connsiteY5484" fmla="*/ 2859843 h 6593118"/>
              <a:gd name="connsiteX5485" fmla="*/ 6381244 w 11490376"/>
              <a:gd name="connsiteY5485" fmla="*/ 2875171 h 6593118"/>
              <a:gd name="connsiteX5486" fmla="*/ 6433784 w 11490376"/>
              <a:gd name="connsiteY5486" fmla="*/ 2840135 h 6593118"/>
              <a:gd name="connsiteX5487" fmla="*/ 6479754 w 11490376"/>
              <a:gd name="connsiteY5487" fmla="*/ 2837946 h 6593118"/>
              <a:gd name="connsiteX5488" fmla="*/ 6532294 w 11490376"/>
              <a:gd name="connsiteY5488" fmla="*/ 2844514 h 6593118"/>
              <a:gd name="connsiteX5489" fmla="*/ 6565131 w 11490376"/>
              <a:gd name="connsiteY5489" fmla="*/ 2894879 h 6593118"/>
              <a:gd name="connsiteX5490" fmla="*/ 6565131 w 11490376"/>
              <a:gd name="connsiteY5490" fmla="*/ 2900125 h 6593118"/>
              <a:gd name="connsiteX5491" fmla="*/ 6570246 w 11490376"/>
              <a:gd name="connsiteY5491" fmla="*/ 2868857 h 6593118"/>
              <a:gd name="connsiteX5492" fmla="*/ 6565129 w 11490376"/>
              <a:gd name="connsiteY5492" fmla="*/ 2888312 h 6593118"/>
              <a:gd name="connsiteX5493" fmla="*/ 6532292 w 11490376"/>
              <a:gd name="connsiteY5493" fmla="*/ 2842325 h 6593118"/>
              <a:gd name="connsiteX5494" fmla="*/ 6516968 w 11490376"/>
              <a:gd name="connsiteY5494" fmla="*/ 2840136 h 6593118"/>
              <a:gd name="connsiteX5495" fmla="*/ 6549805 w 11490376"/>
              <a:gd name="connsiteY5495" fmla="*/ 2741597 h 6593118"/>
              <a:gd name="connsiteX5496" fmla="*/ 6576075 w 11490376"/>
              <a:gd name="connsiteY5496" fmla="*/ 2678093 h 6593118"/>
              <a:gd name="connsiteX5497" fmla="*/ 6588711 w 11490376"/>
              <a:gd name="connsiteY5497" fmla="*/ 2689402 h 6593118"/>
              <a:gd name="connsiteX5498" fmla="*/ 6579648 w 11490376"/>
              <a:gd name="connsiteY5498" fmla="*/ 2654806 h 6593118"/>
              <a:gd name="connsiteX5499" fmla="*/ 6589511 w 11490376"/>
              <a:gd name="connsiteY5499" fmla="*/ 2619663 h 6593118"/>
              <a:gd name="connsiteX5500" fmla="*/ 6591500 w 11490376"/>
              <a:gd name="connsiteY5500" fmla="*/ 2619196 h 6593118"/>
              <a:gd name="connsiteX5501" fmla="*/ 6580650 w 11490376"/>
              <a:gd name="connsiteY5501" fmla="*/ 2617038 h 6593118"/>
              <a:gd name="connsiteX5502" fmla="*/ 6561089 w 11490376"/>
              <a:gd name="connsiteY5502" fmla="*/ 2617038 h 6593118"/>
              <a:gd name="connsiteX5503" fmla="*/ 6514631 w 11490376"/>
              <a:gd name="connsiteY5503" fmla="*/ 2624331 h 6593118"/>
              <a:gd name="connsiteX5504" fmla="*/ 6470617 w 11490376"/>
              <a:gd name="connsiteY5504" fmla="*/ 2619469 h 6593118"/>
              <a:gd name="connsiteX5505" fmla="*/ 6431494 w 11490376"/>
              <a:gd name="connsiteY5505" fmla="*/ 2592727 h 6593118"/>
              <a:gd name="connsiteX5506" fmla="*/ 6411932 w 11490376"/>
              <a:gd name="connsiteY5506" fmla="*/ 2609745 h 6593118"/>
              <a:gd name="connsiteX5507" fmla="*/ 6397260 w 11490376"/>
              <a:gd name="connsiteY5507" fmla="*/ 2619469 h 6593118"/>
              <a:gd name="connsiteX5508" fmla="*/ 6372809 w 11490376"/>
              <a:gd name="connsiteY5508" fmla="*/ 2626762 h 6593118"/>
              <a:gd name="connsiteX5509" fmla="*/ 6353247 w 11490376"/>
              <a:gd name="connsiteY5509" fmla="*/ 2604883 h 6593118"/>
              <a:gd name="connsiteX5510" fmla="*/ 6323905 w 11490376"/>
              <a:gd name="connsiteY5510" fmla="*/ 2595159 h 6593118"/>
              <a:gd name="connsiteX5511" fmla="*/ 6319014 w 11490376"/>
              <a:gd name="connsiteY5511" fmla="*/ 2578142 h 6593118"/>
              <a:gd name="connsiteX5512" fmla="*/ 6304343 w 11490376"/>
              <a:gd name="connsiteY5512" fmla="*/ 2580573 h 6593118"/>
              <a:gd name="connsiteX5513" fmla="*/ 6292118 w 11490376"/>
              <a:gd name="connsiteY5513" fmla="*/ 2563555 h 6593118"/>
              <a:gd name="connsiteX5514" fmla="*/ 6292118 w 11490376"/>
              <a:gd name="connsiteY5514" fmla="*/ 2539246 h 6593118"/>
              <a:gd name="connsiteX5515" fmla="*/ 6279891 w 11490376"/>
              <a:gd name="connsiteY5515" fmla="*/ 2529521 h 6593118"/>
              <a:gd name="connsiteX5516" fmla="*/ 6282337 w 11490376"/>
              <a:gd name="connsiteY5516" fmla="*/ 2507642 h 6593118"/>
              <a:gd name="connsiteX5517" fmla="*/ 6265220 w 11490376"/>
              <a:gd name="connsiteY5517" fmla="*/ 2502780 h 6593118"/>
              <a:gd name="connsiteX5518" fmla="*/ 6272555 w 11490376"/>
              <a:gd name="connsiteY5518" fmla="*/ 2485764 h 6593118"/>
              <a:gd name="connsiteX5519" fmla="*/ 6277446 w 11490376"/>
              <a:gd name="connsiteY5519" fmla="*/ 2466315 h 6593118"/>
              <a:gd name="connsiteX5520" fmla="*/ 6299453 w 11490376"/>
              <a:gd name="connsiteY5520" fmla="*/ 2444436 h 6593118"/>
              <a:gd name="connsiteX5521" fmla="*/ 6309233 w 11490376"/>
              <a:gd name="connsiteY5521" fmla="*/ 2427418 h 6593118"/>
              <a:gd name="connsiteX5522" fmla="*/ 6336131 w 11490376"/>
              <a:gd name="connsiteY5522" fmla="*/ 2412833 h 6593118"/>
              <a:gd name="connsiteX5523" fmla="*/ 6311678 w 11490376"/>
              <a:gd name="connsiteY5523" fmla="*/ 2400677 h 6593118"/>
              <a:gd name="connsiteX5524" fmla="*/ 6348356 w 11490376"/>
              <a:gd name="connsiteY5524" fmla="*/ 2386092 h 6593118"/>
              <a:gd name="connsiteX5525" fmla="*/ 6375254 w 11490376"/>
              <a:gd name="connsiteY5525" fmla="*/ 2386092 h 6593118"/>
              <a:gd name="connsiteX5526" fmla="*/ 6421713 w 11490376"/>
              <a:gd name="connsiteY5526" fmla="*/ 2383661 h 6593118"/>
              <a:gd name="connsiteX5527" fmla="*/ 6455945 w 11490376"/>
              <a:gd name="connsiteY5527" fmla="*/ 2371505 h 6593118"/>
              <a:gd name="connsiteX5528" fmla="*/ 6504849 w 11490376"/>
              <a:gd name="connsiteY5528" fmla="*/ 2366643 h 6593118"/>
              <a:gd name="connsiteX5529" fmla="*/ 6539082 w 11490376"/>
              <a:gd name="connsiteY5529" fmla="*/ 2349626 h 6593118"/>
              <a:gd name="connsiteX5530" fmla="*/ 6570870 w 11490376"/>
              <a:gd name="connsiteY5530" fmla="*/ 2366643 h 6593118"/>
              <a:gd name="connsiteX5531" fmla="*/ 6595322 w 11490376"/>
              <a:gd name="connsiteY5531" fmla="*/ 2395815 h 6593118"/>
              <a:gd name="connsiteX5532" fmla="*/ 6622220 w 11490376"/>
              <a:gd name="connsiteY5532" fmla="*/ 2395815 h 6593118"/>
              <a:gd name="connsiteX5533" fmla="*/ 6658898 w 11490376"/>
              <a:gd name="connsiteY5533" fmla="*/ 2412833 h 6593118"/>
              <a:gd name="connsiteX5534" fmla="*/ 6688239 w 11490376"/>
              <a:gd name="connsiteY5534" fmla="*/ 2410402 h 6593118"/>
              <a:gd name="connsiteX5535" fmla="*/ 6759151 w 11490376"/>
              <a:gd name="connsiteY5535" fmla="*/ 2405540 h 6593118"/>
              <a:gd name="connsiteX5536" fmla="*/ 6778712 w 11490376"/>
              <a:gd name="connsiteY5536" fmla="*/ 2383661 h 6593118"/>
              <a:gd name="connsiteX5537" fmla="*/ 6822725 w 11490376"/>
              <a:gd name="connsiteY5537" fmla="*/ 2378798 h 6593118"/>
              <a:gd name="connsiteX5538" fmla="*/ 6854514 w 11490376"/>
              <a:gd name="connsiteY5538" fmla="*/ 2427418 h 6593118"/>
              <a:gd name="connsiteX5539" fmla="*/ 6877281 w 11490376"/>
              <a:gd name="connsiteY5539" fmla="*/ 2452113 h 6593118"/>
              <a:gd name="connsiteX5540" fmla="*/ 6855461 w 11490376"/>
              <a:gd name="connsiteY5540" fmla="*/ 2428233 h 6593118"/>
              <a:gd name="connsiteX5541" fmla="*/ 6824135 w 11490376"/>
              <a:gd name="connsiteY5541" fmla="*/ 2377470 h 6593118"/>
              <a:gd name="connsiteX5542" fmla="*/ 6779663 w 11490376"/>
              <a:gd name="connsiteY5542" fmla="*/ 2382203 h 6593118"/>
              <a:gd name="connsiteX5543" fmla="*/ 6772367 w 11490376"/>
              <a:gd name="connsiteY5543" fmla="*/ 2347773 h 6593118"/>
              <a:gd name="connsiteX5544" fmla="*/ 6755340 w 11490376"/>
              <a:gd name="connsiteY5544" fmla="*/ 2315803 h 6593118"/>
              <a:gd name="connsiteX5545" fmla="*/ 6706692 w 11490376"/>
              <a:gd name="connsiteY5545" fmla="*/ 2301048 h 6593118"/>
              <a:gd name="connsiteX5546" fmla="*/ 6672290 w 11490376"/>
              <a:gd name="connsiteY5546" fmla="*/ 2270902 h 6593118"/>
              <a:gd name="connsiteX5547" fmla="*/ 6671227 w 11490376"/>
              <a:gd name="connsiteY5547" fmla="*/ 2271519 h 6593118"/>
              <a:gd name="connsiteX5548" fmla="*/ 6644213 w 11490376"/>
              <a:gd name="connsiteY5548" fmla="*/ 2242053 h 6593118"/>
              <a:gd name="connsiteX5549" fmla="*/ 6597553 w 11490376"/>
              <a:gd name="connsiteY5549" fmla="*/ 2219955 h 6593118"/>
              <a:gd name="connsiteX5550" fmla="*/ 6607376 w 11490376"/>
              <a:gd name="connsiteY5550" fmla="*/ 2192944 h 6593118"/>
              <a:gd name="connsiteX5551" fmla="*/ 6639301 w 11490376"/>
              <a:gd name="connsiteY5551" fmla="*/ 2163479 h 6593118"/>
              <a:gd name="connsiteX5552" fmla="*/ 6673682 w 11490376"/>
              <a:gd name="connsiteY5552" fmla="*/ 2126647 h 6593118"/>
              <a:gd name="connsiteX5553" fmla="*/ 6659189 w 11490376"/>
              <a:gd name="connsiteY5553" fmla="*/ 2109741 h 6593118"/>
              <a:gd name="connsiteX5554" fmla="*/ 6591399 w 11490376"/>
              <a:gd name="connsiteY5554" fmla="*/ 2139408 h 6593118"/>
              <a:gd name="connsiteX5555" fmla="*/ 6562940 w 11490376"/>
              <a:gd name="connsiteY5555" fmla="*/ 2135028 h 6593118"/>
              <a:gd name="connsiteX5556" fmla="*/ 6545427 w 11490376"/>
              <a:gd name="connsiteY5556" fmla="*/ 2161305 h 6593118"/>
              <a:gd name="connsiteX5557" fmla="*/ 6523537 w 11490376"/>
              <a:gd name="connsiteY5557" fmla="*/ 2170064 h 6593118"/>
              <a:gd name="connsiteX5558" fmla="*/ 6576075 w 11490376"/>
              <a:gd name="connsiteY5558" fmla="*/ 2218240 h 6593118"/>
              <a:gd name="connsiteX5559" fmla="*/ 6516970 w 11490376"/>
              <a:gd name="connsiteY5559" fmla="*/ 2229188 h 6593118"/>
              <a:gd name="connsiteX5560" fmla="*/ 6484133 w 11490376"/>
              <a:gd name="connsiteY5560" fmla="*/ 2209480 h 6593118"/>
              <a:gd name="connsiteX5561" fmla="*/ 6497267 w 11490376"/>
              <a:gd name="connsiteY5561" fmla="*/ 2165685 h 6593118"/>
              <a:gd name="connsiteX5562" fmla="*/ 6451295 w 11490376"/>
              <a:gd name="connsiteY5562" fmla="*/ 2172255 h 6593118"/>
              <a:gd name="connsiteX5563" fmla="*/ 6440350 w 11490376"/>
              <a:gd name="connsiteY5563" fmla="*/ 2121889 h 6593118"/>
              <a:gd name="connsiteX5564" fmla="*/ 6403136 w 11490376"/>
              <a:gd name="connsiteY5564" fmla="*/ 2130649 h 6593118"/>
              <a:gd name="connsiteX5565" fmla="*/ 6383433 w 11490376"/>
              <a:gd name="connsiteY5565" fmla="*/ 2207291 h 6593118"/>
              <a:gd name="connsiteX5566" fmla="*/ 6354974 w 11490376"/>
              <a:gd name="connsiteY5566" fmla="*/ 2237948 h 6593118"/>
              <a:gd name="connsiteX5567" fmla="*/ 6368109 w 11490376"/>
              <a:gd name="connsiteY5567" fmla="*/ 2205101 h 6593118"/>
              <a:gd name="connsiteX5568" fmla="*/ 6374665 w 11490376"/>
              <a:gd name="connsiteY5568" fmla="*/ 2178866 h 6593118"/>
              <a:gd name="connsiteX5569" fmla="*/ 6368109 w 11490376"/>
              <a:gd name="connsiteY5569" fmla="*/ 2202913 h 6593118"/>
              <a:gd name="connsiteX5570" fmla="*/ 6352785 w 11490376"/>
              <a:gd name="connsiteY5570" fmla="*/ 2235758 h 6593118"/>
              <a:gd name="connsiteX5571" fmla="*/ 6335274 w 11490376"/>
              <a:gd name="connsiteY5571" fmla="*/ 2248897 h 6593118"/>
              <a:gd name="connsiteX5572" fmla="*/ 6319556 w 11490376"/>
              <a:gd name="connsiteY5572" fmla="*/ 2215357 h 6593118"/>
              <a:gd name="connsiteX5573" fmla="*/ 6326255 w 11490376"/>
              <a:gd name="connsiteY5573" fmla="*/ 2230581 h 6593118"/>
              <a:gd name="connsiteX5574" fmla="*/ 6321358 w 11490376"/>
              <a:gd name="connsiteY5574" fmla="*/ 2255312 h 6593118"/>
              <a:gd name="connsiteX5575" fmla="*/ 6294420 w 11490376"/>
              <a:gd name="connsiteY5575" fmla="*/ 2280044 h 6593118"/>
              <a:gd name="connsiteX5576" fmla="*/ 6262585 w 11490376"/>
              <a:gd name="connsiteY5576" fmla="*/ 2284990 h 6593118"/>
              <a:gd name="connsiteX5577" fmla="*/ 6211159 w 11490376"/>
              <a:gd name="connsiteY5577" fmla="*/ 2292409 h 6593118"/>
              <a:gd name="connsiteX5578" fmla="*/ 6201364 w 11490376"/>
              <a:gd name="connsiteY5578" fmla="*/ 2260258 h 6593118"/>
              <a:gd name="connsiteX5579" fmla="*/ 6162183 w 11490376"/>
              <a:gd name="connsiteY5579" fmla="*/ 2245419 h 6593118"/>
              <a:gd name="connsiteX5580" fmla="*/ 6160929 w 11490376"/>
              <a:gd name="connsiteY5580" fmla="*/ 2247318 h 6593118"/>
              <a:gd name="connsiteX5581" fmla="*/ 6200935 w 11490376"/>
              <a:gd name="connsiteY5581" fmla="*/ 2261329 h 6593118"/>
              <a:gd name="connsiteX5582" fmla="*/ 6210760 w 11490376"/>
              <a:gd name="connsiteY5582" fmla="*/ 2293010 h 6593118"/>
              <a:gd name="connsiteX5583" fmla="*/ 6259882 w 11490376"/>
              <a:gd name="connsiteY5583" fmla="*/ 2285698 h 6593118"/>
              <a:gd name="connsiteX5584" fmla="*/ 6294266 w 11490376"/>
              <a:gd name="connsiteY5584" fmla="*/ 2280825 h 6593118"/>
              <a:gd name="connsiteX5585" fmla="*/ 6306547 w 11490376"/>
              <a:gd name="connsiteY5585" fmla="*/ 2310069 h 6593118"/>
              <a:gd name="connsiteX5586" fmla="*/ 6294266 w 11490376"/>
              <a:gd name="connsiteY5586" fmla="*/ 2334440 h 6593118"/>
              <a:gd name="connsiteX5587" fmla="*/ 6279530 w 11490376"/>
              <a:gd name="connsiteY5587" fmla="*/ 2351499 h 6593118"/>
              <a:gd name="connsiteX5588" fmla="*/ 6291811 w 11490376"/>
              <a:gd name="connsiteY5588" fmla="*/ 2368557 h 6593118"/>
              <a:gd name="connsiteX5589" fmla="*/ 6257425 w 11490376"/>
              <a:gd name="connsiteY5589" fmla="*/ 2375868 h 6593118"/>
              <a:gd name="connsiteX5590" fmla="*/ 6228273 w 11490376"/>
              <a:gd name="connsiteY5590" fmla="*/ 2378094 h 6593118"/>
              <a:gd name="connsiteX5591" fmla="*/ 6229876 w 11490376"/>
              <a:gd name="connsiteY5591" fmla="*/ 2378094 h 6593118"/>
              <a:gd name="connsiteX5592" fmla="*/ 6229876 w 11490376"/>
              <a:gd name="connsiteY5592" fmla="*/ 2380115 h 6593118"/>
              <a:gd name="connsiteX5593" fmla="*/ 6258069 w 11490376"/>
              <a:gd name="connsiteY5593" fmla="*/ 2375903 h 6593118"/>
              <a:gd name="connsiteX5594" fmla="*/ 6297765 w 11490376"/>
              <a:gd name="connsiteY5594" fmla="*/ 2399991 h 6593118"/>
              <a:gd name="connsiteX5595" fmla="*/ 6270474 w 11490376"/>
              <a:gd name="connsiteY5595" fmla="*/ 2421670 h 6593118"/>
              <a:gd name="connsiteX5596" fmla="*/ 6240703 w 11490376"/>
              <a:gd name="connsiteY5596" fmla="*/ 2421670 h 6593118"/>
              <a:gd name="connsiteX5597" fmla="*/ 6226445 w 11490376"/>
              <a:gd name="connsiteY5597" fmla="*/ 2410134 h 6593118"/>
              <a:gd name="connsiteX5598" fmla="*/ 6207323 w 11490376"/>
              <a:gd name="connsiteY5598" fmla="*/ 2412199 h 6593118"/>
              <a:gd name="connsiteX5599" fmla="*/ 6194793 w 11490376"/>
              <a:gd name="connsiteY5599" fmla="*/ 2424380 h 6593118"/>
              <a:gd name="connsiteX5600" fmla="*/ 6182264 w 11490376"/>
              <a:gd name="connsiteY5600" fmla="*/ 2436561 h 6593118"/>
              <a:gd name="connsiteX5601" fmla="*/ 6192287 w 11490376"/>
              <a:gd name="connsiteY5601" fmla="*/ 2453614 h 6593118"/>
              <a:gd name="connsiteX5602" fmla="*/ 6164721 w 11490376"/>
              <a:gd name="connsiteY5602" fmla="*/ 2458487 h 6593118"/>
              <a:gd name="connsiteX5603" fmla="*/ 6154698 w 11490376"/>
              <a:gd name="connsiteY5603" fmla="*/ 2451178 h 6593118"/>
              <a:gd name="connsiteX5604" fmla="*/ 6142169 w 11490376"/>
              <a:gd name="connsiteY5604" fmla="*/ 2453614 h 6593118"/>
              <a:gd name="connsiteX5605" fmla="*/ 6154698 w 11490376"/>
              <a:gd name="connsiteY5605" fmla="*/ 2468231 h 6593118"/>
              <a:gd name="connsiteX5606" fmla="*/ 6137157 w 11490376"/>
              <a:gd name="connsiteY5606" fmla="*/ 2487719 h 6593118"/>
              <a:gd name="connsiteX5607" fmla="*/ 6162217 w 11490376"/>
              <a:gd name="connsiteY5607" fmla="*/ 2497464 h 6593118"/>
              <a:gd name="connsiteX5608" fmla="*/ 6194793 w 11490376"/>
              <a:gd name="connsiteY5608" fmla="*/ 2519389 h 6593118"/>
              <a:gd name="connsiteX5609" fmla="*/ 6202312 w 11490376"/>
              <a:gd name="connsiteY5609" fmla="*/ 2536443 h 6593118"/>
              <a:gd name="connsiteX5610" fmla="*/ 6189781 w 11490376"/>
              <a:gd name="connsiteY5610" fmla="*/ 2534006 h 6593118"/>
              <a:gd name="connsiteX5611" fmla="*/ 6154698 w 11490376"/>
              <a:gd name="connsiteY5611" fmla="*/ 2546187 h 6593118"/>
              <a:gd name="connsiteX5612" fmla="*/ 6167227 w 11490376"/>
              <a:gd name="connsiteY5612" fmla="*/ 2565675 h 6593118"/>
              <a:gd name="connsiteX5613" fmla="*/ 6107085 w 11490376"/>
              <a:gd name="connsiteY5613" fmla="*/ 2570547 h 6593118"/>
              <a:gd name="connsiteX5614" fmla="*/ 6107085 w 11490376"/>
              <a:gd name="connsiteY5614" fmla="*/ 2546187 h 6593118"/>
              <a:gd name="connsiteX5615" fmla="*/ 6082025 w 11490376"/>
              <a:gd name="connsiteY5615" fmla="*/ 2536443 h 6593118"/>
              <a:gd name="connsiteX5616" fmla="*/ 6107085 w 11490376"/>
              <a:gd name="connsiteY5616" fmla="*/ 2526698 h 6593118"/>
              <a:gd name="connsiteX5617" fmla="*/ 6122120 w 11490376"/>
              <a:gd name="connsiteY5617" fmla="*/ 2524261 h 6593118"/>
              <a:gd name="connsiteX5618" fmla="*/ 6127132 w 11490376"/>
              <a:gd name="connsiteY5618" fmla="*/ 2519389 h 6593118"/>
              <a:gd name="connsiteX5619" fmla="*/ 6082025 w 11490376"/>
              <a:gd name="connsiteY5619" fmla="*/ 2509645 h 6593118"/>
              <a:gd name="connsiteX5620" fmla="*/ 6077014 w 11490376"/>
              <a:gd name="connsiteY5620" fmla="*/ 2487719 h 6593118"/>
              <a:gd name="connsiteX5621" fmla="*/ 6044436 w 11490376"/>
              <a:gd name="connsiteY5621" fmla="*/ 2456050 h 6593118"/>
              <a:gd name="connsiteX5622" fmla="*/ 6041930 w 11490376"/>
              <a:gd name="connsiteY5622" fmla="*/ 2429252 h 6593118"/>
              <a:gd name="connsiteX5623" fmla="*/ 6074508 w 11490376"/>
              <a:gd name="connsiteY5623" fmla="*/ 2402455 h 6593118"/>
              <a:gd name="connsiteX5624" fmla="*/ 6075364 w 11490376"/>
              <a:gd name="connsiteY5624" fmla="*/ 2402757 h 6593118"/>
              <a:gd name="connsiteX5625" fmla="*/ 6068535 w 11490376"/>
              <a:gd name="connsiteY5625" fmla="*/ 2368752 h 6593118"/>
              <a:gd name="connsiteX5626" fmla="*/ 6048850 w 11490376"/>
              <a:gd name="connsiteY5626" fmla="*/ 2336889 h 6593118"/>
              <a:gd name="connsiteX5627" fmla="*/ 6029163 w 11490376"/>
              <a:gd name="connsiteY5627" fmla="*/ 2344242 h 6593118"/>
              <a:gd name="connsiteX5628" fmla="*/ 6034084 w 11490376"/>
              <a:gd name="connsiteY5628" fmla="*/ 2371202 h 6593118"/>
              <a:gd name="connsiteX5629" fmla="*/ 6002095 w 11490376"/>
              <a:gd name="connsiteY5629" fmla="*/ 2363849 h 6593118"/>
              <a:gd name="connsiteX5630" fmla="*/ 5975026 w 11490376"/>
              <a:gd name="connsiteY5630" fmla="*/ 2344242 h 6593118"/>
              <a:gd name="connsiteX5631" fmla="*/ 5950419 w 11490376"/>
              <a:gd name="connsiteY5631" fmla="*/ 2314831 h 6593118"/>
              <a:gd name="connsiteX5632" fmla="*/ 5928271 w 11490376"/>
              <a:gd name="connsiteY5632" fmla="*/ 2300125 h 6593118"/>
              <a:gd name="connsiteX5633" fmla="*/ 5891360 w 11490376"/>
              <a:gd name="connsiteY5633" fmla="*/ 2285420 h 6593118"/>
              <a:gd name="connsiteX5634" fmla="*/ 5891360 w 11490376"/>
              <a:gd name="connsiteY5634" fmla="*/ 2260910 h 6593118"/>
              <a:gd name="connsiteX5635" fmla="*/ 5859370 w 11490376"/>
              <a:gd name="connsiteY5635" fmla="*/ 2241303 h 6593118"/>
              <a:gd name="connsiteX5636" fmla="*/ 5849527 w 11490376"/>
              <a:gd name="connsiteY5636" fmla="*/ 2199637 h 6593118"/>
              <a:gd name="connsiteX5637" fmla="*/ 5837224 w 11490376"/>
              <a:gd name="connsiteY5637" fmla="*/ 2192284 h 6593118"/>
              <a:gd name="connsiteX5638" fmla="*/ 5815077 w 11490376"/>
              <a:gd name="connsiteY5638" fmla="*/ 2177579 h 6593118"/>
              <a:gd name="connsiteX5639" fmla="*/ 5807694 w 11490376"/>
              <a:gd name="connsiteY5639" fmla="*/ 2148167 h 6593118"/>
              <a:gd name="connsiteX5640" fmla="*/ 5866753 w 11490376"/>
              <a:gd name="connsiteY5640" fmla="*/ 2162873 h 6593118"/>
              <a:gd name="connsiteX5641" fmla="*/ 5898742 w 11490376"/>
              <a:gd name="connsiteY5641" fmla="*/ 2148167 h 6593118"/>
              <a:gd name="connsiteX5642" fmla="*/ 5913508 w 11490376"/>
              <a:gd name="connsiteY5642" fmla="*/ 2153069 h 6593118"/>
              <a:gd name="connsiteX5643" fmla="*/ 5950419 w 11490376"/>
              <a:gd name="connsiteY5643" fmla="*/ 2172677 h 6593118"/>
              <a:gd name="connsiteX5644" fmla="*/ 5992252 w 11490376"/>
              <a:gd name="connsiteY5644" fmla="*/ 2182480 h 6593118"/>
              <a:gd name="connsiteX5645" fmla="*/ 6014398 w 11490376"/>
              <a:gd name="connsiteY5645" fmla="*/ 2162873 h 6593118"/>
              <a:gd name="connsiteX5646" fmla="*/ 6040854 w 11490376"/>
              <a:gd name="connsiteY5646" fmla="*/ 2165269 h 6593118"/>
              <a:gd name="connsiteX5647" fmla="*/ 6039741 w 11490376"/>
              <a:gd name="connsiteY5647" fmla="*/ 2161332 h 6593118"/>
              <a:gd name="connsiteX5648" fmla="*/ 6040002 w 11490376"/>
              <a:gd name="connsiteY5648" fmla="*/ 2161257 h 6593118"/>
              <a:gd name="connsiteX5649" fmla="*/ 6014211 w 11490376"/>
              <a:gd name="connsiteY5649" fmla="*/ 2158942 h 6593118"/>
              <a:gd name="connsiteX5650" fmla="*/ 5991853 w 11490376"/>
              <a:gd name="connsiteY5650" fmla="*/ 2178562 h 6593118"/>
              <a:gd name="connsiteX5651" fmla="*/ 5949619 w 11490376"/>
              <a:gd name="connsiteY5651" fmla="*/ 2171204 h 6593118"/>
              <a:gd name="connsiteX5652" fmla="*/ 5912356 w 11490376"/>
              <a:gd name="connsiteY5652" fmla="*/ 2149131 h 6593118"/>
              <a:gd name="connsiteX5653" fmla="*/ 5897528 w 11490376"/>
              <a:gd name="connsiteY5653" fmla="*/ 2144252 h 6593118"/>
              <a:gd name="connsiteX5654" fmla="*/ 5896284 w 11490376"/>
              <a:gd name="connsiteY5654" fmla="*/ 2146015 h 6593118"/>
              <a:gd name="connsiteX5655" fmla="*/ 5864193 w 11490376"/>
              <a:gd name="connsiteY5655" fmla="*/ 2160998 h 6593118"/>
              <a:gd name="connsiteX5656" fmla="*/ 5804946 w 11490376"/>
              <a:gd name="connsiteY5656" fmla="*/ 2146015 h 6593118"/>
              <a:gd name="connsiteX5657" fmla="*/ 5785198 w 11490376"/>
              <a:gd name="connsiteY5657" fmla="*/ 2123542 h 6593118"/>
              <a:gd name="connsiteX5658" fmla="*/ 5761073 w 11490376"/>
              <a:gd name="connsiteY5658" fmla="*/ 2134805 h 6593118"/>
              <a:gd name="connsiteX5659" fmla="*/ 5784276 w 11490376"/>
              <a:gd name="connsiteY5659" fmla="*/ 2124080 h 6593118"/>
              <a:gd name="connsiteX5660" fmla="*/ 5803825 w 11490376"/>
              <a:gd name="connsiteY5660" fmla="*/ 2146106 h 6593118"/>
              <a:gd name="connsiteX5661" fmla="*/ 5811157 w 11490376"/>
              <a:gd name="connsiteY5661" fmla="*/ 2175474 h 6593118"/>
              <a:gd name="connsiteX5662" fmla="*/ 5794051 w 11490376"/>
              <a:gd name="connsiteY5662" fmla="*/ 2190159 h 6593118"/>
              <a:gd name="connsiteX5663" fmla="*/ 5784276 w 11490376"/>
              <a:gd name="connsiteY5663" fmla="*/ 2224422 h 6593118"/>
              <a:gd name="connsiteX5664" fmla="*/ 5784276 w 11490376"/>
              <a:gd name="connsiteY5664" fmla="*/ 2248896 h 6593118"/>
              <a:gd name="connsiteX5665" fmla="*/ 5798938 w 11490376"/>
              <a:gd name="connsiteY5665" fmla="*/ 2256239 h 6593118"/>
              <a:gd name="connsiteX5666" fmla="*/ 5820931 w 11490376"/>
              <a:gd name="connsiteY5666" fmla="*/ 2292949 h 6593118"/>
              <a:gd name="connsiteX5667" fmla="*/ 5847811 w 11490376"/>
              <a:gd name="connsiteY5667" fmla="*/ 2332108 h 6593118"/>
              <a:gd name="connsiteX5668" fmla="*/ 5891797 w 11490376"/>
              <a:gd name="connsiteY5668" fmla="*/ 2371266 h 6593118"/>
              <a:gd name="connsiteX5669" fmla="*/ 5913791 w 11490376"/>
              <a:gd name="connsiteY5669" fmla="*/ 2371266 h 6593118"/>
              <a:gd name="connsiteX5670" fmla="*/ 5930896 w 11490376"/>
              <a:gd name="connsiteY5670" fmla="*/ 2366371 h 6593118"/>
              <a:gd name="connsiteX5671" fmla="*/ 5933340 w 11490376"/>
              <a:gd name="connsiteY5671" fmla="*/ 2383502 h 6593118"/>
              <a:gd name="connsiteX5672" fmla="*/ 5945558 w 11490376"/>
              <a:gd name="connsiteY5672" fmla="*/ 2395740 h 6593118"/>
              <a:gd name="connsiteX5673" fmla="*/ 5952888 w 11490376"/>
              <a:gd name="connsiteY5673" fmla="*/ 2410425 h 6593118"/>
              <a:gd name="connsiteX5674" fmla="*/ 5972438 w 11490376"/>
              <a:gd name="connsiteY5674" fmla="*/ 2425109 h 6593118"/>
              <a:gd name="connsiteX5675" fmla="*/ 5987099 w 11490376"/>
              <a:gd name="connsiteY5675" fmla="*/ 2439793 h 6593118"/>
              <a:gd name="connsiteX5676" fmla="*/ 6006649 w 11490376"/>
              <a:gd name="connsiteY5676" fmla="*/ 2464267 h 6593118"/>
              <a:gd name="connsiteX5677" fmla="*/ 5994431 w 11490376"/>
              <a:gd name="connsiteY5677" fmla="*/ 2474057 h 6593118"/>
              <a:gd name="connsiteX5678" fmla="*/ 5965107 w 11490376"/>
              <a:gd name="connsiteY5678" fmla="*/ 2452029 h 6593118"/>
              <a:gd name="connsiteX5679" fmla="*/ 5943114 w 11490376"/>
              <a:gd name="connsiteY5679" fmla="*/ 2461819 h 6593118"/>
              <a:gd name="connsiteX5680" fmla="*/ 5935782 w 11490376"/>
              <a:gd name="connsiteY5680" fmla="*/ 2476503 h 6593118"/>
              <a:gd name="connsiteX5681" fmla="*/ 5950446 w 11490376"/>
              <a:gd name="connsiteY5681" fmla="*/ 2503424 h 6593118"/>
              <a:gd name="connsiteX5682" fmla="*/ 5935782 w 11490376"/>
              <a:gd name="connsiteY5682" fmla="*/ 2518108 h 6593118"/>
              <a:gd name="connsiteX5683" fmla="*/ 5926008 w 11490376"/>
              <a:gd name="connsiteY5683" fmla="*/ 2537688 h 6593118"/>
              <a:gd name="connsiteX5684" fmla="*/ 5906459 w 11490376"/>
              <a:gd name="connsiteY5684" fmla="*/ 2537688 h 6593118"/>
              <a:gd name="connsiteX5685" fmla="*/ 5908903 w 11490376"/>
              <a:gd name="connsiteY5685" fmla="*/ 2496083 h 6593118"/>
              <a:gd name="connsiteX5686" fmla="*/ 5908903 w 11490376"/>
              <a:gd name="connsiteY5686" fmla="*/ 2476503 h 6593118"/>
              <a:gd name="connsiteX5687" fmla="*/ 5884466 w 11490376"/>
              <a:gd name="connsiteY5687" fmla="*/ 2459372 h 6593118"/>
              <a:gd name="connsiteX5688" fmla="*/ 5872248 w 11490376"/>
              <a:gd name="connsiteY5688" fmla="*/ 2437345 h 6593118"/>
              <a:gd name="connsiteX5689" fmla="*/ 5852698 w 11490376"/>
              <a:gd name="connsiteY5689" fmla="*/ 2432450 h 6593118"/>
              <a:gd name="connsiteX5690" fmla="*/ 5852698 w 11490376"/>
              <a:gd name="connsiteY5690" fmla="*/ 2410425 h 6593118"/>
              <a:gd name="connsiteX5691" fmla="*/ 5801381 w 11490376"/>
              <a:gd name="connsiteY5691" fmla="*/ 2395740 h 6593118"/>
              <a:gd name="connsiteX5692" fmla="*/ 5769614 w 11490376"/>
              <a:gd name="connsiteY5692" fmla="*/ 2366371 h 6593118"/>
              <a:gd name="connsiteX5693" fmla="*/ 5750065 w 11490376"/>
              <a:gd name="connsiteY5693" fmla="*/ 2351687 h 6593118"/>
              <a:gd name="connsiteX5694" fmla="*/ 5730515 w 11490376"/>
              <a:gd name="connsiteY5694" fmla="*/ 2334554 h 6593118"/>
              <a:gd name="connsiteX5695" fmla="*/ 5718297 w 11490376"/>
              <a:gd name="connsiteY5695" fmla="*/ 2292949 h 6593118"/>
              <a:gd name="connsiteX5696" fmla="*/ 5708522 w 11490376"/>
              <a:gd name="connsiteY5696" fmla="*/ 2268475 h 6593118"/>
              <a:gd name="connsiteX5697" fmla="*/ 5666980 w 11490376"/>
              <a:gd name="connsiteY5697" fmla="*/ 2261134 h 6593118"/>
              <a:gd name="connsiteX5698" fmla="*/ 5659649 w 11490376"/>
              <a:gd name="connsiteY5698" fmla="*/ 2280712 h 6593118"/>
              <a:gd name="connsiteX5699" fmla="*/ 5623761 w 11490376"/>
              <a:gd name="connsiteY5699" fmla="*/ 2282959 h 6593118"/>
              <a:gd name="connsiteX5700" fmla="*/ 5604159 w 11490376"/>
              <a:gd name="connsiteY5700" fmla="*/ 2314863 h 6593118"/>
              <a:gd name="connsiteX5701" fmla="*/ 5577104 w 11490376"/>
              <a:gd name="connsiteY5701" fmla="*/ 2307472 h 6593118"/>
              <a:gd name="connsiteX5702" fmla="*/ 5554968 w 11490376"/>
              <a:gd name="connsiteY5702" fmla="*/ 2292692 h 6593118"/>
              <a:gd name="connsiteX5703" fmla="*/ 5525455 w 11490376"/>
              <a:gd name="connsiteY5703" fmla="*/ 2292692 h 6593118"/>
              <a:gd name="connsiteX5704" fmla="*/ 5495940 w 11490376"/>
              <a:gd name="connsiteY5704" fmla="*/ 2295156 h 6593118"/>
              <a:gd name="connsiteX5705" fmla="*/ 5483641 w 11490376"/>
              <a:gd name="connsiteY5705" fmla="*/ 2322253 h 6593118"/>
              <a:gd name="connsiteX5706" fmla="*/ 5491021 w 11490376"/>
              <a:gd name="connsiteY5706" fmla="*/ 2349352 h 6593118"/>
              <a:gd name="connsiteX5707" fmla="*/ 5422153 w 11490376"/>
              <a:gd name="connsiteY5707" fmla="*/ 2349352 h 6593118"/>
              <a:gd name="connsiteX5708" fmla="*/ 5397559 w 11490376"/>
              <a:gd name="connsiteY5708" fmla="*/ 2329644 h 6593118"/>
              <a:gd name="connsiteX5709" fmla="*/ 5348367 w 11490376"/>
              <a:gd name="connsiteY5709" fmla="*/ 2327180 h 6593118"/>
              <a:gd name="connsiteX5710" fmla="*/ 5301637 w 11490376"/>
              <a:gd name="connsiteY5710" fmla="*/ 2312400 h 6593118"/>
              <a:gd name="connsiteX5711" fmla="*/ 5313934 w 11490376"/>
              <a:gd name="connsiteY5711" fmla="*/ 2287764 h 6593118"/>
              <a:gd name="connsiteX5712" fmla="*/ 5323772 w 11490376"/>
              <a:gd name="connsiteY5712" fmla="*/ 2201542 h 6593118"/>
              <a:gd name="connsiteX5713" fmla="*/ 5343449 w 11490376"/>
              <a:gd name="connsiteY5713" fmla="*/ 2191688 h 6593118"/>
              <a:gd name="connsiteX5714" fmla="*/ 5323772 w 11490376"/>
              <a:gd name="connsiteY5714" fmla="*/ 2169517 h 6593118"/>
              <a:gd name="connsiteX5715" fmla="*/ 5309015 w 11490376"/>
              <a:gd name="connsiteY5715" fmla="*/ 2135028 h 6593118"/>
              <a:gd name="connsiteX5716" fmla="*/ 5289338 w 11490376"/>
              <a:gd name="connsiteY5716" fmla="*/ 2112857 h 6593118"/>
              <a:gd name="connsiteX5717" fmla="*/ 5269663 w 11490376"/>
              <a:gd name="connsiteY5717" fmla="*/ 2103002 h 6593118"/>
              <a:gd name="connsiteX5718" fmla="*/ 5225396 w 11490376"/>
              <a:gd name="connsiteY5718" fmla="*/ 2080832 h 6593118"/>
              <a:gd name="connsiteX5719" fmla="*/ 5225396 w 11490376"/>
              <a:gd name="connsiteY5719" fmla="*/ 2066050 h 6593118"/>
              <a:gd name="connsiteX5720" fmla="*/ 5225396 w 11490376"/>
              <a:gd name="connsiteY5720" fmla="*/ 2056196 h 6593118"/>
              <a:gd name="connsiteX5721" fmla="*/ 5262283 w 11490376"/>
              <a:gd name="connsiteY5721" fmla="*/ 2051269 h 6593118"/>
              <a:gd name="connsiteX5722" fmla="*/ 5267203 w 11490376"/>
              <a:gd name="connsiteY5722" fmla="*/ 2046342 h 6593118"/>
              <a:gd name="connsiteX5723" fmla="*/ 5281960 w 11490376"/>
              <a:gd name="connsiteY5723" fmla="*/ 2036488 h 6593118"/>
              <a:gd name="connsiteX5724" fmla="*/ 5313934 w 11490376"/>
              <a:gd name="connsiteY5724" fmla="*/ 2034025 h 6593118"/>
              <a:gd name="connsiteX5725" fmla="*/ 5318853 w 11490376"/>
              <a:gd name="connsiteY5725" fmla="*/ 2014317 h 6593118"/>
              <a:gd name="connsiteX5726" fmla="*/ 5309015 w 11490376"/>
              <a:gd name="connsiteY5726" fmla="*/ 1994609 h 6593118"/>
              <a:gd name="connsiteX5727" fmla="*/ 5328691 w 11490376"/>
              <a:gd name="connsiteY5727" fmla="*/ 1989682 h 6593118"/>
              <a:gd name="connsiteX5728" fmla="*/ 5348367 w 11490376"/>
              <a:gd name="connsiteY5728" fmla="*/ 2009389 h 6593118"/>
              <a:gd name="connsiteX5729" fmla="*/ 5375422 w 11490376"/>
              <a:gd name="connsiteY5729" fmla="*/ 2006926 h 6593118"/>
              <a:gd name="connsiteX5730" fmla="*/ 5380341 w 11490376"/>
              <a:gd name="connsiteY5730" fmla="*/ 1984754 h 6593118"/>
              <a:gd name="connsiteX5731" fmla="*/ 5407396 w 11490376"/>
              <a:gd name="connsiteY5731" fmla="*/ 1989682 h 6593118"/>
              <a:gd name="connsiteX5732" fmla="*/ 5417234 w 11490376"/>
              <a:gd name="connsiteY5732" fmla="*/ 1969974 h 6593118"/>
              <a:gd name="connsiteX5733" fmla="*/ 5434452 w 11490376"/>
              <a:gd name="connsiteY5733" fmla="*/ 1955193 h 6593118"/>
              <a:gd name="connsiteX5734" fmla="*/ 5444289 w 11490376"/>
              <a:gd name="connsiteY5734" fmla="*/ 1925630 h 6593118"/>
              <a:gd name="connsiteX5735" fmla="*/ 5474978 w 11490376"/>
              <a:gd name="connsiteY5735" fmla="*/ 1919044 h 6593118"/>
              <a:gd name="connsiteX5736" fmla="*/ 5475508 w 11490376"/>
              <a:gd name="connsiteY5736" fmla="*/ 1916916 h 6593118"/>
              <a:gd name="connsiteX5737" fmla="*/ 5512536 w 11490376"/>
              <a:gd name="connsiteY5737" fmla="*/ 1916916 h 6593118"/>
              <a:gd name="connsiteX5738" fmla="*/ 5517744 w 11490376"/>
              <a:gd name="connsiteY5738" fmla="*/ 1914956 h 6593118"/>
              <a:gd name="connsiteX5739" fmla="*/ 5526154 w 11490376"/>
              <a:gd name="connsiteY5739" fmla="*/ 1888558 h 6593118"/>
              <a:gd name="connsiteX5740" fmla="*/ 5521348 w 11490376"/>
              <a:gd name="connsiteY5740" fmla="*/ 1881015 h 6593118"/>
              <a:gd name="connsiteX5741" fmla="*/ 5535763 w 11490376"/>
              <a:gd name="connsiteY5741" fmla="*/ 1840789 h 6593118"/>
              <a:gd name="connsiteX5742" fmla="*/ 5554986 w 11490376"/>
              <a:gd name="connsiteY5742" fmla="*/ 1853359 h 6593118"/>
              <a:gd name="connsiteX5743" fmla="*/ 5559790 w 11490376"/>
              <a:gd name="connsiteY5743" fmla="*/ 1838274 h 6593118"/>
              <a:gd name="connsiteX5744" fmla="*/ 5559790 w 11490376"/>
              <a:gd name="connsiteY5744" fmla="*/ 1833246 h 6593118"/>
              <a:gd name="connsiteX5745" fmla="*/ 5569402 w 11490376"/>
              <a:gd name="connsiteY5745" fmla="*/ 1820675 h 6593118"/>
              <a:gd name="connsiteX5746" fmla="*/ 5612650 w 11490376"/>
              <a:gd name="connsiteY5746" fmla="*/ 1813132 h 6593118"/>
              <a:gd name="connsiteX5747" fmla="*/ 5612650 w 11490376"/>
              <a:gd name="connsiteY5747" fmla="*/ 1850844 h 6593118"/>
              <a:gd name="connsiteX5748" fmla="*/ 5593428 w 11490376"/>
              <a:gd name="connsiteY5748" fmla="*/ 1886043 h 6593118"/>
              <a:gd name="connsiteX5749" fmla="*/ 5569402 w 11490376"/>
              <a:gd name="connsiteY5749" fmla="*/ 1903643 h 6593118"/>
              <a:gd name="connsiteX5750" fmla="*/ 5562193 w 11490376"/>
              <a:gd name="connsiteY5750" fmla="*/ 1946384 h 6593118"/>
              <a:gd name="connsiteX5751" fmla="*/ 5557389 w 11490376"/>
              <a:gd name="connsiteY5751" fmla="*/ 1913700 h 6593118"/>
              <a:gd name="connsiteX5752" fmla="*/ 5535763 w 11490376"/>
              <a:gd name="connsiteY5752" fmla="*/ 1908672 h 6593118"/>
              <a:gd name="connsiteX5753" fmla="*/ 5533637 w 11490376"/>
              <a:gd name="connsiteY5753" fmla="*/ 1909784 h 6593118"/>
              <a:gd name="connsiteX5754" fmla="*/ 5554502 w 11490376"/>
              <a:gd name="connsiteY5754" fmla="*/ 1914438 h 6593118"/>
              <a:gd name="connsiteX5755" fmla="*/ 5561909 w 11490376"/>
              <a:gd name="connsiteY5755" fmla="*/ 1946651 h 6593118"/>
              <a:gd name="connsiteX5756" fmla="*/ 5584126 w 11490376"/>
              <a:gd name="connsiteY5756" fmla="*/ 1956563 h 6593118"/>
              <a:gd name="connsiteX5757" fmla="*/ 5573920 w 11490376"/>
              <a:gd name="connsiteY5757" fmla="*/ 1967946 h 6593118"/>
              <a:gd name="connsiteX5758" fmla="*/ 5580027 w 11490376"/>
              <a:gd name="connsiteY5758" fmla="*/ 1988314 h 6593118"/>
              <a:gd name="connsiteX5759" fmla="*/ 5600309 w 11490376"/>
              <a:gd name="connsiteY5759" fmla="*/ 1997535 h 6593118"/>
              <a:gd name="connsiteX5760" fmla="*/ 5604349 w 11490376"/>
              <a:gd name="connsiteY5760" fmla="*/ 1997322 h 6593118"/>
              <a:gd name="connsiteX5761" fmla="*/ 5582071 w 11490376"/>
              <a:gd name="connsiteY5761" fmla="*/ 1981514 h 6593118"/>
              <a:gd name="connsiteX5762" fmla="*/ 5584515 w 11490376"/>
              <a:gd name="connsiteY5762" fmla="*/ 1956734 h 6593118"/>
              <a:gd name="connsiteX5763" fmla="*/ 5562514 w 11490376"/>
              <a:gd name="connsiteY5763" fmla="*/ 1946823 h 6593118"/>
              <a:gd name="connsiteX5764" fmla="*/ 5569849 w 11490376"/>
              <a:gd name="connsiteY5764" fmla="*/ 1904698 h 6593118"/>
              <a:gd name="connsiteX5765" fmla="*/ 5594293 w 11490376"/>
              <a:gd name="connsiteY5765" fmla="*/ 1887354 h 6593118"/>
              <a:gd name="connsiteX5766" fmla="*/ 5613850 w 11490376"/>
              <a:gd name="connsiteY5766" fmla="*/ 1852663 h 6593118"/>
              <a:gd name="connsiteX5767" fmla="*/ 5613850 w 11490376"/>
              <a:gd name="connsiteY5767" fmla="*/ 1815495 h 6593118"/>
              <a:gd name="connsiteX5768" fmla="*/ 5655406 w 11490376"/>
              <a:gd name="connsiteY5768" fmla="*/ 1800627 h 6593118"/>
              <a:gd name="connsiteX5769" fmla="*/ 5667629 w 11490376"/>
              <a:gd name="connsiteY5769" fmla="*/ 1800627 h 6593118"/>
              <a:gd name="connsiteX5770" fmla="*/ 5667629 w 11490376"/>
              <a:gd name="connsiteY5770" fmla="*/ 1785760 h 6593118"/>
              <a:gd name="connsiteX5771" fmla="*/ 5667629 w 11490376"/>
              <a:gd name="connsiteY5771" fmla="*/ 1748591 h 6593118"/>
              <a:gd name="connsiteX5772" fmla="*/ 5669979 w 11490376"/>
              <a:gd name="connsiteY5772" fmla="*/ 1748031 h 6593118"/>
              <a:gd name="connsiteX5773" fmla="*/ 5656703 w 11490376"/>
              <a:gd name="connsiteY5773" fmla="*/ 1717512 h 6593118"/>
              <a:gd name="connsiteX5774" fmla="*/ 5636944 w 11490376"/>
              <a:gd name="connsiteY5774" fmla="*/ 1705346 h 6593118"/>
              <a:gd name="connsiteX5775" fmla="*/ 5636944 w 11490376"/>
              <a:gd name="connsiteY5775" fmla="*/ 1646952 h 6593118"/>
              <a:gd name="connsiteX5776" fmla="*/ 5681400 w 11490376"/>
              <a:gd name="connsiteY5776" fmla="*/ 1642086 h 6593118"/>
              <a:gd name="connsiteX5777" fmla="*/ 5703628 w 11490376"/>
              <a:gd name="connsiteY5777" fmla="*/ 1600724 h 6593118"/>
              <a:gd name="connsiteX5778" fmla="*/ 5730795 w 11490376"/>
              <a:gd name="connsiteY5778" fmla="*/ 1642086 h 6593118"/>
              <a:gd name="connsiteX5779" fmla="*/ 5706098 w 11490376"/>
              <a:gd name="connsiteY5779" fmla="*/ 1702914 h 6593118"/>
              <a:gd name="connsiteX5780" fmla="*/ 5711036 w 11490376"/>
              <a:gd name="connsiteY5780" fmla="*/ 1741843 h 6593118"/>
              <a:gd name="connsiteX5781" fmla="*/ 5710778 w 11490376"/>
              <a:gd name="connsiteY5781" fmla="*/ 1741906 h 6593118"/>
              <a:gd name="connsiteX5782" fmla="*/ 5723852 w 11490376"/>
              <a:gd name="connsiteY5782" fmla="*/ 1768415 h 6593118"/>
              <a:gd name="connsiteX5783" fmla="*/ 5740964 w 11490376"/>
              <a:gd name="connsiteY5783" fmla="*/ 1788238 h 6593118"/>
              <a:gd name="connsiteX5784" fmla="*/ 5826522 w 11490376"/>
              <a:gd name="connsiteY5784" fmla="*/ 1773371 h 6593118"/>
              <a:gd name="connsiteX5785" fmla="*/ 5838744 w 11490376"/>
              <a:gd name="connsiteY5785" fmla="*/ 1783282 h 6593118"/>
              <a:gd name="connsiteX5786" fmla="*/ 5831411 w 11490376"/>
              <a:gd name="connsiteY5786" fmla="*/ 1855140 h 6593118"/>
              <a:gd name="connsiteX5787" fmla="*/ 5853411 w 11490376"/>
              <a:gd name="connsiteY5787" fmla="*/ 1919567 h 6593118"/>
              <a:gd name="connsiteX5788" fmla="*/ 5755630 w 11490376"/>
              <a:gd name="connsiteY5788" fmla="*/ 1961691 h 6593118"/>
              <a:gd name="connsiteX5789" fmla="*/ 5799267 w 11490376"/>
              <a:gd name="connsiteY5789" fmla="*/ 2009769 h 6593118"/>
              <a:gd name="connsiteX5790" fmla="*/ 5757345 w 11490376"/>
              <a:gd name="connsiteY5790" fmla="*/ 1961813 h 6593118"/>
              <a:gd name="connsiteX5791" fmla="*/ 5854171 w 11490376"/>
              <a:gd name="connsiteY5791" fmla="*/ 1922620 h 6593118"/>
              <a:gd name="connsiteX5792" fmla="*/ 5885640 w 11490376"/>
              <a:gd name="connsiteY5792" fmla="*/ 1944666 h 6593118"/>
              <a:gd name="connsiteX5793" fmla="*/ 5970364 w 11490376"/>
              <a:gd name="connsiteY5793" fmla="*/ 1974062 h 6593118"/>
              <a:gd name="connsiteX5794" fmla="*/ 6005396 w 11490376"/>
              <a:gd name="connsiteY5794" fmla="*/ 1995332 h 6593118"/>
              <a:gd name="connsiteX5795" fmla="*/ 6008347 w 11490376"/>
              <a:gd name="connsiteY5795" fmla="*/ 1993335 h 6593118"/>
              <a:gd name="connsiteX5796" fmla="*/ 6127022 w 11490376"/>
              <a:gd name="connsiteY5796" fmla="*/ 1988314 h 6593118"/>
              <a:gd name="connsiteX5797" fmla="*/ 6119257 w 11490376"/>
              <a:gd name="connsiteY5797" fmla="*/ 2051378 h 6593118"/>
              <a:gd name="connsiteX5798" fmla="*/ 6127306 w 11490376"/>
              <a:gd name="connsiteY5798" fmla="*/ 1988313 h 6593118"/>
              <a:gd name="connsiteX5799" fmla="*/ 6153576 w 11490376"/>
              <a:gd name="connsiteY5799" fmla="*/ 1966416 h 6593118"/>
              <a:gd name="connsiteX5800" fmla="*/ 6151387 w 11490376"/>
              <a:gd name="connsiteY5800" fmla="*/ 1902912 h 6593118"/>
              <a:gd name="connsiteX5801" fmla="*/ 6154042 w 11490376"/>
              <a:gd name="connsiteY5801" fmla="*/ 1902612 h 6593118"/>
              <a:gd name="connsiteX5802" fmla="*/ 6151612 w 11490376"/>
              <a:gd name="connsiteY5802" fmla="*/ 1862993 h 6593118"/>
              <a:gd name="connsiteX5803" fmla="*/ 6148616 w 11490376"/>
              <a:gd name="connsiteY5803" fmla="*/ 1862993 h 6593118"/>
              <a:gd name="connsiteX5804" fmla="*/ 6150855 w 11490376"/>
              <a:gd name="connsiteY5804" fmla="*/ 1898909 h 6593118"/>
              <a:gd name="connsiteX5805" fmla="*/ 6153310 w 11490376"/>
              <a:gd name="connsiteY5805" fmla="*/ 1965353 h 6593118"/>
              <a:gd name="connsiteX5806" fmla="*/ 6126310 w 11490376"/>
              <a:gd name="connsiteY5806" fmla="*/ 1985040 h 6593118"/>
              <a:gd name="connsiteX5807" fmla="*/ 6067404 w 11490376"/>
              <a:gd name="connsiteY5807" fmla="*/ 1989962 h 6593118"/>
              <a:gd name="connsiteX5808" fmla="*/ 6010951 w 11490376"/>
              <a:gd name="connsiteY5808" fmla="*/ 1992423 h 6593118"/>
              <a:gd name="connsiteX5809" fmla="*/ 5971679 w 11490376"/>
              <a:gd name="connsiteY5809" fmla="*/ 1970275 h 6593118"/>
              <a:gd name="connsiteX5810" fmla="*/ 5888228 w 11490376"/>
              <a:gd name="connsiteY5810" fmla="*/ 1943204 h 6593118"/>
              <a:gd name="connsiteX5811" fmla="*/ 5853866 w 11490376"/>
              <a:gd name="connsiteY5811" fmla="*/ 1918596 h 6593118"/>
              <a:gd name="connsiteX5812" fmla="*/ 5831775 w 11490376"/>
              <a:gd name="connsiteY5812" fmla="*/ 1854613 h 6593118"/>
              <a:gd name="connsiteX5813" fmla="*/ 5839139 w 11490376"/>
              <a:gd name="connsiteY5813" fmla="*/ 1783247 h 6593118"/>
              <a:gd name="connsiteX5814" fmla="*/ 5937316 w 11490376"/>
              <a:gd name="connsiteY5814" fmla="*/ 1736491 h 6593118"/>
              <a:gd name="connsiteX5815" fmla="*/ 5971679 w 11490376"/>
              <a:gd name="connsiteY5815" fmla="*/ 1753717 h 6593118"/>
              <a:gd name="connsiteX5816" fmla="*/ 6020768 w 11490376"/>
              <a:gd name="connsiteY5816" fmla="*/ 1743873 h 6593118"/>
              <a:gd name="connsiteX5817" fmla="*/ 6023647 w 11490376"/>
              <a:gd name="connsiteY5817" fmla="*/ 1745076 h 6593118"/>
              <a:gd name="connsiteX5818" fmla="*/ 6055066 w 11490376"/>
              <a:gd name="connsiteY5818" fmla="*/ 1692694 h 6593118"/>
              <a:gd name="connsiteX5819" fmla="*/ 6070390 w 11490376"/>
              <a:gd name="connsiteY5819" fmla="*/ 1651089 h 6593118"/>
              <a:gd name="connsiteX5820" fmla="*/ 6090092 w 11490376"/>
              <a:gd name="connsiteY5820" fmla="*/ 1651089 h 6593118"/>
              <a:gd name="connsiteX5821" fmla="*/ 6106472 w 11490376"/>
              <a:gd name="connsiteY5821" fmla="*/ 1648502 h 6593118"/>
              <a:gd name="connsiteX5822" fmla="*/ 6070904 w 11490376"/>
              <a:gd name="connsiteY5822" fmla="*/ 1649993 h 6593118"/>
              <a:gd name="connsiteX5823" fmla="*/ 6066010 w 11490376"/>
              <a:gd name="connsiteY5823" fmla="*/ 1588406 h 6593118"/>
              <a:gd name="connsiteX5824" fmla="*/ 6090477 w 11490376"/>
              <a:gd name="connsiteY5824" fmla="*/ 1563772 h 6593118"/>
              <a:gd name="connsiteX5825" fmla="*/ 6117391 w 11490376"/>
              <a:gd name="connsiteY5825" fmla="*/ 1603188 h 6593118"/>
              <a:gd name="connsiteX5826" fmla="*/ 6156536 w 11490376"/>
              <a:gd name="connsiteY5826" fmla="*/ 1603188 h 6593118"/>
              <a:gd name="connsiteX5827" fmla="*/ 6163877 w 11490376"/>
              <a:gd name="connsiteY5827" fmla="*/ 1568698 h 6593118"/>
              <a:gd name="connsiteX5828" fmla="*/ 6136964 w 11490376"/>
              <a:gd name="connsiteY5828" fmla="*/ 1556381 h 6593118"/>
              <a:gd name="connsiteX5829" fmla="*/ 6127178 w 11490376"/>
              <a:gd name="connsiteY5829" fmla="*/ 1526820 h 6593118"/>
              <a:gd name="connsiteX5830" fmla="*/ 6174232 w 11490376"/>
              <a:gd name="connsiteY5830" fmla="*/ 1523310 h 6593118"/>
              <a:gd name="connsiteX5831" fmla="*/ 6127306 w 11490376"/>
              <a:gd name="connsiteY5831" fmla="*/ 1525071 h 6593118"/>
              <a:gd name="connsiteX5832" fmla="*/ 6154139 w 11490376"/>
              <a:gd name="connsiteY5832" fmla="*/ 1502820 h 6593118"/>
              <a:gd name="connsiteX5833" fmla="*/ 6200485 w 11490376"/>
              <a:gd name="connsiteY5833" fmla="*/ 1478097 h 6593118"/>
              <a:gd name="connsiteX5834" fmla="*/ 6256589 w 11490376"/>
              <a:gd name="connsiteY5834" fmla="*/ 1497875 h 6593118"/>
              <a:gd name="connsiteX5835" fmla="*/ 6264252 w 11490376"/>
              <a:gd name="connsiteY5835" fmla="*/ 1508554 h 6593118"/>
              <a:gd name="connsiteX5836" fmla="*/ 6258652 w 11490376"/>
              <a:gd name="connsiteY5836" fmla="*/ 1500506 h 6593118"/>
              <a:gd name="connsiteX5837" fmla="*/ 6280754 w 11490376"/>
              <a:gd name="connsiteY5837" fmla="*/ 1493139 h 6593118"/>
              <a:gd name="connsiteX5838" fmla="*/ 6280200 w 11490376"/>
              <a:gd name="connsiteY5838" fmla="*/ 1483715 h 6593118"/>
              <a:gd name="connsiteX5839" fmla="*/ 6245314 w 11490376"/>
              <a:gd name="connsiteY5839" fmla="*/ 1432645 h 6593118"/>
              <a:gd name="connsiteX5840" fmla="*/ 6201091 w 11490376"/>
              <a:gd name="connsiteY5840" fmla="*/ 1440001 h 6593118"/>
              <a:gd name="connsiteX5841" fmla="*/ 6176522 w 11490376"/>
              <a:gd name="connsiteY5841" fmla="*/ 1462071 h 6593118"/>
              <a:gd name="connsiteX5842" fmla="*/ 6117556 w 11490376"/>
              <a:gd name="connsiteY5842" fmla="*/ 1457166 h 6593118"/>
              <a:gd name="connsiteX5843" fmla="*/ 6073333 w 11490376"/>
              <a:gd name="connsiteY5843" fmla="*/ 1427741 h 6593118"/>
              <a:gd name="connsiteX5844" fmla="*/ 6056136 w 11490376"/>
              <a:gd name="connsiteY5844" fmla="*/ 1386054 h 6593118"/>
              <a:gd name="connsiteX5845" fmla="*/ 6046308 w 11490376"/>
              <a:gd name="connsiteY5845" fmla="*/ 1349271 h 6593118"/>
              <a:gd name="connsiteX5846" fmla="*/ 6053679 w 11490376"/>
              <a:gd name="connsiteY5846" fmla="*/ 1280610 h 6593118"/>
              <a:gd name="connsiteX5847" fmla="*/ 6097902 w 11490376"/>
              <a:gd name="connsiteY5847" fmla="*/ 1263445 h 6593118"/>
              <a:gd name="connsiteX5848" fmla="*/ 6127384 w 11490376"/>
              <a:gd name="connsiteY5848" fmla="*/ 1234018 h 6593118"/>
              <a:gd name="connsiteX5849" fmla="*/ 6137212 w 11490376"/>
              <a:gd name="connsiteY5849" fmla="*/ 1192332 h 6593118"/>
              <a:gd name="connsiteX5850" fmla="*/ 6188806 w 11490376"/>
              <a:gd name="connsiteY5850" fmla="*/ 1197235 h 6593118"/>
              <a:gd name="connsiteX5851" fmla="*/ 6159324 w 11490376"/>
              <a:gd name="connsiteY5851" fmla="*/ 1145740 h 6593118"/>
              <a:gd name="connsiteX5852" fmla="*/ 6093186 w 11490376"/>
              <a:gd name="connsiteY5852" fmla="*/ 1143295 h 6593118"/>
              <a:gd name="connsiteX5853" fmla="*/ 6091636 w 11490376"/>
              <a:gd name="connsiteY5853" fmla="*/ 1144385 h 6593118"/>
              <a:gd name="connsiteX5854" fmla="*/ 6064724 w 11490376"/>
              <a:gd name="connsiteY5854" fmla="*/ 1166515 h 6593118"/>
              <a:gd name="connsiteX5855" fmla="*/ 6054937 w 11490376"/>
              <a:gd name="connsiteY5855" fmla="*/ 1208318 h 6593118"/>
              <a:gd name="connsiteX5856" fmla="*/ 6054937 w 11490376"/>
              <a:gd name="connsiteY5856" fmla="*/ 1235366 h 6593118"/>
              <a:gd name="connsiteX5857" fmla="*/ 6018237 w 11490376"/>
              <a:gd name="connsiteY5857" fmla="*/ 1259955 h 6593118"/>
              <a:gd name="connsiteX5858" fmla="*/ 5998663 w 11490376"/>
              <a:gd name="connsiteY5858" fmla="*/ 1287003 h 6593118"/>
              <a:gd name="connsiteX5859" fmla="*/ 5949731 w 11490376"/>
              <a:gd name="connsiteY5859" fmla="*/ 1296839 h 6593118"/>
              <a:gd name="connsiteX5860" fmla="*/ 5930157 w 11490376"/>
              <a:gd name="connsiteY5860" fmla="*/ 1336183 h 6593118"/>
              <a:gd name="connsiteX5861" fmla="*/ 5930157 w 11490376"/>
              <a:gd name="connsiteY5861" fmla="*/ 1405033 h 6593118"/>
              <a:gd name="connsiteX5862" fmla="*/ 5957071 w 11490376"/>
              <a:gd name="connsiteY5862" fmla="*/ 1437000 h 6593118"/>
              <a:gd name="connsiteX5863" fmla="*/ 5971750 w 11490376"/>
              <a:gd name="connsiteY5863" fmla="*/ 1464048 h 6593118"/>
              <a:gd name="connsiteX5864" fmla="*/ 5913031 w 11490376"/>
              <a:gd name="connsiteY5864" fmla="*/ 1491096 h 6593118"/>
              <a:gd name="connsiteX5865" fmla="*/ 5939944 w 11490376"/>
              <a:gd name="connsiteY5865" fmla="*/ 1491096 h 6593118"/>
              <a:gd name="connsiteX5866" fmla="*/ 5957071 w 11490376"/>
              <a:gd name="connsiteY5866" fmla="*/ 1505849 h 6593118"/>
              <a:gd name="connsiteX5867" fmla="*/ 5964410 w 11490376"/>
              <a:gd name="connsiteY5867" fmla="*/ 1532899 h 6593118"/>
              <a:gd name="connsiteX5868" fmla="*/ 5944838 w 11490376"/>
              <a:gd name="connsiteY5868" fmla="*/ 1547653 h 6593118"/>
              <a:gd name="connsiteX5869" fmla="*/ 5917924 w 11490376"/>
              <a:gd name="connsiteY5869" fmla="*/ 1574701 h 6593118"/>
              <a:gd name="connsiteX5870" fmla="*/ 5917924 w 11490376"/>
              <a:gd name="connsiteY5870" fmla="*/ 1623879 h 6593118"/>
              <a:gd name="connsiteX5871" fmla="*/ 5891010 w 11490376"/>
              <a:gd name="connsiteY5871" fmla="*/ 1641093 h 6593118"/>
              <a:gd name="connsiteX5872" fmla="*/ 5883670 w 11490376"/>
              <a:gd name="connsiteY5872" fmla="*/ 1668141 h 6593118"/>
              <a:gd name="connsiteX5873" fmla="*/ 5854310 w 11490376"/>
              <a:gd name="connsiteY5873" fmla="*/ 1685354 h 6593118"/>
              <a:gd name="connsiteX5874" fmla="*/ 5839630 w 11490376"/>
              <a:gd name="connsiteY5874" fmla="*/ 1709942 h 6593118"/>
              <a:gd name="connsiteX5875" fmla="*/ 5800484 w 11490376"/>
              <a:gd name="connsiteY5875" fmla="*/ 1695188 h 6593118"/>
              <a:gd name="connsiteX5876" fmla="*/ 5802931 w 11490376"/>
              <a:gd name="connsiteY5876" fmla="*/ 1648469 h 6593118"/>
              <a:gd name="connsiteX5877" fmla="*/ 5780911 w 11490376"/>
              <a:gd name="connsiteY5877" fmla="*/ 1641093 h 6593118"/>
              <a:gd name="connsiteX5878" fmla="*/ 5776017 w 11490376"/>
              <a:gd name="connsiteY5878" fmla="*/ 1614043 h 6593118"/>
              <a:gd name="connsiteX5879" fmla="*/ 5758891 w 11490376"/>
              <a:gd name="connsiteY5879" fmla="*/ 1579618 h 6593118"/>
              <a:gd name="connsiteX5880" fmla="*/ 5744210 w 11490376"/>
              <a:gd name="connsiteY5880" fmla="*/ 1547653 h 6593118"/>
              <a:gd name="connsiteX5881" fmla="*/ 5756444 w 11490376"/>
              <a:gd name="connsiteY5881" fmla="*/ 1525522 h 6593118"/>
              <a:gd name="connsiteX5882" fmla="*/ 5766231 w 11490376"/>
              <a:gd name="connsiteY5882" fmla="*/ 1478801 h 6593118"/>
              <a:gd name="connsiteX5883" fmla="*/ 5802931 w 11490376"/>
              <a:gd name="connsiteY5883" fmla="*/ 1461588 h 6593118"/>
              <a:gd name="connsiteX5884" fmla="*/ 5793144 w 11490376"/>
              <a:gd name="connsiteY5884" fmla="*/ 1419787 h 6593118"/>
              <a:gd name="connsiteX5885" fmla="*/ 5776017 w 11490376"/>
              <a:gd name="connsiteY5885" fmla="*/ 1380444 h 6593118"/>
              <a:gd name="connsiteX5886" fmla="*/ 5766231 w 11490376"/>
              <a:gd name="connsiteY5886" fmla="*/ 1341101 h 6593118"/>
              <a:gd name="connsiteX5887" fmla="*/ 5758891 w 11490376"/>
              <a:gd name="connsiteY5887" fmla="*/ 1274709 h 6593118"/>
              <a:gd name="connsiteX5888" fmla="*/ 5766001 w 11490376"/>
              <a:gd name="connsiteY5888" fmla="*/ 1250891 h 6593118"/>
              <a:gd name="connsiteX5889" fmla="*/ 5763913 w 11490376"/>
              <a:gd name="connsiteY5889" fmla="*/ 1250446 h 6593118"/>
              <a:gd name="connsiteX5890" fmla="*/ 5756525 w 11490376"/>
              <a:gd name="connsiteY5890" fmla="*/ 1274990 h 6593118"/>
              <a:gd name="connsiteX5891" fmla="*/ 5763913 w 11490376"/>
              <a:gd name="connsiteY5891" fmla="*/ 1338809 h 6593118"/>
              <a:gd name="connsiteX5892" fmla="*/ 5771301 w 11490376"/>
              <a:gd name="connsiteY5892" fmla="*/ 1378082 h 6593118"/>
              <a:gd name="connsiteX5893" fmla="*/ 5791003 w 11490376"/>
              <a:gd name="connsiteY5893" fmla="*/ 1417355 h 6593118"/>
              <a:gd name="connsiteX5894" fmla="*/ 5798391 w 11490376"/>
              <a:gd name="connsiteY5894" fmla="*/ 1459082 h 6593118"/>
              <a:gd name="connsiteX5895" fmla="*/ 5763913 w 11490376"/>
              <a:gd name="connsiteY5895" fmla="*/ 1478718 h 6593118"/>
              <a:gd name="connsiteX5896" fmla="*/ 5754062 w 11490376"/>
              <a:gd name="connsiteY5896" fmla="*/ 1525355 h 6593118"/>
              <a:gd name="connsiteX5897" fmla="*/ 5741748 w 11490376"/>
              <a:gd name="connsiteY5897" fmla="*/ 1547446 h 6593118"/>
              <a:gd name="connsiteX5898" fmla="*/ 5714658 w 11490376"/>
              <a:gd name="connsiteY5898" fmla="*/ 1532718 h 6593118"/>
              <a:gd name="connsiteX5899" fmla="*/ 5662940 w 11490376"/>
              <a:gd name="connsiteY5899" fmla="*/ 1540082 h 6593118"/>
              <a:gd name="connsiteX5900" fmla="*/ 5635850 w 11490376"/>
              <a:gd name="connsiteY5900" fmla="*/ 1559719 h 6593118"/>
              <a:gd name="connsiteX5901" fmla="*/ 5608759 w 11490376"/>
              <a:gd name="connsiteY5901" fmla="*/ 1567082 h 6593118"/>
              <a:gd name="connsiteX5902" fmla="*/ 5566893 w 11490376"/>
              <a:gd name="connsiteY5902" fmla="*/ 1571991 h 6593118"/>
              <a:gd name="connsiteX5903" fmla="*/ 5564430 w 11490376"/>
              <a:gd name="connsiteY5903" fmla="*/ 1527809 h 6593118"/>
              <a:gd name="connsiteX5904" fmla="*/ 5547190 w 11490376"/>
              <a:gd name="connsiteY5904" fmla="*/ 1515537 h 6593118"/>
              <a:gd name="connsiteX5905" fmla="*/ 5554578 w 11490376"/>
              <a:gd name="connsiteY5905" fmla="*/ 1451718 h 6593118"/>
              <a:gd name="connsiteX5906" fmla="*/ 5529952 w 11490376"/>
              <a:gd name="connsiteY5906" fmla="*/ 1449264 h 6593118"/>
              <a:gd name="connsiteX5907" fmla="*/ 5527488 w 11490376"/>
              <a:gd name="connsiteY5907" fmla="*/ 1358445 h 6593118"/>
              <a:gd name="connsiteX5908" fmla="*/ 5554578 w 11490376"/>
              <a:gd name="connsiteY5908" fmla="*/ 1348627 h 6593118"/>
              <a:gd name="connsiteX5909" fmla="*/ 5561967 w 11490376"/>
              <a:gd name="connsiteY5909" fmla="*/ 1326536 h 6593118"/>
              <a:gd name="connsiteX5910" fmla="*/ 5593983 w 11490376"/>
              <a:gd name="connsiteY5910" fmla="*/ 1314263 h 6593118"/>
              <a:gd name="connsiteX5911" fmla="*/ 5625998 w 11490376"/>
              <a:gd name="connsiteY5911" fmla="*/ 1311810 h 6593118"/>
              <a:gd name="connsiteX5912" fmla="*/ 5638312 w 11490376"/>
              <a:gd name="connsiteY5912" fmla="*/ 1292172 h 6593118"/>
              <a:gd name="connsiteX5913" fmla="*/ 5675253 w 11490376"/>
              <a:gd name="connsiteY5913" fmla="*/ 1287263 h 6593118"/>
              <a:gd name="connsiteX5914" fmla="*/ 5680179 w 11490376"/>
              <a:gd name="connsiteY5914" fmla="*/ 1245537 h 6593118"/>
              <a:gd name="connsiteX5915" fmla="*/ 5729434 w 11490376"/>
              <a:gd name="connsiteY5915" fmla="*/ 1228355 h 6593118"/>
              <a:gd name="connsiteX5916" fmla="*/ 5734360 w 11490376"/>
              <a:gd name="connsiteY5916" fmla="*/ 1193991 h 6593118"/>
              <a:gd name="connsiteX5917" fmla="*/ 5758987 w 11490376"/>
              <a:gd name="connsiteY5917" fmla="*/ 1176810 h 6593118"/>
              <a:gd name="connsiteX5918" fmla="*/ 5768839 w 11490376"/>
              <a:gd name="connsiteY5918" fmla="*/ 1144901 h 6593118"/>
              <a:gd name="connsiteX5919" fmla="*/ 5778689 w 11490376"/>
              <a:gd name="connsiteY5919" fmla="*/ 1110537 h 6593118"/>
              <a:gd name="connsiteX5920" fmla="*/ 5815630 w 11490376"/>
              <a:gd name="connsiteY5920" fmla="*/ 1073718 h 6593118"/>
              <a:gd name="connsiteX5921" fmla="*/ 5845184 w 11490376"/>
              <a:gd name="connsiteY5921" fmla="*/ 1036900 h 6593118"/>
              <a:gd name="connsiteX5922" fmla="*/ 5882125 w 11490376"/>
              <a:gd name="connsiteY5922" fmla="*/ 1014809 h 6593118"/>
              <a:gd name="connsiteX5923" fmla="*/ 5928918 w 11490376"/>
              <a:gd name="connsiteY5923" fmla="*/ 1004991 h 6593118"/>
              <a:gd name="connsiteX5924" fmla="*/ 5956008 w 11490376"/>
              <a:gd name="connsiteY5924" fmla="*/ 990263 h 6593118"/>
              <a:gd name="connsiteX5925" fmla="*/ 6007726 w 11490376"/>
              <a:gd name="connsiteY5925" fmla="*/ 980447 h 6593118"/>
              <a:gd name="connsiteX5926" fmla="*/ 6017576 w 11490376"/>
              <a:gd name="connsiteY5926" fmla="*/ 950991 h 6593118"/>
              <a:gd name="connsiteX5927" fmla="*/ 6049592 w 11490376"/>
              <a:gd name="connsiteY5927" fmla="*/ 936263 h 6593118"/>
              <a:gd name="connsiteX5928" fmla="*/ 6039742 w 11490376"/>
              <a:gd name="connsiteY5928" fmla="*/ 896990 h 6593118"/>
              <a:gd name="connsiteX5929" fmla="*/ 6015114 w 11490376"/>
              <a:gd name="connsiteY5929" fmla="*/ 879810 h 6593118"/>
              <a:gd name="connsiteX5930" fmla="*/ 6052055 w 11490376"/>
              <a:gd name="connsiteY5930" fmla="*/ 869992 h 6593118"/>
              <a:gd name="connsiteX5931" fmla="*/ 6064369 w 11490376"/>
              <a:gd name="connsiteY5931" fmla="*/ 842992 h 6593118"/>
              <a:gd name="connsiteX5932" fmla="*/ 6071757 w 11490376"/>
              <a:gd name="connsiteY5932" fmla="*/ 879810 h 6593118"/>
              <a:gd name="connsiteX5933" fmla="*/ 6091459 w 11490376"/>
              <a:gd name="connsiteY5933" fmla="*/ 884718 h 6593118"/>
              <a:gd name="connsiteX5934" fmla="*/ 6091459 w 11490376"/>
              <a:gd name="connsiteY5934" fmla="*/ 865081 h 6593118"/>
              <a:gd name="connsiteX5935" fmla="*/ 6108698 w 11490376"/>
              <a:gd name="connsiteY5935" fmla="*/ 865081 h 6593118"/>
              <a:gd name="connsiteX5936" fmla="*/ 6116086 w 11490376"/>
              <a:gd name="connsiteY5936" fmla="*/ 879810 h 6593118"/>
              <a:gd name="connsiteX5937" fmla="*/ 6138252 w 11490376"/>
              <a:gd name="connsiteY5937" fmla="*/ 887172 h 6593118"/>
              <a:gd name="connsiteX5938" fmla="*/ 6150565 w 11490376"/>
              <a:gd name="connsiteY5938" fmla="*/ 860172 h 6593118"/>
              <a:gd name="connsiteX5939" fmla="*/ 6133326 w 11490376"/>
              <a:gd name="connsiteY5939" fmla="*/ 847899 h 6593118"/>
              <a:gd name="connsiteX5940" fmla="*/ 6162879 w 11490376"/>
              <a:gd name="connsiteY5940" fmla="*/ 830719 h 6593118"/>
              <a:gd name="connsiteX5941" fmla="*/ 6194895 w 11490376"/>
              <a:gd name="connsiteY5941" fmla="*/ 852808 h 6593118"/>
              <a:gd name="connsiteX5942" fmla="*/ 6214598 w 11490376"/>
              <a:gd name="connsiteY5942" fmla="*/ 823355 h 6593118"/>
              <a:gd name="connsiteX5943" fmla="*/ 6221986 w 11490376"/>
              <a:gd name="connsiteY5943" fmla="*/ 857719 h 6593118"/>
              <a:gd name="connsiteX5944" fmla="*/ 6254001 w 11490376"/>
              <a:gd name="connsiteY5944" fmla="*/ 860172 h 6593118"/>
              <a:gd name="connsiteX5945" fmla="*/ 6288479 w 11490376"/>
              <a:gd name="connsiteY5945" fmla="*/ 835628 h 6593118"/>
              <a:gd name="connsiteX5946" fmla="*/ 6327884 w 11490376"/>
              <a:gd name="connsiteY5946" fmla="*/ 860172 h 6593118"/>
              <a:gd name="connsiteX5947" fmla="*/ 6320496 w 11490376"/>
              <a:gd name="connsiteY5947" fmla="*/ 887172 h 6593118"/>
              <a:gd name="connsiteX5948" fmla="*/ 6391915 w 11490376"/>
              <a:gd name="connsiteY5948" fmla="*/ 911718 h 6593118"/>
              <a:gd name="connsiteX5949" fmla="*/ 6347586 w 11490376"/>
              <a:gd name="connsiteY5949" fmla="*/ 941174 h 6593118"/>
              <a:gd name="connsiteX5950" fmla="*/ 6308182 w 11490376"/>
              <a:gd name="connsiteY5950" fmla="*/ 982900 h 6593118"/>
              <a:gd name="connsiteX5951" fmla="*/ 6291748 w 11490376"/>
              <a:gd name="connsiteY5951" fmla="*/ 1017999 h 6593118"/>
              <a:gd name="connsiteX5952" fmla="*/ 6291993 w 11490376"/>
              <a:gd name="connsiteY5952" fmla="*/ 1018227 h 6593118"/>
              <a:gd name="connsiteX5953" fmla="*/ 6291993 w 11490376"/>
              <a:gd name="connsiteY5953" fmla="*/ 1055009 h 6593118"/>
              <a:gd name="connsiteX5954" fmla="*/ 6296114 w 11490376"/>
              <a:gd name="connsiteY5954" fmla="*/ 1071458 h 6593118"/>
              <a:gd name="connsiteX5955" fmla="*/ 6293033 w 11490376"/>
              <a:gd name="connsiteY5955" fmla="*/ 1058524 h 6593118"/>
              <a:gd name="connsiteX5956" fmla="*/ 6293033 w 11490376"/>
              <a:gd name="connsiteY5956" fmla="*/ 1021694 h 6593118"/>
              <a:gd name="connsiteX5957" fmla="*/ 6307769 w 11490376"/>
              <a:gd name="connsiteY5957" fmla="*/ 984862 h 6593118"/>
              <a:gd name="connsiteX5958" fmla="*/ 6347061 w 11490376"/>
              <a:gd name="connsiteY5958" fmla="*/ 943119 h 6593118"/>
              <a:gd name="connsiteX5959" fmla="*/ 6388809 w 11490376"/>
              <a:gd name="connsiteY5959" fmla="*/ 916108 h 6593118"/>
              <a:gd name="connsiteX5960" fmla="*/ 6428102 w 11490376"/>
              <a:gd name="connsiteY5960" fmla="*/ 933297 h 6593118"/>
              <a:gd name="connsiteX5961" fmla="*/ 6504232 w 11490376"/>
              <a:gd name="connsiteY5961" fmla="*/ 975039 h 6593118"/>
              <a:gd name="connsiteX5962" fmla="*/ 6577906 w 11490376"/>
              <a:gd name="connsiteY5962" fmla="*/ 1009415 h 6593118"/>
              <a:gd name="connsiteX5963" fmla="*/ 6639301 w 11490376"/>
              <a:gd name="connsiteY5963" fmla="*/ 1053614 h 6593118"/>
              <a:gd name="connsiteX5964" fmla="*/ 6624566 w 11490376"/>
              <a:gd name="connsiteY5964" fmla="*/ 1083080 h 6593118"/>
              <a:gd name="connsiteX5965" fmla="*/ 6597553 w 11490376"/>
              <a:gd name="connsiteY5965" fmla="*/ 1107633 h 6593118"/>
              <a:gd name="connsiteX5966" fmla="*/ 6541070 w 11490376"/>
              <a:gd name="connsiteY5966" fmla="*/ 1122367 h 6593118"/>
              <a:gd name="connsiteX5967" fmla="*/ 6479675 w 11490376"/>
              <a:gd name="connsiteY5967" fmla="*/ 1105178 h 6593118"/>
              <a:gd name="connsiteX5968" fmla="*/ 6440382 w 11490376"/>
              <a:gd name="connsiteY5968" fmla="*/ 1092901 h 6593118"/>
              <a:gd name="connsiteX5969" fmla="*/ 6455116 w 11490376"/>
              <a:gd name="connsiteY5969" fmla="*/ 1112545 h 6593118"/>
              <a:gd name="connsiteX5970" fmla="*/ 6462485 w 11490376"/>
              <a:gd name="connsiteY5970" fmla="*/ 1166565 h 6593118"/>
              <a:gd name="connsiteX5971" fmla="*/ 6482130 w 11490376"/>
              <a:gd name="connsiteY5971" fmla="*/ 1203397 h 6593118"/>
              <a:gd name="connsiteX5972" fmla="*/ 6509144 w 11490376"/>
              <a:gd name="connsiteY5972" fmla="*/ 1240229 h 6593118"/>
              <a:gd name="connsiteX5973" fmla="*/ 6545980 w 11490376"/>
              <a:gd name="connsiteY5973" fmla="*/ 1267238 h 6593118"/>
              <a:gd name="connsiteX5974" fmla="*/ 6565628 w 11490376"/>
              <a:gd name="connsiteY5974" fmla="*/ 1247594 h 6593118"/>
              <a:gd name="connsiteX5975" fmla="*/ 6555804 w 11490376"/>
              <a:gd name="connsiteY5975" fmla="*/ 1232862 h 6593118"/>
              <a:gd name="connsiteX5976" fmla="*/ 6531247 w 11490376"/>
              <a:gd name="connsiteY5976" fmla="*/ 1223040 h 6593118"/>
              <a:gd name="connsiteX5977" fmla="*/ 6526335 w 11490376"/>
              <a:gd name="connsiteY5977" fmla="*/ 1193575 h 6593118"/>
              <a:gd name="connsiteX5978" fmla="*/ 6563172 w 11490376"/>
              <a:gd name="connsiteY5978" fmla="*/ 1178842 h 6593118"/>
              <a:gd name="connsiteX5979" fmla="*/ 6597553 w 11490376"/>
              <a:gd name="connsiteY5979" fmla="*/ 1193575 h 6593118"/>
              <a:gd name="connsiteX5980" fmla="*/ 6597553 w 11490376"/>
              <a:gd name="connsiteY5980" fmla="*/ 1232862 h 6593118"/>
              <a:gd name="connsiteX5981" fmla="*/ 6634390 w 11490376"/>
              <a:gd name="connsiteY5981" fmla="*/ 1232862 h 6593118"/>
              <a:gd name="connsiteX5982" fmla="*/ 6644213 w 11490376"/>
              <a:gd name="connsiteY5982" fmla="*/ 1193575 h 6593118"/>
              <a:gd name="connsiteX5983" fmla="*/ 6617199 w 11490376"/>
              <a:gd name="connsiteY5983" fmla="*/ 1178842 h 6593118"/>
              <a:gd name="connsiteX5984" fmla="*/ 6619656 w 11490376"/>
              <a:gd name="connsiteY5984" fmla="*/ 1149376 h 6593118"/>
              <a:gd name="connsiteX5985" fmla="*/ 6666315 w 11490376"/>
              <a:gd name="connsiteY5985" fmla="*/ 1134645 h 6593118"/>
              <a:gd name="connsiteX5986" fmla="*/ 6688418 w 11490376"/>
              <a:gd name="connsiteY5986" fmla="*/ 1110089 h 6593118"/>
              <a:gd name="connsiteX5987" fmla="*/ 6725254 w 11490376"/>
              <a:gd name="connsiteY5987" fmla="*/ 1117455 h 6593118"/>
              <a:gd name="connsiteX5988" fmla="*/ 6759636 w 11490376"/>
              <a:gd name="connsiteY5988" fmla="*/ 1134645 h 6593118"/>
              <a:gd name="connsiteX5989" fmla="*/ 6757180 w 11490376"/>
              <a:gd name="connsiteY5989" fmla="*/ 1092901 h 6593118"/>
              <a:gd name="connsiteX5990" fmla="*/ 6742444 w 11490376"/>
              <a:gd name="connsiteY5990" fmla="*/ 1058524 h 6593118"/>
              <a:gd name="connsiteX5991" fmla="*/ 6730166 w 11490376"/>
              <a:gd name="connsiteY5991" fmla="*/ 1021694 h 6593118"/>
              <a:gd name="connsiteX5992" fmla="*/ 6717887 w 11490376"/>
              <a:gd name="connsiteY5992" fmla="*/ 989772 h 6593118"/>
              <a:gd name="connsiteX5993" fmla="*/ 6769459 w 11490376"/>
              <a:gd name="connsiteY5993" fmla="*/ 984862 h 6593118"/>
              <a:gd name="connsiteX5994" fmla="*/ 6806296 w 11490376"/>
              <a:gd name="connsiteY5994" fmla="*/ 1021694 h 6593118"/>
              <a:gd name="connsiteX5995" fmla="*/ 6806296 w 11490376"/>
              <a:gd name="connsiteY5995" fmla="*/ 1051159 h 6593118"/>
              <a:gd name="connsiteX5996" fmla="*/ 6823487 w 11490376"/>
              <a:gd name="connsiteY5996" fmla="*/ 1083080 h 6593118"/>
              <a:gd name="connsiteX5997" fmla="*/ 6875058 w 11490376"/>
              <a:gd name="connsiteY5997" fmla="*/ 1058524 h 6593118"/>
              <a:gd name="connsiteX5998" fmla="*/ 6921718 w 11490376"/>
              <a:gd name="connsiteY5998" fmla="*/ 1014327 h 6593118"/>
              <a:gd name="connsiteX5999" fmla="*/ 6963467 w 11490376"/>
              <a:gd name="connsiteY5999" fmla="*/ 999594 h 6593118"/>
              <a:gd name="connsiteX6000" fmla="*/ 7002760 w 11490376"/>
              <a:gd name="connsiteY6000" fmla="*/ 982406 h 6593118"/>
              <a:gd name="connsiteX6001" fmla="*/ 7029774 w 11490376"/>
              <a:gd name="connsiteY6001" fmla="*/ 975039 h 6593118"/>
              <a:gd name="connsiteX6002" fmla="*/ 7049420 w 11490376"/>
              <a:gd name="connsiteY6002" fmla="*/ 1014327 h 6593118"/>
              <a:gd name="connsiteX6003" fmla="*/ 7076434 w 11490376"/>
              <a:gd name="connsiteY6003" fmla="*/ 982406 h 6593118"/>
              <a:gd name="connsiteX6004" fmla="*/ 7152564 w 11490376"/>
              <a:gd name="connsiteY6004" fmla="*/ 982406 h 6593118"/>
              <a:gd name="connsiteX6005" fmla="*/ 7174667 w 11490376"/>
              <a:gd name="connsiteY6005" fmla="*/ 952940 h 6593118"/>
              <a:gd name="connsiteX6006" fmla="*/ 7201679 w 11490376"/>
              <a:gd name="connsiteY6006" fmla="*/ 952940 h 6593118"/>
              <a:gd name="connsiteX6007" fmla="*/ 7209048 w 11490376"/>
              <a:gd name="connsiteY6007" fmla="*/ 994684 h 6593118"/>
              <a:gd name="connsiteX6008" fmla="*/ 7238517 w 11490376"/>
              <a:gd name="connsiteY6008" fmla="*/ 984862 h 6593118"/>
              <a:gd name="connsiteX6009" fmla="*/ 7243429 w 11490376"/>
              <a:gd name="connsiteY6009" fmla="*/ 938207 h 6593118"/>
              <a:gd name="connsiteX6010" fmla="*/ 7223782 w 11490376"/>
              <a:gd name="connsiteY6010" fmla="*/ 925930 h 6593118"/>
              <a:gd name="connsiteX6011" fmla="*/ 7238517 w 11490376"/>
              <a:gd name="connsiteY6011" fmla="*/ 903831 h 6593118"/>
              <a:gd name="connsiteX6012" fmla="*/ 7299912 w 11490376"/>
              <a:gd name="connsiteY6012" fmla="*/ 903831 h 6593118"/>
              <a:gd name="connsiteX6013" fmla="*/ 7368674 w 11490376"/>
              <a:gd name="connsiteY6013" fmla="*/ 923475 h 6593118"/>
              <a:gd name="connsiteX6014" fmla="*/ 7427614 w 11490376"/>
              <a:gd name="connsiteY6014" fmla="*/ 957850 h 6593118"/>
              <a:gd name="connsiteX6015" fmla="*/ 7461995 w 11490376"/>
              <a:gd name="connsiteY6015" fmla="*/ 1002049 h 6593118"/>
              <a:gd name="connsiteX6016" fmla="*/ 7493919 w 11490376"/>
              <a:gd name="connsiteY6016" fmla="*/ 989772 h 6593118"/>
              <a:gd name="connsiteX6017" fmla="*/ 7484097 w 11490376"/>
              <a:gd name="connsiteY6017" fmla="*/ 962762 h 6593118"/>
              <a:gd name="connsiteX6018" fmla="*/ 7464450 w 11490376"/>
              <a:gd name="connsiteY6018" fmla="*/ 933297 h 6593118"/>
              <a:gd name="connsiteX6019" fmla="*/ 7437436 w 11490376"/>
              <a:gd name="connsiteY6019" fmla="*/ 896465 h 6593118"/>
              <a:gd name="connsiteX6020" fmla="*/ 7412879 w 11490376"/>
              <a:gd name="connsiteY6020" fmla="*/ 859633 h 6593118"/>
              <a:gd name="connsiteX6021" fmla="*/ 7410423 w 11490376"/>
              <a:gd name="connsiteY6021" fmla="*/ 820346 h 6593118"/>
              <a:gd name="connsiteX6022" fmla="*/ 7449716 w 11490376"/>
              <a:gd name="connsiteY6022" fmla="*/ 793336 h 6593118"/>
              <a:gd name="connsiteX6023" fmla="*/ 7457083 w 11490376"/>
              <a:gd name="connsiteY6023" fmla="*/ 734405 h 6593118"/>
              <a:gd name="connsiteX6024" fmla="*/ 7481641 w 11490376"/>
              <a:gd name="connsiteY6024" fmla="*/ 673018 h 6593118"/>
              <a:gd name="connsiteX6025" fmla="*/ 7528302 w 11490376"/>
              <a:gd name="connsiteY6025" fmla="*/ 670563 h 6593118"/>
              <a:gd name="connsiteX6026" fmla="*/ 7560226 w 11490376"/>
              <a:gd name="connsiteY6026" fmla="*/ 704940 h 6593118"/>
              <a:gd name="connsiteX6027" fmla="*/ 7572505 w 11490376"/>
              <a:gd name="connsiteY6027" fmla="*/ 751593 h 6593118"/>
              <a:gd name="connsiteX6028" fmla="*/ 7587240 w 11490376"/>
              <a:gd name="connsiteY6028" fmla="*/ 812979 h 6593118"/>
              <a:gd name="connsiteX6029" fmla="*/ 7597064 w 11490376"/>
              <a:gd name="connsiteY6029" fmla="*/ 854722 h 6593118"/>
              <a:gd name="connsiteX6030" fmla="*/ 7609343 w 11490376"/>
              <a:gd name="connsiteY6030" fmla="*/ 889098 h 6593118"/>
              <a:gd name="connsiteX6031" fmla="*/ 7609343 w 11490376"/>
              <a:gd name="connsiteY6031" fmla="*/ 916108 h 6593118"/>
              <a:gd name="connsiteX6032" fmla="*/ 7619166 w 11490376"/>
              <a:gd name="connsiteY6032" fmla="*/ 952940 h 6593118"/>
              <a:gd name="connsiteX6033" fmla="*/ 7619166 w 11490376"/>
              <a:gd name="connsiteY6033" fmla="*/ 955395 h 6593118"/>
              <a:gd name="connsiteX6034" fmla="*/ 7621621 w 11490376"/>
              <a:gd name="connsiteY6034" fmla="*/ 960307 h 6593118"/>
              <a:gd name="connsiteX6035" fmla="*/ 7624078 w 11490376"/>
              <a:gd name="connsiteY6035" fmla="*/ 962762 h 6593118"/>
              <a:gd name="connsiteX6036" fmla="*/ 7626533 w 11490376"/>
              <a:gd name="connsiteY6036" fmla="*/ 970128 h 6593118"/>
              <a:gd name="connsiteX6037" fmla="*/ 7628990 w 11490376"/>
              <a:gd name="connsiteY6037" fmla="*/ 975039 h 6593118"/>
              <a:gd name="connsiteX6038" fmla="*/ 7631445 w 11490376"/>
              <a:gd name="connsiteY6038" fmla="*/ 979950 h 6593118"/>
              <a:gd name="connsiteX6039" fmla="*/ 7633900 w 11490376"/>
              <a:gd name="connsiteY6039" fmla="*/ 987317 h 6593118"/>
              <a:gd name="connsiteX6040" fmla="*/ 7636357 w 11490376"/>
              <a:gd name="connsiteY6040" fmla="*/ 994684 h 6593118"/>
              <a:gd name="connsiteX6041" fmla="*/ 7636357 w 11490376"/>
              <a:gd name="connsiteY6041" fmla="*/ 999594 h 6593118"/>
              <a:gd name="connsiteX6042" fmla="*/ 7636357 w 11490376"/>
              <a:gd name="connsiteY6042" fmla="*/ 1002049 h 6593118"/>
              <a:gd name="connsiteX6043" fmla="*/ 7638812 w 11490376"/>
              <a:gd name="connsiteY6043" fmla="*/ 1006960 h 6593118"/>
              <a:gd name="connsiteX6044" fmla="*/ 7636357 w 11490376"/>
              <a:gd name="connsiteY6044" fmla="*/ 1009415 h 6593118"/>
              <a:gd name="connsiteX6045" fmla="*/ 7636357 w 11490376"/>
              <a:gd name="connsiteY6045" fmla="*/ 1014327 h 6593118"/>
              <a:gd name="connsiteX6046" fmla="*/ 7636357 w 11490376"/>
              <a:gd name="connsiteY6046" fmla="*/ 1016782 h 6593118"/>
              <a:gd name="connsiteX6047" fmla="*/ 7636357 w 11490376"/>
              <a:gd name="connsiteY6047" fmla="*/ 1024149 h 6593118"/>
              <a:gd name="connsiteX6048" fmla="*/ 7633900 w 11490376"/>
              <a:gd name="connsiteY6048" fmla="*/ 1026604 h 6593118"/>
              <a:gd name="connsiteX6049" fmla="*/ 7631445 w 11490376"/>
              <a:gd name="connsiteY6049" fmla="*/ 1031514 h 6593118"/>
              <a:gd name="connsiteX6050" fmla="*/ 7631445 w 11490376"/>
              <a:gd name="connsiteY6050" fmla="*/ 1036426 h 6593118"/>
              <a:gd name="connsiteX6051" fmla="*/ 7628990 w 11490376"/>
              <a:gd name="connsiteY6051" fmla="*/ 1041336 h 6593118"/>
              <a:gd name="connsiteX6052" fmla="*/ 7626533 w 11490376"/>
              <a:gd name="connsiteY6052" fmla="*/ 1043793 h 6593118"/>
              <a:gd name="connsiteX6053" fmla="*/ 7626533 w 11490376"/>
              <a:gd name="connsiteY6053" fmla="*/ 1046247 h 6593118"/>
              <a:gd name="connsiteX6054" fmla="*/ 7592152 w 11490376"/>
              <a:gd name="connsiteY6054" fmla="*/ 1065891 h 6593118"/>
              <a:gd name="connsiteX6055" fmla="*/ 7555314 w 11490376"/>
              <a:gd name="connsiteY6055" fmla="*/ 1078168 h 6593118"/>
              <a:gd name="connsiteX6056" fmla="*/ 7547948 w 11490376"/>
              <a:gd name="connsiteY6056" fmla="*/ 1097811 h 6593118"/>
              <a:gd name="connsiteX6057" fmla="*/ 7604431 w 11490376"/>
              <a:gd name="connsiteY6057" fmla="*/ 1117455 h 6593118"/>
              <a:gd name="connsiteX6058" fmla="*/ 7643724 w 11490376"/>
              <a:gd name="connsiteY6058" fmla="*/ 1100268 h 6593118"/>
              <a:gd name="connsiteX6059" fmla="*/ 7670738 w 11490376"/>
              <a:gd name="connsiteY6059" fmla="*/ 1053614 h 6593118"/>
              <a:gd name="connsiteX6060" fmla="*/ 7687928 w 11490376"/>
              <a:gd name="connsiteY6060" fmla="*/ 1014327 h 6593118"/>
              <a:gd name="connsiteX6061" fmla="*/ 7695295 w 11490376"/>
              <a:gd name="connsiteY6061" fmla="*/ 987317 h 6593118"/>
              <a:gd name="connsiteX6062" fmla="*/ 7697752 w 11490376"/>
              <a:gd name="connsiteY6062" fmla="*/ 975039 h 6593118"/>
              <a:gd name="connsiteX6063" fmla="*/ 7737045 w 11490376"/>
              <a:gd name="connsiteY6063" fmla="*/ 975039 h 6593118"/>
              <a:gd name="connsiteX6064" fmla="*/ 7773881 w 11490376"/>
              <a:gd name="connsiteY6064" fmla="*/ 1002049 h 6593118"/>
              <a:gd name="connsiteX6065" fmla="*/ 7798440 w 11490376"/>
              <a:gd name="connsiteY6065" fmla="*/ 1031514 h 6593118"/>
              <a:gd name="connsiteX6066" fmla="*/ 7830364 w 11490376"/>
              <a:gd name="connsiteY6066" fmla="*/ 1051159 h 6593118"/>
              <a:gd name="connsiteX6067" fmla="*/ 7830364 w 11490376"/>
              <a:gd name="connsiteY6067" fmla="*/ 1024149 h 6593118"/>
              <a:gd name="connsiteX6068" fmla="*/ 7808262 w 11490376"/>
              <a:gd name="connsiteY6068" fmla="*/ 1014327 h 6593118"/>
              <a:gd name="connsiteX6069" fmla="*/ 7788616 w 11490376"/>
              <a:gd name="connsiteY6069" fmla="*/ 997137 h 6593118"/>
              <a:gd name="connsiteX6070" fmla="*/ 7781249 w 11490376"/>
              <a:gd name="connsiteY6070" fmla="*/ 962762 h 6593118"/>
              <a:gd name="connsiteX6071" fmla="*/ 7766514 w 11490376"/>
              <a:gd name="connsiteY6071" fmla="*/ 943119 h 6593118"/>
              <a:gd name="connsiteX6072" fmla="*/ 7744411 w 11490376"/>
              <a:gd name="connsiteY6072" fmla="*/ 933297 h 6593118"/>
              <a:gd name="connsiteX6073" fmla="*/ 7710030 w 11490376"/>
              <a:gd name="connsiteY6073" fmla="*/ 918563 h 6593118"/>
              <a:gd name="connsiteX6074" fmla="*/ 7702664 w 11490376"/>
              <a:gd name="connsiteY6074" fmla="*/ 938207 h 6593118"/>
              <a:gd name="connsiteX6075" fmla="*/ 7658459 w 11490376"/>
              <a:gd name="connsiteY6075" fmla="*/ 933297 h 6593118"/>
              <a:gd name="connsiteX6076" fmla="*/ 7651092 w 11490376"/>
              <a:gd name="connsiteY6076" fmla="*/ 898920 h 6593118"/>
              <a:gd name="connsiteX6077" fmla="*/ 7643724 w 11490376"/>
              <a:gd name="connsiteY6077" fmla="*/ 832623 h 6593118"/>
              <a:gd name="connsiteX6078" fmla="*/ 7626533 w 11490376"/>
              <a:gd name="connsiteY6078" fmla="*/ 825256 h 6593118"/>
              <a:gd name="connsiteX6079" fmla="*/ 7619166 w 11490376"/>
              <a:gd name="connsiteY6079" fmla="*/ 800702 h 6593118"/>
              <a:gd name="connsiteX6080" fmla="*/ 7626533 w 11490376"/>
              <a:gd name="connsiteY6080" fmla="*/ 776147 h 6593118"/>
              <a:gd name="connsiteX6081" fmla="*/ 7619166 w 11490376"/>
              <a:gd name="connsiteY6081" fmla="*/ 739317 h 6593118"/>
              <a:gd name="connsiteX6082" fmla="*/ 7643724 w 11490376"/>
              <a:gd name="connsiteY6082" fmla="*/ 714761 h 6593118"/>
              <a:gd name="connsiteX6083" fmla="*/ 7660914 w 11490376"/>
              <a:gd name="connsiteY6083" fmla="*/ 741772 h 6593118"/>
              <a:gd name="connsiteX6084" fmla="*/ 7665826 w 11490376"/>
              <a:gd name="connsiteY6084" fmla="*/ 788425 h 6593118"/>
              <a:gd name="connsiteX6085" fmla="*/ 7710030 w 11490376"/>
              <a:gd name="connsiteY6085" fmla="*/ 825256 h 6593118"/>
              <a:gd name="connsiteX6086" fmla="*/ 7754235 w 11490376"/>
              <a:gd name="connsiteY6086" fmla="*/ 839989 h 6593118"/>
              <a:gd name="connsiteX6087" fmla="*/ 7749323 w 11490376"/>
              <a:gd name="connsiteY6087" fmla="*/ 820346 h 6593118"/>
              <a:gd name="connsiteX6088" fmla="*/ 7734588 w 11490376"/>
              <a:gd name="connsiteY6088" fmla="*/ 798247 h 6593118"/>
              <a:gd name="connsiteX6089" fmla="*/ 7749323 w 11490376"/>
              <a:gd name="connsiteY6089" fmla="*/ 756504 h 6593118"/>
              <a:gd name="connsiteX6090" fmla="*/ 7781249 w 11490376"/>
              <a:gd name="connsiteY6090" fmla="*/ 754049 h 6593118"/>
              <a:gd name="connsiteX6091" fmla="*/ 7805807 w 11490376"/>
              <a:gd name="connsiteY6091" fmla="*/ 788425 h 6593118"/>
              <a:gd name="connsiteX6092" fmla="*/ 7857378 w 11490376"/>
              <a:gd name="connsiteY6092" fmla="*/ 803158 h 6593118"/>
              <a:gd name="connsiteX6093" fmla="*/ 7908950 w 11490376"/>
              <a:gd name="connsiteY6093" fmla="*/ 854722 h 6593118"/>
              <a:gd name="connsiteX6094" fmla="*/ 7913861 w 11490376"/>
              <a:gd name="connsiteY6094" fmla="*/ 825256 h 6593118"/>
              <a:gd name="connsiteX6095" fmla="*/ 7889304 w 11490376"/>
              <a:gd name="connsiteY6095" fmla="*/ 785969 h 6593118"/>
              <a:gd name="connsiteX6096" fmla="*/ 7864746 w 11490376"/>
              <a:gd name="connsiteY6096" fmla="*/ 754049 h 6593118"/>
              <a:gd name="connsiteX6097" fmla="*/ 7835276 w 11490376"/>
              <a:gd name="connsiteY6097" fmla="*/ 751593 h 6593118"/>
              <a:gd name="connsiteX6098" fmla="*/ 7815630 w 11490376"/>
              <a:gd name="connsiteY6098" fmla="*/ 719672 h 6593118"/>
              <a:gd name="connsiteX6099" fmla="*/ 7825454 w 11490376"/>
              <a:gd name="connsiteY6099" fmla="*/ 677930 h 6593118"/>
              <a:gd name="connsiteX6100" fmla="*/ 7864746 w 11490376"/>
              <a:gd name="connsiteY6100" fmla="*/ 663196 h 6593118"/>
              <a:gd name="connsiteX6101" fmla="*/ 7935964 w 11490376"/>
              <a:gd name="connsiteY6101" fmla="*/ 658286 h 6593118"/>
              <a:gd name="connsiteX6102" fmla="*/ 7992447 w 11490376"/>
              <a:gd name="connsiteY6102" fmla="*/ 665651 h 6593118"/>
              <a:gd name="connsiteX6103" fmla="*/ 7982625 w 11490376"/>
              <a:gd name="connsiteY6103" fmla="*/ 626364 h 6593118"/>
              <a:gd name="connsiteX6104" fmla="*/ 7950699 w 11490376"/>
              <a:gd name="connsiteY6104" fmla="*/ 616543 h 6593118"/>
              <a:gd name="connsiteX6105" fmla="*/ 7950699 w 11490376"/>
              <a:gd name="connsiteY6105" fmla="*/ 587077 h 6593118"/>
              <a:gd name="connsiteX6106" fmla="*/ 7992447 w 11490376"/>
              <a:gd name="connsiteY6106" fmla="*/ 572344 h 6593118"/>
              <a:gd name="connsiteX6107" fmla="*/ 8029285 w 11490376"/>
              <a:gd name="connsiteY6107" fmla="*/ 547791 h 6593118"/>
              <a:gd name="connsiteX6108" fmla="*/ 8083313 w 11490376"/>
              <a:gd name="connsiteY6108" fmla="*/ 542880 h 6593118"/>
              <a:gd name="connsiteX6109" fmla="*/ 8147163 w 11490376"/>
              <a:gd name="connsiteY6109" fmla="*/ 537969 h 6593118"/>
              <a:gd name="connsiteX6110" fmla="*/ 8149618 w 11490376"/>
              <a:gd name="connsiteY6110" fmla="*/ 508503 h 6593118"/>
              <a:gd name="connsiteX6111" fmla="*/ 8176632 w 11490376"/>
              <a:gd name="connsiteY6111" fmla="*/ 518325 h 6593118"/>
              <a:gd name="connsiteX6112" fmla="*/ 8213470 w 11490376"/>
              <a:gd name="connsiteY6112" fmla="*/ 503592 h 6593118"/>
              <a:gd name="connsiteX6113" fmla="*/ 8238027 w 11490376"/>
              <a:gd name="connsiteY6113" fmla="*/ 533057 h 6593118"/>
              <a:gd name="connsiteX6114" fmla="*/ 8257674 w 11490376"/>
              <a:gd name="connsiteY6114" fmla="*/ 515870 h 6593118"/>
              <a:gd name="connsiteX6115" fmla="*/ 8294511 w 11490376"/>
              <a:gd name="connsiteY6115" fmla="*/ 508503 h 6593118"/>
              <a:gd name="connsiteX6116" fmla="*/ 8353451 w 11490376"/>
              <a:gd name="connsiteY6116" fmla="*/ 520780 h 6593118"/>
              <a:gd name="connsiteX6117" fmla="*/ 8395198 w 11490376"/>
              <a:gd name="connsiteY6117" fmla="*/ 501137 h 6593118"/>
              <a:gd name="connsiteX6118" fmla="*/ 8368184 w 11490376"/>
              <a:gd name="connsiteY6118" fmla="*/ 491315 h 6593118"/>
              <a:gd name="connsiteX6119" fmla="*/ 8378008 w 11490376"/>
              <a:gd name="connsiteY6119" fmla="*/ 474126 h 6593118"/>
              <a:gd name="connsiteX6120" fmla="*/ 8392743 w 11490376"/>
              <a:gd name="connsiteY6120" fmla="*/ 425018 h 6593118"/>
              <a:gd name="connsiteX6121" fmla="*/ 2573425 w 11490376"/>
              <a:gd name="connsiteY6121" fmla="*/ 350364 h 6593118"/>
              <a:gd name="connsiteX6122" fmla="*/ 2602615 w 11490376"/>
              <a:gd name="connsiteY6122" fmla="*/ 392621 h 6593118"/>
              <a:gd name="connsiteX6123" fmla="*/ 2583153 w 11490376"/>
              <a:gd name="connsiteY6123" fmla="*/ 434877 h 6593118"/>
              <a:gd name="connsiteX6124" fmla="*/ 2549103 w 11490376"/>
              <a:gd name="connsiteY6124" fmla="*/ 439850 h 6593118"/>
              <a:gd name="connsiteX6125" fmla="*/ 2517480 w 11490376"/>
              <a:gd name="connsiteY6125" fmla="*/ 412507 h 6593118"/>
              <a:gd name="connsiteX6126" fmla="*/ 2517480 w 11490376"/>
              <a:gd name="connsiteY6126" fmla="*/ 367764 h 6593118"/>
              <a:gd name="connsiteX6127" fmla="*/ 2321520 w 11490376"/>
              <a:gd name="connsiteY6127" fmla="*/ 330656 h 6593118"/>
              <a:gd name="connsiteX6128" fmla="*/ 2365429 w 11490376"/>
              <a:gd name="connsiteY6128" fmla="*/ 335620 h 6593118"/>
              <a:gd name="connsiteX6129" fmla="*/ 2406897 w 11490376"/>
              <a:gd name="connsiteY6129" fmla="*/ 348029 h 6593118"/>
              <a:gd name="connsiteX6130" fmla="*/ 2445926 w 11490376"/>
              <a:gd name="connsiteY6130" fmla="*/ 392700 h 6593118"/>
              <a:gd name="connsiteX6131" fmla="*/ 2458123 w 11490376"/>
              <a:gd name="connsiteY6131" fmla="*/ 429927 h 6593118"/>
              <a:gd name="connsiteX6132" fmla="*/ 2384946 w 11490376"/>
              <a:gd name="connsiteY6132" fmla="*/ 439854 h 6593118"/>
              <a:gd name="connsiteX6133" fmla="*/ 2365429 w 11490376"/>
              <a:gd name="connsiteY6133" fmla="*/ 402627 h 6593118"/>
              <a:gd name="connsiteX6134" fmla="*/ 2321520 w 11490376"/>
              <a:gd name="connsiteY6134" fmla="*/ 397664 h 6593118"/>
              <a:gd name="connsiteX6135" fmla="*/ 2289812 w 11490376"/>
              <a:gd name="connsiteY6135" fmla="*/ 352993 h 6593118"/>
              <a:gd name="connsiteX6136" fmla="*/ 2115676 w 11490376"/>
              <a:gd name="connsiteY6136" fmla="*/ 330656 h 6593118"/>
              <a:gd name="connsiteX6137" fmla="*/ 2156539 w 11490376"/>
              <a:gd name="connsiteY6137" fmla="*/ 335522 h 6593118"/>
              <a:gd name="connsiteX6138" fmla="*/ 2175770 w 11490376"/>
              <a:gd name="connsiteY6138" fmla="*/ 367152 h 6593118"/>
              <a:gd name="connsiteX6139" fmla="*/ 2122887 w 11490376"/>
              <a:gd name="connsiteY6139" fmla="*/ 386617 h 6593118"/>
              <a:gd name="connsiteX6140" fmla="*/ 2055582 w 11490376"/>
              <a:gd name="connsiteY6140" fmla="*/ 393916 h 6593118"/>
              <a:gd name="connsiteX6141" fmla="*/ 2086832 w 11490376"/>
              <a:gd name="connsiteY6141" fmla="*/ 347688 h 6593118"/>
              <a:gd name="connsiteX6142" fmla="*/ 8372609 w 11490376"/>
              <a:gd name="connsiteY6142" fmla="*/ 275911 h 6593118"/>
              <a:gd name="connsiteX6143" fmla="*/ 8379907 w 11490376"/>
              <a:gd name="connsiteY6143" fmla="*/ 295467 h 6593118"/>
              <a:gd name="connsiteX6144" fmla="*/ 8394501 w 11490376"/>
              <a:gd name="connsiteY6144" fmla="*/ 302800 h 6593118"/>
              <a:gd name="connsiteX6145" fmla="*/ 8413960 w 11490376"/>
              <a:gd name="connsiteY6145" fmla="*/ 302800 h 6593118"/>
              <a:gd name="connsiteX6146" fmla="*/ 8438284 w 11490376"/>
              <a:gd name="connsiteY6146" fmla="*/ 312576 h 6593118"/>
              <a:gd name="connsiteX6147" fmla="*/ 8443147 w 11490376"/>
              <a:gd name="connsiteY6147" fmla="*/ 341910 h 6593118"/>
              <a:gd name="connsiteX6148" fmla="*/ 8426121 w 11490376"/>
              <a:gd name="connsiteY6148" fmla="*/ 371243 h 6593118"/>
              <a:gd name="connsiteX6149" fmla="*/ 8384771 w 11490376"/>
              <a:gd name="connsiteY6149" fmla="*/ 378576 h 6593118"/>
              <a:gd name="connsiteX6150" fmla="*/ 8331259 w 11490376"/>
              <a:gd name="connsiteY6150" fmla="*/ 371243 h 6593118"/>
              <a:gd name="connsiteX6151" fmla="*/ 8314233 w 11490376"/>
              <a:gd name="connsiteY6151" fmla="*/ 356576 h 6593118"/>
              <a:gd name="connsiteX6152" fmla="*/ 8331259 w 11490376"/>
              <a:gd name="connsiteY6152" fmla="*/ 322355 h 6593118"/>
              <a:gd name="connsiteX6153" fmla="*/ 8343421 w 11490376"/>
              <a:gd name="connsiteY6153" fmla="*/ 295467 h 6593118"/>
              <a:gd name="connsiteX6154" fmla="*/ 5907909 w 11490376"/>
              <a:gd name="connsiteY6154" fmla="*/ 260585 h 6593118"/>
              <a:gd name="connsiteX6155" fmla="*/ 5954484 w 11490376"/>
              <a:gd name="connsiteY6155" fmla="*/ 333578 h 6593118"/>
              <a:gd name="connsiteX6156" fmla="*/ 6094207 w 11490376"/>
              <a:gd name="connsiteY6156" fmla="*/ 406568 h 6593118"/>
              <a:gd name="connsiteX6157" fmla="*/ 6072146 w 11490376"/>
              <a:gd name="connsiteY6157" fmla="*/ 450364 h 6593118"/>
              <a:gd name="connsiteX6158" fmla="*/ 6042731 w 11490376"/>
              <a:gd name="connsiteY6158" fmla="*/ 438200 h 6593118"/>
              <a:gd name="connsiteX6159" fmla="*/ 5983900 w 11490376"/>
              <a:gd name="connsiteY6159" fmla="*/ 443065 h 6593118"/>
              <a:gd name="connsiteX6160" fmla="*/ 5983900 w 11490376"/>
              <a:gd name="connsiteY6160" fmla="*/ 401703 h 6593118"/>
              <a:gd name="connsiteX6161" fmla="*/ 5954484 w 11490376"/>
              <a:gd name="connsiteY6161" fmla="*/ 384671 h 6593118"/>
              <a:gd name="connsiteX6162" fmla="*/ 5903008 w 11490376"/>
              <a:gd name="connsiteY6162" fmla="*/ 438200 h 6593118"/>
              <a:gd name="connsiteX6163" fmla="*/ 5888299 w 11490376"/>
              <a:gd name="connsiteY6163" fmla="*/ 499026 h 6593118"/>
              <a:gd name="connsiteX6164" fmla="*/ 5853982 w 11490376"/>
              <a:gd name="connsiteY6164" fmla="*/ 484428 h 6593118"/>
              <a:gd name="connsiteX6165" fmla="*/ 5827017 w 11490376"/>
              <a:gd name="connsiteY6165" fmla="*/ 443065 h 6593118"/>
              <a:gd name="connsiteX6166" fmla="*/ 5797602 w 11490376"/>
              <a:gd name="connsiteY6166" fmla="*/ 418734 h 6593118"/>
              <a:gd name="connsiteX6167" fmla="*/ 5804956 w 11490376"/>
              <a:gd name="connsiteY6167" fmla="*/ 387105 h 6593118"/>
              <a:gd name="connsiteX6168" fmla="*/ 5817212 w 11490376"/>
              <a:gd name="connsiteY6168" fmla="*/ 353041 h 6593118"/>
              <a:gd name="connsiteX6169" fmla="*/ 5790249 w 11490376"/>
              <a:gd name="connsiteY6169" fmla="*/ 345742 h 6593118"/>
              <a:gd name="connsiteX6170" fmla="*/ 5760833 w 11490376"/>
              <a:gd name="connsiteY6170" fmla="*/ 374938 h 6593118"/>
              <a:gd name="connsiteX6171" fmla="*/ 5706904 w 11490376"/>
              <a:gd name="connsiteY6171" fmla="*/ 370073 h 6593118"/>
              <a:gd name="connsiteX6172" fmla="*/ 5697099 w 11490376"/>
              <a:gd name="connsiteY6172" fmla="*/ 328710 h 6593118"/>
              <a:gd name="connsiteX6173" fmla="*/ 5687294 w 11490376"/>
              <a:gd name="connsiteY6173" fmla="*/ 306813 h 6593118"/>
              <a:gd name="connsiteX6174" fmla="*/ 5736320 w 11490376"/>
              <a:gd name="connsiteY6174" fmla="*/ 267884 h 6593118"/>
              <a:gd name="connsiteX6175" fmla="*/ 5753479 w 11490376"/>
              <a:gd name="connsiteY6175" fmla="*/ 309245 h 6593118"/>
              <a:gd name="connsiteX6176" fmla="*/ 5790249 w 11490376"/>
              <a:gd name="connsiteY6176" fmla="*/ 287348 h 6593118"/>
              <a:gd name="connsiteX6177" fmla="*/ 5834371 w 11490376"/>
              <a:gd name="connsiteY6177" fmla="*/ 316544 h 6593118"/>
              <a:gd name="connsiteX6178" fmla="*/ 5846628 w 11490376"/>
              <a:gd name="connsiteY6178" fmla="*/ 267884 h 6593118"/>
              <a:gd name="connsiteX6179" fmla="*/ 2507061 w 11490376"/>
              <a:gd name="connsiteY6179" fmla="*/ 258393 h 6593118"/>
              <a:gd name="connsiteX6180" fmla="*/ 2561003 w 11490376"/>
              <a:gd name="connsiteY6180" fmla="*/ 270384 h 6593118"/>
              <a:gd name="connsiteX6181" fmla="*/ 2548741 w 11490376"/>
              <a:gd name="connsiteY6181" fmla="*/ 306359 h 6593118"/>
              <a:gd name="connsiteX6182" fmla="*/ 2502155 w 11490376"/>
              <a:gd name="connsiteY6182" fmla="*/ 306359 h 6593118"/>
              <a:gd name="connsiteX6183" fmla="*/ 8226806 w 11490376"/>
              <a:gd name="connsiteY6183" fmla="*/ 232116 h 6593118"/>
              <a:gd name="connsiteX6184" fmla="*/ 8251776 w 11490376"/>
              <a:gd name="connsiteY6184" fmla="*/ 239432 h 6593118"/>
              <a:gd name="connsiteX6185" fmla="*/ 8276746 w 11490376"/>
              <a:gd name="connsiteY6185" fmla="*/ 273572 h 6593118"/>
              <a:gd name="connsiteX6186" fmla="*/ 8276746 w 11490376"/>
              <a:gd name="connsiteY6186" fmla="*/ 300397 h 6593118"/>
              <a:gd name="connsiteX6187" fmla="*/ 8294225 w 11490376"/>
              <a:gd name="connsiteY6187" fmla="*/ 295519 h 6593118"/>
              <a:gd name="connsiteX6188" fmla="*/ 8294225 w 11490376"/>
              <a:gd name="connsiteY6188" fmla="*/ 322345 h 6593118"/>
              <a:gd name="connsiteX6189" fmla="*/ 8239291 w 11490376"/>
              <a:gd name="connsiteY6189" fmla="*/ 336977 h 6593118"/>
              <a:gd name="connsiteX6190" fmla="*/ 8189351 w 11490376"/>
              <a:gd name="connsiteY6190" fmla="*/ 315029 h 6593118"/>
              <a:gd name="connsiteX6191" fmla="*/ 8136915 w 11490376"/>
              <a:gd name="connsiteY6191" fmla="*/ 295519 h 6593118"/>
              <a:gd name="connsiteX6192" fmla="*/ 8146903 w 11490376"/>
              <a:gd name="connsiteY6192" fmla="*/ 271134 h 6593118"/>
              <a:gd name="connsiteX6193" fmla="*/ 8179363 w 11490376"/>
              <a:gd name="connsiteY6193" fmla="*/ 268695 h 6593118"/>
              <a:gd name="connsiteX6194" fmla="*/ 8196843 w 11490376"/>
              <a:gd name="connsiteY6194" fmla="*/ 239432 h 6593118"/>
              <a:gd name="connsiteX6195" fmla="*/ 6030800 w 11490376"/>
              <a:gd name="connsiteY6195" fmla="*/ 232116 h 6593118"/>
              <a:gd name="connsiteX6196" fmla="*/ 6087510 w 11490376"/>
              <a:gd name="connsiteY6196" fmla="*/ 244218 h 6593118"/>
              <a:gd name="connsiteX6197" fmla="*/ 6186136 w 11490376"/>
              <a:gd name="connsiteY6197" fmla="*/ 244218 h 6593118"/>
              <a:gd name="connsiteX6198" fmla="*/ 6129426 w 11490376"/>
              <a:gd name="connsiteY6198" fmla="*/ 297463 h 6593118"/>
              <a:gd name="connsiteX6199" fmla="*/ 6060388 w 11490376"/>
              <a:gd name="connsiteY6199" fmla="*/ 321667 h 6593118"/>
              <a:gd name="connsiteX6200" fmla="*/ 5966694 w 11490376"/>
              <a:gd name="connsiteY6200" fmla="*/ 297463 h 6593118"/>
              <a:gd name="connsiteX6201" fmla="*/ 5954365 w 11490376"/>
              <a:gd name="connsiteY6201" fmla="*/ 239377 h 6593118"/>
              <a:gd name="connsiteX6202" fmla="*/ 2695353 w 11490376"/>
              <a:gd name="connsiteY6202" fmla="*/ 179561 h 6593118"/>
              <a:gd name="connsiteX6203" fmla="*/ 2788566 w 11490376"/>
              <a:gd name="connsiteY6203" fmla="*/ 228277 h 6593118"/>
              <a:gd name="connsiteX6204" fmla="*/ 2830270 w 11490376"/>
              <a:gd name="connsiteY6204" fmla="*/ 284300 h 6593118"/>
              <a:gd name="connsiteX6205" fmla="*/ 2825364 w 11490376"/>
              <a:gd name="connsiteY6205" fmla="*/ 350068 h 6593118"/>
              <a:gd name="connsiteX6206" fmla="*/ 2793472 w 11490376"/>
              <a:gd name="connsiteY6206" fmla="*/ 393913 h 6593118"/>
              <a:gd name="connsiteX6207" fmla="*/ 2683087 w 11490376"/>
              <a:gd name="connsiteY6207" fmla="*/ 381735 h 6593118"/>
              <a:gd name="connsiteX6208" fmla="*/ 2670822 w 11490376"/>
              <a:gd name="connsiteY6208" fmla="*/ 342760 h 6593118"/>
              <a:gd name="connsiteX6209" fmla="*/ 2678184 w 11490376"/>
              <a:gd name="connsiteY6209" fmla="*/ 315967 h 6593118"/>
              <a:gd name="connsiteX6210" fmla="*/ 2634033 w 11490376"/>
              <a:gd name="connsiteY6210" fmla="*/ 315967 h 6593118"/>
              <a:gd name="connsiteX6211" fmla="*/ 2629127 w 11490376"/>
              <a:gd name="connsiteY6211" fmla="*/ 264816 h 6593118"/>
              <a:gd name="connsiteX6212" fmla="*/ 2665919 w 11490376"/>
              <a:gd name="connsiteY6212" fmla="*/ 223406 h 6593118"/>
              <a:gd name="connsiteX6213" fmla="*/ 8132047 w 11490376"/>
              <a:gd name="connsiteY6213" fmla="*/ 140145 h 6593118"/>
              <a:gd name="connsiteX6214" fmla="*/ 8179228 w 11490376"/>
              <a:gd name="connsiteY6214" fmla="*/ 167012 h 6593118"/>
              <a:gd name="connsiteX6215" fmla="*/ 8189160 w 11490376"/>
              <a:gd name="connsiteY6215" fmla="*/ 218303 h 6593118"/>
              <a:gd name="connsiteX6216" fmla="*/ 8144463 w 11490376"/>
              <a:gd name="connsiteY6216" fmla="*/ 240285 h 6593118"/>
              <a:gd name="connsiteX6217" fmla="*/ 8087350 w 11490376"/>
              <a:gd name="connsiteY6217" fmla="*/ 264710 h 6593118"/>
              <a:gd name="connsiteX6218" fmla="*/ 8045136 w 11490376"/>
              <a:gd name="connsiteY6218" fmla="*/ 237843 h 6593118"/>
              <a:gd name="connsiteX6219" fmla="*/ 8025270 w 11490376"/>
              <a:gd name="connsiteY6219" fmla="*/ 203649 h 6593118"/>
              <a:gd name="connsiteX6220" fmla="*/ 8052585 w 11490376"/>
              <a:gd name="connsiteY6220" fmla="*/ 186551 h 6593118"/>
              <a:gd name="connsiteX6221" fmla="*/ 8079901 w 11490376"/>
              <a:gd name="connsiteY6221" fmla="*/ 181667 h 6593118"/>
              <a:gd name="connsiteX6222" fmla="*/ 8107215 w 11490376"/>
              <a:gd name="connsiteY6222" fmla="*/ 157242 h 6593118"/>
              <a:gd name="connsiteX6223" fmla="*/ 3193159 w 11490376"/>
              <a:gd name="connsiteY6223" fmla="*/ 54744 h 6593118"/>
              <a:gd name="connsiteX6224" fmla="*/ 3247050 w 11490376"/>
              <a:gd name="connsiteY6224" fmla="*/ 103987 h 6593118"/>
              <a:gd name="connsiteX6225" fmla="*/ 3310739 w 11490376"/>
              <a:gd name="connsiteY6225" fmla="*/ 54744 h 6593118"/>
              <a:gd name="connsiteX6226" fmla="*/ 3494458 w 11490376"/>
              <a:gd name="connsiteY6226" fmla="*/ 62131 h 6593118"/>
              <a:gd name="connsiteX6227" fmla="*/ 3567944 w 11490376"/>
              <a:gd name="connsiteY6227" fmla="*/ 62131 h 6593118"/>
              <a:gd name="connsiteX6228" fmla="*/ 3609587 w 11490376"/>
              <a:gd name="connsiteY6228" fmla="*/ 103987 h 6593118"/>
              <a:gd name="connsiteX6229" fmla="*/ 3536100 w 11490376"/>
              <a:gd name="connsiteY6229" fmla="*/ 133532 h 6593118"/>
              <a:gd name="connsiteX6230" fmla="*/ 3425869 w 11490376"/>
              <a:gd name="connsiteY6230" fmla="*/ 153229 h 6593118"/>
              <a:gd name="connsiteX6231" fmla="*/ 3450364 w 11490376"/>
              <a:gd name="connsiteY6231" fmla="*/ 197548 h 6593118"/>
              <a:gd name="connsiteX6232" fmla="*/ 3327885 w 11490376"/>
              <a:gd name="connsiteY6232" fmla="*/ 300957 h 6593118"/>
              <a:gd name="connsiteX6233" fmla="*/ 3261748 w 11490376"/>
              <a:gd name="connsiteY6233" fmla="*/ 281261 h 6593118"/>
              <a:gd name="connsiteX6234" fmla="*/ 3210307 w 11490376"/>
              <a:gd name="connsiteY6234" fmla="*/ 313268 h 6593118"/>
              <a:gd name="connsiteX6235" fmla="*/ 3193159 w 11490376"/>
              <a:gd name="connsiteY6235" fmla="*/ 342813 h 6593118"/>
              <a:gd name="connsiteX6236" fmla="*/ 3131917 w 11490376"/>
              <a:gd name="connsiteY6236" fmla="*/ 404368 h 6593118"/>
              <a:gd name="connsiteX6237" fmla="*/ 3090272 w 11490376"/>
              <a:gd name="connsiteY6237" fmla="*/ 416678 h 6593118"/>
              <a:gd name="connsiteX6238" fmla="*/ 3053529 w 11490376"/>
              <a:gd name="connsiteY6238" fmla="*/ 431451 h 6593118"/>
              <a:gd name="connsiteX6239" fmla="*/ 3090272 w 11490376"/>
              <a:gd name="connsiteY6239" fmla="*/ 478231 h 6593118"/>
              <a:gd name="connsiteX6240" fmla="*/ 3043733 w 11490376"/>
              <a:gd name="connsiteY6240" fmla="*/ 527473 h 6593118"/>
              <a:gd name="connsiteX6241" fmla="*/ 2945757 w 11490376"/>
              <a:gd name="connsiteY6241" fmla="*/ 547170 h 6593118"/>
              <a:gd name="connsiteX6242" fmla="*/ 2776739 w 11490376"/>
              <a:gd name="connsiteY6242" fmla="*/ 520087 h 6593118"/>
              <a:gd name="connsiteX6243" fmla="*/ 2747342 w 11490376"/>
              <a:gd name="connsiteY6243" fmla="*/ 465920 h 6593118"/>
              <a:gd name="connsiteX6244" fmla="*/ 2808583 w 11490376"/>
              <a:gd name="connsiteY6244" fmla="*/ 478231 h 6593118"/>
              <a:gd name="connsiteX6245" fmla="*/ 2825735 w 11490376"/>
              <a:gd name="connsiteY6245" fmla="*/ 448685 h 6593118"/>
              <a:gd name="connsiteX6246" fmla="*/ 2862476 w 11490376"/>
              <a:gd name="connsiteY6246" fmla="*/ 421602 h 6593118"/>
              <a:gd name="connsiteX6247" fmla="*/ 2891868 w 11490376"/>
              <a:gd name="connsiteY6247" fmla="*/ 399442 h 6593118"/>
              <a:gd name="connsiteX6248" fmla="*/ 2931060 w 11490376"/>
              <a:gd name="connsiteY6248" fmla="*/ 367435 h 6593118"/>
              <a:gd name="connsiteX6249" fmla="*/ 2899218 w 11490376"/>
              <a:gd name="connsiteY6249" fmla="*/ 323116 h 6593118"/>
              <a:gd name="connsiteX6250" fmla="*/ 2904117 w 11490376"/>
              <a:gd name="connsiteY6250" fmla="*/ 276336 h 6593118"/>
              <a:gd name="connsiteX6251" fmla="*/ 2943308 w 11490376"/>
              <a:gd name="connsiteY6251" fmla="*/ 300957 h 6593118"/>
              <a:gd name="connsiteX6252" fmla="*/ 3021688 w 11490376"/>
              <a:gd name="connsiteY6252" fmla="*/ 300957 h 6593118"/>
              <a:gd name="connsiteX6253" fmla="*/ 2980049 w 11490376"/>
              <a:gd name="connsiteY6253" fmla="*/ 281261 h 6593118"/>
              <a:gd name="connsiteX6254" fmla="*/ 3029037 w 11490376"/>
              <a:gd name="connsiteY6254" fmla="*/ 256639 h 6593118"/>
              <a:gd name="connsiteX6255" fmla="*/ 3109868 w 11490376"/>
              <a:gd name="connsiteY6255" fmla="*/ 239404 h 6593118"/>
              <a:gd name="connsiteX6256" fmla="*/ 3109868 w 11490376"/>
              <a:gd name="connsiteY6256" fmla="*/ 197548 h 6593118"/>
              <a:gd name="connsiteX6257" fmla="*/ 3082923 w 11490376"/>
              <a:gd name="connsiteY6257" fmla="*/ 207397 h 6593118"/>
              <a:gd name="connsiteX6258" fmla="*/ 3009442 w 11490376"/>
              <a:gd name="connsiteY6258" fmla="*/ 224631 h 6593118"/>
              <a:gd name="connsiteX6259" fmla="*/ 2955554 w 11490376"/>
              <a:gd name="connsiteY6259" fmla="*/ 251715 h 6593118"/>
              <a:gd name="connsiteX6260" fmla="*/ 2891868 w 11490376"/>
              <a:gd name="connsiteY6260" fmla="*/ 232018 h 6593118"/>
              <a:gd name="connsiteX6261" fmla="*/ 2862476 w 11490376"/>
              <a:gd name="connsiteY6261" fmla="*/ 222169 h 6593118"/>
              <a:gd name="connsiteX6262" fmla="*/ 2830634 w 11490376"/>
              <a:gd name="connsiteY6262" fmla="*/ 185238 h 6593118"/>
              <a:gd name="connsiteX6263" fmla="*/ 2813485 w 11490376"/>
              <a:gd name="connsiteY6263" fmla="*/ 145844 h 6593118"/>
              <a:gd name="connsiteX6264" fmla="*/ 2891868 w 11490376"/>
              <a:gd name="connsiteY6264" fmla="*/ 133532 h 6593118"/>
              <a:gd name="connsiteX6265" fmla="*/ 2904117 w 11490376"/>
              <a:gd name="connsiteY6265" fmla="*/ 108911 h 6593118"/>
              <a:gd name="connsiteX6266" fmla="*/ 2960454 w 11490376"/>
              <a:gd name="connsiteY6266" fmla="*/ 99063 h 6593118"/>
              <a:gd name="connsiteX6267" fmla="*/ 2984947 w 11490376"/>
              <a:gd name="connsiteY6267" fmla="*/ 128609 h 6593118"/>
              <a:gd name="connsiteX6268" fmla="*/ 3033936 w 11490376"/>
              <a:gd name="connsiteY6268" fmla="*/ 128609 h 6593118"/>
              <a:gd name="connsiteX6269" fmla="*/ 3082923 w 11490376"/>
              <a:gd name="connsiteY6269" fmla="*/ 71980 h 6593118"/>
              <a:gd name="connsiteX6270" fmla="*/ 3188258 w 11490376"/>
              <a:gd name="connsiteY6270" fmla="*/ 79365 h 6593118"/>
              <a:gd name="connsiteX6271" fmla="*/ 4538715 w 11490376"/>
              <a:gd name="connsiteY6271" fmla="*/ 0 h 6593118"/>
              <a:gd name="connsiteX6272" fmla="*/ 4420794 w 11490376"/>
              <a:gd name="connsiteY6272" fmla="*/ 49126 h 6593118"/>
              <a:gd name="connsiteX6273" fmla="*/ 4636983 w 11490376"/>
              <a:gd name="connsiteY6273" fmla="*/ 19650 h 6593118"/>
              <a:gd name="connsiteX6274" fmla="*/ 4735249 w 11490376"/>
              <a:gd name="connsiteY6274" fmla="*/ 56495 h 6593118"/>
              <a:gd name="connsiteX6275" fmla="*/ 4686117 w 11490376"/>
              <a:gd name="connsiteY6275" fmla="*/ 68776 h 6593118"/>
              <a:gd name="connsiteX6276" fmla="*/ 4538715 w 11490376"/>
              <a:gd name="connsiteY6276" fmla="*/ 90883 h 6593118"/>
              <a:gd name="connsiteX6277" fmla="*/ 4420794 w 11490376"/>
              <a:gd name="connsiteY6277" fmla="*/ 130184 h 6593118"/>
              <a:gd name="connsiteX6278" fmla="*/ 4624700 w 11490376"/>
              <a:gd name="connsiteY6278" fmla="*/ 110533 h 6593118"/>
              <a:gd name="connsiteX6279" fmla="*/ 4617329 w 11490376"/>
              <a:gd name="connsiteY6279" fmla="*/ 167027 h 6593118"/>
              <a:gd name="connsiteX6280" fmla="*/ 4742620 w 11490376"/>
              <a:gd name="connsiteY6280" fmla="*/ 122814 h 6593118"/>
              <a:gd name="connsiteX6281" fmla="*/ 4686117 w 11490376"/>
              <a:gd name="connsiteY6281" fmla="*/ 223523 h 6593118"/>
              <a:gd name="connsiteX6282" fmla="*/ 4799124 w 11490376"/>
              <a:gd name="connsiteY6282" fmla="*/ 167027 h 6593118"/>
              <a:gd name="connsiteX6283" fmla="*/ 4877735 w 11490376"/>
              <a:gd name="connsiteY6283" fmla="*/ 142464 h 6593118"/>
              <a:gd name="connsiteX6284" fmla="*/ 5032508 w 11490376"/>
              <a:gd name="connsiteY6284" fmla="*/ 154746 h 6593118"/>
              <a:gd name="connsiteX6285" fmla="*/ 4951438 w 11490376"/>
              <a:gd name="connsiteY6285" fmla="*/ 208785 h 6593118"/>
              <a:gd name="connsiteX6286" fmla="*/ 4865454 w 11490376"/>
              <a:gd name="connsiteY6286" fmla="*/ 233347 h 6593118"/>
              <a:gd name="connsiteX6287" fmla="*/ 4828603 w 11490376"/>
              <a:gd name="connsiteY6287" fmla="*/ 238260 h 6593118"/>
              <a:gd name="connsiteX6288" fmla="*/ 4784383 w 11490376"/>
              <a:gd name="connsiteY6288" fmla="*/ 257910 h 6593118"/>
              <a:gd name="connsiteX6289" fmla="*/ 4845801 w 11490376"/>
              <a:gd name="connsiteY6289" fmla="*/ 287386 h 6593118"/>
              <a:gd name="connsiteX6290" fmla="*/ 4816321 w 11490376"/>
              <a:gd name="connsiteY6290" fmla="*/ 314406 h 6593118"/>
              <a:gd name="connsiteX6291" fmla="*/ 4762275 w 11490376"/>
              <a:gd name="connsiteY6291" fmla="*/ 348793 h 6593118"/>
              <a:gd name="connsiteX6292" fmla="*/ 4735249 w 11490376"/>
              <a:gd name="connsiteY6292" fmla="*/ 412657 h 6593118"/>
              <a:gd name="connsiteX6293" fmla="*/ 4840885 w 11490376"/>
              <a:gd name="connsiteY6293" fmla="*/ 422482 h 6593118"/>
              <a:gd name="connsiteX6294" fmla="*/ 4845801 w 11490376"/>
              <a:gd name="connsiteY6294" fmla="*/ 478977 h 6593118"/>
              <a:gd name="connsiteX6295" fmla="*/ 4816321 w 11490376"/>
              <a:gd name="connsiteY6295" fmla="*/ 486345 h 6593118"/>
              <a:gd name="connsiteX6296" fmla="*/ 4791755 w 11490376"/>
              <a:gd name="connsiteY6296" fmla="*/ 515822 h 6593118"/>
              <a:gd name="connsiteX6297" fmla="*/ 4799124 w 11490376"/>
              <a:gd name="connsiteY6297" fmla="*/ 557578 h 6593118"/>
              <a:gd name="connsiteX6298" fmla="*/ 4853169 w 11490376"/>
              <a:gd name="connsiteY6298" fmla="*/ 582141 h 6593118"/>
              <a:gd name="connsiteX6299" fmla="*/ 4840885 w 11490376"/>
              <a:gd name="connsiteY6299" fmla="*/ 621441 h 6593118"/>
              <a:gd name="connsiteX6300" fmla="*/ 4804038 w 11490376"/>
              <a:gd name="connsiteY6300" fmla="*/ 655831 h 6593118"/>
              <a:gd name="connsiteX6301" fmla="*/ 4762275 w 11490376"/>
              <a:gd name="connsiteY6301" fmla="*/ 655831 h 6593118"/>
              <a:gd name="connsiteX6302" fmla="*/ 4779469 w 11490376"/>
              <a:gd name="connsiteY6302" fmla="*/ 687761 h 6593118"/>
              <a:gd name="connsiteX6303" fmla="*/ 4730335 w 11490376"/>
              <a:gd name="connsiteY6303" fmla="*/ 700044 h 6593118"/>
              <a:gd name="connsiteX6304" fmla="*/ 4710681 w 11490376"/>
              <a:gd name="connsiteY6304" fmla="*/ 731975 h 6593118"/>
              <a:gd name="connsiteX6305" fmla="*/ 4693486 w 11490376"/>
              <a:gd name="connsiteY6305" fmla="*/ 712324 h 6593118"/>
              <a:gd name="connsiteX6306" fmla="*/ 4644353 w 11490376"/>
              <a:gd name="connsiteY6306" fmla="*/ 712324 h 6593118"/>
              <a:gd name="connsiteX6307" fmla="*/ 4636983 w 11490376"/>
              <a:gd name="connsiteY6307" fmla="*/ 754082 h 6593118"/>
              <a:gd name="connsiteX6308" fmla="*/ 4705768 w 11490376"/>
              <a:gd name="connsiteY6308" fmla="*/ 781100 h 6593118"/>
              <a:gd name="connsiteX6309" fmla="*/ 4735249 w 11490376"/>
              <a:gd name="connsiteY6309" fmla="*/ 840051 h 6593118"/>
              <a:gd name="connsiteX6310" fmla="*/ 4710681 w 11490376"/>
              <a:gd name="connsiteY6310" fmla="*/ 879353 h 6593118"/>
              <a:gd name="connsiteX6311" fmla="*/ 4664006 w 11490376"/>
              <a:gd name="connsiteY6311" fmla="*/ 854789 h 6593118"/>
              <a:gd name="connsiteX6312" fmla="*/ 4612415 w 11490376"/>
              <a:gd name="connsiteY6312" fmla="*/ 815488 h 6593118"/>
              <a:gd name="connsiteX6313" fmla="*/ 4570652 w 11490376"/>
              <a:gd name="connsiteY6313" fmla="*/ 827770 h 6593118"/>
              <a:gd name="connsiteX6314" fmla="*/ 4555913 w 11490376"/>
              <a:gd name="connsiteY6314" fmla="*/ 869528 h 6593118"/>
              <a:gd name="connsiteX6315" fmla="*/ 4632069 w 11490376"/>
              <a:gd name="connsiteY6315" fmla="*/ 881809 h 6593118"/>
              <a:gd name="connsiteX6316" fmla="*/ 4693486 w 11490376"/>
              <a:gd name="connsiteY6316" fmla="*/ 901459 h 6593118"/>
              <a:gd name="connsiteX6317" fmla="*/ 4636983 w 11490376"/>
              <a:gd name="connsiteY6317" fmla="*/ 965322 h 6593118"/>
              <a:gd name="connsiteX6318" fmla="*/ 4519064 w 11490376"/>
              <a:gd name="connsiteY6318" fmla="*/ 1043923 h 6593118"/>
              <a:gd name="connsiteX6319" fmla="*/ 4386403 w 11490376"/>
              <a:gd name="connsiteY6319" fmla="*/ 1031643 h 6593118"/>
              <a:gd name="connsiteX6320" fmla="*/ 4329898 w 11490376"/>
              <a:gd name="connsiteY6320" fmla="*/ 1142176 h 6593118"/>
              <a:gd name="connsiteX6321" fmla="*/ 4219348 w 11490376"/>
              <a:gd name="connsiteY6321" fmla="*/ 1166739 h 6593118"/>
              <a:gd name="connsiteX6322" fmla="*/ 4113710 w 11490376"/>
              <a:gd name="connsiteY6322" fmla="*/ 1191302 h 6593118"/>
              <a:gd name="connsiteX6323" fmla="*/ 4108798 w 11490376"/>
              <a:gd name="connsiteY6323" fmla="*/ 1269902 h 6593118"/>
              <a:gd name="connsiteX6324" fmla="*/ 4064577 w 11490376"/>
              <a:gd name="connsiteY6324" fmla="*/ 1326396 h 6593118"/>
              <a:gd name="connsiteX6325" fmla="*/ 4005616 w 11490376"/>
              <a:gd name="connsiteY6325" fmla="*/ 1478687 h 6593118"/>
              <a:gd name="connsiteX6326" fmla="*/ 3949115 w 11490376"/>
              <a:gd name="connsiteY6326" fmla="*/ 1490968 h 6593118"/>
              <a:gd name="connsiteX6327" fmla="*/ 3919633 w 11490376"/>
              <a:gd name="connsiteY6327" fmla="*/ 1444299 h 6593118"/>
              <a:gd name="connsiteX6328" fmla="*/ 3855758 w 11490376"/>
              <a:gd name="connsiteY6328" fmla="*/ 1429560 h 6593118"/>
              <a:gd name="connsiteX6329" fmla="*/ 3801713 w 11490376"/>
              <a:gd name="connsiteY6329" fmla="*/ 1319028 h 6593118"/>
              <a:gd name="connsiteX6330" fmla="*/ 3757492 w 11490376"/>
              <a:gd name="connsiteY6330" fmla="*/ 1203582 h 6593118"/>
              <a:gd name="connsiteX6331" fmla="*/ 3728012 w 11490376"/>
              <a:gd name="connsiteY6331" fmla="*/ 1093049 h 6593118"/>
              <a:gd name="connsiteX6332" fmla="*/ 3745209 w 11490376"/>
              <a:gd name="connsiteY6332" fmla="*/ 1036555 h 6593118"/>
              <a:gd name="connsiteX6333" fmla="*/ 3811540 w 11490376"/>
              <a:gd name="connsiteY6333" fmla="*/ 999710 h 6593118"/>
              <a:gd name="connsiteX6334" fmla="*/ 3823822 w 11490376"/>
              <a:gd name="connsiteY6334" fmla="*/ 926022 h 6593118"/>
              <a:gd name="connsiteX6335" fmla="*/ 3740296 w 11490376"/>
              <a:gd name="connsiteY6335" fmla="*/ 891634 h 6593118"/>
              <a:gd name="connsiteX6336" fmla="*/ 3804171 w 11490376"/>
              <a:gd name="connsiteY6336" fmla="*/ 869528 h 6593118"/>
              <a:gd name="connsiteX6337" fmla="*/ 3784516 w 11490376"/>
              <a:gd name="connsiteY6337" fmla="*/ 815488 h 6593118"/>
              <a:gd name="connsiteX6338" fmla="*/ 3732926 w 11490376"/>
              <a:gd name="connsiteY6338" fmla="*/ 840051 h 6593118"/>
              <a:gd name="connsiteX6339" fmla="*/ 3728012 w 11490376"/>
              <a:gd name="connsiteY6339" fmla="*/ 800751 h 6593118"/>
              <a:gd name="connsiteX6340" fmla="*/ 3708358 w 11490376"/>
              <a:gd name="connsiteY6340" fmla="*/ 700044 h 6593118"/>
              <a:gd name="connsiteX6341" fmla="*/ 3673963 w 11490376"/>
              <a:gd name="connsiteY6341" fmla="*/ 601791 h 6593118"/>
              <a:gd name="connsiteX6342" fmla="*/ 3617462 w 11490376"/>
              <a:gd name="connsiteY6342" fmla="*/ 540385 h 6593118"/>
              <a:gd name="connsiteX6343" fmla="*/ 3401272 w 11490376"/>
              <a:gd name="connsiteY6343" fmla="*/ 540385 h 6593118"/>
              <a:gd name="connsiteX6344" fmla="*/ 3315291 w 11490376"/>
              <a:gd name="connsiteY6344" fmla="*/ 478977 h 6593118"/>
              <a:gd name="connsiteX6345" fmla="*/ 3369338 w 11490376"/>
              <a:gd name="connsiteY6345" fmla="*/ 471609 h 6593118"/>
              <a:gd name="connsiteX6346" fmla="*/ 3425841 w 11490376"/>
              <a:gd name="connsiteY6346" fmla="*/ 459327 h 6593118"/>
              <a:gd name="connsiteX6347" fmla="*/ 3401272 w 11490376"/>
              <a:gd name="connsiteY6347" fmla="*/ 422482 h 6593118"/>
              <a:gd name="connsiteX6348" fmla="*/ 3273524 w 11490376"/>
              <a:gd name="connsiteY6348" fmla="*/ 429851 h 6593118"/>
              <a:gd name="connsiteX6349" fmla="*/ 3266155 w 11490376"/>
              <a:gd name="connsiteY6349" fmla="*/ 402832 h 6593118"/>
              <a:gd name="connsiteX6350" fmla="*/ 3342314 w 11490376"/>
              <a:gd name="connsiteY6350" fmla="*/ 380726 h 6593118"/>
              <a:gd name="connsiteX6351" fmla="*/ 3413556 w 11490376"/>
              <a:gd name="connsiteY6351" fmla="*/ 324230 h 6593118"/>
              <a:gd name="connsiteX6352" fmla="*/ 3494630 w 11490376"/>
              <a:gd name="connsiteY6352" fmla="*/ 302123 h 6593118"/>
              <a:gd name="connsiteX6353" fmla="*/ 3499541 w 11490376"/>
              <a:gd name="connsiteY6353" fmla="*/ 225979 h 6593118"/>
              <a:gd name="connsiteX6354" fmla="*/ 3605178 w 11490376"/>
              <a:gd name="connsiteY6354" fmla="*/ 203872 h 6593118"/>
              <a:gd name="connsiteX6355" fmla="*/ 3634658 w 11490376"/>
              <a:gd name="connsiteY6355" fmla="*/ 159659 h 6593118"/>
              <a:gd name="connsiteX6356" fmla="*/ 3676421 w 11490376"/>
              <a:gd name="connsiteY6356" fmla="*/ 122814 h 6593118"/>
              <a:gd name="connsiteX6357" fmla="*/ 3715727 w 11490376"/>
              <a:gd name="connsiteY6357" fmla="*/ 122814 h 6593118"/>
              <a:gd name="connsiteX6358" fmla="*/ 3757492 w 11490376"/>
              <a:gd name="connsiteY6358" fmla="*/ 100708 h 6593118"/>
              <a:gd name="connsiteX6359" fmla="*/ 3855758 w 11490376"/>
              <a:gd name="connsiteY6359" fmla="*/ 135096 h 6593118"/>
              <a:gd name="connsiteX6360" fmla="*/ 3843475 w 11490376"/>
              <a:gd name="connsiteY6360" fmla="*/ 105621 h 6593118"/>
              <a:gd name="connsiteX6361" fmla="*/ 3899979 w 11490376"/>
              <a:gd name="connsiteY6361" fmla="*/ 110533 h 6593118"/>
              <a:gd name="connsiteX6362" fmla="*/ 3907350 w 11490376"/>
              <a:gd name="connsiteY6362" fmla="*/ 159659 h 6593118"/>
              <a:gd name="connsiteX6363" fmla="*/ 3961397 w 11490376"/>
              <a:gd name="connsiteY6363" fmla="*/ 159659 h 6593118"/>
              <a:gd name="connsiteX6364" fmla="*/ 3961397 w 11490376"/>
              <a:gd name="connsiteY6364" fmla="*/ 100708 h 6593118"/>
              <a:gd name="connsiteX6365" fmla="*/ 4010529 w 11490376"/>
              <a:gd name="connsiteY6365" fmla="*/ 100708 h 6593118"/>
              <a:gd name="connsiteX6366" fmla="*/ 4047381 w 11490376"/>
              <a:gd name="connsiteY6366" fmla="*/ 100708 h 6593118"/>
              <a:gd name="connsiteX6367" fmla="*/ 4084231 w 11490376"/>
              <a:gd name="connsiteY6367" fmla="*/ 142464 h 6593118"/>
              <a:gd name="connsiteX6368" fmla="*/ 4101427 w 11490376"/>
              <a:gd name="connsiteY6368" fmla="*/ 88426 h 6593118"/>
              <a:gd name="connsiteX6369" fmla="*/ 4101427 w 11490376"/>
              <a:gd name="connsiteY6369" fmla="*/ 36845 h 6593118"/>
              <a:gd name="connsiteX6370" fmla="*/ 4207065 w 11490376"/>
              <a:gd name="connsiteY6370" fmla="*/ 73688 h 6593118"/>
              <a:gd name="connsiteX6371" fmla="*/ 4280764 w 11490376"/>
              <a:gd name="connsiteY6371" fmla="*/ 7369 h 659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</a:cxnLst>
            <a:rect l="l" t="t" r="r" b="b"/>
            <a:pathLst>
              <a:path w="11490376" h="6593118">
                <a:moveTo>
                  <a:pt x="3206998" y="6501436"/>
                </a:moveTo>
                <a:lnTo>
                  <a:pt x="3214204" y="6501436"/>
                </a:lnTo>
                <a:lnTo>
                  <a:pt x="3235830" y="6531171"/>
                </a:lnTo>
                <a:lnTo>
                  <a:pt x="3279077" y="6563384"/>
                </a:lnTo>
                <a:lnTo>
                  <a:pt x="3228620" y="6563384"/>
                </a:lnTo>
                <a:lnTo>
                  <a:pt x="3219010" y="6593118"/>
                </a:lnTo>
                <a:lnTo>
                  <a:pt x="3182970" y="6575773"/>
                </a:lnTo>
                <a:close/>
                <a:moveTo>
                  <a:pt x="3163265" y="6488297"/>
                </a:moveTo>
                <a:lnTo>
                  <a:pt x="3213305" y="6500397"/>
                </a:lnTo>
                <a:lnTo>
                  <a:pt x="3205796" y="6500397"/>
                </a:lnTo>
                <a:lnTo>
                  <a:pt x="3180780" y="6577848"/>
                </a:lnTo>
                <a:lnTo>
                  <a:pt x="3128239" y="6548805"/>
                </a:lnTo>
                <a:lnTo>
                  <a:pt x="3140747" y="6505240"/>
                </a:lnTo>
                <a:close/>
                <a:moveTo>
                  <a:pt x="3468390" y="6363480"/>
                </a:moveTo>
                <a:lnTo>
                  <a:pt x="3487816" y="6385851"/>
                </a:lnTo>
                <a:lnTo>
                  <a:pt x="3524236" y="6408223"/>
                </a:lnTo>
                <a:lnTo>
                  <a:pt x="3495099" y="6423136"/>
                </a:lnTo>
                <a:lnTo>
                  <a:pt x="3444111" y="6438051"/>
                </a:lnTo>
                <a:lnTo>
                  <a:pt x="3427116" y="6425623"/>
                </a:lnTo>
                <a:lnTo>
                  <a:pt x="3400409" y="6452965"/>
                </a:lnTo>
                <a:lnTo>
                  <a:pt x="3393127" y="6425623"/>
                </a:lnTo>
                <a:lnTo>
                  <a:pt x="3397982" y="6393309"/>
                </a:lnTo>
                <a:lnTo>
                  <a:pt x="3434401" y="6385851"/>
                </a:lnTo>
                <a:lnTo>
                  <a:pt x="3463536" y="6390823"/>
                </a:lnTo>
                <a:close/>
                <a:moveTo>
                  <a:pt x="2980559" y="6247565"/>
                </a:moveTo>
                <a:lnTo>
                  <a:pt x="2978937" y="6247766"/>
                </a:lnTo>
                <a:lnTo>
                  <a:pt x="2983869" y="6358294"/>
                </a:lnTo>
                <a:lnTo>
                  <a:pt x="2989070" y="6361085"/>
                </a:lnTo>
                <a:lnTo>
                  <a:pt x="2983927" y="6358312"/>
                </a:lnTo>
                <a:lnTo>
                  <a:pt x="2979025" y="6247948"/>
                </a:lnTo>
                <a:close/>
                <a:moveTo>
                  <a:pt x="2991265" y="5968278"/>
                </a:moveTo>
                <a:lnTo>
                  <a:pt x="2991265" y="6026709"/>
                </a:lnTo>
                <a:lnTo>
                  <a:pt x="3006054" y="6066009"/>
                </a:lnTo>
                <a:lnTo>
                  <a:pt x="3003590" y="6213379"/>
                </a:lnTo>
                <a:lnTo>
                  <a:pt x="2999631" y="6239018"/>
                </a:lnTo>
                <a:lnTo>
                  <a:pt x="3005976" y="6213612"/>
                </a:lnTo>
                <a:lnTo>
                  <a:pt x="3008427" y="6064006"/>
                </a:lnTo>
                <a:lnTo>
                  <a:pt x="2993726" y="6024766"/>
                </a:lnTo>
                <a:lnTo>
                  <a:pt x="2991275" y="5968358"/>
                </a:lnTo>
                <a:close/>
                <a:moveTo>
                  <a:pt x="2967421" y="5869314"/>
                </a:moveTo>
                <a:lnTo>
                  <a:pt x="2978937" y="5901444"/>
                </a:lnTo>
                <a:lnTo>
                  <a:pt x="2990887" y="5965737"/>
                </a:lnTo>
                <a:lnTo>
                  <a:pt x="2981474" y="5902138"/>
                </a:lnTo>
                <a:close/>
                <a:moveTo>
                  <a:pt x="10304771" y="5846694"/>
                </a:moveTo>
                <a:lnTo>
                  <a:pt x="10350364" y="5856775"/>
                </a:lnTo>
                <a:lnTo>
                  <a:pt x="10419954" y="5856775"/>
                </a:lnTo>
                <a:lnTo>
                  <a:pt x="10415154" y="5899620"/>
                </a:lnTo>
                <a:lnTo>
                  <a:pt x="10393557" y="5932383"/>
                </a:lnTo>
                <a:lnTo>
                  <a:pt x="10388758" y="5965148"/>
                </a:lnTo>
                <a:lnTo>
                  <a:pt x="10350364" y="5972709"/>
                </a:lnTo>
                <a:lnTo>
                  <a:pt x="10323968" y="5977750"/>
                </a:lnTo>
                <a:lnTo>
                  <a:pt x="10297573" y="5960108"/>
                </a:lnTo>
                <a:close/>
                <a:moveTo>
                  <a:pt x="11272197" y="5833555"/>
                </a:moveTo>
                <a:lnTo>
                  <a:pt x="11274647" y="5867861"/>
                </a:lnTo>
                <a:lnTo>
                  <a:pt x="11294245" y="5843356"/>
                </a:lnTo>
                <a:lnTo>
                  <a:pt x="11306494" y="5885014"/>
                </a:lnTo>
                <a:lnTo>
                  <a:pt x="11274647" y="5914420"/>
                </a:lnTo>
                <a:lnTo>
                  <a:pt x="11242800" y="5951177"/>
                </a:lnTo>
                <a:lnTo>
                  <a:pt x="11230551" y="5992834"/>
                </a:lnTo>
                <a:lnTo>
                  <a:pt x="11201156" y="5992834"/>
                </a:lnTo>
                <a:lnTo>
                  <a:pt x="11154611" y="6032042"/>
                </a:lnTo>
                <a:lnTo>
                  <a:pt x="11132563" y="6085952"/>
                </a:lnTo>
                <a:lnTo>
                  <a:pt x="11063971" y="6139862"/>
                </a:lnTo>
                <a:lnTo>
                  <a:pt x="11010078" y="6090853"/>
                </a:lnTo>
                <a:lnTo>
                  <a:pt x="11000278" y="6051645"/>
                </a:lnTo>
                <a:lnTo>
                  <a:pt x="11059072" y="5997735"/>
                </a:lnTo>
                <a:lnTo>
                  <a:pt x="11147262" y="5958528"/>
                </a:lnTo>
                <a:lnTo>
                  <a:pt x="11184008" y="5909518"/>
                </a:lnTo>
                <a:lnTo>
                  <a:pt x="11233002" y="5885014"/>
                </a:lnTo>
                <a:lnTo>
                  <a:pt x="11240351" y="5836004"/>
                </a:lnTo>
                <a:close/>
                <a:moveTo>
                  <a:pt x="2965329" y="5742530"/>
                </a:moveTo>
                <a:lnTo>
                  <a:pt x="2993729" y="5805653"/>
                </a:lnTo>
                <a:lnTo>
                  <a:pt x="2966612" y="5837583"/>
                </a:lnTo>
                <a:lnTo>
                  <a:pt x="2966612" y="5867057"/>
                </a:lnTo>
                <a:lnTo>
                  <a:pt x="2966794" y="5867565"/>
                </a:lnTo>
                <a:lnTo>
                  <a:pt x="2969224" y="5838373"/>
                </a:lnTo>
                <a:lnTo>
                  <a:pt x="2996177" y="5806490"/>
                </a:lnTo>
                <a:close/>
                <a:moveTo>
                  <a:pt x="2993474" y="5683521"/>
                </a:moveTo>
                <a:lnTo>
                  <a:pt x="2986334" y="5692668"/>
                </a:lnTo>
                <a:lnTo>
                  <a:pt x="2961680" y="5734423"/>
                </a:lnTo>
                <a:lnTo>
                  <a:pt x="2962004" y="5735142"/>
                </a:lnTo>
                <a:lnTo>
                  <a:pt x="2986375" y="5693672"/>
                </a:lnTo>
                <a:close/>
                <a:moveTo>
                  <a:pt x="2993774" y="5659384"/>
                </a:moveTo>
                <a:lnTo>
                  <a:pt x="3003005" y="5669895"/>
                </a:lnTo>
                <a:lnTo>
                  <a:pt x="3003527" y="5669147"/>
                </a:lnTo>
                <a:close/>
                <a:moveTo>
                  <a:pt x="11343108" y="5568593"/>
                </a:moveTo>
                <a:lnTo>
                  <a:pt x="11377469" y="5573470"/>
                </a:lnTo>
                <a:lnTo>
                  <a:pt x="11389742" y="5602734"/>
                </a:lnTo>
                <a:lnTo>
                  <a:pt x="11387287" y="5646628"/>
                </a:lnTo>
                <a:lnTo>
                  <a:pt x="11409378" y="5656383"/>
                </a:lnTo>
                <a:lnTo>
                  <a:pt x="11426558" y="5656383"/>
                </a:lnTo>
                <a:lnTo>
                  <a:pt x="11429013" y="5702717"/>
                </a:lnTo>
                <a:lnTo>
                  <a:pt x="11487921" y="5702717"/>
                </a:lnTo>
                <a:lnTo>
                  <a:pt x="11490376" y="5731980"/>
                </a:lnTo>
                <a:lnTo>
                  <a:pt x="11478103" y="5770998"/>
                </a:lnTo>
                <a:lnTo>
                  <a:pt x="11424105" y="5802699"/>
                </a:lnTo>
                <a:lnTo>
                  <a:pt x="11389742" y="5836839"/>
                </a:lnTo>
                <a:lnTo>
                  <a:pt x="11379924" y="5888050"/>
                </a:lnTo>
                <a:lnTo>
                  <a:pt x="11348015" y="5873419"/>
                </a:lnTo>
                <a:lnTo>
                  <a:pt x="11335743" y="5797822"/>
                </a:lnTo>
                <a:lnTo>
                  <a:pt x="11330835" y="5770998"/>
                </a:lnTo>
                <a:lnTo>
                  <a:pt x="11365197" y="5729541"/>
                </a:lnTo>
                <a:lnTo>
                  <a:pt x="11379924" y="5685647"/>
                </a:lnTo>
                <a:lnTo>
                  <a:pt x="11362743" y="5651506"/>
                </a:lnTo>
                <a:lnTo>
                  <a:pt x="11343108" y="5607610"/>
                </a:lnTo>
                <a:close/>
                <a:moveTo>
                  <a:pt x="3003799" y="5551290"/>
                </a:moveTo>
                <a:lnTo>
                  <a:pt x="3006054" y="5589508"/>
                </a:lnTo>
                <a:lnTo>
                  <a:pt x="2986334" y="5596877"/>
                </a:lnTo>
                <a:lnTo>
                  <a:pt x="2986334" y="5650913"/>
                </a:lnTo>
                <a:lnTo>
                  <a:pt x="2986375" y="5650960"/>
                </a:lnTo>
                <a:lnTo>
                  <a:pt x="2986375" y="5598023"/>
                </a:lnTo>
                <a:lnTo>
                  <a:pt x="3008427" y="5590666"/>
                </a:lnTo>
                <a:close/>
                <a:moveTo>
                  <a:pt x="3404803" y="5471130"/>
                </a:moveTo>
                <a:lnTo>
                  <a:pt x="3400487" y="5477848"/>
                </a:lnTo>
                <a:lnTo>
                  <a:pt x="3397041" y="5505438"/>
                </a:lnTo>
                <a:lnTo>
                  <a:pt x="3402620" y="5475029"/>
                </a:lnTo>
                <a:close/>
                <a:moveTo>
                  <a:pt x="3000896" y="5469318"/>
                </a:moveTo>
                <a:lnTo>
                  <a:pt x="2983869" y="5481437"/>
                </a:lnTo>
                <a:lnTo>
                  <a:pt x="2984788" y="5504354"/>
                </a:lnTo>
                <a:lnTo>
                  <a:pt x="2983927" y="5482754"/>
                </a:lnTo>
                <a:lnTo>
                  <a:pt x="3001076" y="5470491"/>
                </a:lnTo>
                <a:close/>
                <a:moveTo>
                  <a:pt x="5982066" y="5317220"/>
                </a:moveTo>
                <a:lnTo>
                  <a:pt x="5990371" y="5333901"/>
                </a:lnTo>
                <a:lnTo>
                  <a:pt x="6039510" y="5341302"/>
                </a:lnTo>
                <a:lnTo>
                  <a:pt x="6050584" y="5325416"/>
                </a:lnTo>
                <a:lnTo>
                  <a:pt x="6038996" y="5338398"/>
                </a:lnTo>
                <a:lnTo>
                  <a:pt x="5989625" y="5331022"/>
                </a:lnTo>
                <a:close/>
                <a:moveTo>
                  <a:pt x="3378572" y="5303070"/>
                </a:moveTo>
                <a:lnTo>
                  <a:pt x="3378434" y="5303717"/>
                </a:lnTo>
                <a:lnTo>
                  <a:pt x="3407186" y="5303717"/>
                </a:lnTo>
                <a:close/>
                <a:moveTo>
                  <a:pt x="3552638" y="5281924"/>
                </a:moveTo>
                <a:lnTo>
                  <a:pt x="3554860" y="5308623"/>
                </a:lnTo>
                <a:lnTo>
                  <a:pt x="3527907" y="5313528"/>
                </a:lnTo>
                <a:lnTo>
                  <a:pt x="3508302" y="5338053"/>
                </a:lnTo>
                <a:lnTo>
                  <a:pt x="3493602" y="5342959"/>
                </a:lnTo>
                <a:lnTo>
                  <a:pt x="3473996" y="5369936"/>
                </a:lnTo>
                <a:lnTo>
                  <a:pt x="3454394" y="5392009"/>
                </a:lnTo>
                <a:lnTo>
                  <a:pt x="3441649" y="5415394"/>
                </a:lnTo>
                <a:lnTo>
                  <a:pt x="3443586" y="5418032"/>
                </a:lnTo>
                <a:lnTo>
                  <a:pt x="3455144" y="5392609"/>
                </a:lnTo>
                <a:lnTo>
                  <a:pt x="3474828" y="5372930"/>
                </a:lnTo>
                <a:lnTo>
                  <a:pt x="3494514" y="5345875"/>
                </a:lnTo>
                <a:lnTo>
                  <a:pt x="3511734" y="5338495"/>
                </a:lnTo>
                <a:lnTo>
                  <a:pt x="3528958" y="5313900"/>
                </a:lnTo>
                <a:lnTo>
                  <a:pt x="3556020" y="5308980"/>
                </a:lnTo>
                <a:lnTo>
                  <a:pt x="3553562" y="5281924"/>
                </a:lnTo>
                <a:close/>
                <a:moveTo>
                  <a:pt x="3040137" y="5274062"/>
                </a:moveTo>
                <a:lnTo>
                  <a:pt x="3030708" y="5304591"/>
                </a:lnTo>
                <a:lnTo>
                  <a:pt x="3006054" y="5321785"/>
                </a:lnTo>
                <a:lnTo>
                  <a:pt x="3003590" y="5356171"/>
                </a:lnTo>
                <a:lnTo>
                  <a:pt x="2988799" y="5378276"/>
                </a:lnTo>
                <a:lnTo>
                  <a:pt x="2988959" y="5379547"/>
                </a:lnTo>
                <a:lnTo>
                  <a:pt x="3003527" y="5357674"/>
                </a:lnTo>
                <a:lnTo>
                  <a:pt x="3008427" y="5323338"/>
                </a:lnTo>
                <a:lnTo>
                  <a:pt x="3030480" y="5306171"/>
                </a:lnTo>
                <a:lnTo>
                  <a:pt x="3040281" y="5274287"/>
                </a:lnTo>
                <a:close/>
                <a:moveTo>
                  <a:pt x="6490901" y="5258169"/>
                </a:moveTo>
                <a:lnTo>
                  <a:pt x="6491596" y="5262351"/>
                </a:lnTo>
                <a:lnTo>
                  <a:pt x="6491986" y="5262514"/>
                </a:lnTo>
                <a:close/>
                <a:moveTo>
                  <a:pt x="3395429" y="5235601"/>
                </a:moveTo>
                <a:lnTo>
                  <a:pt x="3385784" y="5269382"/>
                </a:lnTo>
                <a:lnTo>
                  <a:pt x="3381308" y="5290288"/>
                </a:lnTo>
                <a:lnTo>
                  <a:pt x="3387205" y="5270768"/>
                </a:lnTo>
                <a:close/>
                <a:moveTo>
                  <a:pt x="3042805" y="5221333"/>
                </a:moveTo>
                <a:lnTo>
                  <a:pt x="3020848" y="5245643"/>
                </a:lnTo>
                <a:lnTo>
                  <a:pt x="3030316" y="5258615"/>
                </a:lnTo>
                <a:lnTo>
                  <a:pt x="3023129" y="5247309"/>
                </a:lnTo>
                <a:lnTo>
                  <a:pt x="3042729" y="5222784"/>
                </a:lnTo>
                <a:close/>
                <a:moveTo>
                  <a:pt x="6164593" y="5208821"/>
                </a:moveTo>
                <a:lnTo>
                  <a:pt x="6163906" y="5209923"/>
                </a:lnTo>
                <a:lnTo>
                  <a:pt x="6156583" y="5231987"/>
                </a:lnTo>
                <a:lnTo>
                  <a:pt x="6137055" y="5244243"/>
                </a:lnTo>
                <a:lnTo>
                  <a:pt x="6091097" y="5232706"/>
                </a:lnTo>
                <a:lnTo>
                  <a:pt x="6091107" y="5232744"/>
                </a:lnTo>
                <a:lnTo>
                  <a:pt x="6137789" y="5245080"/>
                </a:lnTo>
                <a:lnTo>
                  <a:pt x="6157445" y="5232744"/>
                </a:lnTo>
                <a:close/>
                <a:moveTo>
                  <a:pt x="3381080" y="5200244"/>
                </a:moveTo>
                <a:lnTo>
                  <a:pt x="3388233" y="5205616"/>
                </a:lnTo>
                <a:lnTo>
                  <a:pt x="3395895" y="5213283"/>
                </a:lnTo>
                <a:lnTo>
                  <a:pt x="3389644" y="5203734"/>
                </a:lnTo>
                <a:close/>
                <a:moveTo>
                  <a:pt x="6176113" y="5190313"/>
                </a:moveTo>
                <a:lnTo>
                  <a:pt x="6166756" y="5205345"/>
                </a:lnTo>
                <a:lnTo>
                  <a:pt x="6177102" y="5190801"/>
                </a:lnTo>
                <a:lnTo>
                  <a:pt x="6198812" y="5190801"/>
                </a:lnTo>
                <a:lnTo>
                  <a:pt x="6198082" y="5190313"/>
                </a:lnTo>
                <a:close/>
                <a:moveTo>
                  <a:pt x="3325119" y="5188710"/>
                </a:moveTo>
                <a:lnTo>
                  <a:pt x="3326974" y="5193353"/>
                </a:lnTo>
                <a:lnTo>
                  <a:pt x="3365436" y="5197019"/>
                </a:lnTo>
                <a:lnTo>
                  <a:pt x="3326258" y="5191319"/>
                </a:lnTo>
                <a:close/>
                <a:moveTo>
                  <a:pt x="6274446" y="5184716"/>
                </a:moveTo>
                <a:lnTo>
                  <a:pt x="6254227" y="5205021"/>
                </a:lnTo>
                <a:lnTo>
                  <a:pt x="6220456" y="5205021"/>
                </a:lnTo>
                <a:lnTo>
                  <a:pt x="6221328" y="5205604"/>
                </a:lnTo>
                <a:lnTo>
                  <a:pt x="6255724" y="5205604"/>
                </a:lnTo>
                <a:close/>
                <a:moveTo>
                  <a:pt x="6068307" y="5182970"/>
                </a:moveTo>
                <a:lnTo>
                  <a:pt x="6067108" y="5199671"/>
                </a:lnTo>
                <a:lnTo>
                  <a:pt x="6068566" y="5183283"/>
                </a:lnTo>
                <a:close/>
                <a:moveTo>
                  <a:pt x="3064971" y="5167128"/>
                </a:moveTo>
                <a:lnTo>
                  <a:pt x="3043033" y="5174413"/>
                </a:lnTo>
                <a:lnTo>
                  <a:pt x="3043033" y="5216992"/>
                </a:lnTo>
                <a:lnTo>
                  <a:pt x="3045180" y="5176185"/>
                </a:lnTo>
                <a:lnTo>
                  <a:pt x="3064781" y="5168828"/>
                </a:lnTo>
                <a:close/>
                <a:moveTo>
                  <a:pt x="6312260" y="5153726"/>
                </a:moveTo>
                <a:lnTo>
                  <a:pt x="6290844" y="5160895"/>
                </a:lnTo>
                <a:lnTo>
                  <a:pt x="6276697" y="5182204"/>
                </a:lnTo>
                <a:lnTo>
                  <a:pt x="6277838" y="5180932"/>
                </a:lnTo>
                <a:lnTo>
                  <a:pt x="6292579" y="5161195"/>
                </a:lnTo>
                <a:lnTo>
                  <a:pt x="6312236" y="5153794"/>
                </a:lnTo>
                <a:close/>
                <a:moveTo>
                  <a:pt x="3516535" y="5143969"/>
                </a:moveTo>
                <a:lnTo>
                  <a:pt x="3521289" y="5233527"/>
                </a:lnTo>
                <a:lnTo>
                  <a:pt x="3528602" y="5243458"/>
                </a:lnTo>
                <a:lnTo>
                  <a:pt x="3511539" y="5270768"/>
                </a:lnTo>
                <a:lnTo>
                  <a:pt x="3489596" y="5285665"/>
                </a:lnTo>
                <a:lnTo>
                  <a:pt x="3487383" y="5303717"/>
                </a:lnTo>
                <a:lnTo>
                  <a:pt x="3488702" y="5303717"/>
                </a:lnTo>
                <a:lnTo>
                  <a:pt x="3491151" y="5286550"/>
                </a:lnTo>
                <a:lnTo>
                  <a:pt x="3513204" y="5271835"/>
                </a:lnTo>
                <a:lnTo>
                  <a:pt x="3530356" y="5242404"/>
                </a:lnTo>
                <a:lnTo>
                  <a:pt x="3535258" y="5279192"/>
                </a:lnTo>
                <a:lnTo>
                  <a:pt x="3535998" y="5279192"/>
                </a:lnTo>
                <a:lnTo>
                  <a:pt x="3531418" y="5242569"/>
                </a:lnTo>
                <a:lnTo>
                  <a:pt x="3524038" y="5235191"/>
                </a:lnTo>
                <a:lnTo>
                  <a:pt x="3519116" y="5144184"/>
                </a:lnTo>
                <a:close/>
                <a:moveTo>
                  <a:pt x="3067601" y="5122015"/>
                </a:moveTo>
                <a:lnTo>
                  <a:pt x="3065441" y="5162889"/>
                </a:lnTo>
                <a:lnTo>
                  <a:pt x="3069682" y="5124681"/>
                </a:lnTo>
                <a:lnTo>
                  <a:pt x="3070113" y="5123771"/>
                </a:lnTo>
                <a:close/>
                <a:moveTo>
                  <a:pt x="3482604" y="5099750"/>
                </a:moveTo>
                <a:lnTo>
                  <a:pt x="3487161" y="5139182"/>
                </a:lnTo>
                <a:lnTo>
                  <a:pt x="3489315" y="5139364"/>
                </a:lnTo>
                <a:lnTo>
                  <a:pt x="3484672" y="5099910"/>
                </a:lnTo>
                <a:close/>
                <a:moveTo>
                  <a:pt x="6359831" y="5096519"/>
                </a:moveTo>
                <a:lnTo>
                  <a:pt x="6349430" y="5106963"/>
                </a:lnTo>
                <a:lnTo>
                  <a:pt x="6322579" y="5119220"/>
                </a:lnTo>
                <a:lnTo>
                  <a:pt x="6314766" y="5146679"/>
                </a:lnTo>
                <a:lnTo>
                  <a:pt x="6324520" y="5119253"/>
                </a:lnTo>
                <a:lnTo>
                  <a:pt x="6351547" y="5106916"/>
                </a:lnTo>
                <a:close/>
                <a:moveTo>
                  <a:pt x="3448285" y="5095801"/>
                </a:moveTo>
                <a:lnTo>
                  <a:pt x="3450589" y="5096974"/>
                </a:lnTo>
                <a:lnTo>
                  <a:pt x="3451414" y="5096974"/>
                </a:lnTo>
                <a:close/>
                <a:moveTo>
                  <a:pt x="3030521" y="5080703"/>
                </a:moveTo>
                <a:lnTo>
                  <a:pt x="3043033" y="5105640"/>
                </a:lnTo>
                <a:lnTo>
                  <a:pt x="3050838" y="5110304"/>
                </a:lnTo>
                <a:lnTo>
                  <a:pt x="3045549" y="5106610"/>
                </a:lnTo>
                <a:close/>
                <a:moveTo>
                  <a:pt x="3092308" y="5077137"/>
                </a:moveTo>
                <a:lnTo>
                  <a:pt x="3091827" y="5078154"/>
                </a:lnTo>
                <a:lnTo>
                  <a:pt x="3126041" y="5105061"/>
                </a:lnTo>
                <a:lnTo>
                  <a:pt x="3167699" y="5119776"/>
                </a:lnTo>
                <a:lnTo>
                  <a:pt x="3201557" y="5091869"/>
                </a:lnTo>
                <a:lnTo>
                  <a:pt x="3166148" y="5118891"/>
                </a:lnTo>
                <a:lnTo>
                  <a:pt x="3126767" y="5104154"/>
                </a:lnTo>
                <a:close/>
                <a:moveTo>
                  <a:pt x="3425047" y="5072689"/>
                </a:moveTo>
                <a:lnTo>
                  <a:pt x="3431086" y="5087043"/>
                </a:lnTo>
                <a:lnTo>
                  <a:pt x="3431876" y="5087444"/>
                </a:lnTo>
                <a:lnTo>
                  <a:pt x="3425623" y="5072853"/>
                </a:lnTo>
                <a:close/>
                <a:moveTo>
                  <a:pt x="3389644" y="5046156"/>
                </a:moveTo>
                <a:lnTo>
                  <a:pt x="3389644" y="5062215"/>
                </a:lnTo>
                <a:lnTo>
                  <a:pt x="3391133" y="5062540"/>
                </a:lnTo>
                <a:close/>
                <a:moveTo>
                  <a:pt x="6499899" y="5030145"/>
                </a:moveTo>
                <a:lnTo>
                  <a:pt x="6484172" y="5039893"/>
                </a:lnTo>
                <a:lnTo>
                  <a:pt x="6483557" y="5042133"/>
                </a:lnTo>
                <a:lnTo>
                  <a:pt x="6499982" y="5031855"/>
                </a:lnTo>
                <a:close/>
                <a:moveTo>
                  <a:pt x="3232064" y="5003266"/>
                </a:moveTo>
                <a:lnTo>
                  <a:pt x="3222756" y="5025558"/>
                </a:lnTo>
                <a:lnTo>
                  <a:pt x="3208111" y="5086471"/>
                </a:lnTo>
                <a:lnTo>
                  <a:pt x="3209356" y="5085441"/>
                </a:lnTo>
                <a:lnTo>
                  <a:pt x="3231410" y="5109967"/>
                </a:lnTo>
                <a:lnTo>
                  <a:pt x="3265476" y="5124579"/>
                </a:lnTo>
                <a:lnTo>
                  <a:pt x="3265310" y="5124285"/>
                </a:lnTo>
                <a:lnTo>
                  <a:pt x="3231180" y="5109388"/>
                </a:lnTo>
                <a:lnTo>
                  <a:pt x="3209238" y="5084560"/>
                </a:lnTo>
                <a:lnTo>
                  <a:pt x="3223868" y="5024974"/>
                </a:lnTo>
                <a:close/>
                <a:moveTo>
                  <a:pt x="3362204" y="4998311"/>
                </a:moveTo>
                <a:lnTo>
                  <a:pt x="3360585" y="4998541"/>
                </a:lnTo>
                <a:lnTo>
                  <a:pt x="3360447" y="4998326"/>
                </a:lnTo>
                <a:lnTo>
                  <a:pt x="3360483" y="4998741"/>
                </a:lnTo>
                <a:close/>
                <a:moveTo>
                  <a:pt x="3018380" y="4981266"/>
                </a:moveTo>
                <a:lnTo>
                  <a:pt x="3018380" y="5056516"/>
                </a:lnTo>
                <a:lnTo>
                  <a:pt x="3018476" y="5056707"/>
                </a:lnTo>
                <a:lnTo>
                  <a:pt x="3018476" y="4981348"/>
                </a:lnTo>
                <a:close/>
                <a:moveTo>
                  <a:pt x="11158310" y="4968595"/>
                </a:moveTo>
                <a:lnTo>
                  <a:pt x="11194696" y="4981054"/>
                </a:lnTo>
                <a:lnTo>
                  <a:pt x="11218953" y="5018432"/>
                </a:lnTo>
                <a:lnTo>
                  <a:pt x="11209250" y="5038366"/>
                </a:lnTo>
                <a:lnTo>
                  <a:pt x="11175289" y="5023414"/>
                </a:lnTo>
                <a:lnTo>
                  <a:pt x="11151032" y="5000988"/>
                </a:lnTo>
                <a:lnTo>
                  <a:pt x="11131625" y="4981054"/>
                </a:lnTo>
                <a:close/>
                <a:moveTo>
                  <a:pt x="6518631" y="4967623"/>
                </a:moveTo>
                <a:lnTo>
                  <a:pt x="6501483" y="4976128"/>
                </a:lnTo>
                <a:lnTo>
                  <a:pt x="6501566" y="4977875"/>
                </a:lnTo>
                <a:close/>
                <a:moveTo>
                  <a:pt x="2973983" y="4905961"/>
                </a:moveTo>
                <a:lnTo>
                  <a:pt x="2978937" y="4911601"/>
                </a:lnTo>
                <a:lnTo>
                  <a:pt x="2983755" y="4947594"/>
                </a:lnTo>
                <a:lnTo>
                  <a:pt x="2981562" y="4912578"/>
                </a:lnTo>
                <a:close/>
                <a:moveTo>
                  <a:pt x="3377832" y="4890579"/>
                </a:moveTo>
                <a:lnTo>
                  <a:pt x="3382738" y="4917491"/>
                </a:lnTo>
                <a:lnTo>
                  <a:pt x="3395043" y="4927314"/>
                </a:lnTo>
                <a:lnTo>
                  <a:pt x="3390121" y="4971525"/>
                </a:lnTo>
                <a:lnTo>
                  <a:pt x="3378776" y="4994169"/>
                </a:lnTo>
                <a:lnTo>
                  <a:pt x="3378874" y="4994145"/>
                </a:lnTo>
                <a:lnTo>
                  <a:pt x="3391175" y="4972007"/>
                </a:lnTo>
                <a:lnTo>
                  <a:pt x="3396098" y="4927735"/>
                </a:lnTo>
                <a:lnTo>
                  <a:pt x="3383796" y="4917895"/>
                </a:lnTo>
                <a:lnTo>
                  <a:pt x="3378874" y="4890839"/>
                </a:lnTo>
                <a:close/>
                <a:moveTo>
                  <a:pt x="3356732" y="4858864"/>
                </a:moveTo>
                <a:lnTo>
                  <a:pt x="3355696" y="4858916"/>
                </a:lnTo>
                <a:lnTo>
                  <a:pt x="3358124" y="4885561"/>
                </a:lnTo>
                <a:lnTo>
                  <a:pt x="3359183" y="4885825"/>
                </a:lnTo>
                <a:close/>
                <a:moveTo>
                  <a:pt x="3284285" y="4822265"/>
                </a:moveTo>
                <a:lnTo>
                  <a:pt x="3284285" y="4846264"/>
                </a:lnTo>
                <a:lnTo>
                  <a:pt x="3294014" y="4846264"/>
                </a:lnTo>
                <a:lnTo>
                  <a:pt x="3285380" y="4844106"/>
                </a:lnTo>
                <a:close/>
                <a:moveTo>
                  <a:pt x="6389946" y="4786233"/>
                </a:moveTo>
                <a:lnTo>
                  <a:pt x="6387359" y="4786830"/>
                </a:lnTo>
                <a:lnTo>
                  <a:pt x="6382451" y="4811386"/>
                </a:lnTo>
                <a:lnTo>
                  <a:pt x="6370185" y="4818753"/>
                </a:lnTo>
                <a:lnTo>
                  <a:pt x="6364205" y="4821318"/>
                </a:lnTo>
                <a:lnTo>
                  <a:pt x="6372892" y="4819165"/>
                </a:lnTo>
                <a:lnTo>
                  <a:pt x="6385257" y="4811806"/>
                </a:lnTo>
                <a:close/>
                <a:moveTo>
                  <a:pt x="3301444" y="4780011"/>
                </a:moveTo>
                <a:lnTo>
                  <a:pt x="3291847" y="4788218"/>
                </a:lnTo>
                <a:lnTo>
                  <a:pt x="3302602" y="4780155"/>
                </a:lnTo>
                <a:close/>
                <a:moveTo>
                  <a:pt x="6642001" y="4765913"/>
                </a:moveTo>
                <a:lnTo>
                  <a:pt x="6617668" y="4778083"/>
                </a:lnTo>
                <a:lnTo>
                  <a:pt x="6617229" y="4785115"/>
                </a:lnTo>
                <a:lnTo>
                  <a:pt x="6617669" y="4783903"/>
                </a:lnTo>
                <a:lnTo>
                  <a:pt x="6642187" y="4766719"/>
                </a:lnTo>
                <a:close/>
                <a:moveTo>
                  <a:pt x="3259565" y="4738179"/>
                </a:moveTo>
                <a:lnTo>
                  <a:pt x="3259675" y="4738195"/>
                </a:lnTo>
                <a:lnTo>
                  <a:pt x="3264342" y="4739359"/>
                </a:lnTo>
                <a:lnTo>
                  <a:pt x="3260778" y="4738340"/>
                </a:lnTo>
                <a:close/>
                <a:moveTo>
                  <a:pt x="6634626" y="4734340"/>
                </a:moveTo>
                <a:lnTo>
                  <a:pt x="6635033" y="4735681"/>
                </a:lnTo>
                <a:lnTo>
                  <a:pt x="6634831" y="4734804"/>
                </a:lnTo>
                <a:close/>
                <a:moveTo>
                  <a:pt x="3192144" y="4701965"/>
                </a:moveTo>
                <a:lnTo>
                  <a:pt x="3193223" y="4706266"/>
                </a:lnTo>
                <a:lnTo>
                  <a:pt x="3217834" y="4711178"/>
                </a:lnTo>
                <a:lnTo>
                  <a:pt x="3221098" y="4720946"/>
                </a:lnTo>
                <a:lnTo>
                  <a:pt x="3218950" y="4711285"/>
                </a:lnTo>
                <a:lnTo>
                  <a:pt x="3194346" y="4706365"/>
                </a:lnTo>
                <a:close/>
                <a:moveTo>
                  <a:pt x="2996279" y="4682391"/>
                </a:moveTo>
                <a:lnTo>
                  <a:pt x="2991736" y="4716514"/>
                </a:lnTo>
                <a:lnTo>
                  <a:pt x="2982187" y="4726081"/>
                </a:lnTo>
                <a:lnTo>
                  <a:pt x="2993868" y="4716090"/>
                </a:lnTo>
                <a:close/>
                <a:moveTo>
                  <a:pt x="6129729" y="4677540"/>
                </a:moveTo>
                <a:lnTo>
                  <a:pt x="6128352" y="4677678"/>
                </a:lnTo>
                <a:lnTo>
                  <a:pt x="6125896" y="4773596"/>
                </a:lnTo>
                <a:lnTo>
                  <a:pt x="6130809" y="4800650"/>
                </a:lnTo>
                <a:lnTo>
                  <a:pt x="6157833" y="4837542"/>
                </a:lnTo>
                <a:lnTo>
                  <a:pt x="6160289" y="4854758"/>
                </a:lnTo>
                <a:lnTo>
                  <a:pt x="6116069" y="4871974"/>
                </a:lnTo>
                <a:lnTo>
                  <a:pt x="6089045" y="4867056"/>
                </a:lnTo>
                <a:lnTo>
                  <a:pt x="6015674" y="4857262"/>
                </a:lnTo>
                <a:lnTo>
                  <a:pt x="6016779" y="4859022"/>
                </a:lnTo>
                <a:lnTo>
                  <a:pt x="6093306" y="4868856"/>
                </a:lnTo>
                <a:lnTo>
                  <a:pt x="6118986" y="4873505"/>
                </a:lnTo>
                <a:lnTo>
                  <a:pt x="6161465" y="4856916"/>
                </a:lnTo>
                <a:lnTo>
                  <a:pt x="6178554" y="4864271"/>
                </a:lnTo>
                <a:lnTo>
                  <a:pt x="6273757" y="4866722"/>
                </a:lnTo>
                <a:lnTo>
                  <a:pt x="6288403" y="4920653"/>
                </a:lnTo>
                <a:lnTo>
                  <a:pt x="6290844" y="4947619"/>
                </a:lnTo>
                <a:lnTo>
                  <a:pt x="6310372" y="4959877"/>
                </a:lnTo>
                <a:lnTo>
                  <a:pt x="6320138" y="4989294"/>
                </a:lnTo>
                <a:lnTo>
                  <a:pt x="6339666" y="4989294"/>
                </a:lnTo>
                <a:lnTo>
                  <a:pt x="6349430" y="5028517"/>
                </a:lnTo>
                <a:lnTo>
                  <a:pt x="6364076" y="5030968"/>
                </a:lnTo>
                <a:lnTo>
                  <a:pt x="6400545" y="5045617"/>
                </a:lnTo>
                <a:lnTo>
                  <a:pt x="6400688" y="5045237"/>
                </a:lnTo>
                <a:lnTo>
                  <a:pt x="6425256" y="5055105"/>
                </a:lnTo>
                <a:lnTo>
                  <a:pt x="6435084" y="5067441"/>
                </a:lnTo>
                <a:lnTo>
                  <a:pt x="6474017" y="5067441"/>
                </a:lnTo>
                <a:lnTo>
                  <a:pt x="6474173" y="5066872"/>
                </a:lnTo>
                <a:lnTo>
                  <a:pt x="6437187" y="5066872"/>
                </a:lnTo>
                <a:lnTo>
                  <a:pt x="6427295" y="5054609"/>
                </a:lnTo>
                <a:lnTo>
                  <a:pt x="6402567" y="5044798"/>
                </a:lnTo>
                <a:lnTo>
                  <a:pt x="6365473" y="5030084"/>
                </a:lnTo>
                <a:lnTo>
                  <a:pt x="6350636" y="5025178"/>
                </a:lnTo>
                <a:lnTo>
                  <a:pt x="6340744" y="4988390"/>
                </a:lnTo>
                <a:lnTo>
                  <a:pt x="6320961" y="4985937"/>
                </a:lnTo>
                <a:lnTo>
                  <a:pt x="6311070" y="4956508"/>
                </a:lnTo>
                <a:lnTo>
                  <a:pt x="6293759" y="4946697"/>
                </a:lnTo>
                <a:lnTo>
                  <a:pt x="6288813" y="4919718"/>
                </a:lnTo>
                <a:lnTo>
                  <a:pt x="6273976" y="4865762"/>
                </a:lnTo>
                <a:lnTo>
                  <a:pt x="6293759" y="4858405"/>
                </a:lnTo>
                <a:lnTo>
                  <a:pt x="6328381" y="4858405"/>
                </a:lnTo>
                <a:lnTo>
                  <a:pt x="6348164" y="4851048"/>
                </a:lnTo>
                <a:lnTo>
                  <a:pt x="6352294" y="4828516"/>
                </a:lnTo>
                <a:lnTo>
                  <a:pt x="6345652" y="4850676"/>
                </a:lnTo>
                <a:lnTo>
                  <a:pt x="6326026" y="4858043"/>
                </a:lnTo>
                <a:lnTo>
                  <a:pt x="6294133" y="4858043"/>
                </a:lnTo>
                <a:lnTo>
                  <a:pt x="6272053" y="4865408"/>
                </a:lnTo>
                <a:lnTo>
                  <a:pt x="6178827" y="4860498"/>
                </a:lnTo>
                <a:lnTo>
                  <a:pt x="6161653" y="4855586"/>
                </a:lnTo>
                <a:lnTo>
                  <a:pt x="6161653" y="4835942"/>
                </a:lnTo>
                <a:lnTo>
                  <a:pt x="6132214" y="4801564"/>
                </a:lnTo>
                <a:lnTo>
                  <a:pt x="6127306" y="4772097"/>
                </a:lnTo>
                <a:close/>
                <a:moveTo>
                  <a:pt x="6530103" y="4673900"/>
                </a:moveTo>
                <a:lnTo>
                  <a:pt x="6527198" y="4713163"/>
                </a:lnTo>
                <a:lnTo>
                  <a:pt x="6497758" y="4727897"/>
                </a:lnTo>
                <a:lnTo>
                  <a:pt x="6490397" y="4749996"/>
                </a:lnTo>
                <a:lnTo>
                  <a:pt x="6433972" y="4762275"/>
                </a:lnTo>
                <a:lnTo>
                  <a:pt x="6419252" y="4779464"/>
                </a:lnTo>
                <a:lnTo>
                  <a:pt x="6410677" y="4781444"/>
                </a:lnTo>
                <a:lnTo>
                  <a:pt x="6419878" y="4779924"/>
                </a:lnTo>
                <a:lnTo>
                  <a:pt x="6434715" y="4762756"/>
                </a:lnTo>
                <a:lnTo>
                  <a:pt x="6442808" y="4764361"/>
                </a:lnTo>
                <a:lnTo>
                  <a:pt x="6490175" y="4751989"/>
                </a:lnTo>
                <a:lnTo>
                  <a:pt x="6497529" y="4729894"/>
                </a:lnTo>
                <a:lnTo>
                  <a:pt x="6526952" y="4715164"/>
                </a:lnTo>
                <a:lnTo>
                  <a:pt x="6553922" y="4727439"/>
                </a:lnTo>
                <a:lnTo>
                  <a:pt x="6580891" y="4734804"/>
                </a:lnTo>
                <a:lnTo>
                  <a:pt x="6580196" y="4743160"/>
                </a:lnTo>
                <a:lnTo>
                  <a:pt x="6582643" y="4734289"/>
                </a:lnTo>
                <a:lnTo>
                  <a:pt x="6530103" y="4714581"/>
                </a:lnTo>
                <a:close/>
                <a:moveTo>
                  <a:pt x="6599802" y="4672196"/>
                </a:moveTo>
                <a:lnTo>
                  <a:pt x="6607790" y="4683950"/>
                </a:lnTo>
                <a:lnTo>
                  <a:pt x="6602958" y="4675884"/>
                </a:lnTo>
                <a:close/>
                <a:moveTo>
                  <a:pt x="6154294" y="4655313"/>
                </a:moveTo>
                <a:lnTo>
                  <a:pt x="6152919" y="4655542"/>
                </a:lnTo>
                <a:lnTo>
                  <a:pt x="6152919" y="4674010"/>
                </a:lnTo>
                <a:lnTo>
                  <a:pt x="6154294" y="4673873"/>
                </a:lnTo>
                <a:close/>
                <a:moveTo>
                  <a:pt x="6345901" y="4635613"/>
                </a:moveTo>
                <a:lnTo>
                  <a:pt x="6353012" y="4639495"/>
                </a:lnTo>
                <a:lnTo>
                  <a:pt x="6357723" y="4658352"/>
                </a:lnTo>
                <a:lnTo>
                  <a:pt x="6354277" y="4639833"/>
                </a:lnTo>
                <a:close/>
                <a:moveTo>
                  <a:pt x="3110762" y="4623831"/>
                </a:moveTo>
                <a:lnTo>
                  <a:pt x="3111999" y="4659601"/>
                </a:lnTo>
                <a:lnTo>
                  <a:pt x="3126767" y="4684161"/>
                </a:lnTo>
                <a:lnTo>
                  <a:pt x="3130112" y="4689725"/>
                </a:lnTo>
                <a:lnTo>
                  <a:pt x="3127913" y="4684229"/>
                </a:lnTo>
                <a:lnTo>
                  <a:pt x="3113150" y="4659632"/>
                </a:lnTo>
                <a:close/>
                <a:moveTo>
                  <a:pt x="6292119" y="4619979"/>
                </a:moveTo>
                <a:lnTo>
                  <a:pt x="6283640" y="4639203"/>
                </a:lnTo>
                <a:lnTo>
                  <a:pt x="6284319" y="4639495"/>
                </a:lnTo>
                <a:close/>
                <a:moveTo>
                  <a:pt x="6549493" y="4616977"/>
                </a:moveTo>
                <a:lnTo>
                  <a:pt x="6551359" y="4627561"/>
                </a:lnTo>
                <a:lnTo>
                  <a:pt x="6551995" y="4626990"/>
                </a:lnTo>
                <a:close/>
                <a:moveTo>
                  <a:pt x="7104935" y="4609472"/>
                </a:moveTo>
                <a:lnTo>
                  <a:pt x="7127015" y="4624267"/>
                </a:lnTo>
                <a:lnTo>
                  <a:pt x="7129467" y="4666185"/>
                </a:lnTo>
                <a:lnTo>
                  <a:pt x="7151548" y="4678515"/>
                </a:lnTo>
                <a:lnTo>
                  <a:pt x="7149095" y="4767283"/>
                </a:lnTo>
                <a:lnTo>
                  <a:pt x="7131921" y="4767283"/>
                </a:lnTo>
                <a:lnTo>
                  <a:pt x="7129467" y="4821531"/>
                </a:lnTo>
                <a:lnTo>
                  <a:pt x="7109841" y="4833859"/>
                </a:lnTo>
                <a:lnTo>
                  <a:pt x="7109841" y="4902901"/>
                </a:lnTo>
                <a:lnTo>
                  <a:pt x="7095122" y="4917696"/>
                </a:lnTo>
                <a:lnTo>
                  <a:pt x="7070588" y="4934957"/>
                </a:lnTo>
                <a:lnTo>
                  <a:pt x="7073042" y="5021259"/>
                </a:lnTo>
                <a:lnTo>
                  <a:pt x="7060775" y="5028657"/>
                </a:lnTo>
                <a:lnTo>
                  <a:pt x="7060775" y="5090301"/>
                </a:lnTo>
                <a:lnTo>
                  <a:pt x="7041149" y="5097700"/>
                </a:lnTo>
                <a:lnTo>
                  <a:pt x="7031335" y="5144549"/>
                </a:lnTo>
                <a:lnTo>
                  <a:pt x="7014161" y="5156879"/>
                </a:lnTo>
                <a:lnTo>
                  <a:pt x="6996989" y="5169207"/>
                </a:lnTo>
                <a:lnTo>
                  <a:pt x="6972456" y="5171673"/>
                </a:lnTo>
                <a:lnTo>
                  <a:pt x="6950376" y="5193865"/>
                </a:lnTo>
                <a:lnTo>
                  <a:pt x="6933203" y="5186468"/>
                </a:lnTo>
                <a:lnTo>
                  <a:pt x="6918483" y="5171673"/>
                </a:lnTo>
                <a:lnTo>
                  <a:pt x="6896403" y="5171673"/>
                </a:lnTo>
                <a:lnTo>
                  <a:pt x="6896403" y="5075507"/>
                </a:lnTo>
                <a:lnTo>
                  <a:pt x="6871870" y="5075507"/>
                </a:lnTo>
                <a:lnTo>
                  <a:pt x="6869416" y="5028657"/>
                </a:lnTo>
                <a:lnTo>
                  <a:pt x="6891496" y="5021259"/>
                </a:lnTo>
                <a:lnTo>
                  <a:pt x="6893950" y="5003999"/>
                </a:lnTo>
                <a:lnTo>
                  <a:pt x="6911123" y="4996601"/>
                </a:lnTo>
                <a:lnTo>
                  <a:pt x="6918483" y="4962080"/>
                </a:lnTo>
                <a:lnTo>
                  <a:pt x="6933203" y="4952217"/>
                </a:lnTo>
                <a:lnTo>
                  <a:pt x="6928297" y="4925094"/>
                </a:lnTo>
                <a:lnTo>
                  <a:pt x="6918483" y="4922628"/>
                </a:lnTo>
                <a:lnTo>
                  <a:pt x="6911123" y="4819064"/>
                </a:lnTo>
                <a:lnTo>
                  <a:pt x="6925843" y="4816599"/>
                </a:lnTo>
                <a:lnTo>
                  <a:pt x="6933203" y="4784543"/>
                </a:lnTo>
                <a:lnTo>
                  <a:pt x="6955282" y="4774680"/>
                </a:lnTo>
                <a:lnTo>
                  <a:pt x="6960189" y="4759885"/>
                </a:lnTo>
                <a:lnTo>
                  <a:pt x="6982270" y="4759885"/>
                </a:lnTo>
                <a:lnTo>
                  <a:pt x="6987176" y="4779611"/>
                </a:lnTo>
                <a:lnTo>
                  <a:pt x="6999442" y="4782078"/>
                </a:lnTo>
                <a:lnTo>
                  <a:pt x="7006802" y="4762352"/>
                </a:lnTo>
                <a:lnTo>
                  <a:pt x="7026429" y="4745090"/>
                </a:lnTo>
                <a:lnTo>
                  <a:pt x="7031335" y="4725364"/>
                </a:lnTo>
                <a:lnTo>
                  <a:pt x="7041149" y="4710569"/>
                </a:lnTo>
                <a:lnTo>
                  <a:pt x="7063228" y="4710569"/>
                </a:lnTo>
                <a:lnTo>
                  <a:pt x="7068134" y="4673583"/>
                </a:lnTo>
                <a:lnTo>
                  <a:pt x="7082854" y="4666185"/>
                </a:lnTo>
                <a:lnTo>
                  <a:pt x="7085308" y="4616869"/>
                </a:lnTo>
                <a:close/>
                <a:moveTo>
                  <a:pt x="3036880" y="4605520"/>
                </a:moveTo>
                <a:lnTo>
                  <a:pt x="3029501" y="4622737"/>
                </a:lnTo>
                <a:lnTo>
                  <a:pt x="3017200" y="4632577"/>
                </a:lnTo>
                <a:lnTo>
                  <a:pt x="2992598" y="4639955"/>
                </a:lnTo>
                <a:lnTo>
                  <a:pt x="2970954" y="4639955"/>
                </a:lnTo>
                <a:lnTo>
                  <a:pt x="2971068" y="4640132"/>
                </a:lnTo>
                <a:lnTo>
                  <a:pt x="2993868" y="4642407"/>
                </a:lnTo>
                <a:lnTo>
                  <a:pt x="3018476" y="4632582"/>
                </a:lnTo>
                <a:lnTo>
                  <a:pt x="3030783" y="4622759"/>
                </a:lnTo>
                <a:lnTo>
                  <a:pt x="3038117" y="4605674"/>
                </a:lnTo>
                <a:close/>
                <a:moveTo>
                  <a:pt x="6216668" y="4593011"/>
                </a:moveTo>
                <a:lnTo>
                  <a:pt x="6209541" y="4673873"/>
                </a:lnTo>
                <a:lnTo>
                  <a:pt x="6213173" y="4673873"/>
                </a:lnTo>
                <a:lnTo>
                  <a:pt x="6217923" y="4593047"/>
                </a:lnTo>
                <a:lnTo>
                  <a:pt x="6217340" y="4593011"/>
                </a:lnTo>
                <a:close/>
                <a:moveTo>
                  <a:pt x="2866793" y="4588792"/>
                </a:moveTo>
                <a:lnTo>
                  <a:pt x="2866824" y="4588932"/>
                </a:lnTo>
                <a:lnTo>
                  <a:pt x="2868909" y="4589280"/>
                </a:lnTo>
                <a:close/>
                <a:moveTo>
                  <a:pt x="3061277" y="4581148"/>
                </a:moveTo>
                <a:lnTo>
                  <a:pt x="3108387" y="4588201"/>
                </a:lnTo>
                <a:lnTo>
                  <a:pt x="3108229" y="4585842"/>
                </a:lnTo>
                <a:close/>
                <a:moveTo>
                  <a:pt x="3059024" y="4580923"/>
                </a:moveTo>
                <a:lnTo>
                  <a:pt x="3056574" y="4607862"/>
                </a:lnTo>
                <a:lnTo>
                  <a:pt x="3057854" y="4608022"/>
                </a:lnTo>
                <a:lnTo>
                  <a:pt x="3060310" y="4581052"/>
                </a:lnTo>
                <a:close/>
                <a:moveTo>
                  <a:pt x="2923712" y="4578464"/>
                </a:moveTo>
                <a:lnTo>
                  <a:pt x="2911867" y="4586000"/>
                </a:lnTo>
                <a:lnTo>
                  <a:pt x="2924105" y="4579872"/>
                </a:lnTo>
                <a:close/>
                <a:moveTo>
                  <a:pt x="6596489" y="4571668"/>
                </a:moveTo>
                <a:lnTo>
                  <a:pt x="6596536" y="4571912"/>
                </a:lnTo>
                <a:lnTo>
                  <a:pt x="6621497" y="4589214"/>
                </a:lnTo>
                <a:lnTo>
                  <a:pt x="6621392" y="4588799"/>
                </a:lnTo>
                <a:close/>
                <a:moveTo>
                  <a:pt x="2837330" y="4564143"/>
                </a:moveTo>
                <a:lnTo>
                  <a:pt x="2837431" y="4564398"/>
                </a:lnTo>
                <a:lnTo>
                  <a:pt x="2839777" y="4564632"/>
                </a:lnTo>
                <a:close/>
                <a:moveTo>
                  <a:pt x="10408207" y="4548158"/>
                </a:moveTo>
                <a:lnTo>
                  <a:pt x="10445042" y="4594847"/>
                </a:lnTo>
                <a:lnTo>
                  <a:pt x="10425396" y="4629251"/>
                </a:lnTo>
                <a:lnTo>
                  <a:pt x="10449952" y="4695599"/>
                </a:lnTo>
                <a:lnTo>
                  <a:pt x="10494154" y="4744746"/>
                </a:lnTo>
                <a:lnTo>
                  <a:pt x="10518710" y="4835669"/>
                </a:lnTo>
                <a:lnTo>
                  <a:pt x="10521165" y="4916762"/>
                </a:lnTo>
                <a:lnTo>
                  <a:pt x="10592378" y="4953622"/>
                </a:lnTo>
                <a:lnTo>
                  <a:pt x="10602201" y="5017514"/>
                </a:lnTo>
                <a:lnTo>
                  <a:pt x="10648857" y="5042088"/>
                </a:lnTo>
                <a:lnTo>
                  <a:pt x="10670958" y="5108436"/>
                </a:lnTo>
                <a:lnTo>
                  <a:pt x="10712704" y="5164956"/>
                </a:lnTo>
                <a:lnTo>
                  <a:pt x="10717615" y="5194444"/>
                </a:lnTo>
                <a:lnTo>
                  <a:pt x="10695514" y="5324684"/>
                </a:lnTo>
                <a:lnTo>
                  <a:pt x="10695514" y="5420521"/>
                </a:lnTo>
                <a:lnTo>
                  <a:pt x="10678325" y="5447552"/>
                </a:lnTo>
                <a:lnTo>
                  <a:pt x="10619391" y="5501614"/>
                </a:lnTo>
                <a:lnTo>
                  <a:pt x="10587468" y="5567964"/>
                </a:lnTo>
                <a:lnTo>
                  <a:pt x="10543266" y="5602366"/>
                </a:lnTo>
                <a:lnTo>
                  <a:pt x="10513799" y="5678544"/>
                </a:lnTo>
                <a:lnTo>
                  <a:pt x="10413119" y="5730148"/>
                </a:lnTo>
                <a:lnTo>
                  <a:pt x="10351728" y="5752265"/>
                </a:lnTo>
                <a:lnTo>
                  <a:pt x="10263326" y="5732606"/>
                </a:lnTo>
                <a:lnTo>
                  <a:pt x="10187201" y="5705575"/>
                </a:lnTo>
                <a:lnTo>
                  <a:pt x="10152823" y="5668715"/>
                </a:lnTo>
                <a:lnTo>
                  <a:pt x="10165102" y="5634311"/>
                </a:lnTo>
                <a:lnTo>
                  <a:pt x="10162645" y="5607280"/>
                </a:lnTo>
                <a:lnTo>
                  <a:pt x="10140546" y="5585164"/>
                </a:lnTo>
                <a:lnTo>
                  <a:pt x="10135634" y="5560591"/>
                </a:lnTo>
                <a:lnTo>
                  <a:pt x="10135634" y="5543389"/>
                </a:lnTo>
                <a:lnTo>
                  <a:pt x="10123355" y="5560591"/>
                </a:lnTo>
                <a:lnTo>
                  <a:pt x="10113533" y="5585164"/>
                </a:lnTo>
                <a:lnTo>
                  <a:pt x="10088977" y="5580249"/>
                </a:lnTo>
                <a:lnTo>
                  <a:pt x="10108623" y="5553218"/>
                </a:lnTo>
                <a:lnTo>
                  <a:pt x="10123355" y="5516358"/>
                </a:lnTo>
                <a:lnTo>
                  <a:pt x="10118445" y="5489327"/>
                </a:lnTo>
                <a:lnTo>
                  <a:pt x="10098799" y="5523731"/>
                </a:lnTo>
                <a:lnTo>
                  <a:pt x="10069333" y="5553218"/>
                </a:lnTo>
                <a:lnTo>
                  <a:pt x="10042320" y="5570420"/>
                </a:lnTo>
                <a:lnTo>
                  <a:pt x="10020221" y="5575335"/>
                </a:lnTo>
                <a:lnTo>
                  <a:pt x="10017764" y="5528645"/>
                </a:lnTo>
                <a:lnTo>
                  <a:pt x="9990753" y="5489327"/>
                </a:lnTo>
                <a:lnTo>
                  <a:pt x="9963740" y="5459839"/>
                </a:lnTo>
                <a:lnTo>
                  <a:pt x="9909718" y="5454925"/>
                </a:lnTo>
                <a:lnTo>
                  <a:pt x="9907261" y="5435265"/>
                </a:lnTo>
                <a:lnTo>
                  <a:pt x="9875338" y="5445096"/>
                </a:lnTo>
                <a:lnTo>
                  <a:pt x="9831138" y="5447552"/>
                </a:lnTo>
                <a:lnTo>
                  <a:pt x="9809037" y="5469669"/>
                </a:lnTo>
                <a:lnTo>
                  <a:pt x="9696079" y="5481956"/>
                </a:lnTo>
                <a:lnTo>
                  <a:pt x="9656789" y="5508987"/>
                </a:lnTo>
                <a:lnTo>
                  <a:pt x="9634688" y="5543389"/>
                </a:lnTo>
                <a:lnTo>
                  <a:pt x="9511908" y="5560591"/>
                </a:lnTo>
                <a:lnTo>
                  <a:pt x="9452972" y="5553218"/>
                </a:lnTo>
                <a:lnTo>
                  <a:pt x="9438240" y="5580249"/>
                </a:lnTo>
                <a:lnTo>
                  <a:pt x="9423506" y="5597451"/>
                </a:lnTo>
                <a:lnTo>
                  <a:pt x="9394038" y="5590079"/>
                </a:lnTo>
                <a:lnTo>
                  <a:pt x="9322825" y="5526187"/>
                </a:lnTo>
                <a:lnTo>
                  <a:pt x="9337559" y="5504072"/>
                </a:lnTo>
                <a:lnTo>
                  <a:pt x="9349836" y="5477041"/>
                </a:lnTo>
                <a:lnTo>
                  <a:pt x="9369482" y="5474583"/>
                </a:lnTo>
                <a:lnTo>
                  <a:pt x="9367027" y="5405777"/>
                </a:lnTo>
                <a:lnTo>
                  <a:pt x="9349836" y="5393490"/>
                </a:lnTo>
                <a:lnTo>
                  <a:pt x="9349836" y="5361544"/>
                </a:lnTo>
                <a:lnTo>
                  <a:pt x="9349836" y="5314855"/>
                </a:lnTo>
                <a:lnTo>
                  <a:pt x="9327737" y="5275537"/>
                </a:lnTo>
                <a:lnTo>
                  <a:pt x="9308091" y="5211645"/>
                </a:lnTo>
                <a:lnTo>
                  <a:pt x="9313003" y="5174785"/>
                </a:lnTo>
                <a:lnTo>
                  <a:pt x="9349836" y="5199358"/>
                </a:lnTo>
                <a:lnTo>
                  <a:pt x="9357203" y="5174785"/>
                </a:lnTo>
                <a:lnTo>
                  <a:pt x="9330192" y="5157583"/>
                </a:lnTo>
                <a:lnTo>
                  <a:pt x="9322825" y="5042088"/>
                </a:lnTo>
                <a:lnTo>
                  <a:pt x="9384216" y="5037173"/>
                </a:lnTo>
                <a:lnTo>
                  <a:pt x="9438240" y="4980653"/>
                </a:lnTo>
                <a:lnTo>
                  <a:pt x="9563475" y="4943793"/>
                </a:lnTo>
                <a:lnTo>
                  <a:pt x="9612587" y="4924135"/>
                </a:lnTo>
                <a:lnTo>
                  <a:pt x="9664156" y="4860243"/>
                </a:lnTo>
                <a:lnTo>
                  <a:pt x="9673978" y="4798809"/>
                </a:lnTo>
                <a:lnTo>
                  <a:pt x="9691167" y="4825840"/>
                </a:lnTo>
                <a:lnTo>
                  <a:pt x="9710813" y="4825840"/>
                </a:lnTo>
                <a:lnTo>
                  <a:pt x="9710813" y="4798809"/>
                </a:lnTo>
                <a:lnTo>
                  <a:pt x="9728002" y="4771778"/>
                </a:lnTo>
                <a:lnTo>
                  <a:pt x="9759925" y="4757034"/>
                </a:lnTo>
                <a:lnTo>
                  <a:pt x="9786936" y="4730003"/>
                </a:lnTo>
                <a:lnTo>
                  <a:pt x="9796758" y="4695599"/>
                </a:lnTo>
                <a:lnTo>
                  <a:pt x="9850782" y="4683313"/>
                </a:lnTo>
                <a:lnTo>
                  <a:pt x="9872883" y="4710344"/>
                </a:lnTo>
                <a:lnTo>
                  <a:pt x="9890072" y="4739832"/>
                </a:lnTo>
                <a:lnTo>
                  <a:pt x="9931817" y="4730003"/>
                </a:lnTo>
                <a:lnTo>
                  <a:pt x="9936729" y="4693142"/>
                </a:lnTo>
                <a:lnTo>
                  <a:pt x="9941641" y="4673483"/>
                </a:lnTo>
                <a:lnTo>
                  <a:pt x="9968652" y="4639080"/>
                </a:lnTo>
                <a:lnTo>
                  <a:pt x="10034953" y="4629251"/>
                </a:lnTo>
                <a:lnTo>
                  <a:pt x="10027586" y="4597305"/>
                </a:lnTo>
                <a:lnTo>
                  <a:pt x="10000575" y="4585018"/>
                </a:lnTo>
                <a:lnTo>
                  <a:pt x="10005487" y="4570274"/>
                </a:lnTo>
                <a:lnTo>
                  <a:pt x="10061966" y="4577646"/>
                </a:lnTo>
                <a:lnTo>
                  <a:pt x="10113533" y="4604677"/>
                </a:lnTo>
                <a:lnTo>
                  <a:pt x="10160190" y="4609591"/>
                </a:lnTo>
                <a:lnTo>
                  <a:pt x="10206847" y="4616964"/>
                </a:lnTo>
                <a:lnTo>
                  <a:pt x="10192113" y="4661197"/>
                </a:lnTo>
                <a:lnTo>
                  <a:pt x="10170012" y="4668568"/>
                </a:lnTo>
                <a:lnTo>
                  <a:pt x="10162645" y="4700514"/>
                </a:lnTo>
                <a:lnTo>
                  <a:pt x="10147911" y="4737374"/>
                </a:lnTo>
                <a:lnTo>
                  <a:pt x="10174924" y="4747204"/>
                </a:lnTo>
                <a:lnTo>
                  <a:pt x="10204392" y="4776692"/>
                </a:lnTo>
                <a:lnTo>
                  <a:pt x="10251047" y="4793894"/>
                </a:lnTo>
                <a:lnTo>
                  <a:pt x="10287882" y="4825840"/>
                </a:lnTo>
                <a:lnTo>
                  <a:pt x="10329627" y="4825840"/>
                </a:lnTo>
                <a:lnTo>
                  <a:pt x="10341906" y="4803723"/>
                </a:lnTo>
                <a:lnTo>
                  <a:pt x="10364007" y="4766863"/>
                </a:lnTo>
                <a:lnTo>
                  <a:pt x="10361550" y="4621878"/>
                </a:lnTo>
                <a:lnTo>
                  <a:pt x="10381196" y="4594847"/>
                </a:lnTo>
                <a:close/>
                <a:moveTo>
                  <a:pt x="6560571" y="4546430"/>
                </a:moveTo>
                <a:lnTo>
                  <a:pt x="6564712" y="4548950"/>
                </a:lnTo>
                <a:lnTo>
                  <a:pt x="6562159" y="4547107"/>
                </a:lnTo>
                <a:close/>
                <a:moveTo>
                  <a:pt x="6544370" y="4538956"/>
                </a:moveTo>
                <a:lnTo>
                  <a:pt x="6544370" y="4543201"/>
                </a:lnTo>
                <a:lnTo>
                  <a:pt x="6544973" y="4539786"/>
                </a:lnTo>
                <a:lnTo>
                  <a:pt x="6544884" y="4539748"/>
                </a:lnTo>
                <a:close/>
                <a:moveTo>
                  <a:pt x="9769610" y="4513122"/>
                </a:moveTo>
                <a:lnTo>
                  <a:pt x="9769610" y="4526259"/>
                </a:lnTo>
                <a:lnTo>
                  <a:pt x="9749006" y="4549910"/>
                </a:lnTo>
                <a:lnTo>
                  <a:pt x="9728402" y="4549910"/>
                </a:lnTo>
                <a:lnTo>
                  <a:pt x="9743855" y="4518377"/>
                </a:lnTo>
                <a:close/>
                <a:moveTo>
                  <a:pt x="9640422" y="4513122"/>
                </a:moveTo>
                <a:lnTo>
                  <a:pt x="9629997" y="4534143"/>
                </a:lnTo>
                <a:lnTo>
                  <a:pt x="9588299" y="4549910"/>
                </a:lnTo>
                <a:lnTo>
                  <a:pt x="9596117" y="4518377"/>
                </a:lnTo>
                <a:close/>
                <a:moveTo>
                  <a:pt x="6483214" y="4480917"/>
                </a:moveTo>
                <a:lnTo>
                  <a:pt x="6490397" y="4489705"/>
                </a:lnTo>
                <a:lnTo>
                  <a:pt x="6505114" y="4496018"/>
                </a:lnTo>
                <a:lnTo>
                  <a:pt x="6490588" y="4488244"/>
                </a:lnTo>
                <a:close/>
                <a:moveTo>
                  <a:pt x="6401136" y="4479502"/>
                </a:moveTo>
                <a:lnTo>
                  <a:pt x="6400737" y="4479649"/>
                </a:lnTo>
                <a:lnTo>
                  <a:pt x="6388511" y="4504293"/>
                </a:lnTo>
                <a:lnTo>
                  <a:pt x="6378730" y="4612726"/>
                </a:lnTo>
                <a:lnTo>
                  <a:pt x="6393401" y="4627512"/>
                </a:lnTo>
                <a:lnTo>
                  <a:pt x="6417854" y="4629976"/>
                </a:lnTo>
                <a:lnTo>
                  <a:pt x="6425190" y="4674334"/>
                </a:lnTo>
                <a:lnTo>
                  <a:pt x="6415646" y="4695974"/>
                </a:lnTo>
                <a:lnTo>
                  <a:pt x="6416798" y="4695974"/>
                </a:lnTo>
                <a:lnTo>
                  <a:pt x="6426612" y="4671418"/>
                </a:lnTo>
                <a:lnTo>
                  <a:pt x="6419252" y="4627218"/>
                </a:lnTo>
                <a:lnTo>
                  <a:pt x="6394719" y="4627218"/>
                </a:lnTo>
                <a:lnTo>
                  <a:pt x="6379999" y="4612484"/>
                </a:lnTo>
                <a:lnTo>
                  <a:pt x="6389811" y="4504439"/>
                </a:lnTo>
                <a:close/>
                <a:moveTo>
                  <a:pt x="5998005" y="4469792"/>
                </a:moveTo>
                <a:lnTo>
                  <a:pt x="5998148" y="4471084"/>
                </a:lnTo>
                <a:lnTo>
                  <a:pt x="6062023" y="4471084"/>
                </a:lnTo>
                <a:lnTo>
                  <a:pt x="6062103" y="4469792"/>
                </a:lnTo>
                <a:close/>
                <a:moveTo>
                  <a:pt x="9665050" y="4467137"/>
                </a:moveTo>
                <a:lnTo>
                  <a:pt x="9701868" y="4481151"/>
                </a:lnTo>
                <a:lnTo>
                  <a:pt x="9674868" y="4499837"/>
                </a:lnTo>
                <a:lnTo>
                  <a:pt x="9630689" y="4492829"/>
                </a:lnTo>
                <a:lnTo>
                  <a:pt x="9623325" y="4471808"/>
                </a:lnTo>
                <a:close/>
                <a:moveTo>
                  <a:pt x="9507886" y="4462757"/>
                </a:moveTo>
                <a:lnTo>
                  <a:pt x="9512847" y="4462757"/>
                </a:lnTo>
                <a:lnTo>
                  <a:pt x="9520291" y="4462757"/>
                </a:lnTo>
                <a:lnTo>
                  <a:pt x="9525254" y="4462757"/>
                </a:lnTo>
                <a:lnTo>
                  <a:pt x="9530215" y="4465283"/>
                </a:lnTo>
                <a:lnTo>
                  <a:pt x="9530215" y="4467811"/>
                </a:lnTo>
                <a:lnTo>
                  <a:pt x="9530215" y="4470337"/>
                </a:lnTo>
                <a:lnTo>
                  <a:pt x="9530215" y="4472864"/>
                </a:lnTo>
                <a:lnTo>
                  <a:pt x="9537658" y="4475390"/>
                </a:lnTo>
                <a:lnTo>
                  <a:pt x="9530215" y="4475390"/>
                </a:lnTo>
                <a:lnTo>
                  <a:pt x="9530215" y="4477917"/>
                </a:lnTo>
                <a:lnTo>
                  <a:pt x="9530215" y="4482970"/>
                </a:lnTo>
                <a:lnTo>
                  <a:pt x="9530215" y="4488024"/>
                </a:lnTo>
                <a:lnTo>
                  <a:pt x="9525254" y="4490551"/>
                </a:lnTo>
                <a:lnTo>
                  <a:pt x="9520291" y="4490551"/>
                </a:lnTo>
                <a:lnTo>
                  <a:pt x="9520291" y="4493077"/>
                </a:lnTo>
                <a:lnTo>
                  <a:pt x="9512847" y="4490551"/>
                </a:lnTo>
                <a:lnTo>
                  <a:pt x="9507886" y="4490551"/>
                </a:lnTo>
                <a:lnTo>
                  <a:pt x="9502923" y="4488024"/>
                </a:lnTo>
                <a:lnTo>
                  <a:pt x="9502923" y="4482970"/>
                </a:lnTo>
                <a:lnTo>
                  <a:pt x="9502923" y="4477917"/>
                </a:lnTo>
                <a:lnTo>
                  <a:pt x="9502923" y="4475390"/>
                </a:lnTo>
                <a:lnTo>
                  <a:pt x="9502923" y="4472864"/>
                </a:lnTo>
                <a:lnTo>
                  <a:pt x="9502923" y="4470337"/>
                </a:lnTo>
                <a:lnTo>
                  <a:pt x="9502923" y="4467811"/>
                </a:lnTo>
                <a:lnTo>
                  <a:pt x="9502923" y="4465283"/>
                </a:lnTo>
                <a:close/>
                <a:moveTo>
                  <a:pt x="9463832" y="4462757"/>
                </a:moveTo>
                <a:lnTo>
                  <a:pt x="9466178" y="4462757"/>
                </a:lnTo>
                <a:lnTo>
                  <a:pt x="9468523" y="4462757"/>
                </a:lnTo>
                <a:lnTo>
                  <a:pt x="9475560" y="4462757"/>
                </a:lnTo>
                <a:lnTo>
                  <a:pt x="9477905" y="4462757"/>
                </a:lnTo>
                <a:lnTo>
                  <a:pt x="9480251" y="4462757"/>
                </a:lnTo>
                <a:lnTo>
                  <a:pt x="9482596" y="4465283"/>
                </a:lnTo>
                <a:lnTo>
                  <a:pt x="9484942" y="4465283"/>
                </a:lnTo>
                <a:lnTo>
                  <a:pt x="9484942" y="4467811"/>
                </a:lnTo>
                <a:lnTo>
                  <a:pt x="9484942" y="4470337"/>
                </a:lnTo>
                <a:lnTo>
                  <a:pt x="9489633" y="4470337"/>
                </a:lnTo>
                <a:lnTo>
                  <a:pt x="9489633" y="4472864"/>
                </a:lnTo>
                <a:lnTo>
                  <a:pt x="9489633" y="4475390"/>
                </a:lnTo>
                <a:lnTo>
                  <a:pt x="9489633" y="4477917"/>
                </a:lnTo>
                <a:lnTo>
                  <a:pt x="9489633" y="4482970"/>
                </a:lnTo>
                <a:lnTo>
                  <a:pt x="9484942" y="4482970"/>
                </a:lnTo>
                <a:lnTo>
                  <a:pt x="9482596" y="4488024"/>
                </a:lnTo>
                <a:lnTo>
                  <a:pt x="9480251" y="4490551"/>
                </a:lnTo>
                <a:lnTo>
                  <a:pt x="9477905" y="4490551"/>
                </a:lnTo>
                <a:lnTo>
                  <a:pt x="9475560" y="4490551"/>
                </a:lnTo>
                <a:lnTo>
                  <a:pt x="9475560" y="4493077"/>
                </a:lnTo>
                <a:lnTo>
                  <a:pt x="9468523" y="4490551"/>
                </a:lnTo>
                <a:lnTo>
                  <a:pt x="9466178" y="4490551"/>
                </a:lnTo>
                <a:lnTo>
                  <a:pt x="9463832" y="4490551"/>
                </a:lnTo>
                <a:lnTo>
                  <a:pt x="9463832" y="4488024"/>
                </a:lnTo>
                <a:lnTo>
                  <a:pt x="9461487" y="4482970"/>
                </a:lnTo>
                <a:lnTo>
                  <a:pt x="9459141" y="4482970"/>
                </a:lnTo>
                <a:lnTo>
                  <a:pt x="9459141" y="4477917"/>
                </a:lnTo>
                <a:lnTo>
                  <a:pt x="9459141" y="4475390"/>
                </a:lnTo>
                <a:lnTo>
                  <a:pt x="9459141" y="4472864"/>
                </a:lnTo>
                <a:lnTo>
                  <a:pt x="9459141" y="4470337"/>
                </a:lnTo>
                <a:lnTo>
                  <a:pt x="9461487" y="4470337"/>
                </a:lnTo>
                <a:lnTo>
                  <a:pt x="9461487" y="4467811"/>
                </a:lnTo>
                <a:lnTo>
                  <a:pt x="9461487" y="4465283"/>
                </a:lnTo>
                <a:lnTo>
                  <a:pt x="9463832" y="4465283"/>
                </a:lnTo>
                <a:close/>
                <a:moveTo>
                  <a:pt x="2821494" y="4452225"/>
                </a:moveTo>
                <a:lnTo>
                  <a:pt x="2817277" y="4454572"/>
                </a:lnTo>
                <a:lnTo>
                  <a:pt x="2820380" y="4453021"/>
                </a:lnTo>
                <a:close/>
                <a:moveTo>
                  <a:pt x="9564657" y="4451809"/>
                </a:moveTo>
                <a:lnTo>
                  <a:pt x="9577061" y="4464126"/>
                </a:lnTo>
                <a:lnTo>
                  <a:pt x="9574581" y="4488761"/>
                </a:lnTo>
                <a:lnTo>
                  <a:pt x="9542327" y="4478906"/>
                </a:lnTo>
                <a:lnTo>
                  <a:pt x="9547289" y="4464126"/>
                </a:lnTo>
                <a:close/>
                <a:moveTo>
                  <a:pt x="6436145" y="4446342"/>
                </a:moveTo>
                <a:lnTo>
                  <a:pt x="6435117" y="4446436"/>
                </a:lnTo>
                <a:lnTo>
                  <a:pt x="6434971" y="4447612"/>
                </a:lnTo>
                <a:lnTo>
                  <a:pt x="6428262" y="4467897"/>
                </a:lnTo>
                <a:lnTo>
                  <a:pt x="6429064" y="4467605"/>
                </a:lnTo>
                <a:close/>
                <a:moveTo>
                  <a:pt x="6080403" y="4415575"/>
                </a:moveTo>
                <a:lnTo>
                  <a:pt x="6065732" y="4430362"/>
                </a:lnTo>
                <a:lnTo>
                  <a:pt x="6065724" y="4430486"/>
                </a:lnTo>
                <a:lnTo>
                  <a:pt x="6079219" y="4416976"/>
                </a:lnTo>
                <a:lnTo>
                  <a:pt x="6098873" y="4461246"/>
                </a:lnTo>
                <a:lnTo>
                  <a:pt x="6113613" y="4448949"/>
                </a:lnTo>
                <a:lnTo>
                  <a:pt x="6135722" y="4444030"/>
                </a:lnTo>
                <a:lnTo>
                  <a:pt x="6150463" y="4466165"/>
                </a:lnTo>
                <a:lnTo>
                  <a:pt x="6152919" y="4544868"/>
                </a:lnTo>
                <a:lnTo>
                  <a:pt x="6152919" y="4574381"/>
                </a:lnTo>
                <a:lnTo>
                  <a:pt x="6168634" y="4586617"/>
                </a:lnTo>
                <a:lnTo>
                  <a:pt x="6153763" y="4573296"/>
                </a:lnTo>
                <a:lnTo>
                  <a:pt x="6153763" y="4543723"/>
                </a:lnTo>
                <a:lnTo>
                  <a:pt x="6151318" y="4464863"/>
                </a:lnTo>
                <a:lnTo>
                  <a:pt x="6136646" y="4442683"/>
                </a:lnTo>
                <a:lnTo>
                  <a:pt x="6114638" y="4447612"/>
                </a:lnTo>
                <a:lnTo>
                  <a:pt x="6099967" y="4459934"/>
                </a:lnTo>
                <a:close/>
                <a:moveTo>
                  <a:pt x="9205933" y="4362028"/>
                </a:moveTo>
                <a:lnTo>
                  <a:pt x="9258034" y="4381831"/>
                </a:lnTo>
                <a:lnTo>
                  <a:pt x="9310134" y="4384306"/>
                </a:lnTo>
                <a:lnTo>
                  <a:pt x="9339907" y="4404110"/>
                </a:lnTo>
                <a:lnTo>
                  <a:pt x="9379603" y="4406585"/>
                </a:lnTo>
                <a:lnTo>
                  <a:pt x="9411855" y="4404110"/>
                </a:lnTo>
                <a:lnTo>
                  <a:pt x="9406894" y="4431339"/>
                </a:lnTo>
                <a:lnTo>
                  <a:pt x="9439147" y="4446191"/>
                </a:lnTo>
                <a:lnTo>
                  <a:pt x="9436666" y="4473420"/>
                </a:lnTo>
                <a:lnTo>
                  <a:pt x="9411855" y="4473420"/>
                </a:lnTo>
                <a:lnTo>
                  <a:pt x="9384565" y="4473420"/>
                </a:lnTo>
                <a:lnTo>
                  <a:pt x="9280362" y="4473420"/>
                </a:lnTo>
                <a:lnTo>
                  <a:pt x="9275401" y="4451142"/>
                </a:lnTo>
                <a:lnTo>
                  <a:pt x="9218338" y="4451142"/>
                </a:lnTo>
                <a:lnTo>
                  <a:pt x="9193528" y="4438766"/>
                </a:lnTo>
                <a:lnTo>
                  <a:pt x="9126541" y="4438766"/>
                </a:lnTo>
                <a:lnTo>
                  <a:pt x="9106693" y="4404110"/>
                </a:lnTo>
                <a:lnTo>
                  <a:pt x="9126541" y="4379356"/>
                </a:lnTo>
                <a:lnTo>
                  <a:pt x="9153832" y="4366978"/>
                </a:lnTo>
                <a:close/>
                <a:moveTo>
                  <a:pt x="2640978" y="4362017"/>
                </a:moveTo>
                <a:lnTo>
                  <a:pt x="2613818" y="4382130"/>
                </a:lnTo>
                <a:lnTo>
                  <a:pt x="2614523" y="4382839"/>
                </a:lnTo>
                <a:close/>
                <a:moveTo>
                  <a:pt x="2923814" y="4359201"/>
                </a:moveTo>
                <a:lnTo>
                  <a:pt x="2896215" y="4373024"/>
                </a:lnTo>
                <a:lnTo>
                  <a:pt x="2876023" y="4367968"/>
                </a:lnTo>
                <a:lnTo>
                  <a:pt x="2896651" y="4374313"/>
                </a:lnTo>
                <a:lnTo>
                  <a:pt x="2923712" y="4359555"/>
                </a:lnTo>
                <a:close/>
                <a:moveTo>
                  <a:pt x="10819625" y="4322612"/>
                </a:moveTo>
                <a:lnTo>
                  <a:pt x="10824421" y="4322612"/>
                </a:lnTo>
                <a:lnTo>
                  <a:pt x="10826818" y="4322612"/>
                </a:lnTo>
                <a:lnTo>
                  <a:pt x="10831614" y="4322612"/>
                </a:lnTo>
                <a:lnTo>
                  <a:pt x="10834011" y="4322612"/>
                </a:lnTo>
                <a:lnTo>
                  <a:pt x="10838806" y="4322612"/>
                </a:lnTo>
                <a:lnTo>
                  <a:pt x="10843601" y="4325076"/>
                </a:lnTo>
                <a:lnTo>
                  <a:pt x="10845999" y="4325076"/>
                </a:lnTo>
                <a:lnTo>
                  <a:pt x="10848396" y="4327540"/>
                </a:lnTo>
                <a:lnTo>
                  <a:pt x="10850794" y="4330002"/>
                </a:lnTo>
                <a:lnTo>
                  <a:pt x="10850794" y="4332466"/>
                </a:lnTo>
                <a:lnTo>
                  <a:pt x="10853192" y="4332466"/>
                </a:lnTo>
                <a:lnTo>
                  <a:pt x="10855589" y="4334929"/>
                </a:lnTo>
                <a:lnTo>
                  <a:pt x="10855589" y="4337393"/>
                </a:lnTo>
                <a:lnTo>
                  <a:pt x="10855589" y="4339857"/>
                </a:lnTo>
                <a:lnTo>
                  <a:pt x="10855589" y="4342320"/>
                </a:lnTo>
                <a:lnTo>
                  <a:pt x="10855589" y="4344784"/>
                </a:lnTo>
                <a:lnTo>
                  <a:pt x="10853192" y="4349710"/>
                </a:lnTo>
                <a:lnTo>
                  <a:pt x="10850794" y="4349710"/>
                </a:lnTo>
                <a:lnTo>
                  <a:pt x="10848396" y="4352174"/>
                </a:lnTo>
                <a:lnTo>
                  <a:pt x="10845999" y="4354637"/>
                </a:lnTo>
                <a:lnTo>
                  <a:pt x="10843601" y="4354637"/>
                </a:lnTo>
                <a:lnTo>
                  <a:pt x="10838806" y="4357101"/>
                </a:lnTo>
                <a:lnTo>
                  <a:pt x="10834011" y="4357101"/>
                </a:lnTo>
                <a:lnTo>
                  <a:pt x="10831614" y="4359565"/>
                </a:lnTo>
                <a:lnTo>
                  <a:pt x="10826818" y="4357101"/>
                </a:lnTo>
                <a:lnTo>
                  <a:pt x="10824421" y="4357101"/>
                </a:lnTo>
                <a:lnTo>
                  <a:pt x="10819625" y="4357101"/>
                </a:lnTo>
                <a:lnTo>
                  <a:pt x="10819625" y="4354637"/>
                </a:lnTo>
                <a:lnTo>
                  <a:pt x="10814829" y="4354637"/>
                </a:lnTo>
                <a:lnTo>
                  <a:pt x="10814829" y="4352174"/>
                </a:lnTo>
                <a:lnTo>
                  <a:pt x="10812432" y="4349710"/>
                </a:lnTo>
                <a:lnTo>
                  <a:pt x="10810035" y="4349710"/>
                </a:lnTo>
                <a:lnTo>
                  <a:pt x="10807636" y="4344784"/>
                </a:lnTo>
                <a:lnTo>
                  <a:pt x="10807636" y="4342320"/>
                </a:lnTo>
                <a:lnTo>
                  <a:pt x="10807636" y="4339857"/>
                </a:lnTo>
                <a:lnTo>
                  <a:pt x="10807636" y="4337393"/>
                </a:lnTo>
                <a:lnTo>
                  <a:pt x="10807636" y="4334929"/>
                </a:lnTo>
                <a:lnTo>
                  <a:pt x="10810035" y="4332466"/>
                </a:lnTo>
                <a:lnTo>
                  <a:pt x="10812432" y="4330002"/>
                </a:lnTo>
                <a:lnTo>
                  <a:pt x="10814829" y="4327540"/>
                </a:lnTo>
                <a:lnTo>
                  <a:pt x="10814829" y="4325076"/>
                </a:lnTo>
                <a:lnTo>
                  <a:pt x="10819625" y="4325076"/>
                </a:lnTo>
                <a:close/>
                <a:moveTo>
                  <a:pt x="2740466" y="4301699"/>
                </a:moveTo>
                <a:lnTo>
                  <a:pt x="2694996" y="4321854"/>
                </a:lnTo>
                <a:lnTo>
                  <a:pt x="2657303" y="4349898"/>
                </a:lnTo>
                <a:lnTo>
                  <a:pt x="2697802" y="4321500"/>
                </a:lnTo>
                <a:close/>
                <a:moveTo>
                  <a:pt x="10736784" y="4300714"/>
                </a:moveTo>
                <a:lnTo>
                  <a:pt x="10741697" y="4327721"/>
                </a:lnTo>
                <a:lnTo>
                  <a:pt x="10722049" y="4354728"/>
                </a:lnTo>
                <a:lnTo>
                  <a:pt x="10682750" y="4379280"/>
                </a:lnTo>
                <a:lnTo>
                  <a:pt x="10643453" y="4369459"/>
                </a:lnTo>
                <a:lnTo>
                  <a:pt x="10648366" y="4339997"/>
                </a:lnTo>
                <a:lnTo>
                  <a:pt x="10702399" y="4327721"/>
                </a:lnTo>
                <a:lnTo>
                  <a:pt x="10707312" y="4303169"/>
                </a:lnTo>
                <a:close/>
                <a:moveTo>
                  <a:pt x="6407416" y="4256236"/>
                </a:moveTo>
                <a:lnTo>
                  <a:pt x="6400737" y="4289893"/>
                </a:lnTo>
                <a:lnTo>
                  <a:pt x="6403181" y="4291945"/>
                </a:lnTo>
                <a:close/>
                <a:moveTo>
                  <a:pt x="5786090" y="4253200"/>
                </a:moveTo>
                <a:lnTo>
                  <a:pt x="5787028" y="4256958"/>
                </a:lnTo>
                <a:lnTo>
                  <a:pt x="5801389" y="4267227"/>
                </a:lnTo>
                <a:lnTo>
                  <a:pt x="5801703" y="4266479"/>
                </a:lnTo>
                <a:close/>
                <a:moveTo>
                  <a:pt x="5782349" y="4237242"/>
                </a:moveTo>
                <a:lnTo>
                  <a:pt x="5782132" y="4237351"/>
                </a:lnTo>
                <a:lnTo>
                  <a:pt x="5782680" y="4239541"/>
                </a:lnTo>
                <a:close/>
                <a:moveTo>
                  <a:pt x="6449545" y="4237220"/>
                </a:moveTo>
                <a:lnTo>
                  <a:pt x="6449375" y="4237458"/>
                </a:lnTo>
                <a:lnTo>
                  <a:pt x="6457512" y="4252464"/>
                </a:lnTo>
                <a:lnTo>
                  <a:pt x="6459739" y="4294717"/>
                </a:lnTo>
                <a:lnTo>
                  <a:pt x="6460972" y="4294495"/>
                </a:lnTo>
                <a:lnTo>
                  <a:pt x="6458504" y="4252800"/>
                </a:lnTo>
                <a:close/>
                <a:moveTo>
                  <a:pt x="9958885" y="4235021"/>
                </a:moveTo>
                <a:lnTo>
                  <a:pt x="9986404" y="4235021"/>
                </a:lnTo>
                <a:lnTo>
                  <a:pt x="10001416" y="4255823"/>
                </a:lnTo>
                <a:lnTo>
                  <a:pt x="10003918" y="4274314"/>
                </a:lnTo>
                <a:lnTo>
                  <a:pt x="9976398" y="4262757"/>
                </a:lnTo>
                <a:lnTo>
                  <a:pt x="9948878" y="4255823"/>
                </a:lnTo>
                <a:lnTo>
                  <a:pt x="9918855" y="4262757"/>
                </a:lnTo>
                <a:lnTo>
                  <a:pt x="9928863" y="4241955"/>
                </a:lnTo>
                <a:close/>
                <a:moveTo>
                  <a:pt x="5826198" y="4220194"/>
                </a:moveTo>
                <a:lnTo>
                  <a:pt x="5824459" y="4220628"/>
                </a:lnTo>
                <a:lnTo>
                  <a:pt x="5843615" y="4242013"/>
                </a:lnTo>
                <a:lnTo>
                  <a:pt x="5843629" y="4242009"/>
                </a:lnTo>
                <a:close/>
                <a:moveTo>
                  <a:pt x="6618923" y="4207302"/>
                </a:moveTo>
                <a:lnTo>
                  <a:pt x="6668282" y="4247896"/>
                </a:lnTo>
                <a:lnTo>
                  <a:pt x="6705303" y="4257707"/>
                </a:lnTo>
                <a:lnTo>
                  <a:pt x="6706893" y="4278255"/>
                </a:lnTo>
                <a:lnTo>
                  <a:pt x="6706893" y="4257324"/>
                </a:lnTo>
                <a:lnTo>
                  <a:pt x="6667339" y="4245143"/>
                </a:lnTo>
                <a:close/>
                <a:moveTo>
                  <a:pt x="6394832" y="4205198"/>
                </a:moveTo>
                <a:lnTo>
                  <a:pt x="6398292" y="4220890"/>
                </a:lnTo>
                <a:lnTo>
                  <a:pt x="6383620" y="4235676"/>
                </a:lnTo>
                <a:lnTo>
                  <a:pt x="6386065" y="4255391"/>
                </a:lnTo>
                <a:lnTo>
                  <a:pt x="6407804" y="4252956"/>
                </a:lnTo>
                <a:lnTo>
                  <a:pt x="6407863" y="4252464"/>
                </a:lnTo>
                <a:lnTo>
                  <a:pt x="6436233" y="4252464"/>
                </a:lnTo>
                <a:lnTo>
                  <a:pt x="6436501" y="4252069"/>
                </a:lnTo>
                <a:lnTo>
                  <a:pt x="6409857" y="4252069"/>
                </a:lnTo>
                <a:lnTo>
                  <a:pt x="6388045" y="4254494"/>
                </a:lnTo>
                <a:lnTo>
                  <a:pt x="6385621" y="4235099"/>
                </a:lnTo>
                <a:lnTo>
                  <a:pt x="6400164" y="4222976"/>
                </a:lnTo>
                <a:close/>
                <a:moveTo>
                  <a:pt x="9792824" y="4197795"/>
                </a:moveTo>
                <a:lnTo>
                  <a:pt x="9797828" y="4197795"/>
                </a:lnTo>
                <a:lnTo>
                  <a:pt x="9800330" y="4197795"/>
                </a:lnTo>
                <a:lnTo>
                  <a:pt x="9805334" y="4197795"/>
                </a:lnTo>
                <a:lnTo>
                  <a:pt x="9810338" y="4197795"/>
                </a:lnTo>
                <a:lnTo>
                  <a:pt x="9812839" y="4197795"/>
                </a:lnTo>
                <a:lnTo>
                  <a:pt x="9820345" y="4197795"/>
                </a:lnTo>
                <a:lnTo>
                  <a:pt x="9827851" y="4197795"/>
                </a:lnTo>
                <a:lnTo>
                  <a:pt x="9830353" y="4197795"/>
                </a:lnTo>
                <a:lnTo>
                  <a:pt x="9835356" y="4197795"/>
                </a:lnTo>
                <a:lnTo>
                  <a:pt x="9837857" y="4197795"/>
                </a:lnTo>
                <a:lnTo>
                  <a:pt x="9842861" y="4197795"/>
                </a:lnTo>
                <a:lnTo>
                  <a:pt x="9845362" y="4203112"/>
                </a:lnTo>
                <a:lnTo>
                  <a:pt x="9847864" y="4211089"/>
                </a:lnTo>
                <a:lnTo>
                  <a:pt x="9850366" y="4211089"/>
                </a:lnTo>
                <a:lnTo>
                  <a:pt x="9850366" y="4216407"/>
                </a:lnTo>
                <a:lnTo>
                  <a:pt x="9852868" y="4216407"/>
                </a:lnTo>
                <a:lnTo>
                  <a:pt x="9850366" y="4224384"/>
                </a:lnTo>
                <a:lnTo>
                  <a:pt x="9847864" y="4232362"/>
                </a:lnTo>
                <a:lnTo>
                  <a:pt x="9845362" y="4232362"/>
                </a:lnTo>
                <a:lnTo>
                  <a:pt x="9842861" y="4232362"/>
                </a:lnTo>
                <a:lnTo>
                  <a:pt x="9837857" y="4232362"/>
                </a:lnTo>
                <a:lnTo>
                  <a:pt x="9835356" y="4232362"/>
                </a:lnTo>
                <a:lnTo>
                  <a:pt x="9830353" y="4232362"/>
                </a:lnTo>
                <a:lnTo>
                  <a:pt x="9827851" y="4232362"/>
                </a:lnTo>
                <a:lnTo>
                  <a:pt x="9820345" y="4232362"/>
                </a:lnTo>
                <a:lnTo>
                  <a:pt x="9812839" y="4232362"/>
                </a:lnTo>
                <a:lnTo>
                  <a:pt x="9810338" y="4232362"/>
                </a:lnTo>
                <a:lnTo>
                  <a:pt x="9805334" y="4232362"/>
                </a:lnTo>
                <a:lnTo>
                  <a:pt x="9800330" y="4232362"/>
                </a:lnTo>
                <a:lnTo>
                  <a:pt x="9797828" y="4232362"/>
                </a:lnTo>
                <a:lnTo>
                  <a:pt x="9792824" y="4232362"/>
                </a:lnTo>
                <a:lnTo>
                  <a:pt x="9790323" y="4232362"/>
                </a:lnTo>
                <a:lnTo>
                  <a:pt x="9787821" y="4232362"/>
                </a:lnTo>
                <a:lnTo>
                  <a:pt x="9785319" y="4224384"/>
                </a:lnTo>
                <a:lnTo>
                  <a:pt x="9785319" y="4216407"/>
                </a:lnTo>
                <a:lnTo>
                  <a:pt x="9785319" y="4211089"/>
                </a:lnTo>
                <a:lnTo>
                  <a:pt x="9787821" y="4211089"/>
                </a:lnTo>
                <a:lnTo>
                  <a:pt x="9790323" y="4203112"/>
                </a:lnTo>
                <a:lnTo>
                  <a:pt x="9792824" y="4203112"/>
                </a:lnTo>
                <a:close/>
                <a:moveTo>
                  <a:pt x="2758003" y="4194502"/>
                </a:moveTo>
                <a:lnTo>
                  <a:pt x="2783127" y="4213102"/>
                </a:lnTo>
                <a:lnTo>
                  <a:pt x="2814949" y="4252648"/>
                </a:lnTo>
                <a:lnTo>
                  <a:pt x="2796801" y="4275551"/>
                </a:lnTo>
                <a:lnTo>
                  <a:pt x="2798237" y="4274884"/>
                </a:lnTo>
                <a:lnTo>
                  <a:pt x="2816929" y="4251479"/>
                </a:lnTo>
                <a:lnTo>
                  <a:pt x="2816303" y="4251400"/>
                </a:lnTo>
                <a:lnTo>
                  <a:pt x="2784586" y="4212265"/>
                </a:lnTo>
                <a:close/>
                <a:moveTo>
                  <a:pt x="10276518" y="4189035"/>
                </a:moveTo>
                <a:lnTo>
                  <a:pt x="10298545" y="4203714"/>
                </a:lnTo>
                <a:lnTo>
                  <a:pt x="10371971" y="4235517"/>
                </a:lnTo>
                <a:lnTo>
                  <a:pt x="10405826" y="4247601"/>
                </a:lnTo>
                <a:lnTo>
                  <a:pt x="10404839" y="4243781"/>
                </a:lnTo>
                <a:lnTo>
                  <a:pt x="10444575" y="4258601"/>
                </a:lnTo>
                <a:lnTo>
                  <a:pt x="10504177" y="4256130"/>
                </a:lnTo>
                <a:lnTo>
                  <a:pt x="10504177" y="4305532"/>
                </a:lnTo>
                <a:lnTo>
                  <a:pt x="10541430" y="4317882"/>
                </a:lnTo>
                <a:lnTo>
                  <a:pt x="10551363" y="4342584"/>
                </a:lnTo>
                <a:lnTo>
                  <a:pt x="10578680" y="4369753"/>
                </a:lnTo>
                <a:lnTo>
                  <a:pt x="10598548" y="4389514"/>
                </a:lnTo>
                <a:lnTo>
                  <a:pt x="10593581" y="4431505"/>
                </a:lnTo>
                <a:lnTo>
                  <a:pt x="10620900" y="4478437"/>
                </a:lnTo>
                <a:lnTo>
                  <a:pt x="10670569" y="4493257"/>
                </a:lnTo>
                <a:lnTo>
                  <a:pt x="10697886" y="4540188"/>
                </a:lnTo>
                <a:lnTo>
                  <a:pt x="10692919" y="4540188"/>
                </a:lnTo>
                <a:lnTo>
                  <a:pt x="10690436" y="4542659"/>
                </a:lnTo>
                <a:lnTo>
                  <a:pt x="10685469" y="4542659"/>
                </a:lnTo>
                <a:lnTo>
                  <a:pt x="10678018" y="4542659"/>
                </a:lnTo>
                <a:lnTo>
                  <a:pt x="10673053" y="4545128"/>
                </a:lnTo>
                <a:lnTo>
                  <a:pt x="10668086" y="4547599"/>
                </a:lnTo>
                <a:lnTo>
                  <a:pt x="10660635" y="4547599"/>
                </a:lnTo>
                <a:lnTo>
                  <a:pt x="10655668" y="4550068"/>
                </a:lnTo>
                <a:lnTo>
                  <a:pt x="10650701" y="4550068"/>
                </a:lnTo>
                <a:lnTo>
                  <a:pt x="10645734" y="4550068"/>
                </a:lnTo>
                <a:lnTo>
                  <a:pt x="10643251" y="4550068"/>
                </a:lnTo>
                <a:lnTo>
                  <a:pt x="10640767" y="4545128"/>
                </a:lnTo>
                <a:lnTo>
                  <a:pt x="10635800" y="4542659"/>
                </a:lnTo>
                <a:lnTo>
                  <a:pt x="10630834" y="4542659"/>
                </a:lnTo>
                <a:lnTo>
                  <a:pt x="10623383" y="4542659"/>
                </a:lnTo>
                <a:lnTo>
                  <a:pt x="10618416" y="4540188"/>
                </a:lnTo>
                <a:lnTo>
                  <a:pt x="10610966" y="4537719"/>
                </a:lnTo>
                <a:lnTo>
                  <a:pt x="10605999" y="4535248"/>
                </a:lnTo>
                <a:lnTo>
                  <a:pt x="10598548" y="4532779"/>
                </a:lnTo>
                <a:lnTo>
                  <a:pt x="10593581" y="4532779"/>
                </a:lnTo>
                <a:lnTo>
                  <a:pt x="10591098" y="4532779"/>
                </a:lnTo>
                <a:lnTo>
                  <a:pt x="10588614" y="4532779"/>
                </a:lnTo>
                <a:lnTo>
                  <a:pt x="10541430" y="4483377"/>
                </a:lnTo>
                <a:lnTo>
                  <a:pt x="10506661" y="4436445"/>
                </a:lnTo>
                <a:lnTo>
                  <a:pt x="10452490" y="4426650"/>
                </a:lnTo>
                <a:lnTo>
                  <a:pt x="10433161" y="4450798"/>
                </a:lnTo>
                <a:lnTo>
                  <a:pt x="10416027" y="4482601"/>
                </a:lnTo>
                <a:lnTo>
                  <a:pt x="10374419" y="4499727"/>
                </a:lnTo>
                <a:lnTo>
                  <a:pt x="10345049" y="4487494"/>
                </a:lnTo>
                <a:lnTo>
                  <a:pt x="10327915" y="4467924"/>
                </a:lnTo>
                <a:lnTo>
                  <a:pt x="10283859" y="4467924"/>
                </a:lnTo>
                <a:lnTo>
                  <a:pt x="10239803" y="4472816"/>
                </a:lnTo>
                <a:lnTo>
                  <a:pt x="10232462" y="4441013"/>
                </a:lnTo>
                <a:lnTo>
                  <a:pt x="10264280" y="4428781"/>
                </a:lnTo>
                <a:lnTo>
                  <a:pt x="10271621" y="4414102"/>
                </a:lnTo>
                <a:lnTo>
                  <a:pt x="10271621" y="4372514"/>
                </a:lnTo>
                <a:lnTo>
                  <a:pt x="10237356" y="4340711"/>
                </a:lnTo>
                <a:lnTo>
                  <a:pt x="10203090" y="4321139"/>
                </a:lnTo>
                <a:lnTo>
                  <a:pt x="10154139" y="4294230"/>
                </a:lnTo>
                <a:lnTo>
                  <a:pt x="10117426" y="4299122"/>
                </a:lnTo>
                <a:lnTo>
                  <a:pt x="10102740" y="4272213"/>
                </a:lnTo>
                <a:lnTo>
                  <a:pt x="10117426" y="4267319"/>
                </a:lnTo>
                <a:lnTo>
                  <a:pt x="10156587" y="4259981"/>
                </a:lnTo>
                <a:lnTo>
                  <a:pt x="10200643" y="4235517"/>
                </a:lnTo>
                <a:lnTo>
                  <a:pt x="10237356" y="4196374"/>
                </a:lnTo>
                <a:close/>
                <a:moveTo>
                  <a:pt x="9903417" y="4189035"/>
                </a:moveTo>
                <a:lnTo>
                  <a:pt x="9903417" y="4191663"/>
                </a:lnTo>
                <a:lnTo>
                  <a:pt x="9908256" y="4191663"/>
                </a:lnTo>
                <a:lnTo>
                  <a:pt x="9913094" y="4191663"/>
                </a:lnTo>
                <a:lnTo>
                  <a:pt x="9915514" y="4196919"/>
                </a:lnTo>
                <a:lnTo>
                  <a:pt x="9917934" y="4196919"/>
                </a:lnTo>
                <a:lnTo>
                  <a:pt x="9917934" y="4199546"/>
                </a:lnTo>
                <a:lnTo>
                  <a:pt x="9920354" y="4199546"/>
                </a:lnTo>
                <a:lnTo>
                  <a:pt x="9922774" y="4204801"/>
                </a:lnTo>
                <a:lnTo>
                  <a:pt x="9922774" y="4207428"/>
                </a:lnTo>
                <a:lnTo>
                  <a:pt x="9925192" y="4207428"/>
                </a:lnTo>
                <a:lnTo>
                  <a:pt x="9922774" y="4212684"/>
                </a:lnTo>
                <a:lnTo>
                  <a:pt x="9922774" y="4217940"/>
                </a:lnTo>
                <a:lnTo>
                  <a:pt x="9920354" y="4217940"/>
                </a:lnTo>
                <a:lnTo>
                  <a:pt x="9920354" y="4220568"/>
                </a:lnTo>
                <a:lnTo>
                  <a:pt x="9917934" y="4220568"/>
                </a:lnTo>
                <a:lnTo>
                  <a:pt x="9915514" y="4220568"/>
                </a:lnTo>
                <a:lnTo>
                  <a:pt x="9913094" y="4225823"/>
                </a:lnTo>
                <a:lnTo>
                  <a:pt x="9908256" y="4225823"/>
                </a:lnTo>
                <a:lnTo>
                  <a:pt x="9903417" y="4225823"/>
                </a:lnTo>
                <a:lnTo>
                  <a:pt x="9900997" y="4225823"/>
                </a:lnTo>
                <a:lnTo>
                  <a:pt x="9896157" y="4225823"/>
                </a:lnTo>
                <a:lnTo>
                  <a:pt x="9893737" y="4225823"/>
                </a:lnTo>
                <a:lnTo>
                  <a:pt x="9891319" y="4225823"/>
                </a:lnTo>
                <a:lnTo>
                  <a:pt x="9888899" y="4220568"/>
                </a:lnTo>
                <a:lnTo>
                  <a:pt x="9886479" y="4220568"/>
                </a:lnTo>
                <a:lnTo>
                  <a:pt x="9884060" y="4220568"/>
                </a:lnTo>
                <a:lnTo>
                  <a:pt x="9881640" y="4220568"/>
                </a:lnTo>
                <a:lnTo>
                  <a:pt x="9881640" y="4217940"/>
                </a:lnTo>
                <a:lnTo>
                  <a:pt x="9881640" y="4212684"/>
                </a:lnTo>
                <a:lnTo>
                  <a:pt x="9881640" y="4207428"/>
                </a:lnTo>
                <a:lnTo>
                  <a:pt x="9881640" y="4204801"/>
                </a:lnTo>
                <a:lnTo>
                  <a:pt x="9881640" y="4199546"/>
                </a:lnTo>
                <a:lnTo>
                  <a:pt x="9884060" y="4199546"/>
                </a:lnTo>
                <a:lnTo>
                  <a:pt x="9886479" y="4196919"/>
                </a:lnTo>
                <a:lnTo>
                  <a:pt x="9888899" y="4196919"/>
                </a:lnTo>
                <a:lnTo>
                  <a:pt x="9891319" y="4191663"/>
                </a:lnTo>
                <a:lnTo>
                  <a:pt x="9893737" y="4191663"/>
                </a:lnTo>
                <a:lnTo>
                  <a:pt x="9896157" y="4191663"/>
                </a:lnTo>
                <a:lnTo>
                  <a:pt x="9900997" y="4191663"/>
                </a:lnTo>
                <a:close/>
                <a:moveTo>
                  <a:pt x="6414415" y="4186943"/>
                </a:moveTo>
                <a:lnTo>
                  <a:pt x="6394535" y="4198075"/>
                </a:lnTo>
                <a:lnTo>
                  <a:pt x="6414582" y="4190054"/>
                </a:lnTo>
                <a:lnTo>
                  <a:pt x="6414080" y="4189871"/>
                </a:lnTo>
                <a:close/>
                <a:moveTo>
                  <a:pt x="10728828" y="4186846"/>
                </a:moveTo>
                <a:lnTo>
                  <a:pt x="10796378" y="4224384"/>
                </a:lnTo>
                <a:lnTo>
                  <a:pt x="10786370" y="4289451"/>
                </a:lnTo>
                <a:lnTo>
                  <a:pt x="10753847" y="4236898"/>
                </a:lnTo>
                <a:close/>
                <a:moveTo>
                  <a:pt x="9105009" y="4184657"/>
                </a:moveTo>
                <a:lnTo>
                  <a:pt x="9131867" y="4189584"/>
                </a:lnTo>
                <a:lnTo>
                  <a:pt x="9151401" y="4209292"/>
                </a:lnTo>
                <a:lnTo>
                  <a:pt x="9161168" y="4236390"/>
                </a:lnTo>
                <a:lnTo>
                  <a:pt x="9136751" y="4241317"/>
                </a:lnTo>
                <a:lnTo>
                  <a:pt x="9100125" y="4206828"/>
                </a:lnTo>
                <a:close/>
                <a:moveTo>
                  <a:pt x="2936065" y="4175439"/>
                </a:moveTo>
                <a:lnTo>
                  <a:pt x="2935842" y="4175577"/>
                </a:lnTo>
                <a:lnTo>
                  <a:pt x="2943161" y="4246508"/>
                </a:lnTo>
                <a:lnTo>
                  <a:pt x="2943161" y="4275858"/>
                </a:lnTo>
                <a:lnTo>
                  <a:pt x="2911246" y="4280429"/>
                </a:lnTo>
                <a:lnTo>
                  <a:pt x="2911300" y="4280532"/>
                </a:lnTo>
                <a:lnTo>
                  <a:pt x="2945854" y="4275926"/>
                </a:lnTo>
                <a:lnTo>
                  <a:pt x="2945854" y="4243950"/>
                </a:lnTo>
                <a:close/>
                <a:moveTo>
                  <a:pt x="10138170" y="4156189"/>
                </a:moveTo>
                <a:lnTo>
                  <a:pt x="10175327" y="4163517"/>
                </a:lnTo>
                <a:lnTo>
                  <a:pt x="10207531" y="4170844"/>
                </a:lnTo>
                <a:lnTo>
                  <a:pt x="10197622" y="4195269"/>
                </a:lnTo>
                <a:lnTo>
                  <a:pt x="10172850" y="4217251"/>
                </a:lnTo>
                <a:lnTo>
                  <a:pt x="10150556" y="4214808"/>
                </a:lnTo>
                <a:lnTo>
                  <a:pt x="10115875" y="4217251"/>
                </a:lnTo>
                <a:lnTo>
                  <a:pt x="10123307" y="4187941"/>
                </a:lnTo>
                <a:close/>
                <a:moveTo>
                  <a:pt x="5874314" y="4149708"/>
                </a:moveTo>
                <a:lnTo>
                  <a:pt x="5875159" y="4151568"/>
                </a:lnTo>
                <a:lnTo>
                  <a:pt x="5889846" y="4166273"/>
                </a:lnTo>
                <a:lnTo>
                  <a:pt x="5892832" y="4180220"/>
                </a:lnTo>
                <a:lnTo>
                  <a:pt x="5890457" y="4163725"/>
                </a:lnTo>
                <a:close/>
                <a:moveTo>
                  <a:pt x="2936163" y="4145695"/>
                </a:moveTo>
                <a:lnTo>
                  <a:pt x="2935842" y="4146229"/>
                </a:lnTo>
                <a:lnTo>
                  <a:pt x="2955122" y="4163142"/>
                </a:lnTo>
                <a:lnTo>
                  <a:pt x="2955696" y="4162782"/>
                </a:lnTo>
                <a:close/>
                <a:moveTo>
                  <a:pt x="3358801" y="4118977"/>
                </a:moveTo>
                <a:lnTo>
                  <a:pt x="3357928" y="4119050"/>
                </a:lnTo>
                <a:lnTo>
                  <a:pt x="3354839" y="4123731"/>
                </a:lnTo>
                <a:close/>
                <a:moveTo>
                  <a:pt x="5713039" y="4115955"/>
                </a:moveTo>
                <a:lnTo>
                  <a:pt x="5716035" y="4119705"/>
                </a:lnTo>
                <a:lnTo>
                  <a:pt x="5729955" y="4118776"/>
                </a:lnTo>
                <a:close/>
                <a:moveTo>
                  <a:pt x="3388512" y="4113203"/>
                </a:moveTo>
                <a:lnTo>
                  <a:pt x="3387071" y="4116598"/>
                </a:lnTo>
                <a:lnTo>
                  <a:pt x="3364359" y="4118508"/>
                </a:lnTo>
                <a:lnTo>
                  <a:pt x="3387214" y="4118508"/>
                </a:lnTo>
                <a:close/>
                <a:moveTo>
                  <a:pt x="5757473" y="4104268"/>
                </a:moveTo>
                <a:lnTo>
                  <a:pt x="5746968" y="4117641"/>
                </a:lnTo>
                <a:lnTo>
                  <a:pt x="5752756" y="4117255"/>
                </a:lnTo>
                <a:close/>
                <a:moveTo>
                  <a:pt x="3020993" y="4101735"/>
                </a:moveTo>
                <a:lnTo>
                  <a:pt x="3034423" y="4106211"/>
                </a:lnTo>
                <a:lnTo>
                  <a:pt x="3054103" y="4133266"/>
                </a:lnTo>
                <a:lnTo>
                  <a:pt x="3076188" y="4143302"/>
                </a:lnTo>
                <a:lnTo>
                  <a:pt x="3052319" y="4130354"/>
                </a:lnTo>
                <a:lnTo>
                  <a:pt x="3035153" y="4105961"/>
                </a:lnTo>
                <a:close/>
                <a:moveTo>
                  <a:pt x="3492463" y="4091111"/>
                </a:moveTo>
                <a:lnTo>
                  <a:pt x="3496974" y="4096372"/>
                </a:lnTo>
                <a:lnTo>
                  <a:pt x="3536338" y="4101291"/>
                </a:lnTo>
                <a:lnTo>
                  <a:pt x="3536390" y="4101131"/>
                </a:lnTo>
                <a:lnTo>
                  <a:pt x="3497562" y="4096243"/>
                </a:lnTo>
                <a:close/>
                <a:moveTo>
                  <a:pt x="3143165" y="4089919"/>
                </a:moveTo>
                <a:lnTo>
                  <a:pt x="3145523" y="4115718"/>
                </a:lnTo>
                <a:lnTo>
                  <a:pt x="3116089" y="4137673"/>
                </a:lnTo>
                <a:lnTo>
                  <a:pt x="3079717" y="4144907"/>
                </a:lnTo>
                <a:lnTo>
                  <a:pt x="3081164" y="4145565"/>
                </a:lnTo>
                <a:lnTo>
                  <a:pt x="3118071" y="4140646"/>
                </a:lnTo>
                <a:lnTo>
                  <a:pt x="3147596" y="4118508"/>
                </a:lnTo>
                <a:lnTo>
                  <a:pt x="3145136" y="4091453"/>
                </a:lnTo>
                <a:close/>
                <a:moveTo>
                  <a:pt x="6585756" y="4085933"/>
                </a:moveTo>
                <a:lnTo>
                  <a:pt x="6564544" y="4125901"/>
                </a:lnTo>
                <a:lnTo>
                  <a:pt x="6561822" y="4147608"/>
                </a:lnTo>
                <a:lnTo>
                  <a:pt x="6565979" y="4125765"/>
                </a:lnTo>
                <a:lnTo>
                  <a:pt x="6585756" y="4086783"/>
                </a:lnTo>
                <a:close/>
                <a:moveTo>
                  <a:pt x="3432807" y="4083858"/>
                </a:moveTo>
                <a:lnTo>
                  <a:pt x="3428043" y="4084300"/>
                </a:lnTo>
                <a:lnTo>
                  <a:pt x="3428043" y="4116052"/>
                </a:lnTo>
                <a:lnTo>
                  <a:pt x="3428082" y="4116049"/>
                </a:lnTo>
                <a:lnTo>
                  <a:pt x="3430542" y="4084074"/>
                </a:lnTo>
                <a:close/>
                <a:moveTo>
                  <a:pt x="5838437" y="4080544"/>
                </a:moveTo>
                <a:lnTo>
                  <a:pt x="5838437" y="4082941"/>
                </a:lnTo>
                <a:lnTo>
                  <a:pt x="5862918" y="4085392"/>
                </a:lnTo>
                <a:lnTo>
                  <a:pt x="5865955" y="4092234"/>
                </a:lnTo>
                <a:lnTo>
                  <a:pt x="5863337" y="4080544"/>
                </a:lnTo>
                <a:close/>
                <a:moveTo>
                  <a:pt x="6480776" y="4078287"/>
                </a:moveTo>
                <a:lnTo>
                  <a:pt x="6461869" y="4087814"/>
                </a:lnTo>
                <a:lnTo>
                  <a:pt x="6425190" y="4102600"/>
                </a:lnTo>
                <a:lnTo>
                  <a:pt x="6425109" y="4103295"/>
                </a:lnTo>
                <a:lnTo>
                  <a:pt x="6460946" y="4088995"/>
                </a:lnTo>
                <a:lnTo>
                  <a:pt x="6480678" y="4079153"/>
                </a:lnTo>
                <a:close/>
                <a:moveTo>
                  <a:pt x="3007011" y="4073469"/>
                </a:moveTo>
                <a:lnTo>
                  <a:pt x="3009026" y="4099757"/>
                </a:lnTo>
                <a:lnTo>
                  <a:pt x="3006981" y="4100527"/>
                </a:lnTo>
                <a:lnTo>
                  <a:pt x="3011790" y="4098989"/>
                </a:lnTo>
                <a:lnTo>
                  <a:pt x="3010625" y="4098642"/>
                </a:lnTo>
                <a:close/>
                <a:moveTo>
                  <a:pt x="5762549" y="4072467"/>
                </a:moveTo>
                <a:lnTo>
                  <a:pt x="5759440" y="4074904"/>
                </a:lnTo>
                <a:lnTo>
                  <a:pt x="5759440" y="4089512"/>
                </a:lnTo>
                <a:lnTo>
                  <a:pt x="5762549" y="4089857"/>
                </a:lnTo>
                <a:close/>
                <a:moveTo>
                  <a:pt x="9766519" y="4055459"/>
                </a:moveTo>
                <a:lnTo>
                  <a:pt x="9790894" y="4055459"/>
                </a:lnTo>
                <a:lnTo>
                  <a:pt x="9798206" y="4097489"/>
                </a:lnTo>
                <a:lnTo>
                  <a:pt x="9778707" y="4107377"/>
                </a:lnTo>
                <a:lnTo>
                  <a:pt x="9737272" y="4119739"/>
                </a:lnTo>
                <a:lnTo>
                  <a:pt x="9720211" y="4107377"/>
                </a:lnTo>
                <a:lnTo>
                  <a:pt x="9683649" y="4117267"/>
                </a:lnTo>
                <a:lnTo>
                  <a:pt x="9661714" y="4099961"/>
                </a:lnTo>
                <a:lnTo>
                  <a:pt x="9642214" y="4092544"/>
                </a:lnTo>
                <a:lnTo>
                  <a:pt x="9649527" y="4137046"/>
                </a:lnTo>
                <a:lnTo>
                  <a:pt x="9666589" y="4184020"/>
                </a:lnTo>
                <a:lnTo>
                  <a:pt x="9688524" y="4171658"/>
                </a:lnTo>
                <a:lnTo>
                  <a:pt x="9712897" y="4159297"/>
                </a:lnTo>
                <a:lnTo>
                  <a:pt x="9729959" y="4174130"/>
                </a:lnTo>
                <a:lnTo>
                  <a:pt x="9708024" y="4213687"/>
                </a:lnTo>
                <a:lnTo>
                  <a:pt x="9683649" y="4233466"/>
                </a:lnTo>
                <a:lnTo>
                  <a:pt x="9729959" y="4312580"/>
                </a:lnTo>
                <a:lnTo>
                  <a:pt x="9732397" y="4352137"/>
                </a:lnTo>
                <a:lnTo>
                  <a:pt x="9700711" y="4359555"/>
                </a:lnTo>
                <a:lnTo>
                  <a:pt x="9693399" y="4339776"/>
                </a:lnTo>
                <a:lnTo>
                  <a:pt x="9666589" y="4332358"/>
                </a:lnTo>
                <a:lnTo>
                  <a:pt x="9666589" y="4275496"/>
                </a:lnTo>
                <a:lnTo>
                  <a:pt x="9642214" y="4282912"/>
                </a:lnTo>
                <a:lnTo>
                  <a:pt x="9630027" y="4352137"/>
                </a:lnTo>
                <a:lnTo>
                  <a:pt x="9600778" y="4347193"/>
                </a:lnTo>
                <a:lnTo>
                  <a:pt x="9595905" y="4302691"/>
                </a:lnTo>
                <a:lnTo>
                  <a:pt x="9564218" y="4287856"/>
                </a:lnTo>
                <a:lnTo>
                  <a:pt x="9564218" y="4223576"/>
                </a:lnTo>
                <a:lnTo>
                  <a:pt x="9591030" y="4203799"/>
                </a:lnTo>
                <a:lnTo>
                  <a:pt x="9598342" y="4169186"/>
                </a:lnTo>
                <a:lnTo>
                  <a:pt x="9615403" y="4144462"/>
                </a:lnTo>
                <a:lnTo>
                  <a:pt x="9622715" y="4097489"/>
                </a:lnTo>
                <a:lnTo>
                  <a:pt x="9627590" y="4080182"/>
                </a:lnTo>
                <a:lnTo>
                  <a:pt x="9673900" y="4077710"/>
                </a:lnTo>
                <a:lnTo>
                  <a:pt x="9751896" y="4085126"/>
                </a:lnTo>
                <a:close/>
                <a:moveTo>
                  <a:pt x="5836218" y="4050467"/>
                </a:moveTo>
                <a:lnTo>
                  <a:pt x="5818054" y="4052854"/>
                </a:lnTo>
                <a:lnTo>
                  <a:pt x="5836218" y="4051272"/>
                </a:lnTo>
                <a:close/>
                <a:moveTo>
                  <a:pt x="3191505" y="4030200"/>
                </a:moveTo>
                <a:lnTo>
                  <a:pt x="3189674" y="4030340"/>
                </a:lnTo>
                <a:lnTo>
                  <a:pt x="3177945" y="4038672"/>
                </a:lnTo>
                <a:close/>
                <a:moveTo>
                  <a:pt x="3357928" y="4030038"/>
                </a:moveTo>
                <a:lnTo>
                  <a:pt x="3357928" y="4035663"/>
                </a:lnTo>
                <a:lnTo>
                  <a:pt x="3370071" y="4050379"/>
                </a:lnTo>
                <a:lnTo>
                  <a:pt x="3373368" y="4052228"/>
                </a:lnTo>
                <a:lnTo>
                  <a:pt x="3370335" y="4049905"/>
                </a:lnTo>
                <a:lnTo>
                  <a:pt x="3358315" y="4035164"/>
                </a:lnTo>
                <a:close/>
                <a:moveTo>
                  <a:pt x="3294646" y="4020963"/>
                </a:moveTo>
                <a:lnTo>
                  <a:pt x="3300143" y="4052098"/>
                </a:lnTo>
                <a:lnTo>
                  <a:pt x="3290302" y="4079155"/>
                </a:lnTo>
                <a:lnTo>
                  <a:pt x="3307524" y="4116049"/>
                </a:lnTo>
                <a:lnTo>
                  <a:pt x="3324745" y="4135726"/>
                </a:lnTo>
                <a:lnTo>
                  <a:pt x="3325826" y="4135607"/>
                </a:lnTo>
                <a:lnTo>
                  <a:pt x="3309358" y="4116598"/>
                </a:lnTo>
                <a:lnTo>
                  <a:pt x="3292358" y="4079810"/>
                </a:lnTo>
                <a:lnTo>
                  <a:pt x="3302071" y="4052831"/>
                </a:lnTo>
                <a:close/>
                <a:moveTo>
                  <a:pt x="6824705" y="4019806"/>
                </a:moveTo>
                <a:lnTo>
                  <a:pt x="6823086" y="4021003"/>
                </a:lnTo>
                <a:lnTo>
                  <a:pt x="6822949" y="4021343"/>
                </a:lnTo>
                <a:close/>
                <a:moveTo>
                  <a:pt x="9915149" y="4016043"/>
                </a:moveTo>
                <a:lnTo>
                  <a:pt x="9927358" y="4050106"/>
                </a:lnTo>
                <a:lnTo>
                  <a:pt x="9924916" y="4093901"/>
                </a:lnTo>
                <a:lnTo>
                  <a:pt x="9912708" y="4144996"/>
                </a:lnTo>
                <a:lnTo>
                  <a:pt x="9876083" y="4120666"/>
                </a:lnTo>
                <a:lnTo>
                  <a:pt x="9866316" y="4081736"/>
                </a:lnTo>
                <a:lnTo>
                  <a:pt x="9898058" y="4067138"/>
                </a:lnTo>
                <a:lnTo>
                  <a:pt x="9898058" y="4030641"/>
                </a:lnTo>
                <a:close/>
                <a:moveTo>
                  <a:pt x="3140617" y="4015703"/>
                </a:moveTo>
                <a:lnTo>
                  <a:pt x="3125900" y="4018142"/>
                </a:lnTo>
                <a:lnTo>
                  <a:pt x="3116089" y="4052293"/>
                </a:lnTo>
                <a:lnTo>
                  <a:pt x="3120995" y="4071809"/>
                </a:lnTo>
                <a:lnTo>
                  <a:pt x="3122755" y="4073170"/>
                </a:lnTo>
                <a:lnTo>
                  <a:pt x="3118071" y="4052098"/>
                </a:lnTo>
                <a:lnTo>
                  <a:pt x="3127913" y="4020123"/>
                </a:lnTo>
                <a:lnTo>
                  <a:pt x="3140776" y="4015836"/>
                </a:lnTo>
                <a:close/>
                <a:moveTo>
                  <a:pt x="6010576" y="3988355"/>
                </a:moveTo>
                <a:lnTo>
                  <a:pt x="6010027" y="3988798"/>
                </a:lnTo>
                <a:lnTo>
                  <a:pt x="6015915" y="3990747"/>
                </a:lnTo>
                <a:close/>
                <a:moveTo>
                  <a:pt x="6452088" y="3988249"/>
                </a:moveTo>
                <a:lnTo>
                  <a:pt x="6452088" y="3991702"/>
                </a:lnTo>
                <a:lnTo>
                  <a:pt x="6452368" y="3993039"/>
                </a:lnTo>
                <a:lnTo>
                  <a:pt x="6454191" y="3993039"/>
                </a:lnTo>
                <a:lnTo>
                  <a:pt x="6454191" y="3988671"/>
                </a:lnTo>
                <a:close/>
                <a:moveTo>
                  <a:pt x="6416562" y="3963990"/>
                </a:moveTo>
                <a:lnTo>
                  <a:pt x="6427635" y="3981845"/>
                </a:lnTo>
                <a:lnTo>
                  <a:pt x="6428544" y="3982029"/>
                </a:lnTo>
                <a:lnTo>
                  <a:pt x="6417325" y="3964037"/>
                </a:lnTo>
                <a:close/>
                <a:moveTo>
                  <a:pt x="6228303" y="3941159"/>
                </a:moveTo>
                <a:lnTo>
                  <a:pt x="6226370" y="3954788"/>
                </a:lnTo>
                <a:lnTo>
                  <a:pt x="6227121" y="3954737"/>
                </a:lnTo>
                <a:lnTo>
                  <a:pt x="6229031" y="3941266"/>
                </a:lnTo>
                <a:close/>
                <a:moveTo>
                  <a:pt x="8773820" y="3913124"/>
                </a:moveTo>
                <a:lnTo>
                  <a:pt x="8817859" y="3962305"/>
                </a:lnTo>
                <a:lnTo>
                  <a:pt x="8871686" y="3984437"/>
                </a:lnTo>
                <a:lnTo>
                  <a:pt x="8937745" y="4043456"/>
                </a:lnTo>
                <a:lnTo>
                  <a:pt x="8986679" y="4072965"/>
                </a:lnTo>
                <a:lnTo>
                  <a:pt x="9023378" y="4107393"/>
                </a:lnTo>
                <a:lnTo>
                  <a:pt x="9023378" y="4151657"/>
                </a:lnTo>
                <a:lnTo>
                  <a:pt x="9042951" y="4183625"/>
                </a:lnTo>
                <a:lnTo>
                  <a:pt x="9042951" y="4205757"/>
                </a:lnTo>
                <a:lnTo>
                  <a:pt x="9099225" y="4225430"/>
                </a:lnTo>
                <a:lnTo>
                  <a:pt x="9118797" y="4252479"/>
                </a:lnTo>
                <a:lnTo>
                  <a:pt x="9118797" y="4301661"/>
                </a:lnTo>
                <a:lnTo>
                  <a:pt x="9126137" y="4341007"/>
                </a:lnTo>
                <a:lnTo>
                  <a:pt x="9062525" y="4370516"/>
                </a:lnTo>
                <a:lnTo>
                  <a:pt x="9040505" y="4341007"/>
                </a:lnTo>
                <a:lnTo>
                  <a:pt x="8976892" y="4264775"/>
                </a:lnTo>
                <a:lnTo>
                  <a:pt x="8903491" y="4166411"/>
                </a:lnTo>
                <a:lnTo>
                  <a:pt x="8881473" y="4119689"/>
                </a:lnTo>
                <a:lnTo>
                  <a:pt x="8871686" y="4068046"/>
                </a:lnTo>
                <a:lnTo>
                  <a:pt x="8832539" y="4033620"/>
                </a:lnTo>
                <a:lnTo>
                  <a:pt x="8776266" y="3984437"/>
                </a:lnTo>
                <a:lnTo>
                  <a:pt x="8712652" y="3940173"/>
                </a:lnTo>
                <a:lnTo>
                  <a:pt x="8719993" y="3920500"/>
                </a:lnTo>
                <a:close/>
                <a:moveTo>
                  <a:pt x="6989454" y="3902288"/>
                </a:moveTo>
                <a:lnTo>
                  <a:pt x="6986911" y="3914934"/>
                </a:lnTo>
                <a:lnTo>
                  <a:pt x="6952507" y="3954032"/>
                </a:lnTo>
                <a:lnTo>
                  <a:pt x="6903359" y="3963806"/>
                </a:lnTo>
                <a:lnTo>
                  <a:pt x="6868955" y="3963806"/>
                </a:lnTo>
                <a:lnTo>
                  <a:pt x="6841924" y="4000462"/>
                </a:lnTo>
                <a:lnTo>
                  <a:pt x="6824722" y="3990688"/>
                </a:lnTo>
                <a:lnTo>
                  <a:pt x="6814893" y="3976024"/>
                </a:lnTo>
                <a:lnTo>
                  <a:pt x="6768202" y="3980912"/>
                </a:lnTo>
                <a:lnTo>
                  <a:pt x="6768202" y="3984361"/>
                </a:lnTo>
                <a:lnTo>
                  <a:pt x="6815670" y="3982021"/>
                </a:lnTo>
                <a:lnTo>
                  <a:pt x="6825558" y="3996639"/>
                </a:lnTo>
                <a:lnTo>
                  <a:pt x="6841158" y="4005424"/>
                </a:lnTo>
                <a:lnTo>
                  <a:pt x="6841990" y="4004697"/>
                </a:lnTo>
                <a:lnTo>
                  <a:pt x="6869021" y="3967869"/>
                </a:lnTo>
                <a:lnTo>
                  <a:pt x="6903426" y="3967869"/>
                </a:lnTo>
                <a:lnTo>
                  <a:pt x="6952575" y="3955593"/>
                </a:lnTo>
                <a:lnTo>
                  <a:pt x="6986980" y="3918764"/>
                </a:lnTo>
                <a:close/>
                <a:moveTo>
                  <a:pt x="5097626" y="3895708"/>
                </a:moveTo>
                <a:lnTo>
                  <a:pt x="5102486" y="3936620"/>
                </a:lnTo>
                <a:lnTo>
                  <a:pt x="5102566" y="3936648"/>
                </a:lnTo>
                <a:lnTo>
                  <a:pt x="5100152" y="3895960"/>
                </a:lnTo>
                <a:close/>
                <a:moveTo>
                  <a:pt x="6297366" y="3891675"/>
                </a:moveTo>
                <a:lnTo>
                  <a:pt x="6309114" y="3896748"/>
                </a:lnTo>
                <a:lnTo>
                  <a:pt x="6318910" y="3911551"/>
                </a:lnTo>
                <a:lnTo>
                  <a:pt x="6326010" y="3923476"/>
                </a:lnTo>
                <a:lnTo>
                  <a:pt x="6326387" y="3922158"/>
                </a:lnTo>
                <a:lnTo>
                  <a:pt x="6321471" y="3909839"/>
                </a:lnTo>
                <a:lnTo>
                  <a:pt x="6309182" y="3895059"/>
                </a:lnTo>
                <a:close/>
                <a:moveTo>
                  <a:pt x="2845664" y="3881604"/>
                </a:moveTo>
                <a:lnTo>
                  <a:pt x="2845580" y="3882078"/>
                </a:lnTo>
                <a:lnTo>
                  <a:pt x="2909007" y="3886970"/>
                </a:lnTo>
                <a:lnTo>
                  <a:pt x="2909007" y="3908982"/>
                </a:lnTo>
                <a:lnTo>
                  <a:pt x="2962676" y="3933440"/>
                </a:lnTo>
                <a:lnTo>
                  <a:pt x="3016346" y="3953008"/>
                </a:lnTo>
                <a:lnTo>
                  <a:pt x="3016346" y="4021491"/>
                </a:lnTo>
                <a:lnTo>
                  <a:pt x="3013455" y="4035259"/>
                </a:lnTo>
                <a:lnTo>
                  <a:pt x="3017985" y="4018142"/>
                </a:lnTo>
                <a:lnTo>
                  <a:pt x="3017985" y="3949840"/>
                </a:lnTo>
                <a:lnTo>
                  <a:pt x="2964026" y="3932764"/>
                </a:lnTo>
                <a:lnTo>
                  <a:pt x="2910072" y="3908370"/>
                </a:lnTo>
                <a:lnTo>
                  <a:pt x="2910072" y="3883976"/>
                </a:lnTo>
                <a:close/>
                <a:moveTo>
                  <a:pt x="9485382" y="3849621"/>
                </a:moveTo>
                <a:lnTo>
                  <a:pt x="9527164" y="3871686"/>
                </a:lnTo>
                <a:lnTo>
                  <a:pt x="9551741" y="3881492"/>
                </a:lnTo>
                <a:lnTo>
                  <a:pt x="9595980" y="3891299"/>
                </a:lnTo>
                <a:lnTo>
                  <a:pt x="9603352" y="3928073"/>
                </a:lnTo>
                <a:lnTo>
                  <a:pt x="9568944" y="3955040"/>
                </a:lnTo>
                <a:lnTo>
                  <a:pt x="9541911" y="3977104"/>
                </a:lnTo>
                <a:lnTo>
                  <a:pt x="9541911" y="4038394"/>
                </a:lnTo>
                <a:lnTo>
                  <a:pt x="9576319" y="4065362"/>
                </a:lnTo>
                <a:lnTo>
                  <a:pt x="9576319" y="4099685"/>
                </a:lnTo>
                <a:lnTo>
                  <a:pt x="9544367" y="4111942"/>
                </a:lnTo>
                <a:lnTo>
                  <a:pt x="9529622" y="4170780"/>
                </a:lnTo>
                <a:lnTo>
                  <a:pt x="9500129" y="4197748"/>
                </a:lnTo>
                <a:lnTo>
                  <a:pt x="9500129" y="4234522"/>
                </a:lnTo>
                <a:lnTo>
                  <a:pt x="9480467" y="4263941"/>
                </a:lnTo>
                <a:lnTo>
                  <a:pt x="9470637" y="4293360"/>
                </a:lnTo>
                <a:lnTo>
                  <a:pt x="9423940" y="4298263"/>
                </a:lnTo>
                <a:lnTo>
                  <a:pt x="9404278" y="4261489"/>
                </a:lnTo>
                <a:lnTo>
                  <a:pt x="9377244" y="4251683"/>
                </a:lnTo>
                <a:lnTo>
                  <a:pt x="9357581" y="4278651"/>
                </a:lnTo>
                <a:lnTo>
                  <a:pt x="9305970" y="4266392"/>
                </a:lnTo>
                <a:lnTo>
                  <a:pt x="9288765" y="4244328"/>
                </a:lnTo>
                <a:lnTo>
                  <a:pt x="9269104" y="4241877"/>
                </a:lnTo>
                <a:lnTo>
                  <a:pt x="9266646" y="4190393"/>
                </a:lnTo>
                <a:lnTo>
                  <a:pt x="9234696" y="4183038"/>
                </a:lnTo>
                <a:lnTo>
                  <a:pt x="9232238" y="4138910"/>
                </a:lnTo>
                <a:lnTo>
                  <a:pt x="9205203" y="4124200"/>
                </a:lnTo>
                <a:lnTo>
                  <a:pt x="9215033" y="4067813"/>
                </a:lnTo>
                <a:lnTo>
                  <a:pt x="9291223" y="4067813"/>
                </a:lnTo>
                <a:lnTo>
                  <a:pt x="9305970" y="4045749"/>
                </a:lnTo>
                <a:lnTo>
                  <a:pt x="9313342" y="4011427"/>
                </a:lnTo>
                <a:lnTo>
                  <a:pt x="9360039" y="4016330"/>
                </a:lnTo>
                <a:lnTo>
                  <a:pt x="9377244" y="3979556"/>
                </a:lnTo>
                <a:lnTo>
                  <a:pt x="9411652" y="3955040"/>
                </a:lnTo>
                <a:lnTo>
                  <a:pt x="9441143" y="3940330"/>
                </a:lnTo>
                <a:lnTo>
                  <a:pt x="9448518" y="3898653"/>
                </a:lnTo>
                <a:lnTo>
                  <a:pt x="9475551" y="3883943"/>
                </a:lnTo>
                <a:close/>
                <a:moveTo>
                  <a:pt x="5269577" y="3847006"/>
                </a:moveTo>
                <a:lnTo>
                  <a:pt x="5265539" y="3876369"/>
                </a:lnTo>
                <a:lnTo>
                  <a:pt x="5269500" y="3906491"/>
                </a:lnTo>
                <a:lnTo>
                  <a:pt x="5266983" y="3877189"/>
                </a:lnTo>
                <a:close/>
                <a:moveTo>
                  <a:pt x="7029311" y="3838298"/>
                </a:moveTo>
                <a:lnTo>
                  <a:pt x="6996740" y="3866061"/>
                </a:lnTo>
                <a:lnTo>
                  <a:pt x="6996334" y="3868077"/>
                </a:lnTo>
                <a:lnTo>
                  <a:pt x="7031215" y="3840198"/>
                </a:lnTo>
                <a:close/>
                <a:moveTo>
                  <a:pt x="6246448" y="3812644"/>
                </a:moveTo>
                <a:lnTo>
                  <a:pt x="6252791" y="3842465"/>
                </a:lnTo>
                <a:lnTo>
                  <a:pt x="6276209" y="3847911"/>
                </a:lnTo>
                <a:lnTo>
                  <a:pt x="6255112" y="3840862"/>
                </a:lnTo>
                <a:close/>
                <a:moveTo>
                  <a:pt x="6235900" y="3810545"/>
                </a:moveTo>
                <a:lnTo>
                  <a:pt x="6218333" y="3813748"/>
                </a:lnTo>
                <a:lnTo>
                  <a:pt x="6218507" y="3815325"/>
                </a:lnTo>
                <a:close/>
                <a:moveTo>
                  <a:pt x="6532998" y="3806198"/>
                </a:moveTo>
                <a:lnTo>
                  <a:pt x="6530382" y="3806373"/>
                </a:lnTo>
                <a:lnTo>
                  <a:pt x="6550045" y="3840862"/>
                </a:lnTo>
                <a:lnTo>
                  <a:pt x="6569707" y="3845789"/>
                </a:lnTo>
                <a:lnTo>
                  <a:pt x="6569707" y="3875351"/>
                </a:lnTo>
                <a:lnTo>
                  <a:pt x="6589369" y="3887668"/>
                </a:lnTo>
                <a:lnTo>
                  <a:pt x="6599201" y="3895059"/>
                </a:lnTo>
                <a:lnTo>
                  <a:pt x="6616405" y="3924621"/>
                </a:lnTo>
                <a:lnTo>
                  <a:pt x="6616405" y="3946791"/>
                </a:lnTo>
                <a:lnTo>
                  <a:pt x="6564863" y="3983693"/>
                </a:lnTo>
                <a:lnTo>
                  <a:pt x="6569242" y="3990488"/>
                </a:lnTo>
                <a:lnTo>
                  <a:pt x="6565979" y="3984458"/>
                </a:lnTo>
                <a:lnTo>
                  <a:pt x="6615423" y="3950350"/>
                </a:lnTo>
                <a:lnTo>
                  <a:pt x="6650033" y="3957659"/>
                </a:lnTo>
                <a:lnTo>
                  <a:pt x="6684644" y="3982021"/>
                </a:lnTo>
                <a:lnTo>
                  <a:pt x="6689588" y="4006385"/>
                </a:lnTo>
                <a:lnTo>
                  <a:pt x="6766226" y="3999076"/>
                </a:lnTo>
                <a:lnTo>
                  <a:pt x="6766226" y="3993315"/>
                </a:lnTo>
                <a:lnTo>
                  <a:pt x="6689565" y="4000462"/>
                </a:lnTo>
                <a:lnTo>
                  <a:pt x="6687109" y="3976024"/>
                </a:lnTo>
                <a:lnTo>
                  <a:pt x="6652705" y="3954032"/>
                </a:lnTo>
                <a:lnTo>
                  <a:pt x="6618301" y="3944257"/>
                </a:lnTo>
                <a:lnTo>
                  <a:pt x="6618301" y="3922265"/>
                </a:lnTo>
                <a:lnTo>
                  <a:pt x="6601100" y="3892940"/>
                </a:lnTo>
                <a:lnTo>
                  <a:pt x="6591270" y="3885610"/>
                </a:lnTo>
                <a:lnTo>
                  <a:pt x="6571611" y="3873391"/>
                </a:lnTo>
                <a:lnTo>
                  <a:pt x="6571611" y="3844067"/>
                </a:lnTo>
                <a:lnTo>
                  <a:pt x="6551952" y="3839180"/>
                </a:lnTo>
                <a:close/>
                <a:moveTo>
                  <a:pt x="2822862" y="3795402"/>
                </a:moveTo>
                <a:lnTo>
                  <a:pt x="2821181" y="3796474"/>
                </a:lnTo>
                <a:lnTo>
                  <a:pt x="2852898" y="3840498"/>
                </a:lnTo>
                <a:lnTo>
                  <a:pt x="2850977" y="3851419"/>
                </a:lnTo>
                <a:lnTo>
                  <a:pt x="2853662" y="3840067"/>
                </a:lnTo>
                <a:lnTo>
                  <a:pt x="2821773" y="3796158"/>
                </a:lnTo>
                <a:close/>
                <a:moveTo>
                  <a:pt x="2594051" y="3788307"/>
                </a:moveTo>
                <a:lnTo>
                  <a:pt x="2630661" y="3797959"/>
                </a:lnTo>
                <a:lnTo>
                  <a:pt x="2677033" y="3829332"/>
                </a:lnTo>
                <a:lnTo>
                  <a:pt x="2669713" y="3904142"/>
                </a:lnTo>
                <a:lnTo>
                  <a:pt x="2655068" y="3877596"/>
                </a:lnTo>
                <a:lnTo>
                  <a:pt x="2620898" y="3838984"/>
                </a:lnTo>
                <a:lnTo>
                  <a:pt x="2586728" y="3841398"/>
                </a:lnTo>
                <a:lnTo>
                  <a:pt x="2598932" y="3867943"/>
                </a:lnTo>
                <a:lnTo>
                  <a:pt x="2567202" y="3884836"/>
                </a:lnTo>
                <a:lnTo>
                  <a:pt x="2540354" y="3860703"/>
                </a:lnTo>
                <a:lnTo>
                  <a:pt x="2469568" y="3851051"/>
                </a:lnTo>
                <a:lnTo>
                  <a:pt x="2467129" y="3814853"/>
                </a:lnTo>
                <a:lnTo>
                  <a:pt x="2498859" y="3797959"/>
                </a:lnTo>
                <a:lnTo>
                  <a:pt x="2564760" y="3814853"/>
                </a:lnTo>
                <a:close/>
                <a:moveTo>
                  <a:pt x="5112292" y="3783378"/>
                </a:moveTo>
                <a:lnTo>
                  <a:pt x="5074447" y="3811853"/>
                </a:lnTo>
                <a:lnTo>
                  <a:pt x="5064683" y="3855930"/>
                </a:lnTo>
                <a:lnTo>
                  <a:pt x="5038507" y="3848768"/>
                </a:lnTo>
                <a:lnTo>
                  <a:pt x="5038774" y="3849265"/>
                </a:lnTo>
                <a:lnTo>
                  <a:pt x="5065649" y="3856524"/>
                </a:lnTo>
                <a:lnTo>
                  <a:pt x="5075469" y="3812700"/>
                </a:lnTo>
                <a:lnTo>
                  <a:pt x="5114962" y="3785764"/>
                </a:lnTo>
                <a:close/>
                <a:moveTo>
                  <a:pt x="5878699" y="3778335"/>
                </a:moveTo>
                <a:lnTo>
                  <a:pt x="5879142" y="3781905"/>
                </a:lnTo>
                <a:lnTo>
                  <a:pt x="5906015" y="3816375"/>
                </a:lnTo>
                <a:lnTo>
                  <a:pt x="5918742" y="3842028"/>
                </a:lnTo>
                <a:lnTo>
                  <a:pt x="5905640" y="3812335"/>
                </a:lnTo>
                <a:close/>
                <a:moveTo>
                  <a:pt x="5272800" y="3776545"/>
                </a:moveTo>
                <a:lnTo>
                  <a:pt x="5272946" y="3778418"/>
                </a:lnTo>
                <a:lnTo>
                  <a:pt x="5295163" y="3790662"/>
                </a:lnTo>
                <a:lnTo>
                  <a:pt x="5290226" y="3817598"/>
                </a:lnTo>
                <a:lnTo>
                  <a:pt x="5286785" y="3818573"/>
                </a:lnTo>
                <a:lnTo>
                  <a:pt x="5291352" y="3817996"/>
                </a:lnTo>
                <a:lnTo>
                  <a:pt x="5296227" y="3788399"/>
                </a:lnTo>
                <a:close/>
                <a:moveTo>
                  <a:pt x="6203014" y="3760948"/>
                </a:moveTo>
                <a:lnTo>
                  <a:pt x="6198917" y="3785717"/>
                </a:lnTo>
                <a:lnTo>
                  <a:pt x="6201042" y="3786634"/>
                </a:lnTo>
                <a:close/>
                <a:moveTo>
                  <a:pt x="9713078" y="3753271"/>
                </a:moveTo>
                <a:lnTo>
                  <a:pt x="9732536" y="3765700"/>
                </a:lnTo>
                <a:lnTo>
                  <a:pt x="9717942" y="3800499"/>
                </a:lnTo>
                <a:lnTo>
                  <a:pt x="9700916" y="3832813"/>
                </a:lnTo>
                <a:lnTo>
                  <a:pt x="9669296" y="3842755"/>
                </a:lnTo>
                <a:lnTo>
                  <a:pt x="9676593" y="3820384"/>
                </a:lnTo>
                <a:lnTo>
                  <a:pt x="9688754" y="3780613"/>
                </a:lnTo>
                <a:close/>
                <a:moveTo>
                  <a:pt x="8198737" y="3748891"/>
                </a:moveTo>
                <a:lnTo>
                  <a:pt x="8231122" y="3775789"/>
                </a:lnTo>
                <a:lnTo>
                  <a:pt x="8246068" y="3795351"/>
                </a:lnTo>
                <a:lnTo>
                  <a:pt x="8246068" y="3885825"/>
                </a:lnTo>
                <a:lnTo>
                  <a:pt x="8196247" y="3893161"/>
                </a:lnTo>
                <a:lnTo>
                  <a:pt x="8176318" y="3846701"/>
                </a:lnTo>
                <a:lnTo>
                  <a:pt x="8178810" y="3790461"/>
                </a:lnTo>
                <a:close/>
                <a:moveTo>
                  <a:pt x="9803927" y="3742322"/>
                </a:moveTo>
                <a:lnTo>
                  <a:pt x="9835944" y="3759276"/>
                </a:lnTo>
                <a:lnTo>
                  <a:pt x="9850720" y="3785918"/>
                </a:lnTo>
                <a:lnTo>
                  <a:pt x="9850720" y="3851312"/>
                </a:lnTo>
                <a:lnTo>
                  <a:pt x="9828555" y="3868267"/>
                </a:lnTo>
                <a:lnTo>
                  <a:pt x="9806391" y="3899752"/>
                </a:lnTo>
                <a:lnTo>
                  <a:pt x="9779300" y="3868267"/>
                </a:lnTo>
                <a:lnTo>
                  <a:pt x="9754672" y="3834358"/>
                </a:lnTo>
                <a:lnTo>
                  <a:pt x="9734970" y="3805294"/>
                </a:lnTo>
                <a:lnTo>
                  <a:pt x="9769449" y="3766542"/>
                </a:lnTo>
                <a:close/>
                <a:moveTo>
                  <a:pt x="6578910" y="3724911"/>
                </a:moveTo>
                <a:lnTo>
                  <a:pt x="6577080" y="3725078"/>
                </a:lnTo>
                <a:lnTo>
                  <a:pt x="6567408" y="3802640"/>
                </a:lnTo>
                <a:lnTo>
                  <a:pt x="6569154" y="3802524"/>
                </a:lnTo>
                <a:close/>
                <a:moveTo>
                  <a:pt x="8921548" y="3724803"/>
                </a:moveTo>
                <a:lnTo>
                  <a:pt x="8950696" y="3810886"/>
                </a:lnTo>
                <a:lnTo>
                  <a:pt x="9001706" y="3837941"/>
                </a:lnTo>
                <a:lnTo>
                  <a:pt x="9055144" y="3916647"/>
                </a:lnTo>
                <a:lnTo>
                  <a:pt x="9064860" y="4037163"/>
                </a:lnTo>
                <a:lnTo>
                  <a:pt x="9060002" y="4061759"/>
                </a:lnTo>
                <a:lnTo>
                  <a:pt x="8989560" y="4051921"/>
                </a:lnTo>
                <a:lnTo>
                  <a:pt x="8953124" y="4010108"/>
                </a:lnTo>
                <a:lnTo>
                  <a:pt x="8909402" y="3948620"/>
                </a:lnTo>
                <a:lnTo>
                  <a:pt x="8894828" y="3813346"/>
                </a:lnTo>
                <a:lnTo>
                  <a:pt x="8889970" y="3756777"/>
                </a:lnTo>
                <a:close/>
                <a:moveTo>
                  <a:pt x="5885845" y="3718355"/>
                </a:moveTo>
                <a:lnTo>
                  <a:pt x="5895452" y="3733849"/>
                </a:lnTo>
                <a:lnTo>
                  <a:pt x="5895754" y="3731457"/>
                </a:lnTo>
                <a:close/>
                <a:moveTo>
                  <a:pt x="6178504" y="3704012"/>
                </a:moveTo>
                <a:lnTo>
                  <a:pt x="6186672" y="3719098"/>
                </a:lnTo>
                <a:lnTo>
                  <a:pt x="6203447" y="3755314"/>
                </a:lnTo>
                <a:lnTo>
                  <a:pt x="6203498" y="3754639"/>
                </a:lnTo>
                <a:lnTo>
                  <a:pt x="6188751" y="3720151"/>
                </a:lnTo>
                <a:close/>
                <a:moveTo>
                  <a:pt x="9755767" y="3702906"/>
                </a:moveTo>
                <a:lnTo>
                  <a:pt x="9755767" y="3705388"/>
                </a:lnTo>
                <a:lnTo>
                  <a:pt x="9761084" y="3705388"/>
                </a:lnTo>
                <a:lnTo>
                  <a:pt x="9763741" y="3705388"/>
                </a:lnTo>
                <a:lnTo>
                  <a:pt x="9763741" y="3707869"/>
                </a:lnTo>
                <a:lnTo>
                  <a:pt x="9766400" y="3710351"/>
                </a:lnTo>
                <a:lnTo>
                  <a:pt x="9766400" y="3712833"/>
                </a:lnTo>
                <a:lnTo>
                  <a:pt x="9766400" y="3715315"/>
                </a:lnTo>
                <a:lnTo>
                  <a:pt x="9771717" y="3720278"/>
                </a:lnTo>
                <a:lnTo>
                  <a:pt x="9766400" y="3725242"/>
                </a:lnTo>
                <a:lnTo>
                  <a:pt x="9766400" y="3727724"/>
                </a:lnTo>
                <a:lnTo>
                  <a:pt x="9766400" y="3730206"/>
                </a:lnTo>
                <a:lnTo>
                  <a:pt x="9763741" y="3732687"/>
                </a:lnTo>
                <a:lnTo>
                  <a:pt x="9763741" y="3737651"/>
                </a:lnTo>
                <a:lnTo>
                  <a:pt x="9761084" y="3737651"/>
                </a:lnTo>
                <a:lnTo>
                  <a:pt x="9755767" y="3737651"/>
                </a:lnTo>
                <a:lnTo>
                  <a:pt x="9750451" y="3737651"/>
                </a:lnTo>
                <a:lnTo>
                  <a:pt x="9745134" y="3737651"/>
                </a:lnTo>
                <a:lnTo>
                  <a:pt x="9742476" y="3737651"/>
                </a:lnTo>
                <a:lnTo>
                  <a:pt x="9742476" y="3732687"/>
                </a:lnTo>
                <a:lnTo>
                  <a:pt x="9739818" y="3730206"/>
                </a:lnTo>
                <a:lnTo>
                  <a:pt x="9737159" y="3730206"/>
                </a:lnTo>
                <a:lnTo>
                  <a:pt x="9737159" y="3727724"/>
                </a:lnTo>
                <a:lnTo>
                  <a:pt x="9737159" y="3725242"/>
                </a:lnTo>
                <a:lnTo>
                  <a:pt x="9737159" y="3720278"/>
                </a:lnTo>
                <a:lnTo>
                  <a:pt x="9737159" y="3715315"/>
                </a:lnTo>
                <a:lnTo>
                  <a:pt x="9737159" y="3712833"/>
                </a:lnTo>
                <a:lnTo>
                  <a:pt x="9739818" y="3710351"/>
                </a:lnTo>
                <a:lnTo>
                  <a:pt x="9742476" y="3707869"/>
                </a:lnTo>
                <a:lnTo>
                  <a:pt x="9742476" y="3705388"/>
                </a:lnTo>
                <a:lnTo>
                  <a:pt x="9745134" y="3705388"/>
                </a:lnTo>
                <a:lnTo>
                  <a:pt x="9750451" y="3705388"/>
                </a:lnTo>
                <a:close/>
                <a:moveTo>
                  <a:pt x="5871145" y="3687448"/>
                </a:moveTo>
                <a:lnTo>
                  <a:pt x="5869371" y="3688342"/>
                </a:lnTo>
                <a:lnTo>
                  <a:pt x="5876700" y="3695728"/>
                </a:lnTo>
                <a:lnTo>
                  <a:pt x="5877196" y="3697062"/>
                </a:lnTo>
                <a:lnTo>
                  <a:pt x="5875981" y="3692242"/>
                </a:lnTo>
                <a:close/>
                <a:moveTo>
                  <a:pt x="6175298" y="3683653"/>
                </a:moveTo>
                <a:lnTo>
                  <a:pt x="6170100" y="3692242"/>
                </a:lnTo>
                <a:lnTo>
                  <a:pt x="6152799" y="3697144"/>
                </a:lnTo>
                <a:lnTo>
                  <a:pt x="6128083" y="3721653"/>
                </a:lnTo>
                <a:lnTo>
                  <a:pt x="6113253" y="3751063"/>
                </a:lnTo>
                <a:lnTo>
                  <a:pt x="6091009" y="3758416"/>
                </a:lnTo>
                <a:lnTo>
                  <a:pt x="6078651" y="3785375"/>
                </a:lnTo>
                <a:lnTo>
                  <a:pt x="6044050" y="3792728"/>
                </a:lnTo>
                <a:lnTo>
                  <a:pt x="6029219" y="3817237"/>
                </a:lnTo>
                <a:lnTo>
                  <a:pt x="5989675" y="3819688"/>
                </a:lnTo>
                <a:lnTo>
                  <a:pt x="5977317" y="3844196"/>
                </a:lnTo>
                <a:lnTo>
                  <a:pt x="5945186" y="3839294"/>
                </a:lnTo>
                <a:lnTo>
                  <a:pt x="5923352" y="3851322"/>
                </a:lnTo>
                <a:lnTo>
                  <a:pt x="5925558" y="3855770"/>
                </a:lnTo>
                <a:lnTo>
                  <a:pt x="5908457" y="3877930"/>
                </a:lnTo>
                <a:lnTo>
                  <a:pt x="5893800" y="3924712"/>
                </a:lnTo>
                <a:lnTo>
                  <a:pt x="5918230" y="3966569"/>
                </a:lnTo>
                <a:lnTo>
                  <a:pt x="5935330" y="4015812"/>
                </a:lnTo>
                <a:lnTo>
                  <a:pt x="5945510" y="4034279"/>
                </a:lnTo>
                <a:lnTo>
                  <a:pt x="5946023" y="4034211"/>
                </a:lnTo>
                <a:lnTo>
                  <a:pt x="5936890" y="4017648"/>
                </a:lnTo>
                <a:lnTo>
                  <a:pt x="5919748" y="3965833"/>
                </a:lnTo>
                <a:lnTo>
                  <a:pt x="5895260" y="3923888"/>
                </a:lnTo>
                <a:lnTo>
                  <a:pt x="5909953" y="3877009"/>
                </a:lnTo>
                <a:lnTo>
                  <a:pt x="5927095" y="3854802"/>
                </a:lnTo>
                <a:lnTo>
                  <a:pt x="5946686" y="3842465"/>
                </a:lnTo>
                <a:lnTo>
                  <a:pt x="5980969" y="3844933"/>
                </a:lnTo>
                <a:lnTo>
                  <a:pt x="5990766" y="3822728"/>
                </a:lnTo>
                <a:lnTo>
                  <a:pt x="6029947" y="3820260"/>
                </a:lnTo>
                <a:lnTo>
                  <a:pt x="6047088" y="3795586"/>
                </a:lnTo>
                <a:lnTo>
                  <a:pt x="6078923" y="3785717"/>
                </a:lnTo>
                <a:lnTo>
                  <a:pt x="6091168" y="3758576"/>
                </a:lnTo>
                <a:lnTo>
                  <a:pt x="6115656" y="3751174"/>
                </a:lnTo>
                <a:lnTo>
                  <a:pt x="6130349" y="3721566"/>
                </a:lnTo>
                <a:lnTo>
                  <a:pt x="6154837" y="3699360"/>
                </a:lnTo>
                <a:lnTo>
                  <a:pt x="6171979" y="3691958"/>
                </a:lnTo>
                <a:lnTo>
                  <a:pt x="6171982" y="3691962"/>
                </a:lnTo>
                <a:close/>
                <a:moveTo>
                  <a:pt x="2872416" y="3676628"/>
                </a:moveTo>
                <a:lnTo>
                  <a:pt x="2889492" y="3691303"/>
                </a:lnTo>
                <a:lnTo>
                  <a:pt x="2884481" y="3697697"/>
                </a:lnTo>
                <a:lnTo>
                  <a:pt x="2890451" y="3691264"/>
                </a:lnTo>
                <a:lnTo>
                  <a:pt x="2927239" y="3691264"/>
                </a:lnTo>
                <a:lnTo>
                  <a:pt x="2939501" y="3676628"/>
                </a:lnTo>
                <a:lnTo>
                  <a:pt x="2939501" y="3691264"/>
                </a:lnTo>
                <a:lnTo>
                  <a:pt x="2966480" y="3698582"/>
                </a:lnTo>
                <a:lnTo>
                  <a:pt x="2973838" y="3720537"/>
                </a:lnTo>
                <a:lnTo>
                  <a:pt x="3005722" y="3730294"/>
                </a:lnTo>
                <a:lnTo>
                  <a:pt x="3025343" y="3737613"/>
                </a:lnTo>
                <a:lnTo>
                  <a:pt x="3032699" y="3757128"/>
                </a:lnTo>
                <a:lnTo>
                  <a:pt x="3108732" y="3762006"/>
                </a:lnTo>
                <a:lnTo>
                  <a:pt x="3135712" y="3766885"/>
                </a:lnTo>
                <a:lnTo>
                  <a:pt x="3157786" y="3749810"/>
                </a:lnTo>
                <a:lnTo>
                  <a:pt x="3199487" y="3742492"/>
                </a:lnTo>
                <a:lnTo>
                  <a:pt x="3253447" y="3744930"/>
                </a:lnTo>
                <a:lnTo>
                  <a:pt x="3253447" y="3762006"/>
                </a:lnTo>
                <a:lnTo>
                  <a:pt x="3243634" y="3771765"/>
                </a:lnTo>
                <a:lnTo>
                  <a:pt x="3260803" y="3791279"/>
                </a:lnTo>
                <a:lnTo>
                  <a:pt x="3273066" y="3825431"/>
                </a:lnTo>
                <a:lnTo>
                  <a:pt x="3287783" y="3832749"/>
                </a:lnTo>
                <a:lnTo>
                  <a:pt x="3287783" y="3869339"/>
                </a:lnTo>
                <a:lnTo>
                  <a:pt x="3273066" y="3883976"/>
                </a:lnTo>
                <a:lnTo>
                  <a:pt x="3268163" y="3901051"/>
                </a:lnTo>
                <a:lnTo>
                  <a:pt x="3246088" y="3920567"/>
                </a:lnTo>
                <a:lnTo>
                  <a:pt x="3243634" y="3954719"/>
                </a:lnTo>
                <a:lnTo>
                  <a:pt x="3260803" y="3976672"/>
                </a:lnTo>
                <a:lnTo>
                  <a:pt x="3260803" y="4003505"/>
                </a:lnTo>
                <a:lnTo>
                  <a:pt x="3254170" y="4023300"/>
                </a:lnTo>
                <a:lnTo>
                  <a:pt x="3263237" y="4002905"/>
                </a:lnTo>
                <a:lnTo>
                  <a:pt x="3265643" y="4003507"/>
                </a:lnTo>
                <a:lnTo>
                  <a:pt x="3265643" y="3976803"/>
                </a:lnTo>
                <a:lnTo>
                  <a:pt x="3248642" y="3954730"/>
                </a:lnTo>
                <a:lnTo>
                  <a:pt x="3251071" y="3920394"/>
                </a:lnTo>
                <a:lnTo>
                  <a:pt x="3270501" y="3900774"/>
                </a:lnTo>
                <a:lnTo>
                  <a:pt x="3277786" y="3881154"/>
                </a:lnTo>
                <a:lnTo>
                  <a:pt x="3292358" y="3866438"/>
                </a:lnTo>
                <a:lnTo>
                  <a:pt x="3292358" y="3832103"/>
                </a:lnTo>
                <a:lnTo>
                  <a:pt x="3319071" y="3837007"/>
                </a:lnTo>
                <a:lnTo>
                  <a:pt x="3328785" y="3866438"/>
                </a:lnTo>
                <a:lnTo>
                  <a:pt x="3348215" y="3868891"/>
                </a:lnTo>
                <a:lnTo>
                  <a:pt x="3355499" y="3903226"/>
                </a:lnTo>
                <a:lnTo>
                  <a:pt x="3382213" y="3905679"/>
                </a:lnTo>
                <a:lnTo>
                  <a:pt x="3396785" y="3920394"/>
                </a:lnTo>
                <a:lnTo>
                  <a:pt x="3401576" y="3956683"/>
                </a:lnTo>
                <a:lnTo>
                  <a:pt x="3401595" y="3956546"/>
                </a:lnTo>
                <a:lnTo>
                  <a:pt x="3432851" y="3939348"/>
                </a:lnTo>
                <a:lnTo>
                  <a:pt x="3444874" y="3919694"/>
                </a:lnTo>
                <a:lnTo>
                  <a:pt x="3485751" y="3919694"/>
                </a:lnTo>
                <a:lnTo>
                  <a:pt x="3500178" y="3944261"/>
                </a:lnTo>
                <a:lnTo>
                  <a:pt x="3490561" y="3966373"/>
                </a:lnTo>
                <a:lnTo>
                  <a:pt x="3490561" y="4069560"/>
                </a:lnTo>
                <a:lnTo>
                  <a:pt x="3481062" y="4079264"/>
                </a:lnTo>
                <a:lnTo>
                  <a:pt x="3482211" y="4079155"/>
                </a:lnTo>
                <a:lnTo>
                  <a:pt x="3483583" y="4080755"/>
                </a:lnTo>
                <a:lnTo>
                  <a:pt x="3492667" y="4071608"/>
                </a:lnTo>
                <a:lnTo>
                  <a:pt x="3492667" y="3970606"/>
                </a:lnTo>
                <a:lnTo>
                  <a:pt x="3504903" y="3950898"/>
                </a:lnTo>
                <a:lnTo>
                  <a:pt x="3522026" y="3945971"/>
                </a:lnTo>
                <a:lnTo>
                  <a:pt x="3526919" y="3965679"/>
                </a:lnTo>
                <a:lnTo>
                  <a:pt x="3551385" y="3970606"/>
                </a:lnTo>
                <a:lnTo>
                  <a:pt x="3568513" y="3977996"/>
                </a:lnTo>
                <a:lnTo>
                  <a:pt x="3573406" y="4000167"/>
                </a:lnTo>
                <a:lnTo>
                  <a:pt x="3597870" y="4014948"/>
                </a:lnTo>
                <a:lnTo>
                  <a:pt x="3604544" y="4037340"/>
                </a:lnTo>
                <a:lnTo>
                  <a:pt x="3605229" y="4037340"/>
                </a:lnTo>
                <a:lnTo>
                  <a:pt x="3624911" y="4059478"/>
                </a:lnTo>
                <a:lnTo>
                  <a:pt x="3651975" y="4120969"/>
                </a:lnTo>
                <a:lnTo>
                  <a:pt x="3642134" y="4140646"/>
                </a:lnTo>
                <a:lnTo>
                  <a:pt x="3624911" y="4175081"/>
                </a:lnTo>
                <a:lnTo>
                  <a:pt x="3605229" y="4202137"/>
                </a:lnTo>
                <a:lnTo>
                  <a:pt x="3573244" y="4256249"/>
                </a:lnTo>
                <a:lnTo>
                  <a:pt x="3597848" y="4246411"/>
                </a:lnTo>
                <a:lnTo>
                  <a:pt x="3615071" y="4224274"/>
                </a:lnTo>
                <a:lnTo>
                  <a:pt x="3634753" y="4202137"/>
                </a:lnTo>
                <a:lnTo>
                  <a:pt x="3656897" y="4184920"/>
                </a:lnTo>
                <a:lnTo>
                  <a:pt x="3683962" y="4184920"/>
                </a:lnTo>
                <a:lnTo>
                  <a:pt x="3703643" y="4199678"/>
                </a:lnTo>
                <a:lnTo>
                  <a:pt x="3688882" y="4229193"/>
                </a:lnTo>
                <a:lnTo>
                  <a:pt x="3674120" y="4253790"/>
                </a:lnTo>
                <a:lnTo>
                  <a:pt x="3706103" y="4236572"/>
                </a:lnTo>
                <a:lnTo>
                  <a:pt x="3715945" y="4216895"/>
                </a:lnTo>
                <a:lnTo>
                  <a:pt x="3740550" y="4209516"/>
                </a:lnTo>
                <a:lnTo>
                  <a:pt x="3779915" y="4204597"/>
                </a:lnTo>
                <a:lnTo>
                  <a:pt x="3811900" y="4209516"/>
                </a:lnTo>
                <a:lnTo>
                  <a:pt x="3841423" y="4229193"/>
                </a:lnTo>
                <a:lnTo>
                  <a:pt x="3863568" y="4256249"/>
                </a:lnTo>
                <a:lnTo>
                  <a:pt x="3893093" y="4273466"/>
                </a:lnTo>
                <a:lnTo>
                  <a:pt x="3915235" y="4271007"/>
                </a:lnTo>
                <a:lnTo>
                  <a:pt x="3937380" y="4258708"/>
                </a:lnTo>
                <a:lnTo>
                  <a:pt x="3954602" y="4275926"/>
                </a:lnTo>
                <a:lnTo>
                  <a:pt x="3989045" y="4283306"/>
                </a:lnTo>
                <a:lnTo>
                  <a:pt x="4023491" y="4283306"/>
                </a:lnTo>
                <a:lnTo>
                  <a:pt x="4048095" y="4295604"/>
                </a:lnTo>
                <a:lnTo>
                  <a:pt x="4055476" y="4322659"/>
                </a:lnTo>
                <a:lnTo>
                  <a:pt x="4085001" y="4322659"/>
                </a:lnTo>
                <a:lnTo>
                  <a:pt x="4104685" y="4352175"/>
                </a:lnTo>
                <a:lnTo>
                  <a:pt x="4126828" y="4366933"/>
                </a:lnTo>
                <a:lnTo>
                  <a:pt x="4153892" y="4371853"/>
                </a:lnTo>
                <a:lnTo>
                  <a:pt x="4168654" y="4386611"/>
                </a:lnTo>
                <a:lnTo>
                  <a:pt x="4176034" y="4455481"/>
                </a:lnTo>
                <a:lnTo>
                  <a:pt x="4200639" y="4457940"/>
                </a:lnTo>
                <a:lnTo>
                  <a:pt x="4193258" y="4489916"/>
                </a:lnTo>
                <a:lnTo>
                  <a:pt x="4178499" y="4489916"/>
                </a:lnTo>
                <a:lnTo>
                  <a:pt x="4180955" y="4524352"/>
                </a:lnTo>
                <a:lnTo>
                  <a:pt x="4166193" y="4529271"/>
                </a:lnTo>
                <a:lnTo>
                  <a:pt x="4166193" y="4558787"/>
                </a:lnTo>
                <a:lnTo>
                  <a:pt x="4139131" y="4568624"/>
                </a:lnTo>
                <a:lnTo>
                  <a:pt x="4129289" y="4603061"/>
                </a:lnTo>
                <a:lnTo>
                  <a:pt x="4112067" y="4610439"/>
                </a:lnTo>
                <a:lnTo>
                  <a:pt x="4102225" y="4644874"/>
                </a:lnTo>
                <a:lnTo>
                  <a:pt x="4085001" y="4654713"/>
                </a:lnTo>
                <a:lnTo>
                  <a:pt x="4085001" y="4691607"/>
                </a:lnTo>
                <a:lnTo>
                  <a:pt x="4053016" y="4703906"/>
                </a:lnTo>
                <a:lnTo>
                  <a:pt x="4043174" y="4890839"/>
                </a:lnTo>
                <a:lnTo>
                  <a:pt x="4025951" y="4900678"/>
                </a:lnTo>
                <a:lnTo>
                  <a:pt x="4021030" y="4967088"/>
                </a:lnTo>
                <a:lnTo>
                  <a:pt x="4006267" y="5006443"/>
                </a:lnTo>
                <a:lnTo>
                  <a:pt x="3989045" y="5035959"/>
                </a:lnTo>
                <a:lnTo>
                  <a:pt x="3979204" y="5099910"/>
                </a:lnTo>
                <a:lnTo>
                  <a:pt x="3922616" y="5102369"/>
                </a:lnTo>
                <a:lnTo>
                  <a:pt x="3915235" y="5122046"/>
                </a:lnTo>
                <a:lnTo>
                  <a:pt x="3841423" y="5131885"/>
                </a:lnTo>
                <a:lnTo>
                  <a:pt x="3804519" y="5158942"/>
                </a:lnTo>
                <a:lnTo>
                  <a:pt x="3784838" y="5173700"/>
                </a:lnTo>
                <a:lnTo>
                  <a:pt x="3772538" y="5193377"/>
                </a:lnTo>
                <a:lnTo>
                  <a:pt x="3743009" y="5205675"/>
                </a:lnTo>
                <a:lnTo>
                  <a:pt x="3735628" y="5232730"/>
                </a:lnTo>
                <a:lnTo>
                  <a:pt x="3723327" y="5350794"/>
                </a:lnTo>
                <a:lnTo>
                  <a:pt x="3683962" y="5375391"/>
                </a:lnTo>
                <a:lnTo>
                  <a:pt x="3688882" y="5424584"/>
                </a:lnTo>
                <a:lnTo>
                  <a:pt x="3669198" y="5441801"/>
                </a:lnTo>
                <a:lnTo>
                  <a:pt x="3661817" y="5473777"/>
                </a:lnTo>
                <a:lnTo>
                  <a:pt x="3627372" y="5486075"/>
                </a:lnTo>
                <a:lnTo>
                  <a:pt x="3637213" y="5466397"/>
                </a:lnTo>
                <a:lnTo>
                  <a:pt x="3642134" y="5441801"/>
                </a:lnTo>
                <a:lnTo>
                  <a:pt x="3634753" y="5431962"/>
                </a:lnTo>
                <a:lnTo>
                  <a:pt x="3619991" y="5429503"/>
                </a:lnTo>
                <a:lnTo>
                  <a:pt x="3617530" y="5476236"/>
                </a:lnTo>
                <a:lnTo>
                  <a:pt x="3607690" y="5505752"/>
                </a:lnTo>
                <a:lnTo>
                  <a:pt x="3605229" y="5547566"/>
                </a:lnTo>
                <a:lnTo>
                  <a:pt x="3588006" y="5577082"/>
                </a:lnTo>
                <a:lnTo>
                  <a:pt x="3585214" y="5566844"/>
                </a:lnTo>
                <a:lnTo>
                  <a:pt x="3587711" y="5577051"/>
                </a:lnTo>
                <a:lnTo>
                  <a:pt x="3565792" y="5591982"/>
                </a:lnTo>
                <a:lnTo>
                  <a:pt x="3556052" y="5601936"/>
                </a:lnTo>
                <a:lnTo>
                  <a:pt x="3551179" y="5616866"/>
                </a:lnTo>
                <a:lnTo>
                  <a:pt x="3524393" y="5621842"/>
                </a:lnTo>
                <a:lnTo>
                  <a:pt x="3517084" y="5631795"/>
                </a:lnTo>
                <a:lnTo>
                  <a:pt x="3502476" y="5624331"/>
                </a:lnTo>
                <a:lnTo>
                  <a:pt x="3465942" y="5609400"/>
                </a:lnTo>
                <a:lnTo>
                  <a:pt x="3439151" y="5594470"/>
                </a:lnTo>
                <a:lnTo>
                  <a:pt x="3424990" y="5608940"/>
                </a:lnTo>
                <a:lnTo>
                  <a:pt x="3424990" y="5627454"/>
                </a:lnTo>
                <a:lnTo>
                  <a:pt x="3439693" y="5634811"/>
                </a:lnTo>
                <a:lnTo>
                  <a:pt x="3461746" y="5637263"/>
                </a:lnTo>
                <a:lnTo>
                  <a:pt x="3461746" y="5688767"/>
                </a:lnTo>
                <a:lnTo>
                  <a:pt x="3481349" y="5696125"/>
                </a:lnTo>
                <a:lnTo>
                  <a:pt x="3476449" y="5742723"/>
                </a:lnTo>
                <a:lnTo>
                  <a:pt x="3454394" y="5757438"/>
                </a:lnTo>
                <a:lnTo>
                  <a:pt x="3424990" y="5762343"/>
                </a:lnTo>
                <a:lnTo>
                  <a:pt x="3415189" y="5786869"/>
                </a:lnTo>
                <a:lnTo>
                  <a:pt x="3398035" y="5789322"/>
                </a:lnTo>
                <a:lnTo>
                  <a:pt x="3331876" y="5801585"/>
                </a:lnTo>
                <a:lnTo>
                  <a:pt x="3307371" y="5804037"/>
                </a:lnTo>
                <a:lnTo>
                  <a:pt x="3300021" y="5816299"/>
                </a:lnTo>
                <a:lnTo>
                  <a:pt x="3307371" y="5853087"/>
                </a:lnTo>
                <a:lnTo>
                  <a:pt x="3307371" y="5902138"/>
                </a:lnTo>
                <a:lnTo>
                  <a:pt x="3273066" y="5914402"/>
                </a:lnTo>
                <a:lnTo>
                  <a:pt x="3216706" y="5884971"/>
                </a:lnTo>
                <a:lnTo>
                  <a:pt x="3209356" y="5921759"/>
                </a:lnTo>
                <a:lnTo>
                  <a:pt x="3236311" y="5941379"/>
                </a:lnTo>
                <a:lnTo>
                  <a:pt x="3246112" y="5965905"/>
                </a:lnTo>
                <a:lnTo>
                  <a:pt x="3253463" y="5995335"/>
                </a:lnTo>
                <a:lnTo>
                  <a:pt x="3238759" y="6010050"/>
                </a:lnTo>
                <a:lnTo>
                  <a:pt x="3224060" y="6029671"/>
                </a:lnTo>
                <a:lnTo>
                  <a:pt x="3209356" y="6076269"/>
                </a:lnTo>
                <a:lnTo>
                  <a:pt x="3189754" y="6083627"/>
                </a:lnTo>
                <a:lnTo>
                  <a:pt x="3184852" y="6103248"/>
                </a:lnTo>
                <a:lnTo>
                  <a:pt x="3160347" y="6110605"/>
                </a:lnTo>
                <a:lnTo>
                  <a:pt x="3155447" y="6159656"/>
                </a:lnTo>
                <a:lnTo>
                  <a:pt x="3209356" y="6181729"/>
                </a:lnTo>
                <a:lnTo>
                  <a:pt x="3209356" y="6206254"/>
                </a:lnTo>
                <a:lnTo>
                  <a:pt x="3209356" y="6228328"/>
                </a:lnTo>
                <a:lnTo>
                  <a:pt x="3189754" y="6243042"/>
                </a:lnTo>
                <a:lnTo>
                  <a:pt x="3175050" y="6262664"/>
                </a:lnTo>
                <a:lnTo>
                  <a:pt x="3177501" y="6321524"/>
                </a:lnTo>
                <a:lnTo>
                  <a:pt x="3150546" y="6328881"/>
                </a:lnTo>
                <a:lnTo>
                  <a:pt x="3130940" y="6343597"/>
                </a:lnTo>
                <a:lnTo>
                  <a:pt x="3133393" y="6375480"/>
                </a:lnTo>
                <a:lnTo>
                  <a:pt x="3130940" y="6419625"/>
                </a:lnTo>
                <a:lnTo>
                  <a:pt x="3023129" y="6424532"/>
                </a:lnTo>
                <a:lnTo>
                  <a:pt x="3018964" y="6396750"/>
                </a:lnTo>
                <a:lnTo>
                  <a:pt x="3023314" y="6427067"/>
                </a:lnTo>
                <a:lnTo>
                  <a:pt x="3129323" y="6422156"/>
                </a:lnTo>
                <a:lnTo>
                  <a:pt x="3136719" y="6488472"/>
                </a:lnTo>
                <a:lnTo>
                  <a:pt x="3109599" y="6503209"/>
                </a:lnTo>
                <a:lnTo>
                  <a:pt x="3099736" y="6544964"/>
                </a:lnTo>
                <a:lnTo>
                  <a:pt x="3082477" y="6517947"/>
                </a:lnTo>
                <a:lnTo>
                  <a:pt x="3062757" y="6498297"/>
                </a:lnTo>
                <a:lnTo>
                  <a:pt x="3030708" y="6481104"/>
                </a:lnTo>
                <a:lnTo>
                  <a:pt x="3018380" y="6456542"/>
                </a:lnTo>
                <a:lnTo>
                  <a:pt x="2993729" y="6444261"/>
                </a:lnTo>
                <a:lnTo>
                  <a:pt x="2983869" y="6427067"/>
                </a:lnTo>
                <a:lnTo>
                  <a:pt x="2978937" y="6390224"/>
                </a:lnTo>
                <a:lnTo>
                  <a:pt x="2954286" y="6377944"/>
                </a:lnTo>
                <a:lnTo>
                  <a:pt x="2934565" y="6346014"/>
                </a:lnTo>
                <a:lnTo>
                  <a:pt x="2917306" y="6282152"/>
                </a:lnTo>
                <a:lnTo>
                  <a:pt x="2941959" y="6218292"/>
                </a:lnTo>
                <a:lnTo>
                  <a:pt x="2917306" y="6206011"/>
                </a:lnTo>
                <a:lnTo>
                  <a:pt x="2919772" y="6149519"/>
                </a:lnTo>
                <a:lnTo>
                  <a:pt x="2934565" y="6117589"/>
                </a:lnTo>
                <a:lnTo>
                  <a:pt x="2929632" y="6007060"/>
                </a:lnTo>
                <a:lnTo>
                  <a:pt x="2922237" y="5999692"/>
                </a:lnTo>
                <a:lnTo>
                  <a:pt x="2897583" y="5999692"/>
                </a:lnTo>
                <a:lnTo>
                  <a:pt x="2912377" y="5965305"/>
                </a:lnTo>
                <a:lnTo>
                  <a:pt x="2885258" y="5741792"/>
                </a:lnTo>
                <a:lnTo>
                  <a:pt x="2895120" y="5727055"/>
                </a:lnTo>
                <a:lnTo>
                  <a:pt x="2907445" y="5702493"/>
                </a:lnTo>
                <a:lnTo>
                  <a:pt x="2922237" y="5550210"/>
                </a:lnTo>
                <a:lnTo>
                  <a:pt x="2912377" y="5545297"/>
                </a:lnTo>
                <a:lnTo>
                  <a:pt x="2919772" y="5422488"/>
                </a:lnTo>
                <a:lnTo>
                  <a:pt x="2929632" y="5373365"/>
                </a:lnTo>
                <a:lnTo>
                  <a:pt x="2917306" y="5351258"/>
                </a:lnTo>
                <a:lnTo>
                  <a:pt x="2941959" y="5351258"/>
                </a:lnTo>
                <a:lnTo>
                  <a:pt x="2944424" y="5253011"/>
                </a:lnTo>
                <a:lnTo>
                  <a:pt x="2954286" y="5253011"/>
                </a:lnTo>
                <a:lnTo>
                  <a:pt x="2954286" y="5167045"/>
                </a:lnTo>
                <a:lnTo>
                  <a:pt x="2941959" y="5167045"/>
                </a:lnTo>
                <a:lnTo>
                  <a:pt x="2941959" y="5147396"/>
                </a:lnTo>
                <a:lnTo>
                  <a:pt x="2956750" y="5130203"/>
                </a:lnTo>
                <a:lnTo>
                  <a:pt x="2954286" y="4987743"/>
                </a:lnTo>
                <a:lnTo>
                  <a:pt x="2944424" y="4968094"/>
                </a:lnTo>
                <a:lnTo>
                  <a:pt x="2937304" y="4918426"/>
                </a:lnTo>
                <a:lnTo>
                  <a:pt x="2935405" y="4920155"/>
                </a:lnTo>
                <a:lnTo>
                  <a:pt x="2906013" y="4895621"/>
                </a:lnTo>
                <a:lnTo>
                  <a:pt x="2857027" y="4856365"/>
                </a:lnTo>
                <a:lnTo>
                  <a:pt x="2803136" y="4836736"/>
                </a:lnTo>
                <a:lnTo>
                  <a:pt x="2768843" y="4792574"/>
                </a:lnTo>
                <a:lnTo>
                  <a:pt x="2732100" y="4770491"/>
                </a:lnTo>
                <a:lnTo>
                  <a:pt x="2719851" y="4738597"/>
                </a:lnTo>
                <a:lnTo>
                  <a:pt x="2729649" y="4723875"/>
                </a:lnTo>
                <a:lnTo>
                  <a:pt x="2712501" y="4709154"/>
                </a:lnTo>
                <a:lnTo>
                  <a:pt x="2695354" y="4674806"/>
                </a:lnTo>
                <a:lnTo>
                  <a:pt x="2685556" y="4640456"/>
                </a:lnTo>
                <a:lnTo>
                  <a:pt x="2670861" y="4620828"/>
                </a:lnTo>
                <a:lnTo>
                  <a:pt x="2661062" y="4611013"/>
                </a:lnTo>
                <a:lnTo>
                  <a:pt x="2656162" y="4574211"/>
                </a:lnTo>
                <a:lnTo>
                  <a:pt x="2634119" y="4561944"/>
                </a:lnTo>
                <a:lnTo>
                  <a:pt x="2621873" y="4530049"/>
                </a:lnTo>
                <a:lnTo>
                  <a:pt x="2616972" y="4495699"/>
                </a:lnTo>
                <a:lnTo>
                  <a:pt x="2597376" y="4480978"/>
                </a:lnTo>
                <a:lnTo>
                  <a:pt x="2582682" y="4424548"/>
                </a:lnTo>
                <a:lnTo>
                  <a:pt x="2545939" y="4424548"/>
                </a:lnTo>
                <a:lnTo>
                  <a:pt x="2545939" y="4341129"/>
                </a:lnTo>
                <a:lnTo>
                  <a:pt x="2560638" y="4326408"/>
                </a:lnTo>
                <a:lnTo>
                  <a:pt x="2580228" y="4326408"/>
                </a:lnTo>
                <a:lnTo>
                  <a:pt x="2584847" y="4344897"/>
                </a:lnTo>
                <a:lnTo>
                  <a:pt x="2584847" y="4319382"/>
                </a:lnTo>
                <a:lnTo>
                  <a:pt x="2582399" y="4292194"/>
                </a:lnTo>
                <a:lnTo>
                  <a:pt x="2557918" y="4269949"/>
                </a:lnTo>
                <a:lnTo>
                  <a:pt x="2548130" y="4242762"/>
                </a:lnTo>
                <a:lnTo>
                  <a:pt x="2557918" y="4215574"/>
                </a:lnTo>
                <a:lnTo>
                  <a:pt x="2575055" y="4193328"/>
                </a:lnTo>
                <a:lnTo>
                  <a:pt x="2582399" y="4151312"/>
                </a:lnTo>
                <a:lnTo>
                  <a:pt x="2611772" y="4136481"/>
                </a:lnTo>
                <a:lnTo>
                  <a:pt x="2663177" y="4166140"/>
                </a:lnTo>
                <a:lnTo>
                  <a:pt x="2719477" y="4163669"/>
                </a:lnTo>
                <a:lnTo>
                  <a:pt x="2741103" y="4181534"/>
                </a:lnTo>
                <a:lnTo>
                  <a:pt x="2721149" y="4163348"/>
                </a:lnTo>
                <a:lnTo>
                  <a:pt x="2665036" y="4165795"/>
                </a:lnTo>
                <a:lnTo>
                  <a:pt x="2613801" y="4136445"/>
                </a:lnTo>
                <a:lnTo>
                  <a:pt x="2640637" y="4094865"/>
                </a:lnTo>
                <a:lnTo>
                  <a:pt x="2647960" y="4075299"/>
                </a:lnTo>
                <a:lnTo>
                  <a:pt x="2679672" y="4070407"/>
                </a:lnTo>
                <a:lnTo>
                  <a:pt x="2669914" y="3908982"/>
                </a:lnTo>
                <a:lnTo>
                  <a:pt x="2677233" y="3830716"/>
                </a:lnTo>
                <a:lnTo>
                  <a:pt x="2711390" y="3862512"/>
                </a:lnTo>
                <a:lnTo>
                  <a:pt x="2713830" y="3806257"/>
                </a:lnTo>
                <a:lnTo>
                  <a:pt x="2752868" y="3794028"/>
                </a:lnTo>
                <a:lnTo>
                  <a:pt x="2755307" y="3752449"/>
                </a:lnTo>
                <a:lnTo>
                  <a:pt x="2794343" y="3725545"/>
                </a:lnTo>
                <a:lnTo>
                  <a:pt x="2835822" y="3720653"/>
                </a:lnTo>
                <a:lnTo>
                  <a:pt x="2848021" y="3691303"/>
                </a:lnTo>
                <a:close/>
                <a:moveTo>
                  <a:pt x="9585313" y="3661300"/>
                </a:moveTo>
                <a:lnTo>
                  <a:pt x="9596922" y="3688198"/>
                </a:lnTo>
                <a:lnTo>
                  <a:pt x="9585313" y="3719985"/>
                </a:lnTo>
                <a:lnTo>
                  <a:pt x="9562095" y="3768891"/>
                </a:lnTo>
                <a:lnTo>
                  <a:pt x="9527269" y="3805570"/>
                </a:lnTo>
                <a:lnTo>
                  <a:pt x="9522624" y="3756664"/>
                </a:lnTo>
                <a:lnTo>
                  <a:pt x="9541199" y="3727321"/>
                </a:lnTo>
                <a:lnTo>
                  <a:pt x="9571383" y="3702870"/>
                </a:lnTo>
                <a:lnTo>
                  <a:pt x="9576026" y="3675972"/>
                </a:lnTo>
                <a:close/>
                <a:moveTo>
                  <a:pt x="9690666" y="3659111"/>
                </a:moveTo>
                <a:lnTo>
                  <a:pt x="9721940" y="3669183"/>
                </a:lnTo>
                <a:lnTo>
                  <a:pt x="9732365" y="3696884"/>
                </a:lnTo>
                <a:lnTo>
                  <a:pt x="9690666" y="3706956"/>
                </a:lnTo>
                <a:lnTo>
                  <a:pt x="9680241" y="3689329"/>
                </a:lnTo>
                <a:close/>
                <a:moveTo>
                  <a:pt x="5021642" y="3648901"/>
                </a:moveTo>
                <a:lnTo>
                  <a:pt x="5025628" y="3650234"/>
                </a:lnTo>
                <a:lnTo>
                  <a:pt x="5029589" y="3650978"/>
                </a:lnTo>
                <a:lnTo>
                  <a:pt x="5024092" y="3649601"/>
                </a:lnTo>
                <a:close/>
                <a:moveTo>
                  <a:pt x="9792809" y="3648162"/>
                </a:moveTo>
                <a:lnTo>
                  <a:pt x="9815852" y="3648162"/>
                </a:lnTo>
                <a:lnTo>
                  <a:pt x="9811243" y="3672094"/>
                </a:lnTo>
                <a:lnTo>
                  <a:pt x="9797416" y="3682730"/>
                </a:lnTo>
                <a:lnTo>
                  <a:pt x="9781287" y="3682730"/>
                </a:lnTo>
                <a:lnTo>
                  <a:pt x="9774373" y="3656139"/>
                </a:lnTo>
                <a:close/>
                <a:moveTo>
                  <a:pt x="4858175" y="3646992"/>
                </a:moveTo>
                <a:lnTo>
                  <a:pt x="4855913" y="3647745"/>
                </a:lnTo>
                <a:lnTo>
                  <a:pt x="4844301" y="3662650"/>
                </a:lnTo>
                <a:close/>
                <a:moveTo>
                  <a:pt x="5862627" y="3618117"/>
                </a:moveTo>
                <a:lnTo>
                  <a:pt x="5866928" y="3626787"/>
                </a:lnTo>
                <a:lnTo>
                  <a:pt x="5871090" y="3635177"/>
                </a:lnTo>
                <a:lnTo>
                  <a:pt x="5866095" y="3623619"/>
                </a:lnTo>
                <a:close/>
                <a:moveTo>
                  <a:pt x="5438296" y="3616355"/>
                </a:moveTo>
                <a:lnTo>
                  <a:pt x="5456592" y="3644006"/>
                </a:lnTo>
                <a:lnTo>
                  <a:pt x="5457162" y="3641866"/>
                </a:lnTo>
                <a:lnTo>
                  <a:pt x="5457878" y="3641811"/>
                </a:lnTo>
                <a:lnTo>
                  <a:pt x="5439537" y="3616480"/>
                </a:lnTo>
                <a:close/>
                <a:moveTo>
                  <a:pt x="5687041" y="3607043"/>
                </a:moveTo>
                <a:lnTo>
                  <a:pt x="5692864" y="3614585"/>
                </a:lnTo>
                <a:lnTo>
                  <a:pt x="5700712" y="3614585"/>
                </a:lnTo>
                <a:lnTo>
                  <a:pt x="5693989" y="3614022"/>
                </a:lnTo>
                <a:close/>
                <a:moveTo>
                  <a:pt x="5596808" y="3606929"/>
                </a:moveTo>
                <a:lnTo>
                  <a:pt x="5602127" y="3614585"/>
                </a:lnTo>
                <a:lnTo>
                  <a:pt x="5602130" y="3614567"/>
                </a:lnTo>
                <a:close/>
                <a:moveTo>
                  <a:pt x="5728243" y="3596819"/>
                </a:moveTo>
                <a:lnTo>
                  <a:pt x="5723822" y="3614585"/>
                </a:lnTo>
                <a:lnTo>
                  <a:pt x="5724746" y="3614585"/>
                </a:lnTo>
                <a:lnTo>
                  <a:pt x="5729651" y="3597291"/>
                </a:lnTo>
                <a:lnTo>
                  <a:pt x="5772753" y="3597291"/>
                </a:lnTo>
                <a:lnTo>
                  <a:pt x="5772283" y="3596819"/>
                </a:lnTo>
                <a:close/>
                <a:moveTo>
                  <a:pt x="5655084" y="3596125"/>
                </a:moveTo>
                <a:lnTo>
                  <a:pt x="5647503" y="3596819"/>
                </a:lnTo>
                <a:lnTo>
                  <a:pt x="5605909" y="3599275"/>
                </a:lnTo>
                <a:lnTo>
                  <a:pt x="5605851" y="3599690"/>
                </a:lnTo>
                <a:lnTo>
                  <a:pt x="5648722" y="3597291"/>
                </a:lnTo>
                <a:close/>
                <a:moveTo>
                  <a:pt x="5532152" y="3595416"/>
                </a:moveTo>
                <a:lnTo>
                  <a:pt x="5527617" y="3596819"/>
                </a:lnTo>
                <a:lnTo>
                  <a:pt x="5527614" y="3596823"/>
                </a:lnTo>
                <a:close/>
                <a:moveTo>
                  <a:pt x="9604248" y="3589038"/>
                </a:moveTo>
                <a:lnTo>
                  <a:pt x="9639274" y="3601671"/>
                </a:lnTo>
                <a:lnTo>
                  <a:pt x="9639274" y="3604198"/>
                </a:lnTo>
                <a:lnTo>
                  <a:pt x="9641776" y="3604198"/>
                </a:lnTo>
                <a:lnTo>
                  <a:pt x="9644278" y="3606724"/>
                </a:lnTo>
                <a:lnTo>
                  <a:pt x="9646780" y="3609251"/>
                </a:lnTo>
                <a:lnTo>
                  <a:pt x="9649282" y="3609251"/>
                </a:lnTo>
                <a:lnTo>
                  <a:pt x="9651782" y="3611777"/>
                </a:lnTo>
                <a:lnTo>
                  <a:pt x="9656786" y="3614305"/>
                </a:lnTo>
                <a:lnTo>
                  <a:pt x="9659288" y="3616831"/>
                </a:lnTo>
                <a:lnTo>
                  <a:pt x="9661790" y="3621884"/>
                </a:lnTo>
                <a:lnTo>
                  <a:pt x="9664292" y="3626937"/>
                </a:lnTo>
                <a:lnTo>
                  <a:pt x="9666794" y="3629465"/>
                </a:lnTo>
                <a:lnTo>
                  <a:pt x="9666794" y="3634518"/>
                </a:lnTo>
                <a:lnTo>
                  <a:pt x="9666794" y="3637044"/>
                </a:lnTo>
                <a:lnTo>
                  <a:pt x="9664292" y="3642097"/>
                </a:lnTo>
                <a:lnTo>
                  <a:pt x="9661790" y="3644624"/>
                </a:lnTo>
                <a:lnTo>
                  <a:pt x="9659288" y="3644624"/>
                </a:lnTo>
                <a:lnTo>
                  <a:pt x="9656786" y="3647150"/>
                </a:lnTo>
                <a:lnTo>
                  <a:pt x="9651782" y="3649678"/>
                </a:lnTo>
                <a:lnTo>
                  <a:pt x="9649282" y="3652204"/>
                </a:lnTo>
                <a:lnTo>
                  <a:pt x="9646780" y="3652204"/>
                </a:lnTo>
                <a:lnTo>
                  <a:pt x="9644278" y="3652204"/>
                </a:lnTo>
                <a:lnTo>
                  <a:pt x="9641776" y="3652204"/>
                </a:lnTo>
                <a:lnTo>
                  <a:pt x="9621761" y="3644624"/>
                </a:lnTo>
                <a:lnTo>
                  <a:pt x="9599244" y="3619358"/>
                </a:lnTo>
                <a:close/>
                <a:moveTo>
                  <a:pt x="5559424" y="3586988"/>
                </a:moveTo>
                <a:lnTo>
                  <a:pt x="5558043" y="3587414"/>
                </a:lnTo>
                <a:lnTo>
                  <a:pt x="5565502" y="3588097"/>
                </a:lnTo>
                <a:close/>
                <a:moveTo>
                  <a:pt x="5410494" y="3575969"/>
                </a:moveTo>
                <a:lnTo>
                  <a:pt x="5412925" y="3615158"/>
                </a:lnTo>
                <a:lnTo>
                  <a:pt x="5426388" y="3615158"/>
                </a:lnTo>
                <a:lnTo>
                  <a:pt x="5415070" y="3614022"/>
                </a:lnTo>
                <a:lnTo>
                  <a:pt x="5412624" y="3577157"/>
                </a:lnTo>
                <a:close/>
                <a:moveTo>
                  <a:pt x="6163858" y="3570529"/>
                </a:moveTo>
                <a:lnTo>
                  <a:pt x="6157742" y="3591758"/>
                </a:lnTo>
                <a:lnTo>
                  <a:pt x="6130554" y="3594209"/>
                </a:lnTo>
                <a:lnTo>
                  <a:pt x="6125611" y="3616266"/>
                </a:lnTo>
                <a:lnTo>
                  <a:pt x="6152799" y="3628521"/>
                </a:lnTo>
                <a:lnTo>
                  <a:pt x="6157248" y="3640654"/>
                </a:lnTo>
                <a:lnTo>
                  <a:pt x="6154342" y="3629002"/>
                </a:lnTo>
                <a:lnTo>
                  <a:pt x="6127306" y="3616684"/>
                </a:lnTo>
                <a:lnTo>
                  <a:pt x="6132222" y="3594512"/>
                </a:lnTo>
                <a:lnTo>
                  <a:pt x="6159258" y="3592048"/>
                </a:lnTo>
                <a:close/>
                <a:moveTo>
                  <a:pt x="9732781" y="3564951"/>
                </a:moveTo>
                <a:lnTo>
                  <a:pt x="9769722" y="3586302"/>
                </a:lnTo>
                <a:lnTo>
                  <a:pt x="9769722" y="3619512"/>
                </a:lnTo>
                <a:lnTo>
                  <a:pt x="9720467" y="3614769"/>
                </a:lnTo>
                <a:lnTo>
                  <a:pt x="9693376" y="3600535"/>
                </a:lnTo>
                <a:lnTo>
                  <a:pt x="9698302" y="3572067"/>
                </a:lnTo>
                <a:close/>
                <a:moveTo>
                  <a:pt x="9078091" y="3555304"/>
                </a:moveTo>
                <a:lnTo>
                  <a:pt x="9067278" y="3557455"/>
                </a:lnTo>
                <a:lnTo>
                  <a:pt x="9078091" y="3556081"/>
                </a:lnTo>
                <a:close/>
                <a:moveTo>
                  <a:pt x="9137073" y="3554564"/>
                </a:moveTo>
                <a:lnTo>
                  <a:pt x="9137073" y="3557459"/>
                </a:lnTo>
                <a:lnTo>
                  <a:pt x="9105235" y="3582387"/>
                </a:lnTo>
                <a:lnTo>
                  <a:pt x="9105612" y="3582808"/>
                </a:lnTo>
                <a:lnTo>
                  <a:pt x="9138982" y="3556146"/>
                </a:lnTo>
                <a:close/>
                <a:moveTo>
                  <a:pt x="8831531" y="3551560"/>
                </a:moveTo>
                <a:lnTo>
                  <a:pt x="8832396" y="3556797"/>
                </a:lnTo>
                <a:lnTo>
                  <a:pt x="8844601" y="3603585"/>
                </a:lnTo>
                <a:lnTo>
                  <a:pt x="8873118" y="3629959"/>
                </a:lnTo>
                <a:lnTo>
                  <a:pt x="8873885" y="3628178"/>
                </a:lnTo>
                <a:lnTo>
                  <a:pt x="8844419" y="3601307"/>
                </a:lnTo>
                <a:lnTo>
                  <a:pt x="8832140" y="3554892"/>
                </a:lnTo>
                <a:close/>
                <a:moveTo>
                  <a:pt x="6650830" y="3535607"/>
                </a:moveTo>
                <a:lnTo>
                  <a:pt x="6658187" y="3631464"/>
                </a:lnTo>
                <a:lnTo>
                  <a:pt x="6611489" y="3641319"/>
                </a:lnTo>
                <a:lnTo>
                  <a:pt x="6604166" y="3722051"/>
                </a:lnTo>
                <a:lnTo>
                  <a:pt x="6606014" y="3721884"/>
                </a:lnTo>
                <a:lnTo>
                  <a:pt x="6613387" y="3641244"/>
                </a:lnTo>
                <a:lnTo>
                  <a:pt x="6660078" y="3631468"/>
                </a:lnTo>
                <a:lnTo>
                  <a:pt x="6652705" y="3536166"/>
                </a:lnTo>
                <a:close/>
                <a:moveTo>
                  <a:pt x="2216003" y="3528938"/>
                </a:moveTo>
                <a:lnTo>
                  <a:pt x="2185645" y="3535929"/>
                </a:lnTo>
                <a:lnTo>
                  <a:pt x="2185621" y="3535997"/>
                </a:lnTo>
                <a:lnTo>
                  <a:pt x="2216001" y="3528941"/>
                </a:lnTo>
                <a:close/>
                <a:moveTo>
                  <a:pt x="5498257" y="3509302"/>
                </a:moveTo>
                <a:lnTo>
                  <a:pt x="5404907" y="3521607"/>
                </a:lnTo>
                <a:lnTo>
                  <a:pt x="5377880" y="3541299"/>
                </a:lnTo>
                <a:lnTo>
                  <a:pt x="5318912" y="3538837"/>
                </a:lnTo>
                <a:lnTo>
                  <a:pt x="5299257" y="3563451"/>
                </a:lnTo>
                <a:lnTo>
                  <a:pt x="5279601" y="3580681"/>
                </a:lnTo>
                <a:lnTo>
                  <a:pt x="5232936" y="3595450"/>
                </a:lnTo>
                <a:lnTo>
                  <a:pt x="5225564" y="3615141"/>
                </a:lnTo>
                <a:lnTo>
                  <a:pt x="5213280" y="3642217"/>
                </a:lnTo>
                <a:lnTo>
                  <a:pt x="5188710" y="3676678"/>
                </a:lnTo>
                <a:lnTo>
                  <a:pt x="5176425" y="3725906"/>
                </a:lnTo>
                <a:lnTo>
                  <a:pt x="5134655" y="3730829"/>
                </a:lnTo>
                <a:lnTo>
                  <a:pt x="5102713" y="3733290"/>
                </a:lnTo>
                <a:lnTo>
                  <a:pt x="5095457" y="3705664"/>
                </a:lnTo>
                <a:lnTo>
                  <a:pt x="5101296" y="3733492"/>
                </a:lnTo>
                <a:lnTo>
                  <a:pt x="5089093" y="3762876"/>
                </a:lnTo>
                <a:lnTo>
                  <a:pt x="5091434" y="3764757"/>
                </a:lnTo>
                <a:lnTo>
                  <a:pt x="5090279" y="3763726"/>
                </a:lnTo>
                <a:lnTo>
                  <a:pt x="5102623" y="3734340"/>
                </a:lnTo>
                <a:lnTo>
                  <a:pt x="5134714" y="3734340"/>
                </a:lnTo>
                <a:lnTo>
                  <a:pt x="5179148" y="3726994"/>
                </a:lnTo>
                <a:lnTo>
                  <a:pt x="5198897" y="3741687"/>
                </a:lnTo>
                <a:lnTo>
                  <a:pt x="5270477" y="3746585"/>
                </a:lnTo>
                <a:lnTo>
                  <a:pt x="5271856" y="3764375"/>
                </a:lnTo>
                <a:lnTo>
                  <a:pt x="5271856" y="3744005"/>
                </a:lnTo>
                <a:lnTo>
                  <a:pt x="5272712" y="3742273"/>
                </a:lnTo>
                <a:lnTo>
                  <a:pt x="5270363" y="3746415"/>
                </a:lnTo>
                <a:lnTo>
                  <a:pt x="5199092" y="3741462"/>
                </a:lnTo>
                <a:lnTo>
                  <a:pt x="5179428" y="3726602"/>
                </a:lnTo>
                <a:lnTo>
                  <a:pt x="5189259" y="3679549"/>
                </a:lnTo>
                <a:lnTo>
                  <a:pt x="5213839" y="3644876"/>
                </a:lnTo>
                <a:lnTo>
                  <a:pt x="5226129" y="3615158"/>
                </a:lnTo>
                <a:lnTo>
                  <a:pt x="5235963" y="3597823"/>
                </a:lnTo>
                <a:lnTo>
                  <a:pt x="5280195" y="3582963"/>
                </a:lnTo>
                <a:lnTo>
                  <a:pt x="5299860" y="3563152"/>
                </a:lnTo>
                <a:lnTo>
                  <a:pt x="5319522" y="3540863"/>
                </a:lnTo>
                <a:lnTo>
                  <a:pt x="5378513" y="3543339"/>
                </a:lnTo>
                <a:lnTo>
                  <a:pt x="5388345" y="3563152"/>
                </a:lnTo>
                <a:lnTo>
                  <a:pt x="5390338" y="3564267"/>
                </a:lnTo>
                <a:lnTo>
                  <a:pt x="5380817" y="3542749"/>
                </a:lnTo>
                <a:lnTo>
                  <a:pt x="5407730" y="3525546"/>
                </a:lnTo>
                <a:lnTo>
                  <a:pt x="5498257" y="3510799"/>
                </a:lnTo>
                <a:close/>
                <a:moveTo>
                  <a:pt x="4981862" y="3506850"/>
                </a:moveTo>
                <a:lnTo>
                  <a:pt x="4980608" y="3508441"/>
                </a:lnTo>
                <a:lnTo>
                  <a:pt x="5006893" y="3521607"/>
                </a:lnTo>
                <a:lnTo>
                  <a:pt x="5012521" y="3521932"/>
                </a:lnTo>
                <a:lnTo>
                  <a:pt x="5008954" y="3521652"/>
                </a:lnTo>
                <a:close/>
                <a:moveTo>
                  <a:pt x="4875330" y="3490807"/>
                </a:moveTo>
                <a:lnTo>
                  <a:pt x="4890275" y="3498267"/>
                </a:lnTo>
                <a:lnTo>
                  <a:pt x="4917274" y="3535024"/>
                </a:lnTo>
                <a:lnTo>
                  <a:pt x="4943721" y="3554226"/>
                </a:lnTo>
                <a:lnTo>
                  <a:pt x="4943340" y="3552571"/>
                </a:lnTo>
                <a:lnTo>
                  <a:pt x="4917831" y="3533987"/>
                </a:lnTo>
                <a:lnTo>
                  <a:pt x="4890740" y="3496981"/>
                </a:lnTo>
                <a:close/>
                <a:moveTo>
                  <a:pt x="5888013" y="3489442"/>
                </a:moveTo>
                <a:lnTo>
                  <a:pt x="5882383" y="3491138"/>
                </a:lnTo>
                <a:lnTo>
                  <a:pt x="5870149" y="3513257"/>
                </a:lnTo>
                <a:lnTo>
                  <a:pt x="5845682" y="3528003"/>
                </a:lnTo>
                <a:lnTo>
                  <a:pt x="5833449" y="3547664"/>
                </a:lnTo>
                <a:lnTo>
                  <a:pt x="5833449" y="3582072"/>
                </a:lnTo>
                <a:lnTo>
                  <a:pt x="5808982" y="3596819"/>
                </a:lnTo>
                <a:lnTo>
                  <a:pt x="5808978" y="3596823"/>
                </a:lnTo>
                <a:lnTo>
                  <a:pt x="5835102" y="3582468"/>
                </a:lnTo>
                <a:lnTo>
                  <a:pt x="5835403" y="3584891"/>
                </a:lnTo>
                <a:lnTo>
                  <a:pt x="5849405" y="3582539"/>
                </a:lnTo>
                <a:lnTo>
                  <a:pt x="5848794" y="3579503"/>
                </a:lnTo>
                <a:lnTo>
                  <a:pt x="5833964" y="3581954"/>
                </a:lnTo>
                <a:lnTo>
                  <a:pt x="5833964" y="3547643"/>
                </a:lnTo>
                <a:lnTo>
                  <a:pt x="5846322" y="3528035"/>
                </a:lnTo>
                <a:lnTo>
                  <a:pt x="5871038" y="3513330"/>
                </a:lnTo>
                <a:lnTo>
                  <a:pt x="5883396" y="3491273"/>
                </a:lnTo>
                <a:close/>
                <a:moveTo>
                  <a:pt x="5522629" y="3484728"/>
                </a:moveTo>
                <a:lnTo>
                  <a:pt x="5498272" y="3489608"/>
                </a:lnTo>
                <a:lnTo>
                  <a:pt x="5498272" y="3491135"/>
                </a:lnTo>
                <a:lnTo>
                  <a:pt x="5522723" y="3486222"/>
                </a:lnTo>
                <a:close/>
                <a:moveTo>
                  <a:pt x="7035174" y="3470970"/>
                </a:moveTo>
                <a:lnTo>
                  <a:pt x="6988165" y="3506308"/>
                </a:lnTo>
                <a:lnTo>
                  <a:pt x="6988165" y="3509131"/>
                </a:lnTo>
                <a:lnTo>
                  <a:pt x="7034852" y="3472104"/>
                </a:lnTo>
                <a:close/>
                <a:moveTo>
                  <a:pt x="5149358" y="3470724"/>
                </a:moveTo>
                <a:lnTo>
                  <a:pt x="5149331" y="3472310"/>
                </a:lnTo>
                <a:lnTo>
                  <a:pt x="5175606" y="3479489"/>
                </a:lnTo>
                <a:close/>
                <a:moveTo>
                  <a:pt x="3110440" y="3420425"/>
                </a:moveTo>
                <a:lnTo>
                  <a:pt x="3110440" y="3447522"/>
                </a:lnTo>
                <a:lnTo>
                  <a:pt x="3090640" y="3457377"/>
                </a:lnTo>
                <a:lnTo>
                  <a:pt x="3070844" y="3447522"/>
                </a:lnTo>
                <a:lnTo>
                  <a:pt x="3055998" y="3437669"/>
                </a:lnTo>
                <a:lnTo>
                  <a:pt x="3075796" y="3425352"/>
                </a:lnTo>
                <a:close/>
                <a:moveTo>
                  <a:pt x="2684239" y="3413856"/>
                </a:moveTo>
                <a:lnTo>
                  <a:pt x="2711861" y="3413856"/>
                </a:lnTo>
                <a:lnTo>
                  <a:pt x="2747019" y="3429184"/>
                </a:lnTo>
                <a:lnTo>
                  <a:pt x="2736975" y="3454731"/>
                </a:lnTo>
                <a:lnTo>
                  <a:pt x="2691771" y="3457286"/>
                </a:lnTo>
                <a:lnTo>
                  <a:pt x="2664152" y="3436848"/>
                </a:lnTo>
                <a:close/>
                <a:moveTo>
                  <a:pt x="9069306" y="3408305"/>
                </a:moveTo>
                <a:lnTo>
                  <a:pt x="9105123" y="3464394"/>
                </a:lnTo>
                <a:lnTo>
                  <a:pt x="9136711" y="3486187"/>
                </a:lnTo>
                <a:lnTo>
                  <a:pt x="9136711" y="3483139"/>
                </a:lnTo>
                <a:lnTo>
                  <a:pt x="9104663" y="3461066"/>
                </a:lnTo>
                <a:close/>
                <a:moveTo>
                  <a:pt x="6214534" y="3406625"/>
                </a:moveTo>
                <a:lnTo>
                  <a:pt x="6209645" y="3508428"/>
                </a:lnTo>
                <a:lnTo>
                  <a:pt x="6201536" y="3512448"/>
                </a:lnTo>
                <a:lnTo>
                  <a:pt x="6210872" y="3508291"/>
                </a:lnTo>
                <a:lnTo>
                  <a:pt x="6215690" y="3406855"/>
                </a:lnTo>
                <a:close/>
                <a:moveTo>
                  <a:pt x="9001905" y="3388472"/>
                </a:moveTo>
                <a:lnTo>
                  <a:pt x="8978341" y="3408041"/>
                </a:lnTo>
                <a:lnTo>
                  <a:pt x="9001577" y="3388778"/>
                </a:lnTo>
                <a:lnTo>
                  <a:pt x="9005048" y="3392545"/>
                </a:lnTo>
                <a:close/>
                <a:moveTo>
                  <a:pt x="5516576" y="3365923"/>
                </a:moveTo>
                <a:lnTo>
                  <a:pt x="5515697" y="3368993"/>
                </a:lnTo>
                <a:lnTo>
                  <a:pt x="5515474" y="3369044"/>
                </a:lnTo>
                <a:lnTo>
                  <a:pt x="5515540" y="3370083"/>
                </a:lnTo>
                <a:close/>
                <a:moveTo>
                  <a:pt x="9628476" y="3363491"/>
                </a:moveTo>
                <a:lnTo>
                  <a:pt x="9664531" y="3365962"/>
                </a:lnTo>
                <a:lnTo>
                  <a:pt x="9671742" y="3388196"/>
                </a:lnTo>
                <a:lnTo>
                  <a:pt x="9683762" y="3430195"/>
                </a:lnTo>
                <a:lnTo>
                  <a:pt x="9683762" y="3454901"/>
                </a:lnTo>
                <a:lnTo>
                  <a:pt x="9678954" y="3491958"/>
                </a:lnTo>
                <a:lnTo>
                  <a:pt x="9690973" y="3538897"/>
                </a:lnTo>
                <a:lnTo>
                  <a:pt x="9657321" y="3551250"/>
                </a:lnTo>
                <a:lnTo>
                  <a:pt x="9618860" y="3553721"/>
                </a:lnTo>
                <a:lnTo>
                  <a:pt x="9604438" y="3533956"/>
                </a:lnTo>
                <a:lnTo>
                  <a:pt x="9577997" y="3526545"/>
                </a:lnTo>
                <a:lnTo>
                  <a:pt x="9570786" y="3477134"/>
                </a:lnTo>
                <a:lnTo>
                  <a:pt x="9594824" y="3454901"/>
                </a:lnTo>
                <a:lnTo>
                  <a:pt x="9604438" y="3403019"/>
                </a:lnTo>
                <a:close/>
                <a:moveTo>
                  <a:pt x="6131334" y="3357032"/>
                </a:moveTo>
                <a:lnTo>
                  <a:pt x="6138413" y="3362086"/>
                </a:lnTo>
                <a:lnTo>
                  <a:pt x="6132614" y="3357742"/>
                </a:lnTo>
                <a:close/>
                <a:moveTo>
                  <a:pt x="2902119" y="3354732"/>
                </a:moveTo>
                <a:lnTo>
                  <a:pt x="2904023" y="3355014"/>
                </a:lnTo>
                <a:lnTo>
                  <a:pt x="2906893" y="3354732"/>
                </a:lnTo>
                <a:lnTo>
                  <a:pt x="2906893" y="3355440"/>
                </a:lnTo>
                <a:lnTo>
                  <a:pt x="2934568" y="3359539"/>
                </a:lnTo>
                <a:lnTo>
                  <a:pt x="2947049" y="3376363"/>
                </a:lnTo>
                <a:lnTo>
                  <a:pt x="2962025" y="3381169"/>
                </a:lnTo>
                <a:lnTo>
                  <a:pt x="2979500" y="3381169"/>
                </a:lnTo>
                <a:lnTo>
                  <a:pt x="2986989" y="3402800"/>
                </a:lnTo>
                <a:lnTo>
                  <a:pt x="3006959" y="3412414"/>
                </a:lnTo>
                <a:lnTo>
                  <a:pt x="3029423" y="3429238"/>
                </a:lnTo>
                <a:lnTo>
                  <a:pt x="3021934" y="3443658"/>
                </a:lnTo>
                <a:lnTo>
                  <a:pt x="2989485" y="3446062"/>
                </a:lnTo>
                <a:lnTo>
                  <a:pt x="2934568" y="3443658"/>
                </a:lnTo>
                <a:lnTo>
                  <a:pt x="2895081" y="3449994"/>
                </a:lnTo>
                <a:lnTo>
                  <a:pt x="2894674" y="3450868"/>
                </a:lnTo>
                <a:lnTo>
                  <a:pt x="2891823" y="3450517"/>
                </a:lnTo>
                <a:lnTo>
                  <a:pt x="2889636" y="3450868"/>
                </a:lnTo>
                <a:lnTo>
                  <a:pt x="2889912" y="3450283"/>
                </a:lnTo>
                <a:lnTo>
                  <a:pt x="2855581" y="3446062"/>
                </a:lnTo>
                <a:lnTo>
                  <a:pt x="2811593" y="3443658"/>
                </a:lnTo>
                <a:lnTo>
                  <a:pt x="2804261" y="3417221"/>
                </a:lnTo>
                <a:lnTo>
                  <a:pt x="2860468" y="3417221"/>
                </a:lnTo>
                <a:lnTo>
                  <a:pt x="2882459" y="3405204"/>
                </a:lnTo>
                <a:lnTo>
                  <a:pt x="2867797" y="3388380"/>
                </a:lnTo>
                <a:lnTo>
                  <a:pt x="2882459" y="3357135"/>
                </a:lnTo>
                <a:lnTo>
                  <a:pt x="2902119" y="3355202"/>
                </a:lnTo>
                <a:close/>
                <a:moveTo>
                  <a:pt x="9027112" y="3354619"/>
                </a:moveTo>
                <a:lnTo>
                  <a:pt x="9026481" y="3356634"/>
                </a:lnTo>
                <a:lnTo>
                  <a:pt x="9051166" y="3381234"/>
                </a:lnTo>
                <a:lnTo>
                  <a:pt x="9050427" y="3380133"/>
                </a:lnTo>
                <a:close/>
                <a:moveTo>
                  <a:pt x="5476161" y="3317313"/>
                </a:moveTo>
                <a:lnTo>
                  <a:pt x="5476873" y="3321418"/>
                </a:lnTo>
                <a:lnTo>
                  <a:pt x="5476371" y="3317403"/>
                </a:lnTo>
                <a:close/>
                <a:moveTo>
                  <a:pt x="9226265" y="3315316"/>
                </a:moveTo>
                <a:lnTo>
                  <a:pt x="9248684" y="3376425"/>
                </a:lnTo>
                <a:lnTo>
                  <a:pt x="9213809" y="3417979"/>
                </a:lnTo>
                <a:lnTo>
                  <a:pt x="9183917" y="3417979"/>
                </a:lnTo>
                <a:lnTo>
                  <a:pt x="9178934" y="3371536"/>
                </a:lnTo>
                <a:lnTo>
                  <a:pt x="9201354" y="3337315"/>
                </a:lnTo>
                <a:close/>
                <a:moveTo>
                  <a:pt x="8861636" y="3305664"/>
                </a:moveTo>
                <a:lnTo>
                  <a:pt x="8861318" y="3305945"/>
                </a:lnTo>
                <a:lnTo>
                  <a:pt x="8861608" y="3305720"/>
                </a:lnTo>
                <a:close/>
                <a:moveTo>
                  <a:pt x="6034534" y="3286000"/>
                </a:moveTo>
                <a:lnTo>
                  <a:pt x="6053935" y="3317262"/>
                </a:lnTo>
                <a:lnTo>
                  <a:pt x="6065773" y="3323130"/>
                </a:lnTo>
                <a:lnTo>
                  <a:pt x="6056154" y="3318326"/>
                </a:lnTo>
                <a:lnTo>
                  <a:pt x="6036422" y="3286301"/>
                </a:lnTo>
                <a:close/>
                <a:moveTo>
                  <a:pt x="8970237" y="3271017"/>
                </a:moveTo>
                <a:lnTo>
                  <a:pt x="9030917" y="3292786"/>
                </a:lnTo>
                <a:lnTo>
                  <a:pt x="9030707" y="3291841"/>
                </a:lnTo>
                <a:close/>
                <a:moveTo>
                  <a:pt x="6282734" y="3240863"/>
                </a:moveTo>
                <a:lnTo>
                  <a:pt x="6259926" y="3257974"/>
                </a:lnTo>
                <a:lnTo>
                  <a:pt x="6284605" y="3242232"/>
                </a:lnTo>
                <a:lnTo>
                  <a:pt x="6515635" y="3242232"/>
                </a:lnTo>
                <a:lnTo>
                  <a:pt x="6527890" y="3251787"/>
                </a:lnTo>
                <a:lnTo>
                  <a:pt x="6516970" y="3240863"/>
                </a:lnTo>
                <a:close/>
                <a:moveTo>
                  <a:pt x="2517834" y="3234295"/>
                </a:moveTo>
                <a:lnTo>
                  <a:pt x="2566941" y="3241673"/>
                </a:lnTo>
                <a:lnTo>
                  <a:pt x="2635693" y="3256429"/>
                </a:lnTo>
                <a:lnTo>
                  <a:pt x="2699531" y="3290858"/>
                </a:lnTo>
                <a:lnTo>
                  <a:pt x="2797752" y="3337584"/>
                </a:lnTo>
                <a:lnTo>
                  <a:pt x="2814942" y="3362177"/>
                </a:lnTo>
                <a:lnTo>
                  <a:pt x="2765833" y="3391689"/>
                </a:lnTo>
                <a:lnTo>
                  <a:pt x="2689711" y="3384310"/>
                </a:lnTo>
                <a:lnTo>
                  <a:pt x="2699531" y="3344962"/>
                </a:lnTo>
                <a:lnTo>
                  <a:pt x="2674977" y="3320369"/>
                </a:lnTo>
                <a:lnTo>
                  <a:pt x="2620962" y="3283481"/>
                </a:lnTo>
                <a:lnTo>
                  <a:pt x="2601317" y="3276103"/>
                </a:lnTo>
                <a:lnTo>
                  <a:pt x="2495736" y="3266265"/>
                </a:lnTo>
                <a:lnTo>
                  <a:pt x="2453994" y="3281021"/>
                </a:lnTo>
                <a:lnTo>
                  <a:pt x="2488368" y="3249051"/>
                </a:lnTo>
                <a:close/>
                <a:moveTo>
                  <a:pt x="5900496" y="3217798"/>
                </a:moveTo>
                <a:lnTo>
                  <a:pt x="5927885" y="3221678"/>
                </a:lnTo>
                <a:lnTo>
                  <a:pt x="5927885" y="3233932"/>
                </a:lnTo>
                <a:lnTo>
                  <a:pt x="5938437" y="3237670"/>
                </a:lnTo>
                <a:lnTo>
                  <a:pt x="5930364" y="3234569"/>
                </a:lnTo>
                <a:lnTo>
                  <a:pt x="5930364" y="3219786"/>
                </a:lnTo>
                <a:close/>
                <a:moveTo>
                  <a:pt x="8947553" y="3215259"/>
                </a:moveTo>
                <a:lnTo>
                  <a:pt x="8923024" y="3228679"/>
                </a:lnTo>
                <a:lnTo>
                  <a:pt x="8923415" y="3231417"/>
                </a:lnTo>
                <a:lnTo>
                  <a:pt x="8923262" y="3229282"/>
                </a:lnTo>
                <a:lnTo>
                  <a:pt x="8947792" y="3215947"/>
                </a:lnTo>
                <a:close/>
                <a:moveTo>
                  <a:pt x="4913984" y="3215159"/>
                </a:moveTo>
                <a:lnTo>
                  <a:pt x="4907967" y="3234795"/>
                </a:lnTo>
                <a:lnTo>
                  <a:pt x="4907967" y="3282345"/>
                </a:lnTo>
                <a:lnTo>
                  <a:pt x="4907980" y="3282345"/>
                </a:lnTo>
                <a:lnTo>
                  <a:pt x="4910442" y="3230537"/>
                </a:lnTo>
                <a:close/>
                <a:moveTo>
                  <a:pt x="5872897" y="3207429"/>
                </a:moveTo>
                <a:lnTo>
                  <a:pt x="5889723" y="3215879"/>
                </a:lnTo>
                <a:lnTo>
                  <a:pt x="5897061" y="3235540"/>
                </a:lnTo>
                <a:lnTo>
                  <a:pt x="5901955" y="3250286"/>
                </a:lnTo>
                <a:lnTo>
                  <a:pt x="5919082" y="3289610"/>
                </a:lnTo>
                <a:lnTo>
                  <a:pt x="5906964" y="3481925"/>
                </a:lnTo>
                <a:lnTo>
                  <a:pt x="5908112" y="3481469"/>
                </a:lnTo>
                <a:lnTo>
                  <a:pt x="5922942" y="3290302"/>
                </a:lnTo>
                <a:lnTo>
                  <a:pt x="5905640" y="3251088"/>
                </a:lnTo>
                <a:lnTo>
                  <a:pt x="5898226" y="3236382"/>
                </a:lnTo>
                <a:lnTo>
                  <a:pt x="5893420" y="3217327"/>
                </a:lnTo>
                <a:lnTo>
                  <a:pt x="5893367" y="3217324"/>
                </a:lnTo>
                <a:lnTo>
                  <a:pt x="5873636" y="3207470"/>
                </a:lnTo>
                <a:close/>
                <a:moveTo>
                  <a:pt x="7278581" y="3204997"/>
                </a:moveTo>
                <a:lnTo>
                  <a:pt x="7278330" y="3205406"/>
                </a:lnTo>
                <a:lnTo>
                  <a:pt x="7306980" y="3245167"/>
                </a:lnTo>
                <a:lnTo>
                  <a:pt x="7284945" y="3343329"/>
                </a:lnTo>
                <a:lnTo>
                  <a:pt x="7182114" y="3362962"/>
                </a:lnTo>
                <a:lnTo>
                  <a:pt x="7076836" y="3380140"/>
                </a:lnTo>
                <a:lnTo>
                  <a:pt x="7047456" y="3419404"/>
                </a:lnTo>
                <a:lnTo>
                  <a:pt x="7035372" y="3470273"/>
                </a:lnTo>
                <a:lnTo>
                  <a:pt x="7049594" y="3420266"/>
                </a:lnTo>
                <a:lnTo>
                  <a:pt x="7076624" y="3383239"/>
                </a:lnTo>
                <a:lnTo>
                  <a:pt x="7184695" y="3363499"/>
                </a:lnTo>
                <a:lnTo>
                  <a:pt x="7184649" y="3363350"/>
                </a:lnTo>
                <a:lnTo>
                  <a:pt x="7285107" y="3346174"/>
                </a:lnTo>
                <a:lnTo>
                  <a:pt x="7309610" y="3248023"/>
                </a:lnTo>
                <a:close/>
                <a:moveTo>
                  <a:pt x="5823833" y="3185298"/>
                </a:moveTo>
                <a:lnTo>
                  <a:pt x="5826109" y="3203591"/>
                </a:lnTo>
                <a:lnTo>
                  <a:pt x="5828925" y="3203748"/>
                </a:lnTo>
                <a:lnTo>
                  <a:pt x="5824306" y="3185298"/>
                </a:lnTo>
                <a:close/>
                <a:moveTo>
                  <a:pt x="8827555" y="3182806"/>
                </a:moveTo>
                <a:lnTo>
                  <a:pt x="8834837" y="3239129"/>
                </a:lnTo>
                <a:lnTo>
                  <a:pt x="8871451" y="3248980"/>
                </a:lnTo>
                <a:lnTo>
                  <a:pt x="8878774" y="3271143"/>
                </a:lnTo>
                <a:lnTo>
                  <a:pt x="8863749" y="3301460"/>
                </a:lnTo>
                <a:lnTo>
                  <a:pt x="8878797" y="3271521"/>
                </a:lnTo>
                <a:lnTo>
                  <a:pt x="8883708" y="3303278"/>
                </a:lnTo>
                <a:lnTo>
                  <a:pt x="8893531" y="3337478"/>
                </a:lnTo>
                <a:lnTo>
                  <a:pt x="8910720" y="3354578"/>
                </a:lnTo>
                <a:lnTo>
                  <a:pt x="8937731" y="3364349"/>
                </a:lnTo>
                <a:lnTo>
                  <a:pt x="8972111" y="3413206"/>
                </a:lnTo>
                <a:lnTo>
                  <a:pt x="8972411" y="3412959"/>
                </a:lnTo>
                <a:lnTo>
                  <a:pt x="8938007" y="3363981"/>
                </a:lnTo>
                <a:lnTo>
                  <a:pt x="8910973" y="3354186"/>
                </a:lnTo>
                <a:lnTo>
                  <a:pt x="8893770" y="3337042"/>
                </a:lnTo>
                <a:lnTo>
                  <a:pt x="8886397" y="3302754"/>
                </a:lnTo>
                <a:lnTo>
                  <a:pt x="8879025" y="3270916"/>
                </a:lnTo>
                <a:lnTo>
                  <a:pt x="8925720" y="3263569"/>
                </a:lnTo>
                <a:lnTo>
                  <a:pt x="8925710" y="3263438"/>
                </a:lnTo>
                <a:lnTo>
                  <a:pt x="8878893" y="3270480"/>
                </a:lnTo>
                <a:lnTo>
                  <a:pt x="8871539" y="3248350"/>
                </a:lnTo>
                <a:lnTo>
                  <a:pt x="8837214" y="3238514"/>
                </a:lnTo>
                <a:close/>
                <a:moveTo>
                  <a:pt x="5134655" y="3121954"/>
                </a:moveTo>
                <a:lnTo>
                  <a:pt x="5134554" y="3121985"/>
                </a:lnTo>
                <a:lnTo>
                  <a:pt x="5134554" y="3176261"/>
                </a:lnTo>
                <a:lnTo>
                  <a:pt x="5146019" y="3189182"/>
                </a:lnTo>
                <a:lnTo>
                  <a:pt x="5134655" y="3174545"/>
                </a:lnTo>
                <a:close/>
                <a:moveTo>
                  <a:pt x="8582364" y="3117530"/>
                </a:moveTo>
                <a:lnTo>
                  <a:pt x="8589623" y="3160797"/>
                </a:lnTo>
                <a:lnTo>
                  <a:pt x="8593442" y="3175338"/>
                </a:lnTo>
                <a:lnTo>
                  <a:pt x="8590179" y="3159637"/>
                </a:lnTo>
                <a:lnTo>
                  <a:pt x="8582809" y="3117778"/>
                </a:lnTo>
                <a:close/>
                <a:moveTo>
                  <a:pt x="5156780" y="3115305"/>
                </a:moveTo>
                <a:lnTo>
                  <a:pt x="5154697" y="3115931"/>
                </a:lnTo>
                <a:lnTo>
                  <a:pt x="5156768" y="3115470"/>
                </a:lnTo>
                <a:close/>
                <a:moveTo>
                  <a:pt x="9594691" y="3102908"/>
                </a:moveTo>
                <a:lnTo>
                  <a:pt x="9625163" y="3166541"/>
                </a:lnTo>
                <a:lnTo>
                  <a:pt x="9604848" y="3225277"/>
                </a:lnTo>
                <a:lnTo>
                  <a:pt x="9564218" y="3186120"/>
                </a:lnTo>
                <a:lnTo>
                  <a:pt x="9569297" y="3139619"/>
                </a:lnTo>
                <a:close/>
                <a:moveTo>
                  <a:pt x="8518499" y="3090280"/>
                </a:moveTo>
                <a:lnTo>
                  <a:pt x="8537331" y="3094020"/>
                </a:lnTo>
                <a:lnTo>
                  <a:pt x="8563318" y="3106926"/>
                </a:lnTo>
                <a:lnTo>
                  <a:pt x="8538588" y="3093156"/>
                </a:lnTo>
                <a:close/>
                <a:moveTo>
                  <a:pt x="8678621" y="3073908"/>
                </a:moveTo>
                <a:lnTo>
                  <a:pt x="8671251" y="3083308"/>
                </a:lnTo>
                <a:lnTo>
                  <a:pt x="8669928" y="3088349"/>
                </a:lnTo>
                <a:lnTo>
                  <a:pt x="8671292" y="3083989"/>
                </a:lnTo>
                <a:close/>
                <a:moveTo>
                  <a:pt x="4972012" y="3072044"/>
                </a:moveTo>
                <a:lnTo>
                  <a:pt x="4971813" y="3072062"/>
                </a:lnTo>
                <a:lnTo>
                  <a:pt x="4971813" y="3190986"/>
                </a:lnTo>
                <a:lnTo>
                  <a:pt x="4972012" y="3191063"/>
                </a:lnTo>
                <a:close/>
                <a:moveTo>
                  <a:pt x="8808399" y="3063456"/>
                </a:moveTo>
                <a:lnTo>
                  <a:pt x="8795782" y="3088913"/>
                </a:lnTo>
                <a:lnTo>
                  <a:pt x="8771372" y="3108614"/>
                </a:lnTo>
                <a:lnTo>
                  <a:pt x="8768931" y="3140628"/>
                </a:lnTo>
                <a:lnTo>
                  <a:pt x="8807987" y="3145552"/>
                </a:lnTo>
                <a:lnTo>
                  <a:pt x="8827494" y="3182452"/>
                </a:lnTo>
                <a:lnTo>
                  <a:pt x="8827408" y="3181958"/>
                </a:lnTo>
                <a:lnTo>
                  <a:pt x="8810246" y="3145074"/>
                </a:lnTo>
                <a:lnTo>
                  <a:pt x="8771019" y="3140156"/>
                </a:lnTo>
                <a:lnTo>
                  <a:pt x="8773470" y="3108189"/>
                </a:lnTo>
                <a:lnTo>
                  <a:pt x="8797988" y="3088518"/>
                </a:lnTo>
                <a:close/>
                <a:moveTo>
                  <a:pt x="8459973" y="3056223"/>
                </a:moveTo>
                <a:lnTo>
                  <a:pt x="8458913" y="3059410"/>
                </a:lnTo>
                <a:lnTo>
                  <a:pt x="8499979" y="3086601"/>
                </a:lnTo>
                <a:lnTo>
                  <a:pt x="8502683" y="3087139"/>
                </a:lnTo>
                <a:close/>
                <a:moveTo>
                  <a:pt x="7788186" y="3050199"/>
                </a:moveTo>
                <a:lnTo>
                  <a:pt x="7799098" y="3063002"/>
                </a:lnTo>
                <a:lnTo>
                  <a:pt x="7827657" y="3100217"/>
                </a:lnTo>
                <a:lnTo>
                  <a:pt x="7801567" y="3063610"/>
                </a:lnTo>
                <a:close/>
                <a:moveTo>
                  <a:pt x="8314639" y="3030695"/>
                </a:moveTo>
                <a:lnTo>
                  <a:pt x="8327646" y="3033592"/>
                </a:lnTo>
                <a:lnTo>
                  <a:pt x="8326147" y="3032600"/>
                </a:lnTo>
                <a:close/>
                <a:moveTo>
                  <a:pt x="8451591" y="3011468"/>
                </a:moveTo>
                <a:lnTo>
                  <a:pt x="8449846" y="3014750"/>
                </a:lnTo>
                <a:lnTo>
                  <a:pt x="8447129" y="3013582"/>
                </a:lnTo>
                <a:lnTo>
                  <a:pt x="8428197" y="3048837"/>
                </a:lnTo>
                <a:lnTo>
                  <a:pt x="8430492" y="3048837"/>
                </a:lnTo>
                <a:lnTo>
                  <a:pt x="8450145" y="3014366"/>
                </a:lnTo>
                <a:close/>
                <a:moveTo>
                  <a:pt x="8741564" y="2994752"/>
                </a:moveTo>
                <a:lnTo>
                  <a:pt x="8747410" y="3004517"/>
                </a:lnTo>
                <a:lnTo>
                  <a:pt x="8747390" y="3004676"/>
                </a:lnTo>
                <a:lnTo>
                  <a:pt x="8786018" y="2997800"/>
                </a:lnTo>
                <a:lnTo>
                  <a:pt x="8795782" y="3017501"/>
                </a:lnTo>
                <a:lnTo>
                  <a:pt x="8809943" y="3057976"/>
                </a:lnTo>
                <a:lnTo>
                  <a:pt x="8797988" y="3017209"/>
                </a:lnTo>
                <a:lnTo>
                  <a:pt x="8788180" y="2997537"/>
                </a:lnTo>
                <a:lnTo>
                  <a:pt x="8746501" y="3002455"/>
                </a:lnTo>
                <a:close/>
                <a:moveTo>
                  <a:pt x="8187170" y="2992073"/>
                </a:moveTo>
                <a:lnTo>
                  <a:pt x="8187275" y="2992206"/>
                </a:lnTo>
                <a:lnTo>
                  <a:pt x="8228699" y="3003737"/>
                </a:lnTo>
                <a:lnTo>
                  <a:pt x="8227100" y="3003088"/>
                </a:lnTo>
                <a:close/>
                <a:moveTo>
                  <a:pt x="8469459" y="2977866"/>
                </a:moveTo>
                <a:lnTo>
                  <a:pt x="8468184" y="2980264"/>
                </a:lnTo>
                <a:lnTo>
                  <a:pt x="8506651" y="2997131"/>
                </a:lnTo>
                <a:lnTo>
                  <a:pt x="8507875" y="2997131"/>
                </a:lnTo>
                <a:close/>
                <a:moveTo>
                  <a:pt x="7804045" y="2974593"/>
                </a:moveTo>
                <a:lnTo>
                  <a:pt x="7781783" y="2996695"/>
                </a:lnTo>
                <a:lnTo>
                  <a:pt x="7771888" y="3031076"/>
                </a:lnTo>
                <a:lnTo>
                  <a:pt x="7772645" y="3031964"/>
                </a:lnTo>
                <a:lnTo>
                  <a:pt x="7781914" y="2997131"/>
                </a:lnTo>
                <a:lnTo>
                  <a:pt x="7806482" y="2977432"/>
                </a:lnTo>
                <a:lnTo>
                  <a:pt x="7865443" y="2997131"/>
                </a:lnTo>
                <a:lnTo>
                  <a:pt x="7865651" y="2996611"/>
                </a:lnTo>
                <a:close/>
                <a:moveTo>
                  <a:pt x="8585117" y="2970249"/>
                </a:moveTo>
                <a:lnTo>
                  <a:pt x="8584689" y="2970488"/>
                </a:lnTo>
                <a:lnTo>
                  <a:pt x="8565371" y="2997131"/>
                </a:lnTo>
                <a:lnTo>
                  <a:pt x="8565612" y="2997131"/>
                </a:lnTo>
                <a:close/>
                <a:moveTo>
                  <a:pt x="1858564" y="2936487"/>
                </a:moveTo>
                <a:lnTo>
                  <a:pt x="1845429" y="2989041"/>
                </a:lnTo>
                <a:lnTo>
                  <a:pt x="1812333" y="2989041"/>
                </a:lnTo>
                <a:lnTo>
                  <a:pt x="1812516" y="2989700"/>
                </a:lnTo>
                <a:lnTo>
                  <a:pt x="1849340" y="2989700"/>
                </a:lnTo>
                <a:lnTo>
                  <a:pt x="1861500" y="2938732"/>
                </a:lnTo>
                <a:close/>
                <a:moveTo>
                  <a:pt x="1791136" y="2927532"/>
                </a:moveTo>
                <a:lnTo>
                  <a:pt x="1792947" y="2927934"/>
                </a:lnTo>
                <a:lnTo>
                  <a:pt x="1792889" y="2927728"/>
                </a:lnTo>
                <a:close/>
                <a:moveTo>
                  <a:pt x="7586687" y="2924060"/>
                </a:moveTo>
                <a:lnTo>
                  <a:pt x="7537782" y="2928814"/>
                </a:lnTo>
                <a:lnTo>
                  <a:pt x="7537157" y="2930057"/>
                </a:lnTo>
                <a:close/>
                <a:moveTo>
                  <a:pt x="8273324" y="2921310"/>
                </a:moveTo>
                <a:lnTo>
                  <a:pt x="8269761" y="2928456"/>
                </a:lnTo>
                <a:lnTo>
                  <a:pt x="8271671" y="2958821"/>
                </a:lnTo>
                <a:lnTo>
                  <a:pt x="8298910" y="2976036"/>
                </a:lnTo>
                <a:lnTo>
                  <a:pt x="8336053" y="2995710"/>
                </a:lnTo>
                <a:lnTo>
                  <a:pt x="8362272" y="2996550"/>
                </a:lnTo>
                <a:lnTo>
                  <a:pt x="8339519" y="2995079"/>
                </a:lnTo>
                <a:lnTo>
                  <a:pt x="8305195" y="2975406"/>
                </a:lnTo>
                <a:lnTo>
                  <a:pt x="8278227" y="2960652"/>
                </a:lnTo>
                <a:close/>
                <a:moveTo>
                  <a:pt x="8189488" y="2896720"/>
                </a:moveTo>
                <a:lnTo>
                  <a:pt x="8219671" y="2924392"/>
                </a:lnTo>
                <a:lnTo>
                  <a:pt x="8254338" y="2944066"/>
                </a:lnTo>
                <a:lnTo>
                  <a:pt x="8255245" y="2942565"/>
                </a:lnTo>
                <a:lnTo>
                  <a:pt x="8226741" y="2926227"/>
                </a:lnTo>
                <a:lnTo>
                  <a:pt x="8194869" y="2896720"/>
                </a:lnTo>
                <a:close/>
                <a:moveTo>
                  <a:pt x="1522040" y="2893360"/>
                </a:moveTo>
                <a:lnTo>
                  <a:pt x="1522852" y="2894170"/>
                </a:lnTo>
                <a:lnTo>
                  <a:pt x="1569128" y="2904666"/>
                </a:lnTo>
                <a:close/>
                <a:moveTo>
                  <a:pt x="6833977" y="2873802"/>
                </a:moveTo>
                <a:lnTo>
                  <a:pt x="6834448" y="2874605"/>
                </a:lnTo>
                <a:lnTo>
                  <a:pt x="6861052" y="2881877"/>
                </a:lnTo>
                <a:lnTo>
                  <a:pt x="6860522" y="2880953"/>
                </a:lnTo>
                <a:close/>
                <a:moveTo>
                  <a:pt x="8126513" y="2869753"/>
                </a:moveTo>
                <a:lnTo>
                  <a:pt x="8151584" y="2894880"/>
                </a:lnTo>
                <a:lnTo>
                  <a:pt x="8153654" y="2894880"/>
                </a:lnTo>
                <a:close/>
                <a:moveTo>
                  <a:pt x="5288604" y="2869467"/>
                </a:moveTo>
                <a:lnTo>
                  <a:pt x="5243242" y="2907472"/>
                </a:lnTo>
                <a:lnTo>
                  <a:pt x="5216107" y="2939395"/>
                </a:lnTo>
                <a:lnTo>
                  <a:pt x="5186487" y="2954129"/>
                </a:lnTo>
                <a:lnTo>
                  <a:pt x="5159335" y="2954129"/>
                </a:lnTo>
                <a:lnTo>
                  <a:pt x="5151932" y="2971319"/>
                </a:lnTo>
                <a:lnTo>
                  <a:pt x="5124779" y="2968863"/>
                </a:lnTo>
                <a:lnTo>
                  <a:pt x="5119843" y="2990965"/>
                </a:lnTo>
                <a:lnTo>
                  <a:pt x="5082940" y="2990965"/>
                </a:lnTo>
                <a:lnTo>
                  <a:pt x="5082315" y="2993161"/>
                </a:lnTo>
                <a:lnTo>
                  <a:pt x="5070038" y="3042474"/>
                </a:lnTo>
                <a:lnTo>
                  <a:pt x="5054244" y="3062863"/>
                </a:lnTo>
                <a:lnTo>
                  <a:pt x="5055745" y="3062775"/>
                </a:lnTo>
                <a:lnTo>
                  <a:pt x="5072982" y="3040571"/>
                </a:lnTo>
                <a:lnTo>
                  <a:pt x="5084429" y="2994700"/>
                </a:lnTo>
                <a:lnTo>
                  <a:pt x="5083113" y="2993124"/>
                </a:lnTo>
                <a:lnTo>
                  <a:pt x="5084825" y="2993124"/>
                </a:lnTo>
                <a:lnTo>
                  <a:pt x="5085298" y="2991229"/>
                </a:lnTo>
                <a:lnTo>
                  <a:pt x="5086927" y="2993124"/>
                </a:lnTo>
                <a:lnTo>
                  <a:pt x="5119982" y="2993124"/>
                </a:lnTo>
                <a:lnTo>
                  <a:pt x="5124898" y="2971015"/>
                </a:lnTo>
                <a:lnTo>
                  <a:pt x="5151936" y="2975928"/>
                </a:lnTo>
                <a:lnTo>
                  <a:pt x="5159310" y="2956275"/>
                </a:lnTo>
                <a:lnTo>
                  <a:pt x="5186347" y="2956275"/>
                </a:lnTo>
                <a:lnTo>
                  <a:pt x="5215843" y="2941536"/>
                </a:lnTo>
                <a:lnTo>
                  <a:pt x="5242865" y="2909599"/>
                </a:lnTo>
                <a:lnTo>
                  <a:pt x="5289566" y="2870292"/>
                </a:lnTo>
                <a:close/>
                <a:moveTo>
                  <a:pt x="1674695" y="2868288"/>
                </a:moveTo>
                <a:lnTo>
                  <a:pt x="1672488" y="2868603"/>
                </a:lnTo>
                <a:lnTo>
                  <a:pt x="1663733" y="2888312"/>
                </a:lnTo>
                <a:lnTo>
                  <a:pt x="1613382" y="2888312"/>
                </a:lnTo>
                <a:lnTo>
                  <a:pt x="1574074" y="2905787"/>
                </a:lnTo>
                <a:lnTo>
                  <a:pt x="1576857" y="2906417"/>
                </a:lnTo>
                <a:lnTo>
                  <a:pt x="1616133" y="2889273"/>
                </a:lnTo>
                <a:lnTo>
                  <a:pt x="1667685" y="2889273"/>
                </a:lnTo>
                <a:close/>
                <a:moveTo>
                  <a:pt x="7010904" y="2846769"/>
                </a:moveTo>
                <a:lnTo>
                  <a:pt x="7010867" y="2846869"/>
                </a:lnTo>
                <a:lnTo>
                  <a:pt x="7029849" y="2853899"/>
                </a:lnTo>
                <a:lnTo>
                  <a:pt x="7029835" y="2853803"/>
                </a:lnTo>
                <a:close/>
                <a:moveTo>
                  <a:pt x="1727216" y="2844516"/>
                </a:moveTo>
                <a:lnTo>
                  <a:pt x="1703137" y="2864224"/>
                </a:lnTo>
                <a:lnTo>
                  <a:pt x="1691964" y="2865820"/>
                </a:lnTo>
                <a:lnTo>
                  <a:pt x="1704507" y="2864777"/>
                </a:lnTo>
                <a:lnTo>
                  <a:pt x="1727700" y="2846262"/>
                </a:lnTo>
                <a:close/>
                <a:moveTo>
                  <a:pt x="7452661" y="2838427"/>
                </a:moveTo>
                <a:lnTo>
                  <a:pt x="7452602" y="2839105"/>
                </a:lnTo>
                <a:lnTo>
                  <a:pt x="7491405" y="2839105"/>
                </a:lnTo>
                <a:lnTo>
                  <a:pt x="7491205" y="2838427"/>
                </a:lnTo>
                <a:close/>
                <a:moveTo>
                  <a:pt x="7752264" y="2833635"/>
                </a:moveTo>
                <a:lnTo>
                  <a:pt x="7739544" y="2834610"/>
                </a:lnTo>
                <a:lnTo>
                  <a:pt x="7752100" y="2834610"/>
                </a:lnTo>
                <a:close/>
                <a:moveTo>
                  <a:pt x="6808765" y="2832261"/>
                </a:moveTo>
                <a:lnTo>
                  <a:pt x="6769829" y="2834665"/>
                </a:lnTo>
                <a:lnTo>
                  <a:pt x="6770792" y="2835340"/>
                </a:lnTo>
                <a:lnTo>
                  <a:pt x="6809167" y="2832936"/>
                </a:lnTo>
                <a:close/>
                <a:moveTo>
                  <a:pt x="5757747" y="2817977"/>
                </a:moveTo>
                <a:lnTo>
                  <a:pt x="5739156" y="2822678"/>
                </a:lnTo>
                <a:lnTo>
                  <a:pt x="5711724" y="2836552"/>
                </a:lnTo>
                <a:lnTo>
                  <a:pt x="5740446" y="2823165"/>
                </a:lnTo>
                <a:lnTo>
                  <a:pt x="5757712" y="2818238"/>
                </a:lnTo>
                <a:close/>
                <a:moveTo>
                  <a:pt x="6720037" y="2798177"/>
                </a:moveTo>
                <a:lnTo>
                  <a:pt x="6709054" y="2802516"/>
                </a:lnTo>
                <a:lnTo>
                  <a:pt x="6709357" y="2803028"/>
                </a:lnTo>
                <a:lnTo>
                  <a:pt x="6704997" y="2807172"/>
                </a:lnTo>
                <a:lnTo>
                  <a:pt x="6709583" y="2803437"/>
                </a:lnTo>
                <a:lnTo>
                  <a:pt x="6721609" y="2799420"/>
                </a:lnTo>
                <a:close/>
                <a:moveTo>
                  <a:pt x="7761691" y="2789114"/>
                </a:moveTo>
                <a:lnTo>
                  <a:pt x="7760855" y="2789568"/>
                </a:lnTo>
                <a:lnTo>
                  <a:pt x="7760846" y="2789616"/>
                </a:lnTo>
                <a:close/>
                <a:moveTo>
                  <a:pt x="6999234" y="2786043"/>
                </a:moveTo>
                <a:lnTo>
                  <a:pt x="6990278" y="2787656"/>
                </a:lnTo>
                <a:lnTo>
                  <a:pt x="6985744" y="2786659"/>
                </a:lnTo>
                <a:lnTo>
                  <a:pt x="6991151" y="2788439"/>
                </a:lnTo>
                <a:close/>
                <a:moveTo>
                  <a:pt x="7017473" y="2782757"/>
                </a:moveTo>
                <a:lnTo>
                  <a:pt x="7016229" y="2782981"/>
                </a:lnTo>
                <a:lnTo>
                  <a:pt x="7020807" y="2802576"/>
                </a:lnTo>
                <a:close/>
                <a:moveTo>
                  <a:pt x="6672385" y="2777542"/>
                </a:moveTo>
                <a:lnTo>
                  <a:pt x="6641391" y="2800328"/>
                </a:lnTo>
                <a:lnTo>
                  <a:pt x="6643354" y="2800539"/>
                </a:lnTo>
                <a:close/>
                <a:moveTo>
                  <a:pt x="5330547" y="2776300"/>
                </a:moveTo>
                <a:lnTo>
                  <a:pt x="5317289" y="2821522"/>
                </a:lnTo>
                <a:lnTo>
                  <a:pt x="5280266" y="2823979"/>
                </a:lnTo>
                <a:lnTo>
                  <a:pt x="5270393" y="2850991"/>
                </a:lnTo>
                <a:lnTo>
                  <a:pt x="5272988" y="2853251"/>
                </a:lnTo>
                <a:lnTo>
                  <a:pt x="5279734" y="2828530"/>
                </a:lnTo>
                <a:lnTo>
                  <a:pt x="5316604" y="2826073"/>
                </a:lnTo>
                <a:close/>
                <a:moveTo>
                  <a:pt x="8042908" y="2771030"/>
                </a:moveTo>
                <a:lnTo>
                  <a:pt x="8069351" y="2790305"/>
                </a:lnTo>
                <a:lnTo>
                  <a:pt x="8069351" y="2854323"/>
                </a:lnTo>
                <a:lnTo>
                  <a:pt x="8078790" y="2856472"/>
                </a:lnTo>
                <a:lnTo>
                  <a:pt x="8072284" y="2854918"/>
                </a:lnTo>
                <a:lnTo>
                  <a:pt x="8072284" y="2790986"/>
                </a:lnTo>
                <a:lnTo>
                  <a:pt x="8045315" y="2771313"/>
                </a:lnTo>
                <a:close/>
                <a:moveTo>
                  <a:pt x="6604526" y="2754740"/>
                </a:moveTo>
                <a:lnTo>
                  <a:pt x="6598673" y="2757891"/>
                </a:lnTo>
                <a:lnTo>
                  <a:pt x="6604308" y="2755215"/>
                </a:lnTo>
                <a:close/>
                <a:moveTo>
                  <a:pt x="9968719" y="2748165"/>
                </a:moveTo>
                <a:lnTo>
                  <a:pt x="9993043" y="2762850"/>
                </a:lnTo>
                <a:lnTo>
                  <a:pt x="9973584" y="2787322"/>
                </a:lnTo>
                <a:lnTo>
                  <a:pt x="9951692" y="2787322"/>
                </a:lnTo>
                <a:lnTo>
                  <a:pt x="9954125" y="2762850"/>
                </a:lnTo>
                <a:lnTo>
                  <a:pt x="9954125" y="2753060"/>
                </a:lnTo>
                <a:close/>
                <a:moveTo>
                  <a:pt x="6927068" y="2736665"/>
                </a:moveTo>
                <a:lnTo>
                  <a:pt x="6927068" y="2737312"/>
                </a:lnTo>
                <a:lnTo>
                  <a:pt x="6959110" y="2751919"/>
                </a:lnTo>
                <a:lnTo>
                  <a:pt x="6964710" y="2768513"/>
                </a:lnTo>
                <a:lnTo>
                  <a:pt x="6960609" y="2750909"/>
                </a:lnTo>
                <a:close/>
                <a:moveTo>
                  <a:pt x="5327877" y="2719419"/>
                </a:moveTo>
                <a:lnTo>
                  <a:pt x="5312353" y="2750308"/>
                </a:lnTo>
                <a:lnTo>
                  <a:pt x="5314541" y="2751518"/>
                </a:lnTo>
                <a:lnTo>
                  <a:pt x="5328893" y="2720437"/>
                </a:lnTo>
                <a:close/>
                <a:moveTo>
                  <a:pt x="9899604" y="2715318"/>
                </a:moveTo>
                <a:lnTo>
                  <a:pt x="9913898" y="2735432"/>
                </a:lnTo>
                <a:lnTo>
                  <a:pt x="9918663" y="2795772"/>
                </a:lnTo>
                <a:lnTo>
                  <a:pt x="9918663" y="2833485"/>
                </a:lnTo>
                <a:lnTo>
                  <a:pt x="9899604" y="2848570"/>
                </a:lnTo>
                <a:lnTo>
                  <a:pt x="9885310" y="2815886"/>
                </a:lnTo>
                <a:lnTo>
                  <a:pt x="9890075" y="2793258"/>
                </a:lnTo>
                <a:lnTo>
                  <a:pt x="9873400" y="2785716"/>
                </a:lnTo>
                <a:lnTo>
                  <a:pt x="9856724" y="2805829"/>
                </a:lnTo>
                <a:lnTo>
                  <a:pt x="9840047" y="2768117"/>
                </a:lnTo>
                <a:lnTo>
                  <a:pt x="9859106" y="2753030"/>
                </a:lnTo>
                <a:lnTo>
                  <a:pt x="9873400" y="2727889"/>
                </a:lnTo>
                <a:close/>
                <a:moveTo>
                  <a:pt x="5641909" y="2710366"/>
                </a:moveTo>
                <a:lnTo>
                  <a:pt x="5641053" y="2710610"/>
                </a:lnTo>
                <a:lnTo>
                  <a:pt x="5633681" y="2747459"/>
                </a:lnTo>
                <a:lnTo>
                  <a:pt x="5645969" y="2789223"/>
                </a:lnTo>
                <a:lnTo>
                  <a:pt x="5677923" y="2801506"/>
                </a:lnTo>
                <a:lnTo>
                  <a:pt x="5687755" y="2840813"/>
                </a:lnTo>
                <a:lnTo>
                  <a:pt x="5703368" y="2843041"/>
                </a:lnTo>
                <a:lnTo>
                  <a:pt x="5703449" y="2840409"/>
                </a:lnTo>
                <a:lnTo>
                  <a:pt x="5704739" y="2839808"/>
                </a:lnTo>
                <a:lnTo>
                  <a:pt x="5688170" y="2837413"/>
                </a:lnTo>
                <a:lnTo>
                  <a:pt x="5678458" y="2798121"/>
                </a:lnTo>
                <a:lnTo>
                  <a:pt x="5646895" y="2788297"/>
                </a:lnTo>
                <a:lnTo>
                  <a:pt x="5634755" y="2746548"/>
                </a:lnTo>
                <a:close/>
                <a:moveTo>
                  <a:pt x="6610417" y="2708829"/>
                </a:moveTo>
                <a:lnTo>
                  <a:pt x="6617668" y="2715318"/>
                </a:lnTo>
                <a:lnTo>
                  <a:pt x="6604548" y="2754689"/>
                </a:lnTo>
                <a:lnTo>
                  <a:pt x="6621569" y="2717561"/>
                </a:lnTo>
                <a:close/>
                <a:moveTo>
                  <a:pt x="6930632" y="2696247"/>
                </a:moveTo>
                <a:lnTo>
                  <a:pt x="6927068" y="2698359"/>
                </a:lnTo>
                <a:lnTo>
                  <a:pt x="6927068" y="2698718"/>
                </a:lnTo>
                <a:close/>
                <a:moveTo>
                  <a:pt x="6525862" y="2654005"/>
                </a:moveTo>
                <a:lnTo>
                  <a:pt x="6528394" y="2654005"/>
                </a:lnTo>
                <a:lnTo>
                  <a:pt x="6530924" y="2654005"/>
                </a:lnTo>
                <a:lnTo>
                  <a:pt x="6533456" y="2654005"/>
                </a:lnTo>
                <a:lnTo>
                  <a:pt x="6538519" y="2654005"/>
                </a:lnTo>
                <a:lnTo>
                  <a:pt x="6538519" y="2656469"/>
                </a:lnTo>
                <a:lnTo>
                  <a:pt x="6538519" y="2658933"/>
                </a:lnTo>
                <a:lnTo>
                  <a:pt x="6538519" y="2661395"/>
                </a:lnTo>
                <a:lnTo>
                  <a:pt x="6535987" y="2663859"/>
                </a:lnTo>
                <a:lnTo>
                  <a:pt x="6533456" y="2663859"/>
                </a:lnTo>
                <a:lnTo>
                  <a:pt x="6530924" y="2663859"/>
                </a:lnTo>
                <a:lnTo>
                  <a:pt x="6528394" y="2668786"/>
                </a:lnTo>
                <a:lnTo>
                  <a:pt x="6528394" y="2671249"/>
                </a:lnTo>
                <a:lnTo>
                  <a:pt x="6528394" y="2673713"/>
                </a:lnTo>
                <a:lnTo>
                  <a:pt x="6528394" y="2676177"/>
                </a:lnTo>
                <a:lnTo>
                  <a:pt x="6525862" y="2676177"/>
                </a:lnTo>
                <a:lnTo>
                  <a:pt x="6525862" y="2678640"/>
                </a:lnTo>
                <a:lnTo>
                  <a:pt x="6520800" y="2681103"/>
                </a:lnTo>
                <a:lnTo>
                  <a:pt x="6518269" y="2681103"/>
                </a:lnTo>
                <a:lnTo>
                  <a:pt x="6513207" y="2681103"/>
                </a:lnTo>
                <a:lnTo>
                  <a:pt x="6508144" y="2681103"/>
                </a:lnTo>
                <a:lnTo>
                  <a:pt x="6505614" y="2681103"/>
                </a:lnTo>
                <a:lnTo>
                  <a:pt x="6500550" y="2681103"/>
                </a:lnTo>
                <a:lnTo>
                  <a:pt x="6498020" y="2681103"/>
                </a:lnTo>
                <a:lnTo>
                  <a:pt x="6495489" y="2681103"/>
                </a:lnTo>
                <a:lnTo>
                  <a:pt x="6490425" y="2681103"/>
                </a:lnTo>
                <a:lnTo>
                  <a:pt x="6490425" y="2683566"/>
                </a:lnTo>
                <a:lnTo>
                  <a:pt x="6487895" y="2683566"/>
                </a:lnTo>
                <a:lnTo>
                  <a:pt x="6482832" y="2686030"/>
                </a:lnTo>
                <a:lnTo>
                  <a:pt x="6480302" y="2686030"/>
                </a:lnTo>
                <a:lnTo>
                  <a:pt x="6475239" y="2688494"/>
                </a:lnTo>
                <a:lnTo>
                  <a:pt x="6472709" y="2688494"/>
                </a:lnTo>
                <a:lnTo>
                  <a:pt x="6470177" y="2690957"/>
                </a:lnTo>
                <a:lnTo>
                  <a:pt x="6467645" y="2688494"/>
                </a:lnTo>
                <a:lnTo>
                  <a:pt x="6462584" y="2688494"/>
                </a:lnTo>
                <a:lnTo>
                  <a:pt x="6460052" y="2686030"/>
                </a:lnTo>
                <a:lnTo>
                  <a:pt x="6460052" y="2683566"/>
                </a:lnTo>
                <a:lnTo>
                  <a:pt x="6460052" y="2681103"/>
                </a:lnTo>
                <a:lnTo>
                  <a:pt x="6460052" y="2678640"/>
                </a:lnTo>
                <a:lnTo>
                  <a:pt x="6460052" y="2676177"/>
                </a:lnTo>
                <a:lnTo>
                  <a:pt x="6460052" y="2673713"/>
                </a:lnTo>
                <a:lnTo>
                  <a:pt x="6460052" y="2671249"/>
                </a:lnTo>
                <a:lnTo>
                  <a:pt x="6460052" y="2668786"/>
                </a:lnTo>
                <a:lnTo>
                  <a:pt x="6460052" y="2666322"/>
                </a:lnTo>
                <a:lnTo>
                  <a:pt x="6462584" y="2663859"/>
                </a:lnTo>
                <a:lnTo>
                  <a:pt x="6465115" y="2663859"/>
                </a:lnTo>
                <a:lnTo>
                  <a:pt x="6467645" y="2663859"/>
                </a:lnTo>
                <a:lnTo>
                  <a:pt x="6470177" y="2663859"/>
                </a:lnTo>
                <a:lnTo>
                  <a:pt x="6472709" y="2663859"/>
                </a:lnTo>
                <a:lnTo>
                  <a:pt x="6477770" y="2663859"/>
                </a:lnTo>
                <a:lnTo>
                  <a:pt x="6480302" y="2663859"/>
                </a:lnTo>
                <a:lnTo>
                  <a:pt x="6485364" y="2663859"/>
                </a:lnTo>
                <a:lnTo>
                  <a:pt x="6490425" y="2663859"/>
                </a:lnTo>
                <a:lnTo>
                  <a:pt x="6495489" y="2663859"/>
                </a:lnTo>
                <a:lnTo>
                  <a:pt x="6498020" y="2663859"/>
                </a:lnTo>
                <a:lnTo>
                  <a:pt x="6500550" y="2663859"/>
                </a:lnTo>
                <a:lnTo>
                  <a:pt x="6505614" y="2663859"/>
                </a:lnTo>
                <a:lnTo>
                  <a:pt x="6508144" y="2661395"/>
                </a:lnTo>
                <a:lnTo>
                  <a:pt x="6510675" y="2658933"/>
                </a:lnTo>
                <a:lnTo>
                  <a:pt x="6518269" y="2658933"/>
                </a:lnTo>
                <a:lnTo>
                  <a:pt x="6520800" y="2656469"/>
                </a:lnTo>
                <a:close/>
                <a:moveTo>
                  <a:pt x="5660717" y="2644281"/>
                </a:moveTo>
                <a:lnTo>
                  <a:pt x="5655801" y="2673760"/>
                </a:lnTo>
                <a:lnTo>
                  <a:pt x="5673651" y="2698292"/>
                </a:lnTo>
                <a:lnTo>
                  <a:pt x="5676030" y="2697432"/>
                </a:lnTo>
                <a:lnTo>
                  <a:pt x="5656606" y="2670417"/>
                </a:lnTo>
                <a:lnTo>
                  <a:pt x="5660913" y="2644281"/>
                </a:lnTo>
                <a:close/>
                <a:moveTo>
                  <a:pt x="6921698" y="2635894"/>
                </a:moveTo>
                <a:lnTo>
                  <a:pt x="6922140" y="2637494"/>
                </a:lnTo>
                <a:lnTo>
                  <a:pt x="6957865" y="2644551"/>
                </a:lnTo>
                <a:lnTo>
                  <a:pt x="6958137" y="2643115"/>
                </a:lnTo>
                <a:close/>
                <a:moveTo>
                  <a:pt x="6764040" y="2597590"/>
                </a:moveTo>
                <a:lnTo>
                  <a:pt x="6716158" y="2607110"/>
                </a:lnTo>
                <a:lnTo>
                  <a:pt x="6717738" y="2607110"/>
                </a:lnTo>
                <a:lnTo>
                  <a:pt x="6764070" y="2597679"/>
                </a:lnTo>
                <a:close/>
                <a:moveTo>
                  <a:pt x="6246613" y="2583933"/>
                </a:moveTo>
                <a:lnTo>
                  <a:pt x="6246613" y="2586279"/>
                </a:lnTo>
                <a:lnTo>
                  <a:pt x="6248984" y="2586279"/>
                </a:lnTo>
                <a:lnTo>
                  <a:pt x="6251356" y="2588625"/>
                </a:lnTo>
                <a:lnTo>
                  <a:pt x="6253728" y="2588625"/>
                </a:lnTo>
                <a:lnTo>
                  <a:pt x="6253728" y="2590971"/>
                </a:lnTo>
                <a:lnTo>
                  <a:pt x="6253728" y="2595664"/>
                </a:lnTo>
                <a:lnTo>
                  <a:pt x="6256098" y="2598010"/>
                </a:lnTo>
                <a:lnTo>
                  <a:pt x="6256098" y="2600356"/>
                </a:lnTo>
                <a:lnTo>
                  <a:pt x="6256098" y="2605049"/>
                </a:lnTo>
                <a:lnTo>
                  <a:pt x="6253728" y="2607395"/>
                </a:lnTo>
                <a:lnTo>
                  <a:pt x="6253728" y="2609741"/>
                </a:lnTo>
                <a:lnTo>
                  <a:pt x="6251356" y="2609741"/>
                </a:lnTo>
                <a:lnTo>
                  <a:pt x="6246613" y="2609741"/>
                </a:lnTo>
                <a:lnTo>
                  <a:pt x="6241869" y="2614434"/>
                </a:lnTo>
                <a:lnTo>
                  <a:pt x="6239497" y="2614434"/>
                </a:lnTo>
                <a:lnTo>
                  <a:pt x="6234754" y="2614434"/>
                </a:lnTo>
                <a:lnTo>
                  <a:pt x="6230012" y="2614434"/>
                </a:lnTo>
                <a:lnTo>
                  <a:pt x="6225269" y="2614434"/>
                </a:lnTo>
                <a:lnTo>
                  <a:pt x="6220525" y="2614434"/>
                </a:lnTo>
                <a:lnTo>
                  <a:pt x="6215782" y="2614434"/>
                </a:lnTo>
                <a:lnTo>
                  <a:pt x="6211040" y="2614434"/>
                </a:lnTo>
                <a:lnTo>
                  <a:pt x="6206297" y="2614434"/>
                </a:lnTo>
                <a:lnTo>
                  <a:pt x="6203925" y="2614434"/>
                </a:lnTo>
                <a:lnTo>
                  <a:pt x="6199182" y="2609741"/>
                </a:lnTo>
                <a:lnTo>
                  <a:pt x="6194438" y="2609741"/>
                </a:lnTo>
                <a:lnTo>
                  <a:pt x="6189696" y="2607395"/>
                </a:lnTo>
                <a:lnTo>
                  <a:pt x="6184953" y="2605049"/>
                </a:lnTo>
                <a:lnTo>
                  <a:pt x="6182581" y="2605049"/>
                </a:lnTo>
                <a:lnTo>
                  <a:pt x="6180209" y="2605049"/>
                </a:lnTo>
                <a:lnTo>
                  <a:pt x="6180209" y="2600356"/>
                </a:lnTo>
                <a:lnTo>
                  <a:pt x="6180209" y="2598010"/>
                </a:lnTo>
                <a:lnTo>
                  <a:pt x="6182581" y="2598010"/>
                </a:lnTo>
                <a:lnTo>
                  <a:pt x="6182581" y="2595664"/>
                </a:lnTo>
                <a:lnTo>
                  <a:pt x="6184953" y="2595664"/>
                </a:lnTo>
                <a:lnTo>
                  <a:pt x="6189696" y="2595664"/>
                </a:lnTo>
                <a:lnTo>
                  <a:pt x="6194438" y="2595664"/>
                </a:lnTo>
                <a:lnTo>
                  <a:pt x="6201553" y="2595664"/>
                </a:lnTo>
                <a:lnTo>
                  <a:pt x="6206297" y="2595664"/>
                </a:lnTo>
                <a:lnTo>
                  <a:pt x="6211040" y="2595664"/>
                </a:lnTo>
                <a:lnTo>
                  <a:pt x="6215782" y="2595664"/>
                </a:lnTo>
                <a:lnTo>
                  <a:pt x="6218154" y="2595664"/>
                </a:lnTo>
                <a:lnTo>
                  <a:pt x="6220525" y="2590971"/>
                </a:lnTo>
                <a:lnTo>
                  <a:pt x="6225269" y="2590971"/>
                </a:lnTo>
                <a:lnTo>
                  <a:pt x="6230012" y="2588625"/>
                </a:lnTo>
                <a:lnTo>
                  <a:pt x="6232384" y="2588625"/>
                </a:lnTo>
                <a:lnTo>
                  <a:pt x="6237126" y="2588625"/>
                </a:lnTo>
                <a:lnTo>
                  <a:pt x="6239497" y="2586279"/>
                </a:lnTo>
                <a:lnTo>
                  <a:pt x="6241869" y="2586279"/>
                </a:lnTo>
                <a:lnTo>
                  <a:pt x="6244241" y="2586279"/>
                </a:lnTo>
                <a:close/>
                <a:moveTo>
                  <a:pt x="6854514" y="2583005"/>
                </a:moveTo>
                <a:lnTo>
                  <a:pt x="6820280" y="2590296"/>
                </a:lnTo>
                <a:lnTo>
                  <a:pt x="6798274" y="2612176"/>
                </a:lnTo>
                <a:lnTo>
                  <a:pt x="6778456" y="2631879"/>
                </a:lnTo>
                <a:lnTo>
                  <a:pt x="6778872" y="2633150"/>
                </a:lnTo>
                <a:lnTo>
                  <a:pt x="6801370" y="2613147"/>
                </a:lnTo>
                <a:lnTo>
                  <a:pt x="6821088" y="2591236"/>
                </a:lnTo>
                <a:lnTo>
                  <a:pt x="6855391" y="2584459"/>
                </a:lnTo>
                <a:close/>
                <a:moveTo>
                  <a:pt x="7604959" y="2578294"/>
                </a:moveTo>
                <a:lnTo>
                  <a:pt x="7604712" y="2579644"/>
                </a:lnTo>
                <a:lnTo>
                  <a:pt x="7645907" y="2581805"/>
                </a:lnTo>
                <a:lnTo>
                  <a:pt x="7642449" y="2580248"/>
                </a:lnTo>
                <a:close/>
                <a:moveTo>
                  <a:pt x="7920277" y="2577057"/>
                </a:moveTo>
                <a:lnTo>
                  <a:pt x="7915571" y="2581779"/>
                </a:lnTo>
                <a:lnTo>
                  <a:pt x="7915571" y="2607760"/>
                </a:lnTo>
                <a:lnTo>
                  <a:pt x="7842600" y="2602863"/>
                </a:lnTo>
                <a:lnTo>
                  <a:pt x="7826151" y="2596652"/>
                </a:lnTo>
                <a:lnTo>
                  <a:pt x="7841750" y="2603905"/>
                </a:lnTo>
                <a:lnTo>
                  <a:pt x="7917742" y="2608792"/>
                </a:lnTo>
                <a:lnTo>
                  <a:pt x="7910387" y="2664979"/>
                </a:lnTo>
                <a:lnTo>
                  <a:pt x="7880970" y="2647878"/>
                </a:lnTo>
                <a:lnTo>
                  <a:pt x="7856458" y="2642993"/>
                </a:lnTo>
                <a:lnTo>
                  <a:pt x="7856188" y="2643096"/>
                </a:lnTo>
                <a:lnTo>
                  <a:pt x="7880726" y="2647968"/>
                </a:lnTo>
                <a:lnTo>
                  <a:pt x="7907935" y="2665159"/>
                </a:lnTo>
                <a:lnTo>
                  <a:pt x="7902988" y="2697085"/>
                </a:lnTo>
                <a:lnTo>
                  <a:pt x="7920303" y="2721642"/>
                </a:lnTo>
                <a:lnTo>
                  <a:pt x="7917829" y="2770758"/>
                </a:lnTo>
                <a:lnTo>
                  <a:pt x="7949986" y="2797773"/>
                </a:lnTo>
                <a:lnTo>
                  <a:pt x="7954933" y="2851801"/>
                </a:lnTo>
                <a:lnTo>
                  <a:pt x="7932671" y="2876360"/>
                </a:lnTo>
                <a:lnTo>
                  <a:pt x="7928274" y="2886545"/>
                </a:lnTo>
                <a:lnTo>
                  <a:pt x="7931775" y="2878944"/>
                </a:lnTo>
                <a:lnTo>
                  <a:pt x="7956342" y="2854323"/>
                </a:lnTo>
                <a:lnTo>
                  <a:pt x="7951428" y="2800153"/>
                </a:lnTo>
                <a:lnTo>
                  <a:pt x="7954310" y="2798132"/>
                </a:lnTo>
                <a:lnTo>
                  <a:pt x="7920277" y="2771313"/>
                </a:lnTo>
                <a:lnTo>
                  <a:pt x="7925182" y="2724594"/>
                </a:lnTo>
                <a:lnTo>
                  <a:pt x="7905568" y="2700004"/>
                </a:lnTo>
                <a:lnTo>
                  <a:pt x="7912923" y="2665579"/>
                </a:lnTo>
                <a:lnTo>
                  <a:pt x="7920277" y="2609024"/>
                </a:lnTo>
                <a:close/>
                <a:moveTo>
                  <a:pt x="7580879" y="2543664"/>
                </a:moveTo>
                <a:lnTo>
                  <a:pt x="7564279" y="2553938"/>
                </a:lnTo>
                <a:lnTo>
                  <a:pt x="7569862" y="2558189"/>
                </a:lnTo>
                <a:lnTo>
                  <a:pt x="7589469" y="2548428"/>
                </a:lnTo>
                <a:lnTo>
                  <a:pt x="7600307" y="2552475"/>
                </a:lnTo>
                <a:lnTo>
                  <a:pt x="7600582" y="2550981"/>
                </a:lnTo>
                <a:close/>
                <a:moveTo>
                  <a:pt x="5900732" y="2540137"/>
                </a:moveTo>
                <a:lnTo>
                  <a:pt x="5905658" y="2567509"/>
                </a:lnTo>
                <a:lnTo>
                  <a:pt x="5908120" y="2592392"/>
                </a:lnTo>
                <a:lnTo>
                  <a:pt x="5866253" y="2577463"/>
                </a:lnTo>
                <a:lnTo>
                  <a:pt x="5846551" y="2574974"/>
                </a:lnTo>
                <a:lnTo>
                  <a:pt x="5839163" y="2555068"/>
                </a:lnTo>
                <a:lnTo>
                  <a:pt x="5831775" y="2545114"/>
                </a:lnTo>
                <a:lnTo>
                  <a:pt x="5871179" y="2547602"/>
                </a:lnTo>
                <a:close/>
                <a:moveTo>
                  <a:pt x="7908273" y="2480408"/>
                </a:moveTo>
                <a:lnTo>
                  <a:pt x="7879086" y="2499999"/>
                </a:lnTo>
                <a:lnTo>
                  <a:pt x="7874221" y="2553881"/>
                </a:lnTo>
                <a:lnTo>
                  <a:pt x="7913138" y="2580821"/>
                </a:lnTo>
                <a:lnTo>
                  <a:pt x="7913317" y="2580462"/>
                </a:lnTo>
                <a:lnTo>
                  <a:pt x="7878599" y="2554926"/>
                </a:lnTo>
                <a:lnTo>
                  <a:pt x="7883502" y="2500829"/>
                </a:lnTo>
                <a:lnTo>
                  <a:pt x="7911260" y="2482270"/>
                </a:lnTo>
                <a:close/>
                <a:moveTo>
                  <a:pt x="6898242" y="2466356"/>
                </a:moveTo>
                <a:lnTo>
                  <a:pt x="6913635" y="2476525"/>
                </a:lnTo>
                <a:lnTo>
                  <a:pt x="6930941" y="2505923"/>
                </a:lnTo>
                <a:lnTo>
                  <a:pt x="6934152" y="2505923"/>
                </a:lnTo>
                <a:lnTo>
                  <a:pt x="6960121" y="2489445"/>
                </a:lnTo>
                <a:lnTo>
                  <a:pt x="6958182" y="2485577"/>
                </a:lnTo>
                <a:lnTo>
                  <a:pt x="6931806" y="2504819"/>
                </a:lnTo>
                <a:lnTo>
                  <a:pt x="6914566" y="2475173"/>
                </a:lnTo>
                <a:close/>
                <a:moveTo>
                  <a:pt x="6881392" y="2456611"/>
                </a:moveTo>
                <a:lnTo>
                  <a:pt x="6869184" y="2471177"/>
                </a:lnTo>
                <a:lnTo>
                  <a:pt x="6883856" y="2517367"/>
                </a:lnTo>
                <a:lnTo>
                  <a:pt x="6903417" y="2563555"/>
                </a:lnTo>
                <a:lnTo>
                  <a:pt x="6910752" y="2609745"/>
                </a:lnTo>
                <a:lnTo>
                  <a:pt x="6872374" y="2607501"/>
                </a:lnTo>
                <a:lnTo>
                  <a:pt x="6872846" y="2608278"/>
                </a:lnTo>
                <a:lnTo>
                  <a:pt x="6914147" y="2610678"/>
                </a:lnTo>
                <a:lnTo>
                  <a:pt x="6913635" y="2608817"/>
                </a:lnTo>
                <a:lnTo>
                  <a:pt x="6906218" y="2562269"/>
                </a:lnTo>
                <a:lnTo>
                  <a:pt x="6886440" y="2518172"/>
                </a:lnTo>
                <a:lnTo>
                  <a:pt x="6871605" y="2471624"/>
                </a:lnTo>
                <a:lnTo>
                  <a:pt x="6882973" y="2458107"/>
                </a:lnTo>
                <a:lnTo>
                  <a:pt x="6882551" y="2457879"/>
                </a:lnTo>
                <a:close/>
                <a:moveTo>
                  <a:pt x="7433130" y="2449437"/>
                </a:moveTo>
                <a:lnTo>
                  <a:pt x="7432613" y="2450808"/>
                </a:lnTo>
                <a:lnTo>
                  <a:pt x="7459574" y="2458130"/>
                </a:lnTo>
                <a:lnTo>
                  <a:pt x="7476729" y="2458130"/>
                </a:lnTo>
                <a:lnTo>
                  <a:pt x="7486864" y="2461914"/>
                </a:lnTo>
                <a:lnTo>
                  <a:pt x="7487294" y="2460741"/>
                </a:lnTo>
                <a:lnTo>
                  <a:pt x="7467593" y="2453425"/>
                </a:lnTo>
                <a:lnTo>
                  <a:pt x="7447891" y="2453425"/>
                </a:lnTo>
                <a:close/>
                <a:moveTo>
                  <a:pt x="7912026" y="2434938"/>
                </a:moveTo>
                <a:lnTo>
                  <a:pt x="7885166" y="2454735"/>
                </a:lnTo>
                <a:lnTo>
                  <a:pt x="7860181" y="2457676"/>
                </a:lnTo>
                <a:lnTo>
                  <a:pt x="7886382" y="2455917"/>
                </a:lnTo>
                <a:close/>
                <a:moveTo>
                  <a:pt x="2620367" y="2424955"/>
                </a:moveTo>
                <a:lnTo>
                  <a:pt x="2640071" y="2432838"/>
                </a:lnTo>
                <a:lnTo>
                  <a:pt x="2640706" y="2432279"/>
                </a:lnTo>
                <a:close/>
                <a:moveTo>
                  <a:pt x="7926760" y="2424079"/>
                </a:moveTo>
                <a:lnTo>
                  <a:pt x="7925624" y="2424916"/>
                </a:lnTo>
                <a:lnTo>
                  <a:pt x="7952834" y="2495368"/>
                </a:lnTo>
                <a:close/>
                <a:moveTo>
                  <a:pt x="5699116" y="2417510"/>
                </a:moveTo>
                <a:lnTo>
                  <a:pt x="5704151" y="2429709"/>
                </a:lnTo>
                <a:lnTo>
                  <a:pt x="5706668" y="2449230"/>
                </a:lnTo>
                <a:lnTo>
                  <a:pt x="5704151" y="2466311"/>
                </a:lnTo>
                <a:lnTo>
                  <a:pt x="5699116" y="2493150"/>
                </a:lnTo>
                <a:lnTo>
                  <a:pt x="5681494" y="2500471"/>
                </a:lnTo>
                <a:lnTo>
                  <a:pt x="5666388" y="2493150"/>
                </a:lnTo>
                <a:lnTo>
                  <a:pt x="5666388" y="2473629"/>
                </a:lnTo>
                <a:lnTo>
                  <a:pt x="5666388" y="2451670"/>
                </a:lnTo>
                <a:lnTo>
                  <a:pt x="5658835" y="2437029"/>
                </a:lnTo>
                <a:lnTo>
                  <a:pt x="5663870" y="2424830"/>
                </a:lnTo>
                <a:lnTo>
                  <a:pt x="5671422" y="2424830"/>
                </a:lnTo>
                <a:lnTo>
                  <a:pt x="5689046" y="2419950"/>
                </a:lnTo>
                <a:close/>
                <a:moveTo>
                  <a:pt x="7403560" y="2392451"/>
                </a:moveTo>
                <a:lnTo>
                  <a:pt x="7378933" y="2404646"/>
                </a:lnTo>
                <a:lnTo>
                  <a:pt x="7354305" y="2411962"/>
                </a:lnTo>
                <a:lnTo>
                  <a:pt x="7349381" y="2436352"/>
                </a:lnTo>
                <a:lnTo>
                  <a:pt x="7305050" y="2424158"/>
                </a:lnTo>
                <a:lnTo>
                  <a:pt x="7305234" y="2422968"/>
                </a:lnTo>
                <a:lnTo>
                  <a:pt x="7280661" y="2414190"/>
                </a:lnTo>
                <a:lnTo>
                  <a:pt x="7280661" y="2416641"/>
                </a:lnTo>
                <a:lnTo>
                  <a:pt x="7314973" y="2428843"/>
                </a:lnTo>
                <a:lnTo>
                  <a:pt x="7359088" y="2441045"/>
                </a:lnTo>
                <a:lnTo>
                  <a:pt x="7363990" y="2416641"/>
                </a:lnTo>
                <a:lnTo>
                  <a:pt x="7386047" y="2409319"/>
                </a:lnTo>
                <a:lnTo>
                  <a:pt x="7406549" y="2399111"/>
                </a:lnTo>
                <a:close/>
                <a:moveTo>
                  <a:pt x="2599788" y="2391676"/>
                </a:moveTo>
                <a:lnTo>
                  <a:pt x="2585344" y="2410941"/>
                </a:lnTo>
                <a:lnTo>
                  <a:pt x="2588144" y="2412060"/>
                </a:lnTo>
                <a:close/>
                <a:moveTo>
                  <a:pt x="7888983" y="2384682"/>
                </a:moveTo>
                <a:lnTo>
                  <a:pt x="7806285" y="2413876"/>
                </a:lnTo>
                <a:lnTo>
                  <a:pt x="7804393" y="2415243"/>
                </a:lnTo>
                <a:lnTo>
                  <a:pt x="7887355" y="2386852"/>
                </a:lnTo>
                <a:close/>
                <a:moveTo>
                  <a:pt x="10164857" y="2384663"/>
                </a:moveTo>
                <a:lnTo>
                  <a:pt x="10201798" y="2384663"/>
                </a:lnTo>
                <a:lnTo>
                  <a:pt x="10211650" y="2446298"/>
                </a:lnTo>
                <a:lnTo>
                  <a:pt x="10223964" y="2468487"/>
                </a:lnTo>
                <a:lnTo>
                  <a:pt x="10253517" y="2495606"/>
                </a:lnTo>
                <a:lnTo>
                  <a:pt x="10209188" y="2532588"/>
                </a:lnTo>
                <a:lnTo>
                  <a:pt x="10228889" y="2599153"/>
                </a:lnTo>
                <a:lnTo>
                  <a:pt x="10219038" y="2638601"/>
                </a:lnTo>
                <a:lnTo>
                  <a:pt x="10201798" y="2660789"/>
                </a:lnTo>
                <a:lnTo>
                  <a:pt x="10182097" y="2665719"/>
                </a:lnTo>
                <a:lnTo>
                  <a:pt x="10169783" y="2697770"/>
                </a:lnTo>
                <a:lnTo>
                  <a:pt x="10145155" y="2670651"/>
                </a:lnTo>
                <a:lnTo>
                  <a:pt x="10132842" y="2685443"/>
                </a:lnTo>
                <a:lnTo>
                  <a:pt x="10086049" y="2687908"/>
                </a:lnTo>
                <a:lnTo>
                  <a:pt x="10076198" y="2665719"/>
                </a:lnTo>
                <a:lnTo>
                  <a:pt x="10056497" y="2670651"/>
                </a:lnTo>
                <a:lnTo>
                  <a:pt x="10056497" y="2727355"/>
                </a:lnTo>
                <a:lnTo>
                  <a:pt x="10034331" y="2712563"/>
                </a:lnTo>
                <a:lnTo>
                  <a:pt x="10019554" y="2690373"/>
                </a:lnTo>
                <a:lnTo>
                  <a:pt x="10009704" y="2727355"/>
                </a:lnTo>
                <a:lnTo>
                  <a:pt x="9985076" y="2734752"/>
                </a:lnTo>
                <a:lnTo>
                  <a:pt x="9967837" y="2707631"/>
                </a:lnTo>
                <a:lnTo>
                  <a:pt x="9938284" y="2702701"/>
                </a:lnTo>
                <a:lnTo>
                  <a:pt x="9921044" y="2687908"/>
                </a:lnTo>
                <a:lnTo>
                  <a:pt x="9948135" y="2660789"/>
                </a:lnTo>
                <a:lnTo>
                  <a:pt x="9977688" y="2643531"/>
                </a:lnTo>
                <a:lnTo>
                  <a:pt x="9999853" y="2623807"/>
                </a:lnTo>
                <a:lnTo>
                  <a:pt x="10054033" y="2628739"/>
                </a:lnTo>
                <a:lnTo>
                  <a:pt x="10056497" y="2591757"/>
                </a:lnTo>
                <a:lnTo>
                  <a:pt x="10068809" y="2562171"/>
                </a:lnTo>
                <a:lnTo>
                  <a:pt x="10088512" y="2572033"/>
                </a:lnTo>
                <a:lnTo>
                  <a:pt x="10137767" y="2564638"/>
                </a:lnTo>
                <a:lnTo>
                  <a:pt x="10145155" y="2537518"/>
                </a:lnTo>
                <a:lnTo>
                  <a:pt x="10145155" y="2493141"/>
                </a:lnTo>
                <a:lnTo>
                  <a:pt x="10159931" y="2468487"/>
                </a:lnTo>
                <a:lnTo>
                  <a:pt x="10147619" y="2409317"/>
                </a:lnTo>
                <a:close/>
                <a:moveTo>
                  <a:pt x="6205848" y="2378306"/>
                </a:moveTo>
                <a:lnTo>
                  <a:pt x="6184933" y="2394447"/>
                </a:lnTo>
                <a:lnTo>
                  <a:pt x="6187275" y="2395147"/>
                </a:lnTo>
                <a:lnTo>
                  <a:pt x="6209549" y="2378306"/>
                </a:lnTo>
                <a:close/>
                <a:moveTo>
                  <a:pt x="7900415" y="2369264"/>
                </a:moveTo>
                <a:lnTo>
                  <a:pt x="7897834" y="2372876"/>
                </a:lnTo>
                <a:lnTo>
                  <a:pt x="7900490" y="2369334"/>
                </a:lnTo>
                <a:close/>
                <a:moveTo>
                  <a:pt x="9778001" y="2343058"/>
                </a:moveTo>
                <a:lnTo>
                  <a:pt x="9782879" y="2403817"/>
                </a:lnTo>
                <a:lnTo>
                  <a:pt x="9760927" y="2418400"/>
                </a:lnTo>
                <a:lnTo>
                  <a:pt x="9741411" y="2452426"/>
                </a:lnTo>
                <a:lnTo>
                  <a:pt x="9709701" y="2467008"/>
                </a:lnTo>
                <a:lnTo>
                  <a:pt x="9748730" y="2505895"/>
                </a:lnTo>
                <a:lnTo>
                  <a:pt x="9747854" y="2508511"/>
                </a:lnTo>
                <a:lnTo>
                  <a:pt x="9815729" y="2599790"/>
                </a:lnTo>
                <a:lnTo>
                  <a:pt x="9815729" y="2684512"/>
                </a:lnTo>
                <a:lnTo>
                  <a:pt x="9762314" y="2719396"/>
                </a:lnTo>
                <a:lnTo>
                  <a:pt x="9725895" y="2701954"/>
                </a:lnTo>
                <a:lnTo>
                  <a:pt x="9730750" y="2632183"/>
                </a:lnTo>
                <a:lnTo>
                  <a:pt x="9701615" y="2619725"/>
                </a:lnTo>
                <a:lnTo>
                  <a:pt x="9704043" y="2592314"/>
                </a:lnTo>
                <a:lnTo>
                  <a:pt x="9684620" y="2562412"/>
                </a:lnTo>
                <a:lnTo>
                  <a:pt x="9696145" y="2557680"/>
                </a:lnTo>
                <a:lnTo>
                  <a:pt x="9685309" y="2561794"/>
                </a:lnTo>
                <a:lnTo>
                  <a:pt x="9668233" y="2539921"/>
                </a:lnTo>
                <a:lnTo>
                  <a:pt x="9624325" y="2520477"/>
                </a:lnTo>
                <a:lnTo>
                  <a:pt x="9651158" y="2501034"/>
                </a:lnTo>
                <a:lnTo>
                  <a:pt x="9653598" y="2459718"/>
                </a:lnTo>
                <a:lnTo>
                  <a:pt x="9624325" y="2452426"/>
                </a:lnTo>
                <a:lnTo>
                  <a:pt x="9614568" y="2452426"/>
                </a:lnTo>
                <a:lnTo>
                  <a:pt x="9648719" y="2432982"/>
                </a:lnTo>
                <a:lnTo>
                  <a:pt x="9668233" y="2372223"/>
                </a:lnTo>
                <a:lnTo>
                  <a:pt x="9697504" y="2386805"/>
                </a:lnTo>
                <a:lnTo>
                  <a:pt x="9731654" y="2386805"/>
                </a:lnTo>
                <a:lnTo>
                  <a:pt x="9765805" y="2345487"/>
                </a:lnTo>
                <a:close/>
                <a:moveTo>
                  <a:pt x="2747341" y="2336487"/>
                </a:moveTo>
                <a:lnTo>
                  <a:pt x="2745151" y="2338678"/>
                </a:lnTo>
                <a:lnTo>
                  <a:pt x="2826154" y="2343058"/>
                </a:lnTo>
                <a:lnTo>
                  <a:pt x="2826791" y="2340784"/>
                </a:lnTo>
                <a:close/>
                <a:moveTo>
                  <a:pt x="5706559" y="2329918"/>
                </a:moveTo>
                <a:lnTo>
                  <a:pt x="5696051" y="2395287"/>
                </a:lnTo>
                <a:lnTo>
                  <a:pt x="5677662" y="2380202"/>
                </a:lnTo>
                <a:lnTo>
                  <a:pt x="5669781" y="2355060"/>
                </a:lnTo>
                <a:lnTo>
                  <a:pt x="5693424" y="2339975"/>
                </a:lnTo>
                <a:close/>
                <a:moveTo>
                  <a:pt x="8074297" y="2328727"/>
                </a:moveTo>
                <a:lnTo>
                  <a:pt x="8075620" y="2329918"/>
                </a:lnTo>
                <a:lnTo>
                  <a:pt x="8073431" y="2428458"/>
                </a:lnTo>
                <a:lnTo>
                  <a:pt x="8044972" y="2437216"/>
                </a:lnTo>
                <a:lnTo>
                  <a:pt x="8031837" y="2461304"/>
                </a:lnTo>
                <a:lnTo>
                  <a:pt x="7972732" y="2474443"/>
                </a:lnTo>
                <a:lnTo>
                  <a:pt x="7974921" y="2494151"/>
                </a:lnTo>
                <a:lnTo>
                  <a:pt x="7961549" y="2511348"/>
                </a:lnTo>
                <a:lnTo>
                  <a:pt x="7964408" y="2513125"/>
                </a:lnTo>
                <a:lnTo>
                  <a:pt x="7981571" y="2495911"/>
                </a:lnTo>
                <a:lnTo>
                  <a:pt x="7976667" y="2473781"/>
                </a:lnTo>
                <a:lnTo>
                  <a:pt x="8035508" y="2461486"/>
                </a:lnTo>
                <a:lnTo>
                  <a:pt x="8047767" y="2439356"/>
                </a:lnTo>
                <a:lnTo>
                  <a:pt x="8077187" y="2429520"/>
                </a:lnTo>
                <a:lnTo>
                  <a:pt x="8079639" y="2331162"/>
                </a:lnTo>
                <a:close/>
                <a:moveTo>
                  <a:pt x="9122453" y="2316460"/>
                </a:moveTo>
                <a:lnTo>
                  <a:pt x="9075886" y="2352839"/>
                </a:lnTo>
                <a:lnTo>
                  <a:pt x="9007218" y="2345494"/>
                </a:lnTo>
                <a:lnTo>
                  <a:pt x="9006550" y="2345940"/>
                </a:lnTo>
                <a:lnTo>
                  <a:pt x="9075030" y="2355751"/>
                </a:lnTo>
                <a:close/>
                <a:moveTo>
                  <a:pt x="7639280" y="2303025"/>
                </a:moveTo>
                <a:lnTo>
                  <a:pt x="7674464" y="2319284"/>
                </a:lnTo>
                <a:lnTo>
                  <a:pt x="7676927" y="2375380"/>
                </a:lnTo>
                <a:lnTo>
                  <a:pt x="7689240" y="2404646"/>
                </a:lnTo>
                <a:lnTo>
                  <a:pt x="7731107" y="2426596"/>
                </a:lnTo>
                <a:lnTo>
                  <a:pt x="7755735" y="2446107"/>
                </a:lnTo>
                <a:lnTo>
                  <a:pt x="7736033" y="2485130"/>
                </a:lnTo>
                <a:lnTo>
                  <a:pt x="7708942" y="2521714"/>
                </a:lnTo>
                <a:lnTo>
                  <a:pt x="7670271" y="2591128"/>
                </a:lnTo>
                <a:lnTo>
                  <a:pt x="7677509" y="2594134"/>
                </a:lnTo>
                <a:lnTo>
                  <a:pt x="7699572" y="2581919"/>
                </a:lnTo>
                <a:lnTo>
                  <a:pt x="7753501" y="2569704"/>
                </a:lnTo>
                <a:lnTo>
                  <a:pt x="7768209" y="2537947"/>
                </a:lnTo>
                <a:lnTo>
                  <a:pt x="7787021" y="2542633"/>
                </a:lnTo>
                <a:lnTo>
                  <a:pt x="7786656" y="2541634"/>
                </a:lnTo>
                <a:lnTo>
                  <a:pt x="7767197" y="2536737"/>
                </a:lnTo>
                <a:lnTo>
                  <a:pt x="7752603" y="2568575"/>
                </a:lnTo>
                <a:lnTo>
                  <a:pt x="7699092" y="2580821"/>
                </a:lnTo>
                <a:lnTo>
                  <a:pt x="7677200" y="2593066"/>
                </a:lnTo>
                <a:lnTo>
                  <a:pt x="7713686" y="2522042"/>
                </a:lnTo>
                <a:lnTo>
                  <a:pt x="7742875" y="2485305"/>
                </a:lnTo>
                <a:lnTo>
                  <a:pt x="7761262" y="2448275"/>
                </a:lnTo>
                <a:lnTo>
                  <a:pt x="7760386" y="2448166"/>
                </a:lnTo>
                <a:lnTo>
                  <a:pt x="7761869" y="2447054"/>
                </a:lnTo>
                <a:lnTo>
                  <a:pt x="7762332" y="2446120"/>
                </a:lnTo>
                <a:lnTo>
                  <a:pt x="7762990" y="2446212"/>
                </a:lnTo>
                <a:lnTo>
                  <a:pt x="7801113" y="2417612"/>
                </a:lnTo>
                <a:lnTo>
                  <a:pt x="7762205" y="2445717"/>
                </a:lnTo>
                <a:lnTo>
                  <a:pt x="7745064" y="2431021"/>
                </a:lnTo>
                <a:lnTo>
                  <a:pt x="7696086" y="2406529"/>
                </a:lnTo>
                <a:lnTo>
                  <a:pt x="7683843" y="2374688"/>
                </a:lnTo>
                <a:lnTo>
                  <a:pt x="7681393" y="2320802"/>
                </a:lnTo>
                <a:lnTo>
                  <a:pt x="7644660" y="2303657"/>
                </a:lnTo>
                <a:close/>
                <a:moveTo>
                  <a:pt x="8060010" y="2302668"/>
                </a:moveTo>
                <a:lnTo>
                  <a:pt x="8053729" y="2310210"/>
                </a:lnTo>
                <a:lnTo>
                  <a:pt x="8055764" y="2312042"/>
                </a:lnTo>
                <a:close/>
                <a:moveTo>
                  <a:pt x="5189631" y="2288314"/>
                </a:moveTo>
                <a:lnTo>
                  <a:pt x="5216739" y="2303047"/>
                </a:lnTo>
                <a:lnTo>
                  <a:pt x="5246305" y="2295680"/>
                </a:lnTo>
                <a:lnTo>
                  <a:pt x="5300520" y="2312870"/>
                </a:lnTo>
                <a:lnTo>
                  <a:pt x="5344878" y="2327603"/>
                </a:lnTo>
                <a:lnTo>
                  <a:pt x="5396629" y="2332515"/>
                </a:lnTo>
                <a:lnTo>
                  <a:pt x="5421271" y="2349706"/>
                </a:lnTo>
                <a:lnTo>
                  <a:pt x="5487809" y="2349706"/>
                </a:lnTo>
                <a:lnTo>
                  <a:pt x="5460701" y="2376717"/>
                </a:lnTo>
                <a:lnTo>
                  <a:pt x="5440986" y="2396363"/>
                </a:lnTo>
                <a:lnTo>
                  <a:pt x="5413879" y="2430742"/>
                </a:lnTo>
                <a:lnTo>
                  <a:pt x="5386771" y="2438109"/>
                </a:lnTo>
                <a:lnTo>
                  <a:pt x="5369522" y="2462667"/>
                </a:lnTo>
                <a:lnTo>
                  <a:pt x="5352272" y="2484767"/>
                </a:lnTo>
                <a:lnTo>
                  <a:pt x="5376914" y="2514236"/>
                </a:lnTo>
                <a:lnTo>
                  <a:pt x="5369522" y="2541248"/>
                </a:lnTo>
                <a:lnTo>
                  <a:pt x="5352272" y="2560894"/>
                </a:lnTo>
                <a:lnTo>
                  <a:pt x="5327628" y="2575628"/>
                </a:lnTo>
                <a:lnTo>
                  <a:pt x="5327628" y="2597728"/>
                </a:lnTo>
                <a:lnTo>
                  <a:pt x="5307913" y="2612462"/>
                </a:lnTo>
                <a:lnTo>
                  <a:pt x="5224131" y="2610007"/>
                </a:lnTo>
                <a:lnTo>
                  <a:pt x="5204417" y="2622285"/>
                </a:lnTo>
                <a:lnTo>
                  <a:pt x="5182237" y="2629653"/>
                </a:lnTo>
                <a:lnTo>
                  <a:pt x="5157595" y="2612462"/>
                </a:lnTo>
                <a:lnTo>
                  <a:pt x="5157595" y="2587906"/>
                </a:lnTo>
                <a:lnTo>
                  <a:pt x="5135416" y="2582995"/>
                </a:lnTo>
                <a:lnTo>
                  <a:pt x="5133302" y="2564042"/>
                </a:lnTo>
                <a:lnTo>
                  <a:pt x="5118128" y="2592418"/>
                </a:lnTo>
                <a:lnTo>
                  <a:pt x="5091214" y="2592418"/>
                </a:lnTo>
                <a:lnTo>
                  <a:pt x="5064299" y="2582563"/>
                </a:lnTo>
                <a:lnTo>
                  <a:pt x="5061854" y="2555465"/>
                </a:lnTo>
                <a:lnTo>
                  <a:pt x="5059406" y="2530830"/>
                </a:lnTo>
                <a:lnTo>
                  <a:pt x="5034941" y="2520977"/>
                </a:lnTo>
                <a:lnTo>
                  <a:pt x="5037387" y="2481561"/>
                </a:lnTo>
                <a:lnTo>
                  <a:pt x="5059406" y="2466779"/>
                </a:lnTo>
                <a:lnTo>
                  <a:pt x="5074086" y="2442145"/>
                </a:lnTo>
                <a:lnTo>
                  <a:pt x="5069193" y="2427363"/>
                </a:lnTo>
                <a:lnTo>
                  <a:pt x="5069193" y="2390411"/>
                </a:lnTo>
                <a:lnTo>
                  <a:pt x="5079411" y="2363664"/>
                </a:lnTo>
                <a:lnTo>
                  <a:pt x="5078736" y="2361983"/>
                </a:lnTo>
                <a:lnTo>
                  <a:pt x="5061486" y="2342339"/>
                </a:lnTo>
                <a:lnTo>
                  <a:pt x="5059021" y="2315326"/>
                </a:lnTo>
                <a:lnTo>
                  <a:pt x="5078736" y="2307959"/>
                </a:lnTo>
                <a:lnTo>
                  <a:pt x="5071344" y="2290769"/>
                </a:lnTo>
                <a:close/>
                <a:moveTo>
                  <a:pt x="8075620" y="2283933"/>
                </a:moveTo>
                <a:lnTo>
                  <a:pt x="8069455" y="2291332"/>
                </a:lnTo>
                <a:lnTo>
                  <a:pt x="8121305" y="2285761"/>
                </a:lnTo>
                <a:close/>
                <a:moveTo>
                  <a:pt x="6848927" y="2275167"/>
                </a:moveTo>
                <a:lnTo>
                  <a:pt x="6850201" y="2276455"/>
                </a:lnTo>
                <a:lnTo>
                  <a:pt x="6861374" y="2288504"/>
                </a:lnTo>
                <a:lnTo>
                  <a:pt x="6852956" y="2278885"/>
                </a:lnTo>
                <a:close/>
                <a:moveTo>
                  <a:pt x="2869935" y="2262035"/>
                </a:moveTo>
                <a:lnTo>
                  <a:pt x="2867746" y="2264226"/>
                </a:lnTo>
                <a:lnTo>
                  <a:pt x="3006393" y="2270435"/>
                </a:lnTo>
                <a:close/>
                <a:moveTo>
                  <a:pt x="6131860" y="2244407"/>
                </a:moveTo>
                <a:lnTo>
                  <a:pt x="6142357" y="2253557"/>
                </a:lnTo>
                <a:lnTo>
                  <a:pt x="6140661" y="2254858"/>
                </a:lnTo>
                <a:lnTo>
                  <a:pt x="6149358" y="2261329"/>
                </a:lnTo>
                <a:lnTo>
                  <a:pt x="6150856" y="2259099"/>
                </a:lnTo>
                <a:lnTo>
                  <a:pt x="6142592" y="2252839"/>
                </a:lnTo>
                <a:close/>
                <a:moveTo>
                  <a:pt x="3034691" y="2243125"/>
                </a:moveTo>
                <a:lnTo>
                  <a:pt x="3012296" y="2270700"/>
                </a:lnTo>
                <a:lnTo>
                  <a:pt x="3014409" y="2270795"/>
                </a:lnTo>
                <a:close/>
                <a:moveTo>
                  <a:pt x="7850364" y="2242425"/>
                </a:moveTo>
                <a:lnTo>
                  <a:pt x="7847993" y="2244558"/>
                </a:lnTo>
                <a:lnTo>
                  <a:pt x="7880788" y="2277364"/>
                </a:lnTo>
                <a:lnTo>
                  <a:pt x="7881565" y="2276032"/>
                </a:lnTo>
                <a:close/>
                <a:moveTo>
                  <a:pt x="9169429" y="2237660"/>
                </a:moveTo>
                <a:lnTo>
                  <a:pt x="9182905" y="2242640"/>
                </a:lnTo>
                <a:lnTo>
                  <a:pt x="9183105" y="2242439"/>
                </a:lnTo>
                <a:close/>
                <a:moveTo>
                  <a:pt x="8540300" y="2236613"/>
                </a:moveTo>
                <a:lnTo>
                  <a:pt x="8545462" y="2237723"/>
                </a:lnTo>
                <a:lnTo>
                  <a:pt x="8584689" y="2259852"/>
                </a:lnTo>
                <a:lnTo>
                  <a:pt x="8609207" y="2306573"/>
                </a:lnTo>
                <a:lnTo>
                  <a:pt x="8633723" y="2328703"/>
                </a:lnTo>
                <a:lnTo>
                  <a:pt x="8829860" y="2343457"/>
                </a:lnTo>
                <a:lnTo>
                  <a:pt x="8873990" y="2355751"/>
                </a:lnTo>
                <a:lnTo>
                  <a:pt x="8925476" y="2385259"/>
                </a:lnTo>
                <a:lnTo>
                  <a:pt x="8976961" y="2368047"/>
                </a:lnTo>
                <a:lnTo>
                  <a:pt x="9004826" y="2347087"/>
                </a:lnTo>
                <a:lnTo>
                  <a:pt x="8977788" y="2365078"/>
                </a:lnTo>
                <a:lnTo>
                  <a:pt x="8926287" y="2382214"/>
                </a:lnTo>
                <a:lnTo>
                  <a:pt x="8874786" y="2352839"/>
                </a:lnTo>
                <a:lnTo>
                  <a:pt x="8830643" y="2340598"/>
                </a:lnTo>
                <a:lnTo>
                  <a:pt x="8634448" y="2325911"/>
                </a:lnTo>
                <a:lnTo>
                  <a:pt x="8609924" y="2303878"/>
                </a:lnTo>
                <a:lnTo>
                  <a:pt x="8585399" y="2257367"/>
                </a:lnTo>
                <a:lnTo>
                  <a:pt x="8546160" y="2237782"/>
                </a:lnTo>
                <a:close/>
                <a:moveTo>
                  <a:pt x="9134744" y="2225543"/>
                </a:moveTo>
                <a:lnTo>
                  <a:pt x="9136322" y="2252318"/>
                </a:lnTo>
                <a:lnTo>
                  <a:pt x="9136322" y="2226093"/>
                </a:lnTo>
                <a:close/>
                <a:moveTo>
                  <a:pt x="6051187" y="2196790"/>
                </a:moveTo>
                <a:lnTo>
                  <a:pt x="6051309" y="2197186"/>
                </a:lnTo>
                <a:lnTo>
                  <a:pt x="6088222" y="2219244"/>
                </a:lnTo>
                <a:lnTo>
                  <a:pt x="6119088" y="2234616"/>
                </a:lnTo>
                <a:lnTo>
                  <a:pt x="6088718" y="2215740"/>
                </a:lnTo>
                <a:close/>
                <a:moveTo>
                  <a:pt x="8185854" y="2195888"/>
                </a:moveTo>
                <a:lnTo>
                  <a:pt x="8149122" y="2215483"/>
                </a:lnTo>
                <a:lnTo>
                  <a:pt x="8146673" y="2264469"/>
                </a:lnTo>
                <a:lnTo>
                  <a:pt x="8131981" y="2284062"/>
                </a:lnTo>
                <a:lnTo>
                  <a:pt x="8092798" y="2249772"/>
                </a:lnTo>
                <a:lnTo>
                  <a:pt x="8043822" y="2249772"/>
                </a:lnTo>
                <a:lnTo>
                  <a:pt x="7970356" y="2259570"/>
                </a:lnTo>
                <a:lnTo>
                  <a:pt x="7943420" y="2237526"/>
                </a:lnTo>
                <a:lnTo>
                  <a:pt x="7896892" y="2249772"/>
                </a:lnTo>
                <a:lnTo>
                  <a:pt x="7896187" y="2251065"/>
                </a:lnTo>
                <a:lnTo>
                  <a:pt x="7942084" y="2237948"/>
                </a:lnTo>
                <a:lnTo>
                  <a:pt x="7968354" y="2259845"/>
                </a:lnTo>
                <a:lnTo>
                  <a:pt x="8042783" y="2251087"/>
                </a:lnTo>
                <a:lnTo>
                  <a:pt x="8090944" y="2253276"/>
                </a:lnTo>
                <a:lnTo>
                  <a:pt x="8128931" y="2284941"/>
                </a:lnTo>
                <a:lnTo>
                  <a:pt x="8133577" y="2284442"/>
                </a:lnTo>
                <a:lnTo>
                  <a:pt x="8148287" y="2264771"/>
                </a:lnTo>
                <a:lnTo>
                  <a:pt x="8150738" y="2215592"/>
                </a:lnTo>
                <a:lnTo>
                  <a:pt x="8186913" y="2196241"/>
                </a:lnTo>
                <a:close/>
                <a:moveTo>
                  <a:pt x="9235398" y="2193029"/>
                </a:moveTo>
                <a:lnTo>
                  <a:pt x="9218127" y="2205958"/>
                </a:lnTo>
                <a:lnTo>
                  <a:pt x="9197759" y="2227742"/>
                </a:lnTo>
                <a:lnTo>
                  <a:pt x="9217228" y="2208215"/>
                </a:lnTo>
                <a:close/>
                <a:moveTo>
                  <a:pt x="5606618" y="2162911"/>
                </a:moveTo>
                <a:lnTo>
                  <a:pt x="5606618" y="2163238"/>
                </a:lnTo>
                <a:lnTo>
                  <a:pt x="5637656" y="2163238"/>
                </a:lnTo>
                <a:lnTo>
                  <a:pt x="5637927" y="2162911"/>
                </a:lnTo>
                <a:close/>
                <a:moveTo>
                  <a:pt x="9853362" y="2162358"/>
                </a:moveTo>
                <a:lnTo>
                  <a:pt x="9849768" y="2225427"/>
                </a:lnTo>
                <a:lnTo>
                  <a:pt x="9817896" y="2222969"/>
                </a:lnTo>
                <a:lnTo>
                  <a:pt x="9798282" y="2257394"/>
                </a:lnTo>
                <a:lnTo>
                  <a:pt x="9799917" y="2283623"/>
                </a:lnTo>
                <a:lnTo>
                  <a:pt x="9799917" y="2261697"/>
                </a:lnTo>
                <a:lnTo>
                  <a:pt x="9817107" y="2224865"/>
                </a:lnTo>
                <a:lnTo>
                  <a:pt x="9851488" y="2229775"/>
                </a:lnTo>
                <a:close/>
                <a:moveTo>
                  <a:pt x="10164097" y="2152547"/>
                </a:moveTo>
                <a:lnTo>
                  <a:pt x="10181148" y="2186648"/>
                </a:lnTo>
                <a:lnTo>
                  <a:pt x="10195763" y="2225621"/>
                </a:lnTo>
                <a:lnTo>
                  <a:pt x="10246914" y="2242673"/>
                </a:lnTo>
                <a:lnTo>
                  <a:pt x="10283450" y="2254851"/>
                </a:lnTo>
                <a:lnTo>
                  <a:pt x="10290758" y="2301132"/>
                </a:lnTo>
                <a:lnTo>
                  <a:pt x="10266400" y="2313311"/>
                </a:lnTo>
                <a:lnTo>
                  <a:pt x="10263964" y="2315746"/>
                </a:lnTo>
                <a:lnTo>
                  <a:pt x="10263964" y="2318182"/>
                </a:lnTo>
                <a:lnTo>
                  <a:pt x="10261529" y="2320618"/>
                </a:lnTo>
                <a:lnTo>
                  <a:pt x="10259092" y="2325489"/>
                </a:lnTo>
                <a:lnTo>
                  <a:pt x="10254222" y="2332797"/>
                </a:lnTo>
                <a:lnTo>
                  <a:pt x="10254222" y="2337669"/>
                </a:lnTo>
                <a:lnTo>
                  <a:pt x="10249349" y="2342540"/>
                </a:lnTo>
                <a:lnTo>
                  <a:pt x="10244479" y="2347412"/>
                </a:lnTo>
                <a:lnTo>
                  <a:pt x="10244479" y="2354720"/>
                </a:lnTo>
                <a:lnTo>
                  <a:pt x="10242042" y="2359592"/>
                </a:lnTo>
                <a:lnTo>
                  <a:pt x="10242042" y="2362027"/>
                </a:lnTo>
                <a:lnTo>
                  <a:pt x="10242042" y="2364462"/>
                </a:lnTo>
                <a:lnTo>
                  <a:pt x="10239606" y="2366899"/>
                </a:lnTo>
                <a:lnTo>
                  <a:pt x="10237171" y="2366899"/>
                </a:lnTo>
                <a:lnTo>
                  <a:pt x="10237171" y="2364462"/>
                </a:lnTo>
                <a:lnTo>
                  <a:pt x="10232299" y="2359592"/>
                </a:lnTo>
                <a:lnTo>
                  <a:pt x="10229864" y="2359592"/>
                </a:lnTo>
                <a:lnTo>
                  <a:pt x="10227428" y="2354720"/>
                </a:lnTo>
                <a:lnTo>
                  <a:pt x="10227428" y="2347412"/>
                </a:lnTo>
                <a:lnTo>
                  <a:pt x="10224991" y="2347412"/>
                </a:lnTo>
                <a:lnTo>
                  <a:pt x="10222556" y="2344977"/>
                </a:lnTo>
                <a:lnTo>
                  <a:pt x="10222556" y="2342540"/>
                </a:lnTo>
                <a:lnTo>
                  <a:pt x="10222556" y="2340104"/>
                </a:lnTo>
                <a:lnTo>
                  <a:pt x="10183584" y="2332797"/>
                </a:lnTo>
                <a:lnTo>
                  <a:pt x="10142176" y="2347412"/>
                </a:lnTo>
                <a:lnTo>
                  <a:pt x="10120254" y="2330361"/>
                </a:lnTo>
                <a:lnTo>
                  <a:pt x="10139741" y="2293824"/>
                </a:lnTo>
                <a:lnTo>
                  <a:pt x="10161662" y="2254851"/>
                </a:lnTo>
                <a:lnTo>
                  <a:pt x="10156790" y="2215878"/>
                </a:lnTo>
                <a:lnTo>
                  <a:pt x="10149484" y="2172033"/>
                </a:lnTo>
                <a:close/>
                <a:moveTo>
                  <a:pt x="6075064" y="2149817"/>
                </a:moveTo>
                <a:lnTo>
                  <a:pt x="6073911" y="2151472"/>
                </a:lnTo>
                <a:lnTo>
                  <a:pt x="6074024" y="2151439"/>
                </a:lnTo>
                <a:close/>
                <a:moveTo>
                  <a:pt x="5650524" y="2148022"/>
                </a:moveTo>
                <a:lnTo>
                  <a:pt x="5649982" y="2148704"/>
                </a:lnTo>
                <a:lnTo>
                  <a:pt x="5662093" y="2165685"/>
                </a:lnTo>
                <a:lnTo>
                  <a:pt x="5663675" y="2164101"/>
                </a:lnTo>
                <a:close/>
                <a:moveTo>
                  <a:pt x="7448754" y="2142003"/>
                </a:moveTo>
                <a:lnTo>
                  <a:pt x="7448754" y="2181193"/>
                </a:lnTo>
                <a:lnTo>
                  <a:pt x="7414469" y="2188540"/>
                </a:lnTo>
                <a:lnTo>
                  <a:pt x="7408942" y="2193147"/>
                </a:lnTo>
                <a:lnTo>
                  <a:pt x="7415874" y="2277822"/>
                </a:lnTo>
                <a:lnTo>
                  <a:pt x="7452815" y="2277822"/>
                </a:lnTo>
                <a:lnTo>
                  <a:pt x="7470055" y="2294895"/>
                </a:lnTo>
                <a:lnTo>
                  <a:pt x="7511922" y="2294895"/>
                </a:lnTo>
                <a:lnTo>
                  <a:pt x="7516848" y="2236361"/>
                </a:lnTo>
                <a:lnTo>
                  <a:pt x="7539013" y="2277822"/>
                </a:lnTo>
                <a:lnTo>
                  <a:pt x="7551327" y="2309528"/>
                </a:lnTo>
                <a:lnTo>
                  <a:pt x="7557709" y="2307772"/>
                </a:lnTo>
                <a:lnTo>
                  <a:pt x="7546706" y="2279165"/>
                </a:lnTo>
                <a:lnTo>
                  <a:pt x="7522218" y="2237526"/>
                </a:lnTo>
                <a:lnTo>
                  <a:pt x="7536911" y="2222830"/>
                </a:lnTo>
                <a:lnTo>
                  <a:pt x="7517321" y="2195888"/>
                </a:lnTo>
                <a:lnTo>
                  <a:pt x="7517321" y="2142003"/>
                </a:lnTo>
                <a:close/>
                <a:moveTo>
                  <a:pt x="3080078" y="2141599"/>
                </a:moveTo>
                <a:lnTo>
                  <a:pt x="3079139" y="2144130"/>
                </a:lnTo>
                <a:lnTo>
                  <a:pt x="3126050" y="2156927"/>
                </a:lnTo>
                <a:lnTo>
                  <a:pt x="3134806" y="2251072"/>
                </a:lnTo>
                <a:lnTo>
                  <a:pt x="3128239" y="2154736"/>
                </a:lnTo>
                <a:close/>
                <a:moveTo>
                  <a:pt x="9343734" y="2132480"/>
                </a:moveTo>
                <a:lnTo>
                  <a:pt x="9299057" y="2152103"/>
                </a:lnTo>
                <a:lnTo>
                  <a:pt x="9258815" y="2176969"/>
                </a:lnTo>
                <a:lnTo>
                  <a:pt x="9300587" y="2154118"/>
                </a:lnTo>
                <a:close/>
                <a:moveTo>
                  <a:pt x="8393533" y="2115081"/>
                </a:moveTo>
                <a:lnTo>
                  <a:pt x="8403263" y="2154118"/>
                </a:lnTo>
                <a:lnTo>
                  <a:pt x="8408844" y="2166839"/>
                </a:lnTo>
                <a:lnTo>
                  <a:pt x="8403919" y="2154551"/>
                </a:lnTo>
                <a:lnTo>
                  <a:pt x="8394110" y="2115383"/>
                </a:lnTo>
                <a:close/>
                <a:moveTo>
                  <a:pt x="5693560" y="2107280"/>
                </a:moveTo>
                <a:lnTo>
                  <a:pt x="5700249" y="2130649"/>
                </a:lnTo>
                <a:lnTo>
                  <a:pt x="5688411" y="2157948"/>
                </a:lnTo>
                <a:lnTo>
                  <a:pt x="5674203" y="2152984"/>
                </a:lnTo>
                <a:lnTo>
                  <a:pt x="5672352" y="2155410"/>
                </a:lnTo>
                <a:lnTo>
                  <a:pt x="5674311" y="2153449"/>
                </a:lnTo>
                <a:lnTo>
                  <a:pt x="5688974" y="2158343"/>
                </a:lnTo>
                <a:lnTo>
                  <a:pt x="5701192" y="2131421"/>
                </a:lnTo>
                <a:lnTo>
                  <a:pt x="5715853" y="2138764"/>
                </a:lnTo>
                <a:lnTo>
                  <a:pt x="5752509" y="2138764"/>
                </a:lnTo>
                <a:lnTo>
                  <a:pt x="5753026" y="2138525"/>
                </a:lnTo>
                <a:lnTo>
                  <a:pt x="5718546" y="2138525"/>
                </a:lnTo>
                <a:lnTo>
                  <a:pt x="5701267" y="2128536"/>
                </a:lnTo>
                <a:lnTo>
                  <a:pt x="5694447" y="2107842"/>
                </a:lnTo>
                <a:close/>
                <a:moveTo>
                  <a:pt x="6322136" y="2107066"/>
                </a:moveTo>
                <a:lnTo>
                  <a:pt x="6328706" y="2113131"/>
                </a:lnTo>
                <a:lnTo>
                  <a:pt x="6374677" y="2178824"/>
                </a:lnTo>
                <a:lnTo>
                  <a:pt x="6330894" y="2113131"/>
                </a:lnTo>
                <a:close/>
                <a:moveTo>
                  <a:pt x="6237601" y="2103463"/>
                </a:moveTo>
                <a:lnTo>
                  <a:pt x="6234638" y="2104352"/>
                </a:lnTo>
                <a:lnTo>
                  <a:pt x="6235648" y="2104450"/>
                </a:lnTo>
                <a:close/>
                <a:moveTo>
                  <a:pt x="5630686" y="2098409"/>
                </a:moveTo>
                <a:lnTo>
                  <a:pt x="5619537" y="2099650"/>
                </a:lnTo>
                <a:lnTo>
                  <a:pt x="5630696" y="2098479"/>
                </a:lnTo>
                <a:close/>
                <a:moveTo>
                  <a:pt x="9872541" y="2090802"/>
                </a:moveTo>
                <a:lnTo>
                  <a:pt x="9879189" y="2119693"/>
                </a:lnTo>
                <a:lnTo>
                  <a:pt x="9854671" y="2139364"/>
                </a:lnTo>
                <a:lnTo>
                  <a:pt x="9854579" y="2140976"/>
                </a:lnTo>
                <a:lnTo>
                  <a:pt x="9880958" y="2124192"/>
                </a:lnTo>
                <a:lnTo>
                  <a:pt x="9873591" y="2092270"/>
                </a:lnTo>
                <a:close/>
                <a:moveTo>
                  <a:pt x="9332459" y="2087726"/>
                </a:moveTo>
                <a:lnTo>
                  <a:pt x="9276069" y="2095103"/>
                </a:lnTo>
                <a:lnTo>
                  <a:pt x="9247160" y="2102352"/>
                </a:lnTo>
                <a:lnTo>
                  <a:pt x="9247556" y="2103143"/>
                </a:lnTo>
                <a:lnTo>
                  <a:pt x="9276985" y="2095799"/>
                </a:lnTo>
                <a:lnTo>
                  <a:pt x="9333026" y="2088503"/>
                </a:lnTo>
                <a:close/>
                <a:moveTo>
                  <a:pt x="2530614" y="2078095"/>
                </a:moveTo>
                <a:lnTo>
                  <a:pt x="2408023" y="2093423"/>
                </a:lnTo>
                <a:lnTo>
                  <a:pt x="2412402" y="2113131"/>
                </a:lnTo>
                <a:lnTo>
                  <a:pt x="2313891" y="2104372"/>
                </a:lnTo>
                <a:lnTo>
                  <a:pt x="2311702" y="2104372"/>
                </a:lnTo>
                <a:lnTo>
                  <a:pt x="2408023" y="2117511"/>
                </a:lnTo>
                <a:lnTo>
                  <a:pt x="2340160" y="2163496"/>
                </a:lnTo>
                <a:lnTo>
                  <a:pt x="2340160" y="2191963"/>
                </a:lnTo>
                <a:lnTo>
                  <a:pt x="2399265" y="2209482"/>
                </a:lnTo>
                <a:lnTo>
                  <a:pt x="2453995" y="2139408"/>
                </a:lnTo>
                <a:lnTo>
                  <a:pt x="2458372" y="2152547"/>
                </a:lnTo>
                <a:lnTo>
                  <a:pt x="2526237" y="2163496"/>
                </a:lnTo>
                <a:lnTo>
                  <a:pt x="2539370" y="2198532"/>
                </a:lnTo>
                <a:lnTo>
                  <a:pt x="2482456" y="2198532"/>
                </a:lnTo>
                <a:lnTo>
                  <a:pt x="2440860" y="2237949"/>
                </a:lnTo>
                <a:lnTo>
                  <a:pt x="2438671" y="2277365"/>
                </a:lnTo>
                <a:lnTo>
                  <a:pt x="2467129" y="2251087"/>
                </a:lnTo>
                <a:lnTo>
                  <a:pt x="2447426" y="2323350"/>
                </a:lnTo>
                <a:lnTo>
                  <a:pt x="2445239" y="2395613"/>
                </a:lnTo>
                <a:lnTo>
                  <a:pt x="2478076" y="2439407"/>
                </a:lnTo>
                <a:lnTo>
                  <a:pt x="2519670" y="2399991"/>
                </a:lnTo>
                <a:lnTo>
                  <a:pt x="2497778" y="2314590"/>
                </a:lnTo>
                <a:lnTo>
                  <a:pt x="2499967" y="2268605"/>
                </a:lnTo>
                <a:lnTo>
                  <a:pt x="2539370" y="2248897"/>
                </a:lnTo>
                <a:lnTo>
                  <a:pt x="2539370" y="2205102"/>
                </a:lnTo>
                <a:lnTo>
                  <a:pt x="2598477" y="2270795"/>
                </a:lnTo>
                <a:lnTo>
                  <a:pt x="2585344" y="2334298"/>
                </a:lnTo>
                <a:lnTo>
                  <a:pt x="2615993" y="2316781"/>
                </a:lnTo>
                <a:lnTo>
                  <a:pt x="2631316" y="2340867"/>
                </a:lnTo>
                <a:lnTo>
                  <a:pt x="2613259" y="2370970"/>
                </a:lnTo>
                <a:lnTo>
                  <a:pt x="2637882" y="2336487"/>
                </a:lnTo>
                <a:lnTo>
                  <a:pt x="2661961" y="2356195"/>
                </a:lnTo>
                <a:lnTo>
                  <a:pt x="2668530" y="2275174"/>
                </a:lnTo>
                <a:lnTo>
                  <a:pt x="2710122" y="2281743"/>
                </a:lnTo>
                <a:lnTo>
                  <a:pt x="2675094" y="2218240"/>
                </a:lnTo>
                <a:lnTo>
                  <a:pt x="2563451" y="2198532"/>
                </a:lnTo>
                <a:close/>
                <a:moveTo>
                  <a:pt x="7051659" y="2077597"/>
                </a:moveTo>
                <a:lnTo>
                  <a:pt x="7049420" y="2079994"/>
                </a:lnTo>
                <a:lnTo>
                  <a:pt x="7034686" y="2143836"/>
                </a:lnTo>
                <a:lnTo>
                  <a:pt x="7005215" y="2173301"/>
                </a:lnTo>
                <a:lnTo>
                  <a:pt x="6958556" y="2219955"/>
                </a:lnTo>
                <a:lnTo>
                  <a:pt x="6938910" y="2251875"/>
                </a:lnTo>
                <a:lnTo>
                  <a:pt x="6958556" y="2300984"/>
                </a:lnTo>
                <a:lnTo>
                  <a:pt x="6887337" y="2318172"/>
                </a:lnTo>
                <a:lnTo>
                  <a:pt x="6886172" y="2316842"/>
                </a:lnTo>
                <a:lnTo>
                  <a:pt x="6885844" y="2317506"/>
                </a:lnTo>
                <a:lnTo>
                  <a:pt x="6899790" y="2366470"/>
                </a:lnTo>
                <a:lnTo>
                  <a:pt x="6900155" y="2367203"/>
                </a:lnTo>
                <a:lnTo>
                  <a:pt x="6889119" y="2320982"/>
                </a:lnTo>
                <a:lnTo>
                  <a:pt x="6960121" y="2301451"/>
                </a:lnTo>
                <a:lnTo>
                  <a:pt x="6996846" y="2369813"/>
                </a:lnTo>
                <a:lnTo>
                  <a:pt x="7031123" y="2406434"/>
                </a:lnTo>
                <a:lnTo>
                  <a:pt x="7067849" y="2428408"/>
                </a:lnTo>
                <a:lnTo>
                  <a:pt x="7072745" y="2452822"/>
                </a:lnTo>
                <a:lnTo>
                  <a:pt x="7050710" y="2460147"/>
                </a:lnTo>
                <a:lnTo>
                  <a:pt x="7040917" y="2494327"/>
                </a:lnTo>
                <a:lnTo>
                  <a:pt x="7023778" y="2511418"/>
                </a:lnTo>
                <a:lnTo>
                  <a:pt x="7009088" y="2465030"/>
                </a:lnTo>
                <a:lnTo>
                  <a:pt x="7006045" y="2467052"/>
                </a:lnTo>
                <a:lnTo>
                  <a:pt x="7019945" y="2508373"/>
                </a:lnTo>
                <a:lnTo>
                  <a:pt x="7029835" y="2554921"/>
                </a:lnTo>
                <a:lnTo>
                  <a:pt x="7066919" y="2579419"/>
                </a:lnTo>
                <a:lnTo>
                  <a:pt x="7104004" y="2608817"/>
                </a:lnTo>
                <a:lnTo>
                  <a:pt x="7148506" y="2616167"/>
                </a:lnTo>
                <a:lnTo>
                  <a:pt x="7168285" y="2599018"/>
                </a:lnTo>
                <a:lnTo>
                  <a:pt x="7205370" y="2584318"/>
                </a:lnTo>
                <a:lnTo>
                  <a:pt x="7206905" y="2583665"/>
                </a:lnTo>
                <a:lnTo>
                  <a:pt x="7199782" y="2541106"/>
                </a:lnTo>
                <a:lnTo>
                  <a:pt x="7194880" y="2516702"/>
                </a:lnTo>
                <a:lnTo>
                  <a:pt x="7187528" y="2499617"/>
                </a:lnTo>
                <a:lnTo>
                  <a:pt x="7182627" y="2458130"/>
                </a:lnTo>
                <a:lnTo>
                  <a:pt x="7167921" y="2443487"/>
                </a:lnTo>
                <a:lnTo>
                  <a:pt x="7177725" y="2428843"/>
                </a:lnTo>
                <a:lnTo>
                  <a:pt x="7160568" y="2416641"/>
                </a:lnTo>
                <a:lnTo>
                  <a:pt x="7163019" y="2389795"/>
                </a:lnTo>
                <a:lnTo>
                  <a:pt x="7199782" y="2428843"/>
                </a:lnTo>
                <a:lnTo>
                  <a:pt x="7219389" y="2397117"/>
                </a:lnTo>
                <a:lnTo>
                  <a:pt x="7251250" y="2382473"/>
                </a:lnTo>
                <a:lnTo>
                  <a:pt x="7279784" y="2394312"/>
                </a:lnTo>
                <a:lnTo>
                  <a:pt x="7279784" y="2391831"/>
                </a:lnTo>
                <a:lnTo>
                  <a:pt x="7250398" y="2379585"/>
                </a:lnTo>
                <a:lnTo>
                  <a:pt x="7218563" y="2394281"/>
                </a:lnTo>
                <a:lnTo>
                  <a:pt x="7206318" y="2345295"/>
                </a:lnTo>
                <a:lnTo>
                  <a:pt x="7167137" y="2340397"/>
                </a:lnTo>
                <a:lnTo>
                  <a:pt x="7154892" y="2374688"/>
                </a:lnTo>
                <a:lnTo>
                  <a:pt x="7140199" y="2313454"/>
                </a:lnTo>
                <a:lnTo>
                  <a:pt x="7086325" y="2313454"/>
                </a:lnTo>
                <a:lnTo>
                  <a:pt x="7071633" y="2276716"/>
                </a:lnTo>
                <a:lnTo>
                  <a:pt x="7069183" y="2252222"/>
                </a:lnTo>
                <a:lnTo>
                  <a:pt x="7096121" y="2249772"/>
                </a:lnTo>
                <a:lnTo>
                  <a:pt x="7098569" y="2222830"/>
                </a:lnTo>
                <a:lnTo>
                  <a:pt x="7115711" y="2205685"/>
                </a:lnTo>
                <a:lnTo>
                  <a:pt x="7167137" y="2205685"/>
                </a:lnTo>
                <a:lnTo>
                  <a:pt x="7154892" y="2183642"/>
                </a:lnTo>
                <a:lnTo>
                  <a:pt x="7167137" y="2139554"/>
                </a:lnTo>
                <a:lnTo>
                  <a:pt x="7140199" y="2124858"/>
                </a:lnTo>
                <a:lnTo>
                  <a:pt x="7127956" y="2142003"/>
                </a:lnTo>
                <a:lnTo>
                  <a:pt x="7083876" y="2129757"/>
                </a:lnTo>
                <a:lnTo>
                  <a:pt x="7037348" y="2142003"/>
                </a:lnTo>
                <a:close/>
                <a:moveTo>
                  <a:pt x="8307020" y="2072643"/>
                </a:moveTo>
                <a:lnTo>
                  <a:pt x="8298501" y="2078321"/>
                </a:lnTo>
                <a:lnTo>
                  <a:pt x="8288705" y="2105265"/>
                </a:lnTo>
                <a:lnTo>
                  <a:pt x="8259320" y="2112612"/>
                </a:lnTo>
                <a:lnTo>
                  <a:pt x="8244627" y="2129757"/>
                </a:lnTo>
                <a:lnTo>
                  <a:pt x="8230017" y="2210130"/>
                </a:lnTo>
                <a:lnTo>
                  <a:pt x="8231644" y="2210673"/>
                </a:lnTo>
                <a:lnTo>
                  <a:pt x="8246355" y="2129528"/>
                </a:lnTo>
                <a:lnTo>
                  <a:pt x="8263516" y="2112316"/>
                </a:lnTo>
                <a:lnTo>
                  <a:pt x="8292937" y="2104939"/>
                </a:lnTo>
                <a:lnTo>
                  <a:pt x="8300291" y="2077890"/>
                </a:lnTo>
                <a:close/>
                <a:moveTo>
                  <a:pt x="5919943" y="2064230"/>
                </a:moveTo>
                <a:lnTo>
                  <a:pt x="5919530" y="2064695"/>
                </a:lnTo>
                <a:lnTo>
                  <a:pt x="5918939" y="2064429"/>
                </a:lnTo>
                <a:lnTo>
                  <a:pt x="5923439" y="2098570"/>
                </a:lnTo>
                <a:lnTo>
                  <a:pt x="5908627" y="2118548"/>
                </a:lnTo>
                <a:lnTo>
                  <a:pt x="5908627" y="2128536"/>
                </a:lnTo>
                <a:lnTo>
                  <a:pt x="5898049" y="2143515"/>
                </a:lnTo>
                <a:lnTo>
                  <a:pt x="5909871" y="2129511"/>
                </a:lnTo>
                <a:lnTo>
                  <a:pt x="5909871" y="2119700"/>
                </a:lnTo>
                <a:lnTo>
                  <a:pt x="5924776" y="2097627"/>
                </a:lnTo>
                <a:close/>
                <a:moveTo>
                  <a:pt x="8324080" y="2063024"/>
                </a:moveTo>
                <a:lnTo>
                  <a:pt x="8324067" y="2063037"/>
                </a:lnTo>
                <a:lnTo>
                  <a:pt x="8341971" y="2087726"/>
                </a:lnTo>
                <a:lnTo>
                  <a:pt x="8342145" y="2087818"/>
                </a:lnTo>
                <a:close/>
                <a:moveTo>
                  <a:pt x="5922200" y="2061693"/>
                </a:moveTo>
                <a:lnTo>
                  <a:pt x="5920669" y="2063413"/>
                </a:lnTo>
                <a:lnTo>
                  <a:pt x="5953434" y="2068035"/>
                </a:lnTo>
                <a:close/>
                <a:moveTo>
                  <a:pt x="6073048" y="2060157"/>
                </a:moveTo>
                <a:lnTo>
                  <a:pt x="6086255" y="2065744"/>
                </a:lnTo>
                <a:lnTo>
                  <a:pt x="6114459" y="2088949"/>
                </a:lnTo>
                <a:lnTo>
                  <a:pt x="6114464" y="2088940"/>
                </a:lnTo>
                <a:lnTo>
                  <a:pt x="6114508" y="2088595"/>
                </a:lnTo>
                <a:lnTo>
                  <a:pt x="6084991" y="2063621"/>
                </a:lnTo>
                <a:close/>
                <a:moveTo>
                  <a:pt x="6067684" y="2058601"/>
                </a:moveTo>
                <a:lnTo>
                  <a:pt x="6010721" y="2070650"/>
                </a:lnTo>
                <a:lnTo>
                  <a:pt x="6011726" y="2070650"/>
                </a:lnTo>
                <a:lnTo>
                  <a:pt x="6067762" y="2058623"/>
                </a:lnTo>
                <a:close/>
                <a:moveTo>
                  <a:pt x="5811825" y="2024133"/>
                </a:moveTo>
                <a:lnTo>
                  <a:pt x="5809682" y="2058871"/>
                </a:lnTo>
                <a:lnTo>
                  <a:pt x="5809883" y="2058616"/>
                </a:lnTo>
                <a:lnTo>
                  <a:pt x="5812133" y="2024487"/>
                </a:lnTo>
                <a:close/>
                <a:moveTo>
                  <a:pt x="5561529" y="1999263"/>
                </a:moveTo>
                <a:lnTo>
                  <a:pt x="5562347" y="1999536"/>
                </a:lnTo>
                <a:lnTo>
                  <a:pt x="5567528" y="1999263"/>
                </a:lnTo>
                <a:close/>
                <a:moveTo>
                  <a:pt x="8604116" y="1993628"/>
                </a:moveTo>
                <a:lnTo>
                  <a:pt x="8599029" y="1994053"/>
                </a:lnTo>
                <a:lnTo>
                  <a:pt x="8611309" y="2013696"/>
                </a:lnTo>
                <a:lnTo>
                  <a:pt x="8627079" y="2051989"/>
                </a:lnTo>
                <a:lnTo>
                  <a:pt x="8629543" y="2051735"/>
                </a:lnTo>
                <a:lnTo>
                  <a:pt x="8612376" y="2010118"/>
                </a:lnTo>
                <a:close/>
                <a:moveTo>
                  <a:pt x="9104925" y="1986686"/>
                </a:moveTo>
                <a:lnTo>
                  <a:pt x="9098137" y="1997997"/>
                </a:lnTo>
                <a:lnTo>
                  <a:pt x="9106295" y="1987529"/>
                </a:lnTo>
                <a:close/>
                <a:moveTo>
                  <a:pt x="3530216" y="1983601"/>
                </a:moveTo>
                <a:lnTo>
                  <a:pt x="3551120" y="1994126"/>
                </a:lnTo>
                <a:lnTo>
                  <a:pt x="3548663" y="2013939"/>
                </a:lnTo>
                <a:lnTo>
                  <a:pt x="3560959" y="2046134"/>
                </a:lnTo>
                <a:lnTo>
                  <a:pt x="3590471" y="2046134"/>
                </a:lnTo>
                <a:lnTo>
                  <a:pt x="3617525" y="2056039"/>
                </a:lnTo>
                <a:lnTo>
                  <a:pt x="3624901" y="2105570"/>
                </a:lnTo>
                <a:lnTo>
                  <a:pt x="3610146" y="2142718"/>
                </a:lnTo>
                <a:lnTo>
                  <a:pt x="3590471" y="2187296"/>
                </a:lnTo>
                <a:lnTo>
                  <a:pt x="3583093" y="2157577"/>
                </a:lnTo>
                <a:lnTo>
                  <a:pt x="3560959" y="2155101"/>
                </a:lnTo>
                <a:lnTo>
                  <a:pt x="3560959" y="2187296"/>
                </a:lnTo>
                <a:lnTo>
                  <a:pt x="3536366" y="2177389"/>
                </a:lnTo>
                <a:lnTo>
                  <a:pt x="3531446" y="2130336"/>
                </a:lnTo>
                <a:lnTo>
                  <a:pt x="3504395" y="2130336"/>
                </a:lnTo>
                <a:lnTo>
                  <a:pt x="3467502" y="2145194"/>
                </a:lnTo>
                <a:lnTo>
                  <a:pt x="3428152" y="2140241"/>
                </a:lnTo>
                <a:lnTo>
                  <a:pt x="3428152" y="2090712"/>
                </a:lnTo>
                <a:lnTo>
                  <a:pt x="3442907" y="2056039"/>
                </a:lnTo>
                <a:lnTo>
                  <a:pt x="3474879" y="2041181"/>
                </a:lnTo>
                <a:lnTo>
                  <a:pt x="3494557" y="2013939"/>
                </a:lnTo>
                <a:lnTo>
                  <a:pt x="3511771" y="1989174"/>
                </a:lnTo>
                <a:close/>
                <a:moveTo>
                  <a:pt x="3526527" y="1981744"/>
                </a:moveTo>
                <a:lnTo>
                  <a:pt x="3536366" y="1981744"/>
                </a:lnTo>
                <a:lnTo>
                  <a:pt x="3530216" y="1983601"/>
                </a:lnTo>
                <a:close/>
                <a:moveTo>
                  <a:pt x="8286765" y="1979172"/>
                </a:moveTo>
                <a:lnTo>
                  <a:pt x="8320074" y="2062459"/>
                </a:lnTo>
                <a:lnTo>
                  <a:pt x="8320326" y="2062263"/>
                </a:lnTo>
                <a:lnTo>
                  <a:pt x="8287143" y="1979320"/>
                </a:lnTo>
                <a:close/>
                <a:moveTo>
                  <a:pt x="5571475" y="1970673"/>
                </a:moveTo>
                <a:lnTo>
                  <a:pt x="5561909" y="1981341"/>
                </a:lnTo>
                <a:lnTo>
                  <a:pt x="5557758" y="1998004"/>
                </a:lnTo>
                <a:lnTo>
                  <a:pt x="5558593" y="1998282"/>
                </a:lnTo>
                <a:close/>
                <a:moveTo>
                  <a:pt x="9326994" y="1943993"/>
                </a:moveTo>
                <a:lnTo>
                  <a:pt x="9325947" y="1944943"/>
                </a:lnTo>
                <a:lnTo>
                  <a:pt x="9323194" y="1969712"/>
                </a:lnTo>
                <a:close/>
                <a:moveTo>
                  <a:pt x="9595500" y="1927011"/>
                </a:moveTo>
                <a:lnTo>
                  <a:pt x="9602145" y="1964779"/>
                </a:lnTo>
                <a:lnTo>
                  <a:pt x="9602758" y="1965560"/>
                </a:lnTo>
                <a:lnTo>
                  <a:pt x="9596084" y="1927756"/>
                </a:lnTo>
                <a:close/>
                <a:moveTo>
                  <a:pt x="7603030" y="1886493"/>
                </a:moveTo>
                <a:lnTo>
                  <a:pt x="7599519" y="1888467"/>
                </a:lnTo>
                <a:lnTo>
                  <a:pt x="7616076" y="1931035"/>
                </a:lnTo>
                <a:lnTo>
                  <a:pt x="7617724" y="1928915"/>
                </a:lnTo>
                <a:lnTo>
                  <a:pt x="7615275" y="1924016"/>
                </a:lnTo>
                <a:lnTo>
                  <a:pt x="7612825" y="1919117"/>
                </a:lnTo>
                <a:lnTo>
                  <a:pt x="7610377" y="1914219"/>
                </a:lnTo>
                <a:lnTo>
                  <a:pt x="7607928" y="1909320"/>
                </a:lnTo>
                <a:lnTo>
                  <a:pt x="7605479" y="1901973"/>
                </a:lnTo>
                <a:lnTo>
                  <a:pt x="7603030" y="1897074"/>
                </a:lnTo>
                <a:lnTo>
                  <a:pt x="7603030" y="1892175"/>
                </a:lnTo>
                <a:lnTo>
                  <a:pt x="7603030" y="1887276"/>
                </a:lnTo>
                <a:close/>
                <a:moveTo>
                  <a:pt x="7067168" y="1875489"/>
                </a:moveTo>
                <a:lnTo>
                  <a:pt x="7019951" y="1930211"/>
                </a:lnTo>
                <a:lnTo>
                  <a:pt x="7037141" y="1971953"/>
                </a:lnTo>
                <a:lnTo>
                  <a:pt x="7078889" y="1996508"/>
                </a:lnTo>
                <a:lnTo>
                  <a:pt x="7083659" y="2041816"/>
                </a:lnTo>
                <a:lnTo>
                  <a:pt x="7083876" y="2041583"/>
                </a:lnTo>
                <a:lnTo>
                  <a:pt x="7081428" y="1995046"/>
                </a:lnTo>
                <a:lnTo>
                  <a:pt x="7039797" y="1968103"/>
                </a:lnTo>
                <a:lnTo>
                  <a:pt x="7022655" y="1928915"/>
                </a:lnTo>
                <a:close/>
                <a:moveTo>
                  <a:pt x="7638389" y="1866607"/>
                </a:moveTo>
                <a:lnTo>
                  <a:pt x="7605993" y="1884827"/>
                </a:lnTo>
                <a:lnTo>
                  <a:pt x="7607928" y="1884827"/>
                </a:lnTo>
                <a:lnTo>
                  <a:pt x="7610377" y="1884827"/>
                </a:lnTo>
                <a:lnTo>
                  <a:pt x="7615275" y="1882378"/>
                </a:lnTo>
                <a:lnTo>
                  <a:pt x="7617724" y="1879929"/>
                </a:lnTo>
                <a:lnTo>
                  <a:pt x="7620172" y="1877479"/>
                </a:lnTo>
                <a:lnTo>
                  <a:pt x="7625070" y="1875029"/>
                </a:lnTo>
                <a:lnTo>
                  <a:pt x="7627519" y="1875029"/>
                </a:lnTo>
                <a:lnTo>
                  <a:pt x="7629968" y="1872580"/>
                </a:lnTo>
                <a:lnTo>
                  <a:pt x="7634865" y="1870132"/>
                </a:lnTo>
                <a:lnTo>
                  <a:pt x="7637315" y="1867682"/>
                </a:lnTo>
                <a:close/>
                <a:moveTo>
                  <a:pt x="8628500" y="1866369"/>
                </a:moveTo>
                <a:lnTo>
                  <a:pt x="8628500" y="1932666"/>
                </a:lnTo>
                <a:lnTo>
                  <a:pt x="8628500" y="1990535"/>
                </a:lnTo>
                <a:lnTo>
                  <a:pt x="8629543" y="1990535"/>
                </a:lnTo>
                <a:lnTo>
                  <a:pt x="8629543" y="1929335"/>
                </a:lnTo>
                <a:lnTo>
                  <a:pt x="8629543" y="1866794"/>
                </a:lnTo>
                <a:close/>
                <a:moveTo>
                  <a:pt x="9331451" y="1857893"/>
                </a:moveTo>
                <a:lnTo>
                  <a:pt x="9330858" y="1859002"/>
                </a:lnTo>
                <a:lnTo>
                  <a:pt x="9352671" y="1919581"/>
                </a:lnTo>
                <a:lnTo>
                  <a:pt x="9354524" y="1918058"/>
                </a:lnTo>
                <a:close/>
                <a:moveTo>
                  <a:pt x="7184015" y="1816739"/>
                </a:moveTo>
                <a:lnTo>
                  <a:pt x="7182034" y="1817260"/>
                </a:lnTo>
                <a:lnTo>
                  <a:pt x="7171811" y="1839406"/>
                </a:lnTo>
                <a:close/>
                <a:moveTo>
                  <a:pt x="7128005" y="1804983"/>
                </a:moveTo>
                <a:lnTo>
                  <a:pt x="7077096" y="1863982"/>
                </a:lnTo>
                <a:lnTo>
                  <a:pt x="7128768" y="1805840"/>
                </a:lnTo>
                <a:close/>
                <a:moveTo>
                  <a:pt x="7671754" y="1795060"/>
                </a:moveTo>
                <a:lnTo>
                  <a:pt x="7670738" y="1795160"/>
                </a:lnTo>
                <a:lnTo>
                  <a:pt x="7680434" y="1848482"/>
                </a:lnTo>
                <a:lnTo>
                  <a:pt x="7681393" y="1848088"/>
                </a:lnTo>
                <a:close/>
                <a:moveTo>
                  <a:pt x="10063337" y="1775907"/>
                </a:moveTo>
                <a:lnTo>
                  <a:pt x="10102255" y="1783260"/>
                </a:lnTo>
                <a:lnTo>
                  <a:pt x="10109553" y="1832278"/>
                </a:lnTo>
                <a:lnTo>
                  <a:pt x="10136308" y="1866591"/>
                </a:lnTo>
                <a:lnTo>
                  <a:pt x="10170362" y="1915610"/>
                </a:lnTo>
                <a:lnTo>
                  <a:pt x="10146038" y="1910708"/>
                </a:lnTo>
                <a:lnTo>
                  <a:pt x="10172793" y="1979334"/>
                </a:lnTo>
                <a:lnTo>
                  <a:pt x="10192252" y="2025902"/>
                </a:lnTo>
                <a:lnTo>
                  <a:pt x="10172793" y="2040608"/>
                </a:lnTo>
                <a:lnTo>
                  <a:pt x="10133875" y="2023451"/>
                </a:lnTo>
                <a:lnTo>
                  <a:pt x="10119281" y="2023451"/>
                </a:lnTo>
                <a:lnTo>
                  <a:pt x="10114418" y="2008746"/>
                </a:lnTo>
                <a:lnTo>
                  <a:pt x="10126579" y="1974433"/>
                </a:lnTo>
                <a:lnTo>
                  <a:pt x="10104688" y="1952374"/>
                </a:lnTo>
                <a:lnTo>
                  <a:pt x="10092526" y="1903355"/>
                </a:lnTo>
                <a:lnTo>
                  <a:pt x="10082796" y="1859239"/>
                </a:lnTo>
                <a:lnTo>
                  <a:pt x="10070635" y="1824925"/>
                </a:lnTo>
                <a:lnTo>
                  <a:pt x="10070635" y="1797965"/>
                </a:lnTo>
                <a:close/>
                <a:moveTo>
                  <a:pt x="6158363" y="1768594"/>
                </a:moveTo>
                <a:lnTo>
                  <a:pt x="6125117" y="1778096"/>
                </a:lnTo>
                <a:lnTo>
                  <a:pt x="6127306" y="1813132"/>
                </a:lnTo>
                <a:lnTo>
                  <a:pt x="6126310" y="1812231"/>
                </a:lnTo>
                <a:lnTo>
                  <a:pt x="6126310" y="1859534"/>
                </a:lnTo>
                <a:lnTo>
                  <a:pt x="6129737" y="1859534"/>
                </a:lnTo>
                <a:lnTo>
                  <a:pt x="6129737" y="1813455"/>
                </a:lnTo>
                <a:lnTo>
                  <a:pt x="6127306" y="1781254"/>
                </a:lnTo>
                <a:close/>
                <a:moveTo>
                  <a:pt x="6171089" y="1764957"/>
                </a:moveTo>
                <a:lnTo>
                  <a:pt x="6165415" y="1766578"/>
                </a:lnTo>
                <a:lnTo>
                  <a:pt x="6207515" y="1771346"/>
                </a:lnTo>
                <a:lnTo>
                  <a:pt x="6209083" y="1764957"/>
                </a:lnTo>
                <a:close/>
                <a:moveTo>
                  <a:pt x="6254656" y="1727410"/>
                </a:moveTo>
                <a:lnTo>
                  <a:pt x="6217061" y="1732110"/>
                </a:lnTo>
                <a:lnTo>
                  <a:pt x="6216467" y="1741030"/>
                </a:lnTo>
                <a:close/>
                <a:moveTo>
                  <a:pt x="5144125" y="1723352"/>
                </a:moveTo>
                <a:lnTo>
                  <a:pt x="5169436" y="1730651"/>
                </a:lnTo>
                <a:lnTo>
                  <a:pt x="5184623" y="1747683"/>
                </a:lnTo>
                <a:lnTo>
                  <a:pt x="5192216" y="1769580"/>
                </a:lnTo>
                <a:lnTo>
                  <a:pt x="5161843" y="1786612"/>
                </a:lnTo>
                <a:lnTo>
                  <a:pt x="5125501" y="1786612"/>
                </a:lnTo>
                <a:lnTo>
                  <a:pt x="5126447" y="1788781"/>
                </a:lnTo>
                <a:lnTo>
                  <a:pt x="5162569" y="1788781"/>
                </a:lnTo>
                <a:lnTo>
                  <a:pt x="5177016" y="1828022"/>
                </a:lnTo>
                <a:lnTo>
                  <a:pt x="5169792" y="1879525"/>
                </a:lnTo>
                <a:lnTo>
                  <a:pt x="5143304" y="1884430"/>
                </a:lnTo>
                <a:lnTo>
                  <a:pt x="5111999" y="1884430"/>
                </a:lnTo>
                <a:lnTo>
                  <a:pt x="5075879" y="1908956"/>
                </a:lnTo>
                <a:lnTo>
                  <a:pt x="5037350" y="1911409"/>
                </a:lnTo>
                <a:lnTo>
                  <a:pt x="5037350" y="1891788"/>
                </a:lnTo>
                <a:lnTo>
                  <a:pt x="5034942" y="1859905"/>
                </a:lnTo>
                <a:lnTo>
                  <a:pt x="5054206" y="1847642"/>
                </a:lnTo>
                <a:lnTo>
                  <a:pt x="5054206" y="1828022"/>
                </a:lnTo>
                <a:lnTo>
                  <a:pt x="5034942" y="1823117"/>
                </a:lnTo>
                <a:lnTo>
                  <a:pt x="5034942" y="1793686"/>
                </a:lnTo>
                <a:lnTo>
                  <a:pt x="5042166" y="1776518"/>
                </a:lnTo>
                <a:lnTo>
                  <a:pt x="5099960" y="1769161"/>
                </a:lnTo>
                <a:lnTo>
                  <a:pt x="5099960" y="1744636"/>
                </a:lnTo>
                <a:lnTo>
                  <a:pt x="5109591" y="1729921"/>
                </a:lnTo>
                <a:lnTo>
                  <a:pt x="5123788" y="1738183"/>
                </a:lnTo>
                <a:lnTo>
                  <a:pt x="5123876" y="1737950"/>
                </a:lnTo>
                <a:close/>
                <a:moveTo>
                  <a:pt x="6448400" y="1644637"/>
                </a:moveTo>
                <a:lnTo>
                  <a:pt x="6455433" y="1768870"/>
                </a:lnTo>
                <a:lnTo>
                  <a:pt x="6440849" y="1786207"/>
                </a:lnTo>
                <a:lnTo>
                  <a:pt x="6423836" y="1835747"/>
                </a:lnTo>
                <a:lnTo>
                  <a:pt x="6399875" y="1874814"/>
                </a:lnTo>
                <a:lnTo>
                  <a:pt x="6403136" y="1874445"/>
                </a:lnTo>
                <a:lnTo>
                  <a:pt x="6427215" y="1835029"/>
                </a:lnTo>
                <a:lnTo>
                  <a:pt x="6428695" y="1834926"/>
                </a:lnTo>
                <a:lnTo>
                  <a:pt x="6442837" y="1787795"/>
                </a:lnTo>
                <a:lnTo>
                  <a:pt x="6457573" y="1770606"/>
                </a:lnTo>
                <a:lnTo>
                  <a:pt x="6450204" y="1645377"/>
                </a:lnTo>
                <a:close/>
                <a:moveTo>
                  <a:pt x="6272809" y="1632264"/>
                </a:moveTo>
                <a:lnTo>
                  <a:pt x="6269599" y="1646709"/>
                </a:lnTo>
                <a:lnTo>
                  <a:pt x="6268312" y="1650001"/>
                </a:lnTo>
                <a:lnTo>
                  <a:pt x="6276295" y="1656102"/>
                </a:lnTo>
                <a:lnTo>
                  <a:pt x="6273976" y="1632749"/>
                </a:lnTo>
                <a:close/>
                <a:moveTo>
                  <a:pt x="6318403" y="1619742"/>
                </a:moveTo>
                <a:lnTo>
                  <a:pt x="6326613" y="1622729"/>
                </a:lnTo>
                <a:lnTo>
                  <a:pt x="6326828" y="1622569"/>
                </a:lnTo>
                <a:close/>
                <a:moveTo>
                  <a:pt x="6291103" y="1610577"/>
                </a:moveTo>
                <a:lnTo>
                  <a:pt x="6276723" y="1656429"/>
                </a:lnTo>
                <a:lnTo>
                  <a:pt x="6278002" y="1657406"/>
                </a:lnTo>
                <a:lnTo>
                  <a:pt x="6292379" y="1611006"/>
                </a:lnTo>
                <a:close/>
                <a:moveTo>
                  <a:pt x="5677662" y="1574447"/>
                </a:moveTo>
                <a:lnTo>
                  <a:pt x="5700320" y="1574447"/>
                </a:lnTo>
                <a:lnTo>
                  <a:pt x="5715425" y="1574447"/>
                </a:lnTo>
                <a:lnTo>
                  <a:pt x="5667592" y="1607147"/>
                </a:lnTo>
                <a:close/>
                <a:moveTo>
                  <a:pt x="5158576" y="1561308"/>
                </a:moveTo>
                <a:lnTo>
                  <a:pt x="5166020" y="1587490"/>
                </a:lnTo>
                <a:lnTo>
                  <a:pt x="5143687" y="1613672"/>
                </a:lnTo>
                <a:lnTo>
                  <a:pt x="5131284" y="1601771"/>
                </a:lnTo>
                <a:lnTo>
                  <a:pt x="5136247" y="1575589"/>
                </a:lnTo>
                <a:close/>
                <a:moveTo>
                  <a:pt x="980725" y="1552549"/>
                </a:moveTo>
                <a:lnTo>
                  <a:pt x="980482" y="1553098"/>
                </a:lnTo>
                <a:lnTo>
                  <a:pt x="997082" y="1553098"/>
                </a:lnTo>
                <a:lnTo>
                  <a:pt x="997231" y="1552549"/>
                </a:lnTo>
                <a:close/>
                <a:moveTo>
                  <a:pt x="5254395" y="1550360"/>
                </a:moveTo>
                <a:lnTo>
                  <a:pt x="5254395" y="1587039"/>
                </a:lnTo>
                <a:lnTo>
                  <a:pt x="5308576" y="1587039"/>
                </a:lnTo>
                <a:lnTo>
                  <a:pt x="5306114" y="1626162"/>
                </a:lnTo>
                <a:lnTo>
                  <a:pt x="5274098" y="1635943"/>
                </a:lnTo>
                <a:lnTo>
                  <a:pt x="5333205" y="1677513"/>
                </a:lnTo>
                <a:lnTo>
                  <a:pt x="5325816" y="1719081"/>
                </a:lnTo>
                <a:lnTo>
                  <a:pt x="5350443" y="1726417"/>
                </a:lnTo>
                <a:lnTo>
                  <a:pt x="5345519" y="1755760"/>
                </a:lnTo>
                <a:lnTo>
                  <a:pt x="5370146" y="1765541"/>
                </a:lnTo>
                <a:lnTo>
                  <a:pt x="5377534" y="1787549"/>
                </a:lnTo>
                <a:lnTo>
                  <a:pt x="5377534" y="1824226"/>
                </a:lnTo>
                <a:lnTo>
                  <a:pt x="5424327" y="1838898"/>
                </a:lnTo>
                <a:lnTo>
                  <a:pt x="5421864" y="1895139"/>
                </a:lnTo>
                <a:lnTo>
                  <a:pt x="5397236" y="1890249"/>
                </a:lnTo>
                <a:lnTo>
                  <a:pt x="5382460" y="1902475"/>
                </a:lnTo>
                <a:lnTo>
                  <a:pt x="5409550" y="1926927"/>
                </a:lnTo>
                <a:lnTo>
                  <a:pt x="5365220" y="1936708"/>
                </a:lnTo>
                <a:lnTo>
                  <a:pt x="5325816" y="1961160"/>
                </a:lnTo>
                <a:lnTo>
                  <a:pt x="5281486" y="1951379"/>
                </a:lnTo>
                <a:lnTo>
                  <a:pt x="5247007" y="1968496"/>
                </a:lnTo>
                <a:lnTo>
                  <a:pt x="5195296" y="1988058"/>
                </a:lnTo>
                <a:lnTo>
                  <a:pt x="5197758" y="1966051"/>
                </a:lnTo>
                <a:lnTo>
                  <a:pt x="5217460" y="1939153"/>
                </a:lnTo>
                <a:lnTo>
                  <a:pt x="5242083" y="1914702"/>
                </a:lnTo>
                <a:lnTo>
                  <a:pt x="5261784" y="1912256"/>
                </a:lnTo>
                <a:lnTo>
                  <a:pt x="5266710" y="1902475"/>
                </a:lnTo>
                <a:lnTo>
                  <a:pt x="5210072" y="1890249"/>
                </a:lnTo>
                <a:lnTo>
                  <a:pt x="5229774" y="1880468"/>
                </a:lnTo>
                <a:lnTo>
                  <a:pt x="5234699" y="1853570"/>
                </a:lnTo>
                <a:lnTo>
                  <a:pt x="5224848" y="1838898"/>
                </a:lnTo>
                <a:lnTo>
                  <a:pt x="5229774" y="1812000"/>
                </a:lnTo>
                <a:lnTo>
                  <a:pt x="5254395" y="1812000"/>
                </a:lnTo>
                <a:lnTo>
                  <a:pt x="5283950" y="1792439"/>
                </a:lnTo>
                <a:lnTo>
                  <a:pt x="5288874" y="1775322"/>
                </a:lnTo>
                <a:lnTo>
                  <a:pt x="5271636" y="1767986"/>
                </a:lnTo>
                <a:lnTo>
                  <a:pt x="5259321" y="1748424"/>
                </a:lnTo>
                <a:lnTo>
                  <a:pt x="5202682" y="1736198"/>
                </a:lnTo>
                <a:lnTo>
                  <a:pt x="5210072" y="1719081"/>
                </a:lnTo>
                <a:lnTo>
                  <a:pt x="5205146" y="1699520"/>
                </a:lnTo>
                <a:lnTo>
                  <a:pt x="5182980" y="1694630"/>
                </a:lnTo>
                <a:lnTo>
                  <a:pt x="5175592" y="1675067"/>
                </a:lnTo>
                <a:lnTo>
                  <a:pt x="5195296" y="1662841"/>
                </a:lnTo>
                <a:lnTo>
                  <a:pt x="5195296" y="1638388"/>
                </a:lnTo>
                <a:lnTo>
                  <a:pt x="5190368" y="1621271"/>
                </a:lnTo>
                <a:lnTo>
                  <a:pt x="5170667" y="1611490"/>
                </a:lnTo>
                <a:lnTo>
                  <a:pt x="5195296" y="1584594"/>
                </a:lnTo>
                <a:lnTo>
                  <a:pt x="5210072" y="1555250"/>
                </a:lnTo>
                <a:close/>
                <a:moveTo>
                  <a:pt x="6227902" y="1549816"/>
                </a:moveTo>
                <a:lnTo>
                  <a:pt x="6229937" y="1551454"/>
                </a:lnTo>
                <a:lnTo>
                  <a:pt x="6295746" y="1553821"/>
                </a:lnTo>
                <a:lnTo>
                  <a:pt x="6294641" y="1552232"/>
                </a:lnTo>
                <a:close/>
                <a:moveTo>
                  <a:pt x="1018783" y="1529640"/>
                </a:moveTo>
                <a:lnTo>
                  <a:pt x="1024095" y="1530970"/>
                </a:lnTo>
                <a:lnTo>
                  <a:pt x="1078125" y="1589977"/>
                </a:lnTo>
                <a:lnTo>
                  <a:pt x="1087948" y="1634231"/>
                </a:lnTo>
                <a:lnTo>
                  <a:pt x="1105140" y="1641608"/>
                </a:lnTo>
                <a:lnTo>
                  <a:pt x="1119875" y="1700613"/>
                </a:lnTo>
                <a:lnTo>
                  <a:pt x="1123015" y="1701440"/>
                </a:lnTo>
                <a:lnTo>
                  <a:pt x="1109885" y="1642329"/>
                </a:lnTo>
                <a:lnTo>
                  <a:pt x="1090183" y="1633570"/>
                </a:lnTo>
                <a:lnTo>
                  <a:pt x="1081426" y="1589776"/>
                </a:lnTo>
                <a:lnTo>
                  <a:pt x="1028887" y="1530652"/>
                </a:lnTo>
                <a:close/>
                <a:moveTo>
                  <a:pt x="5282307" y="1521892"/>
                </a:moveTo>
                <a:lnTo>
                  <a:pt x="5312799" y="1521892"/>
                </a:lnTo>
                <a:lnTo>
                  <a:pt x="5286998" y="1552393"/>
                </a:lnTo>
                <a:close/>
                <a:moveTo>
                  <a:pt x="917243" y="1493425"/>
                </a:moveTo>
                <a:lnTo>
                  <a:pt x="914229" y="1494631"/>
                </a:lnTo>
                <a:lnTo>
                  <a:pt x="928317" y="1506384"/>
                </a:lnTo>
                <a:lnTo>
                  <a:pt x="938141" y="1553098"/>
                </a:lnTo>
                <a:lnTo>
                  <a:pt x="970067" y="1572766"/>
                </a:lnTo>
                <a:lnTo>
                  <a:pt x="970590" y="1571370"/>
                </a:lnTo>
                <a:lnTo>
                  <a:pt x="941322" y="1552549"/>
                </a:lnTo>
                <a:lnTo>
                  <a:pt x="930378" y="1506564"/>
                </a:lnTo>
                <a:close/>
                <a:moveTo>
                  <a:pt x="5342435" y="1436492"/>
                </a:moveTo>
                <a:lnTo>
                  <a:pt x="5349879" y="1477982"/>
                </a:lnTo>
                <a:lnTo>
                  <a:pt x="5325068" y="1477982"/>
                </a:lnTo>
                <a:lnTo>
                  <a:pt x="5315144" y="1457237"/>
                </a:lnTo>
                <a:close/>
                <a:moveTo>
                  <a:pt x="6383464" y="1311580"/>
                </a:moveTo>
                <a:lnTo>
                  <a:pt x="6358328" y="1332106"/>
                </a:lnTo>
                <a:lnTo>
                  <a:pt x="6321475" y="1371341"/>
                </a:lnTo>
                <a:lnTo>
                  <a:pt x="6287080" y="1413028"/>
                </a:lnTo>
                <a:lnTo>
                  <a:pt x="6277252" y="1447358"/>
                </a:lnTo>
                <a:lnTo>
                  <a:pt x="6278778" y="1459538"/>
                </a:lnTo>
                <a:lnTo>
                  <a:pt x="6278299" y="1451397"/>
                </a:lnTo>
                <a:lnTo>
                  <a:pt x="6288123" y="1419477"/>
                </a:lnTo>
                <a:lnTo>
                  <a:pt x="6320047" y="1377733"/>
                </a:lnTo>
                <a:lnTo>
                  <a:pt x="6359340" y="1338446"/>
                </a:lnTo>
                <a:lnTo>
                  <a:pt x="6386354" y="1313891"/>
                </a:lnTo>
                <a:close/>
                <a:moveTo>
                  <a:pt x="2727822" y="1213134"/>
                </a:moveTo>
                <a:lnTo>
                  <a:pt x="2786599" y="1233057"/>
                </a:lnTo>
                <a:lnTo>
                  <a:pt x="2806191" y="1270411"/>
                </a:lnTo>
                <a:lnTo>
                  <a:pt x="2757212" y="1290334"/>
                </a:lnTo>
                <a:lnTo>
                  <a:pt x="2700885" y="1337651"/>
                </a:lnTo>
                <a:lnTo>
                  <a:pt x="2664152" y="1290334"/>
                </a:lnTo>
                <a:lnTo>
                  <a:pt x="2671497" y="1238038"/>
                </a:lnTo>
                <a:close/>
                <a:moveTo>
                  <a:pt x="4672624" y="1116785"/>
                </a:moveTo>
                <a:lnTo>
                  <a:pt x="4716472" y="1153686"/>
                </a:lnTo>
                <a:lnTo>
                  <a:pt x="4738396" y="1124166"/>
                </a:lnTo>
                <a:lnTo>
                  <a:pt x="4806606" y="1146306"/>
                </a:lnTo>
                <a:lnTo>
                  <a:pt x="4867506" y="1126625"/>
                </a:lnTo>
                <a:lnTo>
                  <a:pt x="4928406" y="1126625"/>
                </a:lnTo>
                <a:lnTo>
                  <a:pt x="4940587" y="1183208"/>
                </a:lnTo>
                <a:lnTo>
                  <a:pt x="4928406" y="1234870"/>
                </a:lnTo>
                <a:lnTo>
                  <a:pt x="4884556" y="1264391"/>
                </a:lnTo>
                <a:lnTo>
                  <a:pt x="4840711" y="1264391"/>
                </a:lnTo>
                <a:lnTo>
                  <a:pt x="4794429" y="1313593"/>
                </a:lnTo>
                <a:lnTo>
                  <a:pt x="4774935" y="1291452"/>
                </a:lnTo>
                <a:lnTo>
                  <a:pt x="4718910" y="1264391"/>
                </a:lnTo>
                <a:lnTo>
                  <a:pt x="4665316" y="1276691"/>
                </a:lnTo>
                <a:lnTo>
                  <a:pt x="4684806" y="1244710"/>
                </a:lnTo>
                <a:lnTo>
                  <a:pt x="4684806" y="1195508"/>
                </a:lnTo>
                <a:lnTo>
                  <a:pt x="4623904" y="1207809"/>
                </a:lnTo>
                <a:lnTo>
                  <a:pt x="4619033" y="1178287"/>
                </a:lnTo>
                <a:close/>
                <a:moveTo>
                  <a:pt x="6304495" y="1106654"/>
                </a:moveTo>
                <a:lnTo>
                  <a:pt x="6305891" y="1123372"/>
                </a:lnTo>
                <a:lnTo>
                  <a:pt x="6305313" y="1110089"/>
                </a:lnTo>
                <a:close/>
                <a:moveTo>
                  <a:pt x="3011491" y="1051092"/>
                </a:moveTo>
                <a:lnTo>
                  <a:pt x="3013922" y="1053574"/>
                </a:lnTo>
                <a:lnTo>
                  <a:pt x="3018786" y="1053574"/>
                </a:lnTo>
                <a:lnTo>
                  <a:pt x="3021218" y="1056055"/>
                </a:lnTo>
                <a:lnTo>
                  <a:pt x="3026082" y="1056055"/>
                </a:lnTo>
                <a:lnTo>
                  <a:pt x="3030947" y="1058535"/>
                </a:lnTo>
                <a:lnTo>
                  <a:pt x="3030947" y="1061017"/>
                </a:lnTo>
                <a:lnTo>
                  <a:pt x="3030947" y="1063500"/>
                </a:lnTo>
                <a:lnTo>
                  <a:pt x="3033378" y="1068464"/>
                </a:lnTo>
                <a:lnTo>
                  <a:pt x="3035811" y="1068464"/>
                </a:lnTo>
                <a:lnTo>
                  <a:pt x="3038242" y="1075908"/>
                </a:lnTo>
                <a:lnTo>
                  <a:pt x="3038242" y="1078391"/>
                </a:lnTo>
                <a:lnTo>
                  <a:pt x="3038242" y="1080873"/>
                </a:lnTo>
                <a:lnTo>
                  <a:pt x="3038242" y="1085835"/>
                </a:lnTo>
                <a:lnTo>
                  <a:pt x="3035811" y="1093282"/>
                </a:lnTo>
                <a:lnTo>
                  <a:pt x="3030947" y="1095764"/>
                </a:lnTo>
                <a:lnTo>
                  <a:pt x="3028515" y="1100726"/>
                </a:lnTo>
                <a:lnTo>
                  <a:pt x="3021218" y="1105689"/>
                </a:lnTo>
                <a:lnTo>
                  <a:pt x="3013922" y="1110653"/>
                </a:lnTo>
                <a:lnTo>
                  <a:pt x="3011491" y="1113134"/>
                </a:lnTo>
                <a:lnTo>
                  <a:pt x="3001761" y="1118098"/>
                </a:lnTo>
                <a:lnTo>
                  <a:pt x="2996897" y="1120580"/>
                </a:lnTo>
                <a:lnTo>
                  <a:pt x="2992032" y="1120580"/>
                </a:lnTo>
                <a:lnTo>
                  <a:pt x="2984735" y="1123062"/>
                </a:lnTo>
                <a:lnTo>
                  <a:pt x="2982303" y="1123062"/>
                </a:lnTo>
                <a:lnTo>
                  <a:pt x="2979871" y="1123062"/>
                </a:lnTo>
                <a:lnTo>
                  <a:pt x="2977438" y="1120580"/>
                </a:lnTo>
                <a:lnTo>
                  <a:pt x="2975007" y="1120580"/>
                </a:lnTo>
                <a:lnTo>
                  <a:pt x="2975007" y="1118098"/>
                </a:lnTo>
                <a:lnTo>
                  <a:pt x="2977438" y="1113134"/>
                </a:lnTo>
                <a:lnTo>
                  <a:pt x="2979871" y="1110653"/>
                </a:lnTo>
                <a:lnTo>
                  <a:pt x="2979871" y="1105689"/>
                </a:lnTo>
                <a:lnTo>
                  <a:pt x="2982303" y="1100726"/>
                </a:lnTo>
                <a:lnTo>
                  <a:pt x="2982303" y="1095764"/>
                </a:lnTo>
                <a:lnTo>
                  <a:pt x="2982303" y="1093282"/>
                </a:lnTo>
                <a:lnTo>
                  <a:pt x="2982303" y="1085835"/>
                </a:lnTo>
                <a:lnTo>
                  <a:pt x="2982303" y="1080873"/>
                </a:lnTo>
                <a:lnTo>
                  <a:pt x="2984735" y="1078391"/>
                </a:lnTo>
                <a:lnTo>
                  <a:pt x="2984735" y="1075908"/>
                </a:lnTo>
                <a:lnTo>
                  <a:pt x="2987169" y="1068464"/>
                </a:lnTo>
                <a:lnTo>
                  <a:pt x="2989601" y="1068464"/>
                </a:lnTo>
                <a:lnTo>
                  <a:pt x="2992032" y="1063500"/>
                </a:lnTo>
                <a:lnTo>
                  <a:pt x="2992032" y="1061017"/>
                </a:lnTo>
                <a:lnTo>
                  <a:pt x="2996897" y="1058535"/>
                </a:lnTo>
                <a:lnTo>
                  <a:pt x="2999328" y="1056055"/>
                </a:lnTo>
                <a:lnTo>
                  <a:pt x="3001761" y="1056055"/>
                </a:lnTo>
                <a:lnTo>
                  <a:pt x="3004195" y="1053574"/>
                </a:lnTo>
                <a:lnTo>
                  <a:pt x="3009059" y="1053574"/>
                </a:lnTo>
                <a:close/>
                <a:moveTo>
                  <a:pt x="5896901" y="1036900"/>
                </a:moveTo>
                <a:lnTo>
                  <a:pt x="5891976" y="1068809"/>
                </a:lnTo>
                <a:lnTo>
                  <a:pt x="5872275" y="1078628"/>
                </a:lnTo>
                <a:lnTo>
                  <a:pt x="5867349" y="1110537"/>
                </a:lnTo>
                <a:lnTo>
                  <a:pt x="5842720" y="1110537"/>
                </a:lnTo>
                <a:lnTo>
                  <a:pt x="5832870" y="1139991"/>
                </a:lnTo>
                <a:lnTo>
                  <a:pt x="5815630" y="1149810"/>
                </a:lnTo>
                <a:lnTo>
                  <a:pt x="5810705" y="1193991"/>
                </a:lnTo>
                <a:lnTo>
                  <a:pt x="5793465" y="1228355"/>
                </a:lnTo>
                <a:lnTo>
                  <a:pt x="5815630" y="1245537"/>
                </a:lnTo>
                <a:lnTo>
                  <a:pt x="5799733" y="1256855"/>
                </a:lnTo>
                <a:lnTo>
                  <a:pt x="5802931" y="1257497"/>
                </a:lnTo>
                <a:lnTo>
                  <a:pt x="5820058" y="1245201"/>
                </a:lnTo>
                <a:lnTo>
                  <a:pt x="5795591" y="1227990"/>
                </a:lnTo>
                <a:lnTo>
                  <a:pt x="5812718" y="1193563"/>
                </a:lnTo>
                <a:lnTo>
                  <a:pt x="5820058" y="1149302"/>
                </a:lnTo>
                <a:lnTo>
                  <a:pt x="5834738" y="1139467"/>
                </a:lnTo>
                <a:lnTo>
                  <a:pt x="5846970" y="1112419"/>
                </a:lnTo>
                <a:lnTo>
                  <a:pt x="5868990" y="1112419"/>
                </a:lnTo>
                <a:lnTo>
                  <a:pt x="5873884" y="1077993"/>
                </a:lnTo>
                <a:lnTo>
                  <a:pt x="5893457" y="1068158"/>
                </a:lnTo>
                <a:lnTo>
                  <a:pt x="5898169" y="1037374"/>
                </a:lnTo>
                <a:close/>
                <a:moveTo>
                  <a:pt x="5953545" y="1014809"/>
                </a:moveTo>
                <a:lnTo>
                  <a:pt x="5936306" y="1031991"/>
                </a:lnTo>
                <a:lnTo>
                  <a:pt x="5917797" y="1043520"/>
                </a:lnTo>
                <a:lnTo>
                  <a:pt x="5917924" y="1043568"/>
                </a:lnTo>
                <a:lnTo>
                  <a:pt x="5937498" y="1033732"/>
                </a:lnTo>
                <a:lnTo>
                  <a:pt x="5956325" y="1014809"/>
                </a:lnTo>
                <a:close/>
                <a:moveTo>
                  <a:pt x="6056275" y="973847"/>
                </a:moveTo>
                <a:lnTo>
                  <a:pt x="6081851" y="1004226"/>
                </a:lnTo>
                <a:lnTo>
                  <a:pt x="6108763" y="1028814"/>
                </a:lnTo>
                <a:lnTo>
                  <a:pt x="6111210" y="1050945"/>
                </a:lnTo>
                <a:lnTo>
                  <a:pt x="6116102" y="1127139"/>
                </a:lnTo>
                <a:lnTo>
                  <a:pt x="6117556" y="1126123"/>
                </a:lnTo>
                <a:lnTo>
                  <a:pt x="6112643" y="1050104"/>
                </a:lnTo>
                <a:lnTo>
                  <a:pt x="6110187" y="1025582"/>
                </a:lnTo>
                <a:lnTo>
                  <a:pt x="6083161" y="1001062"/>
                </a:lnTo>
                <a:lnTo>
                  <a:pt x="6058338" y="974220"/>
                </a:lnTo>
                <a:close/>
                <a:moveTo>
                  <a:pt x="6052055" y="973082"/>
                </a:moveTo>
                <a:lnTo>
                  <a:pt x="6032352" y="990263"/>
                </a:lnTo>
                <a:lnTo>
                  <a:pt x="6013253" y="1014061"/>
                </a:lnTo>
                <a:lnTo>
                  <a:pt x="6013344" y="1014061"/>
                </a:lnTo>
                <a:lnTo>
                  <a:pt x="6032917" y="991930"/>
                </a:lnTo>
                <a:lnTo>
                  <a:pt x="6053685" y="973377"/>
                </a:lnTo>
                <a:close/>
                <a:moveTo>
                  <a:pt x="2955159" y="952552"/>
                </a:moveTo>
                <a:lnTo>
                  <a:pt x="2957641" y="954952"/>
                </a:lnTo>
                <a:lnTo>
                  <a:pt x="2960123" y="954952"/>
                </a:lnTo>
                <a:lnTo>
                  <a:pt x="2965085" y="957355"/>
                </a:lnTo>
                <a:lnTo>
                  <a:pt x="2965085" y="959757"/>
                </a:lnTo>
                <a:lnTo>
                  <a:pt x="2967565" y="962158"/>
                </a:lnTo>
                <a:lnTo>
                  <a:pt x="2970047" y="966961"/>
                </a:lnTo>
                <a:lnTo>
                  <a:pt x="2970047" y="969364"/>
                </a:lnTo>
                <a:lnTo>
                  <a:pt x="2972526" y="976568"/>
                </a:lnTo>
                <a:lnTo>
                  <a:pt x="2972526" y="978971"/>
                </a:lnTo>
                <a:lnTo>
                  <a:pt x="2972526" y="983773"/>
                </a:lnTo>
                <a:lnTo>
                  <a:pt x="2972526" y="986175"/>
                </a:lnTo>
                <a:lnTo>
                  <a:pt x="2972526" y="993379"/>
                </a:lnTo>
                <a:lnTo>
                  <a:pt x="2972526" y="998185"/>
                </a:lnTo>
                <a:lnTo>
                  <a:pt x="2972526" y="1000585"/>
                </a:lnTo>
                <a:lnTo>
                  <a:pt x="2970047" y="1005389"/>
                </a:lnTo>
                <a:lnTo>
                  <a:pt x="2970047" y="1010192"/>
                </a:lnTo>
                <a:lnTo>
                  <a:pt x="2967565" y="1014995"/>
                </a:lnTo>
                <a:lnTo>
                  <a:pt x="2965085" y="1017397"/>
                </a:lnTo>
                <a:lnTo>
                  <a:pt x="2965085" y="1022200"/>
                </a:lnTo>
                <a:lnTo>
                  <a:pt x="2960123" y="1024602"/>
                </a:lnTo>
                <a:lnTo>
                  <a:pt x="2957641" y="1024602"/>
                </a:lnTo>
                <a:lnTo>
                  <a:pt x="2955159" y="1024602"/>
                </a:lnTo>
                <a:lnTo>
                  <a:pt x="2952679" y="1024602"/>
                </a:lnTo>
                <a:lnTo>
                  <a:pt x="2947718" y="1022200"/>
                </a:lnTo>
                <a:lnTo>
                  <a:pt x="2947718" y="1017397"/>
                </a:lnTo>
                <a:lnTo>
                  <a:pt x="2945237" y="1014995"/>
                </a:lnTo>
                <a:lnTo>
                  <a:pt x="2942757" y="1014995"/>
                </a:lnTo>
                <a:lnTo>
                  <a:pt x="2942757" y="1010192"/>
                </a:lnTo>
                <a:lnTo>
                  <a:pt x="2942757" y="1005389"/>
                </a:lnTo>
                <a:lnTo>
                  <a:pt x="2940275" y="1000585"/>
                </a:lnTo>
                <a:lnTo>
                  <a:pt x="2940275" y="998185"/>
                </a:lnTo>
                <a:lnTo>
                  <a:pt x="2940275" y="993379"/>
                </a:lnTo>
                <a:lnTo>
                  <a:pt x="2937793" y="986175"/>
                </a:lnTo>
                <a:lnTo>
                  <a:pt x="2940275" y="983773"/>
                </a:lnTo>
                <a:lnTo>
                  <a:pt x="2940275" y="978971"/>
                </a:lnTo>
                <a:lnTo>
                  <a:pt x="2940275" y="976568"/>
                </a:lnTo>
                <a:lnTo>
                  <a:pt x="2942757" y="969364"/>
                </a:lnTo>
                <a:lnTo>
                  <a:pt x="2942757" y="966961"/>
                </a:lnTo>
                <a:lnTo>
                  <a:pt x="2942757" y="962158"/>
                </a:lnTo>
                <a:lnTo>
                  <a:pt x="2945237" y="962158"/>
                </a:lnTo>
                <a:lnTo>
                  <a:pt x="2947718" y="959757"/>
                </a:lnTo>
                <a:lnTo>
                  <a:pt x="2947718" y="957355"/>
                </a:lnTo>
                <a:lnTo>
                  <a:pt x="2952679" y="954952"/>
                </a:lnTo>
                <a:lnTo>
                  <a:pt x="2955159" y="954952"/>
                </a:lnTo>
                <a:close/>
                <a:moveTo>
                  <a:pt x="5826668" y="943793"/>
                </a:moveTo>
                <a:lnTo>
                  <a:pt x="5853423" y="943793"/>
                </a:lnTo>
                <a:lnTo>
                  <a:pt x="5841262" y="980745"/>
                </a:lnTo>
                <a:lnTo>
                  <a:pt x="5812072" y="970892"/>
                </a:lnTo>
                <a:close/>
                <a:moveTo>
                  <a:pt x="3720155" y="935035"/>
                </a:moveTo>
                <a:lnTo>
                  <a:pt x="3782486" y="959364"/>
                </a:lnTo>
                <a:lnTo>
                  <a:pt x="3737608" y="976398"/>
                </a:lnTo>
                <a:lnTo>
                  <a:pt x="3695224" y="976398"/>
                </a:lnTo>
                <a:close/>
                <a:moveTo>
                  <a:pt x="6881313" y="921894"/>
                </a:moveTo>
                <a:lnTo>
                  <a:pt x="6908535" y="943967"/>
                </a:lnTo>
                <a:lnTo>
                  <a:pt x="6888738" y="975850"/>
                </a:lnTo>
                <a:lnTo>
                  <a:pt x="6866466" y="980755"/>
                </a:lnTo>
                <a:lnTo>
                  <a:pt x="6854092" y="951325"/>
                </a:lnTo>
                <a:close/>
                <a:moveTo>
                  <a:pt x="2377167" y="921894"/>
                </a:moveTo>
                <a:lnTo>
                  <a:pt x="2427516" y="973629"/>
                </a:lnTo>
                <a:lnTo>
                  <a:pt x="2389156" y="998263"/>
                </a:lnTo>
                <a:lnTo>
                  <a:pt x="2329214" y="990873"/>
                </a:lnTo>
                <a:lnTo>
                  <a:pt x="2341201" y="946531"/>
                </a:lnTo>
                <a:close/>
                <a:moveTo>
                  <a:pt x="5980198" y="915326"/>
                </a:moveTo>
                <a:lnTo>
                  <a:pt x="5961809" y="945826"/>
                </a:lnTo>
                <a:lnTo>
                  <a:pt x="5943420" y="924710"/>
                </a:lnTo>
                <a:close/>
                <a:moveTo>
                  <a:pt x="6199864" y="914128"/>
                </a:moveTo>
                <a:lnTo>
                  <a:pt x="6199820" y="914172"/>
                </a:lnTo>
                <a:lnTo>
                  <a:pt x="6175193" y="941174"/>
                </a:lnTo>
                <a:lnTo>
                  <a:pt x="6171354" y="952650"/>
                </a:lnTo>
                <a:lnTo>
                  <a:pt x="6176522" y="939757"/>
                </a:lnTo>
                <a:close/>
                <a:moveTo>
                  <a:pt x="5882125" y="910946"/>
                </a:moveTo>
                <a:lnTo>
                  <a:pt x="5916604" y="910946"/>
                </a:lnTo>
                <a:lnTo>
                  <a:pt x="5919067" y="937953"/>
                </a:lnTo>
                <a:lnTo>
                  <a:pt x="5919067" y="960049"/>
                </a:lnTo>
                <a:lnTo>
                  <a:pt x="5911679" y="989512"/>
                </a:lnTo>
                <a:lnTo>
                  <a:pt x="5904291" y="950229"/>
                </a:lnTo>
                <a:lnTo>
                  <a:pt x="5887051" y="942863"/>
                </a:lnTo>
                <a:close/>
                <a:moveTo>
                  <a:pt x="7161830" y="867150"/>
                </a:moveTo>
                <a:lnTo>
                  <a:pt x="7196192" y="877455"/>
                </a:lnTo>
                <a:lnTo>
                  <a:pt x="7208465" y="908369"/>
                </a:lnTo>
                <a:lnTo>
                  <a:pt x="7152012" y="903218"/>
                </a:lnTo>
                <a:lnTo>
                  <a:pt x="7129922" y="898064"/>
                </a:lnTo>
                <a:close/>
                <a:moveTo>
                  <a:pt x="2534992" y="843064"/>
                </a:moveTo>
                <a:lnTo>
                  <a:pt x="2583152" y="884669"/>
                </a:lnTo>
                <a:lnTo>
                  <a:pt x="2567828" y="924085"/>
                </a:lnTo>
                <a:lnTo>
                  <a:pt x="2576589" y="959121"/>
                </a:lnTo>
                <a:lnTo>
                  <a:pt x="2605046" y="985398"/>
                </a:lnTo>
                <a:lnTo>
                  <a:pt x="2622559" y="1035762"/>
                </a:lnTo>
                <a:lnTo>
                  <a:pt x="2661961" y="985398"/>
                </a:lnTo>
                <a:lnTo>
                  <a:pt x="2683853" y="1029193"/>
                </a:lnTo>
                <a:lnTo>
                  <a:pt x="2681663" y="1099266"/>
                </a:lnTo>
                <a:lnTo>
                  <a:pt x="2710122" y="1099266"/>
                </a:lnTo>
                <a:lnTo>
                  <a:pt x="2723259" y="1059850"/>
                </a:lnTo>
                <a:lnTo>
                  <a:pt x="2767046" y="1016056"/>
                </a:lnTo>
                <a:lnTo>
                  <a:pt x="2784557" y="959121"/>
                </a:lnTo>
                <a:lnTo>
                  <a:pt x="2863369" y="967880"/>
                </a:lnTo>
                <a:lnTo>
                  <a:pt x="2883070" y="1024814"/>
                </a:lnTo>
                <a:lnTo>
                  <a:pt x="2850236" y="1040143"/>
                </a:lnTo>
                <a:lnTo>
                  <a:pt x="2867746" y="1112405"/>
                </a:lnTo>
                <a:lnTo>
                  <a:pt x="2767046" y="1162771"/>
                </a:lnTo>
                <a:lnTo>
                  <a:pt x="2753908" y="1140871"/>
                </a:lnTo>
                <a:lnTo>
                  <a:pt x="2701367" y="1143062"/>
                </a:lnTo>
                <a:lnTo>
                  <a:pt x="2694797" y="1184668"/>
                </a:lnTo>
                <a:lnTo>
                  <a:pt x="2633506" y="1184668"/>
                </a:lnTo>
                <a:lnTo>
                  <a:pt x="2615992" y="1167149"/>
                </a:lnTo>
                <a:lnTo>
                  <a:pt x="2587530" y="1169340"/>
                </a:lnTo>
                <a:lnTo>
                  <a:pt x="2589722" y="1193426"/>
                </a:lnTo>
                <a:lnTo>
                  <a:pt x="2648829" y="1217514"/>
                </a:lnTo>
                <a:lnTo>
                  <a:pt x="2633506" y="1270069"/>
                </a:lnTo>
                <a:lnTo>
                  <a:pt x="2602856" y="1291966"/>
                </a:lnTo>
                <a:lnTo>
                  <a:pt x="2554696" y="1298535"/>
                </a:lnTo>
                <a:lnTo>
                  <a:pt x="2526237" y="1342330"/>
                </a:lnTo>
                <a:lnTo>
                  <a:pt x="2460561" y="1392696"/>
                </a:lnTo>
                <a:lnTo>
                  <a:pt x="2403644" y="1443061"/>
                </a:lnTo>
                <a:lnTo>
                  <a:pt x="2357670" y="1513133"/>
                </a:lnTo>
                <a:lnTo>
                  <a:pt x="2355482" y="1565688"/>
                </a:lnTo>
                <a:lnTo>
                  <a:pt x="2397076" y="1572257"/>
                </a:lnTo>
                <a:lnTo>
                  <a:pt x="2418968" y="1662037"/>
                </a:lnTo>
                <a:lnTo>
                  <a:pt x="2515290" y="1672986"/>
                </a:lnTo>
                <a:lnTo>
                  <a:pt x="2576589" y="1732110"/>
                </a:lnTo>
                <a:lnTo>
                  <a:pt x="2615992" y="1736489"/>
                </a:lnTo>
                <a:lnTo>
                  <a:pt x="2648829" y="1775905"/>
                </a:lnTo>
                <a:lnTo>
                  <a:pt x="2714502" y="1771526"/>
                </a:lnTo>
                <a:lnTo>
                  <a:pt x="2707935" y="1848168"/>
                </a:lnTo>
                <a:lnTo>
                  <a:pt x="2701367" y="1913861"/>
                </a:lnTo>
                <a:lnTo>
                  <a:pt x="2725449" y="1964227"/>
                </a:lnTo>
                <a:lnTo>
                  <a:pt x="2753908" y="1966416"/>
                </a:lnTo>
                <a:lnTo>
                  <a:pt x="2777993" y="1940139"/>
                </a:lnTo>
                <a:lnTo>
                  <a:pt x="2804261" y="1964227"/>
                </a:lnTo>
                <a:lnTo>
                  <a:pt x="2815205" y="1935760"/>
                </a:lnTo>
                <a:lnTo>
                  <a:pt x="2830532" y="1856928"/>
                </a:lnTo>
                <a:lnTo>
                  <a:pt x="2828343" y="1828460"/>
                </a:lnTo>
                <a:lnTo>
                  <a:pt x="2834912" y="1775905"/>
                </a:lnTo>
                <a:lnTo>
                  <a:pt x="2885258" y="1749629"/>
                </a:lnTo>
                <a:lnTo>
                  <a:pt x="2887449" y="1747439"/>
                </a:lnTo>
                <a:lnTo>
                  <a:pt x="2889636" y="1738680"/>
                </a:lnTo>
                <a:lnTo>
                  <a:pt x="2889636" y="1725541"/>
                </a:lnTo>
                <a:lnTo>
                  <a:pt x="2891825" y="1708023"/>
                </a:lnTo>
                <a:lnTo>
                  <a:pt x="2896204" y="1690505"/>
                </a:lnTo>
                <a:lnTo>
                  <a:pt x="2896204" y="1668608"/>
                </a:lnTo>
                <a:lnTo>
                  <a:pt x="2896204" y="1648900"/>
                </a:lnTo>
                <a:lnTo>
                  <a:pt x="2891825" y="1627001"/>
                </a:lnTo>
                <a:lnTo>
                  <a:pt x="2889636" y="1609484"/>
                </a:lnTo>
                <a:lnTo>
                  <a:pt x="2885258" y="1591965"/>
                </a:lnTo>
                <a:lnTo>
                  <a:pt x="2876503" y="1581016"/>
                </a:lnTo>
                <a:lnTo>
                  <a:pt x="2867746" y="1570068"/>
                </a:lnTo>
                <a:lnTo>
                  <a:pt x="2902770" y="1554738"/>
                </a:lnTo>
                <a:lnTo>
                  <a:pt x="2911528" y="1486856"/>
                </a:lnTo>
                <a:lnTo>
                  <a:pt x="2904959" y="1462768"/>
                </a:lnTo>
                <a:lnTo>
                  <a:pt x="2911528" y="1405834"/>
                </a:lnTo>
                <a:lnTo>
                  <a:pt x="2948740" y="1351090"/>
                </a:lnTo>
                <a:lnTo>
                  <a:pt x="3005652" y="1381746"/>
                </a:lnTo>
                <a:lnTo>
                  <a:pt x="3082267" y="1381746"/>
                </a:lnTo>
                <a:lnTo>
                  <a:pt x="3110724" y="1410213"/>
                </a:lnTo>
                <a:lnTo>
                  <a:pt x="3145751" y="1445250"/>
                </a:lnTo>
                <a:lnTo>
                  <a:pt x="3191727" y="1462768"/>
                </a:lnTo>
                <a:lnTo>
                  <a:pt x="3172022" y="1489045"/>
                </a:lnTo>
                <a:lnTo>
                  <a:pt x="3174211" y="1587585"/>
                </a:lnTo>
                <a:lnTo>
                  <a:pt x="3228941" y="1602913"/>
                </a:lnTo>
                <a:lnTo>
                  <a:pt x="3283669" y="1583205"/>
                </a:lnTo>
                <a:lnTo>
                  <a:pt x="3303370" y="1552549"/>
                </a:lnTo>
                <a:lnTo>
                  <a:pt x="3334018" y="1502184"/>
                </a:lnTo>
                <a:lnTo>
                  <a:pt x="3351530" y="1528461"/>
                </a:lnTo>
                <a:lnTo>
                  <a:pt x="3362477" y="1576637"/>
                </a:lnTo>
                <a:lnTo>
                  <a:pt x="3390935" y="1576637"/>
                </a:lnTo>
                <a:lnTo>
                  <a:pt x="3397502" y="1640140"/>
                </a:lnTo>
                <a:lnTo>
                  <a:pt x="3417206" y="1635761"/>
                </a:lnTo>
                <a:lnTo>
                  <a:pt x="3417206" y="1664228"/>
                </a:lnTo>
                <a:lnTo>
                  <a:pt x="3397502" y="1675176"/>
                </a:lnTo>
                <a:lnTo>
                  <a:pt x="3401882" y="1701453"/>
                </a:lnTo>
                <a:lnTo>
                  <a:pt x="3425961" y="1705833"/>
                </a:lnTo>
                <a:lnTo>
                  <a:pt x="3436907" y="1764957"/>
                </a:lnTo>
                <a:lnTo>
                  <a:pt x="3485069" y="1758388"/>
                </a:lnTo>
                <a:lnTo>
                  <a:pt x="3480690" y="1784665"/>
                </a:lnTo>
                <a:lnTo>
                  <a:pt x="3515716" y="1775905"/>
                </a:lnTo>
                <a:lnTo>
                  <a:pt x="3491635" y="1810942"/>
                </a:lnTo>
                <a:lnTo>
                  <a:pt x="3480690" y="1835029"/>
                </a:lnTo>
                <a:lnTo>
                  <a:pt x="3432530" y="1848168"/>
                </a:lnTo>
                <a:lnTo>
                  <a:pt x="3452229" y="1856928"/>
                </a:lnTo>
                <a:lnTo>
                  <a:pt x="3491635" y="1848168"/>
                </a:lnTo>
                <a:lnTo>
                  <a:pt x="3526660" y="1828460"/>
                </a:lnTo>
                <a:lnTo>
                  <a:pt x="3557310" y="1830649"/>
                </a:lnTo>
                <a:lnTo>
                  <a:pt x="3563876" y="1863497"/>
                </a:lnTo>
                <a:lnTo>
                  <a:pt x="3563876" y="1905103"/>
                </a:lnTo>
                <a:lnTo>
                  <a:pt x="3568254" y="1929191"/>
                </a:lnTo>
                <a:lnTo>
                  <a:pt x="3563876" y="1948899"/>
                </a:lnTo>
                <a:lnTo>
                  <a:pt x="3522283" y="1959847"/>
                </a:lnTo>
                <a:lnTo>
                  <a:pt x="3485069" y="1955467"/>
                </a:lnTo>
                <a:lnTo>
                  <a:pt x="3436907" y="1999263"/>
                </a:lnTo>
                <a:lnTo>
                  <a:pt x="3353721" y="2010212"/>
                </a:lnTo>
                <a:lnTo>
                  <a:pt x="3266155" y="2010212"/>
                </a:lnTo>
                <a:lnTo>
                  <a:pt x="3224562" y="2003643"/>
                </a:lnTo>
                <a:lnTo>
                  <a:pt x="3191727" y="2032109"/>
                </a:lnTo>
                <a:lnTo>
                  <a:pt x="3147941" y="2054007"/>
                </a:lnTo>
                <a:lnTo>
                  <a:pt x="3104157" y="2108751"/>
                </a:lnTo>
                <a:lnTo>
                  <a:pt x="3178589" y="2075904"/>
                </a:lnTo>
                <a:lnTo>
                  <a:pt x="3220186" y="2054007"/>
                </a:lnTo>
                <a:lnTo>
                  <a:pt x="3263967" y="2080284"/>
                </a:lnTo>
                <a:lnTo>
                  <a:pt x="3235510" y="2124080"/>
                </a:lnTo>
                <a:lnTo>
                  <a:pt x="3274911" y="2167875"/>
                </a:lnTo>
                <a:lnTo>
                  <a:pt x="3373422" y="2216051"/>
                </a:lnTo>
                <a:lnTo>
                  <a:pt x="3285857" y="2262035"/>
                </a:lnTo>
                <a:lnTo>
                  <a:pt x="3200483" y="2321159"/>
                </a:lnTo>
                <a:lnTo>
                  <a:pt x="3180780" y="2299262"/>
                </a:lnTo>
                <a:lnTo>
                  <a:pt x="3285857" y="2200722"/>
                </a:lnTo>
                <a:lnTo>
                  <a:pt x="3279291" y="2187583"/>
                </a:lnTo>
                <a:lnTo>
                  <a:pt x="3246453" y="2187583"/>
                </a:lnTo>
                <a:lnTo>
                  <a:pt x="3161076" y="2262035"/>
                </a:lnTo>
                <a:lnTo>
                  <a:pt x="3134806" y="2251087"/>
                </a:lnTo>
                <a:lnTo>
                  <a:pt x="3158887" y="2264226"/>
                </a:lnTo>
                <a:lnTo>
                  <a:pt x="3139185" y="2288314"/>
                </a:lnTo>
                <a:lnTo>
                  <a:pt x="3106346" y="2290503"/>
                </a:lnTo>
                <a:lnTo>
                  <a:pt x="3093211" y="2316781"/>
                </a:lnTo>
                <a:lnTo>
                  <a:pt x="3064754" y="2310210"/>
                </a:lnTo>
                <a:lnTo>
                  <a:pt x="3060377" y="2329918"/>
                </a:lnTo>
                <a:lnTo>
                  <a:pt x="3029730" y="2329918"/>
                </a:lnTo>
                <a:lnTo>
                  <a:pt x="3018786" y="2360575"/>
                </a:lnTo>
                <a:lnTo>
                  <a:pt x="3014409" y="2386853"/>
                </a:lnTo>
                <a:lnTo>
                  <a:pt x="3038487" y="2410941"/>
                </a:lnTo>
                <a:lnTo>
                  <a:pt x="3007842" y="2430649"/>
                </a:lnTo>
                <a:lnTo>
                  <a:pt x="2944362" y="2437218"/>
                </a:lnTo>
                <a:lnTo>
                  <a:pt x="2929038" y="2465685"/>
                </a:lnTo>
                <a:lnTo>
                  <a:pt x="2920281" y="2483202"/>
                </a:lnTo>
                <a:lnTo>
                  <a:pt x="2880883" y="2487582"/>
                </a:lnTo>
                <a:lnTo>
                  <a:pt x="2863369" y="2511670"/>
                </a:lnTo>
                <a:lnTo>
                  <a:pt x="2854613" y="2572984"/>
                </a:lnTo>
                <a:lnTo>
                  <a:pt x="2828345" y="2583933"/>
                </a:lnTo>
                <a:lnTo>
                  <a:pt x="2813019" y="2601450"/>
                </a:lnTo>
                <a:lnTo>
                  <a:pt x="2797692" y="2623349"/>
                </a:lnTo>
                <a:lnTo>
                  <a:pt x="2817397" y="2634297"/>
                </a:lnTo>
                <a:lnTo>
                  <a:pt x="2813019" y="2708750"/>
                </a:lnTo>
                <a:lnTo>
                  <a:pt x="2788936" y="2721888"/>
                </a:lnTo>
                <a:lnTo>
                  <a:pt x="2782371" y="2748165"/>
                </a:lnTo>
                <a:lnTo>
                  <a:pt x="2742964" y="2745976"/>
                </a:lnTo>
                <a:lnTo>
                  <a:pt x="2725449" y="2770064"/>
                </a:lnTo>
                <a:lnTo>
                  <a:pt x="2686043" y="2783201"/>
                </a:lnTo>
                <a:lnTo>
                  <a:pt x="2677287" y="2816049"/>
                </a:lnTo>
                <a:lnTo>
                  <a:pt x="2646641" y="2822617"/>
                </a:lnTo>
                <a:lnTo>
                  <a:pt x="2618181" y="2848896"/>
                </a:lnTo>
                <a:lnTo>
                  <a:pt x="2607234" y="2883932"/>
                </a:lnTo>
                <a:lnTo>
                  <a:pt x="2607234" y="2936487"/>
                </a:lnTo>
                <a:lnTo>
                  <a:pt x="2605046" y="2984661"/>
                </a:lnTo>
                <a:lnTo>
                  <a:pt x="2620370" y="2991231"/>
                </a:lnTo>
                <a:lnTo>
                  <a:pt x="2622559" y="3050355"/>
                </a:lnTo>
                <a:lnTo>
                  <a:pt x="2633506" y="3067872"/>
                </a:lnTo>
                <a:lnTo>
                  <a:pt x="2646641" y="3153274"/>
                </a:lnTo>
                <a:lnTo>
                  <a:pt x="2633506" y="3188310"/>
                </a:lnTo>
                <a:lnTo>
                  <a:pt x="2613801" y="3166412"/>
                </a:lnTo>
                <a:lnTo>
                  <a:pt x="2578775" y="3142324"/>
                </a:lnTo>
                <a:lnTo>
                  <a:pt x="2559073" y="3094150"/>
                </a:lnTo>
                <a:lnTo>
                  <a:pt x="2543752" y="3043785"/>
                </a:lnTo>
                <a:lnTo>
                  <a:pt x="2552508" y="2989041"/>
                </a:lnTo>
                <a:lnTo>
                  <a:pt x="2524049" y="2962764"/>
                </a:lnTo>
                <a:lnTo>
                  <a:pt x="2486832" y="2932107"/>
                </a:lnTo>
                <a:lnTo>
                  <a:pt x="2445239" y="2943056"/>
                </a:lnTo>
                <a:lnTo>
                  <a:pt x="2414591" y="2925537"/>
                </a:lnTo>
                <a:lnTo>
                  <a:pt x="2333591" y="2927728"/>
                </a:lnTo>
                <a:lnTo>
                  <a:pt x="2305136" y="2947435"/>
                </a:lnTo>
                <a:lnTo>
                  <a:pt x="2322647" y="2984661"/>
                </a:lnTo>
                <a:lnTo>
                  <a:pt x="2285434" y="2989041"/>
                </a:lnTo>
                <a:lnTo>
                  <a:pt x="2246036" y="2980282"/>
                </a:lnTo>
                <a:lnTo>
                  <a:pt x="2239469" y="2927728"/>
                </a:lnTo>
                <a:lnTo>
                  <a:pt x="2213199" y="2936487"/>
                </a:lnTo>
                <a:lnTo>
                  <a:pt x="2202254" y="2975903"/>
                </a:lnTo>
                <a:lnTo>
                  <a:pt x="2182553" y="2969332"/>
                </a:lnTo>
                <a:lnTo>
                  <a:pt x="2160661" y="2936487"/>
                </a:lnTo>
                <a:lnTo>
                  <a:pt x="2134392" y="2951815"/>
                </a:lnTo>
                <a:lnTo>
                  <a:pt x="2114691" y="2975903"/>
                </a:lnTo>
                <a:lnTo>
                  <a:pt x="2092798" y="3008748"/>
                </a:lnTo>
                <a:lnTo>
                  <a:pt x="2073097" y="3032836"/>
                </a:lnTo>
                <a:lnTo>
                  <a:pt x="2031505" y="3050355"/>
                </a:lnTo>
                <a:lnTo>
                  <a:pt x="2018367" y="3109479"/>
                </a:lnTo>
                <a:lnTo>
                  <a:pt x="1969576" y="3109479"/>
                </a:lnTo>
                <a:lnTo>
                  <a:pt x="1969624" y="3109723"/>
                </a:lnTo>
                <a:lnTo>
                  <a:pt x="2018717" y="3109723"/>
                </a:lnTo>
                <a:lnTo>
                  <a:pt x="2008899" y="3158713"/>
                </a:lnTo>
                <a:lnTo>
                  <a:pt x="1991717" y="3210151"/>
                </a:lnTo>
                <a:lnTo>
                  <a:pt x="2011354" y="3278735"/>
                </a:lnTo>
                <a:lnTo>
                  <a:pt x="2028539" y="3379164"/>
                </a:lnTo>
                <a:lnTo>
                  <a:pt x="2087453" y="3420804"/>
                </a:lnTo>
                <a:lnTo>
                  <a:pt x="2166008" y="3418354"/>
                </a:lnTo>
                <a:lnTo>
                  <a:pt x="2220012" y="3401208"/>
                </a:lnTo>
                <a:lnTo>
                  <a:pt x="2256834" y="3327725"/>
                </a:lnTo>
                <a:lnTo>
                  <a:pt x="2288740" y="3300780"/>
                </a:lnTo>
                <a:lnTo>
                  <a:pt x="2369746" y="3308129"/>
                </a:lnTo>
                <a:lnTo>
                  <a:pt x="2377109" y="3342421"/>
                </a:lnTo>
                <a:lnTo>
                  <a:pt x="2362381" y="3352219"/>
                </a:lnTo>
                <a:lnTo>
                  <a:pt x="2364835" y="3398758"/>
                </a:lnTo>
                <a:lnTo>
                  <a:pt x="2340287" y="3430602"/>
                </a:lnTo>
                <a:lnTo>
                  <a:pt x="2296102" y="3455096"/>
                </a:lnTo>
                <a:lnTo>
                  <a:pt x="2276465" y="3462444"/>
                </a:lnTo>
                <a:lnTo>
                  <a:pt x="2274501" y="3463247"/>
                </a:lnTo>
                <a:lnTo>
                  <a:pt x="2269936" y="3509198"/>
                </a:lnTo>
                <a:lnTo>
                  <a:pt x="2269936" y="3543747"/>
                </a:lnTo>
                <a:lnTo>
                  <a:pt x="2284950" y="3545636"/>
                </a:lnTo>
                <a:lnTo>
                  <a:pt x="2272301" y="3542369"/>
                </a:lnTo>
                <a:lnTo>
                  <a:pt x="2272301" y="3510937"/>
                </a:lnTo>
                <a:lnTo>
                  <a:pt x="2276979" y="3464996"/>
                </a:lnTo>
                <a:lnTo>
                  <a:pt x="2295699" y="3457742"/>
                </a:lnTo>
                <a:lnTo>
                  <a:pt x="2337818" y="3433564"/>
                </a:lnTo>
                <a:lnTo>
                  <a:pt x="2330799" y="3479503"/>
                </a:lnTo>
                <a:lnTo>
                  <a:pt x="2337818" y="3527861"/>
                </a:lnTo>
                <a:lnTo>
                  <a:pt x="2314418" y="3544787"/>
                </a:lnTo>
                <a:lnTo>
                  <a:pt x="2291019" y="3547204"/>
                </a:lnTo>
                <a:lnTo>
                  <a:pt x="2289460" y="3546801"/>
                </a:lnTo>
                <a:lnTo>
                  <a:pt x="2285791" y="3570805"/>
                </a:lnTo>
                <a:lnTo>
                  <a:pt x="2289454" y="3549221"/>
                </a:lnTo>
                <a:lnTo>
                  <a:pt x="2311568" y="3546806"/>
                </a:lnTo>
                <a:lnTo>
                  <a:pt x="2338596" y="3529914"/>
                </a:lnTo>
                <a:lnTo>
                  <a:pt x="2350879" y="3549221"/>
                </a:lnTo>
                <a:lnTo>
                  <a:pt x="2375456" y="3532327"/>
                </a:lnTo>
                <a:lnTo>
                  <a:pt x="2431968" y="3532327"/>
                </a:lnTo>
                <a:lnTo>
                  <a:pt x="2454083" y="3554046"/>
                </a:lnTo>
                <a:lnTo>
                  <a:pt x="2490942" y="3563700"/>
                </a:lnTo>
                <a:lnTo>
                  <a:pt x="2468825" y="3590245"/>
                </a:lnTo>
                <a:lnTo>
                  <a:pt x="2414770" y="3590245"/>
                </a:lnTo>
                <a:lnTo>
                  <a:pt x="2402524" y="3626323"/>
                </a:lnTo>
                <a:lnTo>
                  <a:pt x="2403644" y="3626264"/>
                </a:lnTo>
                <a:lnTo>
                  <a:pt x="2415917" y="3591227"/>
                </a:lnTo>
                <a:lnTo>
                  <a:pt x="2469915" y="3591227"/>
                </a:lnTo>
                <a:lnTo>
                  <a:pt x="2482188" y="3608745"/>
                </a:lnTo>
                <a:lnTo>
                  <a:pt x="2469915" y="3636274"/>
                </a:lnTo>
                <a:lnTo>
                  <a:pt x="2460229" y="3744909"/>
                </a:lnTo>
                <a:lnTo>
                  <a:pt x="2460652" y="3744935"/>
                </a:lnTo>
                <a:lnTo>
                  <a:pt x="2495053" y="3764149"/>
                </a:lnTo>
                <a:lnTo>
                  <a:pt x="2497508" y="3795370"/>
                </a:lnTo>
                <a:lnTo>
                  <a:pt x="2465565" y="3812182"/>
                </a:lnTo>
                <a:lnTo>
                  <a:pt x="2396763" y="3795370"/>
                </a:lnTo>
                <a:lnTo>
                  <a:pt x="2379566" y="3768951"/>
                </a:lnTo>
                <a:lnTo>
                  <a:pt x="2382020" y="3740132"/>
                </a:lnTo>
                <a:lnTo>
                  <a:pt x="2382941" y="3740188"/>
                </a:lnTo>
                <a:lnTo>
                  <a:pt x="2359462" y="3713855"/>
                </a:lnTo>
                <a:lnTo>
                  <a:pt x="2342281" y="3668808"/>
                </a:lnTo>
                <a:lnTo>
                  <a:pt x="2322647" y="3648788"/>
                </a:lnTo>
                <a:lnTo>
                  <a:pt x="2357006" y="3628766"/>
                </a:lnTo>
                <a:lnTo>
                  <a:pt x="2400295" y="3626443"/>
                </a:lnTo>
                <a:lnTo>
                  <a:pt x="2355794" y="3626443"/>
                </a:lnTo>
                <a:lnTo>
                  <a:pt x="2323852" y="3645749"/>
                </a:lnTo>
                <a:lnTo>
                  <a:pt x="2318939" y="3599898"/>
                </a:lnTo>
                <a:lnTo>
                  <a:pt x="2279626" y="3599898"/>
                </a:lnTo>
                <a:lnTo>
                  <a:pt x="2253006" y="3611785"/>
                </a:lnTo>
                <a:lnTo>
                  <a:pt x="2252781" y="3612847"/>
                </a:lnTo>
                <a:lnTo>
                  <a:pt x="2203744" y="3610379"/>
                </a:lnTo>
                <a:lnTo>
                  <a:pt x="2169418" y="3580766"/>
                </a:lnTo>
                <a:lnTo>
                  <a:pt x="2170035" y="3578901"/>
                </a:lnTo>
                <a:lnTo>
                  <a:pt x="2143912" y="3545727"/>
                </a:lnTo>
                <a:lnTo>
                  <a:pt x="2102181" y="3531030"/>
                </a:lnTo>
                <a:lnTo>
                  <a:pt x="2075180" y="3518782"/>
                </a:lnTo>
                <a:lnTo>
                  <a:pt x="2043268" y="3540828"/>
                </a:lnTo>
                <a:lnTo>
                  <a:pt x="1945077" y="3508984"/>
                </a:lnTo>
                <a:lnTo>
                  <a:pt x="1751147" y="3381613"/>
                </a:lnTo>
                <a:lnTo>
                  <a:pt x="1716780" y="3362017"/>
                </a:lnTo>
                <a:lnTo>
                  <a:pt x="1729056" y="3325276"/>
                </a:lnTo>
                <a:lnTo>
                  <a:pt x="1714325" y="3283634"/>
                </a:lnTo>
                <a:lnTo>
                  <a:pt x="1711871" y="3239544"/>
                </a:lnTo>
                <a:lnTo>
                  <a:pt x="1684868" y="3237094"/>
                </a:lnTo>
                <a:lnTo>
                  <a:pt x="1684868" y="3205252"/>
                </a:lnTo>
                <a:lnTo>
                  <a:pt x="1640681" y="3185656"/>
                </a:lnTo>
                <a:lnTo>
                  <a:pt x="1638226" y="3141566"/>
                </a:lnTo>
                <a:lnTo>
                  <a:pt x="1603860" y="3129318"/>
                </a:lnTo>
                <a:lnTo>
                  <a:pt x="1606314" y="3092577"/>
                </a:lnTo>
                <a:lnTo>
                  <a:pt x="1586677" y="3077880"/>
                </a:lnTo>
                <a:lnTo>
                  <a:pt x="1559674" y="3033790"/>
                </a:lnTo>
                <a:lnTo>
                  <a:pt x="1530216" y="3004395"/>
                </a:lnTo>
                <a:lnTo>
                  <a:pt x="1525307" y="2938261"/>
                </a:lnTo>
                <a:lnTo>
                  <a:pt x="1495848" y="2916216"/>
                </a:lnTo>
                <a:lnTo>
                  <a:pt x="1468846" y="2886823"/>
                </a:lnTo>
                <a:lnTo>
                  <a:pt x="1444297" y="2872126"/>
                </a:lnTo>
                <a:lnTo>
                  <a:pt x="1444297" y="2928463"/>
                </a:lnTo>
                <a:lnTo>
                  <a:pt x="1466393" y="2972553"/>
                </a:lnTo>
                <a:lnTo>
                  <a:pt x="1493394" y="3021542"/>
                </a:lnTo>
                <a:lnTo>
                  <a:pt x="1537580" y="3075430"/>
                </a:lnTo>
                <a:lnTo>
                  <a:pt x="1559674" y="3134217"/>
                </a:lnTo>
                <a:lnTo>
                  <a:pt x="1591586" y="3195454"/>
                </a:lnTo>
                <a:lnTo>
                  <a:pt x="1608770" y="3251791"/>
                </a:lnTo>
                <a:lnTo>
                  <a:pt x="1581768" y="3251791"/>
                </a:lnTo>
                <a:lnTo>
                  <a:pt x="1513034" y="3175858"/>
                </a:lnTo>
                <a:lnTo>
                  <a:pt x="1508124" y="3119520"/>
                </a:lnTo>
                <a:lnTo>
                  <a:pt x="1468846" y="3087678"/>
                </a:lnTo>
                <a:lnTo>
                  <a:pt x="1409932" y="3043588"/>
                </a:lnTo>
                <a:lnTo>
                  <a:pt x="1429571" y="3031340"/>
                </a:lnTo>
                <a:lnTo>
                  <a:pt x="1439389" y="2997049"/>
                </a:lnTo>
                <a:lnTo>
                  <a:pt x="1407477" y="2948058"/>
                </a:lnTo>
                <a:lnTo>
                  <a:pt x="1375565" y="2908867"/>
                </a:lnTo>
                <a:lnTo>
                  <a:pt x="1368201" y="2818238"/>
                </a:lnTo>
                <a:lnTo>
                  <a:pt x="1440581" y="2822897"/>
                </a:lnTo>
                <a:lnTo>
                  <a:pt x="1440441" y="2822617"/>
                </a:lnTo>
                <a:lnTo>
                  <a:pt x="1363824" y="2816049"/>
                </a:lnTo>
                <a:lnTo>
                  <a:pt x="1366012" y="2789772"/>
                </a:lnTo>
                <a:lnTo>
                  <a:pt x="1320041" y="2772253"/>
                </a:lnTo>
                <a:lnTo>
                  <a:pt x="1291582" y="2748165"/>
                </a:lnTo>
                <a:lnTo>
                  <a:pt x="1258747" y="2732837"/>
                </a:lnTo>
                <a:lnTo>
                  <a:pt x="1263124" y="2682472"/>
                </a:lnTo>
                <a:lnTo>
                  <a:pt x="1221531" y="2673713"/>
                </a:lnTo>
                <a:lnTo>
                  <a:pt x="1223719" y="2647437"/>
                </a:lnTo>
                <a:lnTo>
                  <a:pt x="1236855" y="2614589"/>
                </a:lnTo>
                <a:lnTo>
                  <a:pt x="1212775" y="2586122"/>
                </a:lnTo>
                <a:lnTo>
                  <a:pt x="1184316" y="2557656"/>
                </a:lnTo>
                <a:lnTo>
                  <a:pt x="1177747" y="2450357"/>
                </a:lnTo>
                <a:lnTo>
                  <a:pt x="1197451" y="2432838"/>
                </a:lnTo>
                <a:lnTo>
                  <a:pt x="1184316" y="2417510"/>
                </a:lnTo>
                <a:lnTo>
                  <a:pt x="1179937" y="2399991"/>
                </a:lnTo>
                <a:lnTo>
                  <a:pt x="1190883" y="2382473"/>
                </a:lnTo>
                <a:lnTo>
                  <a:pt x="1195261" y="2343058"/>
                </a:lnTo>
                <a:lnTo>
                  <a:pt x="1212775" y="2329918"/>
                </a:lnTo>
                <a:lnTo>
                  <a:pt x="1212775" y="2268605"/>
                </a:lnTo>
                <a:lnTo>
                  <a:pt x="1232476" y="2251087"/>
                </a:lnTo>
                <a:lnTo>
                  <a:pt x="1249989" y="2183204"/>
                </a:lnTo>
                <a:lnTo>
                  <a:pt x="1265313" y="2176635"/>
                </a:lnTo>
                <a:lnTo>
                  <a:pt x="1239044" y="2143788"/>
                </a:lnTo>
                <a:lnTo>
                  <a:pt x="1239044" y="2117511"/>
                </a:lnTo>
                <a:lnTo>
                  <a:pt x="1274069" y="2108751"/>
                </a:lnTo>
                <a:lnTo>
                  <a:pt x="1293772" y="2135030"/>
                </a:lnTo>
                <a:lnTo>
                  <a:pt x="1309094" y="2156927"/>
                </a:lnTo>
                <a:lnTo>
                  <a:pt x="1315661" y="2084664"/>
                </a:lnTo>
                <a:lnTo>
                  <a:pt x="2248226" y="2082475"/>
                </a:lnTo>
                <a:lnTo>
                  <a:pt x="2246036" y="2104368"/>
                </a:lnTo>
                <a:lnTo>
                  <a:pt x="2252604" y="2080284"/>
                </a:lnTo>
                <a:lnTo>
                  <a:pt x="1315661" y="2084664"/>
                </a:lnTo>
                <a:lnTo>
                  <a:pt x="1271880" y="2025540"/>
                </a:lnTo>
                <a:lnTo>
                  <a:pt x="1225908" y="1992693"/>
                </a:lnTo>
                <a:lnTo>
                  <a:pt x="1188693" y="1951088"/>
                </a:lnTo>
                <a:lnTo>
                  <a:pt x="1186504" y="1898533"/>
                </a:lnTo>
                <a:lnTo>
                  <a:pt x="1182127" y="1854737"/>
                </a:lnTo>
                <a:lnTo>
                  <a:pt x="1149289" y="1856928"/>
                </a:lnTo>
                <a:lnTo>
                  <a:pt x="1144910" y="1826271"/>
                </a:lnTo>
                <a:lnTo>
                  <a:pt x="1125209" y="1815321"/>
                </a:lnTo>
                <a:lnTo>
                  <a:pt x="1129587" y="1764957"/>
                </a:lnTo>
                <a:lnTo>
                  <a:pt x="1144910" y="1736489"/>
                </a:lnTo>
                <a:lnTo>
                  <a:pt x="1168990" y="1712402"/>
                </a:lnTo>
                <a:lnTo>
                  <a:pt x="1123499" y="1701568"/>
                </a:lnTo>
                <a:lnTo>
                  <a:pt x="1166535" y="1712906"/>
                </a:lnTo>
                <a:lnTo>
                  <a:pt x="1141976" y="1737493"/>
                </a:lnTo>
                <a:lnTo>
                  <a:pt x="1114962" y="1737493"/>
                </a:lnTo>
                <a:lnTo>
                  <a:pt x="1087948" y="1722740"/>
                </a:lnTo>
                <a:lnTo>
                  <a:pt x="1087948" y="1693237"/>
                </a:lnTo>
                <a:lnTo>
                  <a:pt x="1065846" y="1690779"/>
                </a:lnTo>
                <a:lnTo>
                  <a:pt x="1051111" y="1673569"/>
                </a:lnTo>
                <a:lnTo>
                  <a:pt x="1051111" y="1641608"/>
                </a:lnTo>
                <a:lnTo>
                  <a:pt x="1053566" y="1624397"/>
                </a:lnTo>
                <a:lnTo>
                  <a:pt x="1038830" y="1621938"/>
                </a:lnTo>
                <a:lnTo>
                  <a:pt x="1024095" y="1634231"/>
                </a:lnTo>
                <a:lnTo>
                  <a:pt x="1004448" y="1621938"/>
                </a:lnTo>
                <a:lnTo>
                  <a:pt x="989710" y="1597352"/>
                </a:lnTo>
                <a:lnTo>
                  <a:pt x="974979" y="1621938"/>
                </a:lnTo>
                <a:lnTo>
                  <a:pt x="945508" y="1607187"/>
                </a:lnTo>
                <a:lnTo>
                  <a:pt x="938141" y="1580142"/>
                </a:lnTo>
                <a:lnTo>
                  <a:pt x="908672" y="1582601"/>
                </a:lnTo>
                <a:lnTo>
                  <a:pt x="903759" y="1555556"/>
                </a:lnTo>
                <a:lnTo>
                  <a:pt x="866921" y="1545722"/>
                </a:lnTo>
                <a:lnTo>
                  <a:pt x="862009" y="1526053"/>
                </a:lnTo>
                <a:lnTo>
                  <a:pt x="852187" y="1516219"/>
                </a:lnTo>
                <a:lnTo>
                  <a:pt x="744124" y="1508842"/>
                </a:lnTo>
                <a:lnTo>
                  <a:pt x="744124" y="1479339"/>
                </a:lnTo>
                <a:lnTo>
                  <a:pt x="712198" y="1474423"/>
                </a:lnTo>
                <a:lnTo>
                  <a:pt x="699918" y="1452295"/>
                </a:lnTo>
                <a:lnTo>
                  <a:pt x="655713" y="1467046"/>
                </a:lnTo>
                <a:lnTo>
                  <a:pt x="648345" y="1506384"/>
                </a:lnTo>
                <a:lnTo>
                  <a:pt x="616419" y="1523595"/>
                </a:lnTo>
                <a:lnTo>
                  <a:pt x="616419" y="1526053"/>
                </a:lnTo>
                <a:lnTo>
                  <a:pt x="616419" y="1528512"/>
                </a:lnTo>
                <a:lnTo>
                  <a:pt x="611507" y="1533428"/>
                </a:lnTo>
                <a:lnTo>
                  <a:pt x="604140" y="1540805"/>
                </a:lnTo>
                <a:lnTo>
                  <a:pt x="599229" y="1550638"/>
                </a:lnTo>
                <a:lnTo>
                  <a:pt x="589405" y="1558015"/>
                </a:lnTo>
                <a:lnTo>
                  <a:pt x="579581" y="1567849"/>
                </a:lnTo>
                <a:lnTo>
                  <a:pt x="572213" y="1575224"/>
                </a:lnTo>
                <a:lnTo>
                  <a:pt x="562391" y="1582601"/>
                </a:lnTo>
                <a:lnTo>
                  <a:pt x="552567" y="1585059"/>
                </a:lnTo>
                <a:lnTo>
                  <a:pt x="542744" y="1587519"/>
                </a:lnTo>
                <a:lnTo>
                  <a:pt x="532920" y="1587519"/>
                </a:lnTo>
                <a:lnTo>
                  <a:pt x="505906" y="1567849"/>
                </a:lnTo>
                <a:lnTo>
                  <a:pt x="530465" y="1550638"/>
                </a:lnTo>
                <a:lnTo>
                  <a:pt x="513273" y="1526053"/>
                </a:lnTo>
                <a:lnTo>
                  <a:pt x="606596" y="1459671"/>
                </a:lnTo>
                <a:lnTo>
                  <a:pt x="547656" y="1444920"/>
                </a:lnTo>
                <a:lnTo>
                  <a:pt x="481347" y="1526053"/>
                </a:lnTo>
                <a:lnTo>
                  <a:pt x="427318" y="1577684"/>
                </a:lnTo>
                <a:lnTo>
                  <a:pt x="434686" y="1609645"/>
                </a:lnTo>
                <a:lnTo>
                  <a:pt x="385570" y="1641608"/>
                </a:lnTo>
                <a:lnTo>
                  <a:pt x="358554" y="1661276"/>
                </a:lnTo>
                <a:lnTo>
                  <a:pt x="338909" y="1678486"/>
                </a:lnTo>
                <a:lnTo>
                  <a:pt x="166998" y="1794040"/>
                </a:lnTo>
                <a:lnTo>
                  <a:pt x="2456" y="1826001"/>
                </a:lnTo>
                <a:lnTo>
                  <a:pt x="0" y="1806333"/>
                </a:lnTo>
                <a:lnTo>
                  <a:pt x="49118" y="1784205"/>
                </a:lnTo>
                <a:lnTo>
                  <a:pt x="149807" y="1737493"/>
                </a:lnTo>
                <a:lnTo>
                  <a:pt x="292248" y="1644066"/>
                </a:lnTo>
                <a:lnTo>
                  <a:pt x="282424" y="1587519"/>
                </a:lnTo>
                <a:lnTo>
                  <a:pt x="240673" y="1602269"/>
                </a:lnTo>
                <a:lnTo>
                  <a:pt x="223482" y="1587519"/>
                </a:lnTo>
                <a:lnTo>
                  <a:pt x="166998" y="1607187"/>
                </a:lnTo>
                <a:lnTo>
                  <a:pt x="162086" y="1567849"/>
                </a:lnTo>
                <a:lnTo>
                  <a:pt x="181733" y="1538346"/>
                </a:lnTo>
                <a:lnTo>
                  <a:pt x="181733" y="1489174"/>
                </a:lnTo>
                <a:lnTo>
                  <a:pt x="162086" y="1518677"/>
                </a:lnTo>
                <a:lnTo>
                  <a:pt x="125248" y="1526053"/>
                </a:lnTo>
                <a:lnTo>
                  <a:pt x="93323" y="1489174"/>
                </a:lnTo>
                <a:lnTo>
                  <a:pt x="137529" y="1462130"/>
                </a:lnTo>
                <a:lnTo>
                  <a:pt x="105601" y="1452295"/>
                </a:lnTo>
                <a:lnTo>
                  <a:pt x="88411" y="1420334"/>
                </a:lnTo>
                <a:lnTo>
                  <a:pt x="137529" y="1395747"/>
                </a:lnTo>
                <a:lnTo>
                  <a:pt x="142440" y="1358868"/>
                </a:lnTo>
                <a:lnTo>
                  <a:pt x="194012" y="1334283"/>
                </a:lnTo>
                <a:lnTo>
                  <a:pt x="223482" y="1358868"/>
                </a:lnTo>
                <a:lnTo>
                  <a:pt x="235763" y="1321990"/>
                </a:lnTo>
                <a:lnTo>
                  <a:pt x="292248" y="1321990"/>
                </a:lnTo>
                <a:lnTo>
                  <a:pt x="297158" y="1277736"/>
                </a:lnTo>
                <a:lnTo>
                  <a:pt x="319262" y="1260525"/>
                </a:lnTo>
                <a:lnTo>
                  <a:pt x="302070" y="1243315"/>
                </a:lnTo>
                <a:lnTo>
                  <a:pt x="252953" y="1272818"/>
                </a:lnTo>
                <a:lnTo>
                  <a:pt x="181733" y="1272818"/>
                </a:lnTo>
                <a:lnTo>
                  <a:pt x="157174" y="1255608"/>
                </a:lnTo>
                <a:lnTo>
                  <a:pt x="162086" y="1218729"/>
                </a:lnTo>
                <a:lnTo>
                  <a:pt x="125248" y="1199061"/>
                </a:lnTo>
                <a:lnTo>
                  <a:pt x="142440" y="1174475"/>
                </a:lnTo>
                <a:lnTo>
                  <a:pt x="203836" y="1167098"/>
                </a:lnTo>
                <a:lnTo>
                  <a:pt x="203836" y="1149889"/>
                </a:lnTo>
                <a:lnTo>
                  <a:pt x="240673" y="1137596"/>
                </a:lnTo>
                <a:lnTo>
                  <a:pt x="265232" y="1167098"/>
                </a:lnTo>
                <a:lnTo>
                  <a:pt x="314350" y="1154807"/>
                </a:lnTo>
                <a:lnTo>
                  <a:pt x="388025" y="1142514"/>
                </a:lnTo>
                <a:lnTo>
                  <a:pt x="282424" y="1100718"/>
                </a:lnTo>
                <a:lnTo>
                  <a:pt x="216115" y="1051545"/>
                </a:lnTo>
                <a:lnTo>
                  <a:pt x="228394" y="1022042"/>
                </a:lnTo>
                <a:lnTo>
                  <a:pt x="351187" y="1002373"/>
                </a:lnTo>
                <a:lnTo>
                  <a:pt x="383113" y="933532"/>
                </a:lnTo>
                <a:lnTo>
                  <a:pt x="469068" y="928616"/>
                </a:lnTo>
                <a:lnTo>
                  <a:pt x="486259" y="891737"/>
                </a:lnTo>
                <a:lnTo>
                  <a:pt x="562391" y="891737"/>
                </a:lnTo>
                <a:lnTo>
                  <a:pt x="589405" y="867150"/>
                </a:lnTo>
                <a:lnTo>
                  <a:pt x="616419" y="869610"/>
                </a:lnTo>
                <a:lnTo>
                  <a:pt x="616419" y="904030"/>
                </a:lnTo>
                <a:lnTo>
                  <a:pt x="670449" y="911404"/>
                </a:lnTo>
                <a:lnTo>
                  <a:pt x="707286" y="876985"/>
                </a:lnTo>
                <a:lnTo>
                  <a:pt x="744124" y="928616"/>
                </a:lnTo>
                <a:lnTo>
                  <a:pt x="854642" y="918781"/>
                </a:lnTo>
                <a:lnTo>
                  <a:pt x="879200" y="943367"/>
                </a:lnTo>
                <a:lnTo>
                  <a:pt x="916039" y="940908"/>
                </a:lnTo>
                <a:lnTo>
                  <a:pt x="1001993" y="931074"/>
                </a:lnTo>
                <a:lnTo>
                  <a:pt x="1038830" y="965495"/>
                </a:lnTo>
                <a:lnTo>
                  <a:pt x="881656" y="1506384"/>
                </a:lnTo>
                <a:lnTo>
                  <a:pt x="884814" y="1505169"/>
                </a:lnTo>
                <a:lnTo>
                  <a:pt x="1042021" y="967880"/>
                </a:lnTo>
                <a:lnTo>
                  <a:pt x="1142721" y="985398"/>
                </a:lnTo>
                <a:lnTo>
                  <a:pt x="1232474" y="1029193"/>
                </a:lnTo>
                <a:lnTo>
                  <a:pt x="1271880" y="1031384"/>
                </a:lnTo>
                <a:lnTo>
                  <a:pt x="1274068" y="998537"/>
                </a:lnTo>
                <a:lnTo>
                  <a:pt x="1309094" y="970070"/>
                </a:lnTo>
                <a:lnTo>
                  <a:pt x="1394469" y="917516"/>
                </a:lnTo>
                <a:lnTo>
                  <a:pt x="1420739" y="930654"/>
                </a:lnTo>
                <a:lnTo>
                  <a:pt x="1357254" y="970070"/>
                </a:lnTo>
                <a:lnTo>
                  <a:pt x="1425116" y="967880"/>
                </a:lnTo>
                <a:lnTo>
                  <a:pt x="1447007" y="943793"/>
                </a:lnTo>
                <a:lnTo>
                  <a:pt x="1462333" y="917516"/>
                </a:lnTo>
                <a:lnTo>
                  <a:pt x="1484223" y="906566"/>
                </a:lnTo>
                <a:lnTo>
                  <a:pt x="1512682" y="959121"/>
                </a:lnTo>
                <a:lnTo>
                  <a:pt x="1554274" y="963501"/>
                </a:lnTo>
                <a:lnTo>
                  <a:pt x="1573976" y="943793"/>
                </a:lnTo>
                <a:lnTo>
                  <a:pt x="1595868" y="978828"/>
                </a:lnTo>
                <a:lnTo>
                  <a:pt x="1628705" y="956932"/>
                </a:lnTo>
                <a:lnTo>
                  <a:pt x="1757863" y="998537"/>
                </a:lnTo>
                <a:lnTo>
                  <a:pt x="1841049" y="1000726"/>
                </a:lnTo>
                <a:lnTo>
                  <a:pt x="1902344" y="1031384"/>
                </a:lnTo>
                <a:lnTo>
                  <a:pt x="1891399" y="1077369"/>
                </a:lnTo>
                <a:lnTo>
                  <a:pt x="1972396" y="1051092"/>
                </a:lnTo>
                <a:lnTo>
                  <a:pt x="2033692" y="1108027"/>
                </a:lnTo>
                <a:lnTo>
                  <a:pt x="2075286" y="1105836"/>
                </a:lnTo>
                <a:lnTo>
                  <a:pt x="2070906" y="1077369"/>
                </a:lnTo>
                <a:lnTo>
                  <a:pt x="2119068" y="1027004"/>
                </a:lnTo>
                <a:lnTo>
                  <a:pt x="2171606" y="1066419"/>
                </a:lnTo>
                <a:lnTo>
                  <a:pt x="2327026" y="1077369"/>
                </a:lnTo>
                <a:lnTo>
                  <a:pt x="2355482" y="1040143"/>
                </a:lnTo>
                <a:lnTo>
                  <a:pt x="2399265" y="1035762"/>
                </a:lnTo>
                <a:lnTo>
                  <a:pt x="2423344" y="1070799"/>
                </a:lnTo>
                <a:lnTo>
                  <a:pt x="2462752" y="1051092"/>
                </a:lnTo>
                <a:lnTo>
                  <a:pt x="2497775" y="1027004"/>
                </a:lnTo>
                <a:lnTo>
                  <a:pt x="2480264" y="956932"/>
                </a:lnTo>
                <a:lnTo>
                  <a:pt x="2434292" y="924085"/>
                </a:lnTo>
                <a:lnTo>
                  <a:pt x="2467129" y="904377"/>
                </a:lnTo>
                <a:lnTo>
                  <a:pt x="2486831" y="871531"/>
                </a:lnTo>
                <a:close/>
                <a:moveTo>
                  <a:pt x="5106475" y="843063"/>
                </a:moveTo>
                <a:lnTo>
                  <a:pt x="5142047" y="867981"/>
                </a:lnTo>
                <a:lnTo>
                  <a:pt x="5087503" y="912834"/>
                </a:lnTo>
                <a:close/>
                <a:moveTo>
                  <a:pt x="10940158" y="783939"/>
                </a:moveTo>
                <a:lnTo>
                  <a:pt x="10973795" y="803403"/>
                </a:lnTo>
                <a:lnTo>
                  <a:pt x="10964185" y="839900"/>
                </a:lnTo>
                <a:lnTo>
                  <a:pt x="10925741" y="842332"/>
                </a:lnTo>
                <a:lnTo>
                  <a:pt x="10877687" y="847199"/>
                </a:lnTo>
                <a:lnTo>
                  <a:pt x="10884896" y="815569"/>
                </a:lnTo>
                <a:lnTo>
                  <a:pt x="10913728" y="788805"/>
                </a:lnTo>
                <a:close/>
                <a:moveTo>
                  <a:pt x="2132460" y="733576"/>
                </a:moveTo>
                <a:lnTo>
                  <a:pt x="2206223" y="745829"/>
                </a:lnTo>
                <a:lnTo>
                  <a:pt x="2186552" y="787495"/>
                </a:lnTo>
                <a:lnTo>
                  <a:pt x="2225893" y="863474"/>
                </a:lnTo>
                <a:lnTo>
                  <a:pt x="2287354" y="900238"/>
                </a:lnTo>
                <a:lnTo>
                  <a:pt x="2230810" y="910042"/>
                </a:lnTo>
                <a:lnTo>
                  <a:pt x="2252938" y="973766"/>
                </a:lnTo>
                <a:lnTo>
                  <a:pt x="2161963" y="990922"/>
                </a:lnTo>
                <a:lnTo>
                  <a:pt x="2016901" y="998277"/>
                </a:lnTo>
                <a:lnTo>
                  <a:pt x="1930846" y="998277"/>
                </a:lnTo>
                <a:lnTo>
                  <a:pt x="1869379" y="966413"/>
                </a:lnTo>
                <a:lnTo>
                  <a:pt x="1800535" y="929649"/>
                </a:lnTo>
                <a:lnTo>
                  <a:pt x="1820205" y="910042"/>
                </a:lnTo>
                <a:lnTo>
                  <a:pt x="1918552" y="885532"/>
                </a:lnTo>
                <a:lnTo>
                  <a:pt x="1790699" y="863474"/>
                </a:lnTo>
                <a:lnTo>
                  <a:pt x="1795617" y="831612"/>
                </a:lnTo>
                <a:lnTo>
                  <a:pt x="1874297" y="824259"/>
                </a:lnTo>
                <a:lnTo>
                  <a:pt x="1874297" y="794849"/>
                </a:lnTo>
                <a:lnTo>
                  <a:pt x="1943141" y="755633"/>
                </a:lnTo>
                <a:lnTo>
                  <a:pt x="1999691" y="740927"/>
                </a:lnTo>
                <a:lnTo>
                  <a:pt x="2021818" y="787495"/>
                </a:lnTo>
                <a:lnTo>
                  <a:pt x="2046407" y="745829"/>
                </a:lnTo>
                <a:lnTo>
                  <a:pt x="2078370" y="767887"/>
                </a:lnTo>
                <a:lnTo>
                  <a:pt x="2115250" y="812006"/>
                </a:lnTo>
                <a:close/>
                <a:moveTo>
                  <a:pt x="2795110" y="681019"/>
                </a:moveTo>
                <a:lnTo>
                  <a:pt x="2770510" y="769672"/>
                </a:lnTo>
                <a:lnTo>
                  <a:pt x="2814793" y="779522"/>
                </a:lnTo>
                <a:lnTo>
                  <a:pt x="2822173" y="735196"/>
                </a:lnTo>
                <a:lnTo>
                  <a:pt x="2863999" y="681019"/>
                </a:lnTo>
                <a:lnTo>
                  <a:pt x="2947641" y="685945"/>
                </a:lnTo>
                <a:lnTo>
                  <a:pt x="2932881" y="796759"/>
                </a:lnTo>
                <a:lnTo>
                  <a:pt x="2967320" y="747509"/>
                </a:lnTo>
                <a:lnTo>
                  <a:pt x="3092784" y="735196"/>
                </a:lnTo>
                <a:lnTo>
                  <a:pt x="3139530" y="813998"/>
                </a:lnTo>
                <a:lnTo>
                  <a:pt x="3201040" y="846010"/>
                </a:lnTo>
                <a:lnTo>
                  <a:pt x="3301907" y="887874"/>
                </a:lnTo>
                <a:lnTo>
                  <a:pt x="3328968" y="942049"/>
                </a:lnTo>
                <a:lnTo>
                  <a:pt x="3294526" y="983914"/>
                </a:lnTo>
                <a:lnTo>
                  <a:pt x="3343730" y="1052864"/>
                </a:lnTo>
                <a:lnTo>
                  <a:pt x="3410157" y="1072565"/>
                </a:lnTo>
                <a:lnTo>
                  <a:pt x="3471661" y="1114427"/>
                </a:lnTo>
                <a:lnTo>
                  <a:pt x="3447060" y="1156291"/>
                </a:lnTo>
                <a:lnTo>
                  <a:pt x="3410157" y="1217855"/>
                </a:lnTo>
                <a:lnTo>
                  <a:pt x="3314209" y="1119353"/>
                </a:lnTo>
                <a:lnTo>
                  <a:pt x="3282226" y="1129204"/>
                </a:lnTo>
                <a:lnTo>
                  <a:pt x="3274845" y="1200616"/>
                </a:lnTo>
                <a:lnTo>
                  <a:pt x="3336350" y="1210467"/>
                </a:lnTo>
                <a:lnTo>
                  <a:pt x="3356031" y="1286805"/>
                </a:lnTo>
                <a:lnTo>
                  <a:pt x="3328968" y="1345906"/>
                </a:lnTo>
                <a:lnTo>
                  <a:pt x="3245323" y="1291729"/>
                </a:lnTo>
                <a:lnTo>
                  <a:pt x="3287145" y="1390232"/>
                </a:lnTo>
                <a:lnTo>
                  <a:pt x="3164133" y="1328669"/>
                </a:lnTo>
                <a:lnTo>
                  <a:pt x="3073103" y="1254791"/>
                </a:lnTo>
                <a:lnTo>
                  <a:pt x="2982083" y="1279417"/>
                </a:lnTo>
                <a:lnTo>
                  <a:pt x="2937800" y="1237556"/>
                </a:lnTo>
                <a:lnTo>
                  <a:pt x="2962402" y="1200616"/>
                </a:lnTo>
                <a:lnTo>
                  <a:pt x="3073103" y="1175991"/>
                </a:lnTo>
                <a:lnTo>
                  <a:pt x="3139530" y="1102114"/>
                </a:lnTo>
                <a:lnTo>
                  <a:pt x="3134608" y="1035625"/>
                </a:lnTo>
                <a:lnTo>
                  <a:pt x="3097705" y="1003613"/>
                </a:lnTo>
                <a:lnTo>
                  <a:pt x="3036203" y="1003613"/>
                </a:lnTo>
                <a:lnTo>
                  <a:pt x="3041123" y="961750"/>
                </a:lnTo>
                <a:lnTo>
                  <a:pt x="2974700" y="900185"/>
                </a:lnTo>
                <a:lnTo>
                  <a:pt x="2918119" y="937125"/>
                </a:lnTo>
                <a:lnTo>
                  <a:pt x="2846779" y="900185"/>
                </a:lnTo>
                <a:lnTo>
                  <a:pt x="2728680" y="917424"/>
                </a:lnTo>
                <a:lnTo>
                  <a:pt x="2716380" y="895261"/>
                </a:lnTo>
                <a:lnTo>
                  <a:pt x="2740983" y="868173"/>
                </a:lnTo>
                <a:lnTo>
                  <a:pt x="2686855" y="846010"/>
                </a:lnTo>
                <a:lnTo>
                  <a:pt x="2679474" y="779522"/>
                </a:lnTo>
                <a:lnTo>
                  <a:pt x="2721300" y="703182"/>
                </a:lnTo>
                <a:close/>
                <a:moveTo>
                  <a:pt x="2205903" y="681019"/>
                </a:moveTo>
                <a:lnTo>
                  <a:pt x="2208456" y="681019"/>
                </a:lnTo>
                <a:lnTo>
                  <a:pt x="2213564" y="681019"/>
                </a:lnTo>
                <a:lnTo>
                  <a:pt x="2218673" y="681019"/>
                </a:lnTo>
                <a:lnTo>
                  <a:pt x="2226334" y="681019"/>
                </a:lnTo>
                <a:lnTo>
                  <a:pt x="2228888" y="681019"/>
                </a:lnTo>
                <a:lnTo>
                  <a:pt x="2233995" y="681019"/>
                </a:lnTo>
                <a:lnTo>
                  <a:pt x="2239104" y="683648"/>
                </a:lnTo>
                <a:lnTo>
                  <a:pt x="2244212" y="686275"/>
                </a:lnTo>
                <a:lnTo>
                  <a:pt x="2246765" y="688903"/>
                </a:lnTo>
                <a:lnTo>
                  <a:pt x="2251874" y="688903"/>
                </a:lnTo>
                <a:lnTo>
                  <a:pt x="2254428" y="691532"/>
                </a:lnTo>
                <a:lnTo>
                  <a:pt x="2254428" y="696786"/>
                </a:lnTo>
                <a:lnTo>
                  <a:pt x="2254428" y="699414"/>
                </a:lnTo>
                <a:lnTo>
                  <a:pt x="2254428" y="702042"/>
                </a:lnTo>
                <a:lnTo>
                  <a:pt x="2254428" y="704668"/>
                </a:lnTo>
                <a:lnTo>
                  <a:pt x="2254428" y="707297"/>
                </a:lnTo>
                <a:lnTo>
                  <a:pt x="2251874" y="709925"/>
                </a:lnTo>
                <a:lnTo>
                  <a:pt x="2246765" y="709925"/>
                </a:lnTo>
                <a:lnTo>
                  <a:pt x="2244212" y="712552"/>
                </a:lnTo>
                <a:lnTo>
                  <a:pt x="2239104" y="715179"/>
                </a:lnTo>
                <a:lnTo>
                  <a:pt x="2233995" y="717809"/>
                </a:lnTo>
                <a:lnTo>
                  <a:pt x="2228888" y="717809"/>
                </a:lnTo>
                <a:lnTo>
                  <a:pt x="2226334" y="717809"/>
                </a:lnTo>
                <a:lnTo>
                  <a:pt x="2218673" y="717809"/>
                </a:lnTo>
                <a:lnTo>
                  <a:pt x="2213564" y="717809"/>
                </a:lnTo>
                <a:lnTo>
                  <a:pt x="2208456" y="717809"/>
                </a:lnTo>
                <a:lnTo>
                  <a:pt x="2205903" y="717809"/>
                </a:lnTo>
                <a:lnTo>
                  <a:pt x="2200795" y="715179"/>
                </a:lnTo>
                <a:lnTo>
                  <a:pt x="2195686" y="712552"/>
                </a:lnTo>
                <a:lnTo>
                  <a:pt x="2193133" y="712552"/>
                </a:lnTo>
                <a:lnTo>
                  <a:pt x="2190578" y="709925"/>
                </a:lnTo>
                <a:lnTo>
                  <a:pt x="2185472" y="709925"/>
                </a:lnTo>
                <a:lnTo>
                  <a:pt x="2185472" y="707297"/>
                </a:lnTo>
                <a:lnTo>
                  <a:pt x="2182918" y="704668"/>
                </a:lnTo>
                <a:lnTo>
                  <a:pt x="2182918" y="702042"/>
                </a:lnTo>
                <a:lnTo>
                  <a:pt x="2180362" y="699414"/>
                </a:lnTo>
                <a:lnTo>
                  <a:pt x="2182918" y="699414"/>
                </a:lnTo>
                <a:lnTo>
                  <a:pt x="2182918" y="696786"/>
                </a:lnTo>
                <a:lnTo>
                  <a:pt x="2185472" y="691532"/>
                </a:lnTo>
                <a:lnTo>
                  <a:pt x="2185472" y="688903"/>
                </a:lnTo>
                <a:lnTo>
                  <a:pt x="2190578" y="688903"/>
                </a:lnTo>
                <a:lnTo>
                  <a:pt x="2193133" y="686275"/>
                </a:lnTo>
                <a:lnTo>
                  <a:pt x="2195686" y="686275"/>
                </a:lnTo>
                <a:lnTo>
                  <a:pt x="2200795" y="683648"/>
                </a:lnTo>
                <a:close/>
                <a:moveTo>
                  <a:pt x="2439292" y="672261"/>
                </a:moveTo>
                <a:lnTo>
                  <a:pt x="2431940" y="740580"/>
                </a:lnTo>
                <a:lnTo>
                  <a:pt x="2451544" y="784502"/>
                </a:lnTo>
                <a:lnTo>
                  <a:pt x="2419689" y="840623"/>
                </a:lnTo>
                <a:lnTo>
                  <a:pt x="2365776" y="833303"/>
                </a:lnTo>
                <a:lnTo>
                  <a:pt x="2341271" y="801583"/>
                </a:lnTo>
                <a:lnTo>
                  <a:pt x="2289812" y="772302"/>
                </a:lnTo>
                <a:lnTo>
                  <a:pt x="2297162" y="735702"/>
                </a:lnTo>
                <a:lnTo>
                  <a:pt x="2351070" y="764982"/>
                </a:lnTo>
                <a:lnTo>
                  <a:pt x="2358423" y="723500"/>
                </a:lnTo>
                <a:lnTo>
                  <a:pt x="2346174" y="684461"/>
                </a:lnTo>
                <a:close/>
                <a:moveTo>
                  <a:pt x="2581618" y="665692"/>
                </a:moveTo>
                <a:lnTo>
                  <a:pt x="2631285" y="673097"/>
                </a:lnTo>
                <a:lnTo>
                  <a:pt x="2666046" y="685440"/>
                </a:lnTo>
                <a:lnTo>
                  <a:pt x="2633768" y="722467"/>
                </a:lnTo>
                <a:lnTo>
                  <a:pt x="2584104" y="761962"/>
                </a:lnTo>
                <a:lnTo>
                  <a:pt x="2549340" y="761962"/>
                </a:lnTo>
                <a:lnTo>
                  <a:pt x="2536922" y="798990"/>
                </a:lnTo>
                <a:lnTo>
                  <a:pt x="2502155" y="798990"/>
                </a:lnTo>
                <a:lnTo>
                  <a:pt x="2507122" y="742213"/>
                </a:lnTo>
                <a:lnTo>
                  <a:pt x="2524505" y="690376"/>
                </a:lnTo>
                <a:close/>
                <a:moveTo>
                  <a:pt x="1739256" y="628466"/>
                </a:moveTo>
                <a:lnTo>
                  <a:pt x="1771121" y="657693"/>
                </a:lnTo>
                <a:lnTo>
                  <a:pt x="1849558" y="674742"/>
                </a:lnTo>
                <a:lnTo>
                  <a:pt x="1910838" y="730760"/>
                </a:lnTo>
                <a:lnTo>
                  <a:pt x="1861816" y="767293"/>
                </a:lnTo>
                <a:lnTo>
                  <a:pt x="1788279" y="784342"/>
                </a:lnTo>
                <a:lnTo>
                  <a:pt x="1739256" y="816003"/>
                </a:lnTo>
                <a:lnTo>
                  <a:pt x="1643658" y="864715"/>
                </a:lnTo>
                <a:lnTo>
                  <a:pt x="1597086" y="833054"/>
                </a:lnTo>
                <a:lnTo>
                  <a:pt x="1565220" y="798956"/>
                </a:lnTo>
                <a:lnTo>
                  <a:pt x="1609342" y="750244"/>
                </a:lnTo>
                <a:lnTo>
                  <a:pt x="1633854" y="706404"/>
                </a:lnTo>
                <a:lnTo>
                  <a:pt x="1675524" y="638209"/>
                </a:lnTo>
                <a:lnTo>
                  <a:pt x="1702488" y="665000"/>
                </a:lnTo>
                <a:close/>
                <a:moveTo>
                  <a:pt x="7502696" y="608758"/>
                </a:moveTo>
                <a:lnTo>
                  <a:pt x="7507387" y="608758"/>
                </a:lnTo>
                <a:lnTo>
                  <a:pt x="7509733" y="608758"/>
                </a:lnTo>
                <a:lnTo>
                  <a:pt x="7512078" y="611221"/>
                </a:lnTo>
                <a:lnTo>
                  <a:pt x="7514424" y="611221"/>
                </a:lnTo>
                <a:lnTo>
                  <a:pt x="7519115" y="613685"/>
                </a:lnTo>
                <a:lnTo>
                  <a:pt x="7519115" y="616149"/>
                </a:lnTo>
                <a:lnTo>
                  <a:pt x="7519115" y="618612"/>
                </a:lnTo>
                <a:lnTo>
                  <a:pt x="7519115" y="621075"/>
                </a:lnTo>
                <a:lnTo>
                  <a:pt x="7519115" y="626002"/>
                </a:lnTo>
                <a:lnTo>
                  <a:pt x="7519115" y="628466"/>
                </a:lnTo>
                <a:lnTo>
                  <a:pt x="7523806" y="628466"/>
                </a:lnTo>
                <a:lnTo>
                  <a:pt x="7519115" y="630929"/>
                </a:lnTo>
                <a:lnTo>
                  <a:pt x="7519115" y="633393"/>
                </a:lnTo>
                <a:lnTo>
                  <a:pt x="7519115" y="635857"/>
                </a:lnTo>
                <a:lnTo>
                  <a:pt x="7519115" y="638320"/>
                </a:lnTo>
                <a:lnTo>
                  <a:pt x="7519115" y="640783"/>
                </a:lnTo>
                <a:lnTo>
                  <a:pt x="7519115" y="643246"/>
                </a:lnTo>
                <a:lnTo>
                  <a:pt x="7514424" y="643246"/>
                </a:lnTo>
                <a:lnTo>
                  <a:pt x="7512078" y="645710"/>
                </a:lnTo>
                <a:lnTo>
                  <a:pt x="7509733" y="645710"/>
                </a:lnTo>
                <a:lnTo>
                  <a:pt x="7507387" y="645710"/>
                </a:lnTo>
                <a:lnTo>
                  <a:pt x="7502696" y="645710"/>
                </a:lnTo>
                <a:lnTo>
                  <a:pt x="7500351" y="645710"/>
                </a:lnTo>
                <a:lnTo>
                  <a:pt x="7500351" y="643246"/>
                </a:lnTo>
                <a:lnTo>
                  <a:pt x="7498005" y="643246"/>
                </a:lnTo>
                <a:lnTo>
                  <a:pt x="7495660" y="640783"/>
                </a:lnTo>
                <a:lnTo>
                  <a:pt x="7493314" y="638320"/>
                </a:lnTo>
                <a:lnTo>
                  <a:pt x="7493314" y="635857"/>
                </a:lnTo>
                <a:lnTo>
                  <a:pt x="7493314" y="633393"/>
                </a:lnTo>
                <a:lnTo>
                  <a:pt x="7493314" y="630929"/>
                </a:lnTo>
                <a:lnTo>
                  <a:pt x="7493314" y="628466"/>
                </a:lnTo>
                <a:lnTo>
                  <a:pt x="7493314" y="626002"/>
                </a:lnTo>
                <a:lnTo>
                  <a:pt x="7493314" y="621075"/>
                </a:lnTo>
                <a:lnTo>
                  <a:pt x="7493314" y="618612"/>
                </a:lnTo>
                <a:lnTo>
                  <a:pt x="7495660" y="616149"/>
                </a:lnTo>
                <a:lnTo>
                  <a:pt x="7498005" y="613685"/>
                </a:lnTo>
                <a:lnTo>
                  <a:pt x="7500351" y="611221"/>
                </a:lnTo>
                <a:close/>
                <a:moveTo>
                  <a:pt x="2543556" y="575911"/>
                </a:moveTo>
                <a:lnTo>
                  <a:pt x="2586244" y="580862"/>
                </a:lnTo>
                <a:lnTo>
                  <a:pt x="2593778" y="613043"/>
                </a:lnTo>
                <a:lnTo>
                  <a:pt x="2556111" y="630370"/>
                </a:lnTo>
                <a:lnTo>
                  <a:pt x="2510913" y="613043"/>
                </a:lnTo>
                <a:close/>
                <a:moveTo>
                  <a:pt x="1898841" y="560584"/>
                </a:moveTo>
                <a:lnTo>
                  <a:pt x="1901469" y="563193"/>
                </a:lnTo>
                <a:lnTo>
                  <a:pt x="1904096" y="563193"/>
                </a:lnTo>
                <a:lnTo>
                  <a:pt x="1909348" y="565804"/>
                </a:lnTo>
                <a:lnTo>
                  <a:pt x="1911976" y="568416"/>
                </a:lnTo>
                <a:lnTo>
                  <a:pt x="1911976" y="571027"/>
                </a:lnTo>
                <a:lnTo>
                  <a:pt x="1914603" y="573638"/>
                </a:lnTo>
                <a:lnTo>
                  <a:pt x="1914603" y="576247"/>
                </a:lnTo>
                <a:lnTo>
                  <a:pt x="1917230" y="581470"/>
                </a:lnTo>
                <a:lnTo>
                  <a:pt x="1917230" y="584081"/>
                </a:lnTo>
                <a:lnTo>
                  <a:pt x="1917230" y="589303"/>
                </a:lnTo>
                <a:lnTo>
                  <a:pt x="1917230" y="594525"/>
                </a:lnTo>
                <a:lnTo>
                  <a:pt x="1917230" y="599746"/>
                </a:lnTo>
                <a:lnTo>
                  <a:pt x="1917230" y="602357"/>
                </a:lnTo>
                <a:lnTo>
                  <a:pt x="1917230" y="607579"/>
                </a:lnTo>
                <a:lnTo>
                  <a:pt x="1914603" y="612801"/>
                </a:lnTo>
                <a:lnTo>
                  <a:pt x="1914603" y="615411"/>
                </a:lnTo>
                <a:lnTo>
                  <a:pt x="1911976" y="618022"/>
                </a:lnTo>
                <a:lnTo>
                  <a:pt x="1911976" y="620635"/>
                </a:lnTo>
                <a:lnTo>
                  <a:pt x="1909348" y="623244"/>
                </a:lnTo>
                <a:lnTo>
                  <a:pt x="1904096" y="625856"/>
                </a:lnTo>
                <a:lnTo>
                  <a:pt x="1901469" y="625856"/>
                </a:lnTo>
                <a:lnTo>
                  <a:pt x="1898841" y="625856"/>
                </a:lnTo>
                <a:lnTo>
                  <a:pt x="1896213" y="625856"/>
                </a:lnTo>
                <a:lnTo>
                  <a:pt x="1890961" y="623244"/>
                </a:lnTo>
                <a:lnTo>
                  <a:pt x="1888334" y="623244"/>
                </a:lnTo>
                <a:lnTo>
                  <a:pt x="1888334" y="620635"/>
                </a:lnTo>
                <a:lnTo>
                  <a:pt x="1885706" y="618022"/>
                </a:lnTo>
                <a:lnTo>
                  <a:pt x="1885706" y="615411"/>
                </a:lnTo>
                <a:lnTo>
                  <a:pt x="1885706" y="612801"/>
                </a:lnTo>
                <a:lnTo>
                  <a:pt x="1883080" y="607579"/>
                </a:lnTo>
                <a:lnTo>
                  <a:pt x="1883080" y="602357"/>
                </a:lnTo>
                <a:lnTo>
                  <a:pt x="1883080" y="599746"/>
                </a:lnTo>
                <a:lnTo>
                  <a:pt x="1880452" y="594525"/>
                </a:lnTo>
                <a:lnTo>
                  <a:pt x="1883080" y="589303"/>
                </a:lnTo>
                <a:lnTo>
                  <a:pt x="1883080" y="584081"/>
                </a:lnTo>
                <a:lnTo>
                  <a:pt x="1883080" y="581470"/>
                </a:lnTo>
                <a:lnTo>
                  <a:pt x="1885706" y="576247"/>
                </a:lnTo>
                <a:lnTo>
                  <a:pt x="1885706" y="573638"/>
                </a:lnTo>
                <a:lnTo>
                  <a:pt x="1885706" y="571027"/>
                </a:lnTo>
                <a:lnTo>
                  <a:pt x="1888334" y="568416"/>
                </a:lnTo>
                <a:lnTo>
                  <a:pt x="1888334" y="565804"/>
                </a:lnTo>
                <a:lnTo>
                  <a:pt x="1890961" y="565804"/>
                </a:lnTo>
                <a:lnTo>
                  <a:pt x="1896213" y="563193"/>
                </a:lnTo>
                <a:lnTo>
                  <a:pt x="1898841" y="563193"/>
                </a:lnTo>
                <a:close/>
                <a:moveTo>
                  <a:pt x="9759275" y="534304"/>
                </a:moveTo>
                <a:lnTo>
                  <a:pt x="9778600" y="549157"/>
                </a:lnTo>
                <a:lnTo>
                  <a:pt x="9829328" y="549157"/>
                </a:lnTo>
                <a:lnTo>
                  <a:pt x="9887301" y="549157"/>
                </a:lnTo>
                <a:lnTo>
                  <a:pt x="9894548" y="581337"/>
                </a:lnTo>
                <a:lnTo>
                  <a:pt x="9819666" y="588764"/>
                </a:lnTo>
                <a:lnTo>
                  <a:pt x="9778600" y="576386"/>
                </a:lnTo>
                <a:lnTo>
                  <a:pt x="9756860" y="551632"/>
                </a:lnTo>
                <a:close/>
                <a:moveTo>
                  <a:pt x="2320735" y="501458"/>
                </a:moveTo>
                <a:lnTo>
                  <a:pt x="2349962" y="536115"/>
                </a:lnTo>
                <a:lnTo>
                  <a:pt x="2369452" y="546017"/>
                </a:lnTo>
                <a:lnTo>
                  <a:pt x="2418167" y="513836"/>
                </a:lnTo>
                <a:lnTo>
                  <a:pt x="2466882" y="518788"/>
                </a:lnTo>
                <a:lnTo>
                  <a:pt x="2462010" y="593049"/>
                </a:lnTo>
                <a:lnTo>
                  <a:pt x="2359706" y="612852"/>
                </a:lnTo>
                <a:lnTo>
                  <a:pt x="2328045" y="575721"/>
                </a:lnTo>
                <a:lnTo>
                  <a:pt x="2296380" y="526213"/>
                </a:lnTo>
                <a:close/>
                <a:moveTo>
                  <a:pt x="2161496" y="501458"/>
                </a:moveTo>
                <a:lnTo>
                  <a:pt x="2173778" y="546419"/>
                </a:lnTo>
                <a:lnTo>
                  <a:pt x="2240104" y="566400"/>
                </a:lnTo>
                <a:lnTo>
                  <a:pt x="2272032" y="636335"/>
                </a:lnTo>
                <a:lnTo>
                  <a:pt x="2210625" y="616352"/>
                </a:lnTo>
                <a:lnTo>
                  <a:pt x="2141845" y="628842"/>
                </a:lnTo>
                <a:lnTo>
                  <a:pt x="2087801" y="648823"/>
                </a:lnTo>
                <a:lnTo>
                  <a:pt x="2026389" y="658815"/>
                </a:lnTo>
                <a:lnTo>
                  <a:pt x="1952694" y="638832"/>
                </a:lnTo>
                <a:lnTo>
                  <a:pt x="1964977" y="583883"/>
                </a:lnTo>
                <a:lnTo>
                  <a:pt x="2033759" y="583883"/>
                </a:lnTo>
                <a:lnTo>
                  <a:pt x="2063237" y="551414"/>
                </a:lnTo>
                <a:lnTo>
                  <a:pt x="2100084" y="546419"/>
                </a:lnTo>
                <a:lnTo>
                  <a:pt x="2104997" y="508953"/>
                </a:lnTo>
                <a:close/>
                <a:moveTo>
                  <a:pt x="9502178" y="499268"/>
                </a:moveTo>
                <a:lnTo>
                  <a:pt x="9539206" y="518776"/>
                </a:lnTo>
                <a:lnTo>
                  <a:pt x="9551550" y="535848"/>
                </a:lnTo>
                <a:lnTo>
                  <a:pt x="9591047" y="535848"/>
                </a:lnTo>
                <a:lnTo>
                  <a:pt x="9595984" y="509022"/>
                </a:lnTo>
                <a:lnTo>
                  <a:pt x="9610796" y="501706"/>
                </a:lnTo>
                <a:lnTo>
                  <a:pt x="9645355" y="518776"/>
                </a:lnTo>
                <a:lnTo>
                  <a:pt x="9665104" y="555356"/>
                </a:lnTo>
                <a:lnTo>
                  <a:pt x="9699665" y="569987"/>
                </a:lnTo>
                <a:lnTo>
                  <a:pt x="9682384" y="594375"/>
                </a:lnTo>
                <a:lnTo>
                  <a:pt x="9635482" y="596813"/>
                </a:lnTo>
                <a:lnTo>
                  <a:pt x="9600921" y="582181"/>
                </a:lnTo>
                <a:lnTo>
                  <a:pt x="9576235" y="604129"/>
                </a:lnTo>
                <a:lnTo>
                  <a:pt x="9516989" y="596813"/>
                </a:lnTo>
                <a:lnTo>
                  <a:pt x="9470086" y="562671"/>
                </a:lnTo>
                <a:lnTo>
                  <a:pt x="9470086" y="518776"/>
                </a:lnTo>
                <a:close/>
                <a:moveTo>
                  <a:pt x="2651566" y="470802"/>
                </a:moveTo>
                <a:lnTo>
                  <a:pt x="2717322" y="478160"/>
                </a:lnTo>
                <a:lnTo>
                  <a:pt x="2734371" y="546830"/>
                </a:lnTo>
                <a:lnTo>
                  <a:pt x="2848841" y="576261"/>
                </a:lnTo>
                <a:lnTo>
                  <a:pt x="2980344" y="583619"/>
                </a:lnTo>
                <a:lnTo>
                  <a:pt x="2990084" y="652290"/>
                </a:lnTo>
                <a:lnTo>
                  <a:pt x="2899981" y="627765"/>
                </a:lnTo>
                <a:lnTo>
                  <a:pt x="2741676" y="644933"/>
                </a:lnTo>
                <a:lnTo>
                  <a:pt x="2688095" y="620407"/>
                </a:lnTo>
                <a:lnTo>
                  <a:pt x="2634517" y="556641"/>
                </a:lnTo>
                <a:lnTo>
                  <a:pt x="2602857" y="514948"/>
                </a:lnTo>
                <a:close/>
                <a:moveTo>
                  <a:pt x="7351067" y="462043"/>
                </a:moveTo>
                <a:lnTo>
                  <a:pt x="7410139" y="466923"/>
                </a:lnTo>
                <a:lnTo>
                  <a:pt x="7427369" y="488887"/>
                </a:lnTo>
                <a:lnTo>
                  <a:pt x="7405217" y="501089"/>
                </a:lnTo>
                <a:lnTo>
                  <a:pt x="7353528" y="518172"/>
                </a:lnTo>
                <a:lnTo>
                  <a:pt x="7287073" y="540136"/>
                </a:lnTo>
                <a:lnTo>
                  <a:pt x="7255075" y="552338"/>
                </a:lnTo>
                <a:lnTo>
                  <a:pt x="7200925" y="591385"/>
                </a:lnTo>
                <a:lnTo>
                  <a:pt x="7151698" y="618229"/>
                </a:lnTo>
                <a:lnTo>
                  <a:pt x="7109856" y="649954"/>
                </a:lnTo>
                <a:lnTo>
                  <a:pt x="7097550" y="667037"/>
                </a:lnTo>
                <a:lnTo>
                  <a:pt x="7070475" y="691441"/>
                </a:lnTo>
                <a:lnTo>
                  <a:pt x="7070475" y="701203"/>
                </a:lnTo>
                <a:lnTo>
                  <a:pt x="7060629" y="740249"/>
                </a:lnTo>
                <a:lnTo>
                  <a:pt x="7060629" y="789057"/>
                </a:lnTo>
                <a:lnTo>
                  <a:pt x="7085243" y="813462"/>
                </a:lnTo>
                <a:lnTo>
                  <a:pt x="7122163" y="832984"/>
                </a:lnTo>
                <a:lnTo>
                  <a:pt x="7117239" y="857389"/>
                </a:lnTo>
                <a:lnTo>
                  <a:pt x="7055707" y="864709"/>
                </a:lnTo>
                <a:lnTo>
                  <a:pt x="7011402" y="857389"/>
                </a:lnTo>
                <a:lnTo>
                  <a:pt x="6984327" y="801259"/>
                </a:lnTo>
                <a:lnTo>
                  <a:pt x="6954791" y="784176"/>
                </a:lnTo>
                <a:lnTo>
                  <a:pt x="6959715" y="737808"/>
                </a:lnTo>
                <a:lnTo>
                  <a:pt x="6969559" y="698762"/>
                </a:lnTo>
                <a:lnTo>
                  <a:pt x="6986789" y="686559"/>
                </a:lnTo>
                <a:lnTo>
                  <a:pt x="6996634" y="667037"/>
                </a:lnTo>
                <a:lnTo>
                  <a:pt x="6994173" y="654834"/>
                </a:lnTo>
                <a:lnTo>
                  <a:pt x="6994173" y="647513"/>
                </a:lnTo>
                <a:lnTo>
                  <a:pt x="7021248" y="649954"/>
                </a:lnTo>
                <a:lnTo>
                  <a:pt x="7023709" y="625551"/>
                </a:lnTo>
                <a:lnTo>
                  <a:pt x="7033555" y="581622"/>
                </a:lnTo>
                <a:lnTo>
                  <a:pt x="7095088" y="569421"/>
                </a:lnTo>
                <a:lnTo>
                  <a:pt x="7112318" y="540136"/>
                </a:lnTo>
                <a:lnTo>
                  <a:pt x="7151698" y="540136"/>
                </a:lnTo>
                <a:lnTo>
                  <a:pt x="7186157" y="510850"/>
                </a:lnTo>
                <a:lnTo>
                  <a:pt x="7255075" y="508411"/>
                </a:lnTo>
                <a:lnTo>
                  <a:pt x="7311686" y="493767"/>
                </a:lnTo>
                <a:close/>
                <a:moveTo>
                  <a:pt x="1963334" y="437955"/>
                </a:moveTo>
                <a:lnTo>
                  <a:pt x="1963334" y="509541"/>
                </a:lnTo>
                <a:lnTo>
                  <a:pt x="1908452" y="509541"/>
                </a:lnTo>
                <a:lnTo>
                  <a:pt x="1843593" y="571253"/>
                </a:lnTo>
                <a:lnTo>
                  <a:pt x="1751296" y="558911"/>
                </a:lnTo>
                <a:lnTo>
                  <a:pt x="1756284" y="514479"/>
                </a:lnTo>
                <a:lnTo>
                  <a:pt x="1826132" y="497199"/>
                </a:lnTo>
                <a:lnTo>
                  <a:pt x="1908452" y="457702"/>
                </a:lnTo>
                <a:close/>
                <a:moveTo>
                  <a:pt x="2158150" y="418247"/>
                </a:moveTo>
                <a:lnTo>
                  <a:pt x="2153132" y="454272"/>
                </a:lnTo>
                <a:lnTo>
                  <a:pt x="2102943" y="466281"/>
                </a:lnTo>
                <a:lnTo>
                  <a:pt x="2057772" y="490298"/>
                </a:lnTo>
                <a:lnTo>
                  <a:pt x="2057772" y="459076"/>
                </a:lnTo>
                <a:lnTo>
                  <a:pt x="2077847" y="423050"/>
                </a:lnTo>
                <a:lnTo>
                  <a:pt x="2123019" y="423050"/>
                </a:lnTo>
                <a:close/>
                <a:moveTo>
                  <a:pt x="8449226" y="402919"/>
                </a:moveTo>
                <a:lnTo>
                  <a:pt x="8476240" y="417651"/>
                </a:lnTo>
                <a:lnTo>
                  <a:pt x="8508165" y="439751"/>
                </a:lnTo>
                <a:lnTo>
                  <a:pt x="8522900" y="469216"/>
                </a:lnTo>
                <a:lnTo>
                  <a:pt x="8562193" y="488860"/>
                </a:lnTo>
                <a:lnTo>
                  <a:pt x="8584295" y="464305"/>
                </a:lnTo>
                <a:lnTo>
                  <a:pt x="8699717" y="474126"/>
                </a:lnTo>
                <a:lnTo>
                  <a:pt x="8721819" y="506048"/>
                </a:lnTo>
                <a:lnTo>
                  <a:pt x="8773392" y="528147"/>
                </a:lnTo>
                <a:lnTo>
                  <a:pt x="8763569" y="579711"/>
                </a:lnTo>
                <a:lnTo>
                  <a:pt x="8726731" y="616543"/>
                </a:lnTo>
                <a:lnTo>
                  <a:pt x="8697262" y="631276"/>
                </a:lnTo>
                <a:lnTo>
                  <a:pt x="8626043" y="670563"/>
                </a:lnTo>
                <a:lnTo>
                  <a:pt x="8586750" y="712305"/>
                </a:lnTo>
                <a:lnTo>
                  <a:pt x="8660424" y="687751"/>
                </a:lnTo>
                <a:lnTo>
                  <a:pt x="8711997" y="665651"/>
                </a:lnTo>
                <a:lnTo>
                  <a:pt x="8763569" y="665651"/>
                </a:lnTo>
                <a:lnTo>
                  <a:pt x="8913373" y="665651"/>
                </a:lnTo>
                <a:lnTo>
                  <a:pt x="8991959" y="685296"/>
                </a:lnTo>
                <a:lnTo>
                  <a:pt x="9043530" y="709850"/>
                </a:lnTo>
                <a:lnTo>
                  <a:pt x="9104925" y="729494"/>
                </a:lnTo>
                <a:lnTo>
                  <a:pt x="9127028" y="670563"/>
                </a:lnTo>
                <a:lnTo>
                  <a:pt x="9203157" y="665651"/>
                </a:lnTo>
                <a:lnTo>
                  <a:pt x="9262096" y="687751"/>
                </a:lnTo>
                <a:lnTo>
                  <a:pt x="9286654" y="736860"/>
                </a:lnTo>
                <a:lnTo>
                  <a:pt x="9254728" y="746682"/>
                </a:lnTo>
                <a:lnTo>
                  <a:pt x="9242449" y="768782"/>
                </a:lnTo>
                <a:lnTo>
                  <a:pt x="9286654" y="785969"/>
                </a:lnTo>
                <a:lnTo>
                  <a:pt x="9357873" y="808069"/>
                </a:lnTo>
                <a:lnTo>
                  <a:pt x="9414356" y="803158"/>
                </a:lnTo>
                <a:lnTo>
                  <a:pt x="9419268" y="763870"/>
                </a:lnTo>
                <a:lnTo>
                  <a:pt x="9441370" y="788425"/>
                </a:lnTo>
                <a:lnTo>
                  <a:pt x="9480663" y="808069"/>
                </a:lnTo>
                <a:lnTo>
                  <a:pt x="9507675" y="790881"/>
                </a:lnTo>
                <a:lnTo>
                  <a:pt x="9551880" y="793336"/>
                </a:lnTo>
                <a:lnTo>
                  <a:pt x="9605908" y="803158"/>
                </a:lnTo>
                <a:lnTo>
                  <a:pt x="9650113" y="793336"/>
                </a:lnTo>
                <a:lnTo>
                  <a:pt x="9630466" y="746682"/>
                </a:lnTo>
                <a:lnTo>
                  <a:pt x="9662391" y="724583"/>
                </a:lnTo>
                <a:lnTo>
                  <a:pt x="9694317" y="704940"/>
                </a:lnTo>
                <a:lnTo>
                  <a:pt x="9718875" y="736860"/>
                </a:lnTo>
                <a:lnTo>
                  <a:pt x="9777815" y="736860"/>
                </a:lnTo>
                <a:lnTo>
                  <a:pt x="9809739" y="773692"/>
                </a:lnTo>
                <a:lnTo>
                  <a:pt x="9839210" y="761415"/>
                </a:lnTo>
                <a:lnTo>
                  <a:pt x="9944808" y="761415"/>
                </a:lnTo>
                <a:lnTo>
                  <a:pt x="9952176" y="781059"/>
                </a:lnTo>
                <a:lnTo>
                  <a:pt x="9996381" y="800702"/>
                </a:lnTo>
                <a:lnTo>
                  <a:pt x="10062686" y="835079"/>
                </a:lnTo>
                <a:lnTo>
                  <a:pt x="10116714" y="844901"/>
                </a:lnTo>
                <a:lnTo>
                  <a:pt x="10141272" y="835079"/>
                </a:lnTo>
                <a:lnTo>
                  <a:pt x="10173198" y="825256"/>
                </a:lnTo>
                <a:lnTo>
                  <a:pt x="10271430" y="847356"/>
                </a:lnTo>
                <a:lnTo>
                  <a:pt x="10310723" y="889098"/>
                </a:lnTo>
                <a:lnTo>
                  <a:pt x="10352471" y="923475"/>
                </a:lnTo>
                <a:lnTo>
                  <a:pt x="10381940" y="933297"/>
                </a:lnTo>
                <a:lnTo>
                  <a:pt x="10401588" y="903831"/>
                </a:lnTo>
                <a:lnTo>
                  <a:pt x="10487540" y="891555"/>
                </a:lnTo>
                <a:lnTo>
                  <a:pt x="10539112" y="911198"/>
                </a:lnTo>
                <a:lnTo>
                  <a:pt x="10578404" y="903831"/>
                </a:lnTo>
                <a:lnTo>
                  <a:pt x="10600507" y="925930"/>
                </a:lnTo>
                <a:lnTo>
                  <a:pt x="10637344" y="918563"/>
                </a:lnTo>
                <a:lnTo>
                  <a:pt x="10647168" y="871911"/>
                </a:lnTo>
                <a:lnTo>
                  <a:pt x="10725753" y="879276"/>
                </a:lnTo>
                <a:lnTo>
                  <a:pt x="10792059" y="879276"/>
                </a:lnTo>
                <a:lnTo>
                  <a:pt x="10838720" y="896465"/>
                </a:lnTo>
                <a:lnTo>
                  <a:pt x="10860822" y="911198"/>
                </a:lnTo>
                <a:lnTo>
                  <a:pt x="10909937" y="930842"/>
                </a:lnTo>
                <a:lnTo>
                  <a:pt x="10954142" y="933297"/>
                </a:lnTo>
                <a:lnTo>
                  <a:pt x="11000803" y="960307"/>
                </a:lnTo>
                <a:lnTo>
                  <a:pt x="11032727" y="997137"/>
                </a:lnTo>
                <a:lnTo>
                  <a:pt x="11103946" y="997137"/>
                </a:lnTo>
                <a:lnTo>
                  <a:pt x="11111313" y="1026604"/>
                </a:lnTo>
                <a:lnTo>
                  <a:pt x="11162886" y="1041336"/>
                </a:lnTo>
                <a:lnTo>
                  <a:pt x="11177620" y="1060981"/>
                </a:lnTo>
                <a:lnTo>
                  <a:pt x="11199722" y="1100268"/>
                </a:lnTo>
                <a:lnTo>
                  <a:pt x="11214458" y="1078168"/>
                </a:lnTo>
                <a:lnTo>
                  <a:pt x="11270941" y="1068346"/>
                </a:lnTo>
                <a:lnTo>
                  <a:pt x="11310234" y="1095356"/>
                </a:lnTo>
                <a:lnTo>
                  <a:pt x="11376541" y="1095356"/>
                </a:lnTo>
                <a:lnTo>
                  <a:pt x="11369172" y="1139555"/>
                </a:lnTo>
                <a:lnTo>
                  <a:pt x="11342159" y="1151832"/>
                </a:lnTo>
                <a:lnTo>
                  <a:pt x="11315145" y="1151832"/>
                </a:lnTo>
                <a:lnTo>
                  <a:pt x="11305322" y="1181297"/>
                </a:lnTo>
                <a:lnTo>
                  <a:pt x="11337246" y="1218129"/>
                </a:lnTo>
                <a:lnTo>
                  <a:pt x="11305322" y="1247594"/>
                </a:lnTo>
                <a:lnTo>
                  <a:pt x="11283220" y="1240229"/>
                </a:lnTo>
                <a:lnTo>
                  <a:pt x="11256206" y="1203397"/>
                </a:lnTo>
                <a:lnTo>
                  <a:pt x="11209546" y="1200942"/>
                </a:lnTo>
                <a:lnTo>
                  <a:pt x="11182532" y="1171475"/>
                </a:lnTo>
                <a:lnTo>
                  <a:pt x="11116225" y="1166565"/>
                </a:lnTo>
                <a:lnTo>
                  <a:pt x="11103946" y="1134645"/>
                </a:lnTo>
                <a:lnTo>
                  <a:pt x="11089211" y="1092901"/>
                </a:lnTo>
                <a:lnTo>
                  <a:pt x="11047463" y="1105178"/>
                </a:lnTo>
                <a:lnTo>
                  <a:pt x="11047463" y="1144465"/>
                </a:lnTo>
                <a:lnTo>
                  <a:pt x="11064653" y="1166565"/>
                </a:lnTo>
                <a:lnTo>
                  <a:pt x="11020449" y="1196030"/>
                </a:lnTo>
                <a:lnTo>
                  <a:pt x="10995891" y="1218129"/>
                </a:lnTo>
                <a:lnTo>
                  <a:pt x="11059742" y="1259872"/>
                </a:lnTo>
                <a:lnTo>
                  <a:pt x="11106403" y="1318803"/>
                </a:lnTo>
                <a:lnTo>
                  <a:pt x="11094123" y="1345813"/>
                </a:lnTo>
                <a:lnTo>
                  <a:pt x="11042551" y="1326168"/>
                </a:lnTo>
                <a:lnTo>
                  <a:pt x="11015537" y="1331080"/>
                </a:lnTo>
                <a:lnTo>
                  <a:pt x="10968877" y="1365456"/>
                </a:lnTo>
                <a:lnTo>
                  <a:pt x="10919761" y="1363000"/>
                </a:lnTo>
                <a:lnTo>
                  <a:pt x="10912394" y="1397377"/>
                </a:lnTo>
                <a:lnTo>
                  <a:pt x="10892747" y="1414565"/>
                </a:lnTo>
                <a:lnTo>
                  <a:pt x="10875556" y="1478407"/>
                </a:lnTo>
                <a:lnTo>
                  <a:pt x="10855911" y="1463674"/>
                </a:lnTo>
                <a:lnTo>
                  <a:pt x="10831352" y="1431754"/>
                </a:lnTo>
                <a:lnTo>
                  <a:pt x="10804339" y="1424387"/>
                </a:lnTo>
                <a:lnTo>
                  <a:pt x="10757678" y="1431754"/>
                </a:lnTo>
                <a:lnTo>
                  <a:pt x="10728209" y="1453852"/>
                </a:lnTo>
                <a:lnTo>
                  <a:pt x="10671725" y="1480863"/>
                </a:lnTo>
                <a:lnTo>
                  <a:pt x="10649623" y="1507873"/>
                </a:lnTo>
                <a:lnTo>
                  <a:pt x="10647168" y="1510328"/>
                </a:lnTo>
                <a:lnTo>
                  <a:pt x="10647168" y="1512783"/>
                </a:lnTo>
                <a:lnTo>
                  <a:pt x="10647168" y="1517694"/>
                </a:lnTo>
                <a:lnTo>
                  <a:pt x="10647168" y="1520150"/>
                </a:lnTo>
                <a:lnTo>
                  <a:pt x="10644711" y="1527516"/>
                </a:lnTo>
                <a:lnTo>
                  <a:pt x="10642256" y="1532428"/>
                </a:lnTo>
                <a:lnTo>
                  <a:pt x="10642256" y="1537338"/>
                </a:lnTo>
                <a:lnTo>
                  <a:pt x="10639800" y="1544705"/>
                </a:lnTo>
                <a:lnTo>
                  <a:pt x="10639800" y="1549615"/>
                </a:lnTo>
                <a:lnTo>
                  <a:pt x="10637344" y="1554526"/>
                </a:lnTo>
                <a:lnTo>
                  <a:pt x="10637344" y="1561893"/>
                </a:lnTo>
                <a:lnTo>
                  <a:pt x="10637344" y="1569258"/>
                </a:lnTo>
                <a:lnTo>
                  <a:pt x="10637344" y="1571715"/>
                </a:lnTo>
                <a:lnTo>
                  <a:pt x="10642256" y="1574170"/>
                </a:lnTo>
                <a:lnTo>
                  <a:pt x="10642256" y="1576625"/>
                </a:lnTo>
                <a:lnTo>
                  <a:pt x="10644711" y="1576625"/>
                </a:lnTo>
                <a:lnTo>
                  <a:pt x="10647168" y="1579080"/>
                </a:lnTo>
                <a:lnTo>
                  <a:pt x="10649623" y="1581536"/>
                </a:lnTo>
                <a:lnTo>
                  <a:pt x="10652080" y="1581536"/>
                </a:lnTo>
                <a:lnTo>
                  <a:pt x="10654535" y="1581536"/>
                </a:lnTo>
                <a:lnTo>
                  <a:pt x="10659447" y="1581536"/>
                </a:lnTo>
                <a:lnTo>
                  <a:pt x="10698739" y="1625734"/>
                </a:lnTo>
                <a:lnTo>
                  <a:pt x="10713473" y="1652744"/>
                </a:lnTo>
                <a:lnTo>
                  <a:pt x="10691372" y="1657655"/>
                </a:lnTo>
                <a:lnTo>
                  <a:pt x="10686461" y="1694487"/>
                </a:lnTo>
                <a:lnTo>
                  <a:pt x="10691372" y="1741141"/>
                </a:lnTo>
                <a:lnTo>
                  <a:pt x="10656990" y="1741141"/>
                </a:lnTo>
                <a:lnTo>
                  <a:pt x="10656990" y="1780428"/>
                </a:lnTo>
                <a:lnTo>
                  <a:pt x="10622609" y="1849180"/>
                </a:lnTo>
                <a:lnTo>
                  <a:pt x="10588228" y="1905656"/>
                </a:lnTo>
                <a:lnTo>
                  <a:pt x="10558759" y="1886012"/>
                </a:lnTo>
                <a:lnTo>
                  <a:pt x="10534200" y="1849180"/>
                </a:lnTo>
                <a:lnTo>
                  <a:pt x="10517009" y="1787795"/>
                </a:lnTo>
                <a:lnTo>
                  <a:pt x="10487540" y="1736230"/>
                </a:lnTo>
                <a:lnTo>
                  <a:pt x="10477717" y="1660111"/>
                </a:lnTo>
                <a:lnTo>
                  <a:pt x="10482628" y="1588903"/>
                </a:lnTo>
                <a:lnTo>
                  <a:pt x="10521921" y="1539793"/>
                </a:lnTo>
                <a:lnTo>
                  <a:pt x="10563671" y="1475951"/>
                </a:lnTo>
                <a:lnTo>
                  <a:pt x="10612787" y="1436664"/>
                </a:lnTo>
                <a:lnTo>
                  <a:pt x="10632433" y="1397377"/>
                </a:lnTo>
                <a:lnTo>
                  <a:pt x="10607875" y="1353178"/>
                </a:lnTo>
                <a:lnTo>
                  <a:pt x="10585773" y="1363000"/>
                </a:lnTo>
                <a:lnTo>
                  <a:pt x="10553847" y="1417020"/>
                </a:lnTo>
                <a:lnTo>
                  <a:pt x="10534200" y="1409655"/>
                </a:lnTo>
                <a:lnTo>
                  <a:pt x="10502275" y="1370367"/>
                </a:lnTo>
                <a:lnTo>
                  <a:pt x="10411411" y="1370367"/>
                </a:lnTo>
                <a:lnTo>
                  <a:pt x="10391764" y="1404744"/>
                </a:lnTo>
                <a:lnTo>
                  <a:pt x="10377029" y="1463674"/>
                </a:lnTo>
                <a:lnTo>
                  <a:pt x="10372118" y="1507873"/>
                </a:lnTo>
                <a:lnTo>
                  <a:pt x="10278797" y="1520150"/>
                </a:lnTo>
                <a:lnTo>
                  <a:pt x="10278797" y="1498051"/>
                </a:lnTo>
                <a:lnTo>
                  <a:pt x="10212491" y="1480863"/>
                </a:lnTo>
                <a:lnTo>
                  <a:pt x="10192845" y="1517694"/>
                </a:lnTo>
                <a:lnTo>
                  <a:pt x="10099524" y="1507873"/>
                </a:lnTo>
                <a:lnTo>
                  <a:pt x="10033217" y="1512783"/>
                </a:lnTo>
                <a:lnTo>
                  <a:pt x="9949720" y="1534883"/>
                </a:lnTo>
                <a:lnTo>
                  <a:pt x="9922706" y="1576625"/>
                </a:lnTo>
                <a:lnTo>
                  <a:pt x="9900605" y="1623279"/>
                </a:lnTo>
                <a:lnTo>
                  <a:pt x="9861312" y="1687121"/>
                </a:lnTo>
                <a:lnTo>
                  <a:pt x="9826929" y="1721496"/>
                </a:lnTo>
                <a:lnTo>
                  <a:pt x="9836753" y="1748508"/>
                </a:lnTo>
                <a:lnTo>
                  <a:pt x="9893236" y="1777973"/>
                </a:lnTo>
                <a:lnTo>
                  <a:pt x="9898148" y="1809893"/>
                </a:lnTo>
                <a:lnTo>
                  <a:pt x="9922706" y="1807438"/>
                </a:lnTo>
                <a:lnTo>
                  <a:pt x="9939898" y="1773061"/>
                </a:lnTo>
                <a:lnTo>
                  <a:pt x="9998836" y="1792705"/>
                </a:lnTo>
                <a:lnTo>
                  <a:pt x="10035674" y="1846725"/>
                </a:lnTo>
                <a:lnTo>
                  <a:pt x="10045496" y="1935121"/>
                </a:lnTo>
                <a:lnTo>
                  <a:pt x="10033217" y="1959676"/>
                </a:lnTo>
                <a:lnTo>
                  <a:pt x="10050408" y="2040705"/>
                </a:lnTo>
                <a:lnTo>
                  <a:pt x="10018483" y="2124192"/>
                </a:lnTo>
                <a:lnTo>
                  <a:pt x="9981646" y="2207678"/>
                </a:lnTo>
                <a:lnTo>
                  <a:pt x="9937441" y="2278885"/>
                </a:lnTo>
                <a:lnTo>
                  <a:pt x="9880958" y="2323084"/>
                </a:lnTo>
                <a:lnTo>
                  <a:pt x="9836753" y="2308350"/>
                </a:lnTo>
                <a:lnTo>
                  <a:pt x="9831646" y="2307329"/>
                </a:lnTo>
                <a:lnTo>
                  <a:pt x="9798282" y="2333620"/>
                </a:lnTo>
                <a:lnTo>
                  <a:pt x="9763958" y="2343457"/>
                </a:lnTo>
                <a:lnTo>
                  <a:pt x="9729635" y="2385259"/>
                </a:lnTo>
                <a:lnTo>
                  <a:pt x="9695311" y="2385259"/>
                </a:lnTo>
                <a:lnTo>
                  <a:pt x="9665889" y="2370505"/>
                </a:lnTo>
                <a:lnTo>
                  <a:pt x="9646276" y="2429520"/>
                </a:lnTo>
                <a:lnTo>
                  <a:pt x="9611953" y="2451650"/>
                </a:lnTo>
                <a:lnTo>
                  <a:pt x="9567822" y="2478698"/>
                </a:lnTo>
                <a:lnTo>
                  <a:pt x="9518788" y="2495911"/>
                </a:lnTo>
                <a:lnTo>
                  <a:pt x="9513885" y="2454110"/>
                </a:lnTo>
                <a:lnTo>
                  <a:pt x="9504078" y="2414766"/>
                </a:lnTo>
                <a:lnTo>
                  <a:pt x="9489367" y="2412308"/>
                </a:lnTo>
                <a:lnTo>
                  <a:pt x="9467303" y="2429520"/>
                </a:lnTo>
                <a:lnTo>
                  <a:pt x="9450141" y="2456569"/>
                </a:lnTo>
                <a:lnTo>
                  <a:pt x="9401106" y="2493452"/>
                </a:lnTo>
                <a:lnTo>
                  <a:pt x="9403557" y="2530336"/>
                </a:lnTo>
                <a:lnTo>
                  <a:pt x="9440334" y="2562303"/>
                </a:lnTo>
                <a:lnTo>
                  <a:pt x="9477109" y="2564762"/>
                </a:lnTo>
                <a:lnTo>
                  <a:pt x="9504078" y="2537713"/>
                </a:lnTo>
                <a:lnTo>
                  <a:pt x="9558016" y="2542632"/>
                </a:lnTo>
                <a:lnTo>
                  <a:pt x="9567822" y="2591810"/>
                </a:lnTo>
                <a:lnTo>
                  <a:pt x="9521239" y="2606564"/>
                </a:lnTo>
                <a:lnTo>
                  <a:pt x="9484464" y="2640989"/>
                </a:lnTo>
                <a:lnTo>
                  <a:pt x="9499175" y="2687710"/>
                </a:lnTo>
                <a:lnTo>
                  <a:pt x="9531047" y="2749183"/>
                </a:lnTo>
                <a:lnTo>
                  <a:pt x="9575177" y="2795903"/>
                </a:lnTo>
                <a:lnTo>
                  <a:pt x="9575177" y="2835247"/>
                </a:lnTo>
                <a:lnTo>
                  <a:pt x="9584985" y="2879508"/>
                </a:lnTo>
                <a:lnTo>
                  <a:pt x="9602145" y="2977866"/>
                </a:lnTo>
                <a:lnTo>
                  <a:pt x="9577629" y="2985242"/>
                </a:lnTo>
                <a:lnTo>
                  <a:pt x="9572726" y="3017209"/>
                </a:lnTo>
                <a:lnTo>
                  <a:pt x="9538401" y="3049175"/>
                </a:lnTo>
                <a:lnTo>
                  <a:pt x="9540854" y="3095895"/>
                </a:lnTo>
                <a:lnTo>
                  <a:pt x="9506529" y="3120484"/>
                </a:lnTo>
                <a:lnTo>
                  <a:pt x="9484464" y="3122943"/>
                </a:lnTo>
                <a:lnTo>
                  <a:pt x="9477109" y="3159828"/>
                </a:lnTo>
                <a:lnTo>
                  <a:pt x="9450141" y="3167204"/>
                </a:lnTo>
                <a:lnTo>
                  <a:pt x="9442785" y="3204089"/>
                </a:lnTo>
                <a:lnTo>
                  <a:pt x="9381493" y="3221302"/>
                </a:lnTo>
                <a:lnTo>
                  <a:pt x="9337362" y="3213925"/>
                </a:lnTo>
                <a:lnTo>
                  <a:pt x="9280972" y="3233596"/>
                </a:lnTo>
                <a:lnTo>
                  <a:pt x="9224584" y="3277857"/>
                </a:lnTo>
                <a:lnTo>
                  <a:pt x="9202518" y="3297528"/>
                </a:lnTo>
                <a:lnTo>
                  <a:pt x="9187808" y="3248350"/>
                </a:lnTo>
                <a:lnTo>
                  <a:pt x="9165743" y="3236056"/>
                </a:lnTo>
                <a:lnTo>
                  <a:pt x="9151033" y="3277857"/>
                </a:lnTo>
                <a:lnTo>
                  <a:pt x="9097096" y="3204089"/>
                </a:lnTo>
                <a:lnTo>
                  <a:pt x="9043158" y="3184418"/>
                </a:lnTo>
                <a:lnTo>
                  <a:pt x="9039513" y="3184418"/>
                </a:lnTo>
                <a:lnTo>
                  <a:pt x="9094802" y="3203550"/>
                </a:lnTo>
                <a:lnTo>
                  <a:pt x="9146571" y="3277126"/>
                </a:lnTo>
                <a:lnTo>
                  <a:pt x="9102197" y="3311461"/>
                </a:lnTo>
                <a:lnTo>
                  <a:pt x="9087406" y="3328629"/>
                </a:lnTo>
                <a:lnTo>
                  <a:pt x="9087406" y="3380133"/>
                </a:lnTo>
                <a:lnTo>
                  <a:pt x="9146571" y="3448804"/>
                </a:lnTo>
                <a:lnTo>
                  <a:pt x="9198341" y="3505213"/>
                </a:lnTo>
                <a:lnTo>
                  <a:pt x="9218063" y="3583694"/>
                </a:lnTo>
                <a:lnTo>
                  <a:pt x="9208203" y="3676890"/>
                </a:lnTo>
                <a:lnTo>
                  <a:pt x="9193411" y="3696510"/>
                </a:lnTo>
                <a:lnTo>
                  <a:pt x="9136711" y="3748014"/>
                </a:lnTo>
                <a:lnTo>
                  <a:pt x="9072614" y="3794613"/>
                </a:lnTo>
                <a:lnTo>
                  <a:pt x="9060289" y="3757825"/>
                </a:lnTo>
                <a:lnTo>
                  <a:pt x="9077545" y="3733298"/>
                </a:lnTo>
                <a:lnTo>
                  <a:pt x="9062754" y="3711226"/>
                </a:lnTo>
                <a:lnTo>
                  <a:pt x="9063766" y="3710507"/>
                </a:lnTo>
                <a:lnTo>
                  <a:pt x="9042523" y="3688904"/>
                </a:lnTo>
                <a:lnTo>
                  <a:pt x="8996419" y="3698774"/>
                </a:lnTo>
                <a:lnTo>
                  <a:pt x="8991567" y="3642025"/>
                </a:lnTo>
                <a:lnTo>
                  <a:pt x="8960021" y="3614884"/>
                </a:lnTo>
                <a:lnTo>
                  <a:pt x="8974581" y="3572939"/>
                </a:lnTo>
                <a:lnTo>
                  <a:pt x="9010536" y="3541252"/>
                </a:lnTo>
                <a:lnTo>
                  <a:pt x="9008944" y="3540235"/>
                </a:lnTo>
                <a:lnTo>
                  <a:pt x="8972111" y="3574436"/>
                </a:lnTo>
                <a:lnTo>
                  <a:pt x="8957377" y="3615965"/>
                </a:lnTo>
                <a:lnTo>
                  <a:pt x="8922997" y="3611078"/>
                </a:lnTo>
                <a:lnTo>
                  <a:pt x="8898441" y="3686807"/>
                </a:lnTo>
                <a:lnTo>
                  <a:pt x="8920542" y="3723451"/>
                </a:lnTo>
                <a:lnTo>
                  <a:pt x="8888619" y="3755208"/>
                </a:lnTo>
                <a:lnTo>
                  <a:pt x="8861608" y="3735664"/>
                </a:lnTo>
                <a:lnTo>
                  <a:pt x="8834995" y="3706784"/>
                </a:lnTo>
                <a:lnTo>
                  <a:pt x="8834837" y="3707013"/>
                </a:lnTo>
                <a:lnTo>
                  <a:pt x="8834721" y="3706487"/>
                </a:lnTo>
                <a:lnTo>
                  <a:pt x="8834596" y="3706351"/>
                </a:lnTo>
                <a:lnTo>
                  <a:pt x="8834667" y="3706239"/>
                </a:lnTo>
                <a:lnTo>
                  <a:pt x="8820191" y="3640524"/>
                </a:lnTo>
                <a:lnTo>
                  <a:pt x="8810428" y="3593735"/>
                </a:lnTo>
                <a:lnTo>
                  <a:pt x="8783577" y="3574036"/>
                </a:lnTo>
                <a:lnTo>
                  <a:pt x="8795782" y="3482921"/>
                </a:lnTo>
                <a:lnTo>
                  <a:pt x="8761607" y="3428745"/>
                </a:lnTo>
                <a:lnTo>
                  <a:pt x="8742081" y="3458295"/>
                </a:lnTo>
                <a:lnTo>
                  <a:pt x="8717670" y="3482921"/>
                </a:lnTo>
                <a:lnTo>
                  <a:pt x="8683497" y="3470608"/>
                </a:lnTo>
                <a:lnTo>
                  <a:pt x="8673733" y="3391807"/>
                </a:lnTo>
                <a:lnTo>
                  <a:pt x="8666410" y="3354868"/>
                </a:lnTo>
                <a:lnTo>
                  <a:pt x="8637119" y="3313005"/>
                </a:lnTo>
                <a:lnTo>
                  <a:pt x="8605386" y="3285918"/>
                </a:lnTo>
                <a:lnTo>
                  <a:pt x="8607827" y="3266217"/>
                </a:lnTo>
                <a:lnTo>
                  <a:pt x="8608826" y="3264490"/>
                </a:lnTo>
                <a:lnTo>
                  <a:pt x="8589623" y="3259723"/>
                </a:lnTo>
                <a:lnTo>
                  <a:pt x="8559742" y="3220151"/>
                </a:lnTo>
                <a:lnTo>
                  <a:pt x="8564722" y="3185529"/>
                </a:lnTo>
                <a:lnTo>
                  <a:pt x="8544802" y="3158323"/>
                </a:lnTo>
                <a:lnTo>
                  <a:pt x="8534841" y="3185529"/>
                </a:lnTo>
                <a:lnTo>
                  <a:pt x="8502469" y="3197893"/>
                </a:lnTo>
                <a:lnTo>
                  <a:pt x="8499979" y="3237464"/>
                </a:lnTo>
                <a:lnTo>
                  <a:pt x="8462418" y="3233075"/>
                </a:lnTo>
                <a:lnTo>
                  <a:pt x="8462429" y="3233503"/>
                </a:lnTo>
                <a:lnTo>
                  <a:pt x="8437862" y="3238427"/>
                </a:lnTo>
                <a:lnTo>
                  <a:pt x="8413294" y="3253200"/>
                </a:lnTo>
                <a:lnTo>
                  <a:pt x="8413294" y="3297520"/>
                </a:lnTo>
                <a:lnTo>
                  <a:pt x="8401010" y="3309831"/>
                </a:lnTo>
                <a:lnTo>
                  <a:pt x="8373986" y="3349226"/>
                </a:lnTo>
                <a:lnTo>
                  <a:pt x="8329766" y="3363999"/>
                </a:lnTo>
                <a:lnTo>
                  <a:pt x="8305199" y="3396007"/>
                </a:lnTo>
                <a:lnTo>
                  <a:pt x="8268347" y="3410781"/>
                </a:lnTo>
                <a:lnTo>
                  <a:pt x="8251149" y="3460026"/>
                </a:lnTo>
                <a:lnTo>
                  <a:pt x="8214299" y="3487109"/>
                </a:lnTo>
                <a:lnTo>
                  <a:pt x="8162708" y="3516657"/>
                </a:lnTo>
                <a:lnTo>
                  <a:pt x="8177447" y="3644691"/>
                </a:lnTo>
                <a:lnTo>
                  <a:pt x="8162708" y="3649616"/>
                </a:lnTo>
                <a:lnTo>
                  <a:pt x="8177447" y="3708708"/>
                </a:lnTo>
                <a:lnTo>
                  <a:pt x="8150423" y="3750567"/>
                </a:lnTo>
                <a:lnTo>
                  <a:pt x="8128313" y="3792424"/>
                </a:lnTo>
                <a:lnTo>
                  <a:pt x="8086549" y="3812122"/>
                </a:lnTo>
                <a:lnTo>
                  <a:pt x="8066895" y="3797348"/>
                </a:lnTo>
                <a:lnTo>
                  <a:pt x="8059525" y="3750567"/>
                </a:lnTo>
                <a:lnTo>
                  <a:pt x="8015304" y="3654540"/>
                </a:lnTo>
                <a:lnTo>
                  <a:pt x="7978453" y="3543740"/>
                </a:lnTo>
                <a:lnTo>
                  <a:pt x="7934232" y="3479723"/>
                </a:lnTo>
                <a:lnTo>
                  <a:pt x="7917034" y="3393545"/>
                </a:lnTo>
                <a:lnTo>
                  <a:pt x="7917034" y="3317217"/>
                </a:lnTo>
                <a:lnTo>
                  <a:pt x="7907208" y="3255662"/>
                </a:lnTo>
                <a:lnTo>
                  <a:pt x="7890010" y="3218729"/>
                </a:lnTo>
                <a:lnTo>
                  <a:pt x="7890010" y="3253200"/>
                </a:lnTo>
                <a:lnTo>
                  <a:pt x="7862986" y="3277822"/>
                </a:lnTo>
                <a:lnTo>
                  <a:pt x="7811395" y="3275360"/>
                </a:lnTo>
                <a:lnTo>
                  <a:pt x="7772086" y="3221191"/>
                </a:lnTo>
                <a:lnTo>
                  <a:pt x="7794197" y="3194107"/>
                </a:lnTo>
                <a:lnTo>
                  <a:pt x="7762260" y="3196569"/>
                </a:lnTo>
                <a:lnTo>
                  <a:pt x="7745062" y="3167023"/>
                </a:lnTo>
                <a:lnTo>
                  <a:pt x="7764717" y="3144863"/>
                </a:lnTo>
                <a:lnTo>
                  <a:pt x="7833506" y="3144863"/>
                </a:lnTo>
                <a:lnTo>
                  <a:pt x="7833641" y="3144044"/>
                </a:lnTo>
                <a:lnTo>
                  <a:pt x="7764468" y="3144044"/>
                </a:lnTo>
                <a:lnTo>
                  <a:pt x="7744679" y="3166146"/>
                </a:lnTo>
                <a:lnTo>
                  <a:pt x="7712522" y="3144044"/>
                </a:lnTo>
                <a:lnTo>
                  <a:pt x="7670472" y="3117030"/>
                </a:lnTo>
                <a:lnTo>
                  <a:pt x="7665524" y="3087561"/>
                </a:lnTo>
                <a:lnTo>
                  <a:pt x="7623474" y="3102296"/>
                </a:lnTo>
                <a:lnTo>
                  <a:pt x="7564108" y="3102296"/>
                </a:lnTo>
                <a:lnTo>
                  <a:pt x="7549266" y="3070370"/>
                </a:lnTo>
                <a:lnTo>
                  <a:pt x="7525895" y="3062635"/>
                </a:lnTo>
                <a:lnTo>
                  <a:pt x="7516882" y="3093890"/>
                </a:lnTo>
                <a:lnTo>
                  <a:pt x="7494631" y="3086540"/>
                </a:lnTo>
                <a:lnTo>
                  <a:pt x="7388321" y="3093890"/>
                </a:lnTo>
                <a:lnTo>
                  <a:pt x="7348765" y="3069391"/>
                </a:lnTo>
                <a:lnTo>
                  <a:pt x="7338875" y="3013045"/>
                </a:lnTo>
                <a:lnTo>
                  <a:pt x="7316624" y="3003245"/>
                </a:lnTo>
                <a:lnTo>
                  <a:pt x="7301790" y="3032644"/>
                </a:lnTo>
                <a:lnTo>
                  <a:pt x="7193008" y="3027743"/>
                </a:lnTo>
                <a:lnTo>
                  <a:pt x="7173229" y="2998345"/>
                </a:lnTo>
                <a:lnTo>
                  <a:pt x="7141089" y="2995895"/>
                </a:lnTo>
                <a:lnTo>
                  <a:pt x="7146034" y="2976296"/>
                </a:lnTo>
                <a:lnTo>
                  <a:pt x="7113894" y="2964047"/>
                </a:lnTo>
                <a:lnTo>
                  <a:pt x="7104004" y="2915050"/>
                </a:lnTo>
                <a:lnTo>
                  <a:pt x="7086698" y="2880752"/>
                </a:lnTo>
                <a:lnTo>
                  <a:pt x="7086698" y="2897900"/>
                </a:lnTo>
                <a:lnTo>
                  <a:pt x="7049614" y="2905250"/>
                </a:lnTo>
                <a:lnTo>
                  <a:pt x="7034779" y="2888101"/>
                </a:lnTo>
                <a:lnTo>
                  <a:pt x="7034506" y="2886206"/>
                </a:lnTo>
                <a:lnTo>
                  <a:pt x="7003473" y="2897995"/>
                </a:lnTo>
                <a:lnTo>
                  <a:pt x="6983757" y="2902864"/>
                </a:lnTo>
                <a:lnTo>
                  <a:pt x="6978827" y="2953992"/>
                </a:lnTo>
                <a:lnTo>
                  <a:pt x="6954180" y="2973467"/>
                </a:lnTo>
                <a:lnTo>
                  <a:pt x="6931999" y="2961295"/>
                </a:lnTo>
                <a:lnTo>
                  <a:pt x="6892564" y="2936949"/>
                </a:lnTo>
                <a:lnTo>
                  <a:pt x="6880223" y="2915383"/>
                </a:lnTo>
                <a:lnTo>
                  <a:pt x="6893210" y="2938410"/>
                </a:lnTo>
                <a:lnTo>
                  <a:pt x="6954418" y="2975222"/>
                </a:lnTo>
                <a:lnTo>
                  <a:pt x="6978902" y="2955589"/>
                </a:lnTo>
                <a:lnTo>
                  <a:pt x="7027868" y="2958043"/>
                </a:lnTo>
                <a:lnTo>
                  <a:pt x="7067042" y="3002216"/>
                </a:lnTo>
                <a:lnTo>
                  <a:pt x="7118458" y="3051297"/>
                </a:lnTo>
                <a:lnTo>
                  <a:pt x="7120906" y="3095469"/>
                </a:lnTo>
                <a:lnTo>
                  <a:pt x="7140492" y="3112648"/>
                </a:lnTo>
                <a:lnTo>
                  <a:pt x="7169872" y="3193633"/>
                </a:lnTo>
                <a:lnTo>
                  <a:pt x="7170404" y="3193670"/>
                </a:lnTo>
                <a:lnTo>
                  <a:pt x="7143056" y="3115561"/>
                </a:lnTo>
                <a:lnTo>
                  <a:pt x="7176847" y="3142324"/>
                </a:lnTo>
                <a:lnTo>
                  <a:pt x="7205811" y="3152057"/>
                </a:lnTo>
                <a:lnTo>
                  <a:pt x="7263738" y="3142324"/>
                </a:lnTo>
                <a:lnTo>
                  <a:pt x="7290288" y="3113128"/>
                </a:lnTo>
                <a:lnTo>
                  <a:pt x="7319252" y="3076632"/>
                </a:lnTo>
                <a:lnTo>
                  <a:pt x="7328604" y="3121411"/>
                </a:lnTo>
                <a:lnTo>
                  <a:pt x="7329211" y="3120426"/>
                </a:lnTo>
                <a:lnTo>
                  <a:pt x="7353714" y="3149871"/>
                </a:lnTo>
                <a:lnTo>
                  <a:pt x="7417418" y="3159686"/>
                </a:lnTo>
                <a:lnTo>
                  <a:pt x="7419869" y="3194039"/>
                </a:lnTo>
                <a:lnTo>
                  <a:pt x="7449272" y="3203854"/>
                </a:lnTo>
                <a:lnTo>
                  <a:pt x="7439471" y="3270107"/>
                </a:lnTo>
                <a:lnTo>
                  <a:pt x="7412518" y="3284829"/>
                </a:lnTo>
                <a:lnTo>
                  <a:pt x="7397818" y="3311821"/>
                </a:lnTo>
                <a:lnTo>
                  <a:pt x="7390466" y="3378073"/>
                </a:lnTo>
                <a:lnTo>
                  <a:pt x="7351263" y="3387888"/>
                </a:lnTo>
                <a:lnTo>
                  <a:pt x="7334112" y="3409973"/>
                </a:lnTo>
                <a:lnTo>
                  <a:pt x="7302260" y="3417334"/>
                </a:lnTo>
                <a:lnTo>
                  <a:pt x="7282658" y="3454141"/>
                </a:lnTo>
                <a:lnTo>
                  <a:pt x="7221403" y="3463956"/>
                </a:lnTo>
                <a:lnTo>
                  <a:pt x="7199350" y="3409973"/>
                </a:lnTo>
                <a:lnTo>
                  <a:pt x="7199247" y="3409643"/>
                </a:lnTo>
                <a:lnTo>
                  <a:pt x="7199482" y="3410392"/>
                </a:lnTo>
                <a:lnTo>
                  <a:pt x="7221597" y="3464699"/>
                </a:lnTo>
                <a:lnTo>
                  <a:pt x="7192110" y="3489383"/>
                </a:lnTo>
                <a:lnTo>
                  <a:pt x="7192110" y="3516536"/>
                </a:lnTo>
                <a:lnTo>
                  <a:pt x="7113481" y="3531347"/>
                </a:lnTo>
                <a:lnTo>
                  <a:pt x="7086451" y="3556031"/>
                </a:lnTo>
                <a:lnTo>
                  <a:pt x="6993079" y="3558501"/>
                </a:lnTo>
                <a:lnTo>
                  <a:pt x="6980794" y="3570843"/>
                </a:lnTo>
                <a:lnTo>
                  <a:pt x="6946393" y="3605401"/>
                </a:lnTo>
                <a:lnTo>
                  <a:pt x="6919365" y="3632554"/>
                </a:lnTo>
                <a:lnTo>
                  <a:pt x="6882507" y="3612806"/>
                </a:lnTo>
                <a:lnTo>
                  <a:pt x="6867763" y="3588121"/>
                </a:lnTo>
                <a:lnTo>
                  <a:pt x="6867763" y="3546158"/>
                </a:lnTo>
                <a:lnTo>
                  <a:pt x="6862849" y="3464699"/>
                </a:lnTo>
                <a:lnTo>
                  <a:pt x="6889878" y="3447419"/>
                </a:lnTo>
                <a:lnTo>
                  <a:pt x="6931650" y="3444951"/>
                </a:lnTo>
                <a:lnTo>
                  <a:pt x="6973422" y="3447419"/>
                </a:lnTo>
                <a:lnTo>
                  <a:pt x="6986246" y="3451714"/>
                </a:lnTo>
                <a:lnTo>
                  <a:pt x="6986246" y="3451308"/>
                </a:lnTo>
                <a:lnTo>
                  <a:pt x="6971556" y="3446400"/>
                </a:lnTo>
                <a:lnTo>
                  <a:pt x="6929934" y="3443945"/>
                </a:lnTo>
                <a:lnTo>
                  <a:pt x="6888312" y="3446400"/>
                </a:lnTo>
                <a:lnTo>
                  <a:pt x="6861380" y="3461124"/>
                </a:lnTo>
                <a:lnTo>
                  <a:pt x="6822207" y="3416951"/>
                </a:lnTo>
                <a:lnTo>
                  <a:pt x="6809965" y="3372777"/>
                </a:lnTo>
                <a:lnTo>
                  <a:pt x="6787930" y="3335967"/>
                </a:lnTo>
                <a:lnTo>
                  <a:pt x="6741411" y="3281978"/>
                </a:lnTo>
                <a:lnTo>
                  <a:pt x="6724273" y="3242714"/>
                </a:lnTo>
                <a:lnTo>
                  <a:pt x="6697341" y="3164183"/>
                </a:lnTo>
                <a:lnTo>
                  <a:pt x="6658167" y="3100378"/>
                </a:lnTo>
                <a:lnTo>
                  <a:pt x="6609200" y="3053751"/>
                </a:lnTo>
                <a:lnTo>
                  <a:pt x="6601855" y="2997307"/>
                </a:lnTo>
                <a:lnTo>
                  <a:pt x="6572475" y="2980130"/>
                </a:lnTo>
                <a:lnTo>
                  <a:pt x="6565892" y="2944943"/>
                </a:lnTo>
                <a:lnTo>
                  <a:pt x="6565129" y="2944943"/>
                </a:lnTo>
                <a:lnTo>
                  <a:pt x="6565129" y="2940865"/>
                </a:lnTo>
                <a:lnTo>
                  <a:pt x="6565129" y="2938676"/>
                </a:lnTo>
                <a:lnTo>
                  <a:pt x="6547618" y="2975901"/>
                </a:lnTo>
                <a:lnTo>
                  <a:pt x="6508213" y="2932106"/>
                </a:lnTo>
                <a:lnTo>
                  <a:pt x="6479754" y="2903638"/>
                </a:lnTo>
                <a:lnTo>
                  <a:pt x="6479754" y="2938675"/>
                </a:lnTo>
                <a:lnTo>
                  <a:pt x="6527915" y="3019697"/>
                </a:lnTo>
                <a:lnTo>
                  <a:pt x="6611101" y="3153273"/>
                </a:lnTo>
                <a:lnTo>
                  <a:pt x="6597967" y="3159842"/>
                </a:lnTo>
                <a:lnTo>
                  <a:pt x="6597967" y="3210206"/>
                </a:lnTo>
                <a:lnTo>
                  <a:pt x="6597386" y="3210683"/>
                </a:lnTo>
                <a:lnTo>
                  <a:pt x="6643441" y="3244696"/>
                </a:lnTo>
                <a:lnTo>
                  <a:pt x="6660645" y="3291503"/>
                </a:lnTo>
                <a:lnTo>
                  <a:pt x="6665560" y="3325992"/>
                </a:lnTo>
                <a:lnTo>
                  <a:pt x="6640983" y="3392506"/>
                </a:lnTo>
                <a:lnTo>
                  <a:pt x="6643441" y="3436848"/>
                </a:lnTo>
                <a:lnTo>
                  <a:pt x="6658187" y="3473801"/>
                </a:lnTo>
                <a:lnTo>
                  <a:pt x="6658187" y="3503363"/>
                </a:lnTo>
                <a:lnTo>
                  <a:pt x="6628694" y="3500899"/>
                </a:lnTo>
                <a:lnTo>
                  <a:pt x="6626236" y="3527998"/>
                </a:lnTo>
                <a:lnTo>
                  <a:pt x="6628155" y="3528576"/>
                </a:lnTo>
                <a:lnTo>
                  <a:pt x="6630589" y="3501955"/>
                </a:lnTo>
                <a:lnTo>
                  <a:pt x="6660078" y="3504399"/>
                </a:lnTo>
                <a:lnTo>
                  <a:pt x="6660078" y="3475074"/>
                </a:lnTo>
                <a:lnTo>
                  <a:pt x="6645333" y="3440863"/>
                </a:lnTo>
                <a:lnTo>
                  <a:pt x="6642876" y="3394434"/>
                </a:lnTo>
                <a:lnTo>
                  <a:pt x="6667449" y="3328455"/>
                </a:lnTo>
                <a:lnTo>
                  <a:pt x="6679736" y="3357779"/>
                </a:lnTo>
                <a:lnTo>
                  <a:pt x="6699396" y="3389546"/>
                </a:lnTo>
                <a:lnTo>
                  <a:pt x="6714140" y="3411539"/>
                </a:lnTo>
                <a:lnTo>
                  <a:pt x="6738714" y="3455526"/>
                </a:lnTo>
                <a:lnTo>
                  <a:pt x="6753458" y="3482406"/>
                </a:lnTo>
                <a:lnTo>
                  <a:pt x="6755916" y="3514173"/>
                </a:lnTo>
                <a:lnTo>
                  <a:pt x="6797691" y="3526391"/>
                </a:lnTo>
                <a:lnTo>
                  <a:pt x="6817351" y="3572821"/>
                </a:lnTo>
                <a:lnTo>
                  <a:pt x="6844382" y="3624138"/>
                </a:lnTo>
                <a:lnTo>
                  <a:pt x="6835116" y="3649475"/>
                </a:lnTo>
                <a:lnTo>
                  <a:pt x="6901979" y="3691392"/>
                </a:lnTo>
                <a:lnTo>
                  <a:pt x="6865828" y="3723745"/>
                </a:lnTo>
                <a:lnTo>
                  <a:pt x="6868955" y="3724328"/>
                </a:lnTo>
                <a:lnTo>
                  <a:pt x="6869249" y="3724593"/>
                </a:lnTo>
                <a:lnTo>
                  <a:pt x="6903426" y="3692886"/>
                </a:lnTo>
                <a:lnTo>
                  <a:pt x="6945203" y="3707617"/>
                </a:lnTo>
                <a:lnTo>
                  <a:pt x="7018928" y="3714983"/>
                </a:lnTo>
                <a:lnTo>
                  <a:pt x="7041044" y="3697796"/>
                </a:lnTo>
                <a:lnTo>
                  <a:pt x="7065618" y="3685521"/>
                </a:lnTo>
                <a:lnTo>
                  <a:pt x="7102481" y="3678155"/>
                </a:lnTo>
                <a:lnTo>
                  <a:pt x="7141800" y="3643783"/>
                </a:lnTo>
                <a:lnTo>
                  <a:pt x="7171290" y="3680610"/>
                </a:lnTo>
                <a:lnTo>
                  <a:pt x="7190950" y="3705162"/>
                </a:lnTo>
                <a:lnTo>
                  <a:pt x="7171290" y="3724803"/>
                </a:lnTo>
                <a:lnTo>
                  <a:pt x="7159003" y="3768998"/>
                </a:lnTo>
                <a:lnTo>
                  <a:pt x="7129513" y="3808281"/>
                </a:lnTo>
                <a:lnTo>
                  <a:pt x="7107396" y="3857385"/>
                </a:lnTo>
                <a:lnTo>
                  <a:pt x="7092651" y="3926130"/>
                </a:lnTo>
                <a:lnTo>
                  <a:pt x="7053331" y="3982600"/>
                </a:lnTo>
                <a:lnTo>
                  <a:pt x="6989437" y="4048890"/>
                </a:lnTo>
                <a:lnTo>
                  <a:pt x="6923086" y="4107814"/>
                </a:lnTo>
                <a:lnTo>
                  <a:pt x="6881309" y="4137277"/>
                </a:lnTo>
                <a:lnTo>
                  <a:pt x="6859192" y="4174106"/>
                </a:lnTo>
                <a:lnTo>
                  <a:pt x="6834391" y="4205641"/>
                </a:lnTo>
                <a:lnTo>
                  <a:pt x="6835447" y="4206162"/>
                </a:lnTo>
                <a:lnTo>
                  <a:pt x="6820614" y="4220780"/>
                </a:lnTo>
                <a:lnTo>
                  <a:pt x="6808253" y="4245143"/>
                </a:lnTo>
                <a:lnTo>
                  <a:pt x="6781059" y="4269507"/>
                </a:lnTo>
                <a:lnTo>
                  <a:pt x="6776115" y="4291432"/>
                </a:lnTo>
                <a:lnTo>
                  <a:pt x="6763754" y="4315796"/>
                </a:lnTo>
                <a:lnTo>
                  <a:pt x="6707562" y="4286906"/>
                </a:lnTo>
                <a:lnTo>
                  <a:pt x="6707771" y="4289589"/>
                </a:lnTo>
                <a:lnTo>
                  <a:pt x="6762066" y="4316567"/>
                </a:lnTo>
                <a:lnTo>
                  <a:pt x="6764534" y="4336187"/>
                </a:lnTo>
                <a:lnTo>
                  <a:pt x="6764534" y="4363165"/>
                </a:lnTo>
                <a:lnTo>
                  <a:pt x="6752194" y="4377880"/>
                </a:lnTo>
                <a:lnTo>
                  <a:pt x="6747259" y="4404859"/>
                </a:lnTo>
                <a:lnTo>
                  <a:pt x="6767003" y="4409764"/>
                </a:lnTo>
                <a:lnTo>
                  <a:pt x="6764534" y="4449004"/>
                </a:lnTo>
                <a:lnTo>
                  <a:pt x="6771939" y="4488244"/>
                </a:lnTo>
                <a:lnTo>
                  <a:pt x="6774407" y="4532391"/>
                </a:lnTo>
                <a:lnTo>
                  <a:pt x="6789215" y="4547107"/>
                </a:lnTo>
                <a:lnTo>
                  <a:pt x="6799086" y="4566727"/>
                </a:lnTo>
                <a:lnTo>
                  <a:pt x="6757130" y="4576536"/>
                </a:lnTo>
                <a:lnTo>
                  <a:pt x="6749727" y="4593704"/>
                </a:lnTo>
                <a:lnTo>
                  <a:pt x="6707771" y="4593704"/>
                </a:lnTo>
                <a:lnTo>
                  <a:pt x="6700367" y="4615778"/>
                </a:lnTo>
                <a:lnTo>
                  <a:pt x="6628799" y="4608666"/>
                </a:lnTo>
                <a:lnTo>
                  <a:pt x="6629928" y="4612055"/>
                </a:lnTo>
                <a:lnTo>
                  <a:pt x="6701030" y="4616965"/>
                </a:lnTo>
                <a:lnTo>
                  <a:pt x="6708386" y="4594870"/>
                </a:lnTo>
                <a:lnTo>
                  <a:pt x="6750066" y="4594870"/>
                </a:lnTo>
                <a:lnTo>
                  <a:pt x="6757422" y="4577685"/>
                </a:lnTo>
                <a:lnTo>
                  <a:pt x="6799103" y="4567866"/>
                </a:lnTo>
                <a:lnTo>
                  <a:pt x="6799103" y="4641514"/>
                </a:lnTo>
                <a:lnTo>
                  <a:pt x="6799103" y="4771628"/>
                </a:lnTo>
                <a:lnTo>
                  <a:pt x="6777036" y="4796178"/>
                </a:lnTo>
                <a:lnTo>
                  <a:pt x="6767230" y="4820727"/>
                </a:lnTo>
                <a:lnTo>
                  <a:pt x="6710837" y="4828092"/>
                </a:lnTo>
                <a:lnTo>
                  <a:pt x="6705934" y="4847732"/>
                </a:lnTo>
                <a:lnTo>
                  <a:pt x="6681416" y="4855097"/>
                </a:lnTo>
                <a:lnTo>
                  <a:pt x="6671608" y="4864917"/>
                </a:lnTo>
                <a:lnTo>
                  <a:pt x="6661801" y="4909106"/>
                </a:lnTo>
                <a:lnTo>
                  <a:pt x="6632379" y="4918926"/>
                </a:lnTo>
                <a:lnTo>
                  <a:pt x="6612766" y="4933657"/>
                </a:lnTo>
                <a:lnTo>
                  <a:pt x="6602958" y="4953295"/>
                </a:lnTo>
                <a:lnTo>
                  <a:pt x="6600505" y="5031855"/>
                </a:lnTo>
                <a:lnTo>
                  <a:pt x="6607861" y="5034309"/>
                </a:lnTo>
                <a:lnTo>
                  <a:pt x="6607861" y="5107959"/>
                </a:lnTo>
                <a:lnTo>
                  <a:pt x="6612766" y="5139873"/>
                </a:lnTo>
                <a:lnTo>
                  <a:pt x="6600505" y="5142329"/>
                </a:lnTo>
                <a:lnTo>
                  <a:pt x="6598054" y="5161969"/>
                </a:lnTo>
                <a:lnTo>
                  <a:pt x="6571084" y="5161969"/>
                </a:lnTo>
                <a:lnTo>
                  <a:pt x="6561276" y="5171788"/>
                </a:lnTo>
                <a:lnTo>
                  <a:pt x="6529403" y="5176698"/>
                </a:lnTo>
                <a:lnTo>
                  <a:pt x="6524499" y="5203703"/>
                </a:lnTo>
                <a:lnTo>
                  <a:pt x="6524499" y="5228253"/>
                </a:lnTo>
                <a:lnTo>
                  <a:pt x="6524499" y="5255257"/>
                </a:lnTo>
                <a:lnTo>
                  <a:pt x="6522048" y="5274897"/>
                </a:lnTo>
                <a:lnTo>
                  <a:pt x="6519739" y="5274126"/>
                </a:lnTo>
                <a:lnTo>
                  <a:pt x="6521079" y="5274686"/>
                </a:lnTo>
                <a:lnTo>
                  <a:pt x="6501424" y="5314163"/>
                </a:lnTo>
                <a:lnTo>
                  <a:pt x="6474397" y="5316630"/>
                </a:lnTo>
                <a:lnTo>
                  <a:pt x="6462111" y="5353638"/>
                </a:lnTo>
                <a:lnTo>
                  <a:pt x="6454741" y="5395580"/>
                </a:lnTo>
                <a:lnTo>
                  <a:pt x="6408057" y="5435056"/>
                </a:lnTo>
                <a:lnTo>
                  <a:pt x="6378574" y="5457261"/>
                </a:lnTo>
                <a:lnTo>
                  <a:pt x="6351547" y="5504137"/>
                </a:lnTo>
                <a:lnTo>
                  <a:pt x="6324520" y="5521409"/>
                </a:lnTo>
                <a:lnTo>
                  <a:pt x="6272923" y="5528809"/>
                </a:lnTo>
                <a:lnTo>
                  <a:pt x="6255724" y="5543613"/>
                </a:lnTo>
                <a:lnTo>
                  <a:pt x="6213957" y="5560884"/>
                </a:lnTo>
                <a:lnTo>
                  <a:pt x="6206585" y="5548547"/>
                </a:lnTo>
                <a:lnTo>
                  <a:pt x="6132876" y="5546081"/>
                </a:lnTo>
                <a:lnTo>
                  <a:pt x="6113219" y="5573219"/>
                </a:lnTo>
                <a:lnTo>
                  <a:pt x="6091107" y="5588022"/>
                </a:lnTo>
                <a:lnTo>
                  <a:pt x="6046881" y="5583088"/>
                </a:lnTo>
                <a:lnTo>
                  <a:pt x="5983000" y="5499203"/>
                </a:lnTo>
                <a:lnTo>
                  <a:pt x="6002655" y="5484400"/>
                </a:lnTo>
                <a:lnTo>
                  <a:pt x="6007570" y="5454793"/>
                </a:lnTo>
                <a:lnTo>
                  <a:pt x="5990371" y="5454793"/>
                </a:lnTo>
                <a:lnTo>
                  <a:pt x="5990371" y="5439990"/>
                </a:lnTo>
                <a:lnTo>
                  <a:pt x="5975629" y="5432589"/>
                </a:lnTo>
                <a:lnTo>
                  <a:pt x="5973172" y="5385711"/>
                </a:lnTo>
                <a:lnTo>
                  <a:pt x="5948602" y="5375843"/>
                </a:lnTo>
                <a:lnTo>
                  <a:pt x="5948602" y="5336367"/>
                </a:lnTo>
                <a:lnTo>
                  <a:pt x="5941231" y="5319097"/>
                </a:lnTo>
                <a:lnTo>
                  <a:pt x="5965801" y="5316630"/>
                </a:lnTo>
                <a:lnTo>
                  <a:pt x="5975248" y="5304772"/>
                </a:lnTo>
                <a:lnTo>
                  <a:pt x="5974813" y="5303980"/>
                </a:lnTo>
                <a:lnTo>
                  <a:pt x="5964939" y="5316273"/>
                </a:lnTo>
                <a:lnTo>
                  <a:pt x="5940254" y="5318731"/>
                </a:lnTo>
                <a:lnTo>
                  <a:pt x="5930380" y="5286773"/>
                </a:lnTo>
                <a:lnTo>
                  <a:pt x="5910631" y="5264648"/>
                </a:lnTo>
                <a:lnTo>
                  <a:pt x="5885944" y="5259730"/>
                </a:lnTo>
                <a:lnTo>
                  <a:pt x="5888414" y="5213022"/>
                </a:lnTo>
                <a:lnTo>
                  <a:pt x="5878539" y="5158939"/>
                </a:lnTo>
                <a:lnTo>
                  <a:pt x="5876070" y="5122065"/>
                </a:lnTo>
                <a:lnTo>
                  <a:pt x="5873602" y="5072897"/>
                </a:lnTo>
                <a:lnTo>
                  <a:pt x="5861260" y="5038481"/>
                </a:lnTo>
                <a:lnTo>
                  <a:pt x="5848916" y="5011439"/>
                </a:lnTo>
                <a:lnTo>
                  <a:pt x="5836573" y="4986856"/>
                </a:lnTo>
                <a:lnTo>
                  <a:pt x="5814356" y="4942606"/>
                </a:lnTo>
                <a:lnTo>
                  <a:pt x="5802013" y="4918023"/>
                </a:lnTo>
                <a:lnTo>
                  <a:pt x="5774858" y="4881147"/>
                </a:lnTo>
                <a:lnTo>
                  <a:pt x="5777328" y="4834439"/>
                </a:lnTo>
                <a:lnTo>
                  <a:pt x="5811887" y="4819690"/>
                </a:lnTo>
                <a:lnTo>
                  <a:pt x="5851385" y="4836897"/>
                </a:lnTo>
                <a:lnTo>
                  <a:pt x="5913099" y="4841815"/>
                </a:lnTo>
                <a:lnTo>
                  <a:pt x="6004198" y="4839362"/>
                </a:lnTo>
                <a:lnTo>
                  <a:pt x="6003061" y="4837542"/>
                </a:lnTo>
                <a:lnTo>
                  <a:pt x="5912165" y="4840002"/>
                </a:lnTo>
                <a:lnTo>
                  <a:pt x="5850748" y="4835083"/>
                </a:lnTo>
                <a:lnTo>
                  <a:pt x="5811441" y="4817866"/>
                </a:lnTo>
                <a:lnTo>
                  <a:pt x="5777048" y="4832624"/>
                </a:lnTo>
                <a:lnTo>
                  <a:pt x="5777048" y="4773596"/>
                </a:lnTo>
                <a:lnTo>
                  <a:pt x="5816355" y="4702273"/>
                </a:lnTo>
                <a:lnTo>
                  <a:pt x="5836009" y="4655542"/>
                </a:lnTo>
                <a:lnTo>
                  <a:pt x="5838465" y="4645704"/>
                </a:lnTo>
                <a:lnTo>
                  <a:pt x="5855661" y="4640786"/>
                </a:lnTo>
                <a:lnTo>
                  <a:pt x="5863031" y="4603894"/>
                </a:lnTo>
                <a:lnTo>
                  <a:pt x="5840922" y="4567003"/>
                </a:lnTo>
                <a:lnTo>
                  <a:pt x="5833552" y="4520274"/>
                </a:lnTo>
                <a:lnTo>
                  <a:pt x="5828638" y="4471084"/>
                </a:lnTo>
                <a:lnTo>
                  <a:pt x="5811441" y="4458787"/>
                </a:lnTo>
                <a:lnTo>
                  <a:pt x="5811441" y="4404679"/>
                </a:lnTo>
                <a:lnTo>
                  <a:pt x="5789332" y="4404679"/>
                </a:lnTo>
                <a:lnTo>
                  <a:pt x="5796702" y="4382544"/>
                </a:lnTo>
                <a:lnTo>
                  <a:pt x="5811441" y="4387463"/>
                </a:lnTo>
                <a:lnTo>
                  <a:pt x="5863031" y="4389923"/>
                </a:lnTo>
                <a:lnTo>
                  <a:pt x="5899882" y="4375166"/>
                </a:lnTo>
                <a:lnTo>
                  <a:pt x="5963755" y="4382544"/>
                </a:lnTo>
                <a:lnTo>
                  <a:pt x="5978496" y="4444030"/>
                </a:lnTo>
                <a:lnTo>
                  <a:pt x="5994943" y="4448735"/>
                </a:lnTo>
                <a:lnTo>
                  <a:pt x="5994819" y="4447612"/>
                </a:lnTo>
                <a:lnTo>
                  <a:pt x="5980147" y="4442683"/>
                </a:lnTo>
                <a:lnTo>
                  <a:pt x="5965475" y="4381074"/>
                </a:lnTo>
                <a:lnTo>
                  <a:pt x="5899453" y="4373680"/>
                </a:lnTo>
                <a:lnTo>
                  <a:pt x="5865219" y="4388467"/>
                </a:lnTo>
                <a:lnTo>
                  <a:pt x="5813867" y="4386003"/>
                </a:lnTo>
                <a:lnTo>
                  <a:pt x="5796750" y="4378609"/>
                </a:lnTo>
                <a:lnTo>
                  <a:pt x="5799195" y="4363823"/>
                </a:lnTo>
                <a:lnTo>
                  <a:pt x="5813867" y="4356430"/>
                </a:lnTo>
                <a:lnTo>
                  <a:pt x="5806531" y="4353965"/>
                </a:lnTo>
                <a:lnTo>
                  <a:pt x="5799195" y="4341644"/>
                </a:lnTo>
                <a:lnTo>
                  <a:pt x="5813867" y="4336715"/>
                </a:lnTo>
                <a:lnTo>
                  <a:pt x="5830984" y="4329323"/>
                </a:lnTo>
                <a:lnTo>
                  <a:pt x="5857883" y="4319465"/>
                </a:lnTo>
                <a:lnTo>
                  <a:pt x="5872555" y="4329323"/>
                </a:lnTo>
                <a:lnTo>
                  <a:pt x="5901898" y="4329323"/>
                </a:lnTo>
                <a:lnTo>
                  <a:pt x="5911679" y="4317000"/>
                </a:lnTo>
                <a:lnTo>
                  <a:pt x="5948358" y="4302214"/>
                </a:lnTo>
                <a:lnTo>
                  <a:pt x="5950804" y="4243069"/>
                </a:lnTo>
                <a:lnTo>
                  <a:pt x="5980147" y="4243069"/>
                </a:lnTo>
                <a:lnTo>
                  <a:pt x="5982592" y="4193781"/>
                </a:lnTo>
                <a:lnTo>
                  <a:pt x="5997264" y="4176531"/>
                </a:lnTo>
                <a:lnTo>
                  <a:pt x="6007045" y="4161745"/>
                </a:lnTo>
                <a:lnTo>
                  <a:pt x="6009490" y="4050847"/>
                </a:lnTo>
                <a:lnTo>
                  <a:pt x="6019271" y="4040990"/>
                </a:lnTo>
                <a:lnTo>
                  <a:pt x="6029052" y="3996631"/>
                </a:lnTo>
                <a:lnTo>
                  <a:pt x="6028235" y="3996264"/>
                </a:lnTo>
                <a:lnTo>
                  <a:pt x="6018659" y="4041400"/>
                </a:lnTo>
                <a:lnTo>
                  <a:pt x="6008797" y="4051185"/>
                </a:lnTo>
                <a:lnTo>
                  <a:pt x="6006332" y="4161279"/>
                </a:lnTo>
                <a:lnTo>
                  <a:pt x="5996470" y="4175958"/>
                </a:lnTo>
                <a:lnTo>
                  <a:pt x="5981678" y="4193084"/>
                </a:lnTo>
                <a:lnTo>
                  <a:pt x="5979212" y="4239567"/>
                </a:lnTo>
                <a:lnTo>
                  <a:pt x="5949628" y="4242013"/>
                </a:lnTo>
                <a:lnTo>
                  <a:pt x="5947161" y="4300730"/>
                </a:lnTo>
                <a:lnTo>
                  <a:pt x="5910181" y="4315408"/>
                </a:lnTo>
                <a:lnTo>
                  <a:pt x="5902784" y="4327642"/>
                </a:lnTo>
                <a:lnTo>
                  <a:pt x="5873199" y="4327642"/>
                </a:lnTo>
                <a:lnTo>
                  <a:pt x="5855942" y="4317855"/>
                </a:lnTo>
                <a:lnTo>
                  <a:pt x="5831287" y="4327642"/>
                </a:lnTo>
                <a:lnTo>
                  <a:pt x="5811564" y="4334980"/>
                </a:lnTo>
                <a:lnTo>
                  <a:pt x="5796771" y="4339874"/>
                </a:lnTo>
                <a:lnTo>
                  <a:pt x="5796771" y="4322748"/>
                </a:lnTo>
                <a:lnTo>
                  <a:pt x="5778724" y="4313794"/>
                </a:lnTo>
                <a:lnTo>
                  <a:pt x="5777236" y="4315780"/>
                </a:lnTo>
                <a:lnTo>
                  <a:pt x="5764997" y="4301075"/>
                </a:lnTo>
                <a:lnTo>
                  <a:pt x="5730723" y="4259409"/>
                </a:lnTo>
                <a:lnTo>
                  <a:pt x="5686659" y="4220194"/>
                </a:lnTo>
                <a:lnTo>
                  <a:pt x="5689107" y="4188332"/>
                </a:lnTo>
                <a:lnTo>
                  <a:pt x="5671970" y="4178528"/>
                </a:lnTo>
                <a:lnTo>
                  <a:pt x="5676866" y="4168724"/>
                </a:lnTo>
                <a:lnTo>
                  <a:pt x="5706244" y="4154019"/>
                </a:lnTo>
                <a:lnTo>
                  <a:pt x="5706244" y="4114823"/>
                </a:lnTo>
                <a:lnTo>
                  <a:pt x="5704806" y="4114583"/>
                </a:lnTo>
                <a:lnTo>
                  <a:pt x="5708883" y="4086043"/>
                </a:lnTo>
                <a:lnTo>
                  <a:pt x="5703252" y="4057669"/>
                </a:lnTo>
                <a:lnTo>
                  <a:pt x="5720352" y="4020736"/>
                </a:lnTo>
                <a:lnTo>
                  <a:pt x="5703252" y="4001039"/>
                </a:lnTo>
                <a:lnTo>
                  <a:pt x="5666608" y="3986265"/>
                </a:lnTo>
                <a:lnTo>
                  <a:pt x="5612863" y="3969031"/>
                </a:lnTo>
                <a:lnTo>
                  <a:pt x="5676380" y="3914863"/>
                </a:lnTo>
                <a:lnTo>
                  <a:pt x="5698366" y="3887778"/>
                </a:lnTo>
                <a:lnTo>
                  <a:pt x="5727681" y="3860695"/>
                </a:lnTo>
                <a:lnTo>
                  <a:pt x="5766768" y="3833610"/>
                </a:lnTo>
                <a:lnTo>
                  <a:pt x="5788755" y="3791753"/>
                </a:lnTo>
                <a:lnTo>
                  <a:pt x="5805855" y="3725275"/>
                </a:lnTo>
                <a:lnTo>
                  <a:pt x="5815627" y="3708039"/>
                </a:lnTo>
                <a:lnTo>
                  <a:pt x="5837613" y="3693267"/>
                </a:lnTo>
                <a:lnTo>
                  <a:pt x="5842498" y="3644023"/>
                </a:lnTo>
                <a:lnTo>
                  <a:pt x="5842327" y="3642643"/>
                </a:lnTo>
                <a:lnTo>
                  <a:pt x="5835102" y="3691171"/>
                </a:lnTo>
                <a:lnTo>
                  <a:pt x="5815483" y="3703523"/>
                </a:lnTo>
                <a:lnTo>
                  <a:pt x="5805673" y="3723286"/>
                </a:lnTo>
                <a:lnTo>
                  <a:pt x="5788507" y="3789991"/>
                </a:lnTo>
                <a:lnTo>
                  <a:pt x="5766436" y="3831989"/>
                </a:lnTo>
                <a:lnTo>
                  <a:pt x="5727198" y="3856694"/>
                </a:lnTo>
                <a:lnTo>
                  <a:pt x="5697769" y="3883871"/>
                </a:lnTo>
                <a:lnTo>
                  <a:pt x="5675697" y="3911046"/>
                </a:lnTo>
                <a:lnTo>
                  <a:pt x="5611936" y="3965397"/>
                </a:lnTo>
                <a:lnTo>
                  <a:pt x="5580056" y="3962926"/>
                </a:lnTo>
                <a:lnTo>
                  <a:pt x="5553080" y="3945632"/>
                </a:lnTo>
                <a:lnTo>
                  <a:pt x="5555532" y="3908576"/>
                </a:lnTo>
                <a:lnTo>
                  <a:pt x="5540818" y="3888811"/>
                </a:lnTo>
                <a:lnTo>
                  <a:pt x="5526104" y="3871517"/>
                </a:lnTo>
                <a:lnTo>
                  <a:pt x="5494222" y="3876459"/>
                </a:lnTo>
                <a:lnTo>
                  <a:pt x="5464794" y="3871517"/>
                </a:lnTo>
                <a:lnTo>
                  <a:pt x="5457437" y="3792462"/>
                </a:lnTo>
                <a:lnTo>
                  <a:pt x="5477056" y="3765286"/>
                </a:lnTo>
                <a:lnTo>
                  <a:pt x="5496674" y="3686230"/>
                </a:lnTo>
                <a:lnTo>
                  <a:pt x="5491955" y="3641056"/>
                </a:lnTo>
                <a:lnTo>
                  <a:pt x="5490916" y="3641056"/>
                </a:lnTo>
                <a:lnTo>
                  <a:pt x="5489457" y="3641169"/>
                </a:lnTo>
                <a:lnTo>
                  <a:pt x="5496567" y="3686208"/>
                </a:lnTo>
                <a:lnTo>
                  <a:pt x="5476865" y="3765040"/>
                </a:lnTo>
                <a:lnTo>
                  <a:pt x="5457162" y="3792139"/>
                </a:lnTo>
                <a:lnTo>
                  <a:pt x="5464550" y="3873435"/>
                </a:lnTo>
                <a:lnTo>
                  <a:pt x="5420221" y="3893143"/>
                </a:lnTo>
                <a:lnTo>
                  <a:pt x="5407907" y="3846336"/>
                </a:lnTo>
                <a:lnTo>
                  <a:pt x="5405445" y="3801994"/>
                </a:lnTo>
                <a:lnTo>
                  <a:pt x="5398057" y="3752723"/>
                </a:lnTo>
                <a:lnTo>
                  <a:pt x="5382130" y="3729964"/>
                </a:lnTo>
                <a:lnTo>
                  <a:pt x="5380971" y="3731555"/>
                </a:lnTo>
                <a:lnTo>
                  <a:pt x="5376320" y="3732226"/>
                </a:lnTo>
                <a:lnTo>
                  <a:pt x="5383006" y="3733563"/>
                </a:lnTo>
                <a:lnTo>
                  <a:pt x="5396141" y="3753271"/>
                </a:lnTo>
                <a:lnTo>
                  <a:pt x="5400519" y="3786116"/>
                </a:lnTo>
                <a:lnTo>
                  <a:pt x="5400519" y="3834292"/>
                </a:lnTo>
                <a:lnTo>
                  <a:pt x="5415842" y="3886847"/>
                </a:lnTo>
                <a:lnTo>
                  <a:pt x="5389573" y="3910934"/>
                </a:lnTo>
                <a:lnTo>
                  <a:pt x="5389326" y="3909490"/>
                </a:lnTo>
                <a:lnTo>
                  <a:pt x="5379082" y="3921584"/>
                </a:lnTo>
                <a:lnTo>
                  <a:pt x="5352276" y="3921584"/>
                </a:lnTo>
                <a:lnTo>
                  <a:pt x="5337655" y="3938849"/>
                </a:lnTo>
                <a:lnTo>
                  <a:pt x="5310848" y="3941315"/>
                </a:lnTo>
                <a:lnTo>
                  <a:pt x="5271856" y="3933916"/>
                </a:lnTo>
                <a:lnTo>
                  <a:pt x="5271754" y="3932724"/>
                </a:lnTo>
                <a:lnTo>
                  <a:pt x="5184085" y="3935140"/>
                </a:lnTo>
                <a:lnTo>
                  <a:pt x="5144589" y="3952281"/>
                </a:lnTo>
                <a:lnTo>
                  <a:pt x="5143826" y="3952015"/>
                </a:lnTo>
                <a:lnTo>
                  <a:pt x="5136793" y="3970590"/>
                </a:lnTo>
                <a:lnTo>
                  <a:pt x="5114736" y="3985149"/>
                </a:lnTo>
                <a:lnTo>
                  <a:pt x="5070631" y="3973016"/>
                </a:lnTo>
                <a:lnTo>
                  <a:pt x="4982411" y="3871104"/>
                </a:lnTo>
                <a:lnTo>
                  <a:pt x="4983192" y="3869666"/>
                </a:lnTo>
                <a:lnTo>
                  <a:pt x="4973976" y="3851397"/>
                </a:lnTo>
                <a:lnTo>
                  <a:pt x="4941450" y="3841482"/>
                </a:lnTo>
                <a:lnTo>
                  <a:pt x="4936446" y="3811734"/>
                </a:lnTo>
                <a:lnTo>
                  <a:pt x="4908925" y="3804298"/>
                </a:lnTo>
                <a:lnTo>
                  <a:pt x="4901533" y="3767669"/>
                </a:lnTo>
                <a:lnTo>
                  <a:pt x="4901138" y="3767774"/>
                </a:lnTo>
                <a:lnTo>
                  <a:pt x="4857201" y="3721247"/>
                </a:lnTo>
                <a:lnTo>
                  <a:pt x="4840261" y="3667836"/>
                </a:lnTo>
                <a:lnTo>
                  <a:pt x="4838733" y="3669799"/>
                </a:lnTo>
                <a:lnTo>
                  <a:pt x="4826458" y="3655096"/>
                </a:lnTo>
                <a:lnTo>
                  <a:pt x="4794552" y="3655096"/>
                </a:lnTo>
                <a:lnTo>
                  <a:pt x="4792097" y="3628142"/>
                </a:lnTo>
                <a:lnTo>
                  <a:pt x="4797007" y="3603636"/>
                </a:lnTo>
                <a:lnTo>
                  <a:pt x="4819097" y="3588934"/>
                </a:lnTo>
                <a:lnTo>
                  <a:pt x="4801915" y="3574231"/>
                </a:lnTo>
                <a:lnTo>
                  <a:pt x="4777369" y="3544825"/>
                </a:lnTo>
                <a:lnTo>
                  <a:pt x="4750372" y="3535024"/>
                </a:lnTo>
                <a:lnTo>
                  <a:pt x="4774914" y="3525222"/>
                </a:lnTo>
                <a:lnTo>
                  <a:pt x="4819097" y="3473762"/>
                </a:lnTo>
                <a:lnTo>
                  <a:pt x="4851004" y="3466411"/>
                </a:lnTo>
                <a:lnTo>
                  <a:pt x="4862670" y="3481940"/>
                </a:lnTo>
                <a:lnTo>
                  <a:pt x="4851335" y="3464910"/>
                </a:lnTo>
                <a:lnTo>
                  <a:pt x="4819319" y="3472310"/>
                </a:lnTo>
                <a:lnTo>
                  <a:pt x="4819319" y="3390896"/>
                </a:lnTo>
                <a:lnTo>
                  <a:pt x="4809470" y="3376094"/>
                </a:lnTo>
                <a:lnTo>
                  <a:pt x="4809470" y="3270009"/>
                </a:lnTo>
                <a:lnTo>
                  <a:pt x="4809544" y="3270035"/>
                </a:lnTo>
                <a:lnTo>
                  <a:pt x="4807287" y="3222467"/>
                </a:lnTo>
                <a:lnTo>
                  <a:pt x="4819564" y="3187947"/>
                </a:lnTo>
                <a:lnTo>
                  <a:pt x="4836759" y="3175618"/>
                </a:lnTo>
                <a:lnTo>
                  <a:pt x="4826932" y="3148497"/>
                </a:lnTo>
                <a:lnTo>
                  <a:pt x="4851488" y="3143565"/>
                </a:lnTo>
                <a:lnTo>
                  <a:pt x="4846578" y="3089321"/>
                </a:lnTo>
                <a:lnTo>
                  <a:pt x="4863766" y="3074527"/>
                </a:lnTo>
                <a:lnTo>
                  <a:pt x="4893233" y="3062199"/>
                </a:lnTo>
                <a:lnTo>
                  <a:pt x="4907967" y="3037543"/>
                </a:lnTo>
                <a:lnTo>
                  <a:pt x="4915334" y="2990695"/>
                </a:lnTo>
                <a:lnTo>
                  <a:pt x="4957079" y="2998091"/>
                </a:lnTo>
                <a:lnTo>
                  <a:pt x="4971813" y="2975901"/>
                </a:lnTo>
                <a:lnTo>
                  <a:pt x="5062672" y="2975901"/>
                </a:lnTo>
                <a:lnTo>
                  <a:pt x="5087146" y="2975901"/>
                </a:lnTo>
                <a:lnTo>
                  <a:pt x="5087755" y="2973775"/>
                </a:lnTo>
                <a:lnTo>
                  <a:pt x="5060606" y="2973775"/>
                </a:lnTo>
                <a:lnTo>
                  <a:pt x="4969279" y="2973775"/>
                </a:lnTo>
                <a:lnTo>
                  <a:pt x="4991494" y="2944307"/>
                </a:lnTo>
                <a:lnTo>
                  <a:pt x="5011239" y="2932028"/>
                </a:lnTo>
                <a:lnTo>
                  <a:pt x="5030987" y="2914839"/>
                </a:lnTo>
                <a:lnTo>
                  <a:pt x="5045796" y="2806788"/>
                </a:lnTo>
                <a:lnTo>
                  <a:pt x="5058137" y="2769953"/>
                </a:lnTo>
                <a:lnTo>
                  <a:pt x="5072946" y="2774865"/>
                </a:lnTo>
                <a:lnTo>
                  <a:pt x="5075414" y="2750308"/>
                </a:lnTo>
                <a:lnTo>
                  <a:pt x="5134652" y="2747852"/>
                </a:lnTo>
                <a:lnTo>
                  <a:pt x="5134652" y="2718385"/>
                </a:lnTo>
                <a:lnTo>
                  <a:pt x="5156868" y="2696284"/>
                </a:lnTo>
                <a:lnTo>
                  <a:pt x="5171678" y="2671727"/>
                </a:lnTo>
                <a:lnTo>
                  <a:pt x="5179083" y="2649625"/>
                </a:lnTo>
                <a:lnTo>
                  <a:pt x="5206233" y="2666814"/>
                </a:lnTo>
                <a:lnTo>
                  <a:pt x="5235852" y="2669271"/>
                </a:lnTo>
                <a:lnTo>
                  <a:pt x="5260520" y="2696284"/>
                </a:lnTo>
                <a:lnTo>
                  <a:pt x="5302480" y="2688916"/>
                </a:lnTo>
                <a:lnTo>
                  <a:pt x="5303417" y="2689848"/>
                </a:lnTo>
                <a:lnTo>
                  <a:pt x="5319062" y="2654107"/>
                </a:lnTo>
                <a:lnTo>
                  <a:pt x="5370679" y="2644281"/>
                </a:lnTo>
                <a:lnTo>
                  <a:pt x="5397716" y="2619713"/>
                </a:lnTo>
                <a:lnTo>
                  <a:pt x="5476371" y="2612344"/>
                </a:lnTo>
                <a:lnTo>
                  <a:pt x="5515697" y="2600061"/>
                </a:lnTo>
                <a:lnTo>
                  <a:pt x="5564858" y="2592691"/>
                </a:lnTo>
                <a:lnTo>
                  <a:pt x="5670549" y="2600061"/>
                </a:lnTo>
                <a:lnTo>
                  <a:pt x="5677367" y="2640948"/>
                </a:lnTo>
                <a:lnTo>
                  <a:pt x="5678458" y="2640948"/>
                </a:lnTo>
                <a:lnTo>
                  <a:pt x="5671173" y="2596744"/>
                </a:lnTo>
                <a:lnTo>
                  <a:pt x="5695454" y="2582008"/>
                </a:lnTo>
                <a:lnTo>
                  <a:pt x="5712449" y="2579553"/>
                </a:lnTo>
                <a:lnTo>
                  <a:pt x="5729444" y="2591832"/>
                </a:lnTo>
                <a:lnTo>
                  <a:pt x="5758579" y="2601655"/>
                </a:lnTo>
                <a:lnTo>
                  <a:pt x="5748867" y="2631125"/>
                </a:lnTo>
                <a:lnTo>
                  <a:pt x="5761008" y="2653227"/>
                </a:lnTo>
                <a:lnTo>
                  <a:pt x="5758579" y="2694976"/>
                </a:lnTo>
                <a:lnTo>
                  <a:pt x="5731872" y="2702343"/>
                </a:lnTo>
                <a:lnTo>
                  <a:pt x="5731872" y="2736726"/>
                </a:lnTo>
                <a:lnTo>
                  <a:pt x="5748867" y="2744093"/>
                </a:lnTo>
                <a:lnTo>
                  <a:pt x="5765864" y="2763740"/>
                </a:lnTo>
                <a:lnTo>
                  <a:pt x="5765778" y="2764374"/>
                </a:lnTo>
                <a:lnTo>
                  <a:pt x="5794708" y="2778822"/>
                </a:lnTo>
                <a:lnTo>
                  <a:pt x="5814440" y="2781286"/>
                </a:lnTo>
                <a:lnTo>
                  <a:pt x="5895833" y="2796066"/>
                </a:lnTo>
                <a:lnTo>
                  <a:pt x="5905699" y="2825627"/>
                </a:lnTo>
                <a:lnTo>
                  <a:pt x="5962429" y="2835482"/>
                </a:lnTo>
                <a:lnTo>
                  <a:pt x="5964895" y="2852726"/>
                </a:lnTo>
                <a:lnTo>
                  <a:pt x="6014224" y="2862581"/>
                </a:lnTo>
                <a:lnTo>
                  <a:pt x="6046288" y="2877362"/>
                </a:lnTo>
                <a:lnTo>
                  <a:pt x="6056154" y="2860117"/>
                </a:lnTo>
                <a:lnTo>
                  <a:pt x="6056154" y="2808383"/>
                </a:lnTo>
                <a:lnTo>
                  <a:pt x="6070953" y="2793603"/>
                </a:lnTo>
                <a:lnTo>
                  <a:pt x="6085752" y="2771431"/>
                </a:lnTo>
                <a:lnTo>
                  <a:pt x="6100551" y="2759114"/>
                </a:lnTo>
                <a:lnTo>
                  <a:pt x="6137547" y="2761577"/>
                </a:lnTo>
                <a:lnTo>
                  <a:pt x="6157279" y="2781286"/>
                </a:lnTo>
                <a:lnTo>
                  <a:pt x="6177011" y="2798530"/>
                </a:lnTo>
                <a:lnTo>
                  <a:pt x="6209076" y="2798530"/>
                </a:lnTo>
                <a:lnTo>
                  <a:pt x="6238673" y="2808383"/>
                </a:lnTo>
                <a:lnTo>
                  <a:pt x="6236565" y="2837855"/>
                </a:lnTo>
                <a:lnTo>
                  <a:pt x="6330894" y="2833566"/>
                </a:lnTo>
                <a:lnTo>
                  <a:pt x="6354974" y="2859843"/>
                </a:lnTo>
                <a:lnTo>
                  <a:pt x="6381244" y="2875171"/>
                </a:lnTo>
                <a:lnTo>
                  <a:pt x="6433784" y="2840135"/>
                </a:lnTo>
                <a:lnTo>
                  <a:pt x="6479754" y="2837946"/>
                </a:lnTo>
                <a:lnTo>
                  <a:pt x="6532294" y="2844514"/>
                </a:lnTo>
                <a:lnTo>
                  <a:pt x="6565131" y="2894879"/>
                </a:lnTo>
                <a:lnTo>
                  <a:pt x="6565131" y="2900125"/>
                </a:lnTo>
                <a:lnTo>
                  <a:pt x="6570246" y="2868857"/>
                </a:lnTo>
                <a:lnTo>
                  <a:pt x="6565129" y="2888312"/>
                </a:lnTo>
                <a:lnTo>
                  <a:pt x="6532292" y="2842325"/>
                </a:lnTo>
                <a:lnTo>
                  <a:pt x="6516968" y="2840136"/>
                </a:lnTo>
                <a:lnTo>
                  <a:pt x="6549805" y="2741597"/>
                </a:lnTo>
                <a:lnTo>
                  <a:pt x="6576075" y="2678093"/>
                </a:lnTo>
                <a:lnTo>
                  <a:pt x="6588711" y="2689402"/>
                </a:lnTo>
                <a:lnTo>
                  <a:pt x="6579648" y="2654806"/>
                </a:lnTo>
                <a:lnTo>
                  <a:pt x="6589511" y="2619663"/>
                </a:lnTo>
                <a:lnTo>
                  <a:pt x="6591500" y="2619196"/>
                </a:lnTo>
                <a:lnTo>
                  <a:pt x="6580650" y="2617038"/>
                </a:lnTo>
                <a:lnTo>
                  <a:pt x="6561089" y="2617038"/>
                </a:lnTo>
                <a:lnTo>
                  <a:pt x="6514631" y="2624331"/>
                </a:lnTo>
                <a:lnTo>
                  <a:pt x="6470617" y="2619469"/>
                </a:lnTo>
                <a:lnTo>
                  <a:pt x="6431494" y="2592727"/>
                </a:lnTo>
                <a:lnTo>
                  <a:pt x="6411932" y="2609745"/>
                </a:lnTo>
                <a:lnTo>
                  <a:pt x="6397260" y="2619469"/>
                </a:lnTo>
                <a:lnTo>
                  <a:pt x="6372809" y="2626762"/>
                </a:lnTo>
                <a:lnTo>
                  <a:pt x="6353247" y="2604883"/>
                </a:lnTo>
                <a:lnTo>
                  <a:pt x="6323905" y="2595159"/>
                </a:lnTo>
                <a:lnTo>
                  <a:pt x="6319014" y="2578142"/>
                </a:lnTo>
                <a:lnTo>
                  <a:pt x="6304343" y="2580573"/>
                </a:lnTo>
                <a:lnTo>
                  <a:pt x="6292118" y="2563555"/>
                </a:lnTo>
                <a:lnTo>
                  <a:pt x="6292118" y="2539246"/>
                </a:lnTo>
                <a:lnTo>
                  <a:pt x="6279891" y="2529521"/>
                </a:lnTo>
                <a:lnTo>
                  <a:pt x="6282337" y="2507642"/>
                </a:lnTo>
                <a:lnTo>
                  <a:pt x="6265220" y="2502780"/>
                </a:lnTo>
                <a:lnTo>
                  <a:pt x="6272555" y="2485764"/>
                </a:lnTo>
                <a:lnTo>
                  <a:pt x="6277446" y="2466315"/>
                </a:lnTo>
                <a:lnTo>
                  <a:pt x="6299453" y="2444436"/>
                </a:lnTo>
                <a:lnTo>
                  <a:pt x="6309233" y="2427418"/>
                </a:lnTo>
                <a:lnTo>
                  <a:pt x="6336131" y="2412833"/>
                </a:lnTo>
                <a:lnTo>
                  <a:pt x="6311678" y="2400677"/>
                </a:lnTo>
                <a:lnTo>
                  <a:pt x="6348356" y="2386092"/>
                </a:lnTo>
                <a:lnTo>
                  <a:pt x="6375254" y="2386092"/>
                </a:lnTo>
                <a:lnTo>
                  <a:pt x="6421713" y="2383661"/>
                </a:lnTo>
                <a:lnTo>
                  <a:pt x="6455945" y="2371505"/>
                </a:lnTo>
                <a:lnTo>
                  <a:pt x="6504849" y="2366643"/>
                </a:lnTo>
                <a:lnTo>
                  <a:pt x="6539082" y="2349626"/>
                </a:lnTo>
                <a:lnTo>
                  <a:pt x="6570870" y="2366643"/>
                </a:lnTo>
                <a:lnTo>
                  <a:pt x="6595322" y="2395815"/>
                </a:lnTo>
                <a:lnTo>
                  <a:pt x="6622220" y="2395815"/>
                </a:lnTo>
                <a:lnTo>
                  <a:pt x="6658898" y="2412833"/>
                </a:lnTo>
                <a:lnTo>
                  <a:pt x="6688239" y="2410402"/>
                </a:lnTo>
                <a:lnTo>
                  <a:pt x="6759151" y="2405540"/>
                </a:lnTo>
                <a:lnTo>
                  <a:pt x="6778712" y="2383661"/>
                </a:lnTo>
                <a:lnTo>
                  <a:pt x="6822725" y="2378798"/>
                </a:lnTo>
                <a:lnTo>
                  <a:pt x="6854514" y="2427418"/>
                </a:lnTo>
                <a:lnTo>
                  <a:pt x="6877281" y="2452113"/>
                </a:lnTo>
                <a:lnTo>
                  <a:pt x="6855461" y="2428233"/>
                </a:lnTo>
                <a:lnTo>
                  <a:pt x="6824135" y="2377470"/>
                </a:lnTo>
                <a:lnTo>
                  <a:pt x="6779663" y="2382203"/>
                </a:lnTo>
                <a:lnTo>
                  <a:pt x="6772367" y="2347773"/>
                </a:lnTo>
                <a:lnTo>
                  <a:pt x="6755340" y="2315803"/>
                </a:lnTo>
                <a:lnTo>
                  <a:pt x="6706692" y="2301048"/>
                </a:lnTo>
                <a:lnTo>
                  <a:pt x="6672290" y="2270902"/>
                </a:lnTo>
                <a:lnTo>
                  <a:pt x="6671227" y="2271519"/>
                </a:lnTo>
                <a:lnTo>
                  <a:pt x="6644213" y="2242053"/>
                </a:lnTo>
                <a:lnTo>
                  <a:pt x="6597553" y="2219955"/>
                </a:lnTo>
                <a:lnTo>
                  <a:pt x="6607376" y="2192944"/>
                </a:lnTo>
                <a:lnTo>
                  <a:pt x="6639301" y="2163479"/>
                </a:lnTo>
                <a:lnTo>
                  <a:pt x="6673682" y="2126647"/>
                </a:lnTo>
                <a:lnTo>
                  <a:pt x="6659189" y="2109741"/>
                </a:lnTo>
                <a:lnTo>
                  <a:pt x="6591399" y="2139408"/>
                </a:lnTo>
                <a:lnTo>
                  <a:pt x="6562940" y="2135028"/>
                </a:lnTo>
                <a:lnTo>
                  <a:pt x="6545427" y="2161305"/>
                </a:lnTo>
                <a:lnTo>
                  <a:pt x="6523537" y="2170064"/>
                </a:lnTo>
                <a:lnTo>
                  <a:pt x="6576075" y="2218240"/>
                </a:lnTo>
                <a:lnTo>
                  <a:pt x="6516970" y="2229188"/>
                </a:lnTo>
                <a:lnTo>
                  <a:pt x="6484133" y="2209480"/>
                </a:lnTo>
                <a:lnTo>
                  <a:pt x="6497267" y="2165685"/>
                </a:lnTo>
                <a:lnTo>
                  <a:pt x="6451295" y="2172255"/>
                </a:lnTo>
                <a:lnTo>
                  <a:pt x="6440350" y="2121889"/>
                </a:lnTo>
                <a:lnTo>
                  <a:pt x="6403136" y="2130649"/>
                </a:lnTo>
                <a:lnTo>
                  <a:pt x="6383433" y="2207291"/>
                </a:lnTo>
                <a:lnTo>
                  <a:pt x="6354974" y="2237948"/>
                </a:lnTo>
                <a:lnTo>
                  <a:pt x="6368109" y="2205101"/>
                </a:lnTo>
                <a:lnTo>
                  <a:pt x="6374665" y="2178866"/>
                </a:lnTo>
                <a:lnTo>
                  <a:pt x="6368109" y="2202913"/>
                </a:lnTo>
                <a:lnTo>
                  <a:pt x="6352785" y="2235758"/>
                </a:lnTo>
                <a:lnTo>
                  <a:pt x="6335274" y="2248897"/>
                </a:lnTo>
                <a:lnTo>
                  <a:pt x="6319556" y="2215357"/>
                </a:lnTo>
                <a:lnTo>
                  <a:pt x="6326255" y="2230581"/>
                </a:lnTo>
                <a:lnTo>
                  <a:pt x="6321358" y="2255312"/>
                </a:lnTo>
                <a:lnTo>
                  <a:pt x="6294420" y="2280044"/>
                </a:lnTo>
                <a:lnTo>
                  <a:pt x="6262585" y="2284990"/>
                </a:lnTo>
                <a:lnTo>
                  <a:pt x="6211159" y="2292409"/>
                </a:lnTo>
                <a:lnTo>
                  <a:pt x="6201364" y="2260258"/>
                </a:lnTo>
                <a:lnTo>
                  <a:pt x="6162183" y="2245419"/>
                </a:lnTo>
                <a:lnTo>
                  <a:pt x="6160929" y="2247318"/>
                </a:lnTo>
                <a:lnTo>
                  <a:pt x="6200935" y="2261329"/>
                </a:lnTo>
                <a:lnTo>
                  <a:pt x="6210760" y="2293010"/>
                </a:lnTo>
                <a:lnTo>
                  <a:pt x="6259882" y="2285698"/>
                </a:lnTo>
                <a:lnTo>
                  <a:pt x="6294266" y="2280825"/>
                </a:lnTo>
                <a:lnTo>
                  <a:pt x="6306547" y="2310069"/>
                </a:lnTo>
                <a:lnTo>
                  <a:pt x="6294266" y="2334440"/>
                </a:lnTo>
                <a:lnTo>
                  <a:pt x="6279530" y="2351499"/>
                </a:lnTo>
                <a:lnTo>
                  <a:pt x="6291811" y="2368557"/>
                </a:lnTo>
                <a:lnTo>
                  <a:pt x="6257425" y="2375868"/>
                </a:lnTo>
                <a:lnTo>
                  <a:pt x="6228273" y="2378094"/>
                </a:lnTo>
                <a:lnTo>
                  <a:pt x="6229876" y="2378094"/>
                </a:lnTo>
                <a:lnTo>
                  <a:pt x="6229876" y="2380115"/>
                </a:lnTo>
                <a:lnTo>
                  <a:pt x="6258069" y="2375903"/>
                </a:lnTo>
                <a:lnTo>
                  <a:pt x="6297765" y="2399991"/>
                </a:lnTo>
                <a:lnTo>
                  <a:pt x="6270474" y="2421670"/>
                </a:lnTo>
                <a:lnTo>
                  <a:pt x="6240703" y="2421670"/>
                </a:lnTo>
                <a:lnTo>
                  <a:pt x="6226445" y="2410134"/>
                </a:lnTo>
                <a:lnTo>
                  <a:pt x="6207323" y="2412199"/>
                </a:lnTo>
                <a:lnTo>
                  <a:pt x="6194793" y="2424380"/>
                </a:lnTo>
                <a:lnTo>
                  <a:pt x="6182264" y="2436561"/>
                </a:lnTo>
                <a:lnTo>
                  <a:pt x="6192287" y="2453614"/>
                </a:lnTo>
                <a:lnTo>
                  <a:pt x="6164721" y="2458487"/>
                </a:lnTo>
                <a:lnTo>
                  <a:pt x="6154698" y="2451178"/>
                </a:lnTo>
                <a:lnTo>
                  <a:pt x="6142169" y="2453614"/>
                </a:lnTo>
                <a:lnTo>
                  <a:pt x="6154698" y="2468231"/>
                </a:lnTo>
                <a:lnTo>
                  <a:pt x="6137157" y="2487719"/>
                </a:lnTo>
                <a:lnTo>
                  <a:pt x="6162217" y="2497464"/>
                </a:lnTo>
                <a:lnTo>
                  <a:pt x="6194793" y="2519389"/>
                </a:lnTo>
                <a:lnTo>
                  <a:pt x="6202312" y="2536443"/>
                </a:lnTo>
                <a:lnTo>
                  <a:pt x="6189781" y="2534006"/>
                </a:lnTo>
                <a:lnTo>
                  <a:pt x="6154698" y="2546187"/>
                </a:lnTo>
                <a:lnTo>
                  <a:pt x="6167227" y="2565675"/>
                </a:lnTo>
                <a:lnTo>
                  <a:pt x="6107085" y="2570547"/>
                </a:lnTo>
                <a:lnTo>
                  <a:pt x="6107085" y="2546187"/>
                </a:lnTo>
                <a:lnTo>
                  <a:pt x="6082025" y="2536443"/>
                </a:lnTo>
                <a:lnTo>
                  <a:pt x="6107085" y="2526698"/>
                </a:lnTo>
                <a:lnTo>
                  <a:pt x="6122120" y="2524261"/>
                </a:lnTo>
                <a:lnTo>
                  <a:pt x="6127132" y="2519389"/>
                </a:lnTo>
                <a:lnTo>
                  <a:pt x="6082025" y="2509645"/>
                </a:lnTo>
                <a:lnTo>
                  <a:pt x="6077014" y="2487719"/>
                </a:lnTo>
                <a:lnTo>
                  <a:pt x="6044436" y="2456050"/>
                </a:lnTo>
                <a:lnTo>
                  <a:pt x="6041930" y="2429252"/>
                </a:lnTo>
                <a:lnTo>
                  <a:pt x="6074508" y="2402455"/>
                </a:lnTo>
                <a:lnTo>
                  <a:pt x="6075364" y="2402757"/>
                </a:lnTo>
                <a:lnTo>
                  <a:pt x="6068535" y="2368752"/>
                </a:lnTo>
                <a:lnTo>
                  <a:pt x="6048850" y="2336889"/>
                </a:lnTo>
                <a:lnTo>
                  <a:pt x="6029163" y="2344242"/>
                </a:lnTo>
                <a:lnTo>
                  <a:pt x="6034084" y="2371202"/>
                </a:lnTo>
                <a:lnTo>
                  <a:pt x="6002095" y="2363849"/>
                </a:lnTo>
                <a:lnTo>
                  <a:pt x="5975026" y="2344242"/>
                </a:lnTo>
                <a:lnTo>
                  <a:pt x="5950419" y="2314831"/>
                </a:lnTo>
                <a:lnTo>
                  <a:pt x="5928271" y="2300125"/>
                </a:lnTo>
                <a:lnTo>
                  <a:pt x="5891360" y="2285420"/>
                </a:lnTo>
                <a:lnTo>
                  <a:pt x="5891360" y="2260910"/>
                </a:lnTo>
                <a:lnTo>
                  <a:pt x="5859370" y="2241303"/>
                </a:lnTo>
                <a:lnTo>
                  <a:pt x="5849527" y="2199637"/>
                </a:lnTo>
                <a:lnTo>
                  <a:pt x="5837224" y="2192284"/>
                </a:lnTo>
                <a:lnTo>
                  <a:pt x="5815077" y="2177579"/>
                </a:lnTo>
                <a:lnTo>
                  <a:pt x="5807694" y="2148167"/>
                </a:lnTo>
                <a:lnTo>
                  <a:pt x="5866753" y="2162873"/>
                </a:lnTo>
                <a:lnTo>
                  <a:pt x="5898742" y="2148167"/>
                </a:lnTo>
                <a:lnTo>
                  <a:pt x="5913508" y="2153069"/>
                </a:lnTo>
                <a:lnTo>
                  <a:pt x="5950419" y="2172677"/>
                </a:lnTo>
                <a:lnTo>
                  <a:pt x="5992252" y="2182480"/>
                </a:lnTo>
                <a:lnTo>
                  <a:pt x="6014398" y="2162873"/>
                </a:lnTo>
                <a:lnTo>
                  <a:pt x="6040854" y="2165269"/>
                </a:lnTo>
                <a:lnTo>
                  <a:pt x="6039741" y="2161332"/>
                </a:lnTo>
                <a:lnTo>
                  <a:pt x="6040002" y="2161257"/>
                </a:lnTo>
                <a:lnTo>
                  <a:pt x="6014211" y="2158942"/>
                </a:lnTo>
                <a:lnTo>
                  <a:pt x="5991853" y="2178562"/>
                </a:lnTo>
                <a:lnTo>
                  <a:pt x="5949619" y="2171204"/>
                </a:lnTo>
                <a:lnTo>
                  <a:pt x="5912356" y="2149131"/>
                </a:lnTo>
                <a:lnTo>
                  <a:pt x="5897528" y="2144252"/>
                </a:lnTo>
                <a:lnTo>
                  <a:pt x="5896284" y="2146015"/>
                </a:lnTo>
                <a:lnTo>
                  <a:pt x="5864193" y="2160998"/>
                </a:lnTo>
                <a:lnTo>
                  <a:pt x="5804946" y="2146015"/>
                </a:lnTo>
                <a:lnTo>
                  <a:pt x="5785198" y="2123542"/>
                </a:lnTo>
                <a:lnTo>
                  <a:pt x="5761073" y="2134805"/>
                </a:lnTo>
                <a:lnTo>
                  <a:pt x="5784276" y="2124080"/>
                </a:lnTo>
                <a:lnTo>
                  <a:pt x="5803825" y="2146106"/>
                </a:lnTo>
                <a:lnTo>
                  <a:pt x="5811157" y="2175474"/>
                </a:lnTo>
                <a:lnTo>
                  <a:pt x="5794051" y="2190159"/>
                </a:lnTo>
                <a:lnTo>
                  <a:pt x="5784276" y="2224422"/>
                </a:lnTo>
                <a:lnTo>
                  <a:pt x="5784276" y="2248896"/>
                </a:lnTo>
                <a:lnTo>
                  <a:pt x="5798938" y="2256239"/>
                </a:lnTo>
                <a:lnTo>
                  <a:pt x="5820931" y="2292949"/>
                </a:lnTo>
                <a:lnTo>
                  <a:pt x="5847811" y="2332108"/>
                </a:lnTo>
                <a:lnTo>
                  <a:pt x="5891797" y="2371266"/>
                </a:lnTo>
                <a:lnTo>
                  <a:pt x="5913791" y="2371266"/>
                </a:lnTo>
                <a:lnTo>
                  <a:pt x="5930896" y="2366371"/>
                </a:lnTo>
                <a:lnTo>
                  <a:pt x="5933340" y="2383502"/>
                </a:lnTo>
                <a:lnTo>
                  <a:pt x="5945558" y="2395740"/>
                </a:lnTo>
                <a:lnTo>
                  <a:pt x="5952888" y="2410425"/>
                </a:lnTo>
                <a:lnTo>
                  <a:pt x="5972438" y="2425109"/>
                </a:lnTo>
                <a:lnTo>
                  <a:pt x="5987099" y="2439793"/>
                </a:lnTo>
                <a:lnTo>
                  <a:pt x="6006649" y="2464267"/>
                </a:lnTo>
                <a:lnTo>
                  <a:pt x="5994431" y="2474057"/>
                </a:lnTo>
                <a:lnTo>
                  <a:pt x="5965107" y="2452029"/>
                </a:lnTo>
                <a:lnTo>
                  <a:pt x="5943114" y="2461819"/>
                </a:lnTo>
                <a:lnTo>
                  <a:pt x="5935782" y="2476503"/>
                </a:lnTo>
                <a:lnTo>
                  <a:pt x="5950446" y="2503424"/>
                </a:lnTo>
                <a:lnTo>
                  <a:pt x="5935782" y="2518108"/>
                </a:lnTo>
                <a:lnTo>
                  <a:pt x="5926008" y="2537688"/>
                </a:lnTo>
                <a:lnTo>
                  <a:pt x="5906459" y="2537688"/>
                </a:lnTo>
                <a:lnTo>
                  <a:pt x="5908903" y="2496083"/>
                </a:lnTo>
                <a:lnTo>
                  <a:pt x="5908903" y="2476503"/>
                </a:lnTo>
                <a:lnTo>
                  <a:pt x="5884466" y="2459372"/>
                </a:lnTo>
                <a:lnTo>
                  <a:pt x="5872248" y="2437345"/>
                </a:lnTo>
                <a:lnTo>
                  <a:pt x="5852698" y="2432450"/>
                </a:lnTo>
                <a:lnTo>
                  <a:pt x="5852698" y="2410425"/>
                </a:lnTo>
                <a:lnTo>
                  <a:pt x="5801381" y="2395740"/>
                </a:lnTo>
                <a:lnTo>
                  <a:pt x="5769614" y="2366371"/>
                </a:lnTo>
                <a:lnTo>
                  <a:pt x="5750065" y="2351687"/>
                </a:lnTo>
                <a:lnTo>
                  <a:pt x="5730515" y="2334554"/>
                </a:lnTo>
                <a:lnTo>
                  <a:pt x="5718297" y="2292949"/>
                </a:lnTo>
                <a:lnTo>
                  <a:pt x="5708522" y="2268475"/>
                </a:lnTo>
                <a:lnTo>
                  <a:pt x="5666980" y="2261134"/>
                </a:lnTo>
                <a:lnTo>
                  <a:pt x="5659649" y="2280712"/>
                </a:lnTo>
                <a:lnTo>
                  <a:pt x="5623761" y="2282959"/>
                </a:lnTo>
                <a:lnTo>
                  <a:pt x="5604159" y="2314863"/>
                </a:lnTo>
                <a:lnTo>
                  <a:pt x="5577104" y="2307472"/>
                </a:lnTo>
                <a:lnTo>
                  <a:pt x="5554968" y="2292692"/>
                </a:lnTo>
                <a:lnTo>
                  <a:pt x="5525455" y="2292692"/>
                </a:lnTo>
                <a:lnTo>
                  <a:pt x="5495940" y="2295156"/>
                </a:lnTo>
                <a:lnTo>
                  <a:pt x="5483641" y="2322253"/>
                </a:lnTo>
                <a:lnTo>
                  <a:pt x="5491021" y="2349352"/>
                </a:lnTo>
                <a:lnTo>
                  <a:pt x="5422153" y="2349352"/>
                </a:lnTo>
                <a:lnTo>
                  <a:pt x="5397559" y="2329644"/>
                </a:lnTo>
                <a:lnTo>
                  <a:pt x="5348367" y="2327180"/>
                </a:lnTo>
                <a:lnTo>
                  <a:pt x="5301637" y="2312400"/>
                </a:lnTo>
                <a:lnTo>
                  <a:pt x="5313934" y="2287764"/>
                </a:lnTo>
                <a:lnTo>
                  <a:pt x="5323772" y="2201542"/>
                </a:lnTo>
                <a:lnTo>
                  <a:pt x="5343449" y="2191688"/>
                </a:lnTo>
                <a:lnTo>
                  <a:pt x="5323772" y="2169517"/>
                </a:lnTo>
                <a:lnTo>
                  <a:pt x="5309015" y="2135028"/>
                </a:lnTo>
                <a:lnTo>
                  <a:pt x="5289338" y="2112857"/>
                </a:lnTo>
                <a:lnTo>
                  <a:pt x="5269663" y="2103002"/>
                </a:lnTo>
                <a:lnTo>
                  <a:pt x="5225396" y="2080832"/>
                </a:lnTo>
                <a:lnTo>
                  <a:pt x="5225396" y="2066050"/>
                </a:lnTo>
                <a:lnTo>
                  <a:pt x="5225396" y="2056196"/>
                </a:lnTo>
                <a:lnTo>
                  <a:pt x="5262283" y="2051269"/>
                </a:lnTo>
                <a:lnTo>
                  <a:pt x="5267203" y="2046342"/>
                </a:lnTo>
                <a:lnTo>
                  <a:pt x="5281960" y="2036488"/>
                </a:lnTo>
                <a:lnTo>
                  <a:pt x="5313934" y="2034025"/>
                </a:lnTo>
                <a:lnTo>
                  <a:pt x="5318853" y="2014317"/>
                </a:lnTo>
                <a:lnTo>
                  <a:pt x="5309015" y="1994609"/>
                </a:lnTo>
                <a:lnTo>
                  <a:pt x="5328691" y="1989682"/>
                </a:lnTo>
                <a:lnTo>
                  <a:pt x="5348367" y="2009389"/>
                </a:lnTo>
                <a:lnTo>
                  <a:pt x="5375422" y="2006926"/>
                </a:lnTo>
                <a:lnTo>
                  <a:pt x="5380341" y="1984754"/>
                </a:lnTo>
                <a:lnTo>
                  <a:pt x="5407396" y="1989682"/>
                </a:lnTo>
                <a:lnTo>
                  <a:pt x="5417234" y="1969974"/>
                </a:lnTo>
                <a:lnTo>
                  <a:pt x="5434452" y="1955193"/>
                </a:lnTo>
                <a:lnTo>
                  <a:pt x="5444289" y="1925630"/>
                </a:lnTo>
                <a:lnTo>
                  <a:pt x="5474978" y="1919044"/>
                </a:lnTo>
                <a:lnTo>
                  <a:pt x="5475508" y="1916916"/>
                </a:lnTo>
                <a:lnTo>
                  <a:pt x="5512536" y="1916916"/>
                </a:lnTo>
                <a:lnTo>
                  <a:pt x="5517744" y="1914956"/>
                </a:lnTo>
                <a:lnTo>
                  <a:pt x="5526154" y="1888558"/>
                </a:lnTo>
                <a:lnTo>
                  <a:pt x="5521348" y="1881015"/>
                </a:lnTo>
                <a:lnTo>
                  <a:pt x="5535763" y="1840789"/>
                </a:lnTo>
                <a:lnTo>
                  <a:pt x="5554986" y="1853359"/>
                </a:lnTo>
                <a:lnTo>
                  <a:pt x="5559790" y="1838274"/>
                </a:lnTo>
                <a:lnTo>
                  <a:pt x="5559790" y="1833246"/>
                </a:lnTo>
                <a:lnTo>
                  <a:pt x="5569402" y="1820675"/>
                </a:lnTo>
                <a:lnTo>
                  <a:pt x="5612650" y="1813132"/>
                </a:lnTo>
                <a:lnTo>
                  <a:pt x="5612650" y="1850844"/>
                </a:lnTo>
                <a:lnTo>
                  <a:pt x="5593428" y="1886043"/>
                </a:lnTo>
                <a:lnTo>
                  <a:pt x="5569402" y="1903643"/>
                </a:lnTo>
                <a:lnTo>
                  <a:pt x="5562193" y="1946384"/>
                </a:lnTo>
                <a:lnTo>
                  <a:pt x="5557389" y="1913700"/>
                </a:lnTo>
                <a:lnTo>
                  <a:pt x="5535763" y="1908672"/>
                </a:lnTo>
                <a:lnTo>
                  <a:pt x="5533637" y="1909784"/>
                </a:lnTo>
                <a:lnTo>
                  <a:pt x="5554502" y="1914438"/>
                </a:lnTo>
                <a:lnTo>
                  <a:pt x="5561909" y="1946651"/>
                </a:lnTo>
                <a:lnTo>
                  <a:pt x="5584126" y="1956563"/>
                </a:lnTo>
                <a:lnTo>
                  <a:pt x="5573920" y="1967946"/>
                </a:lnTo>
                <a:lnTo>
                  <a:pt x="5580027" y="1988314"/>
                </a:lnTo>
                <a:lnTo>
                  <a:pt x="5600309" y="1997535"/>
                </a:lnTo>
                <a:lnTo>
                  <a:pt x="5604349" y="1997322"/>
                </a:lnTo>
                <a:lnTo>
                  <a:pt x="5582071" y="1981514"/>
                </a:lnTo>
                <a:lnTo>
                  <a:pt x="5584515" y="1956734"/>
                </a:lnTo>
                <a:lnTo>
                  <a:pt x="5562514" y="1946823"/>
                </a:lnTo>
                <a:lnTo>
                  <a:pt x="5569849" y="1904698"/>
                </a:lnTo>
                <a:lnTo>
                  <a:pt x="5594293" y="1887354"/>
                </a:lnTo>
                <a:lnTo>
                  <a:pt x="5613850" y="1852663"/>
                </a:lnTo>
                <a:lnTo>
                  <a:pt x="5613850" y="1815495"/>
                </a:lnTo>
                <a:lnTo>
                  <a:pt x="5655406" y="1800627"/>
                </a:lnTo>
                <a:lnTo>
                  <a:pt x="5667629" y="1800627"/>
                </a:lnTo>
                <a:lnTo>
                  <a:pt x="5667629" y="1785760"/>
                </a:lnTo>
                <a:lnTo>
                  <a:pt x="5667629" y="1748591"/>
                </a:lnTo>
                <a:lnTo>
                  <a:pt x="5669979" y="1748031"/>
                </a:lnTo>
                <a:lnTo>
                  <a:pt x="5656703" y="1717512"/>
                </a:lnTo>
                <a:lnTo>
                  <a:pt x="5636944" y="1705346"/>
                </a:lnTo>
                <a:lnTo>
                  <a:pt x="5636944" y="1646952"/>
                </a:lnTo>
                <a:lnTo>
                  <a:pt x="5681400" y="1642086"/>
                </a:lnTo>
                <a:lnTo>
                  <a:pt x="5703628" y="1600724"/>
                </a:lnTo>
                <a:lnTo>
                  <a:pt x="5730795" y="1642086"/>
                </a:lnTo>
                <a:lnTo>
                  <a:pt x="5706098" y="1702914"/>
                </a:lnTo>
                <a:lnTo>
                  <a:pt x="5711036" y="1741843"/>
                </a:lnTo>
                <a:lnTo>
                  <a:pt x="5710778" y="1741906"/>
                </a:lnTo>
                <a:lnTo>
                  <a:pt x="5723852" y="1768415"/>
                </a:lnTo>
                <a:lnTo>
                  <a:pt x="5740964" y="1788238"/>
                </a:lnTo>
                <a:lnTo>
                  <a:pt x="5826522" y="1773371"/>
                </a:lnTo>
                <a:lnTo>
                  <a:pt x="5838744" y="1783282"/>
                </a:lnTo>
                <a:lnTo>
                  <a:pt x="5831411" y="1855140"/>
                </a:lnTo>
                <a:lnTo>
                  <a:pt x="5853411" y="1919567"/>
                </a:lnTo>
                <a:lnTo>
                  <a:pt x="5755630" y="1961691"/>
                </a:lnTo>
                <a:lnTo>
                  <a:pt x="5799267" y="2009769"/>
                </a:lnTo>
                <a:lnTo>
                  <a:pt x="5757345" y="1961813"/>
                </a:lnTo>
                <a:lnTo>
                  <a:pt x="5854171" y="1922620"/>
                </a:lnTo>
                <a:lnTo>
                  <a:pt x="5885640" y="1944666"/>
                </a:lnTo>
                <a:lnTo>
                  <a:pt x="5970364" y="1974062"/>
                </a:lnTo>
                <a:lnTo>
                  <a:pt x="6005396" y="1995332"/>
                </a:lnTo>
                <a:lnTo>
                  <a:pt x="6008347" y="1993335"/>
                </a:lnTo>
                <a:lnTo>
                  <a:pt x="6127022" y="1988314"/>
                </a:lnTo>
                <a:lnTo>
                  <a:pt x="6119257" y="2051378"/>
                </a:lnTo>
                <a:lnTo>
                  <a:pt x="6127306" y="1988313"/>
                </a:lnTo>
                <a:lnTo>
                  <a:pt x="6153576" y="1966416"/>
                </a:lnTo>
                <a:lnTo>
                  <a:pt x="6151387" y="1902912"/>
                </a:lnTo>
                <a:lnTo>
                  <a:pt x="6154042" y="1902612"/>
                </a:lnTo>
                <a:lnTo>
                  <a:pt x="6151612" y="1862993"/>
                </a:lnTo>
                <a:lnTo>
                  <a:pt x="6148616" y="1862993"/>
                </a:lnTo>
                <a:lnTo>
                  <a:pt x="6150855" y="1898909"/>
                </a:lnTo>
                <a:lnTo>
                  <a:pt x="6153310" y="1965353"/>
                </a:lnTo>
                <a:lnTo>
                  <a:pt x="6126310" y="1985040"/>
                </a:lnTo>
                <a:lnTo>
                  <a:pt x="6067404" y="1989962"/>
                </a:lnTo>
                <a:lnTo>
                  <a:pt x="6010951" y="1992423"/>
                </a:lnTo>
                <a:lnTo>
                  <a:pt x="5971679" y="1970275"/>
                </a:lnTo>
                <a:lnTo>
                  <a:pt x="5888228" y="1943204"/>
                </a:lnTo>
                <a:lnTo>
                  <a:pt x="5853866" y="1918596"/>
                </a:lnTo>
                <a:lnTo>
                  <a:pt x="5831775" y="1854613"/>
                </a:lnTo>
                <a:lnTo>
                  <a:pt x="5839139" y="1783247"/>
                </a:lnTo>
                <a:lnTo>
                  <a:pt x="5937316" y="1736491"/>
                </a:lnTo>
                <a:lnTo>
                  <a:pt x="5971679" y="1753717"/>
                </a:lnTo>
                <a:lnTo>
                  <a:pt x="6020768" y="1743873"/>
                </a:lnTo>
                <a:lnTo>
                  <a:pt x="6023647" y="1745076"/>
                </a:lnTo>
                <a:lnTo>
                  <a:pt x="6055066" y="1692694"/>
                </a:lnTo>
                <a:lnTo>
                  <a:pt x="6070390" y="1651089"/>
                </a:lnTo>
                <a:lnTo>
                  <a:pt x="6090092" y="1651089"/>
                </a:lnTo>
                <a:lnTo>
                  <a:pt x="6106472" y="1648502"/>
                </a:lnTo>
                <a:lnTo>
                  <a:pt x="6070904" y="1649993"/>
                </a:lnTo>
                <a:lnTo>
                  <a:pt x="6066010" y="1588406"/>
                </a:lnTo>
                <a:lnTo>
                  <a:pt x="6090477" y="1563772"/>
                </a:lnTo>
                <a:lnTo>
                  <a:pt x="6117391" y="1603188"/>
                </a:lnTo>
                <a:lnTo>
                  <a:pt x="6156536" y="1603188"/>
                </a:lnTo>
                <a:lnTo>
                  <a:pt x="6163877" y="1568698"/>
                </a:lnTo>
                <a:lnTo>
                  <a:pt x="6136964" y="1556381"/>
                </a:lnTo>
                <a:lnTo>
                  <a:pt x="6127178" y="1526820"/>
                </a:lnTo>
                <a:lnTo>
                  <a:pt x="6174232" y="1523310"/>
                </a:lnTo>
                <a:lnTo>
                  <a:pt x="6127306" y="1525071"/>
                </a:lnTo>
                <a:lnTo>
                  <a:pt x="6154139" y="1502820"/>
                </a:lnTo>
                <a:lnTo>
                  <a:pt x="6200485" y="1478097"/>
                </a:lnTo>
                <a:lnTo>
                  <a:pt x="6256589" y="1497875"/>
                </a:lnTo>
                <a:lnTo>
                  <a:pt x="6264252" y="1508554"/>
                </a:lnTo>
                <a:lnTo>
                  <a:pt x="6258652" y="1500506"/>
                </a:lnTo>
                <a:lnTo>
                  <a:pt x="6280754" y="1493139"/>
                </a:lnTo>
                <a:lnTo>
                  <a:pt x="6280200" y="1483715"/>
                </a:lnTo>
                <a:lnTo>
                  <a:pt x="6245314" y="1432645"/>
                </a:lnTo>
                <a:lnTo>
                  <a:pt x="6201091" y="1440001"/>
                </a:lnTo>
                <a:lnTo>
                  <a:pt x="6176522" y="1462071"/>
                </a:lnTo>
                <a:lnTo>
                  <a:pt x="6117556" y="1457166"/>
                </a:lnTo>
                <a:lnTo>
                  <a:pt x="6073333" y="1427741"/>
                </a:lnTo>
                <a:lnTo>
                  <a:pt x="6056136" y="1386054"/>
                </a:lnTo>
                <a:lnTo>
                  <a:pt x="6046308" y="1349271"/>
                </a:lnTo>
                <a:lnTo>
                  <a:pt x="6053679" y="1280610"/>
                </a:lnTo>
                <a:lnTo>
                  <a:pt x="6097902" y="1263445"/>
                </a:lnTo>
                <a:lnTo>
                  <a:pt x="6127384" y="1234018"/>
                </a:lnTo>
                <a:lnTo>
                  <a:pt x="6137212" y="1192332"/>
                </a:lnTo>
                <a:lnTo>
                  <a:pt x="6188806" y="1197235"/>
                </a:lnTo>
                <a:lnTo>
                  <a:pt x="6159324" y="1145740"/>
                </a:lnTo>
                <a:lnTo>
                  <a:pt x="6093186" y="1143295"/>
                </a:lnTo>
                <a:lnTo>
                  <a:pt x="6091636" y="1144385"/>
                </a:lnTo>
                <a:lnTo>
                  <a:pt x="6064724" y="1166515"/>
                </a:lnTo>
                <a:lnTo>
                  <a:pt x="6054937" y="1208318"/>
                </a:lnTo>
                <a:lnTo>
                  <a:pt x="6054937" y="1235366"/>
                </a:lnTo>
                <a:lnTo>
                  <a:pt x="6018237" y="1259955"/>
                </a:lnTo>
                <a:lnTo>
                  <a:pt x="5998663" y="1287003"/>
                </a:lnTo>
                <a:lnTo>
                  <a:pt x="5949731" y="1296839"/>
                </a:lnTo>
                <a:lnTo>
                  <a:pt x="5930157" y="1336183"/>
                </a:lnTo>
                <a:lnTo>
                  <a:pt x="5930157" y="1405033"/>
                </a:lnTo>
                <a:lnTo>
                  <a:pt x="5957071" y="1437000"/>
                </a:lnTo>
                <a:lnTo>
                  <a:pt x="5971750" y="1464048"/>
                </a:lnTo>
                <a:lnTo>
                  <a:pt x="5913031" y="1491096"/>
                </a:lnTo>
                <a:lnTo>
                  <a:pt x="5939944" y="1491096"/>
                </a:lnTo>
                <a:lnTo>
                  <a:pt x="5957071" y="1505849"/>
                </a:lnTo>
                <a:lnTo>
                  <a:pt x="5964410" y="1532899"/>
                </a:lnTo>
                <a:lnTo>
                  <a:pt x="5944838" y="1547653"/>
                </a:lnTo>
                <a:lnTo>
                  <a:pt x="5917924" y="1574701"/>
                </a:lnTo>
                <a:lnTo>
                  <a:pt x="5917924" y="1623879"/>
                </a:lnTo>
                <a:lnTo>
                  <a:pt x="5891010" y="1641093"/>
                </a:lnTo>
                <a:lnTo>
                  <a:pt x="5883670" y="1668141"/>
                </a:lnTo>
                <a:lnTo>
                  <a:pt x="5854310" y="1685354"/>
                </a:lnTo>
                <a:lnTo>
                  <a:pt x="5839630" y="1709942"/>
                </a:lnTo>
                <a:lnTo>
                  <a:pt x="5800484" y="1695188"/>
                </a:lnTo>
                <a:lnTo>
                  <a:pt x="5802931" y="1648469"/>
                </a:lnTo>
                <a:lnTo>
                  <a:pt x="5780911" y="1641093"/>
                </a:lnTo>
                <a:lnTo>
                  <a:pt x="5776017" y="1614043"/>
                </a:lnTo>
                <a:lnTo>
                  <a:pt x="5758891" y="1579618"/>
                </a:lnTo>
                <a:lnTo>
                  <a:pt x="5744210" y="1547653"/>
                </a:lnTo>
                <a:lnTo>
                  <a:pt x="5756444" y="1525522"/>
                </a:lnTo>
                <a:lnTo>
                  <a:pt x="5766231" y="1478801"/>
                </a:lnTo>
                <a:lnTo>
                  <a:pt x="5802931" y="1461588"/>
                </a:lnTo>
                <a:lnTo>
                  <a:pt x="5793144" y="1419787"/>
                </a:lnTo>
                <a:lnTo>
                  <a:pt x="5776017" y="1380444"/>
                </a:lnTo>
                <a:lnTo>
                  <a:pt x="5766231" y="1341101"/>
                </a:lnTo>
                <a:lnTo>
                  <a:pt x="5758891" y="1274709"/>
                </a:lnTo>
                <a:lnTo>
                  <a:pt x="5766001" y="1250891"/>
                </a:lnTo>
                <a:lnTo>
                  <a:pt x="5763913" y="1250446"/>
                </a:lnTo>
                <a:lnTo>
                  <a:pt x="5756525" y="1274990"/>
                </a:lnTo>
                <a:lnTo>
                  <a:pt x="5763913" y="1338809"/>
                </a:lnTo>
                <a:lnTo>
                  <a:pt x="5771301" y="1378082"/>
                </a:lnTo>
                <a:lnTo>
                  <a:pt x="5791003" y="1417355"/>
                </a:lnTo>
                <a:lnTo>
                  <a:pt x="5798391" y="1459082"/>
                </a:lnTo>
                <a:lnTo>
                  <a:pt x="5763913" y="1478718"/>
                </a:lnTo>
                <a:lnTo>
                  <a:pt x="5754062" y="1525355"/>
                </a:lnTo>
                <a:lnTo>
                  <a:pt x="5741748" y="1547446"/>
                </a:lnTo>
                <a:lnTo>
                  <a:pt x="5714658" y="1532718"/>
                </a:lnTo>
                <a:lnTo>
                  <a:pt x="5662940" y="1540082"/>
                </a:lnTo>
                <a:lnTo>
                  <a:pt x="5635850" y="1559719"/>
                </a:lnTo>
                <a:lnTo>
                  <a:pt x="5608759" y="1567082"/>
                </a:lnTo>
                <a:lnTo>
                  <a:pt x="5566893" y="1571991"/>
                </a:lnTo>
                <a:lnTo>
                  <a:pt x="5564430" y="1527809"/>
                </a:lnTo>
                <a:lnTo>
                  <a:pt x="5547190" y="1515537"/>
                </a:lnTo>
                <a:lnTo>
                  <a:pt x="5554578" y="1451718"/>
                </a:lnTo>
                <a:lnTo>
                  <a:pt x="5529952" y="1449264"/>
                </a:lnTo>
                <a:lnTo>
                  <a:pt x="5527488" y="1358445"/>
                </a:lnTo>
                <a:lnTo>
                  <a:pt x="5554578" y="1348627"/>
                </a:lnTo>
                <a:lnTo>
                  <a:pt x="5561967" y="1326536"/>
                </a:lnTo>
                <a:lnTo>
                  <a:pt x="5593983" y="1314263"/>
                </a:lnTo>
                <a:lnTo>
                  <a:pt x="5625998" y="1311810"/>
                </a:lnTo>
                <a:lnTo>
                  <a:pt x="5638312" y="1292172"/>
                </a:lnTo>
                <a:lnTo>
                  <a:pt x="5675253" y="1287263"/>
                </a:lnTo>
                <a:lnTo>
                  <a:pt x="5680179" y="1245537"/>
                </a:lnTo>
                <a:lnTo>
                  <a:pt x="5729434" y="1228355"/>
                </a:lnTo>
                <a:lnTo>
                  <a:pt x="5734360" y="1193991"/>
                </a:lnTo>
                <a:lnTo>
                  <a:pt x="5758987" y="1176810"/>
                </a:lnTo>
                <a:lnTo>
                  <a:pt x="5768839" y="1144901"/>
                </a:lnTo>
                <a:lnTo>
                  <a:pt x="5778689" y="1110537"/>
                </a:lnTo>
                <a:lnTo>
                  <a:pt x="5815630" y="1073718"/>
                </a:lnTo>
                <a:lnTo>
                  <a:pt x="5845184" y="1036900"/>
                </a:lnTo>
                <a:lnTo>
                  <a:pt x="5882125" y="1014809"/>
                </a:lnTo>
                <a:lnTo>
                  <a:pt x="5928918" y="1004991"/>
                </a:lnTo>
                <a:lnTo>
                  <a:pt x="5956008" y="990263"/>
                </a:lnTo>
                <a:lnTo>
                  <a:pt x="6007726" y="980447"/>
                </a:lnTo>
                <a:lnTo>
                  <a:pt x="6017576" y="950991"/>
                </a:lnTo>
                <a:lnTo>
                  <a:pt x="6049592" y="936263"/>
                </a:lnTo>
                <a:lnTo>
                  <a:pt x="6039742" y="896990"/>
                </a:lnTo>
                <a:lnTo>
                  <a:pt x="6015114" y="879810"/>
                </a:lnTo>
                <a:lnTo>
                  <a:pt x="6052055" y="869992"/>
                </a:lnTo>
                <a:lnTo>
                  <a:pt x="6064369" y="842992"/>
                </a:lnTo>
                <a:lnTo>
                  <a:pt x="6071757" y="879810"/>
                </a:lnTo>
                <a:lnTo>
                  <a:pt x="6091459" y="884718"/>
                </a:lnTo>
                <a:lnTo>
                  <a:pt x="6091459" y="865081"/>
                </a:lnTo>
                <a:lnTo>
                  <a:pt x="6108698" y="865081"/>
                </a:lnTo>
                <a:lnTo>
                  <a:pt x="6116086" y="879810"/>
                </a:lnTo>
                <a:lnTo>
                  <a:pt x="6138252" y="887172"/>
                </a:lnTo>
                <a:lnTo>
                  <a:pt x="6150565" y="860172"/>
                </a:lnTo>
                <a:lnTo>
                  <a:pt x="6133326" y="847899"/>
                </a:lnTo>
                <a:lnTo>
                  <a:pt x="6162879" y="830719"/>
                </a:lnTo>
                <a:lnTo>
                  <a:pt x="6194895" y="852808"/>
                </a:lnTo>
                <a:lnTo>
                  <a:pt x="6214598" y="823355"/>
                </a:lnTo>
                <a:lnTo>
                  <a:pt x="6221986" y="857719"/>
                </a:lnTo>
                <a:lnTo>
                  <a:pt x="6254001" y="860172"/>
                </a:lnTo>
                <a:lnTo>
                  <a:pt x="6288479" y="835628"/>
                </a:lnTo>
                <a:lnTo>
                  <a:pt x="6327884" y="860172"/>
                </a:lnTo>
                <a:lnTo>
                  <a:pt x="6320496" y="887172"/>
                </a:lnTo>
                <a:lnTo>
                  <a:pt x="6391915" y="911718"/>
                </a:lnTo>
                <a:lnTo>
                  <a:pt x="6347586" y="941174"/>
                </a:lnTo>
                <a:lnTo>
                  <a:pt x="6308182" y="982900"/>
                </a:lnTo>
                <a:lnTo>
                  <a:pt x="6291748" y="1017999"/>
                </a:lnTo>
                <a:lnTo>
                  <a:pt x="6291993" y="1018227"/>
                </a:lnTo>
                <a:lnTo>
                  <a:pt x="6291993" y="1055009"/>
                </a:lnTo>
                <a:lnTo>
                  <a:pt x="6296114" y="1071458"/>
                </a:lnTo>
                <a:lnTo>
                  <a:pt x="6293033" y="1058524"/>
                </a:lnTo>
                <a:lnTo>
                  <a:pt x="6293033" y="1021694"/>
                </a:lnTo>
                <a:lnTo>
                  <a:pt x="6307769" y="984862"/>
                </a:lnTo>
                <a:lnTo>
                  <a:pt x="6347061" y="943119"/>
                </a:lnTo>
                <a:lnTo>
                  <a:pt x="6388809" y="916108"/>
                </a:lnTo>
                <a:lnTo>
                  <a:pt x="6428102" y="933297"/>
                </a:lnTo>
                <a:lnTo>
                  <a:pt x="6504232" y="975039"/>
                </a:lnTo>
                <a:lnTo>
                  <a:pt x="6577906" y="1009415"/>
                </a:lnTo>
                <a:lnTo>
                  <a:pt x="6639301" y="1053614"/>
                </a:lnTo>
                <a:lnTo>
                  <a:pt x="6624566" y="1083080"/>
                </a:lnTo>
                <a:lnTo>
                  <a:pt x="6597553" y="1107633"/>
                </a:lnTo>
                <a:lnTo>
                  <a:pt x="6541070" y="1122367"/>
                </a:lnTo>
                <a:lnTo>
                  <a:pt x="6479675" y="1105178"/>
                </a:lnTo>
                <a:lnTo>
                  <a:pt x="6440382" y="1092901"/>
                </a:lnTo>
                <a:lnTo>
                  <a:pt x="6455116" y="1112545"/>
                </a:lnTo>
                <a:lnTo>
                  <a:pt x="6462485" y="1166565"/>
                </a:lnTo>
                <a:lnTo>
                  <a:pt x="6482130" y="1203397"/>
                </a:lnTo>
                <a:lnTo>
                  <a:pt x="6509144" y="1240229"/>
                </a:lnTo>
                <a:lnTo>
                  <a:pt x="6545980" y="1267238"/>
                </a:lnTo>
                <a:lnTo>
                  <a:pt x="6565628" y="1247594"/>
                </a:lnTo>
                <a:lnTo>
                  <a:pt x="6555804" y="1232862"/>
                </a:lnTo>
                <a:lnTo>
                  <a:pt x="6531247" y="1223040"/>
                </a:lnTo>
                <a:lnTo>
                  <a:pt x="6526335" y="1193575"/>
                </a:lnTo>
                <a:lnTo>
                  <a:pt x="6563172" y="1178842"/>
                </a:lnTo>
                <a:lnTo>
                  <a:pt x="6597553" y="1193575"/>
                </a:lnTo>
                <a:lnTo>
                  <a:pt x="6597553" y="1232862"/>
                </a:lnTo>
                <a:lnTo>
                  <a:pt x="6634390" y="1232862"/>
                </a:lnTo>
                <a:lnTo>
                  <a:pt x="6644213" y="1193575"/>
                </a:lnTo>
                <a:lnTo>
                  <a:pt x="6617199" y="1178842"/>
                </a:lnTo>
                <a:lnTo>
                  <a:pt x="6619656" y="1149376"/>
                </a:lnTo>
                <a:lnTo>
                  <a:pt x="6666315" y="1134645"/>
                </a:lnTo>
                <a:lnTo>
                  <a:pt x="6688418" y="1110089"/>
                </a:lnTo>
                <a:lnTo>
                  <a:pt x="6725254" y="1117455"/>
                </a:lnTo>
                <a:lnTo>
                  <a:pt x="6759636" y="1134645"/>
                </a:lnTo>
                <a:lnTo>
                  <a:pt x="6757180" y="1092901"/>
                </a:lnTo>
                <a:lnTo>
                  <a:pt x="6742444" y="1058524"/>
                </a:lnTo>
                <a:lnTo>
                  <a:pt x="6730166" y="1021694"/>
                </a:lnTo>
                <a:lnTo>
                  <a:pt x="6717887" y="989772"/>
                </a:lnTo>
                <a:lnTo>
                  <a:pt x="6769459" y="984862"/>
                </a:lnTo>
                <a:lnTo>
                  <a:pt x="6806296" y="1021694"/>
                </a:lnTo>
                <a:lnTo>
                  <a:pt x="6806296" y="1051159"/>
                </a:lnTo>
                <a:lnTo>
                  <a:pt x="6823487" y="1083080"/>
                </a:lnTo>
                <a:lnTo>
                  <a:pt x="6875058" y="1058524"/>
                </a:lnTo>
                <a:lnTo>
                  <a:pt x="6921718" y="1014327"/>
                </a:lnTo>
                <a:lnTo>
                  <a:pt x="6963467" y="999594"/>
                </a:lnTo>
                <a:lnTo>
                  <a:pt x="7002760" y="982406"/>
                </a:lnTo>
                <a:lnTo>
                  <a:pt x="7029774" y="975039"/>
                </a:lnTo>
                <a:lnTo>
                  <a:pt x="7049420" y="1014327"/>
                </a:lnTo>
                <a:lnTo>
                  <a:pt x="7076434" y="982406"/>
                </a:lnTo>
                <a:lnTo>
                  <a:pt x="7152564" y="982406"/>
                </a:lnTo>
                <a:lnTo>
                  <a:pt x="7174667" y="952940"/>
                </a:lnTo>
                <a:lnTo>
                  <a:pt x="7201679" y="952940"/>
                </a:lnTo>
                <a:lnTo>
                  <a:pt x="7209048" y="994684"/>
                </a:lnTo>
                <a:lnTo>
                  <a:pt x="7238517" y="984862"/>
                </a:lnTo>
                <a:lnTo>
                  <a:pt x="7243429" y="938207"/>
                </a:lnTo>
                <a:lnTo>
                  <a:pt x="7223782" y="925930"/>
                </a:lnTo>
                <a:lnTo>
                  <a:pt x="7238517" y="903831"/>
                </a:lnTo>
                <a:lnTo>
                  <a:pt x="7299912" y="903831"/>
                </a:lnTo>
                <a:lnTo>
                  <a:pt x="7368674" y="923475"/>
                </a:lnTo>
                <a:lnTo>
                  <a:pt x="7427614" y="957850"/>
                </a:lnTo>
                <a:lnTo>
                  <a:pt x="7461995" y="1002049"/>
                </a:lnTo>
                <a:lnTo>
                  <a:pt x="7493919" y="989772"/>
                </a:lnTo>
                <a:lnTo>
                  <a:pt x="7484097" y="962762"/>
                </a:lnTo>
                <a:lnTo>
                  <a:pt x="7464450" y="933297"/>
                </a:lnTo>
                <a:lnTo>
                  <a:pt x="7437436" y="896465"/>
                </a:lnTo>
                <a:lnTo>
                  <a:pt x="7412879" y="859633"/>
                </a:lnTo>
                <a:lnTo>
                  <a:pt x="7410423" y="820346"/>
                </a:lnTo>
                <a:lnTo>
                  <a:pt x="7449716" y="793336"/>
                </a:lnTo>
                <a:lnTo>
                  <a:pt x="7457083" y="734405"/>
                </a:lnTo>
                <a:lnTo>
                  <a:pt x="7481641" y="673018"/>
                </a:lnTo>
                <a:lnTo>
                  <a:pt x="7528302" y="670563"/>
                </a:lnTo>
                <a:lnTo>
                  <a:pt x="7560226" y="704940"/>
                </a:lnTo>
                <a:lnTo>
                  <a:pt x="7572505" y="751593"/>
                </a:lnTo>
                <a:lnTo>
                  <a:pt x="7587240" y="812979"/>
                </a:lnTo>
                <a:lnTo>
                  <a:pt x="7597064" y="854722"/>
                </a:lnTo>
                <a:lnTo>
                  <a:pt x="7609343" y="889098"/>
                </a:lnTo>
                <a:lnTo>
                  <a:pt x="7609343" y="916108"/>
                </a:lnTo>
                <a:lnTo>
                  <a:pt x="7619166" y="952940"/>
                </a:lnTo>
                <a:lnTo>
                  <a:pt x="7619166" y="955395"/>
                </a:lnTo>
                <a:lnTo>
                  <a:pt x="7621621" y="960307"/>
                </a:lnTo>
                <a:lnTo>
                  <a:pt x="7624078" y="962762"/>
                </a:lnTo>
                <a:lnTo>
                  <a:pt x="7626533" y="970128"/>
                </a:lnTo>
                <a:lnTo>
                  <a:pt x="7628990" y="975039"/>
                </a:lnTo>
                <a:lnTo>
                  <a:pt x="7631445" y="979950"/>
                </a:lnTo>
                <a:lnTo>
                  <a:pt x="7633900" y="987317"/>
                </a:lnTo>
                <a:lnTo>
                  <a:pt x="7636357" y="994684"/>
                </a:lnTo>
                <a:lnTo>
                  <a:pt x="7636357" y="999594"/>
                </a:lnTo>
                <a:lnTo>
                  <a:pt x="7636357" y="1002049"/>
                </a:lnTo>
                <a:lnTo>
                  <a:pt x="7638812" y="1006960"/>
                </a:lnTo>
                <a:lnTo>
                  <a:pt x="7636357" y="1009415"/>
                </a:lnTo>
                <a:lnTo>
                  <a:pt x="7636357" y="1014327"/>
                </a:lnTo>
                <a:lnTo>
                  <a:pt x="7636357" y="1016782"/>
                </a:lnTo>
                <a:lnTo>
                  <a:pt x="7636357" y="1024149"/>
                </a:lnTo>
                <a:lnTo>
                  <a:pt x="7633900" y="1026604"/>
                </a:lnTo>
                <a:lnTo>
                  <a:pt x="7631445" y="1031514"/>
                </a:lnTo>
                <a:lnTo>
                  <a:pt x="7631445" y="1036426"/>
                </a:lnTo>
                <a:lnTo>
                  <a:pt x="7628990" y="1041336"/>
                </a:lnTo>
                <a:lnTo>
                  <a:pt x="7626533" y="1043793"/>
                </a:lnTo>
                <a:lnTo>
                  <a:pt x="7626533" y="1046247"/>
                </a:lnTo>
                <a:lnTo>
                  <a:pt x="7592152" y="1065891"/>
                </a:lnTo>
                <a:lnTo>
                  <a:pt x="7555314" y="1078168"/>
                </a:lnTo>
                <a:lnTo>
                  <a:pt x="7547948" y="1097811"/>
                </a:lnTo>
                <a:lnTo>
                  <a:pt x="7604431" y="1117455"/>
                </a:lnTo>
                <a:lnTo>
                  <a:pt x="7643724" y="1100268"/>
                </a:lnTo>
                <a:lnTo>
                  <a:pt x="7670738" y="1053614"/>
                </a:lnTo>
                <a:lnTo>
                  <a:pt x="7687928" y="1014327"/>
                </a:lnTo>
                <a:lnTo>
                  <a:pt x="7695295" y="987317"/>
                </a:lnTo>
                <a:lnTo>
                  <a:pt x="7697752" y="975039"/>
                </a:lnTo>
                <a:lnTo>
                  <a:pt x="7737045" y="975039"/>
                </a:lnTo>
                <a:lnTo>
                  <a:pt x="7773881" y="1002049"/>
                </a:lnTo>
                <a:lnTo>
                  <a:pt x="7798440" y="1031514"/>
                </a:lnTo>
                <a:lnTo>
                  <a:pt x="7830364" y="1051159"/>
                </a:lnTo>
                <a:lnTo>
                  <a:pt x="7830364" y="1024149"/>
                </a:lnTo>
                <a:lnTo>
                  <a:pt x="7808262" y="1014327"/>
                </a:lnTo>
                <a:lnTo>
                  <a:pt x="7788616" y="997137"/>
                </a:lnTo>
                <a:lnTo>
                  <a:pt x="7781249" y="962762"/>
                </a:lnTo>
                <a:lnTo>
                  <a:pt x="7766514" y="943119"/>
                </a:lnTo>
                <a:lnTo>
                  <a:pt x="7744411" y="933297"/>
                </a:lnTo>
                <a:lnTo>
                  <a:pt x="7710030" y="918563"/>
                </a:lnTo>
                <a:lnTo>
                  <a:pt x="7702664" y="938207"/>
                </a:lnTo>
                <a:lnTo>
                  <a:pt x="7658459" y="933297"/>
                </a:lnTo>
                <a:lnTo>
                  <a:pt x="7651092" y="898920"/>
                </a:lnTo>
                <a:lnTo>
                  <a:pt x="7643724" y="832623"/>
                </a:lnTo>
                <a:lnTo>
                  <a:pt x="7626533" y="825256"/>
                </a:lnTo>
                <a:lnTo>
                  <a:pt x="7619166" y="800702"/>
                </a:lnTo>
                <a:lnTo>
                  <a:pt x="7626533" y="776147"/>
                </a:lnTo>
                <a:lnTo>
                  <a:pt x="7619166" y="739317"/>
                </a:lnTo>
                <a:lnTo>
                  <a:pt x="7643724" y="714761"/>
                </a:lnTo>
                <a:lnTo>
                  <a:pt x="7660914" y="741772"/>
                </a:lnTo>
                <a:lnTo>
                  <a:pt x="7665826" y="788425"/>
                </a:lnTo>
                <a:lnTo>
                  <a:pt x="7710030" y="825256"/>
                </a:lnTo>
                <a:lnTo>
                  <a:pt x="7754235" y="839989"/>
                </a:lnTo>
                <a:lnTo>
                  <a:pt x="7749323" y="820346"/>
                </a:lnTo>
                <a:lnTo>
                  <a:pt x="7734588" y="798247"/>
                </a:lnTo>
                <a:lnTo>
                  <a:pt x="7749323" y="756504"/>
                </a:lnTo>
                <a:lnTo>
                  <a:pt x="7781249" y="754049"/>
                </a:lnTo>
                <a:lnTo>
                  <a:pt x="7805807" y="788425"/>
                </a:lnTo>
                <a:lnTo>
                  <a:pt x="7857378" y="803158"/>
                </a:lnTo>
                <a:lnTo>
                  <a:pt x="7908950" y="854722"/>
                </a:lnTo>
                <a:lnTo>
                  <a:pt x="7913861" y="825256"/>
                </a:lnTo>
                <a:lnTo>
                  <a:pt x="7889304" y="785969"/>
                </a:lnTo>
                <a:lnTo>
                  <a:pt x="7864746" y="754049"/>
                </a:lnTo>
                <a:lnTo>
                  <a:pt x="7835276" y="751593"/>
                </a:lnTo>
                <a:lnTo>
                  <a:pt x="7815630" y="719672"/>
                </a:lnTo>
                <a:lnTo>
                  <a:pt x="7825454" y="677930"/>
                </a:lnTo>
                <a:lnTo>
                  <a:pt x="7864746" y="663196"/>
                </a:lnTo>
                <a:lnTo>
                  <a:pt x="7935964" y="658286"/>
                </a:lnTo>
                <a:lnTo>
                  <a:pt x="7992447" y="665651"/>
                </a:lnTo>
                <a:lnTo>
                  <a:pt x="7982625" y="626364"/>
                </a:lnTo>
                <a:lnTo>
                  <a:pt x="7950699" y="616543"/>
                </a:lnTo>
                <a:lnTo>
                  <a:pt x="7950699" y="587077"/>
                </a:lnTo>
                <a:lnTo>
                  <a:pt x="7992447" y="572344"/>
                </a:lnTo>
                <a:lnTo>
                  <a:pt x="8029285" y="547791"/>
                </a:lnTo>
                <a:lnTo>
                  <a:pt x="8083313" y="542880"/>
                </a:lnTo>
                <a:lnTo>
                  <a:pt x="8147163" y="537969"/>
                </a:lnTo>
                <a:lnTo>
                  <a:pt x="8149618" y="508503"/>
                </a:lnTo>
                <a:lnTo>
                  <a:pt x="8176632" y="518325"/>
                </a:lnTo>
                <a:lnTo>
                  <a:pt x="8213470" y="503592"/>
                </a:lnTo>
                <a:lnTo>
                  <a:pt x="8238027" y="533057"/>
                </a:lnTo>
                <a:lnTo>
                  <a:pt x="8257674" y="515870"/>
                </a:lnTo>
                <a:lnTo>
                  <a:pt x="8294511" y="508503"/>
                </a:lnTo>
                <a:lnTo>
                  <a:pt x="8353451" y="520780"/>
                </a:lnTo>
                <a:lnTo>
                  <a:pt x="8395198" y="501137"/>
                </a:lnTo>
                <a:lnTo>
                  <a:pt x="8368184" y="491315"/>
                </a:lnTo>
                <a:lnTo>
                  <a:pt x="8378008" y="474126"/>
                </a:lnTo>
                <a:lnTo>
                  <a:pt x="8392743" y="425018"/>
                </a:lnTo>
                <a:close/>
                <a:moveTo>
                  <a:pt x="2573425" y="350364"/>
                </a:moveTo>
                <a:lnTo>
                  <a:pt x="2602615" y="392621"/>
                </a:lnTo>
                <a:lnTo>
                  <a:pt x="2583153" y="434877"/>
                </a:lnTo>
                <a:lnTo>
                  <a:pt x="2549103" y="439850"/>
                </a:lnTo>
                <a:lnTo>
                  <a:pt x="2517480" y="412507"/>
                </a:lnTo>
                <a:lnTo>
                  <a:pt x="2517480" y="367764"/>
                </a:lnTo>
                <a:close/>
                <a:moveTo>
                  <a:pt x="2321520" y="330656"/>
                </a:moveTo>
                <a:lnTo>
                  <a:pt x="2365429" y="335620"/>
                </a:lnTo>
                <a:lnTo>
                  <a:pt x="2406897" y="348029"/>
                </a:lnTo>
                <a:lnTo>
                  <a:pt x="2445926" y="392700"/>
                </a:lnTo>
                <a:lnTo>
                  <a:pt x="2458123" y="429927"/>
                </a:lnTo>
                <a:lnTo>
                  <a:pt x="2384946" y="439854"/>
                </a:lnTo>
                <a:lnTo>
                  <a:pt x="2365429" y="402627"/>
                </a:lnTo>
                <a:lnTo>
                  <a:pt x="2321520" y="397664"/>
                </a:lnTo>
                <a:lnTo>
                  <a:pt x="2289812" y="352993"/>
                </a:lnTo>
                <a:close/>
                <a:moveTo>
                  <a:pt x="2115676" y="330656"/>
                </a:moveTo>
                <a:lnTo>
                  <a:pt x="2156539" y="335522"/>
                </a:lnTo>
                <a:lnTo>
                  <a:pt x="2175770" y="367152"/>
                </a:lnTo>
                <a:lnTo>
                  <a:pt x="2122887" y="386617"/>
                </a:lnTo>
                <a:lnTo>
                  <a:pt x="2055582" y="393916"/>
                </a:lnTo>
                <a:lnTo>
                  <a:pt x="2086832" y="347688"/>
                </a:lnTo>
                <a:close/>
                <a:moveTo>
                  <a:pt x="8372609" y="275911"/>
                </a:moveTo>
                <a:lnTo>
                  <a:pt x="8379907" y="295467"/>
                </a:lnTo>
                <a:lnTo>
                  <a:pt x="8394501" y="302800"/>
                </a:lnTo>
                <a:lnTo>
                  <a:pt x="8413960" y="302800"/>
                </a:lnTo>
                <a:lnTo>
                  <a:pt x="8438284" y="312576"/>
                </a:lnTo>
                <a:lnTo>
                  <a:pt x="8443147" y="341910"/>
                </a:lnTo>
                <a:lnTo>
                  <a:pt x="8426121" y="371243"/>
                </a:lnTo>
                <a:lnTo>
                  <a:pt x="8384771" y="378576"/>
                </a:lnTo>
                <a:lnTo>
                  <a:pt x="8331259" y="371243"/>
                </a:lnTo>
                <a:lnTo>
                  <a:pt x="8314233" y="356576"/>
                </a:lnTo>
                <a:lnTo>
                  <a:pt x="8331259" y="322355"/>
                </a:lnTo>
                <a:lnTo>
                  <a:pt x="8343421" y="295467"/>
                </a:lnTo>
                <a:close/>
                <a:moveTo>
                  <a:pt x="5907909" y="260585"/>
                </a:moveTo>
                <a:lnTo>
                  <a:pt x="5954484" y="333578"/>
                </a:lnTo>
                <a:lnTo>
                  <a:pt x="6094207" y="406568"/>
                </a:lnTo>
                <a:lnTo>
                  <a:pt x="6072146" y="450364"/>
                </a:lnTo>
                <a:lnTo>
                  <a:pt x="6042731" y="438200"/>
                </a:lnTo>
                <a:lnTo>
                  <a:pt x="5983900" y="443065"/>
                </a:lnTo>
                <a:lnTo>
                  <a:pt x="5983900" y="401703"/>
                </a:lnTo>
                <a:lnTo>
                  <a:pt x="5954484" y="384671"/>
                </a:lnTo>
                <a:lnTo>
                  <a:pt x="5903008" y="438200"/>
                </a:lnTo>
                <a:lnTo>
                  <a:pt x="5888299" y="499026"/>
                </a:lnTo>
                <a:lnTo>
                  <a:pt x="5853982" y="484428"/>
                </a:lnTo>
                <a:lnTo>
                  <a:pt x="5827017" y="443065"/>
                </a:lnTo>
                <a:lnTo>
                  <a:pt x="5797602" y="418734"/>
                </a:lnTo>
                <a:lnTo>
                  <a:pt x="5804956" y="387105"/>
                </a:lnTo>
                <a:lnTo>
                  <a:pt x="5817212" y="353041"/>
                </a:lnTo>
                <a:lnTo>
                  <a:pt x="5790249" y="345742"/>
                </a:lnTo>
                <a:lnTo>
                  <a:pt x="5760833" y="374938"/>
                </a:lnTo>
                <a:lnTo>
                  <a:pt x="5706904" y="370073"/>
                </a:lnTo>
                <a:lnTo>
                  <a:pt x="5697099" y="328710"/>
                </a:lnTo>
                <a:lnTo>
                  <a:pt x="5687294" y="306813"/>
                </a:lnTo>
                <a:lnTo>
                  <a:pt x="5736320" y="267884"/>
                </a:lnTo>
                <a:lnTo>
                  <a:pt x="5753479" y="309245"/>
                </a:lnTo>
                <a:lnTo>
                  <a:pt x="5790249" y="287348"/>
                </a:lnTo>
                <a:lnTo>
                  <a:pt x="5834371" y="316544"/>
                </a:lnTo>
                <a:lnTo>
                  <a:pt x="5846628" y="267884"/>
                </a:lnTo>
                <a:close/>
                <a:moveTo>
                  <a:pt x="2507061" y="258393"/>
                </a:moveTo>
                <a:lnTo>
                  <a:pt x="2561003" y="270384"/>
                </a:lnTo>
                <a:lnTo>
                  <a:pt x="2548741" y="306359"/>
                </a:lnTo>
                <a:lnTo>
                  <a:pt x="2502155" y="306359"/>
                </a:lnTo>
                <a:close/>
                <a:moveTo>
                  <a:pt x="8226806" y="232116"/>
                </a:moveTo>
                <a:lnTo>
                  <a:pt x="8251776" y="239432"/>
                </a:lnTo>
                <a:lnTo>
                  <a:pt x="8276746" y="273572"/>
                </a:lnTo>
                <a:lnTo>
                  <a:pt x="8276746" y="300397"/>
                </a:lnTo>
                <a:lnTo>
                  <a:pt x="8294225" y="295519"/>
                </a:lnTo>
                <a:lnTo>
                  <a:pt x="8294225" y="322345"/>
                </a:lnTo>
                <a:lnTo>
                  <a:pt x="8239291" y="336977"/>
                </a:lnTo>
                <a:lnTo>
                  <a:pt x="8189351" y="315029"/>
                </a:lnTo>
                <a:lnTo>
                  <a:pt x="8136915" y="295519"/>
                </a:lnTo>
                <a:lnTo>
                  <a:pt x="8146903" y="271134"/>
                </a:lnTo>
                <a:lnTo>
                  <a:pt x="8179363" y="268695"/>
                </a:lnTo>
                <a:lnTo>
                  <a:pt x="8196843" y="239432"/>
                </a:lnTo>
                <a:close/>
                <a:moveTo>
                  <a:pt x="6030800" y="232116"/>
                </a:moveTo>
                <a:lnTo>
                  <a:pt x="6087510" y="244218"/>
                </a:lnTo>
                <a:lnTo>
                  <a:pt x="6186136" y="244218"/>
                </a:lnTo>
                <a:lnTo>
                  <a:pt x="6129426" y="297463"/>
                </a:lnTo>
                <a:lnTo>
                  <a:pt x="6060388" y="321667"/>
                </a:lnTo>
                <a:lnTo>
                  <a:pt x="5966694" y="297463"/>
                </a:lnTo>
                <a:lnTo>
                  <a:pt x="5954365" y="239377"/>
                </a:lnTo>
                <a:close/>
                <a:moveTo>
                  <a:pt x="2695353" y="179561"/>
                </a:moveTo>
                <a:lnTo>
                  <a:pt x="2788566" y="228277"/>
                </a:lnTo>
                <a:lnTo>
                  <a:pt x="2830270" y="284300"/>
                </a:lnTo>
                <a:lnTo>
                  <a:pt x="2825364" y="350068"/>
                </a:lnTo>
                <a:lnTo>
                  <a:pt x="2793472" y="393913"/>
                </a:lnTo>
                <a:lnTo>
                  <a:pt x="2683087" y="381735"/>
                </a:lnTo>
                <a:lnTo>
                  <a:pt x="2670822" y="342760"/>
                </a:lnTo>
                <a:lnTo>
                  <a:pt x="2678184" y="315967"/>
                </a:lnTo>
                <a:lnTo>
                  <a:pt x="2634033" y="315967"/>
                </a:lnTo>
                <a:lnTo>
                  <a:pt x="2629127" y="264816"/>
                </a:lnTo>
                <a:lnTo>
                  <a:pt x="2665919" y="223406"/>
                </a:lnTo>
                <a:close/>
                <a:moveTo>
                  <a:pt x="8132047" y="140145"/>
                </a:moveTo>
                <a:lnTo>
                  <a:pt x="8179228" y="167012"/>
                </a:lnTo>
                <a:lnTo>
                  <a:pt x="8189160" y="218303"/>
                </a:lnTo>
                <a:lnTo>
                  <a:pt x="8144463" y="240285"/>
                </a:lnTo>
                <a:lnTo>
                  <a:pt x="8087350" y="264710"/>
                </a:lnTo>
                <a:lnTo>
                  <a:pt x="8045136" y="237843"/>
                </a:lnTo>
                <a:lnTo>
                  <a:pt x="8025270" y="203649"/>
                </a:lnTo>
                <a:lnTo>
                  <a:pt x="8052585" y="186551"/>
                </a:lnTo>
                <a:lnTo>
                  <a:pt x="8079901" y="181667"/>
                </a:lnTo>
                <a:lnTo>
                  <a:pt x="8107215" y="157242"/>
                </a:lnTo>
                <a:close/>
                <a:moveTo>
                  <a:pt x="3193159" y="54744"/>
                </a:moveTo>
                <a:lnTo>
                  <a:pt x="3247050" y="103987"/>
                </a:lnTo>
                <a:lnTo>
                  <a:pt x="3310739" y="54744"/>
                </a:lnTo>
                <a:lnTo>
                  <a:pt x="3494458" y="62131"/>
                </a:lnTo>
                <a:lnTo>
                  <a:pt x="3567944" y="62131"/>
                </a:lnTo>
                <a:lnTo>
                  <a:pt x="3609587" y="103987"/>
                </a:lnTo>
                <a:lnTo>
                  <a:pt x="3536100" y="133532"/>
                </a:lnTo>
                <a:lnTo>
                  <a:pt x="3425869" y="153229"/>
                </a:lnTo>
                <a:lnTo>
                  <a:pt x="3450364" y="197548"/>
                </a:lnTo>
                <a:lnTo>
                  <a:pt x="3327885" y="300957"/>
                </a:lnTo>
                <a:lnTo>
                  <a:pt x="3261748" y="281261"/>
                </a:lnTo>
                <a:lnTo>
                  <a:pt x="3210307" y="313268"/>
                </a:lnTo>
                <a:lnTo>
                  <a:pt x="3193159" y="342813"/>
                </a:lnTo>
                <a:lnTo>
                  <a:pt x="3131917" y="404368"/>
                </a:lnTo>
                <a:lnTo>
                  <a:pt x="3090272" y="416678"/>
                </a:lnTo>
                <a:lnTo>
                  <a:pt x="3053529" y="431451"/>
                </a:lnTo>
                <a:lnTo>
                  <a:pt x="3090272" y="478231"/>
                </a:lnTo>
                <a:lnTo>
                  <a:pt x="3043733" y="527473"/>
                </a:lnTo>
                <a:lnTo>
                  <a:pt x="2945757" y="547170"/>
                </a:lnTo>
                <a:lnTo>
                  <a:pt x="2776739" y="520087"/>
                </a:lnTo>
                <a:lnTo>
                  <a:pt x="2747342" y="465920"/>
                </a:lnTo>
                <a:lnTo>
                  <a:pt x="2808583" y="478231"/>
                </a:lnTo>
                <a:lnTo>
                  <a:pt x="2825735" y="448685"/>
                </a:lnTo>
                <a:lnTo>
                  <a:pt x="2862476" y="421602"/>
                </a:lnTo>
                <a:lnTo>
                  <a:pt x="2891868" y="399442"/>
                </a:lnTo>
                <a:lnTo>
                  <a:pt x="2931060" y="367435"/>
                </a:lnTo>
                <a:lnTo>
                  <a:pt x="2899218" y="323116"/>
                </a:lnTo>
                <a:lnTo>
                  <a:pt x="2904117" y="276336"/>
                </a:lnTo>
                <a:lnTo>
                  <a:pt x="2943308" y="300957"/>
                </a:lnTo>
                <a:lnTo>
                  <a:pt x="3021688" y="300957"/>
                </a:lnTo>
                <a:lnTo>
                  <a:pt x="2980049" y="281261"/>
                </a:lnTo>
                <a:lnTo>
                  <a:pt x="3029037" y="256639"/>
                </a:lnTo>
                <a:lnTo>
                  <a:pt x="3109868" y="239404"/>
                </a:lnTo>
                <a:lnTo>
                  <a:pt x="3109868" y="197548"/>
                </a:lnTo>
                <a:lnTo>
                  <a:pt x="3082923" y="207397"/>
                </a:lnTo>
                <a:lnTo>
                  <a:pt x="3009442" y="224631"/>
                </a:lnTo>
                <a:lnTo>
                  <a:pt x="2955554" y="251715"/>
                </a:lnTo>
                <a:lnTo>
                  <a:pt x="2891868" y="232018"/>
                </a:lnTo>
                <a:lnTo>
                  <a:pt x="2862476" y="222169"/>
                </a:lnTo>
                <a:lnTo>
                  <a:pt x="2830634" y="185238"/>
                </a:lnTo>
                <a:lnTo>
                  <a:pt x="2813485" y="145844"/>
                </a:lnTo>
                <a:lnTo>
                  <a:pt x="2891868" y="133532"/>
                </a:lnTo>
                <a:lnTo>
                  <a:pt x="2904117" y="108911"/>
                </a:lnTo>
                <a:lnTo>
                  <a:pt x="2960454" y="99063"/>
                </a:lnTo>
                <a:lnTo>
                  <a:pt x="2984947" y="128609"/>
                </a:lnTo>
                <a:lnTo>
                  <a:pt x="3033936" y="128609"/>
                </a:lnTo>
                <a:lnTo>
                  <a:pt x="3082923" y="71980"/>
                </a:lnTo>
                <a:lnTo>
                  <a:pt x="3188258" y="79365"/>
                </a:lnTo>
                <a:close/>
                <a:moveTo>
                  <a:pt x="4538715" y="0"/>
                </a:moveTo>
                <a:lnTo>
                  <a:pt x="4420794" y="49126"/>
                </a:lnTo>
                <a:lnTo>
                  <a:pt x="4636983" y="19650"/>
                </a:lnTo>
                <a:lnTo>
                  <a:pt x="4735249" y="56495"/>
                </a:lnTo>
                <a:lnTo>
                  <a:pt x="4686117" y="68776"/>
                </a:lnTo>
                <a:lnTo>
                  <a:pt x="4538715" y="90883"/>
                </a:lnTo>
                <a:lnTo>
                  <a:pt x="4420794" y="130184"/>
                </a:lnTo>
                <a:lnTo>
                  <a:pt x="4624700" y="110533"/>
                </a:lnTo>
                <a:lnTo>
                  <a:pt x="4617329" y="167027"/>
                </a:lnTo>
                <a:lnTo>
                  <a:pt x="4742620" y="122814"/>
                </a:lnTo>
                <a:lnTo>
                  <a:pt x="4686117" y="223523"/>
                </a:lnTo>
                <a:lnTo>
                  <a:pt x="4799124" y="167027"/>
                </a:lnTo>
                <a:lnTo>
                  <a:pt x="4877735" y="142464"/>
                </a:lnTo>
                <a:lnTo>
                  <a:pt x="5032508" y="154746"/>
                </a:lnTo>
                <a:lnTo>
                  <a:pt x="4951438" y="208785"/>
                </a:lnTo>
                <a:lnTo>
                  <a:pt x="4865454" y="233347"/>
                </a:lnTo>
                <a:lnTo>
                  <a:pt x="4828603" y="238260"/>
                </a:lnTo>
                <a:lnTo>
                  <a:pt x="4784383" y="257910"/>
                </a:lnTo>
                <a:lnTo>
                  <a:pt x="4845801" y="287386"/>
                </a:lnTo>
                <a:lnTo>
                  <a:pt x="4816321" y="314406"/>
                </a:lnTo>
                <a:lnTo>
                  <a:pt x="4762275" y="348793"/>
                </a:lnTo>
                <a:lnTo>
                  <a:pt x="4735249" y="412657"/>
                </a:lnTo>
                <a:lnTo>
                  <a:pt x="4840885" y="422482"/>
                </a:lnTo>
                <a:lnTo>
                  <a:pt x="4845801" y="478977"/>
                </a:lnTo>
                <a:lnTo>
                  <a:pt x="4816321" y="486345"/>
                </a:lnTo>
                <a:lnTo>
                  <a:pt x="4791755" y="515822"/>
                </a:lnTo>
                <a:lnTo>
                  <a:pt x="4799124" y="557578"/>
                </a:lnTo>
                <a:lnTo>
                  <a:pt x="4853169" y="582141"/>
                </a:lnTo>
                <a:lnTo>
                  <a:pt x="4840885" y="621441"/>
                </a:lnTo>
                <a:lnTo>
                  <a:pt x="4804038" y="655831"/>
                </a:lnTo>
                <a:lnTo>
                  <a:pt x="4762275" y="655831"/>
                </a:lnTo>
                <a:lnTo>
                  <a:pt x="4779469" y="687761"/>
                </a:lnTo>
                <a:lnTo>
                  <a:pt x="4730335" y="700044"/>
                </a:lnTo>
                <a:lnTo>
                  <a:pt x="4710681" y="731975"/>
                </a:lnTo>
                <a:lnTo>
                  <a:pt x="4693486" y="712324"/>
                </a:lnTo>
                <a:lnTo>
                  <a:pt x="4644353" y="712324"/>
                </a:lnTo>
                <a:lnTo>
                  <a:pt x="4636983" y="754082"/>
                </a:lnTo>
                <a:lnTo>
                  <a:pt x="4705768" y="781100"/>
                </a:lnTo>
                <a:lnTo>
                  <a:pt x="4735249" y="840051"/>
                </a:lnTo>
                <a:lnTo>
                  <a:pt x="4710681" y="879353"/>
                </a:lnTo>
                <a:lnTo>
                  <a:pt x="4664006" y="854789"/>
                </a:lnTo>
                <a:lnTo>
                  <a:pt x="4612415" y="815488"/>
                </a:lnTo>
                <a:lnTo>
                  <a:pt x="4570652" y="827770"/>
                </a:lnTo>
                <a:lnTo>
                  <a:pt x="4555913" y="869528"/>
                </a:lnTo>
                <a:lnTo>
                  <a:pt x="4632069" y="881809"/>
                </a:lnTo>
                <a:lnTo>
                  <a:pt x="4693486" y="901459"/>
                </a:lnTo>
                <a:lnTo>
                  <a:pt x="4636983" y="965322"/>
                </a:lnTo>
                <a:lnTo>
                  <a:pt x="4519064" y="1043923"/>
                </a:lnTo>
                <a:lnTo>
                  <a:pt x="4386403" y="1031643"/>
                </a:lnTo>
                <a:lnTo>
                  <a:pt x="4329898" y="1142176"/>
                </a:lnTo>
                <a:lnTo>
                  <a:pt x="4219348" y="1166739"/>
                </a:lnTo>
                <a:lnTo>
                  <a:pt x="4113710" y="1191302"/>
                </a:lnTo>
                <a:lnTo>
                  <a:pt x="4108798" y="1269902"/>
                </a:lnTo>
                <a:lnTo>
                  <a:pt x="4064577" y="1326396"/>
                </a:lnTo>
                <a:lnTo>
                  <a:pt x="4005616" y="1478687"/>
                </a:lnTo>
                <a:lnTo>
                  <a:pt x="3949115" y="1490968"/>
                </a:lnTo>
                <a:lnTo>
                  <a:pt x="3919633" y="1444299"/>
                </a:lnTo>
                <a:lnTo>
                  <a:pt x="3855758" y="1429560"/>
                </a:lnTo>
                <a:lnTo>
                  <a:pt x="3801713" y="1319028"/>
                </a:lnTo>
                <a:lnTo>
                  <a:pt x="3757492" y="1203582"/>
                </a:lnTo>
                <a:lnTo>
                  <a:pt x="3728012" y="1093049"/>
                </a:lnTo>
                <a:lnTo>
                  <a:pt x="3745209" y="1036555"/>
                </a:lnTo>
                <a:lnTo>
                  <a:pt x="3811540" y="999710"/>
                </a:lnTo>
                <a:lnTo>
                  <a:pt x="3823822" y="926022"/>
                </a:lnTo>
                <a:lnTo>
                  <a:pt x="3740296" y="891634"/>
                </a:lnTo>
                <a:lnTo>
                  <a:pt x="3804171" y="869528"/>
                </a:lnTo>
                <a:lnTo>
                  <a:pt x="3784516" y="815488"/>
                </a:lnTo>
                <a:lnTo>
                  <a:pt x="3732926" y="840051"/>
                </a:lnTo>
                <a:lnTo>
                  <a:pt x="3728012" y="800751"/>
                </a:lnTo>
                <a:lnTo>
                  <a:pt x="3708358" y="700044"/>
                </a:lnTo>
                <a:lnTo>
                  <a:pt x="3673963" y="601791"/>
                </a:lnTo>
                <a:lnTo>
                  <a:pt x="3617462" y="540385"/>
                </a:lnTo>
                <a:lnTo>
                  <a:pt x="3401272" y="540385"/>
                </a:lnTo>
                <a:lnTo>
                  <a:pt x="3315291" y="478977"/>
                </a:lnTo>
                <a:lnTo>
                  <a:pt x="3369338" y="471609"/>
                </a:lnTo>
                <a:lnTo>
                  <a:pt x="3425841" y="459327"/>
                </a:lnTo>
                <a:lnTo>
                  <a:pt x="3401272" y="422482"/>
                </a:lnTo>
                <a:lnTo>
                  <a:pt x="3273524" y="429851"/>
                </a:lnTo>
                <a:lnTo>
                  <a:pt x="3266155" y="402832"/>
                </a:lnTo>
                <a:lnTo>
                  <a:pt x="3342314" y="380726"/>
                </a:lnTo>
                <a:lnTo>
                  <a:pt x="3413556" y="324230"/>
                </a:lnTo>
                <a:lnTo>
                  <a:pt x="3494630" y="302123"/>
                </a:lnTo>
                <a:lnTo>
                  <a:pt x="3499541" y="225979"/>
                </a:lnTo>
                <a:lnTo>
                  <a:pt x="3605178" y="203872"/>
                </a:lnTo>
                <a:lnTo>
                  <a:pt x="3634658" y="159659"/>
                </a:lnTo>
                <a:lnTo>
                  <a:pt x="3676421" y="122814"/>
                </a:lnTo>
                <a:lnTo>
                  <a:pt x="3715727" y="122814"/>
                </a:lnTo>
                <a:lnTo>
                  <a:pt x="3757492" y="100708"/>
                </a:lnTo>
                <a:lnTo>
                  <a:pt x="3855758" y="135096"/>
                </a:lnTo>
                <a:lnTo>
                  <a:pt x="3843475" y="105621"/>
                </a:lnTo>
                <a:lnTo>
                  <a:pt x="3899979" y="110533"/>
                </a:lnTo>
                <a:lnTo>
                  <a:pt x="3907350" y="159659"/>
                </a:lnTo>
                <a:lnTo>
                  <a:pt x="3961397" y="159659"/>
                </a:lnTo>
                <a:lnTo>
                  <a:pt x="3961397" y="100708"/>
                </a:lnTo>
                <a:lnTo>
                  <a:pt x="4010529" y="100708"/>
                </a:lnTo>
                <a:lnTo>
                  <a:pt x="4047381" y="100708"/>
                </a:lnTo>
                <a:lnTo>
                  <a:pt x="4084231" y="142464"/>
                </a:lnTo>
                <a:lnTo>
                  <a:pt x="4101427" y="88426"/>
                </a:lnTo>
                <a:lnTo>
                  <a:pt x="4101427" y="36845"/>
                </a:lnTo>
                <a:lnTo>
                  <a:pt x="4207065" y="73688"/>
                </a:lnTo>
                <a:lnTo>
                  <a:pt x="4280764" y="736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62949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2404998" y="1701800"/>
            <a:ext cx="9358808" cy="9358808"/>
          </a:xfrm>
          <a:custGeom>
            <a:avLst/>
            <a:gdLst>
              <a:gd name="connsiteX0" fmla="*/ 4280185 w 4679404"/>
              <a:gd name="connsiteY0" fmla="*/ 3545002 h 4679404"/>
              <a:gd name="connsiteX1" fmla="*/ 4336902 w 4679404"/>
              <a:gd name="connsiteY1" fmla="*/ 3547191 h 4679404"/>
              <a:gd name="connsiteX2" fmla="*/ 4387081 w 4679404"/>
              <a:gd name="connsiteY2" fmla="*/ 3555932 h 4679404"/>
              <a:gd name="connsiteX3" fmla="*/ 4435070 w 4679404"/>
              <a:gd name="connsiteY3" fmla="*/ 3566863 h 4679404"/>
              <a:gd name="connsiteX4" fmla="*/ 4459069 w 4679404"/>
              <a:gd name="connsiteY4" fmla="*/ 3573415 h 4679404"/>
              <a:gd name="connsiteX5" fmla="*/ 4480886 w 4679404"/>
              <a:gd name="connsiteY5" fmla="*/ 3584345 h 4679404"/>
              <a:gd name="connsiteX6" fmla="*/ 4507066 w 4679404"/>
              <a:gd name="connsiteY6" fmla="*/ 3595276 h 4679404"/>
              <a:gd name="connsiteX7" fmla="*/ 4531057 w 4679404"/>
              <a:gd name="connsiteY7" fmla="*/ 3612758 h 4679404"/>
              <a:gd name="connsiteX8" fmla="*/ 4552874 w 4679404"/>
              <a:gd name="connsiteY8" fmla="*/ 3630249 h 4679404"/>
              <a:gd name="connsiteX9" fmla="*/ 4574691 w 4679404"/>
              <a:gd name="connsiteY9" fmla="*/ 3652102 h 4679404"/>
              <a:gd name="connsiteX10" fmla="*/ 4594326 w 4679404"/>
              <a:gd name="connsiteY10" fmla="*/ 3671774 h 4679404"/>
              <a:gd name="connsiteX11" fmla="*/ 4609598 w 4679404"/>
              <a:gd name="connsiteY11" fmla="*/ 3695816 h 4679404"/>
              <a:gd name="connsiteX12" fmla="*/ 4624869 w 4679404"/>
              <a:gd name="connsiteY12" fmla="*/ 3722048 h 4679404"/>
              <a:gd name="connsiteX13" fmla="*/ 4637952 w 4679404"/>
              <a:gd name="connsiteY13" fmla="*/ 3750461 h 4679404"/>
              <a:gd name="connsiteX14" fmla="*/ 4648861 w 4679404"/>
              <a:gd name="connsiteY14" fmla="*/ 3778874 h 4679404"/>
              <a:gd name="connsiteX15" fmla="*/ 4655406 w 4679404"/>
              <a:gd name="connsiteY15" fmla="*/ 3807294 h 4679404"/>
              <a:gd name="connsiteX16" fmla="*/ 4657587 w 4679404"/>
              <a:gd name="connsiteY16" fmla="*/ 3837889 h 4679404"/>
              <a:gd name="connsiteX17" fmla="*/ 4659769 w 4679404"/>
              <a:gd name="connsiteY17" fmla="*/ 3866310 h 4679404"/>
              <a:gd name="connsiteX18" fmla="*/ 4659769 w 4679404"/>
              <a:gd name="connsiteY18" fmla="*/ 3890352 h 4679404"/>
              <a:gd name="connsiteX19" fmla="*/ 4657587 w 4679404"/>
              <a:gd name="connsiteY19" fmla="*/ 3914395 h 4679404"/>
              <a:gd name="connsiteX20" fmla="*/ 4653224 w 4679404"/>
              <a:gd name="connsiteY20" fmla="*/ 3936248 h 4679404"/>
              <a:gd name="connsiteX21" fmla="*/ 4648861 w 4679404"/>
              <a:gd name="connsiteY21" fmla="*/ 3958109 h 4679404"/>
              <a:gd name="connsiteX22" fmla="*/ 4640134 w 4679404"/>
              <a:gd name="connsiteY22" fmla="*/ 3979962 h 4679404"/>
              <a:gd name="connsiteX23" fmla="*/ 4633589 w 4679404"/>
              <a:gd name="connsiteY23" fmla="*/ 4001823 h 4679404"/>
              <a:gd name="connsiteX24" fmla="*/ 4624869 w 4679404"/>
              <a:gd name="connsiteY24" fmla="*/ 4019306 h 4679404"/>
              <a:gd name="connsiteX25" fmla="*/ 4611779 w 4679404"/>
              <a:gd name="connsiteY25" fmla="*/ 4038977 h 4679404"/>
              <a:gd name="connsiteX26" fmla="*/ 4587781 w 4679404"/>
              <a:gd name="connsiteY26" fmla="*/ 4078321 h 4679404"/>
              <a:gd name="connsiteX27" fmla="*/ 4563782 w 4679404"/>
              <a:gd name="connsiteY27" fmla="*/ 4108923 h 4679404"/>
              <a:gd name="connsiteX28" fmla="*/ 4539784 w 4679404"/>
              <a:gd name="connsiteY28" fmla="*/ 4137336 h 4679404"/>
              <a:gd name="connsiteX29" fmla="*/ 4517974 w 4679404"/>
              <a:gd name="connsiteY29" fmla="*/ 4161386 h 4679404"/>
              <a:gd name="connsiteX30" fmla="*/ 4452524 w 4679404"/>
              <a:gd name="connsiteY30" fmla="*/ 4218212 h 4679404"/>
              <a:gd name="connsiteX31" fmla="*/ 4352174 w 4679404"/>
              <a:gd name="connsiteY31" fmla="*/ 4301270 h 4679404"/>
              <a:gd name="connsiteX32" fmla="*/ 4299813 w 4679404"/>
              <a:gd name="connsiteY32" fmla="*/ 4347173 h 4679404"/>
              <a:gd name="connsiteX33" fmla="*/ 4256187 w 4679404"/>
              <a:gd name="connsiteY33" fmla="*/ 4384328 h 4679404"/>
              <a:gd name="connsiteX34" fmla="*/ 4221280 w 4679404"/>
              <a:gd name="connsiteY34" fmla="*/ 4421490 h 4679404"/>
              <a:gd name="connsiteX35" fmla="*/ 4195100 w 4679404"/>
              <a:gd name="connsiteY35" fmla="*/ 4449903 h 4679404"/>
              <a:gd name="connsiteX36" fmla="*/ 4175472 w 4679404"/>
              <a:gd name="connsiteY36" fmla="*/ 4471756 h 4679404"/>
              <a:gd name="connsiteX37" fmla="*/ 4155837 w 4679404"/>
              <a:gd name="connsiteY37" fmla="*/ 4497988 h 4679404"/>
              <a:gd name="connsiteX38" fmla="*/ 4557237 w 4679404"/>
              <a:gd name="connsiteY38" fmla="*/ 4497988 h 4679404"/>
              <a:gd name="connsiteX39" fmla="*/ 4583417 w 4679404"/>
              <a:gd name="connsiteY39" fmla="*/ 4500177 h 4679404"/>
              <a:gd name="connsiteX40" fmla="*/ 4609598 w 4679404"/>
              <a:gd name="connsiteY40" fmla="*/ 4504547 h 4679404"/>
              <a:gd name="connsiteX41" fmla="*/ 4631407 w 4679404"/>
              <a:gd name="connsiteY41" fmla="*/ 4511100 h 4679404"/>
              <a:gd name="connsiteX42" fmla="*/ 4648861 w 4679404"/>
              <a:gd name="connsiteY42" fmla="*/ 4524219 h 4679404"/>
              <a:gd name="connsiteX43" fmla="*/ 4661951 w 4679404"/>
              <a:gd name="connsiteY43" fmla="*/ 4535142 h 4679404"/>
              <a:gd name="connsiteX44" fmla="*/ 4672859 w 4679404"/>
              <a:gd name="connsiteY44" fmla="*/ 4552632 h 4679404"/>
              <a:gd name="connsiteX45" fmla="*/ 4677223 w 4679404"/>
              <a:gd name="connsiteY45" fmla="*/ 4570115 h 4679404"/>
              <a:gd name="connsiteX46" fmla="*/ 4679404 w 4679404"/>
              <a:gd name="connsiteY46" fmla="*/ 4587605 h 4679404"/>
              <a:gd name="connsiteX47" fmla="*/ 4677223 w 4679404"/>
              <a:gd name="connsiteY47" fmla="*/ 4607277 h 4679404"/>
              <a:gd name="connsiteX48" fmla="*/ 4672859 w 4679404"/>
              <a:gd name="connsiteY48" fmla="*/ 4624760 h 4679404"/>
              <a:gd name="connsiteX49" fmla="*/ 4664132 w 4679404"/>
              <a:gd name="connsiteY49" fmla="*/ 4637879 h 4679404"/>
              <a:gd name="connsiteX50" fmla="*/ 4655406 w 4679404"/>
              <a:gd name="connsiteY50" fmla="*/ 4653173 h 4679404"/>
              <a:gd name="connsiteX51" fmla="*/ 4640134 w 4679404"/>
              <a:gd name="connsiteY51" fmla="*/ 4664103 h 4679404"/>
              <a:gd name="connsiteX52" fmla="*/ 4622688 w 4679404"/>
              <a:gd name="connsiteY52" fmla="*/ 4672845 h 4679404"/>
              <a:gd name="connsiteX53" fmla="*/ 4603053 w 4679404"/>
              <a:gd name="connsiteY53" fmla="*/ 4677223 h 4679404"/>
              <a:gd name="connsiteX54" fmla="*/ 4579054 w 4679404"/>
              <a:gd name="connsiteY54" fmla="*/ 4679404 h 4679404"/>
              <a:gd name="connsiteX55" fmla="*/ 4016216 w 4679404"/>
              <a:gd name="connsiteY55" fmla="*/ 4679404 h 4679404"/>
              <a:gd name="connsiteX56" fmla="*/ 3987854 w 4679404"/>
              <a:gd name="connsiteY56" fmla="*/ 4677223 h 4679404"/>
              <a:gd name="connsiteX57" fmla="*/ 3966037 w 4679404"/>
              <a:gd name="connsiteY57" fmla="*/ 4672845 h 4679404"/>
              <a:gd name="connsiteX58" fmla="*/ 3944228 w 4679404"/>
              <a:gd name="connsiteY58" fmla="*/ 4661921 h 4679404"/>
              <a:gd name="connsiteX59" fmla="*/ 3926775 w 4679404"/>
              <a:gd name="connsiteY59" fmla="*/ 4648802 h 4679404"/>
              <a:gd name="connsiteX60" fmla="*/ 3911503 w 4679404"/>
              <a:gd name="connsiteY60" fmla="*/ 4631319 h 4679404"/>
              <a:gd name="connsiteX61" fmla="*/ 3900594 w 4679404"/>
              <a:gd name="connsiteY61" fmla="*/ 4611648 h 4679404"/>
              <a:gd name="connsiteX62" fmla="*/ 3896231 w 4679404"/>
              <a:gd name="connsiteY62" fmla="*/ 4594158 h 4679404"/>
              <a:gd name="connsiteX63" fmla="*/ 3894049 w 4679404"/>
              <a:gd name="connsiteY63" fmla="*/ 4572304 h 4679404"/>
              <a:gd name="connsiteX64" fmla="*/ 3896231 w 4679404"/>
              <a:gd name="connsiteY64" fmla="*/ 4557003 h 4679404"/>
              <a:gd name="connsiteX65" fmla="*/ 3898413 w 4679404"/>
              <a:gd name="connsiteY65" fmla="*/ 4539520 h 4679404"/>
              <a:gd name="connsiteX66" fmla="*/ 3904958 w 4679404"/>
              <a:gd name="connsiteY66" fmla="*/ 4522030 h 4679404"/>
              <a:gd name="connsiteX67" fmla="*/ 3915866 w 4679404"/>
              <a:gd name="connsiteY67" fmla="*/ 4500177 h 4679404"/>
              <a:gd name="connsiteX68" fmla="*/ 3924593 w 4679404"/>
              <a:gd name="connsiteY68" fmla="*/ 4478316 h 4679404"/>
              <a:gd name="connsiteX69" fmla="*/ 3935501 w 4679404"/>
              <a:gd name="connsiteY69" fmla="*/ 4458644 h 4679404"/>
              <a:gd name="connsiteX70" fmla="*/ 3948591 w 4679404"/>
              <a:gd name="connsiteY70" fmla="*/ 4441161 h 4679404"/>
              <a:gd name="connsiteX71" fmla="*/ 3959492 w 4679404"/>
              <a:gd name="connsiteY71" fmla="*/ 4428042 h 4679404"/>
              <a:gd name="connsiteX72" fmla="*/ 4055487 w 4679404"/>
              <a:gd name="connsiteY72" fmla="*/ 4329683 h 4679404"/>
              <a:gd name="connsiteX73" fmla="*/ 4144928 w 4679404"/>
              <a:gd name="connsiteY73" fmla="*/ 4246626 h 4679404"/>
              <a:gd name="connsiteX74" fmla="*/ 4212553 w 4679404"/>
              <a:gd name="connsiteY74" fmla="*/ 4183239 h 4679404"/>
              <a:gd name="connsiteX75" fmla="*/ 4238733 w 4679404"/>
              <a:gd name="connsiteY75" fmla="*/ 4161386 h 4679404"/>
              <a:gd name="connsiteX76" fmla="*/ 4260550 w 4679404"/>
              <a:gd name="connsiteY76" fmla="*/ 4148267 h 4679404"/>
              <a:gd name="connsiteX77" fmla="*/ 4288912 w 4679404"/>
              <a:gd name="connsiteY77" fmla="*/ 4124224 h 4679404"/>
              <a:gd name="connsiteX78" fmla="*/ 4319448 w 4679404"/>
              <a:gd name="connsiteY78" fmla="*/ 4102371 h 4679404"/>
              <a:gd name="connsiteX79" fmla="*/ 4343447 w 4679404"/>
              <a:gd name="connsiteY79" fmla="*/ 4080510 h 4679404"/>
              <a:gd name="connsiteX80" fmla="*/ 4363082 w 4679404"/>
              <a:gd name="connsiteY80" fmla="*/ 4056468 h 4679404"/>
              <a:gd name="connsiteX81" fmla="*/ 4384899 w 4679404"/>
              <a:gd name="connsiteY81" fmla="*/ 4034607 h 4679404"/>
              <a:gd name="connsiteX82" fmla="*/ 4402352 w 4679404"/>
              <a:gd name="connsiteY82" fmla="*/ 4010564 h 4679404"/>
              <a:gd name="connsiteX83" fmla="*/ 4417617 w 4679404"/>
              <a:gd name="connsiteY83" fmla="*/ 3988711 h 4679404"/>
              <a:gd name="connsiteX84" fmla="*/ 4428525 w 4679404"/>
              <a:gd name="connsiteY84" fmla="*/ 3964668 h 4679404"/>
              <a:gd name="connsiteX85" fmla="*/ 4437252 w 4679404"/>
              <a:gd name="connsiteY85" fmla="*/ 3940626 h 4679404"/>
              <a:gd name="connsiteX86" fmla="*/ 4445979 w 4679404"/>
              <a:gd name="connsiteY86" fmla="*/ 3916576 h 4679404"/>
              <a:gd name="connsiteX87" fmla="*/ 4450342 w 4679404"/>
              <a:gd name="connsiteY87" fmla="*/ 3894723 h 4679404"/>
              <a:gd name="connsiteX88" fmla="*/ 4450342 w 4679404"/>
              <a:gd name="connsiteY88" fmla="*/ 3870680 h 4679404"/>
              <a:gd name="connsiteX89" fmla="*/ 4450342 w 4679404"/>
              <a:gd name="connsiteY89" fmla="*/ 3846638 h 4679404"/>
              <a:gd name="connsiteX90" fmla="*/ 4445979 w 4679404"/>
              <a:gd name="connsiteY90" fmla="*/ 3826966 h 4679404"/>
              <a:gd name="connsiteX91" fmla="*/ 4437252 w 4679404"/>
              <a:gd name="connsiteY91" fmla="*/ 3805105 h 4679404"/>
              <a:gd name="connsiteX92" fmla="*/ 4426344 w 4679404"/>
              <a:gd name="connsiteY92" fmla="*/ 3783252 h 4679404"/>
              <a:gd name="connsiteX93" fmla="*/ 4413253 w 4679404"/>
              <a:gd name="connsiteY93" fmla="*/ 3765762 h 4679404"/>
              <a:gd name="connsiteX94" fmla="*/ 4400171 w 4679404"/>
              <a:gd name="connsiteY94" fmla="*/ 3750461 h 4679404"/>
              <a:gd name="connsiteX95" fmla="*/ 4382717 w 4679404"/>
              <a:gd name="connsiteY95" fmla="*/ 3735160 h 4679404"/>
              <a:gd name="connsiteX96" fmla="*/ 4363082 w 4679404"/>
              <a:gd name="connsiteY96" fmla="*/ 3722048 h 4679404"/>
              <a:gd name="connsiteX97" fmla="*/ 4343447 w 4679404"/>
              <a:gd name="connsiteY97" fmla="*/ 3713306 h 4679404"/>
              <a:gd name="connsiteX98" fmla="*/ 4321630 w 4679404"/>
              <a:gd name="connsiteY98" fmla="*/ 3706747 h 4679404"/>
              <a:gd name="connsiteX99" fmla="*/ 4299813 w 4679404"/>
              <a:gd name="connsiteY99" fmla="*/ 3704565 h 4679404"/>
              <a:gd name="connsiteX100" fmla="*/ 4275822 w 4679404"/>
              <a:gd name="connsiteY100" fmla="*/ 3702376 h 4679404"/>
              <a:gd name="connsiteX101" fmla="*/ 4251824 w 4679404"/>
              <a:gd name="connsiteY101" fmla="*/ 3704565 h 4679404"/>
              <a:gd name="connsiteX102" fmla="*/ 4227825 w 4679404"/>
              <a:gd name="connsiteY102" fmla="*/ 3708936 h 4679404"/>
              <a:gd name="connsiteX103" fmla="*/ 4206008 w 4679404"/>
              <a:gd name="connsiteY103" fmla="*/ 3713306 h 4679404"/>
              <a:gd name="connsiteX104" fmla="*/ 4186373 w 4679404"/>
              <a:gd name="connsiteY104" fmla="*/ 3722048 h 4679404"/>
              <a:gd name="connsiteX105" fmla="*/ 4168927 w 4679404"/>
              <a:gd name="connsiteY105" fmla="*/ 3737349 h 4679404"/>
              <a:gd name="connsiteX106" fmla="*/ 4149292 w 4679404"/>
              <a:gd name="connsiteY106" fmla="*/ 3752650 h 4679404"/>
              <a:gd name="connsiteX107" fmla="*/ 4131838 w 4679404"/>
              <a:gd name="connsiteY107" fmla="*/ 3767951 h 4679404"/>
              <a:gd name="connsiteX108" fmla="*/ 4118748 w 4679404"/>
              <a:gd name="connsiteY108" fmla="*/ 3789804 h 4679404"/>
              <a:gd name="connsiteX109" fmla="*/ 4107840 w 4679404"/>
              <a:gd name="connsiteY109" fmla="*/ 3811665 h 4679404"/>
              <a:gd name="connsiteX110" fmla="*/ 4092568 w 4679404"/>
              <a:gd name="connsiteY110" fmla="*/ 3853190 h 4679404"/>
              <a:gd name="connsiteX111" fmla="*/ 4081659 w 4679404"/>
              <a:gd name="connsiteY111" fmla="*/ 3879422 h 4679404"/>
              <a:gd name="connsiteX112" fmla="*/ 4072933 w 4679404"/>
              <a:gd name="connsiteY112" fmla="*/ 3899093 h 4679404"/>
              <a:gd name="connsiteX113" fmla="*/ 4062032 w 4679404"/>
              <a:gd name="connsiteY113" fmla="*/ 3916576 h 4679404"/>
              <a:gd name="connsiteX114" fmla="*/ 4051123 w 4679404"/>
              <a:gd name="connsiteY114" fmla="*/ 3931877 h 4679404"/>
              <a:gd name="connsiteX115" fmla="*/ 4038033 w 4679404"/>
              <a:gd name="connsiteY115" fmla="*/ 3942808 h 4679404"/>
              <a:gd name="connsiteX116" fmla="*/ 4024943 w 4679404"/>
              <a:gd name="connsiteY116" fmla="*/ 3953738 h 4679404"/>
              <a:gd name="connsiteX117" fmla="*/ 4005308 w 4679404"/>
              <a:gd name="connsiteY117" fmla="*/ 3958109 h 4679404"/>
              <a:gd name="connsiteX118" fmla="*/ 3985673 w 4679404"/>
              <a:gd name="connsiteY118" fmla="*/ 3960290 h 4679404"/>
              <a:gd name="connsiteX119" fmla="*/ 3968219 w 4679404"/>
              <a:gd name="connsiteY119" fmla="*/ 3958109 h 4679404"/>
              <a:gd name="connsiteX120" fmla="*/ 3950773 w 4679404"/>
              <a:gd name="connsiteY120" fmla="*/ 3953738 h 4679404"/>
              <a:gd name="connsiteX121" fmla="*/ 3935501 w 4679404"/>
              <a:gd name="connsiteY121" fmla="*/ 3944997 h 4679404"/>
              <a:gd name="connsiteX122" fmla="*/ 3922411 w 4679404"/>
              <a:gd name="connsiteY122" fmla="*/ 3934066 h 4679404"/>
              <a:gd name="connsiteX123" fmla="*/ 3909321 w 4679404"/>
              <a:gd name="connsiteY123" fmla="*/ 3920954 h 4679404"/>
              <a:gd name="connsiteX124" fmla="*/ 3902776 w 4679404"/>
              <a:gd name="connsiteY124" fmla="*/ 3905653 h 4679404"/>
              <a:gd name="connsiteX125" fmla="*/ 3898413 w 4679404"/>
              <a:gd name="connsiteY125" fmla="*/ 3885981 h 4679404"/>
              <a:gd name="connsiteX126" fmla="*/ 3896231 w 4679404"/>
              <a:gd name="connsiteY126" fmla="*/ 3866310 h 4679404"/>
              <a:gd name="connsiteX127" fmla="*/ 3898413 w 4679404"/>
              <a:gd name="connsiteY127" fmla="*/ 3837889 h 4679404"/>
              <a:gd name="connsiteX128" fmla="*/ 3902776 w 4679404"/>
              <a:gd name="connsiteY128" fmla="*/ 3811665 h 4679404"/>
              <a:gd name="connsiteX129" fmla="*/ 3909321 w 4679404"/>
              <a:gd name="connsiteY129" fmla="*/ 3783252 h 4679404"/>
              <a:gd name="connsiteX130" fmla="*/ 3920229 w 4679404"/>
              <a:gd name="connsiteY130" fmla="*/ 3754831 h 4679404"/>
              <a:gd name="connsiteX131" fmla="*/ 3933320 w 4679404"/>
              <a:gd name="connsiteY131" fmla="*/ 3728607 h 4679404"/>
              <a:gd name="connsiteX132" fmla="*/ 3950773 w 4679404"/>
              <a:gd name="connsiteY132" fmla="*/ 3698005 h 4679404"/>
              <a:gd name="connsiteX133" fmla="*/ 3970401 w 4679404"/>
              <a:gd name="connsiteY133" fmla="*/ 3676144 h 4679404"/>
              <a:gd name="connsiteX134" fmla="*/ 3992218 w 4679404"/>
              <a:gd name="connsiteY134" fmla="*/ 3652102 h 4679404"/>
              <a:gd name="connsiteX135" fmla="*/ 4016216 w 4679404"/>
              <a:gd name="connsiteY135" fmla="*/ 3628060 h 4679404"/>
              <a:gd name="connsiteX136" fmla="*/ 4044578 w 4679404"/>
              <a:gd name="connsiteY136" fmla="*/ 3608388 h 4679404"/>
              <a:gd name="connsiteX137" fmla="*/ 4075114 w 4679404"/>
              <a:gd name="connsiteY137" fmla="*/ 3590905 h 4679404"/>
              <a:gd name="connsiteX138" fmla="*/ 4110021 w 4679404"/>
              <a:gd name="connsiteY138" fmla="*/ 3573415 h 4679404"/>
              <a:gd name="connsiteX139" fmla="*/ 4149292 w 4679404"/>
              <a:gd name="connsiteY139" fmla="*/ 3562492 h 4679404"/>
              <a:gd name="connsiteX140" fmla="*/ 4188555 w 4679404"/>
              <a:gd name="connsiteY140" fmla="*/ 3553743 h 4679404"/>
              <a:gd name="connsiteX141" fmla="*/ 4232188 w 4679404"/>
              <a:gd name="connsiteY141" fmla="*/ 3547191 h 4679404"/>
              <a:gd name="connsiteX142" fmla="*/ 3473292 w 4679404"/>
              <a:gd name="connsiteY142" fmla="*/ 1058044 h 4679404"/>
              <a:gd name="connsiteX143" fmla="*/ 3512533 w 4679404"/>
              <a:gd name="connsiteY143" fmla="*/ 1103881 h 4679404"/>
              <a:gd name="connsiteX144" fmla="*/ 3547418 w 4679404"/>
              <a:gd name="connsiteY144" fmla="*/ 1149725 h 4679404"/>
              <a:gd name="connsiteX145" fmla="*/ 3582303 w 4679404"/>
              <a:gd name="connsiteY145" fmla="*/ 1197745 h 4679404"/>
              <a:gd name="connsiteX146" fmla="*/ 3617195 w 4679404"/>
              <a:gd name="connsiteY146" fmla="*/ 1243589 h 4679404"/>
              <a:gd name="connsiteX147" fmla="*/ 3649898 w 4679404"/>
              <a:gd name="connsiteY147" fmla="*/ 1293790 h 4679404"/>
              <a:gd name="connsiteX148" fmla="*/ 3680420 w 4679404"/>
              <a:gd name="connsiteY148" fmla="*/ 1343998 h 4679404"/>
              <a:gd name="connsiteX149" fmla="*/ 3708767 w 4679404"/>
              <a:gd name="connsiteY149" fmla="*/ 1398569 h 4679404"/>
              <a:gd name="connsiteX150" fmla="*/ 3739289 w 4679404"/>
              <a:gd name="connsiteY150" fmla="*/ 1453141 h 4679404"/>
              <a:gd name="connsiteX151" fmla="*/ 3767636 w 4679404"/>
              <a:gd name="connsiteY151" fmla="*/ 1512075 h 4679404"/>
              <a:gd name="connsiteX152" fmla="*/ 3793802 w 4679404"/>
              <a:gd name="connsiteY152" fmla="*/ 1575381 h 4679404"/>
              <a:gd name="connsiteX153" fmla="*/ 3817785 w 4679404"/>
              <a:gd name="connsiteY153" fmla="*/ 1636497 h 4679404"/>
              <a:gd name="connsiteX154" fmla="*/ 3839588 w 4679404"/>
              <a:gd name="connsiteY154" fmla="*/ 1699803 h 4679404"/>
              <a:gd name="connsiteX155" fmla="*/ 3859208 w 4679404"/>
              <a:gd name="connsiteY155" fmla="*/ 1763108 h 4679404"/>
              <a:gd name="connsiteX156" fmla="*/ 3878836 w 4679404"/>
              <a:gd name="connsiteY156" fmla="*/ 1830777 h 4679404"/>
              <a:gd name="connsiteX157" fmla="*/ 3896275 w 4679404"/>
              <a:gd name="connsiteY157" fmla="*/ 1898446 h 4679404"/>
              <a:gd name="connsiteX158" fmla="*/ 3913721 w 4679404"/>
              <a:gd name="connsiteY158" fmla="*/ 1968296 h 4679404"/>
              <a:gd name="connsiteX159" fmla="*/ 3924622 w 4679404"/>
              <a:gd name="connsiteY159" fmla="*/ 2035965 h 4679404"/>
              <a:gd name="connsiteX160" fmla="*/ 3935523 w 4679404"/>
              <a:gd name="connsiteY160" fmla="*/ 2107997 h 4679404"/>
              <a:gd name="connsiteX161" fmla="*/ 3948606 w 4679404"/>
              <a:gd name="connsiteY161" fmla="*/ 2180029 h 4679404"/>
              <a:gd name="connsiteX162" fmla="*/ 3955144 w 4679404"/>
              <a:gd name="connsiteY162" fmla="*/ 2254250 h 4679404"/>
              <a:gd name="connsiteX163" fmla="*/ 3963870 w 4679404"/>
              <a:gd name="connsiteY163" fmla="*/ 2328464 h 4679404"/>
              <a:gd name="connsiteX164" fmla="*/ 3966045 w 4679404"/>
              <a:gd name="connsiteY164" fmla="*/ 2404867 h 4679404"/>
              <a:gd name="connsiteX165" fmla="*/ 3970408 w 4679404"/>
              <a:gd name="connsiteY165" fmla="*/ 2483452 h 4679404"/>
              <a:gd name="connsiteX166" fmla="*/ 3970408 w 4679404"/>
              <a:gd name="connsiteY166" fmla="*/ 2564218 h 4679404"/>
              <a:gd name="connsiteX167" fmla="*/ 3968226 w 4679404"/>
              <a:gd name="connsiteY167" fmla="*/ 2677724 h 4679404"/>
              <a:gd name="connsiteX168" fmla="*/ 3963870 w 4679404"/>
              <a:gd name="connsiteY168" fmla="*/ 2793412 h 4679404"/>
              <a:gd name="connsiteX169" fmla="*/ 3952969 w 4679404"/>
              <a:gd name="connsiteY169" fmla="*/ 2902555 h 4679404"/>
              <a:gd name="connsiteX170" fmla="*/ 3939887 w 4679404"/>
              <a:gd name="connsiteY170" fmla="*/ 3011697 h 4679404"/>
              <a:gd name="connsiteX171" fmla="*/ 3920259 w 4679404"/>
              <a:gd name="connsiteY171" fmla="*/ 3118658 h 4679404"/>
              <a:gd name="connsiteX172" fmla="*/ 3898457 w 4679404"/>
              <a:gd name="connsiteY172" fmla="*/ 3221256 h 4679404"/>
              <a:gd name="connsiteX173" fmla="*/ 3872291 w 4679404"/>
              <a:gd name="connsiteY173" fmla="*/ 3319483 h 4679404"/>
              <a:gd name="connsiteX174" fmla="*/ 3843951 w 4679404"/>
              <a:gd name="connsiteY174" fmla="*/ 3417710 h 4679404"/>
              <a:gd name="connsiteX175" fmla="*/ 3809059 w 4679404"/>
              <a:gd name="connsiteY175" fmla="*/ 3513755 h 4679404"/>
              <a:gd name="connsiteX176" fmla="*/ 3771999 w 4679404"/>
              <a:gd name="connsiteY176" fmla="*/ 3605437 h 4679404"/>
              <a:gd name="connsiteX177" fmla="*/ 3728388 w 4679404"/>
              <a:gd name="connsiteY177" fmla="*/ 3692749 h 4679404"/>
              <a:gd name="connsiteX178" fmla="*/ 3682602 w 4679404"/>
              <a:gd name="connsiteY178" fmla="*/ 3777886 h 4679404"/>
              <a:gd name="connsiteX179" fmla="*/ 3632452 w 4679404"/>
              <a:gd name="connsiteY179" fmla="*/ 3860833 h 4679404"/>
              <a:gd name="connsiteX180" fmla="*/ 3580128 w 4679404"/>
              <a:gd name="connsiteY180" fmla="*/ 3937229 h 4679404"/>
              <a:gd name="connsiteX181" fmla="*/ 3523434 w 4679404"/>
              <a:gd name="connsiteY181" fmla="*/ 4013632 h 4679404"/>
              <a:gd name="connsiteX182" fmla="*/ 3462391 w 4679404"/>
              <a:gd name="connsiteY182" fmla="*/ 4085664 h 4679404"/>
              <a:gd name="connsiteX183" fmla="*/ 3396977 w 4679404"/>
              <a:gd name="connsiteY183" fmla="*/ 4155515 h 4679404"/>
              <a:gd name="connsiteX184" fmla="*/ 3327207 w 4679404"/>
              <a:gd name="connsiteY184" fmla="*/ 4221002 h 4679404"/>
              <a:gd name="connsiteX185" fmla="*/ 3253074 w 4679404"/>
              <a:gd name="connsiteY185" fmla="*/ 4279944 h 4679404"/>
              <a:gd name="connsiteX186" fmla="*/ 3176759 w 4679404"/>
              <a:gd name="connsiteY186" fmla="*/ 4334515 h 4679404"/>
              <a:gd name="connsiteX187" fmla="*/ 3098269 w 4679404"/>
              <a:gd name="connsiteY187" fmla="*/ 4386898 h 4679404"/>
              <a:gd name="connsiteX188" fmla="*/ 3015416 w 4679404"/>
              <a:gd name="connsiteY188" fmla="*/ 4434924 h 4679404"/>
              <a:gd name="connsiteX189" fmla="*/ 2928200 w 4679404"/>
              <a:gd name="connsiteY189" fmla="*/ 4478580 h 4679404"/>
              <a:gd name="connsiteX190" fmla="*/ 2836628 w 4679404"/>
              <a:gd name="connsiteY190" fmla="*/ 4520053 h 4679404"/>
              <a:gd name="connsiteX191" fmla="*/ 2742874 w 4679404"/>
              <a:gd name="connsiteY191" fmla="*/ 4552801 h 4679404"/>
              <a:gd name="connsiteX192" fmla="*/ 2644757 w 4679404"/>
              <a:gd name="connsiteY192" fmla="*/ 4583359 h 4679404"/>
              <a:gd name="connsiteX193" fmla="*/ 2544466 w 4679404"/>
              <a:gd name="connsiteY193" fmla="*/ 4609554 h 4679404"/>
              <a:gd name="connsiteX194" fmla="*/ 2439803 w 4679404"/>
              <a:gd name="connsiteY194" fmla="*/ 4631378 h 4679404"/>
              <a:gd name="connsiteX195" fmla="*/ 2330785 w 4679404"/>
              <a:gd name="connsiteY195" fmla="*/ 4646657 h 4679404"/>
              <a:gd name="connsiteX196" fmla="*/ 2219592 w 4679404"/>
              <a:gd name="connsiteY196" fmla="*/ 4657573 h 4679404"/>
              <a:gd name="connsiteX197" fmla="*/ 2108392 w 4679404"/>
              <a:gd name="connsiteY197" fmla="*/ 4666307 h 4679404"/>
              <a:gd name="connsiteX198" fmla="*/ 1988473 w 4679404"/>
              <a:gd name="connsiteY198" fmla="*/ 4668489 h 4679404"/>
              <a:gd name="connsiteX199" fmla="*/ 1870735 w 4679404"/>
              <a:gd name="connsiteY199" fmla="*/ 4666307 h 4679404"/>
              <a:gd name="connsiteX200" fmla="*/ 1755179 w 4679404"/>
              <a:gd name="connsiteY200" fmla="*/ 4657573 h 4679404"/>
              <a:gd name="connsiteX201" fmla="*/ 1646161 w 4679404"/>
              <a:gd name="connsiteY201" fmla="*/ 4646657 h 4679404"/>
              <a:gd name="connsiteX202" fmla="*/ 1539324 w 4679404"/>
              <a:gd name="connsiteY202" fmla="*/ 4629196 h 4679404"/>
              <a:gd name="connsiteX203" fmla="*/ 1434670 w 4679404"/>
              <a:gd name="connsiteY203" fmla="*/ 4607372 h 4679404"/>
              <a:gd name="connsiteX204" fmla="*/ 1332189 w 4679404"/>
              <a:gd name="connsiteY204" fmla="*/ 4581177 h 4679404"/>
              <a:gd name="connsiteX205" fmla="*/ 1234072 w 4679404"/>
              <a:gd name="connsiteY205" fmla="*/ 4550612 h 4679404"/>
              <a:gd name="connsiteX206" fmla="*/ 1138144 w 4679404"/>
              <a:gd name="connsiteY206" fmla="*/ 4513508 h 4679404"/>
              <a:gd name="connsiteX207" fmla="*/ 1044382 w 4679404"/>
              <a:gd name="connsiteY207" fmla="*/ 4474216 h 4679404"/>
              <a:gd name="connsiteX208" fmla="*/ 957174 w 4679404"/>
              <a:gd name="connsiteY208" fmla="*/ 4430561 h 4679404"/>
              <a:gd name="connsiteX209" fmla="*/ 872139 w 4679404"/>
              <a:gd name="connsiteY209" fmla="*/ 4380353 h 4679404"/>
              <a:gd name="connsiteX210" fmla="*/ 791468 w 4679404"/>
              <a:gd name="connsiteY210" fmla="*/ 4330145 h 4679404"/>
              <a:gd name="connsiteX211" fmla="*/ 715153 w 4679404"/>
              <a:gd name="connsiteY211" fmla="*/ 4273391 h 4679404"/>
              <a:gd name="connsiteX212" fmla="*/ 643201 w 4679404"/>
              <a:gd name="connsiteY212" fmla="*/ 4212275 h 4679404"/>
              <a:gd name="connsiteX213" fmla="*/ 573432 w 4679404"/>
              <a:gd name="connsiteY213" fmla="*/ 4148969 h 4679404"/>
              <a:gd name="connsiteX214" fmla="*/ 510199 w 4679404"/>
              <a:gd name="connsiteY214" fmla="*/ 4081301 h 4679404"/>
              <a:gd name="connsiteX215" fmla="*/ 446967 w 4679404"/>
              <a:gd name="connsiteY215" fmla="*/ 4009269 h 4679404"/>
              <a:gd name="connsiteX216" fmla="*/ 392462 w 4679404"/>
              <a:gd name="connsiteY216" fmla="*/ 3932866 h 4679404"/>
              <a:gd name="connsiteX217" fmla="*/ 337956 w 4679404"/>
              <a:gd name="connsiteY217" fmla="*/ 3854281 h 4679404"/>
              <a:gd name="connsiteX218" fmla="*/ 289988 w 4679404"/>
              <a:gd name="connsiteY218" fmla="*/ 3771333 h 4679404"/>
              <a:gd name="connsiteX219" fmla="*/ 242021 w 4679404"/>
              <a:gd name="connsiteY219" fmla="*/ 3686204 h 4679404"/>
              <a:gd name="connsiteX220" fmla="*/ 200591 w 4679404"/>
              <a:gd name="connsiteY220" fmla="*/ 3596703 h 4679404"/>
              <a:gd name="connsiteX221" fmla="*/ 163524 w 4679404"/>
              <a:gd name="connsiteY221" fmla="*/ 3505029 h 4679404"/>
              <a:gd name="connsiteX222" fmla="*/ 130821 w 4679404"/>
              <a:gd name="connsiteY222" fmla="*/ 3408976 h 4679404"/>
              <a:gd name="connsiteX223" fmla="*/ 98117 w 4679404"/>
              <a:gd name="connsiteY223" fmla="*/ 3308567 h 4679404"/>
              <a:gd name="connsiteX224" fmla="*/ 71952 w 4679404"/>
              <a:gd name="connsiteY224" fmla="*/ 3208159 h 4679404"/>
              <a:gd name="connsiteX225" fmla="*/ 50150 w 4679404"/>
              <a:gd name="connsiteY225" fmla="*/ 3105561 h 4679404"/>
              <a:gd name="connsiteX226" fmla="*/ 34885 w 4679404"/>
              <a:gd name="connsiteY226" fmla="*/ 2998600 h 4679404"/>
              <a:gd name="connsiteX227" fmla="*/ 19621 w 4679404"/>
              <a:gd name="connsiteY227" fmla="*/ 2891646 h 4679404"/>
              <a:gd name="connsiteX228" fmla="*/ 8720 w 4679404"/>
              <a:gd name="connsiteY228" fmla="*/ 2780314 h 4679404"/>
              <a:gd name="connsiteX229" fmla="*/ 4363 w 4679404"/>
              <a:gd name="connsiteY229" fmla="*/ 2671172 h 4679404"/>
              <a:gd name="connsiteX230" fmla="*/ 0 w 4679404"/>
              <a:gd name="connsiteY230" fmla="*/ 2555484 h 4679404"/>
              <a:gd name="connsiteX231" fmla="*/ 4363 w 4679404"/>
              <a:gd name="connsiteY231" fmla="*/ 2441978 h 4679404"/>
              <a:gd name="connsiteX232" fmla="*/ 10901 w 4679404"/>
              <a:gd name="connsiteY232" fmla="*/ 2328464 h 4679404"/>
              <a:gd name="connsiteX233" fmla="*/ 19621 w 4679404"/>
              <a:gd name="connsiteY233" fmla="*/ 2217140 h 4679404"/>
              <a:gd name="connsiteX234" fmla="*/ 34885 w 4679404"/>
              <a:gd name="connsiteY234" fmla="*/ 2107997 h 4679404"/>
              <a:gd name="connsiteX235" fmla="*/ 54506 w 4679404"/>
              <a:gd name="connsiteY235" fmla="*/ 2001036 h 4679404"/>
              <a:gd name="connsiteX236" fmla="*/ 78490 w 4679404"/>
              <a:gd name="connsiteY236" fmla="*/ 1898446 h 4679404"/>
              <a:gd name="connsiteX237" fmla="*/ 104655 w 4679404"/>
              <a:gd name="connsiteY237" fmla="*/ 1798030 h 4679404"/>
              <a:gd name="connsiteX238" fmla="*/ 135184 w 4679404"/>
              <a:gd name="connsiteY238" fmla="*/ 1699803 h 4679404"/>
              <a:gd name="connsiteX239" fmla="*/ 163524 w 4679404"/>
              <a:gd name="connsiteY239" fmla="*/ 1621218 h 4679404"/>
              <a:gd name="connsiteX240" fmla="*/ 194053 w 4679404"/>
              <a:gd name="connsiteY240" fmla="*/ 1544823 h 4679404"/>
              <a:gd name="connsiteX241" fmla="*/ 231120 w 4679404"/>
              <a:gd name="connsiteY241" fmla="*/ 1470601 h 4679404"/>
              <a:gd name="connsiteX242" fmla="*/ 266004 w 4679404"/>
              <a:gd name="connsiteY242" fmla="*/ 1398569 h 4679404"/>
              <a:gd name="connsiteX243" fmla="*/ 305245 w 4679404"/>
              <a:gd name="connsiteY243" fmla="*/ 1328719 h 4679404"/>
              <a:gd name="connsiteX244" fmla="*/ 346676 w 4679404"/>
              <a:gd name="connsiteY244" fmla="*/ 1261050 h 4679404"/>
              <a:gd name="connsiteX245" fmla="*/ 390280 w 4679404"/>
              <a:gd name="connsiteY245" fmla="*/ 1197745 h 4679404"/>
              <a:gd name="connsiteX246" fmla="*/ 438248 w 4679404"/>
              <a:gd name="connsiteY246" fmla="*/ 1134446 h 4679404"/>
              <a:gd name="connsiteX247" fmla="*/ 442611 w 4679404"/>
              <a:gd name="connsiteY247" fmla="*/ 1154089 h 4679404"/>
              <a:gd name="connsiteX248" fmla="*/ 451330 w 4679404"/>
              <a:gd name="connsiteY248" fmla="*/ 1169368 h 4679404"/>
              <a:gd name="connsiteX249" fmla="*/ 460050 w 4679404"/>
              <a:gd name="connsiteY249" fmla="*/ 1186829 h 4679404"/>
              <a:gd name="connsiteX250" fmla="*/ 470951 w 4679404"/>
              <a:gd name="connsiteY250" fmla="*/ 1204297 h 4679404"/>
              <a:gd name="connsiteX251" fmla="*/ 484034 w 4679404"/>
              <a:gd name="connsiteY251" fmla="*/ 1217394 h 4679404"/>
              <a:gd name="connsiteX252" fmla="*/ 494935 w 4679404"/>
              <a:gd name="connsiteY252" fmla="*/ 1232673 h 4679404"/>
              <a:gd name="connsiteX253" fmla="*/ 510199 w 4679404"/>
              <a:gd name="connsiteY253" fmla="*/ 1247953 h 4679404"/>
              <a:gd name="connsiteX254" fmla="*/ 523282 w 4679404"/>
              <a:gd name="connsiteY254" fmla="*/ 1258868 h 4679404"/>
              <a:gd name="connsiteX255" fmla="*/ 538547 w 4679404"/>
              <a:gd name="connsiteY255" fmla="*/ 1267595 h 4679404"/>
              <a:gd name="connsiteX256" fmla="*/ 555985 w 4679404"/>
              <a:gd name="connsiteY256" fmla="*/ 1278511 h 4679404"/>
              <a:gd name="connsiteX257" fmla="*/ 573432 w 4679404"/>
              <a:gd name="connsiteY257" fmla="*/ 1287245 h 4679404"/>
              <a:gd name="connsiteX258" fmla="*/ 590870 w 4679404"/>
              <a:gd name="connsiteY258" fmla="*/ 1293790 h 4679404"/>
              <a:gd name="connsiteX259" fmla="*/ 610498 w 4679404"/>
              <a:gd name="connsiteY259" fmla="*/ 1300342 h 4679404"/>
              <a:gd name="connsiteX260" fmla="*/ 630119 w 4679404"/>
              <a:gd name="connsiteY260" fmla="*/ 1304706 h 4679404"/>
              <a:gd name="connsiteX261" fmla="*/ 647565 w 4679404"/>
              <a:gd name="connsiteY261" fmla="*/ 1306887 h 4679404"/>
              <a:gd name="connsiteX262" fmla="*/ 669367 w 4679404"/>
              <a:gd name="connsiteY262" fmla="*/ 1306887 h 4679404"/>
              <a:gd name="connsiteX263" fmla="*/ 697707 w 4679404"/>
              <a:gd name="connsiteY263" fmla="*/ 1304706 h 4679404"/>
              <a:gd name="connsiteX264" fmla="*/ 723873 w 4679404"/>
              <a:gd name="connsiteY264" fmla="*/ 1300342 h 4679404"/>
              <a:gd name="connsiteX265" fmla="*/ 750038 w 4679404"/>
              <a:gd name="connsiteY265" fmla="*/ 1291608 h 4679404"/>
              <a:gd name="connsiteX266" fmla="*/ 774022 w 4679404"/>
              <a:gd name="connsiteY266" fmla="*/ 1282874 h 4679404"/>
              <a:gd name="connsiteX267" fmla="*/ 798006 w 4679404"/>
              <a:gd name="connsiteY267" fmla="*/ 1271966 h 4679404"/>
              <a:gd name="connsiteX268" fmla="*/ 819808 w 4679404"/>
              <a:gd name="connsiteY268" fmla="*/ 1254498 h 4679404"/>
              <a:gd name="connsiteX269" fmla="*/ 839436 w 4679404"/>
              <a:gd name="connsiteY269" fmla="*/ 1237037 h 4679404"/>
              <a:gd name="connsiteX270" fmla="*/ 859056 w 4679404"/>
              <a:gd name="connsiteY270" fmla="*/ 1217394 h 4679404"/>
              <a:gd name="connsiteX271" fmla="*/ 856875 w 4679404"/>
              <a:gd name="connsiteY271" fmla="*/ 1243589 h 4679404"/>
              <a:gd name="connsiteX272" fmla="*/ 859056 w 4679404"/>
              <a:gd name="connsiteY272" fmla="*/ 1267595 h 4679404"/>
              <a:gd name="connsiteX273" fmla="*/ 861238 w 4679404"/>
              <a:gd name="connsiteY273" fmla="*/ 1293790 h 4679404"/>
              <a:gd name="connsiteX274" fmla="*/ 867776 w 4679404"/>
              <a:gd name="connsiteY274" fmla="*/ 1315621 h 4679404"/>
              <a:gd name="connsiteX275" fmla="*/ 874321 w 4679404"/>
              <a:gd name="connsiteY275" fmla="*/ 1339634 h 4679404"/>
              <a:gd name="connsiteX276" fmla="*/ 885222 w 4679404"/>
              <a:gd name="connsiteY276" fmla="*/ 1361459 h 4679404"/>
              <a:gd name="connsiteX277" fmla="*/ 896123 w 4679404"/>
              <a:gd name="connsiteY277" fmla="*/ 1381108 h 4679404"/>
              <a:gd name="connsiteX278" fmla="*/ 911388 w 4679404"/>
              <a:gd name="connsiteY278" fmla="*/ 1400751 h 4679404"/>
              <a:gd name="connsiteX279" fmla="*/ 926645 w 4679404"/>
              <a:gd name="connsiteY279" fmla="*/ 1416030 h 4679404"/>
              <a:gd name="connsiteX280" fmla="*/ 944091 w 4679404"/>
              <a:gd name="connsiteY280" fmla="*/ 1433498 h 4679404"/>
              <a:gd name="connsiteX281" fmla="*/ 963711 w 4679404"/>
              <a:gd name="connsiteY281" fmla="*/ 1448777 h 4679404"/>
              <a:gd name="connsiteX282" fmla="*/ 983332 w 4679404"/>
              <a:gd name="connsiteY282" fmla="*/ 1459686 h 4679404"/>
              <a:gd name="connsiteX283" fmla="*/ 1002960 w 4679404"/>
              <a:gd name="connsiteY283" fmla="*/ 1470601 h 4679404"/>
              <a:gd name="connsiteX284" fmla="*/ 1026944 w 4679404"/>
              <a:gd name="connsiteY284" fmla="*/ 1477154 h 4679404"/>
              <a:gd name="connsiteX285" fmla="*/ 1048746 w 4679404"/>
              <a:gd name="connsiteY285" fmla="*/ 1483699 h 4679404"/>
              <a:gd name="connsiteX286" fmla="*/ 1074911 w 4679404"/>
              <a:gd name="connsiteY286" fmla="*/ 1485881 h 4679404"/>
              <a:gd name="connsiteX287" fmla="*/ 1098895 w 4679404"/>
              <a:gd name="connsiteY287" fmla="*/ 1488070 h 4679404"/>
              <a:gd name="connsiteX288" fmla="*/ 1131599 w 4679404"/>
              <a:gd name="connsiteY288" fmla="*/ 1485881 h 4679404"/>
              <a:gd name="connsiteX289" fmla="*/ 1162120 w 4679404"/>
              <a:gd name="connsiteY289" fmla="*/ 1481517 h 4679404"/>
              <a:gd name="connsiteX290" fmla="*/ 1157764 w 4679404"/>
              <a:gd name="connsiteY290" fmla="*/ 1483699 h 4679404"/>
              <a:gd name="connsiteX291" fmla="*/ 1120697 w 4679404"/>
              <a:gd name="connsiteY291" fmla="*/ 1531725 h 4679404"/>
              <a:gd name="connsiteX292" fmla="*/ 1087994 w 4679404"/>
              <a:gd name="connsiteY292" fmla="*/ 1579744 h 4679404"/>
              <a:gd name="connsiteX293" fmla="*/ 1053109 w 4679404"/>
              <a:gd name="connsiteY293" fmla="*/ 1632134 h 4679404"/>
              <a:gd name="connsiteX294" fmla="*/ 1022580 w 4679404"/>
              <a:gd name="connsiteY294" fmla="*/ 1686705 h 4679404"/>
              <a:gd name="connsiteX295" fmla="*/ 994240 w 4679404"/>
              <a:gd name="connsiteY295" fmla="*/ 1745640 h 4679404"/>
              <a:gd name="connsiteX296" fmla="*/ 968075 w 4679404"/>
              <a:gd name="connsiteY296" fmla="*/ 1806764 h 4679404"/>
              <a:gd name="connsiteX297" fmla="*/ 941909 w 4679404"/>
              <a:gd name="connsiteY297" fmla="*/ 1870069 h 4679404"/>
              <a:gd name="connsiteX298" fmla="*/ 920107 w 4679404"/>
              <a:gd name="connsiteY298" fmla="*/ 1937738 h 4679404"/>
              <a:gd name="connsiteX299" fmla="*/ 898305 w 4679404"/>
              <a:gd name="connsiteY299" fmla="*/ 2007588 h 4679404"/>
              <a:gd name="connsiteX300" fmla="*/ 883040 w 4679404"/>
              <a:gd name="connsiteY300" fmla="*/ 2079621 h 4679404"/>
              <a:gd name="connsiteX301" fmla="*/ 867776 w 4679404"/>
              <a:gd name="connsiteY301" fmla="*/ 2153834 h 4679404"/>
              <a:gd name="connsiteX302" fmla="*/ 856875 w 4679404"/>
              <a:gd name="connsiteY302" fmla="*/ 2230237 h 4679404"/>
              <a:gd name="connsiteX303" fmla="*/ 845974 w 4679404"/>
              <a:gd name="connsiteY303" fmla="*/ 2308822 h 4679404"/>
              <a:gd name="connsiteX304" fmla="*/ 839436 w 4679404"/>
              <a:gd name="connsiteY304" fmla="*/ 2389588 h 4679404"/>
              <a:gd name="connsiteX305" fmla="*/ 835073 w 4679404"/>
              <a:gd name="connsiteY305" fmla="*/ 2472536 h 4679404"/>
              <a:gd name="connsiteX306" fmla="*/ 832891 w 4679404"/>
              <a:gd name="connsiteY306" fmla="*/ 2555484 h 4679404"/>
              <a:gd name="connsiteX307" fmla="*/ 835073 w 4679404"/>
              <a:gd name="connsiteY307" fmla="*/ 2642795 h 4679404"/>
              <a:gd name="connsiteX308" fmla="*/ 839436 w 4679404"/>
              <a:gd name="connsiteY308" fmla="*/ 2725743 h 4679404"/>
              <a:gd name="connsiteX309" fmla="*/ 845974 w 4679404"/>
              <a:gd name="connsiteY309" fmla="*/ 2808691 h 4679404"/>
              <a:gd name="connsiteX310" fmla="*/ 856875 w 4679404"/>
              <a:gd name="connsiteY310" fmla="*/ 2887275 h 4679404"/>
              <a:gd name="connsiteX311" fmla="*/ 867776 w 4679404"/>
              <a:gd name="connsiteY311" fmla="*/ 2963678 h 4679404"/>
              <a:gd name="connsiteX312" fmla="*/ 883040 w 4679404"/>
              <a:gd name="connsiteY312" fmla="*/ 3040074 h 4679404"/>
              <a:gd name="connsiteX313" fmla="*/ 898305 w 4679404"/>
              <a:gd name="connsiteY313" fmla="*/ 3112113 h 4679404"/>
              <a:gd name="connsiteX314" fmla="*/ 920107 w 4679404"/>
              <a:gd name="connsiteY314" fmla="*/ 3184145 h 4679404"/>
              <a:gd name="connsiteX315" fmla="*/ 941909 w 4679404"/>
              <a:gd name="connsiteY315" fmla="*/ 3249633 h 4679404"/>
              <a:gd name="connsiteX316" fmla="*/ 968075 w 4679404"/>
              <a:gd name="connsiteY316" fmla="*/ 3317301 h 4679404"/>
              <a:gd name="connsiteX317" fmla="*/ 994240 w 4679404"/>
              <a:gd name="connsiteY317" fmla="*/ 3380600 h 4679404"/>
              <a:gd name="connsiteX318" fmla="*/ 1024762 w 4679404"/>
              <a:gd name="connsiteY318" fmla="*/ 3439542 h 4679404"/>
              <a:gd name="connsiteX319" fmla="*/ 1057465 w 4679404"/>
              <a:gd name="connsiteY319" fmla="*/ 3494113 h 4679404"/>
              <a:gd name="connsiteX320" fmla="*/ 1090176 w 4679404"/>
              <a:gd name="connsiteY320" fmla="*/ 3548684 h 4679404"/>
              <a:gd name="connsiteX321" fmla="*/ 1127235 w 4679404"/>
              <a:gd name="connsiteY321" fmla="*/ 3601074 h 4679404"/>
              <a:gd name="connsiteX322" fmla="*/ 1166483 w 4679404"/>
              <a:gd name="connsiteY322" fmla="*/ 3646911 h 4679404"/>
              <a:gd name="connsiteX323" fmla="*/ 1207914 w 4679404"/>
              <a:gd name="connsiteY323" fmla="*/ 3690567 h 4679404"/>
              <a:gd name="connsiteX324" fmla="*/ 1247155 w 4679404"/>
              <a:gd name="connsiteY324" fmla="*/ 3734230 h 4679404"/>
              <a:gd name="connsiteX325" fmla="*/ 1292948 w 4679404"/>
              <a:gd name="connsiteY325" fmla="*/ 3771333 h 4679404"/>
              <a:gd name="connsiteX326" fmla="*/ 1336552 w 4679404"/>
              <a:gd name="connsiteY326" fmla="*/ 3808444 h 4679404"/>
              <a:gd name="connsiteX327" fmla="*/ 1384520 w 4679404"/>
              <a:gd name="connsiteY327" fmla="*/ 3841184 h 4679404"/>
              <a:gd name="connsiteX328" fmla="*/ 1432488 w 4679404"/>
              <a:gd name="connsiteY328" fmla="*/ 3869560 h 4679404"/>
              <a:gd name="connsiteX329" fmla="*/ 1478274 w 4679404"/>
              <a:gd name="connsiteY329" fmla="*/ 3900126 h 4679404"/>
              <a:gd name="connsiteX330" fmla="*/ 1532779 w 4679404"/>
              <a:gd name="connsiteY330" fmla="*/ 3924132 h 4679404"/>
              <a:gd name="connsiteX331" fmla="*/ 1582929 w 4679404"/>
              <a:gd name="connsiteY331" fmla="*/ 3943781 h 4679404"/>
              <a:gd name="connsiteX332" fmla="*/ 1637442 w 4679404"/>
              <a:gd name="connsiteY332" fmla="*/ 3963424 h 4679404"/>
              <a:gd name="connsiteX333" fmla="*/ 1691947 w 4679404"/>
              <a:gd name="connsiteY333" fmla="*/ 3978703 h 4679404"/>
              <a:gd name="connsiteX334" fmla="*/ 1746453 w 4679404"/>
              <a:gd name="connsiteY334" fmla="*/ 3991800 h 4679404"/>
              <a:gd name="connsiteX335" fmla="*/ 1803147 w 4679404"/>
              <a:gd name="connsiteY335" fmla="*/ 4002716 h 4679404"/>
              <a:gd name="connsiteX336" fmla="*/ 1862016 w 4679404"/>
              <a:gd name="connsiteY336" fmla="*/ 4009269 h 4679404"/>
              <a:gd name="connsiteX337" fmla="*/ 1920885 w 4679404"/>
              <a:gd name="connsiteY337" fmla="*/ 4011450 h 4679404"/>
              <a:gd name="connsiteX338" fmla="*/ 1984117 w 4679404"/>
              <a:gd name="connsiteY338" fmla="*/ 4013632 h 4679404"/>
              <a:gd name="connsiteX339" fmla="*/ 2062606 w 4679404"/>
              <a:gd name="connsiteY339" fmla="*/ 4011450 h 4679404"/>
              <a:gd name="connsiteX340" fmla="*/ 2138921 w 4679404"/>
              <a:gd name="connsiteY340" fmla="*/ 4004898 h 4679404"/>
              <a:gd name="connsiteX341" fmla="*/ 2213047 w 4679404"/>
              <a:gd name="connsiteY341" fmla="*/ 3991800 h 4679404"/>
              <a:gd name="connsiteX342" fmla="*/ 2284999 w 4679404"/>
              <a:gd name="connsiteY342" fmla="*/ 3976521 h 4679404"/>
              <a:gd name="connsiteX343" fmla="*/ 2354769 w 4679404"/>
              <a:gd name="connsiteY343" fmla="*/ 3952515 h 4679404"/>
              <a:gd name="connsiteX344" fmla="*/ 2426721 w 4679404"/>
              <a:gd name="connsiteY344" fmla="*/ 3926321 h 4679404"/>
              <a:gd name="connsiteX345" fmla="*/ 2494316 w 4679404"/>
              <a:gd name="connsiteY345" fmla="*/ 3893573 h 4679404"/>
              <a:gd name="connsiteX346" fmla="*/ 2561904 w 4679404"/>
              <a:gd name="connsiteY346" fmla="*/ 3856463 h 4679404"/>
              <a:gd name="connsiteX347" fmla="*/ 2594608 w 4679404"/>
              <a:gd name="connsiteY347" fmla="*/ 3836820 h 4679404"/>
              <a:gd name="connsiteX348" fmla="*/ 2625137 w 4679404"/>
              <a:gd name="connsiteY348" fmla="*/ 3812807 h 4679404"/>
              <a:gd name="connsiteX349" fmla="*/ 2655658 w 4679404"/>
              <a:gd name="connsiteY349" fmla="*/ 3790983 h 4679404"/>
              <a:gd name="connsiteX350" fmla="*/ 2688362 w 4679404"/>
              <a:gd name="connsiteY350" fmla="*/ 3766970 h 4679404"/>
              <a:gd name="connsiteX351" fmla="*/ 2716709 w 4679404"/>
              <a:gd name="connsiteY351" fmla="*/ 3740775 h 4679404"/>
              <a:gd name="connsiteX352" fmla="*/ 2745056 w 4679404"/>
              <a:gd name="connsiteY352" fmla="*/ 3714580 h 4679404"/>
              <a:gd name="connsiteX353" fmla="*/ 2771222 w 4679404"/>
              <a:gd name="connsiteY353" fmla="*/ 3686204 h 4679404"/>
              <a:gd name="connsiteX354" fmla="*/ 2799562 w 4679404"/>
              <a:gd name="connsiteY354" fmla="*/ 3655645 h 4679404"/>
              <a:gd name="connsiteX355" fmla="*/ 2823545 w 4679404"/>
              <a:gd name="connsiteY355" fmla="*/ 3622898 h 4679404"/>
              <a:gd name="connsiteX356" fmla="*/ 2849711 w 4679404"/>
              <a:gd name="connsiteY356" fmla="*/ 3592340 h 4679404"/>
              <a:gd name="connsiteX357" fmla="*/ 2873695 w 4679404"/>
              <a:gd name="connsiteY357" fmla="*/ 3557418 h 4679404"/>
              <a:gd name="connsiteX358" fmla="*/ 2897679 w 4679404"/>
              <a:gd name="connsiteY358" fmla="*/ 3522489 h 4679404"/>
              <a:gd name="connsiteX359" fmla="*/ 2941283 w 4679404"/>
              <a:gd name="connsiteY359" fmla="*/ 3448268 h 4679404"/>
              <a:gd name="connsiteX360" fmla="*/ 2980531 w 4679404"/>
              <a:gd name="connsiteY360" fmla="*/ 3367502 h 4679404"/>
              <a:gd name="connsiteX361" fmla="*/ 3000152 w 4679404"/>
              <a:gd name="connsiteY361" fmla="*/ 3328217 h 4679404"/>
              <a:gd name="connsiteX362" fmla="*/ 3019780 w 4679404"/>
              <a:gd name="connsiteY362" fmla="*/ 3284554 h 4679404"/>
              <a:gd name="connsiteX363" fmla="*/ 3032863 w 4679404"/>
              <a:gd name="connsiteY363" fmla="*/ 3240899 h 4679404"/>
              <a:gd name="connsiteX364" fmla="*/ 3050301 w 4679404"/>
              <a:gd name="connsiteY364" fmla="*/ 3195061 h 4679404"/>
              <a:gd name="connsiteX365" fmla="*/ 3065566 w 4679404"/>
              <a:gd name="connsiteY365" fmla="*/ 3147035 h 4679404"/>
              <a:gd name="connsiteX366" fmla="*/ 3076467 w 4679404"/>
              <a:gd name="connsiteY366" fmla="*/ 3099016 h 4679404"/>
              <a:gd name="connsiteX367" fmla="*/ 3089550 w 4679404"/>
              <a:gd name="connsiteY367" fmla="*/ 3050990 h 4679404"/>
              <a:gd name="connsiteX368" fmla="*/ 3098269 w 4679404"/>
              <a:gd name="connsiteY368" fmla="*/ 3000789 h 4679404"/>
              <a:gd name="connsiteX369" fmla="*/ 3115715 w 4679404"/>
              <a:gd name="connsiteY369" fmla="*/ 2896009 h 4679404"/>
              <a:gd name="connsiteX370" fmla="*/ 3128798 w 4679404"/>
              <a:gd name="connsiteY370" fmla="*/ 2789048 h 4679404"/>
              <a:gd name="connsiteX371" fmla="*/ 3137517 w 4679404"/>
              <a:gd name="connsiteY371" fmla="*/ 2675542 h 4679404"/>
              <a:gd name="connsiteX372" fmla="*/ 3139699 w 4679404"/>
              <a:gd name="connsiteY372" fmla="*/ 2555484 h 4679404"/>
              <a:gd name="connsiteX373" fmla="*/ 3137517 w 4679404"/>
              <a:gd name="connsiteY373" fmla="*/ 2446341 h 4679404"/>
              <a:gd name="connsiteX374" fmla="*/ 3128798 w 4679404"/>
              <a:gd name="connsiteY374" fmla="*/ 2341562 h 4679404"/>
              <a:gd name="connsiteX375" fmla="*/ 3117890 w 4679404"/>
              <a:gd name="connsiteY375" fmla="*/ 2241153 h 4679404"/>
              <a:gd name="connsiteX376" fmla="*/ 3102633 w 4679404"/>
              <a:gd name="connsiteY376" fmla="*/ 2140737 h 4679404"/>
              <a:gd name="connsiteX377" fmla="*/ 3080830 w 4679404"/>
              <a:gd name="connsiteY377" fmla="*/ 2046881 h 4679404"/>
              <a:gd name="connsiteX378" fmla="*/ 3056846 w 4679404"/>
              <a:gd name="connsiteY378" fmla="*/ 1955199 h 4679404"/>
              <a:gd name="connsiteX379" fmla="*/ 3028499 w 4679404"/>
              <a:gd name="connsiteY379" fmla="*/ 1867880 h 4679404"/>
              <a:gd name="connsiteX380" fmla="*/ 2993614 w 4679404"/>
              <a:gd name="connsiteY380" fmla="*/ 1782751 h 4679404"/>
              <a:gd name="connsiteX381" fmla="*/ 2969630 w 4679404"/>
              <a:gd name="connsiteY381" fmla="*/ 1728179 h 4679404"/>
              <a:gd name="connsiteX382" fmla="*/ 2941283 w 4679404"/>
              <a:gd name="connsiteY382" fmla="*/ 1675789 h 4679404"/>
              <a:gd name="connsiteX383" fmla="*/ 2910761 w 4679404"/>
              <a:gd name="connsiteY383" fmla="*/ 1625589 h 4679404"/>
              <a:gd name="connsiteX384" fmla="*/ 2878058 w 4679404"/>
              <a:gd name="connsiteY384" fmla="*/ 1575381 h 4679404"/>
              <a:gd name="connsiteX385" fmla="*/ 2910761 w 4679404"/>
              <a:gd name="connsiteY385" fmla="*/ 1581926 h 4679404"/>
              <a:gd name="connsiteX386" fmla="*/ 2943465 w 4679404"/>
              <a:gd name="connsiteY386" fmla="*/ 1584115 h 4679404"/>
              <a:gd name="connsiteX387" fmla="*/ 2967449 w 4679404"/>
              <a:gd name="connsiteY387" fmla="*/ 1584115 h 4679404"/>
              <a:gd name="connsiteX388" fmla="*/ 2989251 w 4679404"/>
              <a:gd name="connsiteY388" fmla="*/ 1579744 h 4679404"/>
              <a:gd name="connsiteX389" fmla="*/ 3013235 w 4679404"/>
              <a:gd name="connsiteY389" fmla="*/ 1575381 h 4679404"/>
              <a:gd name="connsiteX390" fmla="*/ 3030681 w 4679404"/>
              <a:gd name="connsiteY390" fmla="*/ 1566647 h 4679404"/>
              <a:gd name="connsiteX391" fmla="*/ 3052483 w 4679404"/>
              <a:gd name="connsiteY391" fmla="*/ 1557920 h 4679404"/>
              <a:gd name="connsiteX392" fmla="*/ 3072104 w 4679404"/>
              <a:gd name="connsiteY392" fmla="*/ 1549186 h 4679404"/>
              <a:gd name="connsiteX393" fmla="*/ 3091731 w 4679404"/>
              <a:gd name="connsiteY393" fmla="*/ 1533907 h 4679404"/>
              <a:gd name="connsiteX394" fmla="*/ 3106989 w 4679404"/>
              <a:gd name="connsiteY394" fmla="*/ 1520809 h 4679404"/>
              <a:gd name="connsiteX395" fmla="*/ 3122253 w 4679404"/>
              <a:gd name="connsiteY395" fmla="*/ 1505530 h 4679404"/>
              <a:gd name="connsiteX396" fmla="*/ 3137517 w 4679404"/>
              <a:gd name="connsiteY396" fmla="*/ 1488070 h 4679404"/>
              <a:gd name="connsiteX397" fmla="*/ 3148419 w 4679404"/>
              <a:gd name="connsiteY397" fmla="*/ 1470601 h 4679404"/>
              <a:gd name="connsiteX398" fmla="*/ 3161501 w 4679404"/>
              <a:gd name="connsiteY398" fmla="*/ 1450959 h 4679404"/>
              <a:gd name="connsiteX399" fmla="*/ 3170221 w 4679404"/>
              <a:gd name="connsiteY399" fmla="*/ 1431309 h 4679404"/>
              <a:gd name="connsiteX400" fmla="*/ 3176759 w 4679404"/>
              <a:gd name="connsiteY400" fmla="*/ 1409485 h 4679404"/>
              <a:gd name="connsiteX401" fmla="*/ 3181122 w 4679404"/>
              <a:gd name="connsiteY401" fmla="*/ 1387654 h 4679404"/>
              <a:gd name="connsiteX402" fmla="*/ 3187667 w 4679404"/>
              <a:gd name="connsiteY402" fmla="*/ 1363640 h 4679404"/>
              <a:gd name="connsiteX403" fmla="*/ 3216007 w 4679404"/>
              <a:gd name="connsiteY403" fmla="*/ 1361459 h 4679404"/>
              <a:gd name="connsiteX404" fmla="*/ 3244354 w 4679404"/>
              <a:gd name="connsiteY404" fmla="*/ 1359277 h 4679404"/>
              <a:gd name="connsiteX405" fmla="*/ 3272694 w 4679404"/>
              <a:gd name="connsiteY405" fmla="*/ 1352732 h 4679404"/>
              <a:gd name="connsiteX406" fmla="*/ 3298860 w 4679404"/>
              <a:gd name="connsiteY406" fmla="*/ 1341816 h 4679404"/>
              <a:gd name="connsiteX407" fmla="*/ 3322843 w 4679404"/>
              <a:gd name="connsiteY407" fmla="*/ 1330900 h 4679404"/>
              <a:gd name="connsiteX408" fmla="*/ 3346827 w 4679404"/>
              <a:gd name="connsiteY408" fmla="*/ 1315621 h 4679404"/>
              <a:gd name="connsiteX409" fmla="*/ 3368630 w 4679404"/>
              <a:gd name="connsiteY409" fmla="*/ 1300342 h 4679404"/>
              <a:gd name="connsiteX410" fmla="*/ 3390439 w 4679404"/>
              <a:gd name="connsiteY410" fmla="*/ 1280692 h 4679404"/>
              <a:gd name="connsiteX411" fmla="*/ 3407878 w 4679404"/>
              <a:gd name="connsiteY411" fmla="*/ 1258868 h 4679404"/>
              <a:gd name="connsiteX412" fmla="*/ 3425324 w 4679404"/>
              <a:gd name="connsiteY412" fmla="*/ 1237037 h 4679404"/>
              <a:gd name="connsiteX413" fmla="*/ 3440581 w 4679404"/>
              <a:gd name="connsiteY413" fmla="*/ 1213024 h 4679404"/>
              <a:gd name="connsiteX414" fmla="*/ 3451482 w 4679404"/>
              <a:gd name="connsiteY414" fmla="*/ 1189018 h 4679404"/>
              <a:gd name="connsiteX415" fmla="*/ 3462391 w 4679404"/>
              <a:gd name="connsiteY415" fmla="*/ 1162823 h 4679404"/>
              <a:gd name="connsiteX416" fmla="*/ 3468928 w 4679404"/>
              <a:gd name="connsiteY416" fmla="*/ 1134446 h 4679404"/>
              <a:gd name="connsiteX417" fmla="*/ 3471110 w 4679404"/>
              <a:gd name="connsiteY417" fmla="*/ 1106063 h 4679404"/>
              <a:gd name="connsiteX418" fmla="*/ 3473292 w 4679404"/>
              <a:gd name="connsiteY418" fmla="*/ 1077686 h 4679404"/>
              <a:gd name="connsiteX419" fmla="*/ 1124702 w 4679404"/>
              <a:gd name="connsiteY419" fmla="*/ 1014417 h 4679404"/>
              <a:gd name="connsiteX420" fmla="*/ 1144220 w 4679404"/>
              <a:gd name="connsiteY420" fmla="*/ 1014417 h 4679404"/>
              <a:gd name="connsiteX421" fmla="*/ 1163745 w 4679404"/>
              <a:gd name="connsiteY421" fmla="*/ 1014417 h 4679404"/>
              <a:gd name="connsiteX422" fmla="*/ 1183263 w 4679404"/>
              <a:gd name="connsiteY422" fmla="*/ 1018751 h 4679404"/>
              <a:gd name="connsiteX423" fmla="*/ 1198440 w 4679404"/>
              <a:gd name="connsiteY423" fmla="*/ 1023093 h 4679404"/>
              <a:gd name="connsiteX424" fmla="*/ 1215791 w 4679404"/>
              <a:gd name="connsiteY424" fmla="*/ 1029601 h 4679404"/>
              <a:gd name="connsiteX425" fmla="*/ 1233142 w 4679404"/>
              <a:gd name="connsiteY425" fmla="*/ 1036102 h 4679404"/>
              <a:gd name="connsiteX426" fmla="*/ 1248326 w 4679404"/>
              <a:gd name="connsiteY426" fmla="*/ 1044778 h 4679404"/>
              <a:gd name="connsiteX427" fmla="*/ 1263510 w 4679404"/>
              <a:gd name="connsiteY427" fmla="*/ 1057795 h 4679404"/>
              <a:gd name="connsiteX428" fmla="*/ 1274352 w 4679404"/>
              <a:gd name="connsiteY428" fmla="*/ 1068637 h 4679404"/>
              <a:gd name="connsiteX429" fmla="*/ 1287362 w 4679404"/>
              <a:gd name="connsiteY429" fmla="*/ 1081647 h 4679404"/>
              <a:gd name="connsiteX430" fmla="*/ 1298204 w 4679404"/>
              <a:gd name="connsiteY430" fmla="*/ 1094664 h 4679404"/>
              <a:gd name="connsiteX431" fmla="*/ 1309054 w 4679404"/>
              <a:gd name="connsiteY431" fmla="*/ 1112015 h 4679404"/>
              <a:gd name="connsiteX432" fmla="*/ 1315555 w 4679404"/>
              <a:gd name="connsiteY432" fmla="*/ 1129365 h 4679404"/>
              <a:gd name="connsiteX433" fmla="*/ 1319897 w 4679404"/>
              <a:gd name="connsiteY433" fmla="*/ 1144542 h 4679404"/>
              <a:gd name="connsiteX434" fmla="*/ 1324231 w 4679404"/>
              <a:gd name="connsiteY434" fmla="*/ 1161893 h 4679404"/>
              <a:gd name="connsiteX435" fmla="*/ 1330739 w 4679404"/>
              <a:gd name="connsiteY435" fmla="*/ 1181411 h 4679404"/>
              <a:gd name="connsiteX436" fmla="*/ 1330739 w 4679404"/>
              <a:gd name="connsiteY436" fmla="*/ 1200936 h 4679404"/>
              <a:gd name="connsiteX437" fmla="*/ 1330739 w 4679404"/>
              <a:gd name="connsiteY437" fmla="*/ 1218287 h 4679404"/>
              <a:gd name="connsiteX438" fmla="*/ 1324231 w 4679404"/>
              <a:gd name="connsiteY438" fmla="*/ 1237805 h 4679404"/>
              <a:gd name="connsiteX439" fmla="*/ 1319897 w 4679404"/>
              <a:gd name="connsiteY439" fmla="*/ 1255156 h 4679404"/>
              <a:gd name="connsiteX440" fmla="*/ 1315555 w 4679404"/>
              <a:gd name="connsiteY440" fmla="*/ 1270333 h 4679404"/>
              <a:gd name="connsiteX441" fmla="*/ 1309054 w 4679404"/>
              <a:gd name="connsiteY441" fmla="*/ 1287684 h 4679404"/>
              <a:gd name="connsiteX442" fmla="*/ 1298204 w 4679404"/>
              <a:gd name="connsiteY442" fmla="*/ 1305035 h 4679404"/>
              <a:gd name="connsiteX443" fmla="*/ 1287362 w 4679404"/>
              <a:gd name="connsiteY443" fmla="*/ 1318052 h 4679404"/>
              <a:gd name="connsiteX444" fmla="*/ 1274352 w 4679404"/>
              <a:gd name="connsiteY444" fmla="*/ 1331062 h 4679404"/>
              <a:gd name="connsiteX445" fmla="*/ 1263510 w 4679404"/>
              <a:gd name="connsiteY445" fmla="*/ 1341904 h 4679404"/>
              <a:gd name="connsiteX446" fmla="*/ 1248326 w 4679404"/>
              <a:gd name="connsiteY446" fmla="*/ 1354921 h 4679404"/>
              <a:gd name="connsiteX447" fmla="*/ 1233142 w 4679404"/>
              <a:gd name="connsiteY447" fmla="*/ 1363596 h 4679404"/>
              <a:gd name="connsiteX448" fmla="*/ 1215791 w 4679404"/>
              <a:gd name="connsiteY448" fmla="*/ 1370098 h 4679404"/>
              <a:gd name="connsiteX449" fmla="*/ 1198440 w 4679404"/>
              <a:gd name="connsiteY449" fmla="*/ 1376606 h 4679404"/>
              <a:gd name="connsiteX450" fmla="*/ 1183263 w 4679404"/>
              <a:gd name="connsiteY450" fmla="*/ 1380940 h 4679404"/>
              <a:gd name="connsiteX451" fmla="*/ 1163745 w 4679404"/>
              <a:gd name="connsiteY451" fmla="*/ 1385281 h 4679404"/>
              <a:gd name="connsiteX452" fmla="*/ 1144220 w 4679404"/>
              <a:gd name="connsiteY452" fmla="*/ 1385281 h 4679404"/>
              <a:gd name="connsiteX453" fmla="*/ 1124702 w 4679404"/>
              <a:gd name="connsiteY453" fmla="*/ 1385281 h 4679404"/>
              <a:gd name="connsiteX454" fmla="*/ 1107351 w 4679404"/>
              <a:gd name="connsiteY454" fmla="*/ 1380940 h 4679404"/>
              <a:gd name="connsiteX455" fmla="*/ 1090000 w 4679404"/>
              <a:gd name="connsiteY455" fmla="*/ 1376606 h 4679404"/>
              <a:gd name="connsiteX456" fmla="*/ 1072649 w 4679404"/>
              <a:gd name="connsiteY456" fmla="*/ 1370098 h 4679404"/>
              <a:gd name="connsiteX457" fmla="*/ 1057473 w 4679404"/>
              <a:gd name="connsiteY457" fmla="*/ 1363596 h 4679404"/>
              <a:gd name="connsiteX458" fmla="*/ 1040122 w 4679404"/>
              <a:gd name="connsiteY458" fmla="*/ 1354921 h 4679404"/>
              <a:gd name="connsiteX459" fmla="*/ 1024938 w 4679404"/>
              <a:gd name="connsiteY459" fmla="*/ 1341904 h 4679404"/>
              <a:gd name="connsiteX460" fmla="*/ 1014095 w 4679404"/>
              <a:gd name="connsiteY460" fmla="*/ 1331062 h 4679404"/>
              <a:gd name="connsiteX461" fmla="*/ 1001085 w 4679404"/>
              <a:gd name="connsiteY461" fmla="*/ 1318052 h 4679404"/>
              <a:gd name="connsiteX462" fmla="*/ 990236 w 4679404"/>
              <a:gd name="connsiteY462" fmla="*/ 1305035 h 4679404"/>
              <a:gd name="connsiteX463" fmla="*/ 981560 w 4679404"/>
              <a:gd name="connsiteY463" fmla="*/ 1287684 h 4679404"/>
              <a:gd name="connsiteX464" fmla="*/ 972885 w 4679404"/>
              <a:gd name="connsiteY464" fmla="*/ 1270333 h 4679404"/>
              <a:gd name="connsiteX465" fmla="*/ 968551 w 4679404"/>
              <a:gd name="connsiteY465" fmla="*/ 1255156 h 4679404"/>
              <a:gd name="connsiteX466" fmla="*/ 964209 w 4679404"/>
              <a:gd name="connsiteY466" fmla="*/ 1237805 h 4679404"/>
              <a:gd name="connsiteX467" fmla="*/ 959875 w 4679404"/>
              <a:gd name="connsiteY467" fmla="*/ 1218287 h 4679404"/>
              <a:gd name="connsiteX468" fmla="*/ 959875 w 4679404"/>
              <a:gd name="connsiteY468" fmla="*/ 1200936 h 4679404"/>
              <a:gd name="connsiteX469" fmla="*/ 959875 w 4679404"/>
              <a:gd name="connsiteY469" fmla="*/ 1181411 h 4679404"/>
              <a:gd name="connsiteX470" fmla="*/ 964209 w 4679404"/>
              <a:gd name="connsiteY470" fmla="*/ 1161893 h 4679404"/>
              <a:gd name="connsiteX471" fmla="*/ 968551 w 4679404"/>
              <a:gd name="connsiteY471" fmla="*/ 1144542 h 4679404"/>
              <a:gd name="connsiteX472" fmla="*/ 972885 w 4679404"/>
              <a:gd name="connsiteY472" fmla="*/ 1129365 h 4679404"/>
              <a:gd name="connsiteX473" fmla="*/ 981560 w 4679404"/>
              <a:gd name="connsiteY473" fmla="*/ 1112015 h 4679404"/>
              <a:gd name="connsiteX474" fmla="*/ 990236 w 4679404"/>
              <a:gd name="connsiteY474" fmla="*/ 1094664 h 4679404"/>
              <a:gd name="connsiteX475" fmla="*/ 1001085 w 4679404"/>
              <a:gd name="connsiteY475" fmla="*/ 1081647 h 4679404"/>
              <a:gd name="connsiteX476" fmla="*/ 1014095 w 4679404"/>
              <a:gd name="connsiteY476" fmla="*/ 1068637 h 4679404"/>
              <a:gd name="connsiteX477" fmla="*/ 1024938 w 4679404"/>
              <a:gd name="connsiteY477" fmla="*/ 1057795 h 4679404"/>
              <a:gd name="connsiteX478" fmla="*/ 1040122 w 4679404"/>
              <a:gd name="connsiteY478" fmla="*/ 1044778 h 4679404"/>
              <a:gd name="connsiteX479" fmla="*/ 1057473 w 4679404"/>
              <a:gd name="connsiteY479" fmla="*/ 1036102 h 4679404"/>
              <a:gd name="connsiteX480" fmla="*/ 1072649 w 4679404"/>
              <a:gd name="connsiteY480" fmla="*/ 1029601 h 4679404"/>
              <a:gd name="connsiteX481" fmla="*/ 1090000 w 4679404"/>
              <a:gd name="connsiteY481" fmla="*/ 1023093 h 4679404"/>
              <a:gd name="connsiteX482" fmla="*/ 1107351 w 4679404"/>
              <a:gd name="connsiteY482" fmla="*/ 1018751 h 4679404"/>
              <a:gd name="connsiteX483" fmla="*/ 3119603 w 4679404"/>
              <a:gd name="connsiteY483" fmla="*/ 719912 h 4679404"/>
              <a:gd name="connsiteX484" fmla="*/ 3146010 w 4679404"/>
              <a:gd name="connsiteY484" fmla="*/ 722064 h 4679404"/>
              <a:gd name="connsiteX485" fmla="*/ 3170221 w 4679404"/>
              <a:gd name="connsiteY485" fmla="*/ 724217 h 4679404"/>
              <a:gd name="connsiteX486" fmla="*/ 3194424 w 4679404"/>
              <a:gd name="connsiteY486" fmla="*/ 730674 h 4679404"/>
              <a:gd name="connsiteX487" fmla="*/ 3216431 w 4679404"/>
              <a:gd name="connsiteY487" fmla="*/ 739283 h 4679404"/>
              <a:gd name="connsiteX488" fmla="*/ 3240642 w 4679404"/>
              <a:gd name="connsiteY488" fmla="*/ 750053 h 4679404"/>
              <a:gd name="connsiteX489" fmla="*/ 3258250 w 4679404"/>
              <a:gd name="connsiteY489" fmla="*/ 762967 h 4679404"/>
              <a:gd name="connsiteX490" fmla="*/ 3278053 w 4679404"/>
              <a:gd name="connsiteY490" fmla="*/ 775882 h 4679404"/>
              <a:gd name="connsiteX491" fmla="*/ 3297857 w 4679404"/>
              <a:gd name="connsiteY491" fmla="*/ 790956 h 4679404"/>
              <a:gd name="connsiteX492" fmla="*/ 3313260 w 4679404"/>
              <a:gd name="connsiteY492" fmla="*/ 810327 h 4679404"/>
              <a:gd name="connsiteX493" fmla="*/ 3326467 w 4679404"/>
              <a:gd name="connsiteY493" fmla="*/ 827554 h 4679404"/>
              <a:gd name="connsiteX494" fmla="*/ 3339675 w 4679404"/>
              <a:gd name="connsiteY494" fmla="*/ 846925 h 4679404"/>
              <a:gd name="connsiteX495" fmla="*/ 3350678 w 4679404"/>
              <a:gd name="connsiteY495" fmla="*/ 870609 h 4679404"/>
              <a:gd name="connsiteX496" fmla="*/ 3357275 w 4679404"/>
              <a:gd name="connsiteY496" fmla="*/ 892140 h 4679404"/>
              <a:gd name="connsiteX497" fmla="*/ 3366082 w 4679404"/>
              <a:gd name="connsiteY497" fmla="*/ 915817 h 4679404"/>
              <a:gd name="connsiteX498" fmla="*/ 3368278 w 4679404"/>
              <a:gd name="connsiteY498" fmla="*/ 939501 h 4679404"/>
              <a:gd name="connsiteX499" fmla="*/ 3370482 w 4679404"/>
              <a:gd name="connsiteY499" fmla="*/ 965329 h 4679404"/>
              <a:gd name="connsiteX500" fmla="*/ 3368278 w 4679404"/>
              <a:gd name="connsiteY500" fmla="*/ 991165 h 4679404"/>
              <a:gd name="connsiteX501" fmla="*/ 3366082 w 4679404"/>
              <a:gd name="connsiteY501" fmla="*/ 1014849 h 4679404"/>
              <a:gd name="connsiteX502" fmla="*/ 3357275 w 4679404"/>
              <a:gd name="connsiteY502" fmla="*/ 1038526 h 4679404"/>
              <a:gd name="connsiteX503" fmla="*/ 3350678 w 4679404"/>
              <a:gd name="connsiteY503" fmla="*/ 1060057 h 4679404"/>
              <a:gd name="connsiteX504" fmla="*/ 3339675 w 4679404"/>
              <a:gd name="connsiteY504" fmla="*/ 1083741 h 4679404"/>
              <a:gd name="connsiteX505" fmla="*/ 3326467 w 4679404"/>
              <a:gd name="connsiteY505" fmla="*/ 1103112 h 4679404"/>
              <a:gd name="connsiteX506" fmla="*/ 3313260 w 4679404"/>
              <a:gd name="connsiteY506" fmla="*/ 1120339 h 4679404"/>
              <a:gd name="connsiteX507" fmla="*/ 3297857 w 4679404"/>
              <a:gd name="connsiteY507" fmla="*/ 1139710 h 4679404"/>
              <a:gd name="connsiteX508" fmla="*/ 3278053 w 4679404"/>
              <a:gd name="connsiteY508" fmla="*/ 1154777 h 4679404"/>
              <a:gd name="connsiteX509" fmla="*/ 3258250 w 4679404"/>
              <a:gd name="connsiteY509" fmla="*/ 1167699 h 4679404"/>
              <a:gd name="connsiteX510" fmla="*/ 3240642 w 4679404"/>
              <a:gd name="connsiteY510" fmla="*/ 1180613 h 4679404"/>
              <a:gd name="connsiteX511" fmla="*/ 3216431 w 4679404"/>
              <a:gd name="connsiteY511" fmla="*/ 1191375 h 4679404"/>
              <a:gd name="connsiteX512" fmla="*/ 3194424 w 4679404"/>
              <a:gd name="connsiteY512" fmla="*/ 1199992 h 4679404"/>
              <a:gd name="connsiteX513" fmla="*/ 3170221 w 4679404"/>
              <a:gd name="connsiteY513" fmla="*/ 1206449 h 4679404"/>
              <a:gd name="connsiteX514" fmla="*/ 3146010 w 4679404"/>
              <a:gd name="connsiteY514" fmla="*/ 1208602 h 4679404"/>
              <a:gd name="connsiteX515" fmla="*/ 3119603 w 4679404"/>
              <a:gd name="connsiteY515" fmla="*/ 1210754 h 4679404"/>
              <a:gd name="connsiteX516" fmla="*/ 3093196 w 4679404"/>
              <a:gd name="connsiteY516" fmla="*/ 1208602 h 4679404"/>
              <a:gd name="connsiteX517" fmla="*/ 3068985 w 4679404"/>
              <a:gd name="connsiteY517" fmla="*/ 1206449 h 4679404"/>
              <a:gd name="connsiteX518" fmla="*/ 3044781 w 4679404"/>
              <a:gd name="connsiteY518" fmla="*/ 1199992 h 4679404"/>
              <a:gd name="connsiteX519" fmla="*/ 3022774 w 4679404"/>
              <a:gd name="connsiteY519" fmla="*/ 1191375 h 4679404"/>
              <a:gd name="connsiteX520" fmla="*/ 3021874 w 4679404"/>
              <a:gd name="connsiteY520" fmla="*/ 1190980 h 4679404"/>
              <a:gd name="connsiteX521" fmla="*/ 3032533 w 4679404"/>
              <a:gd name="connsiteY521" fmla="*/ 1205907 h 4679404"/>
              <a:gd name="connsiteX522" fmla="*/ 3043383 w 4679404"/>
              <a:gd name="connsiteY522" fmla="*/ 1221091 h 4679404"/>
              <a:gd name="connsiteX523" fmla="*/ 3049884 w 4679404"/>
              <a:gd name="connsiteY523" fmla="*/ 1238442 h 4679404"/>
              <a:gd name="connsiteX524" fmla="*/ 3054225 w 4679404"/>
              <a:gd name="connsiteY524" fmla="*/ 1255793 h 4679404"/>
              <a:gd name="connsiteX525" fmla="*/ 3058560 w 4679404"/>
              <a:gd name="connsiteY525" fmla="*/ 1270970 h 4679404"/>
              <a:gd name="connsiteX526" fmla="*/ 3065068 w 4679404"/>
              <a:gd name="connsiteY526" fmla="*/ 1290488 h 4679404"/>
              <a:gd name="connsiteX527" fmla="*/ 3065068 w 4679404"/>
              <a:gd name="connsiteY527" fmla="*/ 1310013 h 4679404"/>
              <a:gd name="connsiteX528" fmla="*/ 3065068 w 4679404"/>
              <a:gd name="connsiteY528" fmla="*/ 1329531 h 4679404"/>
              <a:gd name="connsiteX529" fmla="*/ 3058560 w 4679404"/>
              <a:gd name="connsiteY529" fmla="*/ 1346882 h 4679404"/>
              <a:gd name="connsiteX530" fmla="*/ 3054225 w 4679404"/>
              <a:gd name="connsiteY530" fmla="*/ 1364233 h 4679404"/>
              <a:gd name="connsiteX531" fmla="*/ 3049884 w 4679404"/>
              <a:gd name="connsiteY531" fmla="*/ 1381577 h 4679404"/>
              <a:gd name="connsiteX532" fmla="*/ 3043383 w 4679404"/>
              <a:gd name="connsiteY532" fmla="*/ 1396761 h 4679404"/>
              <a:gd name="connsiteX533" fmla="*/ 3032533 w 4679404"/>
              <a:gd name="connsiteY533" fmla="*/ 1414112 h 4679404"/>
              <a:gd name="connsiteX534" fmla="*/ 3021691 w 4679404"/>
              <a:gd name="connsiteY534" fmla="*/ 1429296 h 4679404"/>
              <a:gd name="connsiteX535" fmla="*/ 3008681 w 4679404"/>
              <a:gd name="connsiteY535" fmla="*/ 1440138 h 4679404"/>
              <a:gd name="connsiteX536" fmla="*/ 2997838 w 4679404"/>
              <a:gd name="connsiteY536" fmla="*/ 1453148 h 4679404"/>
              <a:gd name="connsiteX537" fmla="*/ 2982655 w 4679404"/>
              <a:gd name="connsiteY537" fmla="*/ 1463998 h 4679404"/>
              <a:gd name="connsiteX538" fmla="*/ 2967471 w 4679404"/>
              <a:gd name="connsiteY538" fmla="*/ 1472673 h 4679404"/>
              <a:gd name="connsiteX539" fmla="*/ 2950120 w 4679404"/>
              <a:gd name="connsiteY539" fmla="*/ 1481349 h 4679404"/>
              <a:gd name="connsiteX540" fmla="*/ 2932769 w 4679404"/>
              <a:gd name="connsiteY540" fmla="*/ 1485683 h 4679404"/>
              <a:gd name="connsiteX541" fmla="*/ 2917592 w 4679404"/>
              <a:gd name="connsiteY541" fmla="*/ 1490017 h 4679404"/>
              <a:gd name="connsiteX542" fmla="*/ 2898067 w 4679404"/>
              <a:gd name="connsiteY542" fmla="*/ 1494358 h 4679404"/>
              <a:gd name="connsiteX543" fmla="*/ 2878549 w 4679404"/>
              <a:gd name="connsiteY543" fmla="*/ 1494358 h 4679404"/>
              <a:gd name="connsiteX544" fmla="*/ 2859031 w 4679404"/>
              <a:gd name="connsiteY544" fmla="*/ 1494358 h 4679404"/>
              <a:gd name="connsiteX545" fmla="*/ 2841680 w 4679404"/>
              <a:gd name="connsiteY545" fmla="*/ 1490017 h 4679404"/>
              <a:gd name="connsiteX546" fmla="*/ 2824329 w 4679404"/>
              <a:gd name="connsiteY546" fmla="*/ 1485683 h 4679404"/>
              <a:gd name="connsiteX547" fmla="*/ 2806978 w 4679404"/>
              <a:gd name="connsiteY547" fmla="*/ 1481349 h 4679404"/>
              <a:gd name="connsiteX548" fmla="*/ 2791801 w 4679404"/>
              <a:gd name="connsiteY548" fmla="*/ 1472673 h 4679404"/>
              <a:gd name="connsiteX549" fmla="*/ 2774450 w 4679404"/>
              <a:gd name="connsiteY549" fmla="*/ 1463998 h 4679404"/>
              <a:gd name="connsiteX550" fmla="*/ 2759266 w 4679404"/>
              <a:gd name="connsiteY550" fmla="*/ 1453148 h 4679404"/>
              <a:gd name="connsiteX551" fmla="*/ 2748424 w 4679404"/>
              <a:gd name="connsiteY551" fmla="*/ 1440138 h 4679404"/>
              <a:gd name="connsiteX552" fmla="*/ 2735414 w 4679404"/>
              <a:gd name="connsiteY552" fmla="*/ 1429296 h 4679404"/>
              <a:gd name="connsiteX553" fmla="*/ 2724564 w 4679404"/>
              <a:gd name="connsiteY553" fmla="*/ 1414112 h 4679404"/>
              <a:gd name="connsiteX554" fmla="*/ 2715889 w 4679404"/>
              <a:gd name="connsiteY554" fmla="*/ 1396761 h 4679404"/>
              <a:gd name="connsiteX555" fmla="*/ 2707213 w 4679404"/>
              <a:gd name="connsiteY555" fmla="*/ 1381577 h 4679404"/>
              <a:gd name="connsiteX556" fmla="*/ 2702879 w 4679404"/>
              <a:gd name="connsiteY556" fmla="*/ 1364233 h 4679404"/>
              <a:gd name="connsiteX557" fmla="*/ 2698538 w 4679404"/>
              <a:gd name="connsiteY557" fmla="*/ 1346882 h 4679404"/>
              <a:gd name="connsiteX558" fmla="*/ 2694204 w 4679404"/>
              <a:gd name="connsiteY558" fmla="*/ 1329531 h 4679404"/>
              <a:gd name="connsiteX559" fmla="*/ 2694204 w 4679404"/>
              <a:gd name="connsiteY559" fmla="*/ 1310013 h 4679404"/>
              <a:gd name="connsiteX560" fmla="*/ 2694204 w 4679404"/>
              <a:gd name="connsiteY560" fmla="*/ 1290488 h 4679404"/>
              <a:gd name="connsiteX561" fmla="*/ 2698538 w 4679404"/>
              <a:gd name="connsiteY561" fmla="*/ 1270970 h 4679404"/>
              <a:gd name="connsiteX562" fmla="*/ 2702879 w 4679404"/>
              <a:gd name="connsiteY562" fmla="*/ 1255793 h 4679404"/>
              <a:gd name="connsiteX563" fmla="*/ 2707213 w 4679404"/>
              <a:gd name="connsiteY563" fmla="*/ 1238442 h 4679404"/>
              <a:gd name="connsiteX564" fmla="*/ 2715889 w 4679404"/>
              <a:gd name="connsiteY564" fmla="*/ 1221091 h 4679404"/>
              <a:gd name="connsiteX565" fmla="*/ 2724564 w 4679404"/>
              <a:gd name="connsiteY565" fmla="*/ 1205907 h 4679404"/>
              <a:gd name="connsiteX566" fmla="*/ 2735414 w 4679404"/>
              <a:gd name="connsiteY566" fmla="*/ 1190724 h 4679404"/>
              <a:gd name="connsiteX567" fmla="*/ 2748424 w 4679404"/>
              <a:gd name="connsiteY567" fmla="*/ 1177714 h 4679404"/>
              <a:gd name="connsiteX568" fmla="*/ 2759266 w 4679404"/>
              <a:gd name="connsiteY568" fmla="*/ 1166871 h 4679404"/>
              <a:gd name="connsiteX569" fmla="*/ 2774450 w 4679404"/>
              <a:gd name="connsiteY569" fmla="*/ 1153855 h 4679404"/>
              <a:gd name="connsiteX570" fmla="*/ 2791801 w 4679404"/>
              <a:gd name="connsiteY570" fmla="*/ 1145179 h 4679404"/>
              <a:gd name="connsiteX571" fmla="*/ 2806978 w 4679404"/>
              <a:gd name="connsiteY571" fmla="*/ 1138678 h 4679404"/>
              <a:gd name="connsiteX572" fmla="*/ 2824329 w 4679404"/>
              <a:gd name="connsiteY572" fmla="*/ 1134337 h 4679404"/>
              <a:gd name="connsiteX573" fmla="*/ 2841680 w 4679404"/>
              <a:gd name="connsiteY573" fmla="*/ 1127828 h 4679404"/>
              <a:gd name="connsiteX574" fmla="*/ 2859031 w 4679404"/>
              <a:gd name="connsiteY574" fmla="*/ 1123494 h 4679404"/>
              <a:gd name="connsiteX575" fmla="*/ 2878549 w 4679404"/>
              <a:gd name="connsiteY575" fmla="*/ 1123494 h 4679404"/>
              <a:gd name="connsiteX576" fmla="*/ 2898067 w 4679404"/>
              <a:gd name="connsiteY576" fmla="*/ 1123494 h 4679404"/>
              <a:gd name="connsiteX577" fmla="*/ 2917592 w 4679404"/>
              <a:gd name="connsiteY577" fmla="*/ 1127828 h 4679404"/>
              <a:gd name="connsiteX578" fmla="*/ 2932769 w 4679404"/>
              <a:gd name="connsiteY578" fmla="*/ 1134337 h 4679404"/>
              <a:gd name="connsiteX579" fmla="*/ 2938142 w 4679404"/>
              <a:gd name="connsiteY579" fmla="*/ 1135684 h 4679404"/>
              <a:gd name="connsiteX580" fmla="*/ 2925938 w 4679404"/>
              <a:gd name="connsiteY580" fmla="*/ 1120339 h 4679404"/>
              <a:gd name="connsiteX581" fmla="*/ 2912738 w 4679404"/>
              <a:gd name="connsiteY581" fmla="*/ 1103112 h 4679404"/>
              <a:gd name="connsiteX582" fmla="*/ 2899531 w 4679404"/>
              <a:gd name="connsiteY582" fmla="*/ 1083741 h 4679404"/>
              <a:gd name="connsiteX583" fmla="*/ 2888527 w 4679404"/>
              <a:gd name="connsiteY583" fmla="*/ 1060057 h 4679404"/>
              <a:gd name="connsiteX584" fmla="*/ 2879727 w 4679404"/>
              <a:gd name="connsiteY584" fmla="*/ 1038526 h 4679404"/>
              <a:gd name="connsiteX585" fmla="*/ 2873124 w 4679404"/>
              <a:gd name="connsiteY585" fmla="*/ 1014849 h 4679404"/>
              <a:gd name="connsiteX586" fmla="*/ 2870927 w 4679404"/>
              <a:gd name="connsiteY586" fmla="*/ 991165 h 4679404"/>
              <a:gd name="connsiteX587" fmla="*/ 2868724 w 4679404"/>
              <a:gd name="connsiteY587" fmla="*/ 965329 h 4679404"/>
              <a:gd name="connsiteX588" fmla="*/ 2870927 w 4679404"/>
              <a:gd name="connsiteY588" fmla="*/ 939501 h 4679404"/>
              <a:gd name="connsiteX589" fmla="*/ 2873124 w 4679404"/>
              <a:gd name="connsiteY589" fmla="*/ 915817 h 4679404"/>
              <a:gd name="connsiteX590" fmla="*/ 2879727 w 4679404"/>
              <a:gd name="connsiteY590" fmla="*/ 892140 h 4679404"/>
              <a:gd name="connsiteX591" fmla="*/ 2888527 w 4679404"/>
              <a:gd name="connsiteY591" fmla="*/ 870609 h 4679404"/>
              <a:gd name="connsiteX592" fmla="*/ 2899531 w 4679404"/>
              <a:gd name="connsiteY592" fmla="*/ 846925 h 4679404"/>
              <a:gd name="connsiteX593" fmla="*/ 2912738 w 4679404"/>
              <a:gd name="connsiteY593" fmla="*/ 827554 h 4679404"/>
              <a:gd name="connsiteX594" fmla="*/ 2925938 w 4679404"/>
              <a:gd name="connsiteY594" fmla="*/ 810327 h 4679404"/>
              <a:gd name="connsiteX595" fmla="*/ 2941349 w 4679404"/>
              <a:gd name="connsiteY595" fmla="*/ 790956 h 4679404"/>
              <a:gd name="connsiteX596" fmla="*/ 2961153 w 4679404"/>
              <a:gd name="connsiteY596" fmla="*/ 775882 h 4679404"/>
              <a:gd name="connsiteX597" fmla="*/ 2978760 w 4679404"/>
              <a:gd name="connsiteY597" fmla="*/ 762967 h 4679404"/>
              <a:gd name="connsiteX598" fmla="*/ 2998563 w 4679404"/>
              <a:gd name="connsiteY598" fmla="*/ 750053 h 4679404"/>
              <a:gd name="connsiteX599" fmla="*/ 3022774 w 4679404"/>
              <a:gd name="connsiteY599" fmla="*/ 739283 h 4679404"/>
              <a:gd name="connsiteX600" fmla="*/ 3044781 w 4679404"/>
              <a:gd name="connsiteY600" fmla="*/ 730674 h 4679404"/>
              <a:gd name="connsiteX601" fmla="*/ 3068985 w 4679404"/>
              <a:gd name="connsiteY601" fmla="*/ 724217 h 4679404"/>
              <a:gd name="connsiteX602" fmla="*/ 3093196 w 4679404"/>
              <a:gd name="connsiteY602" fmla="*/ 722064 h 4679404"/>
              <a:gd name="connsiteX603" fmla="*/ 1639528 w 4679404"/>
              <a:gd name="connsiteY603" fmla="*/ 719912 h 4679404"/>
              <a:gd name="connsiteX604" fmla="*/ 1656879 w 4679404"/>
              <a:gd name="connsiteY604" fmla="*/ 719912 h 4679404"/>
              <a:gd name="connsiteX605" fmla="*/ 1676404 w 4679404"/>
              <a:gd name="connsiteY605" fmla="*/ 719912 h 4679404"/>
              <a:gd name="connsiteX606" fmla="*/ 1695922 w 4679404"/>
              <a:gd name="connsiteY606" fmla="*/ 724246 h 4679404"/>
              <a:gd name="connsiteX607" fmla="*/ 1713273 w 4679404"/>
              <a:gd name="connsiteY607" fmla="*/ 728587 h 4679404"/>
              <a:gd name="connsiteX608" fmla="*/ 1728450 w 4679404"/>
              <a:gd name="connsiteY608" fmla="*/ 735096 h 4679404"/>
              <a:gd name="connsiteX609" fmla="*/ 1745801 w 4679404"/>
              <a:gd name="connsiteY609" fmla="*/ 741597 h 4679404"/>
              <a:gd name="connsiteX610" fmla="*/ 1763152 w 4679404"/>
              <a:gd name="connsiteY610" fmla="*/ 750272 h 4679404"/>
              <a:gd name="connsiteX611" fmla="*/ 1776169 w 4679404"/>
              <a:gd name="connsiteY611" fmla="*/ 763289 h 4679404"/>
              <a:gd name="connsiteX612" fmla="*/ 1789178 w 4679404"/>
              <a:gd name="connsiteY612" fmla="*/ 774132 h 4679404"/>
              <a:gd name="connsiteX613" fmla="*/ 1800021 w 4679404"/>
              <a:gd name="connsiteY613" fmla="*/ 787141 h 4679404"/>
              <a:gd name="connsiteX614" fmla="*/ 1813038 w 4679404"/>
              <a:gd name="connsiteY614" fmla="*/ 800158 h 4679404"/>
              <a:gd name="connsiteX615" fmla="*/ 1821713 w 4679404"/>
              <a:gd name="connsiteY615" fmla="*/ 817509 h 4679404"/>
              <a:gd name="connsiteX616" fmla="*/ 1828215 w 4679404"/>
              <a:gd name="connsiteY616" fmla="*/ 834860 h 4679404"/>
              <a:gd name="connsiteX617" fmla="*/ 1832556 w 4679404"/>
              <a:gd name="connsiteY617" fmla="*/ 850037 h 4679404"/>
              <a:gd name="connsiteX618" fmla="*/ 1839057 w 4679404"/>
              <a:gd name="connsiteY618" fmla="*/ 867388 h 4679404"/>
              <a:gd name="connsiteX619" fmla="*/ 1843398 w 4679404"/>
              <a:gd name="connsiteY619" fmla="*/ 886906 h 4679404"/>
              <a:gd name="connsiteX620" fmla="*/ 1843398 w 4679404"/>
              <a:gd name="connsiteY620" fmla="*/ 906431 h 4679404"/>
              <a:gd name="connsiteX621" fmla="*/ 1843398 w 4679404"/>
              <a:gd name="connsiteY621" fmla="*/ 923782 h 4679404"/>
              <a:gd name="connsiteX622" fmla="*/ 1839057 w 4679404"/>
              <a:gd name="connsiteY622" fmla="*/ 943300 h 4679404"/>
              <a:gd name="connsiteX623" fmla="*/ 1832556 w 4679404"/>
              <a:gd name="connsiteY623" fmla="*/ 960651 h 4679404"/>
              <a:gd name="connsiteX624" fmla="*/ 1828215 w 4679404"/>
              <a:gd name="connsiteY624" fmla="*/ 975828 h 4679404"/>
              <a:gd name="connsiteX625" fmla="*/ 1821713 w 4679404"/>
              <a:gd name="connsiteY625" fmla="*/ 993179 h 4679404"/>
              <a:gd name="connsiteX626" fmla="*/ 1813038 w 4679404"/>
              <a:gd name="connsiteY626" fmla="*/ 1010530 h 4679404"/>
              <a:gd name="connsiteX627" fmla="*/ 1800021 w 4679404"/>
              <a:gd name="connsiteY627" fmla="*/ 1023547 h 4679404"/>
              <a:gd name="connsiteX628" fmla="*/ 1789178 w 4679404"/>
              <a:gd name="connsiteY628" fmla="*/ 1036556 h 4679404"/>
              <a:gd name="connsiteX629" fmla="*/ 1776169 w 4679404"/>
              <a:gd name="connsiteY629" fmla="*/ 1047399 h 4679404"/>
              <a:gd name="connsiteX630" fmla="*/ 1763152 w 4679404"/>
              <a:gd name="connsiteY630" fmla="*/ 1060415 h 4679404"/>
              <a:gd name="connsiteX631" fmla="*/ 1745801 w 4679404"/>
              <a:gd name="connsiteY631" fmla="*/ 1069091 h 4679404"/>
              <a:gd name="connsiteX632" fmla="*/ 1728450 w 4679404"/>
              <a:gd name="connsiteY632" fmla="*/ 1075592 h 4679404"/>
              <a:gd name="connsiteX633" fmla="*/ 1713273 w 4679404"/>
              <a:gd name="connsiteY633" fmla="*/ 1082101 h 4679404"/>
              <a:gd name="connsiteX634" fmla="*/ 1695922 w 4679404"/>
              <a:gd name="connsiteY634" fmla="*/ 1086435 h 4679404"/>
              <a:gd name="connsiteX635" fmla="*/ 1676404 w 4679404"/>
              <a:gd name="connsiteY635" fmla="*/ 1090776 h 4679404"/>
              <a:gd name="connsiteX636" fmla="*/ 1656879 w 4679404"/>
              <a:gd name="connsiteY636" fmla="*/ 1090776 h 4679404"/>
              <a:gd name="connsiteX637" fmla="*/ 1639528 w 4679404"/>
              <a:gd name="connsiteY637" fmla="*/ 1090776 h 4679404"/>
              <a:gd name="connsiteX638" fmla="*/ 1620010 w 4679404"/>
              <a:gd name="connsiteY638" fmla="*/ 1086435 h 4679404"/>
              <a:gd name="connsiteX639" fmla="*/ 1602659 w 4679404"/>
              <a:gd name="connsiteY639" fmla="*/ 1082101 h 4679404"/>
              <a:gd name="connsiteX640" fmla="*/ 1587483 w 4679404"/>
              <a:gd name="connsiteY640" fmla="*/ 1075592 h 4679404"/>
              <a:gd name="connsiteX641" fmla="*/ 1570132 w 4679404"/>
              <a:gd name="connsiteY641" fmla="*/ 1069091 h 4679404"/>
              <a:gd name="connsiteX642" fmla="*/ 1552781 w 4679404"/>
              <a:gd name="connsiteY642" fmla="*/ 1060415 h 4679404"/>
              <a:gd name="connsiteX643" fmla="*/ 1539764 w 4679404"/>
              <a:gd name="connsiteY643" fmla="*/ 1047399 h 4679404"/>
              <a:gd name="connsiteX644" fmla="*/ 1526754 w 4679404"/>
              <a:gd name="connsiteY644" fmla="*/ 1036556 h 4679404"/>
              <a:gd name="connsiteX645" fmla="*/ 1515912 w 4679404"/>
              <a:gd name="connsiteY645" fmla="*/ 1023547 h 4679404"/>
              <a:gd name="connsiteX646" fmla="*/ 1502895 w 4679404"/>
              <a:gd name="connsiteY646" fmla="*/ 1010530 h 4679404"/>
              <a:gd name="connsiteX647" fmla="*/ 1494219 w 4679404"/>
              <a:gd name="connsiteY647" fmla="*/ 993179 h 4679404"/>
              <a:gd name="connsiteX648" fmla="*/ 1487718 w 4679404"/>
              <a:gd name="connsiteY648" fmla="*/ 975828 h 4679404"/>
              <a:gd name="connsiteX649" fmla="*/ 1481210 w 4679404"/>
              <a:gd name="connsiteY649" fmla="*/ 960651 h 4679404"/>
              <a:gd name="connsiteX650" fmla="*/ 1476868 w 4679404"/>
              <a:gd name="connsiteY650" fmla="*/ 943300 h 4679404"/>
              <a:gd name="connsiteX651" fmla="*/ 1472534 w 4679404"/>
              <a:gd name="connsiteY651" fmla="*/ 923782 h 4679404"/>
              <a:gd name="connsiteX652" fmla="*/ 1472534 w 4679404"/>
              <a:gd name="connsiteY652" fmla="*/ 906431 h 4679404"/>
              <a:gd name="connsiteX653" fmla="*/ 1472534 w 4679404"/>
              <a:gd name="connsiteY653" fmla="*/ 886906 h 4679404"/>
              <a:gd name="connsiteX654" fmla="*/ 1476868 w 4679404"/>
              <a:gd name="connsiteY654" fmla="*/ 867388 h 4679404"/>
              <a:gd name="connsiteX655" fmla="*/ 1481210 w 4679404"/>
              <a:gd name="connsiteY655" fmla="*/ 850037 h 4679404"/>
              <a:gd name="connsiteX656" fmla="*/ 1487718 w 4679404"/>
              <a:gd name="connsiteY656" fmla="*/ 834860 h 4679404"/>
              <a:gd name="connsiteX657" fmla="*/ 1494219 w 4679404"/>
              <a:gd name="connsiteY657" fmla="*/ 817509 h 4679404"/>
              <a:gd name="connsiteX658" fmla="*/ 1502895 w 4679404"/>
              <a:gd name="connsiteY658" fmla="*/ 800158 h 4679404"/>
              <a:gd name="connsiteX659" fmla="*/ 1515912 w 4679404"/>
              <a:gd name="connsiteY659" fmla="*/ 787141 h 4679404"/>
              <a:gd name="connsiteX660" fmla="*/ 1526754 w 4679404"/>
              <a:gd name="connsiteY660" fmla="*/ 774132 h 4679404"/>
              <a:gd name="connsiteX661" fmla="*/ 1539764 w 4679404"/>
              <a:gd name="connsiteY661" fmla="*/ 763289 h 4679404"/>
              <a:gd name="connsiteX662" fmla="*/ 1552781 w 4679404"/>
              <a:gd name="connsiteY662" fmla="*/ 750272 h 4679404"/>
              <a:gd name="connsiteX663" fmla="*/ 1570132 w 4679404"/>
              <a:gd name="connsiteY663" fmla="*/ 741597 h 4679404"/>
              <a:gd name="connsiteX664" fmla="*/ 1587483 w 4679404"/>
              <a:gd name="connsiteY664" fmla="*/ 735096 h 4679404"/>
              <a:gd name="connsiteX665" fmla="*/ 1602659 w 4679404"/>
              <a:gd name="connsiteY665" fmla="*/ 728587 h 4679404"/>
              <a:gd name="connsiteX666" fmla="*/ 1620010 w 4679404"/>
              <a:gd name="connsiteY666" fmla="*/ 724246 h 4679404"/>
              <a:gd name="connsiteX667" fmla="*/ 2305901 w 4679404"/>
              <a:gd name="connsiteY667" fmla="*/ 698095 h 4679404"/>
              <a:gd name="connsiteX668" fmla="*/ 2334043 w 4679404"/>
              <a:gd name="connsiteY668" fmla="*/ 700291 h 4679404"/>
              <a:gd name="connsiteX669" fmla="*/ 2366527 w 4679404"/>
              <a:gd name="connsiteY669" fmla="*/ 702488 h 4679404"/>
              <a:gd name="connsiteX670" fmla="*/ 2392509 w 4679404"/>
              <a:gd name="connsiteY670" fmla="*/ 711280 h 4679404"/>
              <a:gd name="connsiteX671" fmla="*/ 2418492 w 4679404"/>
              <a:gd name="connsiteY671" fmla="*/ 722269 h 4679404"/>
              <a:gd name="connsiteX672" fmla="*/ 2444474 w 4679404"/>
              <a:gd name="connsiteY672" fmla="*/ 735455 h 4679404"/>
              <a:gd name="connsiteX673" fmla="*/ 2468290 w 4679404"/>
              <a:gd name="connsiteY673" fmla="*/ 748647 h 4679404"/>
              <a:gd name="connsiteX674" fmla="*/ 2492105 w 4679404"/>
              <a:gd name="connsiteY674" fmla="*/ 766225 h 4679404"/>
              <a:gd name="connsiteX675" fmla="*/ 2511594 w 4679404"/>
              <a:gd name="connsiteY675" fmla="*/ 786007 h 4679404"/>
              <a:gd name="connsiteX676" fmla="*/ 2528916 w 4679404"/>
              <a:gd name="connsiteY676" fmla="*/ 803592 h 4679404"/>
              <a:gd name="connsiteX677" fmla="*/ 2546237 w 4679404"/>
              <a:gd name="connsiteY677" fmla="*/ 827766 h 4679404"/>
              <a:gd name="connsiteX678" fmla="*/ 2561392 w 4679404"/>
              <a:gd name="connsiteY678" fmla="*/ 851940 h 4679404"/>
              <a:gd name="connsiteX679" fmla="*/ 2572220 w 4679404"/>
              <a:gd name="connsiteY679" fmla="*/ 878318 h 4679404"/>
              <a:gd name="connsiteX680" fmla="*/ 2583040 w 4679404"/>
              <a:gd name="connsiteY680" fmla="*/ 906885 h 4679404"/>
              <a:gd name="connsiteX681" fmla="*/ 2591701 w 4679404"/>
              <a:gd name="connsiteY681" fmla="*/ 933263 h 4679404"/>
              <a:gd name="connsiteX682" fmla="*/ 2593868 w 4679404"/>
              <a:gd name="connsiteY682" fmla="*/ 964033 h 4679404"/>
              <a:gd name="connsiteX683" fmla="*/ 2596035 w 4679404"/>
              <a:gd name="connsiteY683" fmla="*/ 992600 h 4679404"/>
              <a:gd name="connsiteX684" fmla="*/ 2593868 w 4679404"/>
              <a:gd name="connsiteY684" fmla="*/ 1021175 h 4679404"/>
              <a:gd name="connsiteX685" fmla="*/ 2591701 w 4679404"/>
              <a:gd name="connsiteY685" fmla="*/ 1051945 h 4679404"/>
              <a:gd name="connsiteX686" fmla="*/ 2583040 w 4679404"/>
              <a:gd name="connsiteY686" fmla="*/ 1078316 h 4679404"/>
              <a:gd name="connsiteX687" fmla="*/ 2572220 w 4679404"/>
              <a:gd name="connsiteY687" fmla="*/ 1106890 h 4679404"/>
              <a:gd name="connsiteX688" fmla="*/ 2561392 w 4679404"/>
              <a:gd name="connsiteY688" fmla="*/ 1133268 h 4679404"/>
              <a:gd name="connsiteX689" fmla="*/ 2546237 w 4679404"/>
              <a:gd name="connsiteY689" fmla="*/ 1157442 h 4679404"/>
              <a:gd name="connsiteX690" fmla="*/ 2528916 w 4679404"/>
              <a:gd name="connsiteY690" fmla="*/ 1181616 h 4679404"/>
              <a:gd name="connsiteX691" fmla="*/ 2511594 w 4679404"/>
              <a:gd name="connsiteY691" fmla="*/ 1199201 h 4679404"/>
              <a:gd name="connsiteX692" fmla="*/ 2492105 w 4679404"/>
              <a:gd name="connsiteY692" fmla="*/ 1218983 h 4679404"/>
              <a:gd name="connsiteX693" fmla="*/ 2468290 w 4679404"/>
              <a:gd name="connsiteY693" fmla="*/ 1236561 h 4679404"/>
              <a:gd name="connsiteX694" fmla="*/ 2444474 w 4679404"/>
              <a:gd name="connsiteY694" fmla="*/ 1249746 h 4679404"/>
              <a:gd name="connsiteX695" fmla="*/ 2418492 w 4679404"/>
              <a:gd name="connsiteY695" fmla="*/ 1262939 h 4679404"/>
              <a:gd name="connsiteX696" fmla="*/ 2392509 w 4679404"/>
              <a:gd name="connsiteY696" fmla="*/ 1273928 h 4679404"/>
              <a:gd name="connsiteX697" fmla="*/ 2366527 w 4679404"/>
              <a:gd name="connsiteY697" fmla="*/ 1282720 h 4679404"/>
              <a:gd name="connsiteX698" fmla="*/ 2334043 w 4679404"/>
              <a:gd name="connsiteY698" fmla="*/ 1284917 h 4679404"/>
              <a:gd name="connsiteX699" fmla="*/ 2305901 w 4679404"/>
              <a:gd name="connsiteY699" fmla="*/ 1287113 h 4679404"/>
              <a:gd name="connsiteX700" fmla="*/ 2277751 w 4679404"/>
              <a:gd name="connsiteY700" fmla="*/ 1284917 h 4679404"/>
              <a:gd name="connsiteX701" fmla="*/ 2247434 w 4679404"/>
              <a:gd name="connsiteY701" fmla="*/ 1282720 h 4679404"/>
              <a:gd name="connsiteX702" fmla="*/ 2221452 w 4679404"/>
              <a:gd name="connsiteY702" fmla="*/ 1273928 h 4679404"/>
              <a:gd name="connsiteX703" fmla="*/ 2195469 w 4679404"/>
              <a:gd name="connsiteY703" fmla="*/ 1262939 h 4679404"/>
              <a:gd name="connsiteX704" fmla="*/ 2169487 w 4679404"/>
              <a:gd name="connsiteY704" fmla="*/ 1249746 h 4679404"/>
              <a:gd name="connsiteX705" fmla="*/ 2145671 w 4679404"/>
              <a:gd name="connsiteY705" fmla="*/ 1236561 h 4679404"/>
              <a:gd name="connsiteX706" fmla="*/ 2121856 w 4679404"/>
              <a:gd name="connsiteY706" fmla="*/ 1218983 h 4679404"/>
              <a:gd name="connsiteX707" fmla="*/ 2102367 w 4679404"/>
              <a:gd name="connsiteY707" fmla="*/ 1199201 h 4679404"/>
              <a:gd name="connsiteX708" fmla="*/ 2082878 w 4679404"/>
              <a:gd name="connsiteY708" fmla="*/ 1181616 h 4679404"/>
              <a:gd name="connsiteX709" fmla="*/ 2067724 w 4679404"/>
              <a:gd name="connsiteY709" fmla="*/ 1157442 h 4679404"/>
              <a:gd name="connsiteX710" fmla="*/ 2052569 w 4679404"/>
              <a:gd name="connsiteY710" fmla="*/ 1133268 h 4679404"/>
              <a:gd name="connsiteX711" fmla="*/ 2041741 w 4679404"/>
              <a:gd name="connsiteY711" fmla="*/ 1106890 h 4679404"/>
              <a:gd name="connsiteX712" fmla="*/ 2028754 w 4679404"/>
              <a:gd name="connsiteY712" fmla="*/ 1078316 h 4679404"/>
              <a:gd name="connsiteX713" fmla="*/ 2022253 w 4679404"/>
              <a:gd name="connsiteY713" fmla="*/ 1051945 h 4679404"/>
              <a:gd name="connsiteX714" fmla="*/ 2020093 w 4679404"/>
              <a:gd name="connsiteY714" fmla="*/ 1021175 h 4679404"/>
              <a:gd name="connsiteX715" fmla="*/ 2017926 w 4679404"/>
              <a:gd name="connsiteY715" fmla="*/ 992600 h 4679404"/>
              <a:gd name="connsiteX716" fmla="*/ 2020093 w 4679404"/>
              <a:gd name="connsiteY716" fmla="*/ 964033 h 4679404"/>
              <a:gd name="connsiteX717" fmla="*/ 2022253 w 4679404"/>
              <a:gd name="connsiteY717" fmla="*/ 933263 h 4679404"/>
              <a:gd name="connsiteX718" fmla="*/ 2028754 w 4679404"/>
              <a:gd name="connsiteY718" fmla="*/ 906885 h 4679404"/>
              <a:gd name="connsiteX719" fmla="*/ 2041741 w 4679404"/>
              <a:gd name="connsiteY719" fmla="*/ 878318 h 4679404"/>
              <a:gd name="connsiteX720" fmla="*/ 2052569 w 4679404"/>
              <a:gd name="connsiteY720" fmla="*/ 851940 h 4679404"/>
              <a:gd name="connsiteX721" fmla="*/ 2067724 w 4679404"/>
              <a:gd name="connsiteY721" fmla="*/ 827766 h 4679404"/>
              <a:gd name="connsiteX722" fmla="*/ 2082878 w 4679404"/>
              <a:gd name="connsiteY722" fmla="*/ 803592 h 4679404"/>
              <a:gd name="connsiteX723" fmla="*/ 2102367 w 4679404"/>
              <a:gd name="connsiteY723" fmla="*/ 786007 h 4679404"/>
              <a:gd name="connsiteX724" fmla="*/ 2121856 w 4679404"/>
              <a:gd name="connsiteY724" fmla="*/ 766225 h 4679404"/>
              <a:gd name="connsiteX725" fmla="*/ 2145671 w 4679404"/>
              <a:gd name="connsiteY725" fmla="*/ 748647 h 4679404"/>
              <a:gd name="connsiteX726" fmla="*/ 2169487 w 4679404"/>
              <a:gd name="connsiteY726" fmla="*/ 735455 h 4679404"/>
              <a:gd name="connsiteX727" fmla="*/ 2195469 w 4679404"/>
              <a:gd name="connsiteY727" fmla="*/ 722269 h 4679404"/>
              <a:gd name="connsiteX728" fmla="*/ 2221452 w 4679404"/>
              <a:gd name="connsiteY728" fmla="*/ 711280 h 4679404"/>
              <a:gd name="connsiteX729" fmla="*/ 2247434 w 4679404"/>
              <a:gd name="connsiteY729" fmla="*/ 702488 h 4679404"/>
              <a:gd name="connsiteX730" fmla="*/ 2277751 w 4679404"/>
              <a:gd name="connsiteY730" fmla="*/ 700291 h 4679404"/>
              <a:gd name="connsiteX731" fmla="*/ 1173900 w 4679404"/>
              <a:gd name="connsiteY731" fmla="*/ 665370 h 4679404"/>
              <a:gd name="connsiteX732" fmla="*/ 1188937 w 4679404"/>
              <a:gd name="connsiteY732" fmla="*/ 665370 h 4679404"/>
              <a:gd name="connsiteX733" fmla="*/ 1201830 w 4679404"/>
              <a:gd name="connsiteY733" fmla="*/ 665370 h 4679404"/>
              <a:gd name="connsiteX734" fmla="*/ 1216867 w 4679404"/>
              <a:gd name="connsiteY734" fmla="*/ 667537 h 4679404"/>
              <a:gd name="connsiteX735" fmla="*/ 1242652 w 4679404"/>
              <a:gd name="connsiteY735" fmla="*/ 676190 h 4679404"/>
              <a:gd name="connsiteX736" fmla="*/ 1268437 w 4679404"/>
              <a:gd name="connsiteY736" fmla="*/ 689185 h 4679404"/>
              <a:gd name="connsiteX737" fmla="*/ 1287772 w 4679404"/>
              <a:gd name="connsiteY737" fmla="*/ 706500 h 4679404"/>
              <a:gd name="connsiteX738" fmla="*/ 1307107 w 4679404"/>
              <a:gd name="connsiteY738" fmla="*/ 725988 h 4679404"/>
              <a:gd name="connsiteX739" fmla="*/ 1317847 w 4679404"/>
              <a:gd name="connsiteY739" fmla="*/ 751964 h 4679404"/>
              <a:gd name="connsiteX740" fmla="*/ 1328594 w 4679404"/>
              <a:gd name="connsiteY740" fmla="*/ 777939 h 4679404"/>
              <a:gd name="connsiteX741" fmla="*/ 1330739 w 4679404"/>
              <a:gd name="connsiteY741" fmla="*/ 793093 h 4679404"/>
              <a:gd name="connsiteX742" fmla="*/ 1330739 w 4679404"/>
              <a:gd name="connsiteY742" fmla="*/ 806088 h 4679404"/>
              <a:gd name="connsiteX743" fmla="*/ 1330739 w 4679404"/>
              <a:gd name="connsiteY743" fmla="*/ 821243 h 4679404"/>
              <a:gd name="connsiteX744" fmla="*/ 1328594 w 4679404"/>
              <a:gd name="connsiteY744" fmla="*/ 836390 h 4679404"/>
              <a:gd name="connsiteX745" fmla="*/ 1317847 w 4679404"/>
              <a:gd name="connsiteY745" fmla="*/ 862373 h 4679404"/>
              <a:gd name="connsiteX746" fmla="*/ 1307107 w 4679404"/>
              <a:gd name="connsiteY746" fmla="*/ 888348 h 4679404"/>
              <a:gd name="connsiteX747" fmla="*/ 1287772 w 4679404"/>
              <a:gd name="connsiteY747" fmla="*/ 907837 h 4679404"/>
              <a:gd name="connsiteX748" fmla="*/ 1268437 w 4679404"/>
              <a:gd name="connsiteY748" fmla="*/ 925151 h 4679404"/>
              <a:gd name="connsiteX749" fmla="*/ 1242652 w 4679404"/>
              <a:gd name="connsiteY749" fmla="*/ 938139 h 4679404"/>
              <a:gd name="connsiteX750" fmla="*/ 1216867 w 4679404"/>
              <a:gd name="connsiteY750" fmla="*/ 946800 h 4679404"/>
              <a:gd name="connsiteX751" fmla="*/ 1201830 w 4679404"/>
              <a:gd name="connsiteY751" fmla="*/ 948967 h 4679404"/>
              <a:gd name="connsiteX752" fmla="*/ 1188937 w 4679404"/>
              <a:gd name="connsiteY752" fmla="*/ 948967 h 4679404"/>
              <a:gd name="connsiteX753" fmla="*/ 1173900 w 4679404"/>
              <a:gd name="connsiteY753" fmla="*/ 948967 h 4679404"/>
              <a:gd name="connsiteX754" fmla="*/ 1161007 w 4679404"/>
              <a:gd name="connsiteY754" fmla="*/ 946800 h 4679404"/>
              <a:gd name="connsiteX755" fmla="*/ 1135230 w 4679404"/>
              <a:gd name="connsiteY755" fmla="*/ 938139 h 4679404"/>
              <a:gd name="connsiteX756" fmla="*/ 1109445 w 4679404"/>
              <a:gd name="connsiteY756" fmla="*/ 925151 h 4679404"/>
              <a:gd name="connsiteX757" fmla="*/ 1090110 w 4679404"/>
              <a:gd name="connsiteY757" fmla="*/ 907837 h 4679404"/>
              <a:gd name="connsiteX758" fmla="*/ 1070775 w 4679404"/>
              <a:gd name="connsiteY758" fmla="*/ 888348 h 4679404"/>
              <a:gd name="connsiteX759" fmla="*/ 1060035 w 4679404"/>
              <a:gd name="connsiteY759" fmla="*/ 862373 h 4679404"/>
              <a:gd name="connsiteX760" fmla="*/ 1049288 w 4679404"/>
              <a:gd name="connsiteY760" fmla="*/ 836390 h 4679404"/>
              <a:gd name="connsiteX761" fmla="*/ 1047142 w 4679404"/>
              <a:gd name="connsiteY761" fmla="*/ 821243 h 4679404"/>
              <a:gd name="connsiteX762" fmla="*/ 1047142 w 4679404"/>
              <a:gd name="connsiteY762" fmla="*/ 806088 h 4679404"/>
              <a:gd name="connsiteX763" fmla="*/ 1047142 w 4679404"/>
              <a:gd name="connsiteY763" fmla="*/ 793093 h 4679404"/>
              <a:gd name="connsiteX764" fmla="*/ 1049288 w 4679404"/>
              <a:gd name="connsiteY764" fmla="*/ 777939 h 4679404"/>
              <a:gd name="connsiteX765" fmla="*/ 1060035 w 4679404"/>
              <a:gd name="connsiteY765" fmla="*/ 751964 h 4679404"/>
              <a:gd name="connsiteX766" fmla="*/ 1070775 w 4679404"/>
              <a:gd name="connsiteY766" fmla="*/ 725988 h 4679404"/>
              <a:gd name="connsiteX767" fmla="*/ 1090110 w 4679404"/>
              <a:gd name="connsiteY767" fmla="*/ 706500 h 4679404"/>
              <a:gd name="connsiteX768" fmla="*/ 1109445 w 4679404"/>
              <a:gd name="connsiteY768" fmla="*/ 689185 h 4679404"/>
              <a:gd name="connsiteX769" fmla="*/ 1135230 w 4679404"/>
              <a:gd name="connsiteY769" fmla="*/ 676190 h 4679404"/>
              <a:gd name="connsiteX770" fmla="*/ 1161007 w 4679404"/>
              <a:gd name="connsiteY770" fmla="*/ 667537 h 4679404"/>
              <a:gd name="connsiteX771" fmla="*/ 692641 w 4679404"/>
              <a:gd name="connsiteY771" fmla="*/ 665370 h 4679404"/>
              <a:gd name="connsiteX772" fmla="*/ 716749 w 4679404"/>
              <a:gd name="connsiteY772" fmla="*/ 667551 h 4679404"/>
              <a:gd name="connsiteX773" fmla="*/ 740857 w 4679404"/>
              <a:gd name="connsiteY773" fmla="*/ 669733 h 4679404"/>
              <a:gd name="connsiteX774" fmla="*/ 762777 w 4679404"/>
              <a:gd name="connsiteY774" fmla="*/ 674096 h 4679404"/>
              <a:gd name="connsiteX775" fmla="*/ 784696 w 4679404"/>
              <a:gd name="connsiteY775" fmla="*/ 685005 h 4679404"/>
              <a:gd name="connsiteX776" fmla="*/ 804419 w 4679404"/>
              <a:gd name="connsiteY776" fmla="*/ 693732 h 4679404"/>
              <a:gd name="connsiteX777" fmla="*/ 824142 w 4679404"/>
              <a:gd name="connsiteY777" fmla="*/ 706822 h 4679404"/>
              <a:gd name="connsiteX778" fmla="*/ 841676 w 4679404"/>
              <a:gd name="connsiteY778" fmla="*/ 717723 h 4679404"/>
              <a:gd name="connsiteX779" fmla="*/ 857021 w 4679404"/>
              <a:gd name="connsiteY779" fmla="*/ 735176 h 4679404"/>
              <a:gd name="connsiteX780" fmla="*/ 874555 w 4679404"/>
              <a:gd name="connsiteY780" fmla="*/ 752630 h 4679404"/>
              <a:gd name="connsiteX781" fmla="*/ 887704 w 4679404"/>
              <a:gd name="connsiteY781" fmla="*/ 767902 h 4679404"/>
              <a:gd name="connsiteX782" fmla="*/ 898663 w 4679404"/>
              <a:gd name="connsiteY782" fmla="*/ 787537 h 4679404"/>
              <a:gd name="connsiteX783" fmla="*/ 907434 w 4679404"/>
              <a:gd name="connsiteY783" fmla="*/ 809346 h 4679404"/>
              <a:gd name="connsiteX784" fmla="*/ 918386 w 4679404"/>
              <a:gd name="connsiteY784" fmla="*/ 831163 h 4679404"/>
              <a:gd name="connsiteX785" fmla="*/ 922772 w 4679404"/>
              <a:gd name="connsiteY785" fmla="*/ 852980 h 4679404"/>
              <a:gd name="connsiteX786" fmla="*/ 924968 w 4679404"/>
              <a:gd name="connsiteY786" fmla="*/ 876978 h 4679404"/>
              <a:gd name="connsiteX787" fmla="*/ 927157 w 4679404"/>
              <a:gd name="connsiteY787" fmla="*/ 900970 h 4679404"/>
              <a:gd name="connsiteX788" fmla="*/ 924968 w 4679404"/>
              <a:gd name="connsiteY788" fmla="*/ 922786 h 4679404"/>
              <a:gd name="connsiteX789" fmla="*/ 922772 w 4679404"/>
              <a:gd name="connsiteY789" fmla="*/ 946785 h 4679404"/>
              <a:gd name="connsiteX790" fmla="*/ 918386 w 4679404"/>
              <a:gd name="connsiteY790" fmla="*/ 968602 h 4679404"/>
              <a:gd name="connsiteX791" fmla="*/ 907434 w 4679404"/>
              <a:gd name="connsiteY791" fmla="*/ 990419 h 4679404"/>
              <a:gd name="connsiteX792" fmla="*/ 898663 w 4679404"/>
              <a:gd name="connsiteY792" fmla="*/ 1012228 h 4679404"/>
              <a:gd name="connsiteX793" fmla="*/ 887704 w 4679404"/>
              <a:gd name="connsiteY793" fmla="*/ 1031863 h 4679404"/>
              <a:gd name="connsiteX794" fmla="*/ 874555 w 4679404"/>
              <a:gd name="connsiteY794" fmla="*/ 1049317 h 4679404"/>
              <a:gd name="connsiteX795" fmla="*/ 857021 w 4679404"/>
              <a:gd name="connsiteY795" fmla="*/ 1064589 h 4679404"/>
              <a:gd name="connsiteX796" fmla="*/ 841676 w 4679404"/>
              <a:gd name="connsiteY796" fmla="*/ 1082042 h 4679404"/>
              <a:gd name="connsiteX797" fmla="*/ 824142 w 4679404"/>
              <a:gd name="connsiteY797" fmla="*/ 1092943 h 4679404"/>
              <a:gd name="connsiteX798" fmla="*/ 804419 w 4679404"/>
              <a:gd name="connsiteY798" fmla="*/ 1106033 h 4679404"/>
              <a:gd name="connsiteX799" fmla="*/ 784696 w 4679404"/>
              <a:gd name="connsiteY799" fmla="*/ 1114760 h 4679404"/>
              <a:gd name="connsiteX800" fmla="*/ 762777 w 4679404"/>
              <a:gd name="connsiteY800" fmla="*/ 1125668 h 4679404"/>
              <a:gd name="connsiteX801" fmla="*/ 740857 w 4679404"/>
              <a:gd name="connsiteY801" fmla="*/ 1130032 h 4679404"/>
              <a:gd name="connsiteX802" fmla="*/ 716749 w 4679404"/>
              <a:gd name="connsiteY802" fmla="*/ 1132213 h 4679404"/>
              <a:gd name="connsiteX803" fmla="*/ 692641 w 4679404"/>
              <a:gd name="connsiteY803" fmla="*/ 1134395 h 4679404"/>
              <a:gd name="connsiteX804" fmla="*/ 668532 w 4679404"/>
              <a:gd name="connsiteY804" fmla="*/ 1132213 h 4679404"/>
              <a:gd name="connsiteX805" fmla="*/ 644424 w 4679404"/>
              <a:gd name="connsiteY805" fmla="*/ 1130032 h 4679404"/>
              <a:gd name="connsiteX806" fmla="*/ 622505 w 4679404"/>
              <a:gd name="connsiteY806" fmla="*/ 1125668 h 4679404"/>
              <a:gd name="connsiteX807" fmla="*/ 600585 w 4679404"/>
              <a:gd name="connsiteY807" fmla="*/ 1114760 h 4679404"/>
              <a:gd name="connsiteX808" fmla="*/ 578673 w 4679404"/>
              <a:gd name="connsiteY808" fmla="*/ 1106033 h 4679404"/>
              <a:gd name="connsiteX809" fmla="*/ 561139 w 4679404"/>
              <a:gd name="connsiteY809" fmla="*/ 1092943 h 4679404"/>
              <a:gd name="connsiteX810" fmla="*/ 543605 w 4679404"/>
              <a:gd name="connsiteY810" fmla="*/ 1082042 h 4679404"/>
              <a:gd name="connsiteX811" fmla="*/ 526071 w 4679404"/>
              <a:gd name="connsiteY811" fmla="*/ 1064589 h 4679404"/>
              <a:gd name="connsiteX812" fmla="*/ 510726 w 4679404"/>
              <a:gd name="connsiteY812" fmla="*/ 1049317 h 4679404"/>
              <a:gd name="connsiteX813" fmla="*/ 497578 w 4679404"/>
              <a:gd name="connsiteY813" fmla="*/ 1031863 h 4679404"/>
              <a:gd name="connsiteX814" fmla="*/ 486618 w 4679404"/>
              <a:gd name="connsiteY814" fmla="*/ 1012228 h 4679404"/>
              <a:gd name="connsiteX815" fmla="*/ 475658 w 4679404"/>
              <a:gd name="connsiteY815" fmla="*/ 990419 h 4679404"/>
              <a:gd name="connsiteX816" fmla="*/ 466888 w 4679404"/>
              <a:gd name="connsiteY816" fmla="*/ 968602 h 4679404"/>
              <a:gd name="connsiteX817" fmla="*/ 462510 w 4679404"/>
              <a:gd name="connsiteY817" fmla="*/ 946785 h 4679404"/>
              <a:gd name="connsiteX818" fmla="*/ 460313 w 4679404"/>
              <a:gd name="connsiteY818" fmla="*/ 922786 h 4679404"/>
              <a:gd name="connsiteX819" fmla="*/ 458124 w 4679404"/>
              <a:gd name="connsiteY819" fmla="*/ 900970 h 4679404"/>
              <a:gd name="connsiteX820" fmla="*/ 460313 w 4679404"/>
              <a:gd name="connsiteY820" fmla="*/ 876978 h 4679404"/>
              <a:gd name="connsiteX821" fmla="*/ 462510 w 4679404"/>
              <a:gd name="connsiteY821" fmla="*/ 852980 h 4679404"/>
              <a:gd name="connsiteX822" fmla="*/ 466888 w 4679404"/>
              <a:gd name="connsiteY822" fmla="*/ 831163 h 4679404"/>
              <a:gd name="connsiteX823" fmla="*/ 475658 w 4679404"/>
              <a:gd name="connsiteY823" fmla="*/ 809346 h 4679404"/>
              <a:gd name="connsiteX824" fmla="*/ 486618 w 4679404"/>
              <a:gd name="connsiteY824" fmla="*/ 787537 h 4679404"/>
              <a:gd name="connsiteX825" fmla="*/ 497578 w 4679404"/>
              <a:gd name="connsiteY825" fmla="*/ 767902 h 4679404"/>
              <a:gd name="connsiteX826" fmla="*/ 510726 w 4679404"/>
              <a:gd name="connsiteY826" fmla="*/ 752630 h 4679404"/>
              <a:gd name="connsiteX827" fmla="*/ 526071 w 4679404"/>
              <a:gd name="connsiteY827" fmla="*/ 735176 h 4679404"/>
              <a:gd name="connsiteX828" fmla="*/ 543605 w 4679404"/>
              <a:gd name="connsiteY828" fmla="*/ 717723 h 4679404"/>
              <a:gd name="connsiteX829" fmla="*/ 561139 w 4679404"/>
              <a:gd name="connsiteY829" fmla="*/ 706822 h 4679404"/>
              <a:gd name="connsiteX830" fmla="*/ 578673 w 4679404"/>
              <a:gd name="connsiteY830" fmla="*/ 693732 h 4679404"/>
              <a:gd name="connsiteX831" fmla="*/ 600585 w 4679404"/>
              <a:gd name="connsiteY831" fmla="*/ 685005 h 4679404"/>
              <a:gd name="connsiteX832" fmla="*/ 622505 w 4679404"/>
              <a:gd name="connsiteY832" fmla="*/ 674096 h 4679404"/>
              <a:gd name="connsiteX833" fmla="*/ 644424 w 4679404"/>
              <a:gd name="connsiteY833" fmla="*/ 669733 h 4679404"/>
              <a:gd name="connsiteX834" fmla="*/ 668532 w 4679404"/>
              <a:gd name="connsiteY834" fmla="*/ 667551 h 4679404"/>
              <a:gd name="connsiteX835" fmla="*/ 2705859 w 4679404"/>
              <a:gd name="connsiteY835" fmla="*/ 469025 h 4679404"/>
              <a:gd name="connsiteX836" fmla="*/ 2721475 w 4679404"/>
              <a:gd name="connsiteY836" fmla="*/ 469025 h 4679404"/>
              <a:gd name="connsiteX837" fmla="*/ 2734865 w 4679404"/>
              <a:gd name="connsiteY837" fmla="*/ 469025 h 4679404"/>
              <a:gd name="connsiteX838" fmla="*/ 2750481 w 4679404"/>
              <a:gd name="connsiteY838" fmla="*/ 471171 h 4679404"/>
              <a:gd name="connsiteX839" fmla="*/ 2777254 w 4679404"/>
              <a:gd name="connsiteY839" fmla="*/ 479765 h 4679404"/>
              <a:gd name="connsiteX840" fmla="*/ 2804027 w 4679404"/>
              <a:gd name="connsiteY840" fmla="*/ 492658 h 4679404"/>
              <a:gd name="connsiteX841" fmla="*/ 2824109 w 4679404"/>
              <a:gd name="connsiteY841" fmla="*/ 511993 h 4679404"/>
              <a:gd name="connsiteX842" fmla="*/ 2844191 w 4679404"/>
              <a:gd name="connsiteY842" fmla="*/ 529183 h 4679404"/>
              <a:gd name="connsiteX843" fmla="*/ 2855341 w 4679404"/>
              <a:gd name="connsiteY843" fmla="*/ 557113 h 4679404"/>
              <a:gd name="connsiteX844" fmla="*/ 2866498 w 4679404"/>
              <a:gd name="connsiteY844" fmla="*/ 582890 h 4679404"/>
              <a:gd name="connsiteX845" fmla="*/ 2868731 w 4679404"/>
              <a:gd name="connsiteY845" fmla="*/ 595783 h 4679404"/>
              <a:gd name="connsiteX846" fmla="*/ 2868731 w 4679404"/>
              <a:gd name="connsiteY846" fmla="*/ 610820 h 4679404"/>
              <a:gd name="connsiteX847" fmla="*/ 2868731 w 4679404"/>
              <a:gd name="connsiteY847" fmla="*/ 623713 h 4679404"/>
              <a:gd name="connsiteX848" fmla="*/ 2866498 w 4679404"/>
              <a:gd name="connsiteY848" fmla="*/ 638750 h 4679404"/>
              <a:gd name="connsiteX849" fmla="*/ 2855341 w 4679404"/>
              <a:gd name="connsiteY849" fmla="*/ 664535 h 4679404"/>
              <a:gd name="connsiteX850" fmla="*/ 2844191 w 4679404"/>
              <a:gd name="connsiteY850" fmla="*/ 690320 h 4679404"/>
              <a:gd name="connsiteX851" fmla="*/ 2824109 w 4679404"/>
              <a:gd name="connsiteY851" fmla="*/ 709655 h 4679404"/>
              <a:gd name="connsiteX852" fmla="*/ 2804027 w 4679404"/>
              <a:gd name="connsiteY852" fmla="*/ 728990 h 4679404"/>
              <a:gd name="connsiteX853" fmla="*/ 2777254 w 4679404"/>
              <a:gd name="connsiteY853" fmla="*/ 739730 h 4679404"/>
              <a:gd name="connsiteX854" fmla="*/ 2750481 w 4679404"/>
              <a:gd name="connsiteY854" fmla="*/ 748325 h 4679404"/>
              <a:gd name="connsiteX855" fmla="*/ 2734865 w 4679404"/>
              <a:gd name="connsiteY855" fmla="*/ 752622 h 4679404"/>
              <a:gd name="connsiteX856" fmla="*/ 2721475 w 4679404"/>
              <a:gd name="connsiteY856" fmla="*/ 752622 h 4679404"/>
              <a:gd name="connsiteX857" fmla="*/ 2705859 w 4679404"/>
              <a:gd name="connsiteY857" fmla="*/ 752622 h 4679404"/>
              <a:gd name="connsiteX858" fmla="*/ 2692469 w 4679404"/>
              <a:gd name="connsiteY858" fmla="*/ 748325 h 4679404"/>
              <a:gd name="connsiteX859" fmla="*/ 2665695 w 4679404"/>
              <a:gd name="connsiteY859" fmla="*/ 739730 h 4679404"/>
              <a:gd name="connsiteX860" fmla="*/ 2638922 w 4679404"/>
              <a:gd name="connsiteY860" fmla="*/ 728990 h 4679404"/>
              <a:gd name="connsiteX861" fmla="*/ 2618840 w 4679404"/>
              <a:gd name="connsiteY861" fmla="*/ 709655 h 4679404"/>
              <a:gd name="connsiteX862" fmla="*/ 2598759 w 4679404"/>
              <a:gd name="connsiteY862" fmla="*/ 690320 h 4679404"/>
              <a:gd name="connsiteX863" fmla="*/ 2587609 w 4679404"/>
              <a:gd name="connsiteY863" fmla="*/ 664535 h 4679404"/>
              <a:gd name="connsiteX864" fmla="*/ 2576451 w 4679404"/>
              <a:gd name="connsiteY864" fmla="*/ 638750 h 4679404"/>
              <a:gd name="connsiteX865" fmla="*/ 2574218 w 4679404"/>
              <a:gd name="connsiteY865" fmla="*/ 623713 h 4679404"/>
              <a:gd name="connsiteX866" fmla="*/ 2574218 w 4679404"/>
              <a:gd name="connsiteY866" fmla="*/ 610820 h 4679404"/>
              <a:gd name="connsiteX867" fmla="*/ 2574218 w 4679404"/>
              <a:gd name="connsiteY867" fmla="*/ 595783 h 4679404"/>
              <a:gd name="connsiteX868" fmla="*/ 2576451 w 4679404"/>
              <a:gd name="connsiteY868" fmla="*/ 582890 h 4679404"/>
              <a:gd name="connsiteX869" fmla="*/ 2587609 w 4679404"/>
              <a:gd name="connsiteY869" fmla="*/ 557113 h 4679404"/>
              <a:gd name="connsiteX870" fmla="*/ 2598759 w 4679404"/>
              <a:gd name="connsiteY870" fmla="*/ 529183 h 4679404"/>
              <a:gd name="connsiteX871" fmla="*/ 2618840 w 4679404"/>
              <a:gd name="connsiteY871" fmla="*/ 511993 h 4679404"/>
              <a:gd name="connsiteX872" fmla="*/ 2638922 w 4679404"/>
              <a:gd name="connsiteY872" fmla="*/ 492658 h 4679404"/>
              <a:gd name="connsiteX873" fmla="*/ 2665695 w 4679404"/>
              <a:gd name="connsiteY873" fmla="*/ 479765 h 4679404"/>
              <a:gd name="connsiteX874" fmla="*/ 2692469 w 4679404"/>
              <a:gd name="connsiteY874" fmla="*/ 471171 h 4679404"/>
              <a:gd name="connsiteX875" fmla="*/ 1238018 w 4679404"/>
              <a:gd name="connsiteY875" fmla="*/ 381765 h 4679404"/>
              <a:gd name="connsiteX876" fmla="*/ 1256987 w 4679404"/>
              <a:gd name="connsiteY876" fmla="*/ 386224 h 4679404"/>
              <a:gd name="connsiteX877" fmla="*/ 1273847 w 4679404"/>
              <a:gd name="connsiteY877" fmla="*/ 390690 h 4679404"/>
              <a:gd name="connsiteX878" fmla="*/ 1288592 w 4679404"/>
              <a:gd name="connsiteY878" fmla="*/ 399614 h 4679404"/>
              <a:gd name="connsiteX879" fmla="*/ 1301235 w 4679404"/>
              <a:gd name="connsiteY879" fmla="*/ 412997 h 4679404"/>
              <a:gd name="connsiteX880" fmla="*/ 1313879 w 4679404"/>
              <a:gd name="connsiteY880" fmla="*/ 426387 h 4679404"/>
              <a:gd name="connsiteX881" fmla="*/ 1322313 w 4679404"/>
              <a:gd name="connsiteY881" fmla="*/ 442003 h 4679404"/>
              <a:gd name="connsiteX882" fmla="*/ 1328631 w 4679404"/>
              <a:gd name="connsiteY882" fmla="*/ 462085 h 4679404"/>
              <a:gd name="connsiteX883" fmla="*/ 1330739 w 4679404"/>
              <a:gd name="connsiteY883" fmla="*/ 479934 h 4679404"/>
              <a:gd name="connsiteX884" fmla="*/ 1328631 w 4679404"/>
              <a:gd name="connsiteY884" fmla="*/ 500016 h 4679404"/>
              <a:gd name="connsiteX885" fmla="*/ 1322313 w 4679404"/>
              <a:gd name="connsiteY885" fmla="*/ 520090 h 4679404"/>
              <a:gd name="connsiteX886" fmla="*/ 1313879 w 4679404"/>
              <a:gd name="connsiteY886" fmla="*/ 533480 h 4679404"/>
              <a:gd name="connsiteX887" fmla="*/ 1301235 w 4679404"/>
              <a:gd name="connsiteY887" fmla="*/ 549096 h 4679404"/>
              <a:gd name="connsiteX888" fmla="*/ 1288592 w 4679404"/>
              <a:gd name="connsiteY888" fmla="*/ 562487 h 4679404"/>
              <a:gd name="connsiteX889" fmla="*/ 1273847 w 4679404"/>
              <a:gd name="connsiteY889" fmla="*/ 571411 h 4679404"/>
              <a:gd name="connsiteX890" fmla="*/ 1256987 w 4679404"/>
              <a:gd name="connsiteY890" fmla="*/ 575869 h 4679404"/>
              <a:gd name="connsiteX891" fmla="*/ 1238018 w 4679404"/>
              <a:gd name="connsiteY891" fmla="*/ 578102 h 4679404"/>
              <a:gd name="connsiteX892" fmla="*/ 1219056 w 4679404"/>
              <a:gd name="connsiteY892" fmla="*/ 575869 h 4679404"/>
              <a:gd name="connsiteX893" fmla="*/ 1200095 w 4679404"/>
              <a:gd name="connsiteY893" fmla="*/ 571411 h 4679404"/>
              <a:gd name="connsiteX894" fmla="*/ 1187451 w 4679404"/>
              <a:gd name="connsiteY894" fmla="*/ 562487 h 4679404"/>
              <a:gd name="connsiteX895" fmla="*/ 1172699 w 4679404"/>
              <a:gd name="connsiteY895" fmla="*/ 549096 h 4679404"/>
              <a:gd name="connsiteX896" fmla="*/ 1162164 w 4679404"/>
              <a:gd name="connsiteY896" fmla="*/ 533480 h 4679404"/>
              <a:gd name="connsiteX897" fmla="*/ 1151622 w 4679404"/>
              <a:gd name="connsiteY897" fmla="*/ 520090 h 4679404"/>
              <a:gd name="connsiteX898" fmla="*/ 1147412 w 4679404"/>
              <a:gd name="connsiteY898" fmla="*/ 500016 h 4679404"/>
              <a:gd name="connsiteX899" fmla="*/ 1145304 w 4679404"/>
              <a:gd name="connsiteY899" fmla="*/ 479934 h 4679404"/>
              <a:gd name="connsiteX900" fmla="*/ 1147412 w 4679404"/>
              <a:gd name="connsiteY900" fmla="*/ 462085 h 4679404"/>
              <a:gd name="connsiteX901" fmla="*/ 1151622 w 4679404"/>
              <a:gd name="connsiteY901" fmla="*/ 442003 h 4679404"/>
              <a:gd name="connsiteX902" fmla="*/ 1162164 w 4679404"/>
              <a:gd name="connsiteY902" fmla="*/ 426387 h 4679404"/>
              <a:gd name="connsiteX903" fmla="*/ 1172699 w 4679404"/>
              <a:gd name="connsiteY903" fmla="*/ 412997 h 4679404"/>
              <a:gd name="connsiteX904" fmla="*/ 1187451 w 4679404"/>
              <a:gd name="connsiteY904" fmla="*/ 399614 h 4679404"/>
              <a:gd name="connsiteX905" fmla="*/ 1200095 w 4679404"/>
              <a:gd name="connsiteY905" fmla="*/ 390690 h 4679404"/>
              <a:gd name="connsiteX906" fmla="*/ 1219056 w 4679404"/>
              <a:gd name="connsiteY906" fmla="*/ 386224 h 4679404"/>
              <a:gd name="connsiteX907" fmla="*/ 2480435 w 4679404"/>
              <a:gd name="connsiteY907" fmla="*/ 185429 h 4679404"/>
              <a:gd name="connsiteX908" fmla="*/ 2499617 w 4679404"/>
              <a:gd name="connsiteY908" fmla="*/ 187537 h 4679404"/>
              <a:gd name="connsiteX909" fmla="*/ 2518798 w 4679404"/>
              <a:gd name="connsiteY909" fmla="*/ 193855 h 4679404"/>
              <a:gd name="connsiteX910" fmla="*/ 2531588 w 4679404"/>
              <a:gd name="connsiteY910" fmla="*/ 202289 h 4679404"/>
              <a:gd name="connsiteX911" fmla="*/ 2546508 w 4679404"/>
              <a:gd name="connsiteY911" fmla="*/ 214925 h 4679404"/>
              <a:gd name="connsiteX912" fmla="*/ 2559298 w 4679404"/>
              <a:gd name="connsiteY912" fmla="*/ 227569 h 4679404"/>
              <a:gd name="connsiteX913" fmla="*/ 2567827 w 4679404"/>
              <a:gd name="connsiteY913" fmla="*/ 242321 h 4679404"/>
              <a:gd name="connsiteX914" fmla="*/ 2572088 w 4679404"/>
              <a:gd name="connsiteY914" fmla="*/ 259181 h 4679404"/>
              <a:gd name="connsiteX915" fmla="*/ 2574218 w 4679404"/>
              <a:gd name="connsiteY915" fmla="*/ 278143 h 4679404"/>
              <a:gd name="connsiteX916" fmla="*/ 2572088 w 4679404"/>
              <a:gd name="connsiteY916" fmla="*/ 297104 h 4679404"/>
              <a:gd name="connsiteX917" fmla="*/ 2567827 w 4679404"/>
              <a:gd name="connsiteY917" fmla="*/ 316073 h 4679404"/>
              <a:gd name="connsiteX918" fmla="*/ 2559298 w 4679404"/>
              <a:gd name="connsiteY918" fmla="*/ 328717 h 4679404"/>
              <a:gd name="connsiteX919" fmla="*/ 2546508 w 4679404"/>
              <a:gd name="connsiteY919" fmla="*/ 343462 h 4679404"/>
              <a:gd name="connsiteX920" fmla="*/ 2531588 w 4679404"/>
              <a:gd name="connsiteY920" fmla="*/ 353997 h 4679404"/>
              <a:gd name="connsiteX921" fmla="*/ 2518798 w 4679404"/>
              <a:gd name="connsiteY921" fmla="*/ 364539 h 4679404"/>
              <a:gd name="connsiteX922" fmla="*/ 2499617 w 4679404"/>
              <a:gd name="connsiteY922" fmla="*/ 368749 h 4679404"/>
              <a:gd name="connsiteX923" fmla="*/ 2480435 w 4679404"/>
              <a:gd name="connsiteY923" fmla="*/ 370857 h 4679404"/>
              <a:gd name="connsiteX924" fmla="*/ 2463385 w 4679404"/>
              <a:gd name="connsiteY924" fmla="*/ 368749 h 4679404"/>
              <a:gd name="connsiteX925" fmla="*/ 2444203 w 4679404"/>
              <a:gd name="connsiteY925" fmla="*/ 364539 h 4679404"/>
              <a:gd name="connsiteX926" fmla="*/ 2429283 w 4679404"/>
              <a:gd name="connsiteY926" fmla="*/ 353997 h 4679404"/>
              <a:gd name="connsiteX927" fmla="*/ 2416493 w 4679404"/>
              <a:gd name="connsiteY927" fmla="*/ 343462 h 4679404"/>
              <a:gd name="connsiteX928" fmla="*/ 2403703 w 4679404"/>
              <a:gd name="connsiteY928" fmla="*/ 328717 h 4679404"/>
              <a:gd name="connsiteX929" fmla="*/ 2395174 w 4679404"/>
              <a:gd name="connsiteY929" fmla="*/ 316073 h 4679404"/>
              <a:gd name="connsiteX930" fmla="*/ 2390913 w 4679404"/>
              <a:gd name="connsiteY930" fmla="*/ 297104 h 4679404"/>
              <a:gd name="connsiteX931" fmla="*/ 2388783 w 4679404"/>
              <a:gd name="connsiteY931" fmla="*/ 278143 h 4679404"/>
              <a:gd name="connsiteX932" fmla="*/ 2390913 w 4679404"/>
              <a:gd name="connsiteY932" fmla="*/ 259181 h 4679404"/>
              <a:gd name="connsiteX933" fmla="*/ 2395174 w 4679404"/>
              <a:gd name="connsiteY933" fmla="*/ 242321 h 4679404"/>
              <a:gd name="connsiteX934" fmla="*/ 2403703 w 4679404"/>
              <a:gd name="connsiteY934" fmla="*/ 227569 h 4679404"/>
              <a:gd name="connsiteX935" fmla="*/ 2416493 w 4679404"/>
              <a:gd name="connsiteY935" fmla="*/ 214925 h 4679404"/>
              <a:gd name="connsiteX936" fmla="*/ 2429283 w 4679404"/>
              <a:gd name="connsiteY936" fmla="*/ 202289 h 4679404"/>
              <a:gd name="connsiteX937" fmla="*/ 2444203 w 4679404"/>
              <a:gd name="connsiteY937" fmla="*/ 193855 h 4679404"/>
              <a:gd name="connsiteX938" fmla="*/ 2463385 w 4679404"/>
              <a:gd name="connsiteY938" fmla="*/ 187537 h 4679404"/>
              <a:gd name="connsiteX939" fmla="*/ 2960376 w 4679404"/>
              <a:gd name="connsiteY939" fmla="*/ 87260 h 4679404"/>
              <a:gd name="connsiteX940" fmla="*/ 2979558 w 4679404"/>
              <a:gd name="connsiteY940" fmla="*/ 91477 h 4679404"/>
              <a:gd name="connsiteX941" fmla="*/ 2998739 w 4679404"/>
              <a:gd name="connsiteY941" fmla="*/ 95687 h 4679404"/>
              <a:gd name="connsiteX942" fmla="*/ 3013659 w 4679404"/>
              <a:gd name="connsiteY942" fmla="*/ 104121 h 4679404"/>
              <a:gd name="connsiteX943" fmla="*/ 3026449 w 4679404"/>
              <a:gd name="connsiteY943" fmla="*/ 116757 h 4679404"/>
              <a:gd name="connsiteX944" fmla="*/ 3039239 w 4679404"/>
              <a:gd name="connsiteY944" fmla="*/ 129400 h 4679404"/>
              <a:gd name="connsiteX945" fmla="*/ 3047768 w 4679404"/>
              <a:gd name="connsiteY945" fmla="*/ 144152 h 4679404"/>
              <a:gd name="connsiteX946" fmla="*/ 3052029 w 4679404"/>
              <a:gd name="connsiteY946" fmla="*/ 163114 h 4679404"/>
              <a:gd name="connsiteX947" fmla="*/ 3054160 w 4679404"/>
              <a:gd name="connsiteY947" fmla="*/ 179974 h 4679404"/>
              <a:gd name="connsiteX948" fmla="*/ 3052029 w 4679404"/>
              <a:gd name="connsiteY948" fmla="*/ 198936 h 4679404"/>
              <a:gd name="connsiteX949" fmla="*/ 3047768 w 4679404"/>
              <a:gd name="connsiteY949" fmla="*/ 217905 h 4679404"/>
              <a:gd name="connsiteX950" fmla="*/ 3039239 w 4679404"/>
              <a:gd name="connsiteY950" fmla="*/ 230549 h 4679404"/>
              <a:gd name="connsiteX951" fmla="*/ 3026449 w 4679404"/>
              <a:gd name="connsiteY951" fmla="*/ 245293 h 4679404"/>
              <a:gd name="connsiteX952" fmla="*/ 3013659 w 4679404"/>
              <a:gd name="connsiteY952" fmla="*/ 257937 h 4679404"/>
              <a:gd name="connsiteX953" fmla="*/ 2998739 w 4679404"/>
              <a:gd name="connsiteY953" fmla="*/ 266370 h 4679404"/>
              <a:gd name="connsiteX954" fmla="*/ 2979558 w 4679404"/>
              <a:gd name="connsiteY954" fmla="*/ 270580 h 4679404"/>
              <a:gd name="connsiteX955" fmla="*/ 2960376 w 4679404"/>
              <a:gd name="connsiteY955" fmla="*/ 272689 h 4679404"/>
              <a:gd name="connsiteX956" fmla="*/ 2943326 w 4679404"/>
              <a:gd name="connsiteY956" fmla="*/ 270580 h 4679404"/>
              <a:gd name="connsiteX957" fmla="*/ 2924144 w 4679404"/>
              <a:gd name="connsiteY957" fmla="*/ 266370 h 4679404"/>
              <a:gd name="connsiteX958" fmla="*/ 2909224 w 4679404"/>
              <a:gd name="connsiteY958" fmla="*/ 257937 h 4679404"/>
              <a:gd name="connsiteX959" fmla="*/ 2896434 w 4679404"/>
              <a:gd name="connsiteY959" fmla="*/ 245293 h 4679404"/>
              <a:gd name="connsiteX960" fmla="*/ 2883644 w 4679404"/>
              <a:gd name="connsiteY960" fmla="*/ 230549 h 4679404"/>
              <a:gd name="connsiteX961" fmla="*/ 2875115 w 4679404"/>
              <a:gd name="connsiteY961" fmla="*/ 217905 h 4679404"/>
              <a:gd name="connsiteX962" fmla="*/ 2870854 w 4679404"/>
              <a:gd name="connsiteY962" fmla="*/ 198936 h 4679404"/>
              <a:gd name="connsiteX963" fmla="*/ 2868724 w 4679404"/>
              <a:gd name="connsiteY963" fmla="*/ 179974 h 4679404"/>
              <a:gd name="connsiteX964" fmla="*/ 2870854 w 4679404"/>
              <a:gd name="connsiteY964" fmla="*/ 163114 h 4679404"/>
              <a:gd name="connsiteX965" fmla="*/ 2875115 w 4679404"/>
              <a:gd name="connsiteY965" fmla="*/ 144152 h 4679404"/>
              <a:gd name="connsiteX966" fmla="*/ 2883644 w 4679404"/>
              <a:gd name="connsiteY966" fmla="*/ 129400 h 4679404"/>
              <a:gd name="connsiteX967" fmla="*/ 2896434 w 4679404"/>
              <a:gd name="connsiteY967" fmla="*/ 116757 h 4679404"/>
              <a:gd name="connsiteX968" fmla="*/ 2909224 w 4679404"/>
              <a:gd name="connsiteY968" fmla="*/ 104121 h 4679404"/>
              <a:gd name="connsiteX969" fmla="*/ 2924144 w 4679404"/>
              <a:gd name="connsiteY969" fmla="*/ 95687 h 4679404"/>
              <a:gd name="connsiteX970" fmla="*/ 2943326 w 4679404"/>
              <a:gd name="connsiteY970" fmla="*/ 91477 h 4679404"/>
              <a:gd name="connsiteX971" fmla="*/ 953359 w 4679404"/>
              <a:gd name="connsiteY971" fmla="*/ 87260 h 4679404"/>
              <a:gd name="connsiteX972" fmla="*/ 972541 w 4679404"/>
              <a:gd name="connsiteY972" fmla="*/ 91477 h 4679404"/>
              <a:gd name="connsiteX973" fmla="*/ 991722 w 4679404"/>
              <a:gd name="connsiteY973" fmla="*/ 95687 h 4679404"/>
              <a:gd name="connsiteX974" fmla="*/ 1004512 w 4679404"/>
              <a:gd name="connsiteY974" fmla="*/ 104121 h 4679404"/>
              <a:gd name="connsiteX975" fmla="*/ 1019432 w 4679404"/>
              <a:gd name="connsiteY975" fmla="*/ 116757 h 4679404"/>
              <a:gd name="connsiteX976" fmla="*/ 1032222 w 4679404"/>
              <a:gd name="connsiteY976" fmla="*/ 129400 h 4679404"/>
              <a:gd name="connsiteX977" fmla="*/ 1040751 w 4679404"/>
              <a:gd name="connsiteY977" fmla="*/ 144152 h 4679404"/>
              <a:gd name="connsiteX978" fmla="*/ 1045012 w 4679404"/>
              <a:gd name="connsiteY978" fmla="*/ 163114 h 4679404"/>
              <a:gd name="connsiteX979" fmla="*/ 1047142 w 4679404"/>
              <a:gd name="connsiteY979" fmla="*/ 179974 h 4679404"/>
              <a:gd name="connsiteX980" fmla="*/ 1045012 w 4679404"/>
              <a:gd name="connsiteY980" fmla="*/ 198936 h 4679404"/>
              <a:gd name="connsiteX981" fmla="*/ 1040751 w 4679404"/>
              <a:gd name="connsiteY981" fmla="*/ 217905 h 4679404"/>
              <a:gd name="connsiteX982" fmla="*/ 1032222 w 4679404"/>
              <a:gd name="connsiteY982" fmla="*/ 230549 h 4679404"/>
              <a:gd name="connsiteX983" fmla="*/ 1019432 w 4679404"/>
              <a:gd name="connsiteY983" fmla="*/ 245293 h 4679404"/>
              <a:gd name="connsiteX984" fmla="*/ 1004512 w 4679404"/>
              <a:gd name="connsiteY984" fmla="*/ 257937 h 4679404"/>
              <a:gd name="connsiteX985" fmla="*/ 991722 w 4679404"/>
              <a:gd name="connsiteY985" fmla="*/ 266370 h 4679404"/>
              <a:gd name="connsiteX986" fmla="*/ 972541 w 4679404"/>
              <a:gd name="connsiteY986" fmla="*/ 270580 h 4679404"/>
              <a:gd name="connsiteX987" fmla="*/ 953359 w 4679404"/>
              <a:gd name="connsiteY987" fmla="*/ 272689 h 4679404"/>
              <a:gd name="connsiteX988" fmla="*/ 936309 w 4679404"/>
              <a:gd name="connsiteY988" fmla="*/ 270580 h 4679404"/>
              <a:gd name="connsiteX989" fmla="*/ 917127 w 4679404"/>
              <a:gd name="connsiteY989" fmla="*/ 266370 h 4679404"/>
              <a:gd name="connsiteX990" fmla="*/ 902207 w 4679404"/>
              <a:gd name="connsiteY990" fmla="*/ 257937 h 4679404"/>
              <a:gd name="connsiteX991" fmla="*/ 889417 w 4679404"/>
              <a:gd name="connsiteY991" fmla="*/ 245293 h 4679404"/>
              <a:gd name="connsiteX992" fmla="*/ 876627 w 4679404"/>
              <a:gd name="connsiteY992" fmla="*/ 230549 h 4679404"/>
              <a:gd name="connsiteX993" fmla="*/ 868098 w 4679404"/>
              <a:gd name="connsiteY993" fmla="*/ 217905 h 4679404"/>
              <a:gd name="connsiteX994" fmla="*/ 863837 w 4679404"/>
              <a:gd name="connsiteY994" fmla="*/ 198936 h 4679404"/>
              <a:gd name="connsiteX995" fmla="*/ 861707 w 4679404"/>
              <a:gd name="connsiteY995" fmla="*/ 179974 h 4679404"/>
              <a:gd name="connsiteX996" fmla="*/ 863837 w 4679404"/>
              <a:gd name="connsiteY996" fmla="*/ 163114 h 4679404"/>
              <a:gd name="connsiteX997" fmla="*/ 868098 w 4679404"/>
              <a:gd name="connsiteY997" fmla="*/ 144152 h 4679404"/>
              <a:gd name="connsiteX998" fmla="*/ 876627 w 4679404"/>
              <a:gd name="connsiteY998" fmla="*/ 129400 h 4679404"/>
              <a:gd name="connsiteX999" fmla="*/ 889417 w 4679404"/>
              <a:gd name="connsiteY999" fmla="*/ 116757 h 4679404"/>
              <a:gd name="connsiteX1000" fmla="*/ 902207 w 4679404"/>
              <a:gd name="connsiteY1000" fmla="*/ 104121 h 4679404"/>
              <a:gd name="connsiteX1001" fmla="*/ 917127 w 4679404"/>
              <a:gd name="connsiteY1001" fmla="*/ 95687 h 4679404"/>
              <a:gd name="connsiteX1002" fmla="*/ 936309 w 4679404"/>
              <a:gd name="connsiteY1002" fmla="*/ 91477 h 4679404"/>
              <a:gd name="connsiteX1003" fmla="*/ 1915401 w 4679404"/>
              <a:gd name="connsiteY1003" fmla="*/ 0 h 4679404"/>
              <a:gd name="connsiteX1004" fmla="*/ 1943976 w 4679404"/>
              <a:gd name="connsiteY1004" fmla="*/ 2196 h 4679404"/>
              <a:gd name="connsiteX1005" fmla="*/ 1972550 w 4679404"/>
              <a:gd name="connsiteY1005" fmla="*/ 4393 h 4679404"/>
              <a:gd name="connsiteX1006" fmla="*/ 2001124 w 4679404"/>
              <a:gd name="connsiteY1006" fmla="*/ 10989 h 4679404"/>
              <a:gd name="connsiteX1007" fmla="*/ 2027502 w 4679404"/>
              <a:gd name="connsiteY1007" fmla="*/ 21978 h 4679404"/>
              <a:gd name="connsiteX1008" fmla="*/ 2051683 w 4679404"/>
              <a:gd name="connsiteY1008" fmla="*/ 32974 h 4679404"/>
              <a:gd name="connsiteX1009" fmla="*/ 2075865 w 4679404"/>
              <a:gd name="connsiteY1009" fmla="*/ 48356 h 4679404"/>
              <a:gd name="connsiteX1010" fmla="*/ 2097843 w 4679404"/>
              <a:gd name="connsiteY1010" fmla="*/ 65941 h 4679404"/>
              <a:gd name="connsiteX1011" fmla="*/ 2119828 w 4679404"/>
              <a:gd name="connsiteY1011" fmla="*/ 83526 h 4679404"/>
              <a:gd name="connsiteX1012" fmla="*/ 2139610 w 4679404"/>
              <a:gd name="connsiteY1012" fmla="*/ 105512 h 4679404"/>
              <a:gd name="connsiteX1013" fmla="*/ 2154998 w 4679404"/>
              <a:gd name="connsiteY1013" fmla="*/ 127490 h 4679404"/>
              <a:gd name="connsiteX1014" fmla="*/ 2170380 w 4679404"/>
              <a:gd name="connsiteY1014" fmla="*/ 151671 h 4679404"/>
              <a:gd name="connsiteX1015" fmla="*/ 2181369 w 4679404"/>
              <a:gd name="connsiteY1015" fmla="*/ 175845 h 4679404"/>
              <a:gd name="connsiteX1016" fmla="*/ 2192365 w 4679404"/>
              <a:gd name="connsiteY1016" fmla="*/ 202223 h 4679404"/>
              <a:gd name="connsiteX1017" fmla="*/ 2198954 w 4679404"/>
              <a:gd name="connsiteY1017" fmla="*/ 230805 h 4679404"/>
              <a:gd name="connsiteX1018" fmla="*/ 2201158 w 4679404"/>
              <a:gd name="connsiteY1018" fmla="*/ 259379 h 4679404"/>
              <a:gd name="connsiteX1019" fmla="*/ 2203354 w 4679404"/>
              <a:gd name="connsiteY1019" fmla="*/ 290149 h 4679404"/>
              <a:gd name="connsiteX1020" fmla="*/ 2201158 w 4679404"/>
              <a:gd name="connsiteY1020" fmla="*/ 318724 h 4679404"/>
              <a:gd name="connsiteX1021" fmla="*/ 2198954 w 4679404"/>
              <a:gd name="connsiteY1021" fmla="*/ 347298 h 4679404"/>
              <a:gd name="connsiteX1022" fmla="*/ 2192365 w 4679404"/>
              <a:gd name="connsiteY1022" fmla="*/ 375879 h 4679404"/>
              <a:gd name="connsiteX1023" fmla="*/ 2181369 w 4679404"/>
              <a:gd name="connsiteY1023" fmla="*/ 402250 h 4679404"/>
              <a:gd name="connsiteX1024" fmla="*/ 2170380 w 4679404"/>
              <a:gd name="connsiteY1024" fmla="*/ 426431 h 4679404"/>
              <a:gd name="connsiteX1025" fmla="*/ 2154998 w 4679404"/>
              <a:gd name="connsiteY1025" fmla="*/ 450613 h 4679404"/>
              <a:gd name="connsiteX1026" fmla="*/ 2139610 w 4679404"/>
              <a:gd name="connsiteY1026" fmla="*/ 472591 h 4679404"/>
              <a:gd name="connsiteX1027" fmla="*/ 2119828 w 4679404"/>
              <a:gd name="connsiteY1027" fmla="*/ 494576 h 4679404"/>
              <a:gd name="connsiteX1028" fmla="*/ 2097843 w 4679404"/>
              <a:gd name="connsiteY1028" fmla="*/ 514358 h 4679404"/>
              <a:gd name="connsiteX1029" fmla="*/ 2075865 w 4679404"/>
              <a:gd name="connsiteY1029" fmla="*/ 529747 h 4679404"/>
              <a:gd name="connsiteX1030" fmla="*/ 2051683 w 4679404"/>
              <a:gd name="connsiteY1030" fmla="*/ 545128 h 4679404"/>
              <a:gd name="connsiteX1031" fmla="*/ 2027502 w 4679404"/>
              <a:gd name="connsiteY1031" fmla="*/ 556124 h 4679404"/>
              <a:gd name="connsiteX1032" fmla="*/ 2001124 w 4679404"/>
              <a:gd name="connsiteY1032" fmla="*/ 567113 h 4679404"/>
              <a:gd name="connsiteX1033" fmla="*/ 1972550 w 4679404"/>
              <a:gd name="connsiteY1033" fmla="*/ 573702 h 4679404"/>
              <a:gd name="connsiteX1034" fmla="*/ 1943976 w 4679404"/>
              <a:gd name="connsiteY1034" fmla="*/ 575906 h 4679404"/>
              <a:gd name="connsiteX1035" fmla="*/ 1915401 w 4679404"/>
              <a:gd name="connsiteY1035" fmla="*/ 578102 h 4679404"/>
              <a:gd name="connsiteX1036" fmla="*/ 1886820 w 4679404"/>
              <a:gd name="connsiteY1036" fmla="*/ 575906 h 4679404"/>
              <a:gd name="connsiteX1037" fmla="*/ 1858246 w 4679404"/>
              <a:gd name="connsiteY1037" fmla="*/ 573702 h 4679404"/>
              <a:gd name="connsiteX1038" fmla="*/ 1827475 w 4679404"/>
              <a:gd name="connsiteY1038" fmla="*/ 567113 h 4679404"/>
              <a:gd name="connsiteX1039" fmla="*/ 1801097 w 4679404"/>
              <a:gd name="connsiteY1039" fmla="*/ 556124 h 4679404"/>
              <a:gd name="connsiteX1040" fmla="*/ 1776916 w 4679404"/>
              <a:gd name="connsiteY1040" fmla="*/ 545128 h 4679404"/>
              <a:gd name="connsiteX1041" fmla="*/ 1752734 w 4679404"/>
              <a:gd name="connsiteY1041" fmla="*/ 529747 h 4679404"/>
              <a:gd name="connsiteX1042" fmla="*/ 1732953 w 4679404"/>
              <a:gd name="connsiteY1042" fmla="*/ 514358 h 4679404"/>
              <a:gd name="connsiteX1043" fmla="*/ 1710975 w 4679404"/>
              <a:gd name="connsiteY1043" fmla="*/ 494576 h 4679404"/>
              <a:gd name="connsiteX1044" fmla="*/ 1691186 w 4679404"/>
              <a:gd name="connsiteY1044" fmla="*/ 472591 h 4679404"/>
              <a:gd name="connsiteX1045" fmla="*/ 1673600 w 4679404"/>
              <a:gd name="connsiteY1045" fmla="*/ 450613 h 4679404"/>
              <a:gd name="connsiteX1046" fmla="*/ 1660415 w 4679404"/>
              <a:gd name="connsiteY1046" fmla="*/ 426431 h 4679404"/>
              <a:gd name="connsiteX1047" fmla="*/ 1647223 w 4679404"/>
              <a:gd name="connsiteY1047" fmla="*/ 402250 h 4679404"/>
              <a:gd name="connsiteX1048" fmla="*/ 1638430 w 4679404"/>
              <a:gd name="connsiteY1048" fmla="*/ 375879 h 4679404"/>
              <a:gd name="connsiteX1049" fmla="*/ 1631841 w 4679404"/>
              <a:gd name="connsiteY1049" fmla="*/ 347298 h 4679404"/>
              <a:gd name="connsiteX1050" fmla="*/ 1629637 w 4679404"/>
              <a:gd name="connsiteY1050" fmla="*/ 318724 h 4679404"/>
              <a:gd name="connsiteX1051" fmla="*/ 1625245 w 4679404"/>
              <a:gd name="connsiteY1051" fmla="*/ 290149 h 4679404"/>
              <a:gd name="connsiteX1052" fmla="*/ 1629637 w 4679404"/>
              <a:gd name="connsiteY1052" fmla="*/ 259379 h 4679404"/>
              <a:gd name="connsiteX1053" fmla="*/ 1631841 w 4679404"/>
              <a:gd name="connsiteY1053" fmla="*/ 230805 h 4679404"/>
              <a:gd name="connsiteX1054" fmla="*/ 1638430 w 4679404"/>
              <a:gd name="connsiteY1054" fmla="*/ 202223 h 4679404"/>
              <a:gd name="connsiteX1055" fmla="*/ 1647223 w 4679404"/>
              <a:gd name="connsiteY1055" fmla="*/ 175845 h 4679404"/>
              <a:gd name="connsiteX1056" fmla="*/ 1660415 w 4679404"/>
              <a:gd name="connsiteY1056" fmla="*/ 151671 h 4679404"/>
              <a:gd name="connsiteX1057" fmla="*/ 1673600 w 4679404"/>
              <a:gd name="connsiteY1057" fmla="*/ 127490 h 4679404"/>
              <a:gd name="connsiteX1058" fmla="*/ 1691186 w 4679404"/>
              <a:gd name="connsiteY1058" fmla="*/ 105512 h 4679404"/>
              <a:gd name="connsiteX1059" fmla="*/ 1710975 w 4679404"/>
              <a:gd name="connsiteY1059" fmla="*/ 83526 h 4679404"/>
              <a:gd name="connsiteX1060" fmla="*/ 1732953 w 4679404"/>
              <a:gd name="connsiteY1060" fmla="*/ 65941 h 4679404"/>
              <a:gd name="connsiteX1061" fmla="*/ 1752734 w 4679404"/>
              <a:gd name="connsiteY1061" fmla="*/ 48356 h 4679404"/>
              <a:gd name="connsiteX1062" fmla="*/ 1776916 w 4679404"/>
              <a:gd name="connsiteY1062" fmla="*/ 32974 h 4679404"/>
              <a:gd name="connsiteX1063" fmla="*/ 1801097 w 4679404"/>
              <a:gd name="connsiteY1063" fmla="*/ 21978 h 4679404"/>
              <a:gd name="connsiteX1064" fmla="*/ 1827475 w 4679404"/>
              <a:gd name="connsiteY1064" fmla="*/ 10989 h 4679404"/>
              <a:gd name="connsiteX1065" fmla="*/ 1858246 w 4679404"/>
              <a:gd name="connsiteY1065" fmla="*/ 4393 h 4679404"/>
              <a:gd name="connsiteX1066" fmla="*/ 1886820 w 4679404"/>
              <a:gd name="connsiteY1066" fmla="*/ 2196 h 4679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</a:cxnLst>
            <a:rect l="l" t="t" r="r" b="b"/>
            <a:pathLst>
              <a:path w="4679404" h="4679404">
                <a:moveTo>
                  <a:pt x="4280185" y="3545002"/>
                </a:moveTo>
                <a:lnTo>
                  <a:pt x="4336902" y="3547191"/>
                </a:lnTo>
                <a:lnTo>
                  <a:pt x="4387081" y="3555932"/>
                </a:lnTo>
                <a:lnTo>
                  <a:pt x="4435070" y="3566863"/>
                </a:lnTo>
                <a:lnTo>
                  <a:pt x="4459069" y="3573415"/>
                </a:lnTo>
                <a:lnTo>
                  <a:pt x="4480886" y="3584345"/>
                </a:lnTo>
                <a:lnTo>
                  <a:pt x="4507066" y="3595276"/>
                </a:lnTo>
                <a:lnTo>
                  <a:pt x="4531057" y="3612758"/>
                </a:lnTo>
                <a:lnTo>
                  <a:pt x="4552874" y="3630249"/>
                </a:lnTo>
                <a:lnTo>
                  <a:pt x="4574691" y="3652102"/>
                </a:lnTo>
                <a:lnTo>
                  <a:pt x="4594326" y="3671774"/>
                </a:lnTo>
                <a:lnTo>
                  <a:pt x="4609598" y="3695816"/>
                </a:lnTo>
                <a:lnTo>
                  <a:pt x="4624869" y="3722048"/>
                </a:lnTo>
                <a:lnTo>
                  <a:pt x="4637952" y="3750461"/>
                </a:lnTo>
                <a:lnTo>
                  <a:pt x="4648861" y="3778874"/>
                </a:lnTo>
                <a:lnTo>
                  <a:pt x="4655406" y="3807294"/>
                </a:lnTo>
                <a:lnTo>
                  <a:pt x="4657587" y="3837889"/>
                </a:lnTo>
                <a:lnTo>
                  <a:pt x="4659769" y="3866310"/>
                </a:lnTo>
                <a:lnTo>
                  <a:pt x="4659769" y="3890352"/>
                </a:lnTo>
                <a:lnTo>
                  <a:pt x="4657587" y="3914395"/>
                </a:lnTo>
                <a:lnTo>
                  <a:pt x="4653224" y="3936248"/>
                </a:lnTo>
                <a:lnTo>
                  <a:pt x="4648861" y="3958109"/>
                </a:lnTo>
                <a:lnTo>
                  <a:pt x="4640134" y="3979962"/>
                </a:lnTo>
                <a:lnTo>
                  <a:pt x="4633589" y="4001823"/>
                </a:lnTo>
                <a:lnTo>
                  <a:pt x="4624869" y="4019306"/>
                </a:lnTo>
                <a:lnTo>
                  <a:pt x="4611779" y="4038977"/>
                </a:lnTo>
                <a:lnTo>
                  <a:pt x="4587781" y="4078321"/>
                </a:lnTo>
                <a:lnTo>
                  <a:pt x="4563782" y="4108923"/>
                </a:lnTo>
                <a:lnTo>
                  <a:pt x="4539784" y="4137336"/>
                </a:lnTo>
                <a:lnTo>
                  <a:pt x="4517974" y="4161386"/>
                </a:lnTo>
                <a:lnTo>
                  <a:pt x="4452524" y="4218212"/>
                </a:lnTo>
                <a:lnTo>
                  <a:pt x="4352174" y="4301270"/>
                </a:lnTo>
                <a:lnTo>
                  <a:pt x="4299813" y="4347173"/>
                </a:lnTo>
                <a:lnTo>
                  <a:pt x="4256187" y="4384328"/>
                </a:lnTo>
                <a:lnTo>
                  <a:pt x="4221280" y="4421490"/>
                </a:lnTo>
                <a:lnTo>
                  <a:pt x="4195100" y="4449903"/>
                </a:lnTo>
                <a:lnTo>
                  <a:pt x="4175472" y="4471756"/>
                </a:lnTo>
                <a:lnTo>
                  <a:pt x="4155837" y="4497988"/>
                </a:lnTo>
                <a:lnTo>
                  <a:pt x="4557237" y="4497988"/>
                </a:lnTo>
                <a:lnTo>
                  <a:pt x="4583417" y="4500177"/>
                </a:lnTo>
                <a:lnTo>
                  <a:pt x="4609598" y="4504547"/>
                </a:lnTo>
                <a:lnTo>
                  <a:pt x="4631407" y="4511100"/>
                </a:lnTo>
                <a:lnTo>
                  <a:pt x="4648861" y="4524219"/>
                </a:lnTo>
                <a:lnTo>
                  <a:pt x="4661951" y="4535142"/>
                </a:lnTo>
                <a:lnTo>
                  <a:pt x="4672859" y="4552632"/>
                </a:lnTo>
                <a:lnTo>
                  <a:pt x="4677223" y="4570115"/>
                </a:lnTo>
                <a:lnTo>
                  <a:pt x="4679404" y="4587605"/>
                </a:lnTo>
                <a:lnTo>
                  <a:pt x="4677223" y="4607277"/>
                </a:lnTo>
                <a:lnTo>
                  <a:pt x="4672859" y="4624760"/>
                </a:lnTo>
                <a:lnTo>
                  <a:pt x="4664132" y="4637879"/>
                </a:lnTo>
                <a:lnTo>
                  <a:pt x="4655406" y="4653173"/>
                </a:lnTo>
                <a:lnTo>
                  <a:pt x="4640134" y="4664103"/>
                </a:lnTo>
                <a:lnTo>
                  <a:pt x="4622688" y="4672845"/>
                </a:lnTo>
                <a:lnTo>
                  <a:pt x="4603053" y="4677223"/>
                </a:lnTo>
                <a:lnTo>
                  <a:pt x="4579054" y="4679404"/>
                </a:lnTo>
                <a:lnTo>
                  <a:pt x="4016216" y="4679404"/>
                </a:lnTo>
                <a:lnTo>
                  <a:pt x="3987854" y="4677223"/>
                </a:lnTo>
                <a:lnTo>
                  <a:pt x="3966037" y="4672845"/>
                </a:lnTo>
                <a:lnTo>
                  <a:pt x="3944228" y="4661921"/>
                </a:lnTo>
                <a:lnTo>
                  <a:pt x="3926775" y="4648802"/>
                </a:lnTo>
                <a:lnTo>
                  <a:pt x="3911503" y="4631319"/>
                </a:lnTo>
                <a:lnTo>
                  <a:pt x="3900594" y="4611648"/>
                </a:lnTo>
                <a:lnTo>
                  <a:pt x="3896231" y="4594158"/>
                </a:lnTo>
                <a:lnTo>
                  <a:pt x="3894049" y="4572304"/>
                </a:lnTo>
                <a:lnTo>
                  <a:pt x="3896231" y="4557003"/>
                </a:lnTo>
                <a:lnTo>
                  <a:pt x="3898413" y="4539520"/>
                </a:lnTo>
                <a:lnTo>
                  <a:pt x="3904958" y="4522030"/>
                </a:lnTo>
                <a:lnTo>
                  <a:pt x="3915866" y="4500177"/>
                </a:lnTo>
                <a:lnTo>
                  <a:pt x="3924593" y="4478316"/>
                </a:lnTo>
                <a:lnTo>
                  <a:pt x="3935501" y="4458644"/>
                </a:lnTo>
                <a:lnTo>
                  <a:pt x="3948591" y="4441161"/>
                </a:lnTo>
                <a:lnTo>
                  <a:pt x="3959492" y="4428042"/>
                </a:lnTo>
                <a:lnTo>
                  <a:pt x="4055487" y="4329683"/>
                </a:lnTo>
                <a:lnTo>
                  <a:pt x="4144928" y="4246626"/>
                </a:lnTo>
                <a:lnTo>
                  <a:pt x="4212553" y="4183239"/>
                </a:lnTo>
                <a:lnTo>
                  <a:pt x="4238733" y="4161386"/>
                </a:lnTo>
                <a:lnTo>
                  <a:pt x="4260550" y="4148267"/>
                </a:lnTo>
                <a:lnTo>
                  <a:pt x="4288912" y="4124224"/>
                </a:lnTo>
                <a:lnTo>
                  <a:pt x="4319448" y="4102371"/>
                </a:lnTo>
                <a:lnTo>
                  <a:pt x="4343447" y="4080510"/>
                </a:lnTo>
                <a:lnTo>
                  <a:pt x="4363082" y="4056468"/>
                </a:lnTo>
                <a:lnTo>
                  <a:pt x="4384899" y="4034607"/>
                </a:lnTo>
                <a:lnTo>
                  <a:pt x="4402352" y="4010564"/>
                </a:lnTo>
                <a:lnTo>
                  <a:pt x="4417617" y="3988711"/>
                </a:lnTo>
                <a:lnTo>
                  <a:pt x="4428525" y="3964668"/>
                </a:lnTo>
                <a:lnTo>
                  <a:pt x="4437252" y="3940626"/>
                </a:lnTo>
                <a:lnTo>
                  <a:pt x="4445979" y="3916576"/>
                </a:lnTo>
                <a:lnTo>
                  <a:pt x="4450342" y="3894723"/>
                </a:lnTo>
                <a:lnTo>
                  <a:pt x="4450342" y="3870680"/>
                </a:lnTo>
                <a:lnTo>
                  <a:pt x="4450342" y="3846638"/>
                </a:lnTo>
                <a:lnTo>
                  <a:pt x="4445979" y="3826966"/>
                </a:lnTo>
                <a:lnTo>
                  <a:pt x="4437252" y="3805105"/>
                </a:lnTo>
                <a:lnTo>
                  <a:pt x="4426344" y="3783252"/>
                </a:lnTo>
                <a:lnTo>
                  <a:pt x="4413253" y="3765762"/>
                </a:lnTo>
                <a:lnTo>
                  <a:pt x="4400171" y="3750461"/>
                </a:lnTo>
                <a:lnTo>
                  <a:pt x="4382717" y="3735160"/>
                </a:lnTo>
                <a:lnTo>
                  <a:pt x="4363082" y="3722048"/>
                </a:lnTo>
                <a:lnTo>
                  <a:pt x="4343447" y="3713306"/>
                </a:lnTo>
                <a:lnTo>
                  <a:pt x="4321630" y="3706747"/>
                </a:lnTo>
                <a:lnTo>
                  <a:pt x="4299813" y="3704565"/>
                </a:lnTo>
                <a:lnTo>
                  <a:pt x="4275822" y="3702376"/>
                </a:lnTo>
                <a:lnTo>
                  <a:pt x="4251824" y="3704565"/>
                </a:lnTo>
                <a:lnTo>
                  <a:pt x="4227825" y="3708936"/>
                </a:lnTo>
                <a:lnTo>
                  <a:pt x="4206008" y="3713306"/>
                </a:lnTo>
                <a:lnTo>
                  <a:pt x="4186373" y="3722048"/>
                </a:lnTo>
                <a:lnTo>
                  <a:pt x="4168927" y="3737349"/>
                </a:lnTo>
                <a:lnTo>
                  <a:pt x="4149292" y="3752650"/>
                </a:lnTo>
                <a:lnTo>
                  <a:pt x="4131838" y="3767951"/>
                </a:lnTo>
                <a:lnTo>
                  <a:pt x="4118748" y="3789804"/>
                </a:lnTo>
                <a:lnTo>
                  <a:pt x="4107840" y="3811665"/>
                </a:lnTo>
                <a:lnTo>
                  <a:pt x="4092568" y="3853190"/>
                </a:lnTo>
                <a:lnTo>
                  <a:pt x="4081659" y="3879422"/>
                </a:lnTo>
                <a:lnTo>
                  <a:pt x="4072933" y="3899093"/>
                </a:lnTo>
                <a:lnTo>
                  <a:pt x="4062032" y="3916576"/>
                </a:lnTo>
                <a:lnTo>
                  <a:pt x="4051123" y="3931877"/>
                </a:lnTo>
                <a:lnTo>
                  <a:pt x="4038033" y="3942808"/>
                </a:lnTo>
                <a:lnTo>
                  <a:pt x="4024943" y="3953738"/>
                </a:lnTo>
                <a:lnTo>
                  <a:pt x="4005308" y="3958109"/>
                </a:lnTo>
                <a:lnTo>
                  <a:pt x="3985673" y="3960290"/>
                </a:lnTo>
                <a:lnTo>
                  <a:pt x="3968219" y="3958109"/>
                </a:lnTo>
                <a:lnTo>
                  <a:pt x="3950773" y="3953738"/>
                </a:lnTo>
                <a:lnTo>
                  <a:pt x="3935501" y="3944997"/>
                </a:lnTo>
                <a:lnTo>
                  <a:pt x="3922411" y="3934066"/>
                </a:lnTo>
                <a:lnTo>
                  <a:pt x="3909321" y="3920954"/>
                </a:lnTo>
                <a:lnTo>
                  <a:pt x="3902776" y="3905653"/>
                </a:lnTo>
                <a:lnTo>
                  <a:pt x="3898413" y="3885981"/>
                </a:lnTo>
                <a:lnTo>
                  <a:pt x="3896231" y="3866310"/>
                </a:lnTo>
                <a:lnTo>
                  <a:pt x="3898413" y="3837889"/>
                </a:lnTo>
                <a:lnTo>
                  <a:pt x="3902776" y="3811665"/>
                </a:lnTo>
                <a:lnTo>
                  <a:pt x="3909321" y="3783252"/>
                </a:lnTo>
                <a:lnTo>
                  <a:pt x="3920229" y="3754831"/>
                </a:lnTo>
                <a:lnTo>
                  <a:pt x="3933320" y="3728607"/>
                </a:lnTo>
                <a:lnTo>
                  <a:pt x="3950773" y="3698005"/>
                </a:lnTo>
                <a:lnTo>
                  <a:pt x="3970401" y="3676144"/>
                </a:lnTo>
                <a:lnTo>
                  <a:pt x="3992218" y="3652102"/>
                </a:lnTo>
                <a:lnTo>
                  <a:pt x="4016216" y="3628060"/>
                </a:lnTo>
                <a:lnTo>
                  <a:pt x="4044578" y="3608388"/>
                </a:lnTo>
                <a:lnTo>
                  <a:pt x="4075114" y="3590905"/>
                </a:lnTo>
                <a:lnTo>
                  <a:pt x="4110021" y="3573415"/>
                </a:lnTo>
                <a:lnTo>
                  <a:pt x="4149292" y="3562492"/>
                </a:lnTo>
                <a:lnTo>
                  <a:pt x="4188555" y="3553743"/>
                </a:lnTo>
                <a:lnTo>
                  <a:pt x="4232188" y="3547191"/>
                </a:lnTo>
                <a:close/>
                <a:moveTo>
                  <a:pt x="3473292" y="1058044"/>
                </a:moveTo>
                <a:lnTo>
                  <a:pt x="3512533" y="1103881"/>
                </a:lnTo>
                <a:lnTo>
                  <a:pt x="3547418" y="1149725"/>
                </a:lnTo>
                <a:lnTo>
                  <a:pt x="3582303" y="1197745"/>
                </a:lnTo>
                <a:lnTo>
                  <a:pt x="3617195" y="1243589"/>
                </a:lnTo>
                <a:lnTo>
                  <a:pt x="3649898" y="1293790"/>
                </a:lnTo>
                <a:lnTo>
                  <a:pt x="3680420" y="1343998"/>
                </a:lnTo>
                <a:lnTo>
                  <a:pt x="3708767" y="1398569"/>
                </a:lnTo>
                <a:lnTo>
                  <a:pt x="3739289" y="1453141"/>
                </a:lnTo>
                <a:lnTo>
                  <a:pt x="3767636" y="1512075"/>
                </a:lnTo>
                <a:lnTo>
                  <a:pt x="3793802" y="1575381"/>
                </a:lnTo>
                <a:lnTo>
                  <a:pt x="3817785" y="1636497"/>
                </a:lnTo>
                <a:lnTo>
                  <a:pt x="3839588" y="1699803"/>
                </a:lnTo>
                <a:lnTo>
                  <a:pt x="3859208" y="1763108"/>
                </a:lnTo>
                <a:lnTo>
                  <a:pt x="3878836" y="1830777"/>
                </a:lnTo>
                <a:lnTo>
                  <a:pt x="3896275" y="1898446"/>
                </a:lnTo>
                <a:lnTo>
                  <a:pt x="3913721" y="1968296"/>
                </a:lnTo>
                <a:lnTo>
                  <a:pt x="3924622" y="2035965"/>
                </a:lnTo>
                <a:lnTo>
                  <a:pt x="3935523" y="2107997"/>
                </a:lnTo>
                <a:lnTo>
                  <a:pt x="3948606" y="2180029"/>
                </a:lnTo>
                <a:lnTo>
                  <a:pt x="3955144" y="2254250"/>
                </a:lnTo>
                <a:lnTo>
                  <a:pt x="3963870" y="2328464"/>
                </a:lnTo>
                <a:lnTo>
                  <a:pt x="3966045" y="2404867"/>
                </a:lnTo>
                <a:lnTo>
                  <a:pt x="3970408" y="2483452"/>
                </a:lnTo>
                <a:lnTo>
                  <a:pt x="3970408" y="2564218"/>
                </a:lnTo>
                <a:lnTo>
                  <a:pt x="3968226" y="2677724"/>
                </a:lnTo>
                <a:lnTo>
                  <a:pt x="3963870" y="2793412"/>
                </a:lnTo>
                <a:lnTo>
                  <a:pt x="3952969" y="2902555"/>
                </a:lnTo>
                <a:lnTo>
                  <a:pt x="3939887" y="3011697"/>
                </a:lnTo>
                <a:lnTo>
                  <a:pt x="3920259" y="3118658"/>
                </a:lnTo>
                <a:lnTo>
                  <a:pt x="3898457" y="3221256"/>
                </a:lnTo>
                <a:lnTo>
                  <a:pt x="3872291" y="3319483"/>
                </a:lnTo>
                <a:lnTo>
                  <a:pt x="3843951" y="3417710"/>
                </a:lnTo>
                <a:lnTo>
                  <a:pt x="3809059" y="3513755"/>
                </a:lnTo>
                <a:lnTo>
                  <a:pt x="3771999" y="3605437"/>
                </a:lnTo>
                <a:lnTo>
                  <a:pt x="3728388" y="3692749"/>
                </a:lnTo>
                <a:lnTo>
                  <a:pt x="3682602" y="3777886"/>
                </a:lnTo>
                <a:lnTo>
                  <a:pt x="3632452" y="3860833"/>
                </a:lnTo>
                <a:lnTo>
                  <a:pt x="3580128" y="3937229"/>
                </a:lnTo>
                <a:lnTo>
                  <a:pt x="3523434" y="4013632"/>
                </a:lnTo>
                <a:lnTo>
                  <a:pt x="3462391" y="4085664"/>
                </a:lnTo>
                <a:lnTo>
                  <a:pt x="3396977" y="4155515"/>
                </a:lnTo>
                <a:lnTo>
                  <a:pt x="3327207" y="4221002"/>
                </a:lnTo>
                <a:lnTo>
                  <a:pt x="3253074" y="4279944"/>
                </a:lnTo>
                <a:lnTo>
                  <a:pt x="3176759" y="4334515"/>
                </a:lnTo>
                <a:lnTo>
                  <a:pt x="3098269" y="4386898"/>
                </a:lnTo>
                <a:lnTo>
                  <a:pt x="3015416" y="4434924"/>
                </a:lnTo>
                <a:lnTo>
                  <a:pt x="2928200" y="4478580"/>
                </a:lnTo>
                <a:lnTo>
                  <a:pt x="2836628" y="4520053"/>
                </a:lnTo>
                <a:lnTo>
                  <a:pt x="2742874" y="4552801"/>
                </a:lnTo>
                <a:lnTo>
                  <a:pt x="2644757" y="4583359"/>
                </a:lnTo>
                <a:lnTo>
                  <a:pt x="2544466" y="4609554"/>
                </a:lnTo>
                <a:lnTo>
                  <a:pt x="2439803" y="4631378"/>
                </a:lnTo>
                <a:lnTo>
                  <a:pt x="2330785" y="4646657"/>
                </a:lnTo>
                <a:lnTo>
                  <a:pt x="2219592" y="4657573"/>
                </a:lnTo>
                <a:lnTo>
                  <a:pt x="2108392" y="4666307"/>
                </a:lnTo>
                <a:lnTo>
                  <a:pt x="1988473" y="4668489"/>
                </a:lnTo>
                <a:lnTo>
                  <a:pt x="1870735" y="4666307"/>
                </a:lnTo>
                <a:lnTo>
                  <a:pt x="1755179" y="4657573"/>
                </a:lnTo>
                <a:lnTo>
                  <a:pt x="1646161" y="4646657"/>
                </a:lnTo>
                <a:lnTo>
                  <a:pt x="1539324" y="4629196"/>
                </a:lnTo>
                <a:lnTo>
                  <a:pt x="1434670" y="4607372"/>
                </a:lnTo>
                <a:lnTo>
                  <a:pt x="1332189" y="4581177"/>
                </a:lnTo>
                <a:lnTo>
                  <a:pt x="1234072" y="4550612"/>
                </a:lnTo>
                <a:lnTo>
                  <a:pt x="1138144" y="4513508"/>
                </a:lnTo>
                <a:lnTo>
                  <a:pt x="1044382" y="4474216"/>
                </a:lnTo>
                <a:lnTo>
                  <a:pt x="957174" y="4430561"/>
                </a:lnTo>
                <a:lnTo>
                  <a:pt x="872139" y="4380353"/>
                </a:lnTo>
                <a:lnTo>
                  <a:pt x="791468" y="4330145"/>
                </a:lnTo>
                <a:lnTo>
                  <a:pt x="715153" y="4273391"/>
                </a:lnTo>
                <a:lnTo>
                  <a:pt x="643201" y="4212275"/>
                </a:lnTo>
                <a:lnTo>
                  <a:pt x="573432" y="4148969"/>
                </a:lnTo>
                <a:lnTo>
                  <a:pt x="510199" y="4081301"/>
                </a:lnTo>
                <a:lnTo>
                  <a:pt x="446967" y="4009269"/>
                </a:lnTo>
                <a:lnTo>
                  <a:pt x="392462" y="3932866"/>
                </a:lnTo>
                <a:lnTo>
                  <a:pt x="337956" y="3854281"/>
                </a:lnTo>
                <a:lnTo>
                  <a:pt x="289988" y="3771333"/>
                </a:lnTo>
                <a:lnTo>
                  <a:pt x="242021" y="3686204"/>
                </a:lnTo>
                <a:lnTo>
                  <a:pt x="200591" y="3596703"/>
                </a:lnTo>
                <a:lnTo>
                  <a:pt x="163524" y="3505029"/>
                </a:lnTo>
                <a:lnTo>
                  <a:pt x="130821" y="3408976"/>
                </a:lnTo>
                <a:lnTo>
                  <a:pt x="98117" y="3308567"/>
                </a:lnTo>
                <a:lnTo>
                  <a:pt x="71952" y="3208159"/>
                </a:lnTo>
                <a:lnTo>
                  <a:pt x="50150" y="3105561"/>
                </a:lnTo>
                <a:lnTo>
                  <a:pt x="34885" y="2998600"/>
                </a:lnTo>
                <a:lnTo>
                  <a:pt x="19621" y="2891646"/>
                </a:lnTo>
                <a:lnTo>
                  <a:pt x="8720" y="2780314"/>
                </a:lnTo>
                <a:lnTo>
                  <a:pt x="4363" y="2671172"/>
                </a:lnTo>
                <a:lnTo>
                  <a:pt x="0" y="2555484"/>
                </a:lnTo>
                <a:lnTo>
                  <a:pt x="4363" y="2441978"/>
                </a:lnTo>
                <a:lnTo>
                  <a:pt x="10901" y="2328464"/>
                </a:lnTo>
                <a:lnTo>
                  <a:pt x="19621" y="2217140"/>
                </a:lnTo>
                <a:lnTo>
                  <a:pt x="34885" y="2107997"/>
                </a:lnTo>
                <a:lnTo>
                  <a:pt x="54506" y="2001036"/>
                </a:lnTo>
                <a:lnTo>
                  <a:pt x="78490" y="1898446"/>
                </a:lnTo>
                <a:lnTo>
                  <a:pt x="104655" y="1798030"/>
                </a:lnTo>
                <a:lnTo>
                  <a:pt x="135184" y="1699803"/>
                </a:lnTo>
                <a:lnTo>
                  <a:pt x="163524" y="1621218"/>
                </a:lnTo>
                <a:lnTo>
                  <a:pt x="194053" y="1544823"/>
                </a:lnTo>
                <a:lnTo>
                  <a:pt x="231120" y="1470601"/>
                </a:lnTo>
                <a:lnTo>
                  <a:pt x="266004" y="1398569"/>
                </a:lnTo>
                <a:lnTo>
                  <a:pt x="305245" y="1328719"/>
                </a:lnTo>
                <a:lnTo>
                  <a:pt x="346676" y="1261050"/>
                </a:lnTo>
                <a:lnTo>
                  <a:pt x="390280" y="1197745"/>
                </a:lnTo>
                <a:lnTo>
                  <a:pt x="438248" y="1134446"/>
                </a:lnTo>
                <a:lnTo>
                  <a:pt x="442611" y="1154089"/>
                </a:lnTo>
                <a:lnTo>
                  <a:pt x="451330" y="1169368"/>
                </a:lnTo>
                <a:lnTo>
                  <a:pt x="460050" y="1186829"/>
                </a:lnTo>
                <a:lnTo>
                  <a:pt x="470951" y="1204297"/>
                </a:lnTo>
                <a:lnTo>
                  <a:pt x="484034" y="1217394"/>
                </a:lnTo>
                <a:lnTo>
                  <a:pt x="494935" y="1232673"/>
                </a:lnTo>
                <a:lnTo>
                  <a:pt x="510199" y="1247953"/>
                </a:lnTo>
                <a:lnTo>
                  <a:pt x="523282" y="1258868"/>
                </a:lnTo>
                <a:lnTo>
                  <a:pt x="538547" y="1267595"/>
                </a:lnTo>
                <a:lnTo>
                  <a:pt x="555985" y="1278511"/>
                </a:lnTo>
                <a:lnTo>
                  <a:pt x="573432" y="1287245"/>
                </a:lnTo>
                <a:lnTo>
                  <a:pt x="590870" y="1293790"/>
                </a:lnTo>
                <a:lnTo>
                  <a:pt x="610498" y="1300342"/>
                </a:lnTo>
                <a:lnTo>
                  <a:pt x="630119" y="1304706"/>
                </a:lnTo>
                <a:lnTo>
                  <a:pt x="647565" y="1306887"/>
                </a:lnTo>
                <a:lnTo>
                  <a:pt x="669367" y="1306887"/>
                </a:lnTo>
                <a:lnTo>
                  <a:pt x="697707" y="1304706"/>
                </a:lnTo>
                <a:lnTo>
                  <a:pt x="723873" y="1300342"/>
                </a:lnTo>
                <a:lnTo>
                  <a:pt x="750038" y="1291608"/>
                </a:lnTo>
                <a:lnTo>
                  <a:pt x="774022" y="1282874"/>
                </a:lnTo>
                <a:lnTo>
                  <a:pt x="798006" y="1271966"/>
                </a:lnTo>
                <a:lnTo>
                  <a:pt x="819808" y="1254498"/>
                </a:lnTo>
                <a:lnTo>
                  <a:pt x="839436" y="1237037"/>
                </a:lnTo>
                <a:lnTo>
                  <a:pt x="859056" y="1217394"/>
                </a:lnTo>
                <a:lnTo>
                  <a:pt x="856875" y="1243589"/>
                </a:lnTo>
                <a:lnTo>
                  <a:pt x="859056" y="1267595"/>
                </a:lnTo>
                <a:lnTo>
                  <a:pt x="861238" y="1293790"/>
                </a:lnTo>
                <a:lnTo>
                  <a:pt x="867776" y="1315621"/>
                </a:lnTo>
                <a:lnTo>
                  <a:pt x="874321" y="1339634"/>
                </a:lnTo>
                <a:lnTo>
                  <a:pt x="885222" y="1361459"/>
                </a:lnTo>
                <a:lnTo>
                  <a:pt x="896123" y="1381108"/>
                </a:lnTo>
                <a:lnTo>
                  <a:pt x="911388" y="1400751"/>
                </a:lnTo>
                <a:lnTo>
                  <a:pt x="926645" y="1416030"/>
                </a:lnTo>
                <a:lnTo>
                  <a:pt x="944091" y="1433498"/>
                </a:lnTo>
                <a:lnTo>
                  <a:pt x="963711" y="1448777"/>
                </a:lnTo>
                <a:lnTo>
                  <a:pt x="983332" y="1459686"/>
                </a:lnTo>
                <a:lnTo>
                  <a:pt x="1002960" y="1470601"/>
                </a:lnTo>
                <a:lnTo>
                  <a:pt x="1026944" y="1477154"/>
                </a:lnTo>
                <a:lnTo>
                  <a:pt x="1048746" y="1483699"/>
                </a:lnTo>
                <a:lnTo>
                  <a:pt x="1074911" y="1485881"/>
                </a:lnTo>
                <a:lnTo>
                  <a:pt x="1098895" y="1488070"/>
                </a:lnTo>
                <a:lnTo>
                  <a:pt x="1131599" y="1485881"/>
                </a:lnTo>
                <a:lnTo>
                  <a:pt x="1162120" y="1481517"/>
                </a:lnTo>
                <a:lnTo>
                  <a:pt x="1157764" y="1483699"/>
                </a:lnTo>
                <a:lnTo>
                  <a:pt x="1120697" y="1531725"/>
                </a:lnTo>
                <a:lnTo>
                  <a:pt x="1087994" y="1579744"/>
                </a:lnTo>
                <a:lnTo>
                  <a:pt x="1053109" y="1632134"/>
                </a:lnTo>
                <a:lnTo>
                  <a:pt x="1022580" y="1686705"/>
                </a:lnTo>
                <a:lnTo>
                  <a:pt x="994240" y="1745640"/>
                </a:lnTo>
                <a:lnTo>
                  <a:pt x="968075" y="1806764"/>
                </a:lnTo>
                <a:lnTo>
                  <a:pt x="941909" y="1870069"/>
                </a:lnTo>
                <a:lnTo>
                  <a:pt x="920107" y="1937738"/>
                </a:lnTo>
                <a:lnTo>
                  <a:pt x="898305" y="2007588"/>
                </a:lnTo>
                <a:lnTo>
                  <a:pt x="883040" y="2079621"/>
                </a:lnTo>
                <a:lnTo>
                  <a:pt x="867776" y="2153834"/>
                </a:lnTo>
                <a:lnTo>
                  <a:pt x="856875" y="2230237"/>
                </a:lnTo>
                <a:lnTo>
                  <a:pt x="845974" y="2308822"/>
                </a:lnTo>
                <a:lnTo>
                  <a:pt x="839436" y="2389588"/>
                </a:lnTo>
                <a:lnTo>
                  <a:pt x="835073" y="2472536"/>
                </a:lnTo>
                <a:lnTo>
                  <a:pt x="832891" y="2555484"/>
                </a:lnTo>
                <a:lnTo>
                  <a:pt x="835073" y="2642795"/>
                </a:lnTo>
                <a:lnTo>
                  <a:pt x="839436" y="2725743"/>
                </a:lnTo>
                <a:lnTo>
                  <a:pt x="845974" y="2808691"/>
                </a:lnTo>
                <a:lnTo>
                  <a:pt x="856875" y="2887275"/>
                </a:lnTo>
                <a:lnTo>
                  <a:pt x="867776" y="2963678"/>
                </a:lnTo>
                <a:lnTo>
                  <a:pt x="883040" y="3040074"/>
                </a:lnTo>
                <a:lnTo>
                  <a:pt x="898305" y="3112113"/>
                </a:lnTo>
                <a:lnTo>
                  <a:pt x="920107" y="3184145"/>
                </a:lnTo>
                <a:lnTo>
                  <a:pt x="941909" y="3249633"/>
                </a:lnTo>
                <a:lnTo>
                  <a:pt x="968075" y="3317301"/>
                </a:lnTo>
                <a:lnTo>
                  <a:pt x="994240" y="3380600"/>
                </a:lnTo>
                <a:lnTo>
                  <a:pt x="1024762" y="3439542"/>
                </a:lnTo>
                <a:lnTo>
                  <a:pt x="1057465" y="3494113"/>
                </a:lnTo>
                <a:lnTo>
                  <a:pt x="1090176" y="3548684"/>
                </a:lnTo>
                <a:lnTo>
                  <a:pt x="1127235" y="3601074"/>
                </a:lnTo>
                <a:lnTo>
                  <a:pt x="1166483" y="3646911"/>
                </a:lnTo>
                <a:lnTo>
                  <a:pt x="1207914" y="3690567"/>
                </a:lnTo>
                <a:lnTo>
                  <a:pt x="1247155" y="3734230"/>
                </a:lnTo>
                <a:lnTo>
                  <a:pt x="1292948" y="3771333"/>
                </a:lnTo>
                <a:lnTo>
                  <a:pt x="1336552" y="3808444"/>
                </a:lnTo>
                <a:lnTo>
                  <a:pt x="1384520" y="3841184"/>
                </a:lnTo>
                <a:lnTo>
                  <a:pt x="1432488" y="3869560"/>
                </a:lnTo>
                <a:lnTo>
                  <a:pt x="1478274" y="3900126"/>
                </a:lnTo>
                <a:lnTo>
                  <a:pt x="1532779" y="3924132"/>
                </a:lnTo>
                <a:lnTo>
                  <a:pt x="1582929" y="3943781"/>
                </a:lnTo>
                <a:lnTo>
                  <a:pt x="1637442" y="3963424"/>
                </a:lnTo>
                <a:lnTo>
                  <a:pt x="1691947" y="3978703"/>
                </a:lnTo>
                <a:lnTo>
                  <a:pt x="1746453" y="3991800"/>
                </a:lnTo>
                <a:lnTo>
                  <a:pt x="1803147" y="4002716"/>
                </a:lnTo>
                <a:lnTo>
                  <a:pt x="1862016" y="4009269"/>
                </a:lnTo>
                <a:lnTo>
                  <a:pt x="1920885" y="4011450"/>
                </a:lnTo>
                <a:lnTo>
                  <a:pt x="1984117" y="4013632"/>
                </a:lnTo>
                <a:lnTo>
                  <a:pt x="2062606" y="4011450"/>
                </a:lnTo>
                <a:lnTo>
                  <a:pt x="2138921" y="4004898"/>
                </a:lnTo>
                <a:lnTo>
                  <a:pt x="2213047" y="3991800"/>
                </a:lnTo>
                <a:lnTo>
                  <a:pt x="2284999" y="3976521"/>
                </a:lnTo>
                <a:lnTo>
                  <a:pt x="2354769" y="3952515"/>
                </a:lnTo>
                <a:lnTo>
                  <a:pt x="2426721" y="3926321"/>
                </a:lnTo>
                <a:lnTo>
                  <a:pt x="2494316" y="3893573"/>
                </a:lnTo>
                <a:lnTo>
                  <a:pt x="2561904" y="3856463"/>
                </a:lnTo>
                <a:lnTo>
                  <a:pt x="2594608" y="3836820"/>
                </a:lnTo>
                <a:lnTo>
                  <a:pt x="2625137" y="3812807"/>
                </a:lnTo>
                <a:lnTo>
                  <a:pt x="2655658" y="3790983"/>
                </a:lnTo>
                <a:lnTo>
                  <a:pt x="2688362" y="3766970"/>
                </a:lnTo>
                <a:lnTo>
                  <a:pt x="2716709" y="3740775"/>
                </a:lnTo>
                <a:lnTo>
                  <a:pt x="2745056" y="3714580"/>
                </a:lnTo>
                <a:lnTo>
                  <a:pt x="2771222" y="3686204"/>
                </a:lnTo>
                <a:lnTo>
                  <a:pt x="2799562" y="3655645"/>
                </a:lnTo>
                <a:lnTo>
                  <a:pt x="2823545" y="3622898"/>
                </a:lnTo>
                <a:lnTo>
                  <a:pt x="2849711" y="3592340"/>
                </a:lnTo>
                <a:lnTo>
                  <a:pt x="2873695" y="3557418"/>
                </a:lnTo>
                <a:lnTo>
                  <a:pt x="2897679" y="3522489"/>
                </a:lnTo>
                <a:lnTo>
                  <a:pt x="2941283" y="3448268"/>
                </a:lnTo>
                <a:lnTo>
                  <a:pt x="2980531" y="3367502"/>
                </a:lnTo>
                <a:lnTo>
                  <a:pt x="3000152" y="3328217"/>
                </a:lnTo>
                <a:lnTo>
                  <a:pt x="3019780" y="3284554"/>
                </a:lnTo>
                <a:lnTo>
                  <a:pt x="3032863" y="3240899"/>
                </a:lnTo>
                <a:lnTo>
                  <a:pt x="3050301" y="3195061"/>
                </a:lnTo>
                <a:lnTo>
                  <a:pt x="3065566" y="3147035"/>
                </a:lnTo>
                <a:lnTo>
                  <a:pt x="3076467" y="3099016"/>
                </a:lnTo>
                <a:lnTo>
                  <a:pt x="3089550" y="3050990"/>
                </a:lnTo>
                <a:lnTo>
                  <a:pt x="3098269" y="3000789"/>
                </a:lnTo>
                <a:lnTo>
                  <a:pt x="3115715" y="2896009"/>
                </a:lnTo>
                <a:lnTo>
                  <a:pt x="3128798" y="2789048"/>
                </a:lnTo>
                <a:lnTo>
                  <a:pt x="3137517" y="2675542"/>
                </a:lnTo>
                <a:lnTo>
                  <a:pt x="3139699" y="2555484"/>
                </a:lnTo>
                <a:lnTo>
                  <a:pt x="3137517" y="2446341"/>
                </a:lnTo>
                <a:lnTo>
                  <a:pt x="3128798" y="2341562"/>
                </a:lnTo>
                <a:lnTo>
                  <a:pt x="3117890" y="2241153"/>
                </a:lnTo>
                <a:lnTo>
                  <a:pt x="3102633" y="2140737"/>
                </a:lnTo>
                <a:lnTo>
                  <a:pt x="3080830" y="2046881"/>
                </a:lnTo>
                <a:lnTo>
                  <a:pt x="3056846" y="1955199"/>
                </a:lnTo>
                <a:lnTo>
                  <a:pt x="3028499" y="1867880"/>
                </a:lnTo>
                <a:lnTo>
                  <a:pt x="2993614" y="1782751"/>
                </a:lnTo>
                <a:lnTo>
                  <a:pt x="2969630" y="1728179"/>
                </a:lnTo>
                <a:lnTo>
                  <a:pt x="2941283" y="1675789"/>
                </a:lnTo>
                <a:lnTo>
                  <a:pt x="2910761" y="1625589"/>
                </a:lnTo>
                <a:lnTo>
                  <a:pt x="2878058" y="1575381"/>
                </a:lnTo>
                <a:lnTo>
                  <a:pt x="2910761" y="1581926"/>
                </a:lnTo>
                <a:lnTo>
                  <a:pt x="2943465" y="1584115"/>
                </a:lnTo>
                <a:lnTo>
                  <a:pt x="2967449" y="1584115"/>
                </a:lnTo>
                <a:lnTo>
                  <a:pt x="2989251" y="1579744"/>
                </a:lnTo>
                <a:lnTo>
                  <a:pt x="3013235" y="1575381"/>
                </a:lnTo>
                <a:lnTo>
                  <a:pt x="3030681" y="1566647"/>
                </a:lnTo>
                <a:lnTo>
                  <a:pt x="3052483" y="1557920"/>
                </a:lnTo>
                <a:lnTo>
                  <a:pt x="3072104" y="1549186"/>
                </a:lnTo>
                <a:lnTo>
                  <a:pt x="3091731" y="1533907"/>
                </a:lnTo>
                <a:lnTo>
                  <a:pt x="3106989" y="1520809"/>
                </a:lnTo>
                <a:lnTo>
                  <a:pt x="3122253" y="1505530"/>
                </a:lnTo>
                <a:lnTo>
                  <a:pt x="3137517" y="1488070"/>
                </a:lnTo>
                <a:lnTo>
                  <a:pt x="3148419" y="1470601"/>
                </a:lnTo>
                <a:lnTo>
                  <a:pt x="3161501" y="1450959"/>
                </a:lnTo>
                <a:lnTo>
                  <a:pt x="3170221" y="1431309"/>
                </a:lnTo>
                <a:lnTo>
                  <a:pt x="3176759" y="1409485"/>
                </a:lnTo>
                <a:lnTo>
                  <a:pt x="3181122" y="1387654"/>
                </a:lnTo>
                <a:lnTo>
                  <a:pt x="3187667" y="1363640"/>
                </a:lnTo>
                <a:lnTo>
                  <a:pt x="3216007" y="1361459"/>
                </a:lnTo>
                <a:lnTo>
                  <a:pt x="3244354" y="1359277"/>
                </a:lnTo>
                <a:lnTo>
                  <a:pt x="3272694" y="1352732"/>
                </a:lnTo>
                <a:lnTo>
                  <a:pt x="3298860" y="1341816"/>
                </a:lnTo>
                <a:lnTo>
                  <a:pt x="3322843" y="1330900"/>
                </a:lnTo>
                <a:lnTo>
                  <a:pt x="3346827" y="1315621"/>
                </a:lnTo>
                <a:lnTo>
                  <a:pt x="3368630" y="1300342"/>
                </a:lnTo>
                <a:lnTo>
                  <a:pt x="3390439" y="1280692"/>
                </a:lnTo>
                <a:lnTo>
                  <a:pt x="3407878" y="1258868"/>
                </a:lnTo>
                <a:lnTo>
                  <a:pt x="3425324" y="1237037"/>
                </a:lnTo>
                <a:lnTo>
                  <a:pt x="3440581" y="1213024"/>
                </a:lnTo>
                <a:lnTo>
                  <a:pt x="3451482" y="1189018"/>
                </a:lnTo>
                <a:lnTo>
                  <a:pt x="3462391" y="1162823"/>
                </a:lnTo>
                <a:lnTo>
                  <a:pt x="3468928" y="1134446"/>
                </a:lnTo>
                <a:lnTo>
                  <a:pt x="3471110" y="1106063"/>
                </a:lnTo>
                <a:lnTo>
                  <a:pt x="3473292" y="1077686"/>
                </a:lnTo>
                <a:close/>
                <a:moveTo>
                  <a:pt x="1124702" y="1014417"/>
                </a:moveTo>
                <a:lnTo>
                  <a:pt x="1144220" y="1014417"/>
                </a:lnTo>
                <a:lnTo>
                  <a:pt x="1163745" y="1014417"/>
                </a:lnTo>
                <a:lnTo>
                  <a:pt x="1183263" y="1018751"/>
                </a:lnTo>
                <a:lnTo>
                  <a:pt x="1198440" y="1023093"/>
                </a:lnTo>
                <a:lnTo>
                  <a:pt x="1215791" y="1029601"/>
                </a:lnTo>
                <a:lnTo>
                  <a:pt x="1233142" y="1036102"/>
                </a:lnTo>
                <a:lnTo>
                  <a:pt x="1248326" y="1044778"/>
                </a:lnTo>
                <a:lnTo>
                  <a:pt x="1263510" y="1057795"/>
                </a:lnTo>
                <a:lnTo>
                  <a:pt x="1274352" y="1068637"/>
                </a:lnTo>
                <a:lnTo>
                  <a:pt x="1287362" y="1081647"/>
                </a:lnTo>
                <a:lnTo>
                  <a:pt x="1298204" y="1094664"/>
                </a:lnTo>
                <a:lnTo>
                  <a:pt x="1309054" y="1112015"/>
                </a:lnTo>
                <a:lnTo>
                  <a:pt x="1315555" y="1129365"/>
                </a:lnTo>
                <a:lnTo>
                  <a:pt x="1319897" y="1144542"/>
                </a:lnTo>
                <a:lnTo>
                  <a:pt x="1324231" y="1161893"/>
                </a:lnTo>
                <a:lnTo>
                  <a:pt x="1330739" y="1181411"/>
                </a:lnTo>
                <a:lnTo>
                  <a:pt x="1330739" y="1200936"/>
                </a:lnTo>
                <a:lnTo>
                  <a:pt x="1330739" y="1218287"/>
                </a:lnTo>
                <a:lnTo>
                  <a:pt x="1324231" y="1237805"/>
                </a:lnTo>
                <a:lnTo>
                  <a:pt x="1319897" y="1255156"/>
                </a:lnTo>
                <a:lnTo>
                  <a:pt x="1315555" y="1270333"/>
                </a:lnTo>
                <a:lnTo>
                  <a:pt x="1309054" y="1287684"/>
                </a:lnTo>
                <a:lnTo>
                  <a:pt x="1298204" y="1305035"/>
                </a:lnTo>
                <a:lnTo>
                  <a:pt x="1287362" y="1318052"/>
                </a:lnTo>
                <a:lnTo>
                  <a:pt x="1274352" y="1331062"/>
                </a:lnTo>
                <a:lnTo>
                  <a:pt x="1263510" y="1341904"/>
                </a:lnTo>
                <a:lnTo>
                  <a:pt x="1248326" y="1354921"/>
                </a:lnTo>
                <a:lnTo>
                  <a:pt x="1233142" y="1363596"/>
                </a:lnTo>
                <a:lnTo>
                  <a:pt x="1215791" y="1370098"/>
                </a:lnTo>
                <a:lnTo>
                  <a:pt x="1198440" y="1376606"/>
                </a:lnTo>
                <a:lnTo>
                  <a:pt x="1183263" y="1380940"/>
                </a:lnTo>
                <a:lnTo>
                  <a:pt x="1163745" y="1385281"/>
                </a:lnTo>
                <a:lnTo>
                  <a:pt x="1144220" y="1385281"/>
                </a:lnTo>
                <a:lnTo>
                  <a:pt x="1124702" y="1385281"/>
                </a:lnTo>
                <a:lnTo>
                  <a:pt x="1107351" y="1380940"/>
                </a:lnTo>
                <a:lnTo>
                  <a:pt x="1090000" y="1376606"/>
                </a:lnTo>
                <a:lnTo>
                  <a:pt x="1072649" y="1370098"/>
                </a:lnTo>
                <a:lnTo>
                  <a:pt x="1057473" y="1363596"/>
                </a:lnTo>
                <a:lnTo>
                  <a:pt x="1040122" y="1354921"/>
                </a:lnTo>
                <a:lnTo>
                  <a:pt x="1024938" y="1341904"/>
                </a:lnTo>
                <a:lnTo>
                  <a:pt x="1014095" y="1331062"/>
                </a:lnTo>
                <a:lnTo>
                  <a:pt x="1001085" y="1318052"/>
                </a:lnTo>
                <a:lnTo>
                  <a:pt x="990236" y="1305035"/>
                </a:lnTo>
                <a:lnTo>
                  <a:pt x="981560" y="1287684"/>
                </a:lnTo>
                <a:lnTo>
                  <a:pt x="972885" y="1270333"/>
                </a:lnTo>
                <a:lnTo>
                  <a:pt x="968551" y="1255156"/>
                </a:lnTo>
                <a:lnTo>
                  <a:pt x="964209" y="1237805"/>
                </a:lnTo>
                <a:lnTo>
                  <a:pt x="959875" y="1218287"/>
                </a:lnTo>
                <a:lnTo>
                  <a:pt x="959875" y="1200936"/>
                </a:lnTo>
                <a:lnTo>
                  <a:pt x="959875" y="1181411"/>
                </a:lnTo>
                <a:lnTo>
                  <a:pt x="964209" y="1161893"/>
                </a:lnTo>
                <a:lnTo>
                  <a:pt x="968551" y="1144542"/>
                </a:lnTo>
                <a:lnTo>
                  <a:pt x="972885" y="1129365"/>
                </a:lnTo>
                <a:lnTo>
                  <a:pt x="981560" y="1112015"/>
                </a:lnTo>
                <a:lnTo>
                  <a:pt x="990236" y="1094664"/>
                </a:lnTo>
                <a:lnTo>
                  <a:pt x="1001085" y="1081647"/>
                </a:lnTo>
                <a:lnTo>
                  <a:pt x="1014095" y="1068637"/>
                </a:lnTo>
                <a:lnTo>
                  <a:pt x="1024938" y="1057795"/>
                </a:lnTo>
                <a:lnTo>
                  <a:pt x="1040122" y="1044778"/>
                </a:lnTo>
                <a:lnTo>
                  <a:pt x="1057473" y="1036102"/>
                </a:lnTo>
                <a:lnTo>
                  <a:pt x="1072649" y="1029601"/>
                </a:lnTo>
                <a:lnTo>
                  <a:pt x="1090000" y="1023093"/>
                </a:lnTo>
                <a:lnTo>
                  <a:pt x="1107351" y="1018751"/>
                </a:lnTo>
                <a:close/>
                <a:moveTo>
                  <a:pt x="3119603" y="719912"/>
                </a:moveTo>
                <a:lnTo>
                  <a:pt x="3146010" y="722064"/>
                </a:lnTo>
                <a:lnTo>
                  <a:pt x="3170221" y="724217"/>
                </a:lnTo>
                <a:lnTo>
                  <a:pt x="3194424" y="730674"/>
                </a:lnTo>
                <a:lnTo>
                  <a:pt x="3216431" y="739283"/>
                </a:lnTo>
                <a:lnTo>
                  <a:pt x="3240642" y="750053"/>
                </a:lnTo>
                <a:lnTo>
                  <a:pt x="3258250" y="762967"/>
                </a:lnTo>
                <a:lnTo>
                  <a:pt x="3278053" y="775882"/>
                </a:lnTo>
                <a:lnTo>
                  <a:pt x="3297857" y="790956"/>
                </a:lnTo>
                <a:lnTo>
                  <a:pt x="3313260" y="810327"/>
                </a:lnTo>
                <a:lnTo>
                  <a:pt x="3326467" y="827554"/>
                </a:lnTo>
                <a:lnTo>
                  <a:pt x="3339675" y="846925"/>
                </a:lnTo>
                <a:lnTo>
                  <a:pt x="3350678" y="870609"/>
                </a:lnTo>
                <a:lnTo>
                  <a:pt x="3357275" y="892140"/>
                </a:lnTo>
                <a:lnTo>
                  <a:pt x="3366082" y="915817"/>
                </a:lnTo>
                <a:lnTo>
                  <a:pt x="3368278" y="939501"/>
                </a:lnTo>
                <a:lnTo>
                  <a:pt x="3370482" y="965329"/>
                </a:lnTo>
                <a:lnTo>
                  <a:pt x="3368278" y="991165"/>
                </a:lnTo>
                <a:lnTo>
                  <a:pt x="3366082" y="1014849"/>
                </a:lnTo>
                <a:lnTo>
                  <a:pt x="3357275" y="1038526"/>
                </a:lnTo>
                <a:lnTo>
                  <a:pt x="3350678" y="1060057"/>
                </a:lnTo>
                <a:lnTo>
                  <a:pt x="3339675" y="1083741"/>
                </a:lnTo>
                <a:lnTo>
                  <a:pt x="3326467" y="1103112"/>
                </a:lnTo>
                <a:lnTo>
                  <a:pt x="3313260" y="1120339"/>
                </a:lnTo>
                <a:lnTo>
                  <a:pt x="3297857" y="1139710"/>
                </a:lnTo>
                <a:lnTo>
                  <a:pt x="3278053" y="1154777"/>
                </a:lnTo>
                <a:lnTo>
                  <a:pt x="3258250" y="1167699"/>
                </a:lnTo>
                <a:lnTo>
                  <a:pt x="3240642" y="1180613"/>
                </a:lnTo>
                <a:lnTo>
                  <a:pt x="3216431" y="1191375"/>
                </a:lnTo>
                <a:lnTo>
                  <a:pt x="3194424" y="1199992"/>
                </a:lnTo>
                <a:lnTo>
                  <a:pt x="3170221" y="1206449"/>
                </a:lnTo>
                <a:lnTo>
                  <a:pt x="3146010" y="1208602"/>
                </a:lnTo>
                <a:lnTo>
                  <a:pt x="3119603" y="1210754"/>
                </a:lnTo>
                <a:lnTo>
                  <a:pt x="3093196" y="1208602"/>
                </a:lnTo>
                <a:lnTo>
                  <a:pt x="3068985" y="1206449"/>
                </a:lnTo>
                <a:lnTo>
                  <a:pt x="3044781" y="1199992"/>
                </a:lnTo>
                <a:lnTo>
                  <a:pt x="3022774" y="1191375"/>
                </a:lnTo>
                <a:lnTo>
                  <a:pt x="3021874" y="1190980"/>
                </a:lnTo>
                <a:lnTo>
                  <a:pt x="3032533" y="1205907"/>
                </a:lnTo>
                <a:lnTo>
                  <a:pt x="3043383" y="1221091"/>
                </a:lnTo>
                <a:lnTo>
                  <a:pt x="3049884" y="1238442"/>
                </a:lnTo>
                <a:lnTo>
                  <a:pt x="3054225" y="1255793"/>
                </a:lnTo>
                <a:lnTo>
                  <a:pt x="3058560" y="1270970"/>
                </a:lnTo>
                <a:lnTo>
                  <a:pt x="3065068" y="1290488"/>
                </a:lnTo>
                <a:lnTo>
                  <a:pt x="3065068" y="1310013"/>
                </a:lnTo>
                <a:lnTo>
                  <a:pt x="3065068" y="1329531"/>
                </a:lnTo>
                <a:lnTo>
                  <a:pt x="3058560" y="1346882"/>
                </a:lnTo>
                <a:lnTo>
                  <a:pt x="3054225" y="1364233"/>
                </a:lnTo>
                <a:lnTo>
                  <a:pt x="3049884" y="1381577"/>
                </a:lnTo>
                <a:lnTo>
                  <a:pt x="3043383" y="1396761"/>
                </a:lnTo>
                <a:lnTo>
                  <a:pt x="3032533" y="1414112"/>
                </a:lnTo>
                <a:lnTo>
                  <a:pt x="3021691" y="1429296"/>
                </a:lnTo>
                <a:lnTo>
                  <a:pt x="3008681" y="1440138"/>
                </a:lnTo>
                <a:lnTo>
                  <a:pt x="2997838" y="1453148"/>
                </a:lnTo>
                <a:lnTo>
                  <a:pt x="2982655" y="1463998"/>
                </a:lnTo>
                <a:lnTo>
                  <a:pt x="2967471" y="1472673"/>
                </a:lnTo>
                <a:lnTo>
                  <a:pt x="2950120" y="1481349"/>
                </a:lnTo>
                <a:lnTo>
                  <a:pt x="2932769" y="1485683"/>
                </a:lnTo>
                <a:lnTo>
                  <a:pt x="2917592" y="1490017"/>
                </a:lnTo>
                <a:lnTo>
                  <a:pt x="2898067" y="1494358"/>
                </a:lnTo>
                <a:lnTo>
                  <a:pt x="2878549" y="1494358"/>
                </a:lnTo>
                <a:lnTo>
                  <a:pt x="2859031" y="1494358"/>
                </a:lnTo>
                <a:lnTo>
                  <a:pt x="2841680" y="1490017"/>
                </a:lnTo>
                <a:lnTo>
                  <a:pt x="2824329" y="1485683"/>
                </a:lnTo>
                <a:lnTo>
                  <a:pt x="2806978" y="1481349"/>
                </a:lnTo>
                <a:lnTo>
                  <a:pt x="2791801" y="1472673"/>
                </a:lnTo>
                <a:lnTo>
                  <a:pt x="2774450" y="1463998"/>
                </a:lnTo>
                <a:lnTo>
                  <a:pt x="2759266" y="1453148"/>
                </a:lnTo>
                <a:lnTo>
                  <a:pt x="2748424" y="1440138"/>
                </a:lnTo>
                <a:lnTo>
                  <a:pt x="2735414" y="1429296"/>
                </a:lnTo>
                <a:lnTo>
                  <a:pt x="2724564" y="1414112"/>
                </a:lnTo>
                <a:lnTo>
                  <a:pt x="2715889" y="1396761"/>
                </a:lnTo>
                <a:lnTo>
                  <a:pt x="2707213" y="1381577"/>
                </a:lnTo>
                <a:lnTo>
                  <a:pt x="2702879" y="1364233"/>
                </a:lnTo>
                <a:lnTo>
                  <a:pt x="2698538" y="1346882"/>
                </a:lnTo>
                <a:lnTo>
                  <a:pt x="2694204" y="1329531"/>
                </a:lnTo>
                <a:lnTo>
                  <a:pt x="2694204" y="1310013"/>
                </a:lnTo>
                <a:lnTo>
                  <a:pt x="2694204" y="1290488"/>
                </a:lnTo>
                <a:lnTo>
                  <a:pt x="2698538" y="1270970"/>
                </a:lnTo>
                <a:lnTo>
                  <a:pt x="2702879" y="1255793"/>
                </a:lnTo>
                <a:lnTo>
                  <a:pt x="2707213" y="1238442"/>
                </a:lnTo>
                <a:lnTo>
                  <a:pt x="2715889" y="1221091"/>
                </a:lnTo>
                <a:lnTo>
                  <a:pt x="2724564" y="1205907"/>
                </a:lnTo>
                <a:lnTo>
                  <a:pt x="2735414" y="1190724"/>
                </a:lnTo>
                <a:lnTo>
                  <a:pt x="2748424" y="1177714"/>
                </a:lnTo>
                <a:lnTo>
                  <a:pt x="2759266" y="1166871"/>
                </a:lnTo>
                <a:lnTo>
                  <a:pt x="2774450" y="1153855"/>
                </a:lnTo>
                <a:lnTo>
                  <a:pt x="2791801" y="1145179"/>
                </a:lnTo>
                <a:lnTo>
                  <a:pt x="2806978" y="1138678"/>
                </a:lnTo>
                <a:lnTo>
                  <a:pt x="2824329" y="1134337"/>
                </a:lnTo>
                <a:lnTo>
                  <a:pt x="2841680" y="1127828"/>
                </a:lnTo>
                <a:lnTo>
                  <a:pt x="2859031" y="1123494"/>
                </a:lnTo>
                <a:lnTo>
                  <a:pt x="2878549" y="1123494"/>
                </a:lnTo>
                <a:lnTo>
                  <a:pt x="2898067" y="1123494"/>
                </a:lnTo>
                <a:lnTo>
                  <a:pt x="2917592" y="1127828"/>
                </a:lnTo>
                <a:lnTo>
                  <a:pt x="2932769" y="1134337"/>
                </a:lnTo>
                <a:lnTo>
                  <a:pt x="2938142" y="1135684"/>
                </a:lnTo>
                <a:lnTo>
                  <a:pt x="2925938" y="1120339"/>
                </a:lnTo>
                <a:lnTo>
                  <a:pt x="2912738" y="1103112"/>
                </a:lnTo>
                <a:lnTo>
                  <a:pt x="2899531" y="1083741"/>
                </a:lnTo>
                <a:lnTo>
                  <a:pt x="2888527" y="1060057"/>
                </a:lnTo>
                <a:lnTo>
                  <a:pt x="2879727" y="1038526"/>
                </a:lnTo>
                <a:lnTo>
                  <a:pt x="2873124" y="1014849"/>
                </a:lnTo>
                <a:lnTo>
                  <a:pt x="2870927" y="991165"/>
                </a:lnTo>
                <a:lnTo>
                  <a:pt x="2868724" y="965329"/>
                </a:lnTo>
                <a:lnTo>
                  <a:pt x="2870927" y="939501"/>
                </a:lnTo>
                <a:lnTo>
                  <a:pt x="2873124" y="915817"/>
                </a:lnTo>
                <a:lnTo>
                  <a:pt x="2879727" y="892140"/>
                </a:lnTo>
                <a:lnTo>
                  <a:pt x="2888527" y="870609"/>
                </a:lnTo>
                <a:lnTo>
                  <a:pt x="2899531" y="846925"/>
                </a:lnTo>
                <a:lnTo>
                  <a:pt x="2912738" y="827554"/>
                </a:lnTo>
                <a:lnTo>
                  <a:pt x="2925938" y="810327"/>
                </a:lnTo>
                <a:lnTo>
                  <a:pt x="2941349" y="790956"/>
                </a:lnTo>
                <a:lnTo>
                  <a:pt x="2961153" y="775882"/>
                </a:lnTo>
                <a:lnTo>
                  <a:pt x="2978760" y="762967"/>
                </a:lnTo>
                <a:lnTo>
                  <a:pt x="2998563" y="750053"/>
                </a:lnTo>
                <a:lnTo>
                  <a:pt x="3022774" y="739283"/>
                </a:lnTo>
                <a:lnTo>
                  <a:pt x="3044781" y="730674"/>
                </a:lnTo>
                <a:lnTo>
                  <a:pt x="3068985" y="724217"/>
                </a:lnTo>
                <a:lnTo>
                  <a:pt x="3093196" y="722064"/>
                </a:lnTo>
                <a:close/>
                <a:moveTo>
                  <a:pt x="1639528" y="719912"/>
                </a:moveTo>
                <a:lnTo>
                  <a:pt x="1656879" y="719912"/>
                </a:lnTo>
                <a:lnTo>
                  <a:pt x="1676404" y="719912"/>
                </a:lnTo>
                <a:lnTo>
                  <a:pt x="1695922" y="724246"/>
                </a:lnTo>
                <a:lnTo>
                  <a:pt x="1713273" y="728587"/>
                </a:lnTo>
                <a:lnTo>
                  <a:pt x="1728450" y="735096"/>
                </a:lnTo>
                <a:lnTo>
                  <a:pt x="1745801" y="741597"/>
                </a:lnTo>
                <a:lnTo>
                  <a:pt x="1763152" y="750272"/>
                </a:lnTo>
                <a:lnTo>
                  <a:pt x="1776169" y="763289"/>
                </a:lnTo>
                <a:lnTo>
                  <a:pt x="1789178" y="774132"/>
                </a:lnTo>
                <a:lnTo>
                  <a:pt x="1800021" y="787141"/>
                </a:lnTo>
                <a:lnTo>
                  <a:pt x="1813038" y="800158"/>
                </a:lnTo>
                <a:lnTo>
                  <a:pt x="1821713" y="817509"/>
                </a:lnTo>
                <a:lnTo>
                  <a:pt x="1828215" y="834860"/>
                </a:lnTo>
                <a:lnTo>
                  <a:pt x="1832556" y="850037"/>
                </a:lnTo>
                <a:lnTo>
                  <a:pt x="1839057" y="867388"/>
                </a:lnTo>
                <a:lnTo>
                  <a:pt x="1843398" y="886906"/>
                </a:lnTo>
                <a:lnTo>
                  <a:pt x="1843398" y="906431"/>
                </a:lnTo>
                <a:lnTo>
                  <a:pt x="1843398" y="923782"/>
                </a:lnTo>
                <a:lnTo>
                  <a:pt x="1839057" y="943300"/>
                </a:lnTo>
                <a:lnTo>
                  <a:pt x="1832556" y="960651"/>
                </a:lnTo>
                <a:lnTo>
                  <a:pt x="1828215" y="975828"/>
                </a:lnTo>
                <a:lnTo>
                  <a:pt x="1821713" y="993179"/>
                </a:lnTo>
                <a:lnTo>
                  <a:pt x="1813038" y="1010530"/>
                </a:lnTo>
                <a:lnTo>
                  <a:pt x="1800021" y="1023547"/>
                </a:lnTo>
                <a:lnTo>
                  <a:pt x="1789178" y="1036556"/>
                </a:lnTo>
                <a:lnTo>
                  <a:pt x="1776169" y="1047399"/>
                </a:lnTo>
                <a:lnTo>
                  <a:pt x="1763152" y="1060415"/>
                </a:lnTo>
                <a:lnTo>
                  <a:pt x="1745801" y="1069091"/>
                </a:lnTo>
                <a:lnTo>
                  <a:pt x="1728450" y="1075592"/>
                </a:lnTo>
                <a:lnTo>
                  <a:pt x="1713273" y="1082101"/>
                </a:lnTo>
                <a:lnTo>
                  <a:pt x="1695922" y="1086435"/>
                </a:lnTo>
                <a:lnTo>
                  <a:pt x="1676404" y="1090776"/>
                </a:lnTo>
                <a:lnTo>
                  <a:pt x="1656879" y="1090776"/>
                </a:lnTo>
                <a:lnTo>
                  <a:pt x="1639528" y="1090776"/>
                </a:lnTo>
                <a:lnTo>
                  <a:pt x="1620010" y="1086435"/>
                </a:lnTo>
                <a:lnTo>
                  <a:pt x="1602659" y="1082101"/>
                </a:lnTo>
                <a:lnTo>
                  <a:pt x="1587483" y="1075592"/>
                </a:lnTo>
                <a:lnTo>
                  <a:pt x="1570132" y="1069091"/>
                </a:lnTo>
                <a:lnTo>
                  <a:pt x="1552781" y="1060415"/>
                </a:lnTo>
                <a:lnTo>
                  <a:pt x="1539764" y="1047399"/>
                </a:lnTo>
                <a:lnTo>
                  <a:pt x="1526754" y="1036556"/>
                </a:lnTo>
                <a:lnTo>
                  <a:pt x="1515912" y="1023547"/>
                </a:lnTo>
                <a:lnTo>
                  <a:pt x="1502895" y="1010530"/>
                </a:lnTo>
                <a:lnTo>
                  <a:pt x="1494219" y="993179"/>
                </a:lnTo>
                <a:lnTo>
                  <a:pt x="1487718" y="975828"/>
                </a:lnTo>
                <a:lnTo>
                  <a:pt x="1481210" y="960651"/>
                </a:lnTo>
                <a:lnTo>
                  <a:pt x="1476868" y="943300"/>
                </a:lnTo>
                <a:lnTo>
                  <a:pt x="1472534" y="923782"/>
                </a:lnTo>
                <a:lnTo>
                  <a:pt x="1472534" y="906431"/>
                </a:lnTo>
                <a:lnTo>
                  <a:pt x="1472534" y="886906"/>
                </a:lnTo>
                <a:lnTo>
                  <a:pt x="1476868" y="867388"/>
                </a:lnTo>
                <a:lnTo>
                  <a:pt x="1481210" y="850037"/>
                </a:lnTo>
                <a:lnTo>
                  <a:pt x="1487718" y="834860"/>
                </a:lnTo>
                <a:lnTo>
                  <a:pt x="1494219" y="817509"/>
                </a:lnTo>
                <a:lnTo>
                  <a:pt x="1502895" y="800158"/>
                </a:lnTo>
                <a:lnTo>
                  <a:pt x="1515912" y="787141"/>
                </a:lnTo>
                <a:lnTo>
                  <a:pt x="1526754" y="774132"/>
                </a:lnTo>
                <a:lnTo>
                  <a:pt x="1539764" y="763289"/>
                </a:lnTo>
                <a:lnTo>
                  <a:pt x="1552781" y="750272"/>
                </a:lnTo>
                <a:lnTo>
                  <a:pt x="1570132" y="741597"/>
                </a:lnTo>
                <a:lnTo>
                  <a:pt x="1587483" y="735096"/>
                </a:lnTo>
                <a:lnTo>
                  <a:pt x="1602659" y="728587"/>
                </a:lnTo>
                <a:lnTo>
                  <a:pt x="1620010" y="724246"/>
                </a:lnTo>
                <a:close/>
                <a:moveTo>
                  <a:pt x="2305901" y="698095"/>
                </a:moveTo>
                <a:lnTo>
                  <a:pt x="2334043" y="700291"/>
                </a:lnTo>
                <a:lnTo>
                  <a:pt x="2366527" y="702488"/>
                </a:lnTo>
                <a:lnTo>
                  <a:pt x="2392509" y="711280"/>
                </a:lnTo>
                <a:lnTo>
                  <a:pt x="2418492" y="722269"/>
                </a:lnTo>
                <a:lnTo>
                  <a:pt x="2444474" y="735455"/>
                </a:lnTo>
                <a:lnTo>
                  <a:pt x="2468290" y="748647"/>
                </a:lnTo>
                <a:lnTo>
                  <a:pt x="2492105" y="766225"/>
                </a:lnTo>
                <a:lnTo>
                  <a:pt x="2511594" y="786007"/>
                </a:lnTo>
                <a:lnTo>
                  <a:pt x="2528916" y="803592"/>
                </a:lnTo>
                <a:lnTo>
                  <a:pt x="2546237" y="827766"/>
                </a:lnTo>
                <a:lnTo>
                  <a:pt x="2561392" y="851940"/>
                </a:lnTo>
                <a:lnTo>
                  <a:pt x="2572220" y="878318"/>
                </a:lnTo>
                <a:lnTo>
                  <a:pt x="2583040" y="906885"/>
                </a:lnTo>
                <a:lnTo>
                  <a:pt x="2591701" y="933263"/>
                </a:lnTo>
                <a:lnTo>
                  <a:pt x="2593868" y="964033"/>
                </a:lnTo>
                <a:lnTo>
                  <a:pt x="2596035" y="992600"/>
                </a:lnTo>
                <a:lnTo>
                  <a:pt x="2593868" y="1021175"/>
                </a:lnTo>
                <a:lnTo>
                  <a:pt x="2591701" y="1051945"/>
                </a:lnTo>
                <a:lnTo>
                  <a:pt x="2583040" y="1078316"/>
                </a:lnTo>
                <a:lnTo>
                  <a:pt x="2572220" y="1106890"/>
                </a:lnTo>
                <a:lnTo>
                  <a:pt x="2561392" y="1133268"/>
                </a:lnTo>
                <a:lnTo>
                  <a:pt x="2546237" y="1157442"/>
                </a:lnTo>
                <a:lnTo>
                  <a:pt x="2528916" y="1181616"/>
                </a:lnTo>
                <a:lnTo>
                  <a:pt x="2511594" y="1199201"/>
                </a:lnTo>
                <a:lnTo>
                  <a:pt x="2492105" y="1218983"/>
                </a:lnTo>
                <a:lnTo>
                  <a:pt x="2468290" y="1236561"/>
                </a:lnTo>
                <a:lnTo>
                  <a:pt x="2444474" y="1249746"/>
                </a:lnTo>
                <a:lnTo>
                  <a:pt x="2418492" y="1262939"/>
                </a:lnTo>
                <a:lnTo>
                  <a:pt x="2392509" y="1273928"/>
                </a:lnTo>
                <a:lnTo>
                  <a:pt x="2366527" y="1282720"/>
                </a:lnTo>
                <a:lnTo>
                  <a:pt x="2334043" y="1284917"/>
                </a:lnTo>
                <a:lnTo>
                  <a:pt x="2305901" y="1287113"/>
                </a:lnTo>
                <a:lnTo>
                  <a:pt x="2277751" y="1284917"/>
                </a:lnTo>
                <a:lnTo>
                  <a:pt x="2247434" y="1282720"/>
                </a:lnTo>
                <a:lnTo>
                  <a:pt x="2221452" y="1273928"/>
                </a:lnTo>
                <a:lnTo>
                  <a:pt x="2195469" y="1262939"/>
                </a:lnTo>
                <a:lnTo>
                  <a:pt x="2169487" y="1249746"/>
                </a:lnTo>
                <a:lnTo>
                  <a:pt x="2145671" y="1236561"/>
                </a:lnTo>
                <a:lnTo>
                  <a:pt x="2121856" y="1218983"/>
                </a:lnTo>
                <a:lnTo>
                  <a:pt x="2102367" y="1199201"/>
                </a:lnTo>
                <a:lnTo>
                  <a:pt x="2082878" y="1181616"/>
                </a:lnTo>
                <a:lnTo>
                  <a:pt x="2067724" y="1157442"/>
                </a:lnTo>
                <a:lnTo>
                  <a:pt x="2052569" y="1133268"/>
                </a:lnTo>
                <a:lnTo>
                  <a:pt x="2041741" y="1106890"/>
                </a:lnTo>
                <a:lnTo>
                  <a:pt x="2028754" y="1078316"/>
                </a:lnTo>
                <a:lnTo>
                  <a:pt x="2022253" y="1051945"/>
                </a:lnTo>
                <a:lnTo>
                  <a:pt x="2020093" y="1021175"/>
                </a:lnTo>
                <a:lnTo>
                  <a:pt x="2017926" y="992600"/>
                </a:lnTo>
                <a:lnTo>
                  <a:pt x="2020093" y="964033"/>
                </a:lnTo>
                <a:lnTo>
                  <a:pt x="2022253" y="933263"/>
                </a:lnTo>
                <a:lnTo>
                  <a:pt x="2028754" y="906885"/>
                </a:lnTo>
                <a:lnTo>
                  <a:pt x="2041741" y="878318"/>
                </a:lnTo>
                <a:lnTo>
                  <a:pt x="2052569" y="851940"/>
                </a:lnTo>
                <a:lnTo>
                  <a:pt x="2067724" y="827766"/>
                </a:lnTo>
                <a:lnTo>
                  <a:pt x="2082878" y="803592"/>
                </a:lnTo>
                <a:lnTo>
                  <a:pt x="2102367" y="786007"/>
                </a:lnTo>
                <a:lnTo>
                  <a:pt x="2121856" y="766225"/>
                </a:lnTo>
                <a:lnTo>
                  <a:pt x="2145671" y="748647"/>
                </a:lnTo>
                <a:lnTo>
                  <a:pt x="2169487" y="735455"/>
                </a:lnTo>
                <a:lnTo>
                  <a:pt x="2195469" y="722269"/>
                </a:lnTo>
                <a:lnTo>
                  <a:pt x="2221452" y="711280"/>
                </a:lnTo>
                <a:lnTo>
                  <a:pt x="2247434" y="702488"/>
                </a:lnTo>
                <a:lnTo>
                  <a:pt x="2277751" y="700291"/>
                </a:lnTo>
                <a:close/>
                <a:moveTo>
                  <a:pt x="1173900" y="665370"/>
                </a:moveTo>
                <a:lnTo>
                  <a:pt x="1188937" y="665370"/>
                </a:lnTo>
                <a:lnTo>
                  <a:pt x="1201830" y="665370"/>
                </a:lnTo>
                <a:lnTo>
                  <a:pt x="1216867" y="667537"/>
                </a:lnTo>
                <a:lnTo>
                  <a:pt x="1242652" y="676190"/>
                </a:lnTo>
                <a:lnTo>
                  <a:pt x="1268437" y="689185"/>
                </a:lnTo>
                <a:lnTo>
                  <a:pt x="1287772" y="706500"/>
                </a:lnTo>
                <a:lnTo>
                  <a:pt x="1307107" y="725988"/>
                </a:lnTo>
                <a:lnTo>
                  <a:pt x="1317847" y="751964"/>
                </a:lnTo>
                <a:lnTo>
                  <a:pt x="1328594" y="777939"/>
                </a:lnTo>
                <a:lnTo>
                  <a:pt x="1330739" y="793093"/>
                </a:lnTo>
                <a:lnTo>
                  <a:pt x="1330739" y="806088"/>
                </a:lnTo>
                <a:lnTo>
                  <a:pt x="1330739" y="821243"/>
                </a:lnTo>
                <a:lnTo>
                  <a:pt x="1328594" y="836390"/>
                </a:lnTo>
                <a:lnTo>
                  <a:pt x="1317847" y="862373"/>
                </a:lnTo>
                <a:lnTo>
                  <a:pt x="1307107" y="888348"/>
                </a:lnTo>
                <a:lnTo>
                  <a:pt x="1287772" y="907837"/>
                </a:lnTo>
                <a:lnTo>
                  <a:pt x="1268437" y="925151"/>
                </a:lnTo>
                <a:lnTo>
                  <a:pt x="1242652" y="938139"/>
                </a:lnTo>
                <a:lnTo>
                  <a:pt x="1216867" y="946800"/>
                </a:lnTo>
                <a:lnTo>
                  <a:pt x="1201830" y="948967"/>
                </a:lnTo>
                <a:lnTo>
                  <a:pt x="1188937" y="948967"/>
                </a:lnTo>
                <a:lnTo>
                  <a:pt x="1173900" y="948967"/>
                </a:lnTo>
                <a:lnTo>
                  <a:pt x="1161007" y="946800"/>
                </a:lnTo>
                <a:lnTo>
                  <a:pt x="1135230" y="938139"/>
                </a:lnTo>
                <a:lnTo>
                  <a:pt x="1109445" y="925151"/>
                </a:lnTo>
                <a:lnTo>
                  <a:pt x="1090110" y="907837"/>
                </a:lnTo>
                <a:lnTo>
                  <a:pt x="1070775" y="888348"/>
                </a:lnTo>
                <a:lnTo>
                  <a:pt x="1060035" y="862373"/>
                </a:lnTo>
                <a:lnTo>
                  <a:pt x="1049288" y="836390"/>
                </a:lnTo>
                <a:lnTo>
                  <a:pt x="1047142" y="821243"/>
                </a:lnTo>
                <a:lnTo>
                  <a:pt x="1047142" y="806088"/>
                </a:lnTo>
                <a:lnTo>
                  <a:pt x="1047142" y="793093"/>
                </a:lnTo>
                <a:lnTo>
                  <a:pt x="1049288" y="777939"/>
                </a:lnTo>
                <a:lnTo>
                  <a:pt x="1060035" y="751964"/>
                </a:lnTo>
                <a:lnTo>
                  <a:pt x="1070775" y="725988"/>
                </a:lnTo>
                <a:lnTo>
                  <a:pt x="1090110" y="706500"/>
                </a:lnTo>
                <a:lnTo>
                  <a:pt x="1109445" y="689185"/>
                </a:lnTo>
                <a:lnTo>
                  <a:pt x="1135230" y="676190"/>
                </a:lnTo>
                <a:lnTo>
                  <a:pt x="1161007" y="667537"/>
                </a:lnTo>
                <a:close/>
                <a:moveTo>
                  <a:pt x="692641" y="665370"/>
                </a:moveTo>
                <a:lnTo>
                  <a:pt x="716749" y="667551"/>
                </a:lnTo>
                <a:lnTo>
                  <a:pt x="740857" y="669733"/>
                </a:lnTo>
                <a:lnTo>
                  <a:pt x="762777" y="674096"/>
                </a:lnTo>
                <a:lnTo>
                  <a:pt x="784696" y="685005"/>
                </a:lnTo>
                <a:lnTo>
                  <a:pt x="804419" y="693732"/>
                </a:lnTo>
                <a:lnTo>
                  <a:pt x="824142" y="706822"/>
                </a:lnTo>
                <a:lnTo>
                  <a:pt x="841676" y="717723"/>
                </a:lnTo>
                <a:lnTo>
                  <a:pt x="857021" y="735176"/>
                </a:lnTo>
                <a:lnTo>
                  <a:pt x="874555" y="752630"/>
                </a:lnTo>
                <a:lnTo>
                  <a:pt x="887704" y="767902"/>
                </a:lnTo>
                <a:lnTo>
                  <a:pt x="898663" y="787537"/>
                </a:lnTo>
                <a:lnTo>
                  <a:pt x="907434" y="809346"/>
                </a:lnTo>
                <a:lnTo>
                  <a:pt x="918386" y="831163"/>
                </a:lnTo>
                <a:lnTo>
                  <a:pt x="922772" y="852980"/>
                </a:lnTo>
                <a:lnTo>
                  <a:pt x="924968" y="876978"/>
                </a:lnTo>
                <a:lnTo>
                  <a:pt x="927157" y="900970"/>
                </a:lnTo>
                <a:lnTo>
                  <a:pt x="924968" y="922786"/>
                </a:lnTo>
                <a:lnTo>
                  <a:pt x="922772" y="946785"/>
                </a:lnTo>
                <a:lnTo>
                  <a:pt x="918386" y="968602"/>
                </a:lnTo>
                <a:lnTo>
                  <a:pt x="907434" y="990419"/>
                </a:lnTo>
                <a:lnTo>
                  <a:pt x="898663" y="1012228"/>
                </a:lnTo>
                <a:lnTo>
                  <a:pt x="887704" y="1031863"/>
                </a:lnTo>
                <a:lnTo>
                  <a:pt x="874555" y="1049317"/>
                </a:lnTo>
                <a:lnTo>
                  <a:pt x="857021" y="1064589"/>
                </a:lnTo>
                <a:lnTo>
                  <a:pt x="841676" y="1082042"/>
                </a:lnTo>
                <a:lnTo>
                  <a:pt x="824142" y="1092943"/>
                </a:lnTo>
                <a:lnTo>
                  <a:pt x="804419" y="1106033"/>
                </a:lnTo>
                <a:lnTo>
                  <a:pt x="784696" y="1114760"/>
                </a:lnTo>
                <a:lnTo>
                  <a:pt x="762777" y="1125668"/>
                </a:lnTo>
                <a:lnTo>
                  <a:pt x="740857" y="1130032"/>
                </a:lnTo>
                <a:lnTo>
                  <a:pt x="716749" y="1132213"/>
                </a:lnTo>
                <a:lnTo>
                  <a:pt x="692641" y="1134395"/>
                </a:lnTo>
                <a:lnTo>
                  <a:pt x="668532" y="1132213"/>
                </a:lnTo>
                <a:lnTo>
                  <a:pt x="644424" y="1130032"/>
                </a:lnTo>
                <a:lnTo>
                  <a:pt x="622505" y="1125668"/>
                </a:lnTo>
                <a:lnTo>
                  <a:pt x="600585" y="1114760"/>
                </a:lnTo>
                <a:lnTo>
                  <a:pt x="578673" y="1106033"/>
                </a:lnTo>
                <a:lnTo>
                  <a:pt x="561139" y="1092943"/>
                </a:lnTo>
                <a:lnTo>
                  <a:pt x="543605" y="1082042"/>
                </a:lnTo>
                <a:lnTo>
                  <a:pt x="526071" y="1064589"/>
                </a:lnTo>
                <a:lnTo>
                  <a:pt x="510726" y="1049317"/>
                </a:lnTo>
                <a:lnTo>
                  <a:pt x="497578" y="1031863"/>
                </a:lnTo>
                <a:lnTo>
                  <a:pt x="486618" y="1012228"/>
                </a:lnTo>
                <a:lnTo>
                  <a:pt x="475658" y="990419"/>
                </a:lnTo>
                <a:lnTo>
                  <a:pt x="466888" y="968602"/>
                </a:lnTo>
                <a:lnTo>
                  <a:pt x="462510" y="946785"/>
                </a:lnTo>
                <a:lnTo>
                  <a:pt x="460313" y="922786"/>
                </a:lnTo>
                <a:lnTo>
                  <a:pt x="458124" y="900970"/>
                </a:lnTo>
                <a:lnTo>
                  <a:pt x="460313" y="876978"/>
                </a:lnTo>
                <a:lnTo>
                  <a:pt x="462510" y="852980"/>
                </a:lnTo>
                <a:lnTo>
                  <a:pt x="466888" y="831163"/>
                </a:lnTo>
                <a:lnTo>
                  <a:pt x="475658" y="809346"/>
                </a:lnTo>
                <a:lnTo>
                  <a:pt x="486618" y="787537"/>
                </a:lnTo>
                <a:lnTo>
                  <a:pt x="497578" y="767902"/>
                </a:lnTo>
                <a:lnTo>
                  <a:pt x="510726" y="752630"/>
                </a:lnTo>
                <a:lnTo>
                  <a:pt x="526071" y="735176"/>
                </a:lnTo>
                <a:lnTo>
                  <a:pt x="543605" y="717723"/>
                </a:lnTo>
                <a:lnTo>
                  <a:pt x="561139" y="706822"/>
                </a:lnTo>
                <a:lnTo>
                  <a:pt x="578673" y="693732"/>
                </a:lnTo>
                <a:lnTo>
                  <a:pt x="600585" y="685005"/>
                </a:lnTo>
                <a:lnTo>
                  <a:pt x="622505" y="674096"/>
                </a:lnTo>
                <a:lnTo>
                  <a:pt x="644424" y="669733"/>
                </a:lnTo>
                <a:lnTo>
                  <a:pt x="668532" y="667551"/>
                </a:lnTo>
                <a:close/>
                <a:moveTo>
                  <a:pt x="2705859" y="469025"/>
                </a:moveTo>
                <a:lnTo>
                  <a:pt x="2721475" y="469025"/>
                </a:lnTo>
                <a:lnTo>
                  <a:pt x="2734865" y="469025"/>
                </a:lnTo>
                <a:lnTo>
                  <a:pt x="2750481" y="471171"/>
                </a:lnTo>
                <a:lnTo>
                  <a:pt x="2777254" y="479765"/>
                </a:lnTo>
                <a:lnTo>
                  <a:pt x="2804027" y="492658"/>
                </a:lnTo>
                <a:lnTo>
                  <a:pt x="2824109" y="511993"/>
                </a:lnTo>
                <a:lnTo>
                  <a:pt x="2844191" y="529183"/>
                </a:lnTo>
                <a:lnTo>
                  <a:pt x="2855341" y="557113"/>
                </a:lnTo>
                <a:lnTo>
                  <a:pt x="2866498" y="582890"/>
                </a:lnTo>
                <a:lnTo>
                  <a:pt x="2868731" y="595783"/>
                </a:lnTo>
                <a:lnTo>
                  <a:pt x="2868731" y="610820"/>
                </a:lnTo>
                <a:lnTo>
                  <a:pt x="2868731" y="623713"/>
                </a:lnTo>
                <a:lnTo>
                  <a:pt x="2866498" y="638750"/>
                </a:lnTo>
                <a:lnTo>
                  <a:pt x="2855341" y="664535"/>
                </a:lnTo>
                <a:lnTo>
                  <a:pt x="2844191" y="690320"/>
                </a:lnTo>
                <a:lnTo>
                  <a:pt x="2824109" y="709655"/>
                </a:lnTo>
                <a:lnTo>
                  <a:pt x="2804027" y="728990"/>
                </a:lnTo>
                <a:lnTo>
                  <a:pt x="2777254" y="739730"/>
                </a:lnTo>
                <a:lnTo>
                  <a:pt x="2750481" y="748325"/>
                </a:lnTo>
                <a:lnTo>
                  <a:pt x="2734865" y="752622"/>
                </a:lnTo>
                <a:lnTo>
                  <a:pt x="2721475" y="752622"/>
                </a:lnTo>
                <a:lnTo>
                  <a:pt x="2705859" y="752622"/>
                </a:lnTo>
                <a:lnTo>
                  <a:pt x="2692469" y="748325"/>
                </a:lnTo>
                <a:lnTo>
                  <a:pt x="2665695" y="739730"/>
                </a:lnTo>
                <a:lnTo>
                  <a:pt x="2638922" y="728990"/>
                </a:lnTo>
                <a:lnTo>
                  <a:pt x="2618840" y="709655"/>
                </a:lnTo>
                <a:lnTo>
                  <a:pt x="2598759" y="690320"/>
                </a:lnTo>
                <a:lnTo>
                  <a:pt x="2587609" y="664535"/>
                </a:lnTo>
                <a:lnTo>
                  <a:pt x="2576451" y="638750"/>
                </a:lnTo>
                <a:lnTo>
                  <a:pt x="2574218" y="623713"/>
                </a:lnTo>
                <a:lnTo>
                  <a:pt x="2574218" y="610820"/>
                </a:lnTo>
                <a:lnTo>
                  <a:pt x="2574218" y="595783"/>
                </a:lnTo>
                <a:lnTo>
                  <a:pt x="2576451" y="582890"/>
                </a:lnTo>
                <a:lnTo>
                  <a:pt x="2587609" y="557113"/>
                </a:lnTo>
                <a:lnTo>
                  <a:pt x="2598759" y="529183"/>
                </a:lnTo>
                <a:lnTo>
                  <a:pt x="2618840" y="511993"/>
                </a:lnTo>
                <a:lnTo>
                  <a:pt x="2638922" y="492658"/>
                </a:lnTo>
                <a:lnTo>
                  <a:pt x="2665695" y="479765"/>
                </a:lnTo>
                <a:lnTo>
                  <a:pt x="2692469" y="471171"/>
                </a:lnTo>
                <a:close/>
                <a:moveTo>
                  <a:pt x="1238018" y="381765"/>
                </a:moveTo>
                <a:lnTo>
                  <a:pt x="1256987" y="386224"/>
                </a:lnTo>
                <a:lnTo>
                  <a:pt x="1273847" y="390690"/>
                </a:lnTo>
                <a:lnTo>
                  <a:pt x="1288592" y="399614"/>
                </a:lnTo>
                <a:lnTo>
                  <a:pt x="1301235" y="412997"/>
                </a:lnTo>
                <a:lnTo>
                  <a:pt x="1313879" y="426387"/>
                </a:lnTo>
                <a:lnTo>
                  <a:pt x="1322313" y="442003"/>
                </a:lnTo>
                <a:lnTo>
                  <a:pt x="1328631" y="462085"/>
                </a:lnTo>
                <a:lnTo>
                  <a:pt x="1330739" y="479934"/>
                </a:lnTo>
                <a:lnTo>
                  <a:pt x="1328631" y="500016"/>
                </a:lnTo>
                <a:lnTo>
                  <a:pt x="1322313" y="520090"/>
                </a:lnTo>
                <a:lnTo>
                  <a:pt x="1313879" y="533480"/>
                </a:lnTo>
                <a:lnTo>
                  <a:pt x="1301235" y="549096"/>
                </a:lnTo>
                <a:lnTo>
                  <a:pt x="1288592" y="562487"/>
                </a:lnTo>
                <a:lnTo>
                  <a:pt x="1273847" y="571411"/>
                </a:lnTo>
                <a:lnTo>
                  <a:pt x="1256987" y="575869"/>
                </a:lnTo>
                <a:lnTo>
                  <a:pt x="1238018" y="578102"/>
                </a:lnTo>
                <a:lnTo>
                  <a:pt x="1219056" y="575869"/>
                </a:lnTo>
                <a:lnTo>
                  <a:pt x="1200095" y="571411"/>
                </a:lnTo>
                <a:lnTo>
                  <a:pt x="1187451" y="562487"/>
                </a:lnTo>
                <a:lnTo>
                  <a:pt x="1172699" y="549096"/>
                </a:lnTo>
                <a:lnTo>
                  <a:pt x="1162164" y="533480"/>
                </a:lnTo>
                <a:lnTo>
                  <a:pt x="1151622" y="520090"/>
                </a:lnTo>
                <a:lnTo>
                  <a:pt x="1147412" y="500016"/>
                </a:lnTo>
                <a:lnTo>
                  <a:pt x="1145304" y="479934"/>
                </a:lnTo>
                <a:lnTo>
                  <a:pt x="1147412" y="462085"/>
                </a:lnTo>
                <a:lnTo>
                  <a:pt x="1151622" y="442003"/>
                </a:lnTo>
                <a:lnTo>
                  <a:pt x="1162164" y="426387"/>
                </a:lnTo>
                <a:lnTo>
                  <a:pt x="1172699" y="412997"/>
                </a:lnTo>
                <a:lnTo>
                  <a:pt x="1187451" y="399614"/>
                </a:lnTo>
                <a:lnTo>
                  <a:pt x="1200095" y="390690"/>
                </a:lnTo>
                <a:lnTo>
                  <a:pt x="1219056" y="386224"/>
                </a:lnTo>
                <a:close/>
                <a:moveTo>
                  <a:pt x="2480435" y="185429"/>
                </a:moveTo>
                <a:lnTo>
                  <a:pt x="2499617" y="187537"/>
                </a:lnTo>
                <a:lnTo>
                  <a:pt x="2518798" y="193855"/>
                </a:lnTo>
                <a:lnTo>
                  <a:pt x="2531588" y="202289"/>
                </a:lnTo>
                <a:lnTo>
                  <a:pt x="2546508" y="214925"/>
                </a:lnTo>
                <a:lnTo>
                  <a:pt x="2559298" y="227569"/>
                </a:lnTo>
                <a:lnTo>
                  <a:pt x="2567827" y="242321"/>
                </a:lnTo>
                <a:lnTo>
                  <a:pt x="2572088" y="259181"/>
                </a:lnTo>
                <a:lnTo>
                  <a:pt x="2574218" y="278143"/>
                </a:lnTo>
                <a:lnTo>
                  <a:pt x="2572088" y="297104"/>
                </a:lnTo>
                <a:lnTo>
                  <a:pt x="2567827" y="316073"/>
                </a:lnTo>
                <a:lnTo>
                  <a:pt x="2559298" y="328717"/>
                </a:lnTo>
                <a:lnTo>
                  <a:pt x="2546508" y="343462"/>
                </a:lnTo>
                <a:lnTo>
                  <a:pt x="2531588" y="353997"/>
                </a:lnTo>
                <a:lnTo>
                  <a:pt x="2518798" y="364539"/>
                </a:lnTo>
                <a:lnTo>
                  <a:pt x="2499617" y="368749"/>
                </a:lnTo>
                <a:lnTo>
                  <a:pt x="2480435" y="370857"/>
                </a:lnTo>
                <a:lnTo>
                  <a:pt x="2463385" y="368749"/>
                </a:lnTo>
                <a:lnTo>
                  <a:pt x="2444203" y="364539"/>
                </a:lnTo>
                <a:lnTo>
                  <a:pt x="2429283" y="353997"/>
                </a:lnTo>
                <a:lnTo>
                  <a:pt x="2416493" y="343462"/>
                </a:lnTo>
                <a:lnTo>
                  <a:pt x="2403703" y="328717"/>
                </a:lnTo>
                <a:lnTo>
                  <a:pt x="2395174" y="316073"/>
                </a:lnTo>
                <a:lnTo>
                  <a:pt x="2390913" y="297104"/>
                </a:lnTo>
                <a:lnTo>
                  <a:pt x="2388783" y="278143"/>
                </a:lnTo>
                <a:lnTo>
                  <a:pt x="2390913" y="259181"/>
                </a:lnTo>
                <a:lnTo>
                  <a:pt x="2395174" y="242321"/>
                </a:lnTo>
                <a:lnTo>
                  <a:pt x="2403703" y="227569"/>
                </a:lnTo>
                <a:lnTo>
                  <a:pt x="2416493" y="214925"/>
                </a:lnTo>
                <a:lnTo>
                  <a:pt x="2429283" y="202289"/>
                </a:lnTo>
                <a:lnTo>
                  <a:pt x="2444203" y="193855"/>
                </a:lnTo>
                <a:lnTo>
                  <a:pt x="2463385" y="187537"/>
                </a:lnTo>
                <a:close/>
                <a:moveTo>
                  <a:pt x="2960376" y="87260"/>
                </a:moveTo>
                <a:lnTo>
                  <a:pt x="2979558" y="91477"/>
                </a:lnTo>
                <a:lnTo>
                  <a:pt x="2998739" y="95687"/>
                </a:lnTo>
                <a:lnTo>
                  <a:pt x="3013659" y="104121"/>
                </a:lnTo>
                <a:lnTo>
                  <a:pt x="3026449" y="116757"/>
                </a:lnTo>
                <a:lnTo>
                  <a:pt x="3039239" y="129400"/>
                </a:lnTo>
                <a:lnTo>
                  <a:pt x="3047768" y="144152"/>
                </a:lnTo>
                <a:lnTo>
                  <a:pt x="3052029" y="163114"/>
                </a:lnTo>
                <a:lnTo>
                  <a:pt x="3054160" y="179974"/>
                </a:lnTo>
                <a:lnTo>
                  <a:pt x="3052029" y="198936"/>
                </a:lnTo>
                <a:lnTo>
                  <a:pt x="3047768" y="217905"/>
                </a:lnTo>
                <a:lnTo>
                  <a:pt x="3039239" y="230549"/>
                </a:lnTo>
                <a:lnTo>
                  <a:pt x="3026449" y="245293"/>
                </a:lnTo>
                <a:lnTo>
                  <a:pt x="3013659" y="257937"/>
                </a:lnTo>
                <a:lnTo>
                  <a:pt x="2998739" y="266370"/>
                </a:lnTo>
                <a:lnTo>
                  <a:pt x="2979558" y="270580"/>
                </a:lnTo>
                <a:lnTo>
                  <a:pt x="2960376" y="272689"/>
                </a:lnTo>
                <a:lnTo>
                  <a:pt x="2943326" y="270580"/>
                </a:lnTo>
                <a:lnTo>
                  <a:pt x="2924144" y="266370"/>
                </a:lnTo>
                <a:lnTo>
                  <a:pt x="2909224" y="257937"/>
                </a:lnTo>
                <a:lnTo>
                  <a:pt x="2896434" y="245293"/>
                </a:lnTo>
                <a:lnTo>
                  <a:pt x="2883644" y="230549"/>
                </a:lnTo>
                <a:lnTo>
                  <a:pt x="2875115" y="217905"/>
                </a:lnTo>
                <a:lnTo>
                  <a:pt x="2870854" y="198936"/>
                </a:lnTo>
                <a:lnTo>
                  <a:pt x="2868724" y="179974"/>
                </a:lnTo>
                <a:lnTo>
                  <a:pt x="2870854" y="163114"/>
                </a:lnTo>
                <a:lnTo>
                  <a:pt x="2875115" y="144152"/>
                </a:lnTo>
                <a:lnTo>
                  <a:pt x="2883644" y="129400"/>
                </a:lnTo>
                <a:lnTo>
                  <a:pt x="2896434" y="116757"/>
                </a:lnTo>
                <a:lnTo>
                  <a:pt x="2909224" y="104121"/>
                </a:lnTo>
                <a:lnTo>
                  <a:pt x="2924144" y="95687"/>
                </a:lnTo>
                <a:lnTo>
                  <a:pt x="2943326" y="91477"/>
                </a:lnTo>
                <a:close/>
                <a:moveTo>
                  <a:pt x="953359" y="87260"/>
                </a:moveTo>
                <a:lnTo>
                  <a:pt x="972541" y="91477"/>
                </a:lnTo>
                <a:lnTo>
                  <a:pt x="991722" y="95687"/>
                </a:lnTo>
                <a:lnTo>
                  <a:pt x="1004512" y="104121"/>
                </a:lnTo>
                <a:lnTo>
                  <a:pt x="1019432" y="116757"/>
                </a:lnTo>
                <a:lnTo>
                  <a:pt x="1032222" y="129400"/>
                </a:lnTo>
                <a:lnTo>
                  <a:pt x="1040751" y="144152"/>
                </a:lnTo>
                <a:lnTo>
                  <a:pt x="1045012" y="163114"/>
                </a:lnTo>
                <a:lnTo>
                  <a:pt x="1047142" y="179974"/>
                </a:lnTo>
                <a:lnTo>
                  <a:pt x="1045012" y="198936"/>
                </a:lnTo>
                <a:lnTo>
                  <a:pt x="1040751" y="217905"/>
                </a:lnTo>
                <a:lnTo>
                  <a:pt x="1032222" y="230549"/>
                </a:lnTo>
                <a:lnTo>
                  <a:pt x="1019432" y="245293"/>
                </a:lnTo>
                <a:lnTo>
                  <a:pt x="1004512" y="257937"/>
                </a:lnTo>
                <a:lnTo>
                  <a:pt x="991722" y="266370"/>
                </a:lnTo>
                <a:lnTo>
                  <a:pt x="972541" y="270580"/>
                </a:lnTo>
                <a:lnTo>
                  <a:pt x="953359" y="272689"/>
                </a:lnTo>
                <a:lnTo>
                  <a:pt x="936309" y="270580"/>
                </a:lnTo>
                <a:lnTo>
                  <a:pt x="917127" y="266370"/>
                </a:lnTo>
                <a:lnTo>
                  <a:pt x="902207" y="257937"/>
                </a:lnTo>
                <a:lnTo>
                  <a:pt x="889417" y="245293"/>
                </a:lnTo>
                <a:lnTo>
                  <a:pt x="876627" y="230549"/>
                </a:lnTo>
                <a:lnTo>
                  <a:pt x="868098" y="217905"/>
                </a:lnTo>
                <a:lnTo>
                  <a:pt x="863837" y="198936"/>
                </a:lnTo>
                <a:lnTo>
                  <a:pt x="861707" y="179974"/>
                </a:lnTo>
                <a:lnTo>
                  <a:pt x="863837" y="163114"/>
                </a:lnTo>
                <a:lnTo>
                  <a:pt x="868098" y="144152"/>
                </a:lnTo>
                <a:lnTo>
                  <a:pt x="876627" y="129400"/>
                </a:lnTo>
                <a:lnTo>
                  <a:pt x="889417" y="116757"/>
                </a:lnTo>
                <a:lnTo>
                  <a:pt x="902207" y="104121"/>
                </a:lnTo>
                <a:lnTo>
                  <a:pt x="917127" y="95687"/>
                </a:lnTo>
                <a:lnTo>
                  <a:pt x="936309" y="91477"/>
                </a:lnTo>
                <a:close/>
                <a:moveTo>
                  <a:pt x="1915401" y="0"/>
                </a:moveTo>
                <a:lnTo>
                  <a:pt x="1943976" y="2196"/>
                </a:lnTo>
                <a:lnTo>
                  <a:pt x="1972550" y="4393"/>
                </a:lnTo>
                <a:lnTo>
                  <a:pt x="2001124" y="10989"/>
                </a:lnTo>
                <a:lnTo>
                  <a:pt x="2027502" y="21978"/>
                </a:lnTo>
                <a:lnTo>
                  <a:pt x="2051683" y="32974"/>
                </a:lnTo>
                <a:lnTo>
                  <a:pt x="2075865" y="48356"/>
                </a:lnTo>
                <a:lnTo>
                  <a:pt x="2097843" y="65941"/>
                </a:lnTo>
                <a:lnTo>
                  <a:pt x="2119828" y="83526"/>
                </a:lnTo>
                <a:lnTo>
                  <a:pt x="2139610" y="105512"/>
                </a:lnTo>
                <a:lnTo>
                  <a:pt x="2154998" y="127490"/>
                </a:lnTo>
                <a:lnTo>
                  <a:pt x="2170380" y="151671"/>
                </a:lnTo>
                <a:lnTo>
                  <a:pt x="2181369" y="175845"/>
                </a:lnTo>
                <a:lnTo>
                  <a:pt x="2192365" y="202223"/>
                </a:lnTo>
                <a:lnTo>
                  <a:pt x="2198954" y="230805"/>
                </a:lnTo>
                <a:lnTo>
                  <a:pt x="2201158" y="259379"/>
                </a:lnTo>
                <a:lnTo>
                  <a:pt x="2203354" y="290149"/>
                </a:lnTo>
                <a:lnTo>
                  <a:pt x="2201158" y="318724"/>
                </a:lnTo>
                <a:lnTo>
                  <a:pt x="2198954" y="347298"/>
                </a:lnTo>
                <a:lnTo>
                  <a:pt x="2192365" y="375879"/>
                </a:lnTo>
                <a:lnTo>
                  <a:pt x="2181369" y="402250"/>
                </a:lnTo>
                <a:lnTo>
                  <a:pt x="2170380" y="426431"/>
                </a:lnTo>
                <a:lnTo>
                  <a:pt x="2154998" y="450613"/>
                </a:lnTo>
                <a:lnTo>
                  <a:pt x="2139610" y="472591"/>
                </a:lnTo>
                <a:lnTo>
                  <a:pt x="2119828" y="494576"/>
                </a:lnTo>
                <a:lnTo>
                  <a:pt x="2097843" y="514358"/>
                </a:lnTo>
                <a:lnTo>
                  <a:pt x="2075865" y="529747"/>
                </a:lnTo>
                <a:lnTo>
                  <a:pt x="2051683" y="545128"/>
                </a:lnTo>
                <a:lnTo>
                  <a:pt x="2027502" y="556124"/>
                </a:lnTo>
                <a:lnTo>
                  <a:pt x="2001124" y="567113"/>
                </a:lnTo>
                <a:lnTo>
                  <a:pt x="1972550" y="573702"/>
                </a:lnTo>
                <a:lnTo>
                  <a:pt x="1943976" y="575906"/>
                </a:lnTo>
                <a:lnTo>
                  <a:pt x="1915401" y="578102"/>
                </a:lnTo>
                <a:lnTo>
                  <a:pt x="1886820" y="575906"/>
                </a:lnTo>
                <a:lnTo>
                  <a:pt x="1858246" y="573702"/>
                </a:lnTo>
                <a:lnTo>
                  <a:pt x="1827475" y="567113"/>
                </a:lnTo>
                <a:lnTo>
                  <a:pt x="1801097" y="556124"/>
                </a:lnTo>
                <a:lnTo>
                  <a:pt x="1776916" y="545128"/>
                </a:lnTo>
                <a:lnTo>
                  <a:pt x="1752734" y="529747"/>
                </a:lnTo>
                <a:lnTo>
                  <a:pt x="1732953" y="514358"/>
                </a:lnTo>
                <a:lnTo>
                  <a:pt x="1710975" y="494576"/>
                </a:lnTo>
                <a:lnTo>
                  <a:pt x="1691186" y="472591"/>
                </a:lnTo>
                <a:lnTo>
                  <a:pt x="1673600" y="450613"/>
                </a:lnTo>
                <a:lnTo>
                  <a:pt x="1660415" y="426431"/>
                </a:lnTo>
                <a:lnTo>
                  <a:pt x="1647223" y="402250"/>
                </a:lnTo>
                <a:lnTo>
                  <a:pt x="1638430" y="375879"/>
                </a:lnTo>
                <a:lnTo>
                  <a:pt x="1631841" y="347298"/>
                </a:lnTo>
                <a:lnTo>
                  <a:pt x="1629637" y="318724"/>
                </a:lnTo>
                <a:lnTo>
                  <a:pt x="1625245" y="290149"/>
                </a:lnTo>
                <a:lnTo>
                  <a:pt x="1629637" y="259379"/>
                </a:lnTo>
                <a:lnTo>
                  <a:pt x="1631841" y="230805"/>
                </a:lnTo>
                <a:lnTo>
                  <a:pt x="1638430" y="202223"/>
                </a:lnTo>
                <a:lnTo>
                  <a:pt x="1647223" y="175845"/>
                </a:lnTo>
                <a:lnTo>
                  <a:pt x="1660415" y="151671"/>
                </a:lnTo>
                <a:lnTo>
                  <a:pt x="1673600" y="127490"/>
                </a:lnTo>
                <a:lnTo>
                  <a:pt x="1691186" y="105512"/>
                </a:lnTo>
                <a:lnTo>
                  <a:pt x="1710975" y="83526"/>
                </a:lnTo>
                <a:lnTo>
                  <a:pt x="1732953" y="65941"/>
                </a:lnTo>
                <a:lnTo>
                  <a:pt x="1752734" y="48356"/>
                </a:lnTo>
                <a:lnTo>
                  <a:pt x="1776916" y="32974"/>
                </a:lnTo>
                <a:lnTo>
                  <a:pt x="1801097" y="21978"/>
                </a:lnTo>
                <a:lnTo>
                  <a:pt x="1827475" y="10989"/>
                </a:lnTo>
                <a:lnTo>
                  <a:pt x="1858246" y="4393"/>
                </a:lnTo>
                <a:lnTo>
                  <a:pt x="1886820" y="2196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91280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12699536" y="1016001"/>
            <a:ext cx="10565276" cy="9008538"/>
          </a:xfrm>
          <a:custGeom>
            <a:avLst/>
            <a:gdLst>
              <a:gd name="connsiteX0" fmla="*/ 1294045 w 5282638"/>
              <a:gd name="connsiteY0" fmla="*/ 0 h 4504269"/>
              <a:gd name="connsiteX1" fmla="*/ 1346091 w 5282638"/>
              <a:gd name="connsiteY1" fmla="*/ 0 h 4504269"/>
              <a:gd name="connsiteX2" fmla="*/ 1398137 w 5282638"/>
              <a:gd name="connsiteY2" fmla="*/ 0 h 4504269"/>
              <a:gd name="connsiteX3" fmla="*/ 1447817 w 5282638"/>
              <a:gd name="connsiteY3" fmla="*/ 2369 h 4504269"/>
              <a:gd name="connsiteX4" fmla="*/ 1497497 w 5282638"/>
              <a:gd name="connsiteY4" fmla="*/ 4739 h 4504269"/>
              <a:gd name="connsiteX5" fmla="*/ 1559005 w 5282638"/>
              <a:gd name="connsiteY5" fmla="*/ 11846 h 4504269"/>
              <a:gd name="connsiteX6" fmla="*/ 1622880 w 5282638"/>
              <a:gd name="connsiteY6" fmla="*/ 26062 h 4504269"/>
              <a:gd name="connsiteX7" fmla="*/ 1677291 w 5282638"/>
              <a:gd name="connsiteY7" fmla="*/ 40277 h 4504269"/>
              <a:gd name="connsiteX8" fmla="*/ 1734068 w 5282638"/>
              <a:gd name="connsiteY8" fmla="*/ 59231 h 4504269"/>
              <a:gd name="connsiteX9" fmla="*/ 1790845 w 5282638"/>
              <a:gd name="connsiteY9" fmla="*/ 82924 h 4504269"/>
              <a:gd name="connsiteX10" fmla="*/ 1845257 w 5282638"/>
              <a:gd name="connsiteY10" fmla="*/ 106616 h 4504269"/>
              <a:gd name="connsiteX11" fmla="*/ 1897302 w 5282638"/>
              <a:gd name="connsiteY11" fmla="*/ 135047 h 4504269"/>
              <a:gd name="connsiteX12" fmla="*/ 1949348 w 5282638"/>
              <a:gd name="connsiteY12" fmla="*/ 163478 h 4504269"/>
              <a:gd name="connsiteX13" fmla="*/ 1996662 w 5282638"/>
              <a:gd name="connsiteY13" fmla="*/ 196647 h 4504269"/>
              <a:gd name="connsiteX14" fmla="*/ 2046342 w 5282638"/>
              <a:gd name="connsiteY14" fmla="*/ 232186 h 4504269"/>
              <a:gd name="connsiteX15" fmla="*/ 2091291 w 5282638"/>
              <a:gd name="connsiteY15" fmla="*/ 267724 h 4504269"/>
              <a:gd name="connsiteX16" fmla="*/ 2133874 w 5282638"/>
              <a:gd name="connsiteY16" fmla="*/ 300894 h 4504269"/>
              <a:gd name="connsiteX17" fmla="*/ 2178822 w 5282638"/>
              <a:gd name="connsiteY17" fmla="*/ 341171 h 4504269"/>
              <a:gd name="connsiteX18" fmla="*/ 2219039 w 5282638"/>
              <a:gd name="connsiteY18" fmla="*/ 379079 h 4504269"/>
              <a:gd name="connsiteX19" fmla="*/ 2256890 w 5282638"/>
              <a:gd name="connsiteY19" fmla="*/ 419356 h 4504269"/>
              <a:gd name="connsiteX20" fmla="*/ 2294742 w 5282638"/>
              <a:gd name="connsiteY20" fmla="*/ 462002 h 4504269"/>
              <a:gd name="connsiteX21" fmla="*/ 2363348 w 5282638"/>
              <a:gd name="connsiteY21" fmla="*/ 542556 h 4504269"/>
              <a:gd name="connsiteX22" fmla="*/ 2427222 w 5282638"/>
              <a:gd name="connsiteY22" fmla="*/ 620741 h 4504269"/>
              <a:gd name="connsiteX23" fmla="*/ 2479268 w 5282638"/>
              <a:gd name="connsiteY23" fmla="*/ 698926 h 4504269"/>
              <a:gd name="connsiteX24" fmla="*/ 2526582 w 5282638"/>
              <a:gd name="connsiteY24" fmla="*/ 767634 h 4504269"/>
              <a:gd name="connsiteX25" fmla="*/ 2566799 w 5282638"/>
              <a:gd name="connsiteY25" fmla="*/ 833973 h 4504269"/>
              <a:gd name="connsiteX26" fmla="*/ 2599919 w 5282638"/>
              <a:gd name="connsiteY26" fmla="*/ 890835 h 4504269"/>
              <a:gd name="connsiteX27" fmla="*/ 2642502 w 5282638"/>
              <a:gd name="connsiteY27" fmla="*/ 969020 h 4504269"/>
              <a:gd name="connsiteX28" fmla="*/ 2682719 w 5282638"/>
              <a:gd name="connsiteY28" fmla="*/ 890835 h 4504269"/>
              <a:gd name="connsiteX29" fmla="*/ 2715839 w 5282638"/>
              <a:gd name="connsiteY29" fmla="*/ 833973 h 4504269"/>
              <a:gd name="connsiteX30" fmla="*/ 2756056 w 5282638"/>
              <a:gd name="connsiteY30" fmla="*/ 767634 h 4504269"/>
              <a:gd name="connsiteX31" fmla="*/ 2801005 w 5282638"/>
              <a:gd name="connsiteY31" fmla="*/ 698926 h 4504269"/>
              <a:gd name="connsiteX32" fmla="*/ 2857782 w 5282638"/>
              <a:gd name="connsiteY32" fmla="*/ 620741 h 4504269"/>
              <a:gd name="connsiteX33" fmla="*/ 2919290 w 5282638"/>
              <a:gd name="connsiteY33" fmla="*/ 542556 h 4504269"/>
              <a:gd name="connsiteX34" fmla="*/ 2987896 w 5282638"/>
              <a:gd name="connsiteY34" fmla="*/ 462002 h 4504269"/>
              <a:gd name="connsiteX35" fmla="*/ 3025748 w 5282638"/>
              <a:gd name="connsiteY35" fmla="*/ 419356 h 4504269"/>
              <a:gd name="connsiteX36" fmla="*/ 3063599 w 5282638"/>
              <a:gd name="connsiteY36" fmla="*/ 379079 h 4504269"/>
              <a:gd name="connsiteX37" fmla="*/ 3103816 w 5282638"/>
              <a:gd name="connsiteY37" fmla="*/ 341171 h 4504269"/>
              <a:gd name="connsiteX38" fmla="*/ 3146399 w 5282638"/>
              <a:gd name="connsiteY38" fmla="*/ 300894 h 4504269"/>
              <a:gd name="connsiteX39" fmla="*/ 3191347 w 5282638"/>
              <a:gd name="connsiteY39" fmla="*/ 267724 h 4504269"/>
              <a:gd name="connsiteX40" fmla="*/ 3236296 w 5282638"/>
              <a:gd name="connsiteY40" fmla="*/ 232186 h 4504269"/>
              <a:gd name="connsiteX41" fmla="*/ 3283610 w 5282638"/>
              <a:gd name="connsiteY41" fmla="*/ 196647 h 4504269"/>
              <a:gd name="connsiteX42" fmla="*/ 3333290 w 5282638"/>
              <a:gd name="connsiteY42" fmla="*/ 163478 h 4504269"/>
              <a:gd name="connsiteX43" fmla="*/ 3385336 w 5282638"/>
              <a:gd name="connsiteY43" fmla="*/ 135047 h 4504269"/>
              <a:gd name="connsiteX44" fmla="*/ 3435016 w 5282638"/>
              <a:gd name="connsiteY44" fmla="*/ 106616 h 4504269"/>
              <a:gd name="connsiteX45" fmla="*/ 3489427 w 5282638"/>
              <a:gd name="connsiteY45" fmla="*/ 82924 h 4504269"/>
              <a:gd name="connsiteX46" fmla="*/ 3546204 w 5282638"/>
              <a:gd name="connsiteY46" fmla="*/ 59231 h 4504269"/>
              <a:gd name="connsiteX47" fmla="*/ 3602982 w 5282638"/>
              <a:gd name="connsiteY47" fmla="*/ 40277 h 4504269"/>
              <a:gd name="connsiteX48" fmla="*/ 3662124 w 5282638"/>
              <a:gd name="connsiteY48" fmla="*/ 26062 h 4504269"/>
              <a:gd name="connsiteX49" fmla="*/ 3721267 w 5282638"/>
              <a:gd name="connsiteY49" fmla="*/ 11846 h 4504269"/>
              <a:gd name="connsiteX50" fmla="*/ 3785142 w 5282638"/>
              <a:gd name="connsiteY50" fmla="*/ 4739 h 4504269"/>
              <a:gd name="connsiteX51" fmla="*/ 3851382 w 5282638"/>
              <a:gd name="connsiteY51" fmla="*/ 0 h 4504269"/>
              <a:gd name="connsiteX52" fmla="*/ 3922353 w 5282638"/>
              <a:gd name="connsiteY52" fmla="*/ 0 h 4504269"/>
              <a:gd name="connsiteX53" fmla="*/ 3988593 w 5282638"/>
              <a:gd name="connsiteY53" fmla="*/ 0 h 4504269"/>
              <a:gd name="connsiteX54" fmla="*/ 4059564 w 5282638"/>
              <a:gd name="connsiteY54" fmla="*/ 4739 h 4504269"/>
              <a:gd name="connsiteX55" fmla="*/ 4128170 w 5282638"/>
              <a:gd name="connsiteY55" fmla="*/ 16585 h 4504269"/>
              <a:gd name="connsiteX56" fmla="*/ 4194410 w 5282638"/>
              <a:gd name="connsiteY56" fmla="*/ 26062 h 4504269"/>
              <a:gd name="connsiteX57" fmla="*/ 4263016 w 5282638"/>
              <a:gd name="connsiteY57" fmla="*/ 42646 h 4504269"/>
              <a:gd name="connsiteX58" fmla="*/ 4326890 w 5282638"/>
              <a:gd name="connsiteY58" fmla="*/ 61600 h 4504269"/>
              <a:gd name="connsiteX59" fmla="*/ 4390764 w 5282638"/>
              <a:gd name="connsiteY59" fmla="*/ 85293 h 4504269"/>
              <a:gd name="connsiteX60" fmla="*/ 4457004 w 5282638"/>
              <a:gd name="connsiteY60" fmla="*/ 113724 h 4504269"/>
              <a:gd name="connsiteX61" fmla="*/ 4518512 w 5282638"/>
              <a:gd name="connsiteY61" fmla="*/ 142155 h 4504269"/>
              <a:gd name="connsiteX62" fmla="*/ 4580021 w 5282638"/>
              <a:gd name="connsiteY62" fmla="*/ 175324 h 4504269"/>
              <a:gd name="connsiteX63" fmla="*/ 4639164 w 5282638"/>
              <a:gd name="connsiteY63" fmla="*/ 210863 h 4504269"/>
              <a:gd name="connsiteX64" fmla="*/ 4698307 w 5282638"/>
              <a:gd name="connsiteY64" fmla="*/ 251140 h 4504269"/>
              <a:gd name="connsiteX65" fmla="*/ 4752718 w 5282638"/>
              <a:gd name="connsiteY65" fmla="*/ 293786 h 4504269"/>
              <a:gd name="connsiteX66" fmla="*/ 4807130 w 5282638"/>
              <a:gd name="connsiteY66" fmla="*/ 338802 h 4504269"/>
              <a:gd name="connsiteX67" fmla="*/ 4861541 w 5282638"/>
              <a:gd name="connsiteY67" fmla="*/ 388556 h 4504269"/>
              <a:gd name="connsiteX68" fmla="*/ 4908856 w 5282638"/>
              <a:gd name="connsiteY68" fmla="*/ 443048 h 4504269"/>
              <a:gd name="connsiteX69" fmla="*/ 4958536 w 5282638"/>
              <a:gd name="connsiteY69" fmla="*/ 497541 h 4504269"/>
              <a:gd name="connsiteX70" fmla="*/ 5001118 w 5282638"/>
              <a:gd name="connsiteY70" fmla="*/ 559141 h 4504269"/>
              <a:gd name="connsiteX71" fmla="*/ 5046066 w 5282638"/>
              <a:gd name="connsiteY71" fmla="*/ 620741 h 4504269"/>
              <a:gd name="connsiteX72" fmla="*/ 5083918 w 5282638"/>
              <a:gd name="connsiteY72" fmla="*/ 684711 h 4504269"/>
              <a:gd name="connsiteX73" fmla="*/ 5117038 w 5282638"/>
              <a:gd name="connsiteY73" fmla="*/ 755788 h 4504269"/>
              <a:gd name="connsiteX74" fmla="*/ 5152524 w 5282638"/>
              <a:gd name="connsiteY74" fmla="*/ 824496 h 4504269"/>
              <a:gd name="connsiteX75" fmla="*/ 5183278 w 5282638"/>
              <a:gd name="connsiteY75" fmla="*/ 900312 h 4504269"/>
              <a:gd name="connsiteX76" fmla="*/ 5206935 w 5282638"/>
              <a:gd name="connsiteY76" fmla="*/ 978497 h 4504269"/>
              <a:gd name="connsiteX77" fmla="*/ 5230592 w 5282638"/>
              <a:gd name="connsiteY77" fmla="*/ 1059051 h 4504269"/>
              <a:gd name="connsiteX78" fmla="*/ 5247152 w 5282638"/>
              <a:gd name="connsiteY78" fmla="*/ 1146713 h 4504269"/>
              <a:gd name="connsiteX79" fmla="*/ 5263712 w 5282638"/>
              <a:gd name="connsiteY79" fmla="*/ 1232005 h 4504269"/>
              <a:gd name="connsiteX80" fmla="*/ 5275541 w 5282638"/>
              <a:gd name="connsiteY80" fmla="*/ 1324406 h 4504269"/>
              <a:gd name="connsiteX81" fmla="*/ 5280272 w 5282638"/>
              <a:gd name="connsiteY81" fmla="*/ 1416806 h 4504269"/>
              <a:gd name="connsiteX82" fmla="*/ 5282638 w 5282638"/>
              <a:gd name="connsiteY82" fmla="*/ 1513945 h 4504269"/>
              <a:gd name="connsiteX83" fmla="*/ 5280272 w 5282638"/>
              <a:gd name="connsiteY83" fmla="*/ 1611084 h 4504269"/>
              <a:gd name="connsiteX84" fmla="*/ 5270810 w 5282638"/>
              <a:gd name="connsiteY84" fmla="*/ 1708223 h 4504269"/>
              <a:gd name="connsiteX85" fmla="*/ 5258981 w 5282638"/>
              <a:gd name="connsiteY85" fmla="*/ 1802992 h 4504269"/>
              <a:gd name="connsiteX86" fmla="*/ 5240055 w 5282638"/>
              <a:gd name="connsiteY86" fmla="*/ 1897762 h 4504269"/>
              <a:gd name="connsiteX87" fmla="*/ 5218764 w 5282638"/>
              <a:gd name="connsiteY87" fmla="*/ 1987793 h 4504269"/>
              <a:gd name="connsiteX88" fmla="*/ 5188010 w 5282638"/>
              <a:gd name="connsiteY88" fmla="*/ 2077824 h 4504269"/>
              <a:gd name="connsiteX89" fmla="*/ 5157255 w 5282638"/>
              <a:gd name="connsiteY89" fmla="*/ 2167856 h 4504269"/>
              <a:gd name="connsiteX90" fmla="*/ 5124135 w 5282638"/>
              <a:gd name="connsiteY90" fmla="*/ 2255517 h 4504269"/>
              <a:gd name="connsiteX91" fmla="*/ 5083918 w 5282638"/>
              <a:gd name="connsiteY91" fmla="*/ 2340810 h 4504269"/>
              <a:gd name="connsiteX92" fmla="*/ 5041335 w 5282638"/>
              <a:gd name="connsiteY92" fmla="*/ 2423734 h 4504269"/>
              <a:gd name="connsiteX93" fmla="*/ 4996386 w 5282638"/>
              <a:gd name="connsiteY93" fmla="*/ 2506657 h 4504269"/>
              <a:gd name="connsiteX94" fmla="*/ 4951438 w 5282638"/>
              <a:gd name="connsiteY94" fmla="*/ 2584842 h 4504269"/>
              <a:gd name="connsiteX95" fmla="*/ 4899392 w 5282638"/>
              <a:gd name="connsiteY95" fmla="*/ 2663027 h 4504269"/>
              <a:gd name="connsiteX96" fmla="*/ 4847346 w 5282638"/>
              <a:gd name="connsiteY96" fmla="*/ 2738843 h 4504269"/>
              <a:gd name="connsiteX97" fmla="*/ 4792936 w 5282638"/>
              <a:gd name="connsiteY97" fmla="*/ 2814658 h 4504269"/>
              <a:gd name="connsiteX98" fmla="*/ 4740890 w 5282638"/>
              <a:gd name="connsiteY98" fmla="*/ 2885736 h 4504269"/>
              <a:gd name="connsiteX99" fmla="*/ 4684112 w 5282638"/>
              <a:gd name="connsiteY99" fmla="*/ 2954443 h 4504269"/>
              <a:gd name="connsiteX100" fmla="*/ 4627336 w 5282638"/>
              <a:gd name="connsiteY100" fmla="*/ 3023151 h 4504269"/>
              <a:gd name="connsiteX101" fmla="*/ 4568192 w 5282638"/>
              <a:gd name="connsiteY101" fmla="*/ 3089490 h 4504269"/>
              <a:gd name="connsiteX102" fmla="*/ 4511416 w 5282638"/>
              <a:gd name="connsiteY102" fmla="*/ 3153460 h 4504269"/>
              <a:gd name="connsiteX103" fmla="*/ 4395496 w 5282638"/>
              <a:gd name="connsiteY103" fmla="*/ 3271922 h 4504269"/>
              <a:gd name="connsiteX104" fmla="*/ 4277210 w 5282638"/>
              <a:gd name="connsiteY104" fmla="*/ 3380907 h 4504269"/>
              <a:gd name="connsiteX105" fmla="*/ 4170753 w 5282638"/>
              <a:gd name="connsiteY105" fmla="*/ 3482784 h 4504269"/>
              <a:gd name="connsiteX106" fmla="*/ 4064296 w 5282638"/>
              <a:gd name="connsiteY106" fmla="*/ 3570446 h 4504269"/>
              <a:gd name="connsiteX107" fmla="*/ 3969667 w 5282638"/>
              <a:gd name="connsiteY107" fmla="*/ 3648631 h 4504269"/>
              <a:gd name="connsiteX108" fmla="*/ 3889233 w 5282638"/>
              <a:gd name="connsiteY108" fmla="*/ 3717339 h 4504269"/>
              <a:gd name="connsiteX109" fmla="*/ 3749656 w 5282638"/>
              <a:gd name="connsiteY109" fmla="*/ 3823955 h 4504269"/>
              <a:gd name="connsiteX110" fmla="*/ 3586422 w 5282638"/>
              <a:gd name="connsiteY110" fmla="*/ 3940048 h 4504269"/>
              <a:gd name="connsiteX111" fmla="*/ 3416090 w 5282638"/>
              <a:gd name="connsiteY111" fmla="*/ 4063248 h 4504269"/>
              <a:gd name="connsiteX112" fmla="*/ 3243393 w 5282638"/>
              <a:gd name="connsiteY112" fmla="*/ 4181710 h 4504269"/>
              <a:gd name="connsiteX113" fmla="*/ 2928753 w 5282638"/>
              <a:gd name="connsiteY113" fmla="*/ 4397311 h 4504269"/>
              <a:gd name="connsiteX114" fmla="*/ 2765110 w 5282638"/>
              <a:gd name="connsiteY114" fmla="*/ 4504269 h 4504269"/>
              <a:gd name="connsiteX115" fmla="*/ 2721299 w 5282638"/>
              <a:gd name="connsiteY115" fmla="*/ 4504269 h 4504269"/>
              <a:gd name="connsiteX116" fmla="*/ 2850685 w 5282638"/>
              <a:gd name="connsiteY116" fmla="*/ 4205403 h 4504269"/>
              <a:gd name="connsiteX117" fmla="*/ 2924022 w 5282638"/>
              <a:gd name="connsiteY117" fmla="*/ 4037187 h 4504269"/>
              <a:gd name="connsiteX118" fmla="*/ 2983164 w 5282638"/>
              <a:gd name="connsiteY118" fmla="*/ 3909248 h 4504269"/>
              <a:gd name="connsiteX119" fmla="*/ 3004456 w 5282638"/>
              <a:gd name="connsiteY119" fmla="*/ 3866601 h 4504269"/>
              <a:gd name="connsiteX120" fmla="*/ 3025748 w 5282638"/>
              <a:gd name="connsiteY120" fmla="*/ 3833432 h 4504269"/>
              <a:gd name="connsiteX121" fmla="*/ 3047039 w 5282638"/>
              <a:gd name="connsiteY121" fmla="*/ 3802632 h 4504269"/>
              <a:gd name="connsiteX122" fmla="*/ 3073062 w 5282638"/>
              <a:gd name="connsiteY122" fmla="*/ 3776570 h 4504269"/>
              <a:gd name="connsiteX123" fmla="*/ 3099084 w 5282638"/>
              <a:gd name="connsiteY123" fmla="*/ 3755247 h 4504269"/>
              <a:gd name="connsiteX124" fmla="*/ 3127473 w 5282638"/>
              <a:gd name="connsiteY124" fmla="*/ 3731555 h 4504269"/>
              <a:gd name="connsiteX125" fmla="*/ 3158228 w 5282638"/>
              <a:gd name="connsiteY125" fmla="*/ 3717339 h 4504269"/>
              <a:gd name="connsiteX126" fmla="*/ 3191347 w 5282638"/>
              <a:gd name="connsiteY126" fmla="*/ 3700754 h 4504269"/>
              <a:gd name="connsiteX127" fmla="*/ 3222102 w 5282638"/>
              <a:gd name="connsiteY127" fmla="*/ 3686539 h 4504269"/>
              <a:gd name="connsiteX128" fmla="*/ 3257587 w 5282638"/>
              <a:gd name="connsiteY128" fmla="*/ 3677062 h 4504269"/>
              <a:gd name="connsiteX129" fmla="*/ 3335656 w 5282638"/>
              <a:gd name="connsiteY129" fmla="*/ 3651000 h 4504269"/>
              <a:gd name="connsiteX130" fmla="*/ 3423187 w 5282638"/>
              <a:gd name="connsiteY130" fmla="*/ 3627308 h 4504269"/>
              <a:gd name="connsiteX131" fmla="*/ 3520182 w 5282638"/>
              <a:gd name="connsiteY131" fmla="*/ 3598877 h 4504269"/>
              <a:gd name="connsiteX132" fmla="*/ 3567496 w 5282638"/>
              <a:gd name="connsiteY132" fmla="*/ 3579923 h 4504269"/>
              <a:gd name="connsiteX133" fmla="*/ 3614810 w 5282638"/>
              <a:gd name="connsiteY133" fmla="*/ 3560969 h 4504269"/>
              <a:gd name="connsiteX134" fmla="*/ 3657393 w 5282638"/>
              <a:gd name="connsiteY134" fmla="*/ 3537277 h 4504269"/>
              <a:gd name="connsiteX135" fmla="*/ 3695244 w 5282638"/>
              <a:gd name="connsiteY135" fmla="*/ 3513584 h 4504269"/>
              <a:gd name="connsiteX136" fmla="*/ 3733096 w 5282638"/>
              <a:gd name="connsiteY136" fmla="*/ 3489892 h 4504269"/>
              <a:gd name="connsiteX137" fmla="*/ 3766216 w 5282638"/>
              <a:gd name="connsiteY137" fmla="*/ 3466200 h 4504269"/>
              <a:gd name="connsiteX138" fmla="*/ 3794604 w 5282638"/>
              <a:gd name="connsiteY138" fmla="*/ 3440138 h 4504269"/>
              <a:gd name="connsiteX139" fmla="*/ 3825358 w 5282638"/>
              <a:gd name="connsiteY139" fmla="*/ 3416445 h 4504269"/>
              <a:gd name="connsiteX140" fmla="*/ 3867942 w 5282638"/>
              <a:gd name="connsiteY140" fmla="*/ 3373799 h 4504269"/>
              <a:gd name="connsiteX141" fmla="*/ 3901062 w 5282638"/>
              <a:gd name="connsiteY141" fmla="*/ 3335891 h 4504269"/>
              <a:gd name="connsiteX142" fmla="*/ 3927084 w 5282638"/>
              <a:gd name="connsiteY142" fmla="*/ 3302722 h 4504269"/>
              <a:gd name="connsiteX143" fmla="*/ 3927084 w 5282638"/>
              <a:gd name="connsiteY143" fmla="*/ 3300353 h 4504269"/>
              <a:gd name="connsiteX144" fmla="*/ 3799336 w 5282638"/>
              <a:gd name="connsiteY144" fmla="*/ 3331153 h 4504269"/>
              <a:gd name="connsiteX145" fmla="*/ 3662124 w 5282638"/>
              <a:gd name="connsiteY145" fmla="*/ 3359584 h 4504269"/>
              <a:gd name="connsiteX146" fmla="*/ 3503622 w 5282638"/>
              <a:gd name="connsiteY146" fmla="*/ 3392753 h 4504269"/>
              <a:gd name="connsiteX147" fmla="*/ 3505987 w 5282638"/>
              <a:gd name="connsiteY147" fmla="*/ 3388015 h 4504269"/>
              <a:gd name="connsiteX148" fmla="*/ 3655027 w 5282638"/>
              <a:gd name="connsiteY148" fmla="*/ 3331153 h 4504269"/>
              <a:gd name="connsiteX149" fmla="*/ 3806433 w 5282638"/>
              <a:gd name="connsiteY149" fmla="*/ 3271922 h 4504269"/>
              <a:gd name="connsiteX150" fmla="*/ 3938913 w 5282638"/>
              <a:gd name="connsiteY150" fmla="*/ 3217429 h 4504269"/>
              <a:gd name="connsiteX151" fmla="*/ 3986227 w 5282638"/>
              <a:gd name="connsiteY151" fmla="*/ 3196106 h 4504269"/>
              <a:gd name="connsiteX152" fmla="*/ 4019347 w 5282638"/>
              <a:gd name="connsiteY152" fmla="*/ 3179521 h 4504269"/>
              <a:gd name="connsiteX153" fmla="*/ 4057198 w 5282638"/>
              <a:gd name="connsiteY153" fmla="*/ 3160567 h 4504269"/>
              <a:gd name="connsiteX154" fmla="*/ 4097416 w 5282638"/>
              <a:gd name="connsiteY154" fmla="*/ 3146352 h 4504269"/>
              <a:gd name="connsiteX155" fmla="*/ 4180216 w 5282638"/>
              <a:gd name="connsiteY155" fmla="*/ 3122660 h 4504269"/>
              <a:gd name="connsiteX156" fmla="*/ 4218067 w 5282638"/>
              <a:gd name="connsiteY156" fmla="*/ 3110813 h 4504269"/>
              <a:gd name="connsiteX157" fmla="*/ 4248821 w 5282638"/>
              <a:gd name="connsiteY157" fmla="*/ 3101336 h 4504269"/>
              <a:gd name="connsiteX158" fmla="*/ 4258284 w 5282638"/>
              <a:gd name="connsiteY158" fmla="*/ 3091859 h 4504269"/>
              <a:gd name="connsiteX159" fmla="*/ 4270112 w 5282638"/>
              <a:gd name="connsiteY159" fmla="*/ 3084752 h 4504269"/>
              <a:gd name="connsiteX160" fmla="*/ 4274844 w 5282638"/>
              <a:gd name="connsiteY160" fmla="*/ 3072906 h 4504269"/>
              <a:gd name="connsiteX161" fmla="*/ 4281941 w 5282638"/>
              <a:gd name="connsiteY161" fmla="*/ 3065798 h 4504269"/>
              <a:gd name="connsiteX162" fmla="*/ 4284307 w 5282638"/>
              <a:gd name="connsiteY162" fmla="*/ 3044475 h 4504269"/>
              <a:gd name="connsiteX163" fmla="*/ 4281941 w 5282638"/>
              <a:gd name="connsiteY163" fmla="*/ 3023151 h 4504269"/>
              <a:gd name="connsiteX164" fmla="*/ 4274844 w 5282638"/>
              <a:gd name="connsiteY164" fmla="*/ 3006567 h 4504269"/>
              <a:gd name="connsiteX165" fmla="*/ 4263016 w 5282638"/>
              <a:gd name="connsiteY165" fmla="*/ 2987613 h 4504269"/>
              <a:gd name="connsiteX166" fmla="*/ 4244090 w 5282638"/>
              <a:gd name="connsiteY166" fmla="*/ 2971028 h 4504269"/>
              <a:gd name="connsiteX167" fmla="*/ 4218067 w 5282638"/>
              <a:gd name="connsiteY167" fmla="*/ 2954443 h 4504269"/>
              <a:gd name="connsiteX168" fmla="*/ 4184947 w 5282638"/>
              <a:gd name="connsiteY168" fmla="*/ 2940228 h 4504269"/>
              <a:gd name="connsiteX169" fmla="*/ 4142364 w 5282638"/>
              <a:gd name="connsiteY169" fmla="*/ 2921274 h 4504269"/>
              <a:gd name="connsiteX170" fmla="*/ 4118707 w 5282638"/>
              <a:gd name="connsiteY170" fmla="*/ 2911797 h 4504269"/>
              <a:gd name="connsiteX171" fmla="*/ 4092684 w 5282638"/>
              <a:gd name="connsiteY171" fmla="*/ 2907059 h 4504269"/>
              <a:gd name="connsiteX172" fmla="*/ 4066661 w 5282638"/>
              <a:gd name="connsiteY172" fmla="*/ 2902320 h 4504269"/>
              <a:gd name="connsiteX173" fmla="*/ 4040638 w 5282638"/>
              <a:gd name="connsiteY173" fmla="*/ 2897582 h 4504269"/>
              <a:gd name="connsiteX174" fmla="*/ 4014616 w 5282638"/>
              <a:gd name="connsiteY174" fmla="*/ 2897582 h 4504269"/>
              <a:gd name="connsiteX175" fmla="*/ 3983861 w 5282638"/>
              <a:gd name="connsiteY175" fmla="*/ 2897582 h 4504269"/>
              <a:gd name="connsiteX176" fmla="*/ 3955473 w 5282638"/>
              <a:gd name="connsiteY176" fmla="*/ 2904689 h 4504269"/>
              <a:gd name="connsiteX177" fmla="*/ 3924718 w 5282638"/>
              <a:gd name="connsiteY177" fmla="*/ 2907059 h 4504269"/>
              <a:gd name="connsiteX178" fmla="*/ 3865576 w 5282638"/>
              <a:gd name="connsiteY178" fmla="*/ 2923643 h 4504269"/>
              <a:gd name="connsiteX179" fmla="*/ 3804067 w 5282638"/>
              <a:gd name="connsiteY179" fmla="*/ 2944967 h 4504269"/>
              <a:gd name="connsiteX180" fmla="*/ 3740193 w 5282638"/>
              <a:gd name="connsiteY180" fmla="*/ 2971028 h 4504269"/>
              <a:gd name="connsiteX181" fmla="*/ 3676318 w 5282638"/>
              <a:gd name="connsiteY181" fmla="*/ 3008936 h 4504269"/>
              <a:gd name="connsiteX182" fmla="*/ 3645564 w 5282638"/>
              <a:gd name="connsiteY182" fmla="*/ 3023151 h 4504269"/>
              <a:gd name="connsiteX183" fmla="*/ 3614810 w 5282638"/>
              <a:gd name="connsiteY183" fmla="*/ 3032628 h 4504269"/>
              <a:gd name="connsiteX184" fmla="*/ 3579324 w 5282638"/>
              <a:gd name="connsiteY184" fmla="*/ 3042105 h 4504269"/>
              <a:gd name="connsiteX185" fmla="*/ 3543839 w 5282638"/>
              <a:gd name="connsiteY185" fmla="*/ 3044475 h 4504269"/>
              <a:gd name="connsiteX186" fmla="*/ 3479964 w 5282638"/>
              <a:gd name="connsiteY186" fmla="*/ 3049213 h 4504269"/>
              <a:gd name="connsiteX187" fmla="*/ 3449210 w 5282638"/>
              <a:gd name="connsiteY187" fmla="*/ 3051582 h 4504269"/>
              <a:gd name="connsiteX188" fmla="*/ 3425553 w 5282638"/>
              <a:gd name="connsiteY188" fmla="*/ 3056321 h 4504269"/>
              <a:gd name="connsiteX189" fmla="*/ 3392433 w 5282638"/>
              <a:gd name="connsiteY189" fmla="*/ 3056321 h 4504269"/>
              <a:gd name="connsiteX190" fmla="*/ 3364044 w 5282638"/>
              <a:gd name="connsiteY190" fmla="*/ 3056321 h 4504269"/>
              <a:gd name="connsiteX191" fmla="*/ 3314364 w 5282638"/>
              <a:gd name="connsiteY191" fmla="*/ 3049213 h 4504269"/>
              <a:gd name="connsiteX192" fmla="*/ 3271782 w 5282638"/>
              <a:gd name="connsiteY192" fmla="*/ 3042105 h 4504269"/>
              <a:gd name="connsiteX193" fmla="*/ 3233930 w 5282638"/>
              <a:gd name="connsiteY193" fmla="*/ 3030259 h 4504269"/>
              <a:gd name="connsiteX194" fmla="*/ 3200810 w 5282638"/>
              <a:gd name="connsiteY194" fmla="*/ 3023151 h 4504269"/>
              <a:gd name="connsiteX195" fmla="*/ 3167690 w 5282638"/>
              <a:gd name="connsiteY195" fmla="*/ 3018413 h 4504269"/>
              <a:gd name="connsiteX196" fmla="*/ 3155862 w 5282638"/>
              <a:gd name="connsiteY196" fmla="*/ 3018413 h 4504269"/>
              <a:gd name="connsiteX197" fmla="*/ 3139302 w 5282638"/>
              <a:gd name="connsiteY197" fmla="*/ 3018413 h 4504269"/>
              <a:gd name="connsiteX198" fmla="*/ 3122742 w 5282638"/>
              <a:gd name="connsiteY198" fmla="*/ 3020782 h 4504269"/>
              <a:gd name="connsiteX199" fmla="*/ 3106182 w 5282638"/>
              <a:gd name="connsiteY199" fmla="*/ 3025521 h 4504269"/>
              <a:gd name="connsiteX200" fmla="*/ 2919290 w 5282638"/>
              <a:gd name="connsiteY200" fmla="*/ 3096598 h 4504269"/>
              <a:gd name="connsiteX201" fmla="*/ 2838856 w 5282638"/>
              <a:gd name="connsiteY201" fmla="*/ 3125029 h 4504269"/>
              <a:gd name="connsiteX202" fmla="*/ 2886170 w 5282638"/>
              <a:gd name="connsiteY202" fmla="*/ 3089490 h 4504269"/>
              <a:gd name="connsiteX203" fmla="*/ 3011553 w 5282638"/>
              <a:gd name="connsiteY203" fmla="*/ 2994721 h 4504269"/>
              <a:gd name="connsiteX204" fmla="*/ 3023382 w 5282638"/>
              <a:gd name="connsiteY204" fmla="*/ 2987613 h 4504269"/>
              <a:gd name="connsiteX205" fmla="*/ 3037576 w 5282638"/>
              <a:gd name="connsiteY205" fmla="*/ 2982874 h 4504269"/>
              <a:gd name="connsiteX206" fmla="*/ 3063599 w 5282638"/>
              <a:gd name="connsiteY206" fmla="*/ 2971028 h 4504269"/>
              <a:gd name="connsiteX207" fmla="*/ 3099084 w 5282638"/>
              <a:gd name="connsiteY207" fmla="*/ 2966290 h 4504269"/>
              <a:gd name="connsiteX208" fmla="*/ 3134570 w 5282638"/>
              <a:gd name="connsiteY208" fmla="*/ 2963920 h 4504269"/>
              <a:gd name="connsiteX209" fmla="*/ 3172422 w 5282638"/>
              <a:gd name="connsiteY209" fmla="*/ 2963920 h 4504269"/>
              <a:gd name="connsiteX210" fmla="*/ 3212639 w 5282638"/>
              <a:gd name="connsiteY210" fmla="*/ 2963920 h 4504269"/>
              <a:gd name="connsiteX211" fmla="*/ 3295439 w 5282638"/>
              <a:gd name="connsiteY211" fmla="*/ 2971028 h 4504269"/>
              <a:gd name="connsiteX212" fmla="*/ 3382970 w 5282638"/>
              <a:gd name="connsiteY212" fmla="*/ 2980505 h 4504269"/>
              <a:gd name="connsiteX213" fmla="*/ 3463404 w 5282638"/>
              <a:gd name="connsiteY213" fmla="*/ 2985244 h 4504269"/>
              <a:gd name="connsiteX214" fmla="*/ 3501256 w 5282638"/>
              <a:gd name="connsiteY214" fmla="*/ 2985244 h 4504269"/>
              <a:gd name="connsiteX215" fmla="*/ 3536742 w 5282638"/>
              <a:gd name="connsiteY215" fmla="*/ 2982874 h 4504269"/>
              <a:gd name="connsiteX216" fmla="*/ 3567496 w 5282638"/>
              <a:gd name="connsiteY216" fmla="*/ 2975767 h 4504269"/>
              <a:gd name="connsiteX217" fmla="*/ 3595884 w 5282638"/>
              <a:gd name="connsiteY217" fmla="*/ 2968659 h 4504269"/>
              <a:gd name="connsiteX218" fmla="*/ 3716536 w 5282638"/>
              <a:gd name="connsiteY218" fmla="*/ 2914166 h 4504269"/>
              <a:gd name="connsiteX219" fmla="*/ 3799336 w 5282638"/>
              <a:gd name="connsiteY219" fmla="*/ 2883366 h 4504269"/>
              <a:gd name="connsiteX220" fmla="*/ 3832456 w 5282638"/>
              <a:gd name="connsiteY220" fmla="*/ 2869151 h 4504269"/>
              <a:gd name="connsiteX221" fmla="*/ 3865576 w 5282638"/>
              <a:gd name="connsiteY221" fmla="*/ 2859674 h 4504269"/>
              <a:gd name="connsiteX222" fmla="*/ 3936547 w 5282638"/>
              <a:gd name="connsiteY222" fmla="*/ 2845458 h 4504269"/>
              <a:gd name="connsiteX223" fmla="*/ 3962570 w 5282638"/>
              <a:gd name="connsiteY223" fmla="*/ 2840720 h 4504269"/>
              <a:gd name="connsiteX224" fmla="*/ 3988593 w 5282638"/>
              <a:gd name="connsiteY224" fmla="*/ 2838351 h 4504269"/>
              <a:gd name="connsiteX225" fmla="*/ 4024078 w 5282638"/>
              <a:gd name="connsiteY225" fmla="*/ 2835981 h 4504269"/>
              <a:gd name="connsiteX226" fmla="*/ 4059564 w 5282638"/>
              <a:gd name="connsiteY226" fmla="*/ 2838351 h 4504269"/>
              <a:gd name="connsiteX227" fmla="*/ 4097416 w 5282638"/>
              <a:gd name="connsiteY227" fmla="*/ 2845458 h 4504269"/>
              <a:gd name="connsiteX228" fmla="*/ 4137633 w 5282638"/>
              <a:gd name="connsiteY228" fmla="*/ 2852566 h 4504269"/>
              <a:gd name="connsiteX229" fmla="*/ 4175484 w 5282638"/>
              <a:gd name="connsiteY229" fmla="*/ 2864412 h 4504269"/>
              <a:gd name="connsiteX230" fmla="*/ 4208604 w 5282638"/>
              <a:gd name="connsiteY230" fmla="*/ 2873889 h 4504269"/>
              <a:gd name="connsiteX231" fmla="*/ 4234627 w 5282638"/>
              <a:gd name="connsiteY231" fmla="*/ 2888105 h 4504269"/>
              <a:gd name="connsiteX232" fmla="*/ 4255918 w 5282638"/>
              <a:gd name="connsiteY232" fmla="*/ 2904689 h 4504269"/>
              <a:gd name="connsiteX233" fmla="*/ 4272478 w 5282638"/>
              <a:gd name="connsiteY233" fmla="*/ 2885736 h 4504269"/>
              <a:gd name="connsiteX234" fmla="*/ 4386032 w 5282638"/>
              <a:gd name="connsiteY234" fmla="*/ 2724627 h 4504269"/>
              <a:gd name="connsiteX235" fmla="*/ 4587118 w 5282638"/>
              <a:gd name="connsiteY235" fmla="*/ 2447426 h 4504269"/>
              <a:gd name="connsiteX236" fmla="*/ 4672284 w 5282638"/>
              <a:gd name="connsiteY236" fmla="*/ 2328964 h 4504269"/>
              <a:gd name="connsiteX237" fmla="*/ 4717232 w 5282638"/>
              <a:gd name="connsiteY237" fmla="*/ 2264994 h 4504269"/>
              <a:gd name="connsiteX238" fmla="*/ 4762181 w 5282638"/>
              <a:gd name="connsiteY238" fmla="*/ 2198656 h 4504269"/>
              <a:gd name="connsiteX239" fmla="*/ 4797667 w 5282638"/>
              <a:gd name="connsiteY239" fmla="*/ 2139425 h 4504269"/>
              <a:gd name="connsiteX240" fmla="*/ 4809496 w 5282638"/>
              <a:gd name="connsiteY240" fmla="*/ 2110994 h 4504269"/>
              <a:gd name="connsiteX241" fmla="*/ 4821324 w 5282638"/>
              <a:gd name="connsiteY241" fmla="*/ 2082563 h 4504269"/>
              <a:gd name="connsiteX242" fmla="*/ 4826056 w 5282638"/>
              <a:gd name="connsiteY242" fmla="*/ 2058871 h 4504269"/>
              <a:gd name="connsiteX243" fmla="*/ 4828421 w 5282638"/>
              <a:gd name="connsiteY243" fmla="*/ 2035178 h 4504269"/>
              <a:gd name="connsiteX244" fmla="*/ 4826056 w 5282638"/>
              <a:gd name="connsiteY244" fmla="*/ 2016224 h 4504269"/>
              <a:gd name="connsiteX245" fmla="*/ 4821324 w 5282638"/>
              <a:gd name="connsiteY245" fmla="*/ 1997270 h 4504269"/>
              <a:gd name="connsiteX246" fmla="*/ 4802398 w 5282638"/>
              <a:gd name="connsiteY246" fmla="*/ 1987793 h 4504269"/>
              <a:gd name="connsiteX247" fmla="*/ 4783472 w 5282638"/>
              <a:gd name="connsiteY247" fmla="*/ 1983055 h 4504269"/>
              <a:gd name="connsiteX248" fmla="*/ 4762181 w 5282638"/>
              <a:gd name="connsiteY248" fmla="*/ 1983055 h 4504269"/>
              <a:gd name="connsiteX249" fmla="*/ 4736158 w 5282638"/>
              <a:gd name="connsiteY249" fmla="*/ 1985424 h 4504269"/>
              <a:gd name="connsiteX250" fmla="*/ 4726696 w 5282638"/>
              <a:gd name="connsiteY250" fmla="*/ 1992532 h 4504269"/>
              <a:gd name="connsiteX251" fmla="*/ 4712501 w 5282638"/>
              <a:gd name="connsiteY251" fmla="*/ 1997270 h 4504269"/>
              <a:gd name="connsiteX252" fmla="*/ 4684112 w 5282638"/>
              <a:gd name="connsiteY252" fmla="*/ 2020963 h 4504269"/>
              <a:gd name="connsiteX253" fmla="*/ 4650992 w 5282638"/>
              <a:gd name="connsiteY253" fmla="*/ 2051763 h 4504269"/>
              <a:gd name="connsiteX254" fmla="*/ 4610776 w 5282638"/>
              <a:gd name="connsiteY254" fmla="*/ 2092040 h 4504269"/>
              <a:gd name="connsiteX255" fmla="*/ 4525610 w 5282638"/>
              <a:gd name="connsiteY255" fmla="*/ 2182071 h 4504269"/>
              <a:gd name="connsiteX256" fmla="*/ 4435712 w 5282638"/>
              <a:gd name="connsiteY256" fmla="*/ 2291056 h 4504269"/>
              <a:gd name="connsiteX257" fmla="*/ 4341084 w 5282638"/>
              <a:gd name="connsiteY257" fmla="*/ 2400041 h 4504269"/>
              <a:gd name="connsiteX258" fmla="*/ 4251187 w 5282638"/>
              <a:gd name="connsiteY258" fmla="*/ 2499549 h 4504269"/>
              <a:gd name="connsiteX259" fmla="*/ 4192044 w 5282638"/>
              <a:gd name="connsiteY259" fmla="*/ 2563519 h 4504269"/>
              <a:gd name="connsiteX260" fmla="*/ 4137633 w 5282638"/>
              <a:gd name="connsiteY260" fmla="*/ 2620381 h 4504269"/>
              <a:gd name="connsiteX261" fmla="*/ 4090318 w 5282638"/>
              <a:gd name="connsiteY261" fmla="*/ 2665396 h 4504269"/>
              <a:gd name="connsiteX262" fmla="*/ 4045370 w 5282638"/>
              <a:gd name="connsiteY262" fmla="*/ 2708042 h 4504269"/>
              <a:gd name="connsiteX263" fmla="*/ 4007518 w 5282638"/>
              <a:gd name="connsiteY263" fmla="*/ 2736473 h 4504269"/>
              <a:gd name="connsiteX264" fmla="*/ 3972033 w 5282638"/>
              <a:gd name="connsiteY264" fmla="*/ 2760166 h 4504269"/>
              <a:gd name="connsiteX265" fmla="*/ 3941278 w 5282638"/>
              <a:gd name="connsiteY265" fmla="*/ 2776750 h 4504269"/>
              <a:gd name="connsiteX266" fmla="*/ 3910524 w 5282638"/>
              <a:gd name="connsiteY266" fmla="*/ 2788597 h 4504269"/>
              <a:gd name="connsiteX267" fmla="*/ 3886867 w 5282638"/>
              <a:gd name="connsiteY267" fmla="*/ 2793335 h 4504269"/>
              <a:gd name="connsiteX268" fmla="*/ 3865576 w 5282638"/>
              <a:gd name="connsiteY268" fmla="*/ 2795704 h 4504269"/>
              <a:gd name="connsiteX269" fmla="*/ 3846650 w 5282638"/>
              <a:gd name="connsiteY269" fmla="*/ 2795704 h 4504269"/>
              <a:gd name="connsiteX270" fmla="*/ 3830090 w 5282638"/>
              <a:gd name="connsiteY270" fmla="*/ 2795704 h 4504269"/>
              <a:gd name="connsiteX271" fmla="*/ 3806433 w 5282638"/>
              <a:gd name="connsiteY271" fmla="*/ 2790966 h 4504269"/>
              <a:gd name="connsiteX272" fmla="*/ 3787507 w 5282638"/>
              <a:gd name="connsiteY272" fmla="*/ 2786227 h 4504269"/>
              <a:gd name="connsiteX273" fmla="*/ 3780410 w 5282638"/>
              <a:gd name="connsiteY273" fmla="*/ 2781489 h 4504269"/>
              <a:gd name="connsiteX274" fmla="*/ 3832456 w 5282638"/>
              <a:gd name="connsiteY274" fmla="*/ 2772012 h 4504269"/>
              <a:gd name="connsiteX275" fmla="*/ 3879770 w 5282638"/>
              <a:gd name="connsiteY275" fmla="*/ 2760166 h 4504269"/>
              <a:gd name="connsiteX276" fmla="*/ 3898696 w 5282638"/>
              <a:gd name="connsiteY276" fmla="*/ 2753058 h 4504269"/>
              <a:gd name="connsiteX277" fmla="*/ 3912890 w 5282638"/>
              <a:gd name="connsiteY277" fmla="*/ 2748320 h 4504269"/>
              <a:gd name="connsiteX278" fmla="*/ 3948376 w 5282638"/>
              <a:gd name="connsiteY278" fmla="*/ 2719889 h 4504269"/>
              <a:gd name="connsiteX279" fmla="*/ 3983861 w 5282638"/>
              <a:gd name="connsiteY279" fmla="*/ 2693827 h 4504269"/>
              <a:gd name="connsiteX280" fmla="*/ 4014616 w 5282638"/>
              <a:gd name="connsiteY280" fmla="*/ 2663027 h 4504269"/>
              <a:gd name="connsiteX281" fmla="*/ 4045370 w 5282638"/>
              <a:gd name="connsiteY281" fmla="*/ 2627488 h 4504269"/>
              <a:gd name="connsiteX282" fmla="*/ 4118707 w 5282638"/>
              <a:gd name="connsiteY282" fmla="*/ 2546934 h 4504269"/>
              <a:gd name="connsiteX283" fmla="*/ 4220432 w 5282638"/>
              <a:gd name="connsiteY283" fmla="*/ 2437949 h 4504269"/>
              <a:gd name="connsiteX284" fmla="*/ 4291404 w 5282638"/>
              <a:gd name="connsiteY284" fmla="*/ 2359764 h 4504269"/>
              <a:gd name="connsiteX285" fmla="*/ 4360010 w 5282638"/>
              <a:gd name="connsiteY285" fmla="*/ 2283948 h 4504269"/>
              <a:gd name="connsiteX286" fmla="*/ 4483027 w 5282638"/>
              <a:gd name="connsiteY286" fmla="*/ 2134686 h 4504269"/>
              <a:gd name="connsiteX287" fmla="*/ 4537438 w 5282638"/>
              <a:gd name="connsiteY287" fmla="*/ 2065978 h 4504269"/>
              <a:gd name="connsiteX288" fmla="*/ 4589484 w 5282638"/>
              <a:gd name="connsiteY288" fmla="*/ 2013855 h 4504269"/>
              <a:gd name="connsiteX289" fmla="*/ 4636798 w 5282638"/>
              <a:gd name="connsiteY289" fmla="*/ 1966470 h 4504269"/>
              <a:gd name="connsiteX290" fmla="*/ 4658090 w 5282638"/>
              <a:gd name="connsiteY290" fmla="*/ 1947516 h 4504269"/>
              <a:gd name="connsiteX291" fmla="*/ 4679381 w 5282638"/>
              <a:gd name="connsiteY291" fmla="*/ 1935670 h 4504269"/>
              <a:gd name="connsiteX292" fmla="*/ 4707770 w 5282638"/>
              <a:gd name="connsiteY292" fmla="*/ 1923824 h 4504269"/>
              <a:gd name="connsiteX293" fmla="*/ 4717232 w 5282638"/>
              <a:gd name="connsiteY293" fmla="*/ 1919085 h 4504269"/>
              <a:gd name="connsiteX294" fmla="*/ 4731427 w 5282638"/>
              <a:gd name="connsiteY294" fmla="*/ 1919085 h 4504269"/>
              <a:gd name="connsiteX295" fmla="*/ 4721964 w 5282638"/>
              <a:gd name="connsiteY295" fmla="*/ 1907239 h 4504269"/>
              <a:gd name="connsiteX296" fmla="*/ 4705404 w 5282638"/>
              <a:gd name="connsiteY296" fmla="*/ 1895393 h 4504269"/>
              <a:gd name="connsiteX297" fmla="*/ 4693576 w 5282638"/>
              <a:gd name="connsiteY297" fmla="*/ 1885916 h 4504269"/>
              <a:gd name="connsiteX298" fmla="*/ 4679381 w 5282638"/>
              <a:gd name="connsiteY298" fmla="*/ 1881177 h 4504269"/>
              <a:gd name="connsiteX299" fmla="*/ 4667552 w 5282638"/>
              <a:gd name="connsiteY299" fmla="*/ 1876439 h 4504269"/>
              <a:gd name="connsiteX300" fmla="*/ 4650992 w 5282638"/>
              <a:gd name="connsiteY300" fmla="*/ 1871700 h 4504269"/>
              <a:gd name="connsiteX301" fmla="*/ 4629701 w 5282638"/>
              <a:gd name="connsiteY301" fmla="*/ 1871700 h 4504269"/>
              <a:gd name="connsiteX302" fmla="*/ 4606044 w 5282638"/>
              <a:gd name="connsiteY302" fmla="*/ 1878808 h 4504269"/>
              <a:gd name="connsiteX303" fmla="*/ 4589484 w 5282638"/>
              <a:gd name="connsiteY303" fmla="*/ 1885916 h 4504269"/>
              <a:gd name="connsiteX304" fmla="*/ 4572924 w 5282638"/>
              <a:gd name="connsiteY304" fmla="*/ 1897762 h 4504269"/>
              <a:gd name="connsiteX305" fmla="*/ 4530341 w 5282638"/>
              <a:gd name="connsiteY305" fmla="*/ 1928562 h 4504269"/>
              <a:gd name="connsiteX306" fmla="*/ 4483027 w 5282638"/>
              <a:gd name="connsiteY306" fmla="*/ 1975947 h 4504269"/>
              <a:gd name="connsiteX307" fmla="*/ 4430981 w 5282638"/>
              <a:gd name="connsiteY307" fmla="*/ 2032809 h 4504269"/>
              <a:gd name="connsiteX308" fmla="*/ 4376570 w 5282638"/>
              <a:gd name="connsiteY308" fmla="*/ 2096778 h 4504269"/>
              <a:gd name="connsiteX309" fmla="*/ 4312696 w 5282638"/>
              <a:gd name="connsiteY309" fmla="*/ 2167856 h 4504269"/>
              <a:gd name="connsiteX310" fmla="*/ 4189678 w 5282638"/>
              <a:gd name="connsiteY310" fmla="*/ 2317118 h 4504269"/>
              <a:gd name="connsiteX311" fmla="*/ 4130536 w 5282638"/>
              <a:gd name="connsiteY311" fmla="*/ 2388195 h 4504269"/>
              <a:gd name="connsiteX312" fmla="*/ 4078490 w 5282638"/>
              <a:gd name="connsiteY312" fmla="*/ 2447426 h 4504269"/>
              <a:gd name="connsiteX313" fmla="*/ 4028810 w 5282638"/>
              <a:gd name="connsiteY313" fmla="*/ 2501918 h 4504269"/>
              <a:gd name="connsiteX314" fmla="*/ 3986227 w 5282638"/>
              <a:gd name="connsiteY314" fmla="*/ 2549303 h 4504269"/>
              <a:gd name="connsiteX315" fmla="*/ 3943644 w 5282638"/>
              <a:gd name="connsiteY315" fmla="*/ 2591950 h 4504269"/>
              <a:gd name="connsiteX316" fmla="*/ 3905793 w 5282638"/>
              <a:gd name="connsiteY316" fmla="*/ 2625119 h 4504269"/>
              <a:gd name="connsiteX317" fmla="*/ 3870307 w 5282638"/>
              <a:gd name="connsiteY317" fmla="*/ 2653550 h 4504269"/>
              <a:gd name="connsiteX318" fmla="*/ 3837187 w 5282638"/>
              <a:gd name="connsiteY318" fmla="*/ 2674873 h 4504269"/>
              <a:gd name="connsiteX319" fmla="*/ 3811164 w 5282638"/>
              <a:gd name="connsiteY319" fmla="*/ 2684350 h 4504269"/>
              <a:gd name="connsiteX320" fmla="*/ 3778044 w 5282638"/>
              <a:gd name="connsiteY320" fmla="*/ 2696196 h 4504269"/>
              <a:gd name="connsiteX321" fmla="*/ 3759118 w 5282638"/>
              <a:gd name="connsiteY321" fmla="*/ 2698565 h 4504269"/>
              <a:gd name="connsiteX322" fmla="*/ 3740193 w 5282638"/>
              <a:gd name="connsiteY322" fmla="*/ 2698565 h 4504269"/>
              <a:gd name="connsiteX323" fmla="*/ 3711804 w 5282638"/>
              <a:gd name="connsiteY323" fmla="*/ 2696196 h 4504269"/>
              <a:gd name="connsiteX324" fmla="*/ 3690513 w 5282638"/>
              <a:gd name="connsiteY324" fmla="*/ 2691458 h 4504269"/>
              <a:gd name="connsiteX325" fmla="*/ 3681050 w 5282638"/>
              <a:gd name="connsiteY325" fmla="*/ 2689089 h 4504269"/>
              <a:gd name="connsiteX326" fmla="*/ 3690513 w 5282638"/>
              <a:gd name="connsiteY326" fmla="*/ 2684350 h 4504269"/>
              <a:gd name="connsiteX327" fmla="*/ 3752022 w 5282638"/>
              <a:gd name="connsiteY327" fmla="*/ 2665396 h 4504269"/>
              <a:gd name="connsiteX328" fmla="*/ 3785142 w 5282638"/>
              <a:gd name="connsiteY328" fmla="*/ 2653550 h 4504269"/>
              <a:gd name="connsiteX329" fmla="*/ 3811164 w 5282638"/>
              <a:gd name="connsiteY329" fmla="*/ 2641704 h 4504269"/>
              <a:gd name="connsiteX330" fmla="*/ 3813530 w 5282638"/>
              <a:gd name="connsiteY330" fmla="*/ 2639334 h 4504269"/>
              <a:gd name="connsiteX331" fmla="*/ 3851382 w 5282638"/>
              <a:gd name="connsiteY331" fmla="*/ 2618011 h 4504269"/>
              <a:gd name="connsiteX332" fmla="*/ 3884502 w 5282638"/>
              <a:gd name="connsiteY332" fmla="*/ 2594319 h 4504269"/>
              <a:gd name="connsiteX333" fmla="*/ 3917621 w 5282638"/>
              <a:gd name="connsiteY333" fmla="*/ 2561150 h 4504269"/>
              <a:gd name="connsiteX334" fmla="*/ 3948376 w 5282638"/>
              <a:gd name="connsiteY334" fmla="*/ 2525611 h 4504269"/>
              <a:gd name="connsiteX335" fmla="*/ 4028810 w 5282638"/>
              <a:gd name="connsiteY335" fmla="*/ 2421364 h 4504269"/>
              <a:gd name="connsiteX336" fmla="*/ 4156558 w 5282638"/>
              <a:gd name="connsiteY336" fmla="*/ 2255517 h 4504269"/>
              <a:gd name="connsiteX337" fmla="*/ 4305598 w 5282638"/>
              <a:gd name="connsiteY337" fmla="*/ 2065978 h 4504269"/>
              <a:gd name="connsiteX338" fmla="*/ 4367107 w 5282638"/>
              <a:gd name="connsiteY338" fmla="*/ 1992532 h 4504269"/>
              <a:gd name="connsiteX339" fmla="*/ 4423884 w 5282638"/>
              <a:gd name="connsiteY339" fmla="*/ 1926193 h 4504269"/>
              <a:gd name="connsiteX340" fmla="*/ 4421518 w 5282638"/>
              <a:gd name="connsiteY340" fmla="*/ 1909608 h 4504269"/>
              <a:gd name="connsiteX341" fmla="*/ 4419152 w 5282638"/>
              <a:gd name="connsiteY341" fmla="*/ 1895393 h 4504269"/>
              <a:gd name="connsiteX342" fmla="*/ 4414421 w 5282638"/>
              <a:gd name="connsiteY342" fmla="*/ 1881177 h 4504269"/>
              <a:gd name="connsiteX343" fmla="*/ 4402592 w 5282638"/>
              <a:gd name="connsiteY343" fmla="*/ 1866962 h 4504269"/>
              <a:gd name="connsiteX344" fmla="*/ 4388398 w 5282638"/>
              <a:gd name="connsiteY344" fmla="*/ 1862224 h 4504269"/>
              <a:gd name="connsiteX345" fmla="*/ 4371838 w 5282638"/>
              <a:gd name="connsiteY345" fmla="*/ 1862224 h 4504269"/>
              <a:gd name="connsiteX346" fmla="*/ 4357644 w 5282638"/>
              <a:gd name="connsiteY346" fmla="*/ 1862224 h 4504269"/>
              <a:gd name="connsiteX347" fmla="*/ 4338718 w 5282638"/>
              <a:gd name="connsiteY347" fmla="*/ 1869331 h 4504269"/>
              <a:gd name="connsiteX348" fmla="*/ 4319792 w 5282638"/>
              <a:gd name="connsiteY348" fmla="*/ 1881177 h 4504269"/>
              <a:gd name="connsiteX349" fmla="*/ 4296136 w 5282638"/>
              <a:gd name="connsiteY349" fmla="*/ 1900131 h 4504269"/>
              <a:gd name="connsiteX350" fmla="*/ 4272478 w 5282638"/>
              <a:gd name="connsiteY350" fmla="*/ 1921455 h 4504269"/>
              <a:gd name="connsiteX351" fmla="*/ 4248821 w 5282638"/>
              <a:gd name="connsiteY351" fmla="*/ 1949885 h 4504269"/>
              <a:gd name="connsiteX352" fmla="*/ 4189678 w 5282638"/>
              <a:gd name="connsiteY352" fmla="*/ 2023332 h 4504269"/>
              <a:gd name="connsiteX353" fmla="*/ 4121073 w 5282638"/>
              <a:gd name="connsiteY353" fmla="*/ 2110994 h 4504269"/>
              <a:gd name="connsiteX354" fmla="*/ 3995690 w 5282638"/>
              <a:gd name="connsiteY354" fmla="*/ 2283948 h 4504269"/>
              <a:gd name="connsiteX355" fmla="*/ 3893964 w 5282638"/>
              <a:gd name="connsiteY355" fmla="*/ 2414257 h 4504269"/>
              <a:gd name="connsiteX356" fmla="*/ 3849016 w 5282638"/>
              <a:gd name="connsiteY356" fmla="*/ 2471118 h 4504269"/>
              <a:gd name="connsiteX357" fmla="*/ 3808798 w 5282638"/>
              <a:gd name="connsiteY357" fmla="*/ 2520872 h 4504269"/>
              <a:gd name="connsiteX358" fmla="*/ 3770947 w 5282638"/>
              <a:gd name="connsiteY358" fmla="*/ 2561150 h 4504269"/>
              <a:gd name="connsiteX359" fmla="*/ 3735462 w 5282638"/>
              <a:gd name="connsiteY359" fmla="*/ 2594319 h 4504269"/>
              <a:gd name="connsiteX360" fmla="*/ 3707073 w 5282638"/>
              <a:gd name="connsiteY360" fmla="*/ 2618011 h 4504269"/>
              <a:gd name="connsiteX361" fmla="*/ 3681050 w 5282638"/>
              <a:gd name="connsiteY361" fmla="*/ 2634596 h 4504269"/>
              <a:gd name="connsiteX362" fmla="*/ 3662124 w 5282638"/>
              <a:gd name="connsiteY362" fmla="*/ 2641704 h 4504269"/>
              <a:gd name="connsiteX363" fmla="*/ 3643198 w 5282638"/>
              <a:gd name="connsiteY363" fmla="*/ 2646442 h 4504269"/>
              <a:gd name="connsiteX364" fmla="*/ 3626639 w 5282638"/>
              <a:gd name="connsiteY364" fmla="*/ 2651181 h 4504269"/>
              <a:gd name="connsiteX365" fmla="*/ 3614810 w 5282638"/>
              <a:gd name="connsiteY365" fmla="*/ 2651181 h 4504269"/>
              <a:gd name="connsiteX366" fmla="*/ 3598250 w 5282638"/>
              <a:gd name="connsiteY366" fmla="*/ 2651181 h 4504269"/>
              <a:gd name="connsiteX367" fmla="*/ 3586422 w 5282638"/>
              <a:gd name="connsiteY367" fmla="*/ 2646442 h 4504269"/>
              <a:gd name="connsiteX368" fmla="*/ 3576959 w 5282638"/>
              <a:gd name="connsiteY368" fmla="*/ 2644073 h 4504269"/>
              <a:gd name="connsiteX369" fmla="*/ 3586422 w 5282638"/>
              <a:gd name="connsiteY369" fmla="*/ 2639334 h 4504269"/>
              <a:gd name="connsiteX370" fmla="*/ 3636102 w 5282638"/>
              <a:gd name="connsiteY370" fmla="*/ 2618011 h 4504269"/>
              <a:gd name="connsiteX371" fmla="*/ 3662124 w 5282638"/>
              <a:gd name="connsiteY371" fmla="*/ 2606165 h 4504269"/>
              <a:gd name="connsiteX372" fmla="*/ 3681050 w 5282638"/>
              <a:gd name="connsiteY372" fmla="*/ 2594319 h 4504269"/>
              <a:gd name="connsiteX373" fmla="*/ 3714170 w 5282638"/>
              <a:gd name="connsiteY373" fmla="*/ 2572996 h 4504269"/>
              <a:gd name="connsiteX374" fmla="*/ 3740193 w 5282638"/>
              <a:gd name="connsiteY374" fmla="*/ 2546934 h 4504269"/>
              <a:gd name="connsiteX375" fmla="*/ 3768582 w 5282638"/>
              <a:gd name="connsiteY375" fmla="*/ 2520872 h 4504269"/>
              <a:gd name="connsiteX376" fmla="*/ 3794604 w 5282638"/>
              <a:gd name="connsiteY376" fmla="*/ 2487703 h 4504269"/>
              <a:gd name="connsiteX377" fmla="*/ 3827724 w 5282638"/>
              <a:gd name="connsiteY377" fmla="*/ 2445057 h 4504269"/>
              <a:gd name="connsiteX378" fmla="*/ 3865576 w 5282638"/>
              <a:gd name="connsiteY378" fmla="*/ 2388195 h 4504269"/>
              <a:gd name="connsiteX379" fmla="*/ 3967301 w 5282638"/>
              <a:gd name="connsiteY379" fmla="*/ 2231825 h 4504269"/>
              <a:gd name="connsiteX380" fmla="*/ 4040638 w 5282638"/>
              <a:gd name="connsiteY380" fmla="*/ 2122840 h 4504269"/>
              <a:gd name="connsiteX381" fmla="*/ 4102147 w 5282638"/>
              <a:gd name="connsiteY381" fmla="*/ 2032809 h 4504269"/>
              <a:gd name="connsiteX382" fmla="*/ 4085587 w 5282638"/>
              <a:gd name="connsiteY382" fmla="*/ 2018593 h 4504269"/>
              <a:gd name="connsiteX383" fmla="*/ 4078490 w 5282638"/>
              <a:gd name="connsiteY383" fmla="*/ 2013855 h 4504269"/>
              <a:gd name="connsiteX384" fmla="*/ 4064296 w 5282638"/>
              <a:gd name="connsiteY384" fmla="*/ 2013855 h 4504269"/>
              <a:gd name="connsiteX385" fmla="*/ 4054833 w 5282638"/>
              <a:gd name="connsiteY385" fmla="*/ 2016224 h 4504269"/>
              <a:gd name="connsiteX386" fmla="*/ 4040638 w 5282638"/>
              <a:gd name="connsiteY386" fmla="*/ 2020963 h 4504269"/>
              <a:gd name="connsiteX387" fmla="*/ 4026444 w 5282638"/>
              <a:gd name="connsiteY387" fmla="*/ 2032809 h 4504269"/>
              <a:gd name="connsiteX388" fmla="*/ 4009884 w 5282638"/>
              <a:gd name="connsiteY388" fmla="*/ 2042286 h 4504269"/>
              <a:gd name="connsiteX389" fmla="*/ 3981496 w 5282638"/>
              <a:gd name="connsiteY389" fmla="*/ 2075455 h 4504269"/>
              <a:gd name="connsiteX390" fmla="*/ 3948376 w 5282638"/>
              <a:gd name="connsiteY390" fmla="*/ 2115732 h 4504269"/>
              <a:gd name="connsiteX391" fmla="*/ 3917621 w 5282638"/>
              <a:gd name="connsiteY391" fmla="*/ 2165486 h 4504269"/>
              <a:gd name="connsiteX392" fmla="*/ 3882136 w 5282638"/>
              <a:gd name="connsiteY392" fmla="*/ 2217610 h 4504269"/>
              <a:gd name="connsiteX393" fmla="*/ 3851382 w 5282638"/>
              <a:gd name="connsiteY393" fmla="*/ 2274471 h 4504269"/>
              <a:gd name="connsiteX394" fmla="*/ 3834822 w 5282638"/>
              <a:gd name="connsiteY394" fmla="*/ 2298164 h 4504269"/>
              <a:gd name="connsiteX395" fmla="*/ 3818262 w 5282638"/>
              <a:gd name="connsiteY395" fmla="*/ 2326595 h 4504269"/>
              <a:gd name="connsiteX396" fmla="*/ 3780410 w 5282638"/>
              <a:gd name="connsiteY396" fmla="*/ 2378718 h 4504269"/>
              <a:gd name="connsiteX397" fmla="*/ 3737827 w 5282638"/>
              <a:gd name="connsiteY397" fmla="*/ 2423734 h 4504269"/>
              <a:gd name="connsiteX398" fmla="*/ 3690513 w 5282638"/>
              <a:gd name="connsiteY398" fmla="*/ 2468749 h 4504269"/>
              <a:gd name="connsiteX399" fmla="*/ 3636102 w 5282638"/>
              <a:gd name="connsiteY399" fmla="*/ 2511395 h 4504269"/>
              <a:gd name="connsiteX400" fmla="*/ 3581690 w 5282638"/>
              <a:gd name="connsiteY400" fmla="*/ 2554042 h 4504269"/>
              <a:gd name="connsiteX401" fmla="*/ 3524913 w 5282638"/>
              <a:gd name="connsiteY401" fmla="*/ 2587211 h 4504269"/>
              <a:gd name="connsiteX402" fmla="*/ 3468136 w 5282638"/>
              <a:gd name="connsiteY402" fmla="*/ 2622750 h 4504269"/>
              <a:gd name="connsiteX403" fmla="*/ 3427919 w 5282638"/>
              <a:gd name="connsiteY403" fmla="*/ 2627488 h 4504269"/>
              <a:gd name="connsiteX404" fmla="*/ 3392433 w 5282638"/>
              <a:gd name="connsiteY404" fmla="*/ 2636965 h 4504269"/>
              <a:gd name="connsiteX405" fmla="*/ 3356947 w 5282638"/>
              <a:gd name="connsiteY405" fmla="*/ 2646442 h 4504269"/>
              <a:gd name="connsiteX406" fmla="*/ 3316730 w 5282638"/>
              <a:gd name="connsiteY406" fmla="*/ 2665396 h 4504269"/>
              <a:gd name="connsiteX407" fmla="*/ 3203176 w 5282638"/>
              <a:gd name="connsiteY407" fmla="*/ 2719889 h 4504269"/>
              <a:gd name="connsiteX408" fmla="*/ 3118010 w 5282638"/>
              <a:gd name="connsiteY408" fmla="*/ 2757797 h 4504269"/>
              <a:gd name="connsiteX409" fmla="*/ 3004456 w 5282638"/>
              <a:gd name="connsiteY409" fmla="*/ 2800443 h 4504269"/>
              <a:gd name="connsiteX410" fmla="*/ 2964239 w 5282638"/>
              <a:gd name="connsiteY410" fmla="*/ 2819397 h 4504269"/>
              <a:gd name="connsiteX411" fmla="*/ 2924022 w 5282638"/>
              <a:gd name="connsiteY411" fmla="*/ 2838351 h 4504269"/>
              <a:gd name="connsiteX412" fmla="*/ 2888536 w 5282638"/>
              <a:gd name="connsiteY412" fmla="*/ 2857305 h 4504269"/>
              <a:gd name="connsiteX413" fmla="*/ 2853050 w 5282638"/>
              <a:gd name="connsiteY413" fmla="*/ 2876259 h 4504269"/>
              <a:gd name="connsiteX414" fmla="*/ 2819930 w 5282638"/>
              <a:gd name="connsiteY414" fmla="*/ 2897582 h 4504269"/>
              <a:gd name="connsiteX415" fmla="*/ 2793908 w 5282638"/>
              <a:gd name="connsiteY415" fmla="*/ 2916536 h 4504269"/>
              <a:gd name="connsiteX416" fmla="*/ 2765519 w 5282638"/>
              <a:gd name="connsiteY416" fmla="*/ 2940228 h 4504269"/>
              <a:gd name="connsiteX417" fmla="*/ 2739496 w 5282638"/>
              <a:gd name="connsiteY417" fmla="*/ 2963920 h 4504269"/>
              <a:gd name="connsiteX418" fmla="*/ 2718205 w 5282638"/>
              <a:gd name="connsiteY418" fmla="*/ 2985244 h 4504269"/>
              <a:gd name="connsiteX419" fmla="*/ 2696913 w 5282638"/>
              <a:gd name="connsiteY419" fmla="*/ 3006567 h 4504269"/>
              <a:gd name="connsiteX420" fmla="*/ 2661428 w 5282638"/>
              <a:gd name="connsiteY420" fmla="*/ 3051582 h 4504269"/>
              <a:gd name="connsiteX421" fmla="*/ 2630673 w 5282638"/>
              <a:gd name="connsiteY421" fmla="*/ 3101336 h 4504269"/>
              <a:gd name="connsiteX422" fmla="*/ 2609382 w 5282638"/>
              <a:gd name="connsiteY422" fmla="*/ 3146352 h 4504269"/>
              <a:gd name="connsiteX423" fmla="*/ 2590456 w 5282638"/>
              <a:gd name="connsiteY423" fmla="*/ 3188998 h 4504269"/>
              <a:gd name="connsiteX424" fmla="*/ 2573896 w 5282638"/>
              <a:gd name="connsiteY424" fmla="*/ 3236383 h 4504269"/>
              <a:gd name="connsiteX425" fmla="*/ 2564433 w 5282638"/>
              <a:gd name="connsiteY425" fmla="*/ 3276660 h 4504269"/>
              <a:gd name="connsiteX426" fmla="*/ 2554970 w 5282638"/>
              <a:gd name="connsiteY426" fmla="*/ 3316937 h 4504269"/>
              <a:gd name="connsiteX427" fmla="*/ 2543142 w 5282638"/>
              <a:gd name="connsiteY427" fmla="*/ 3385645 h 4504269"/>
              <a:gd name="connsiteX428" fmla="*/ 2533679 w 5282638"/>
              <a:gd name="connsiteY428" fmla="*/ 3411707 h 4504269"/>
              <a:gd name="connsiteX429" fmla="*/ 2526582 w 5282638"/>
              <a:gd name="connsiteY429" fmla="*/ 3433030 h 4504269"/>
              <a:gd name="connsiteX430" fmla="*/ 2505290 w 5282638"/>
              <a:gd name="connsiteY430" fmla="*/ 3482784 h 4504269"/>
              <a:gd name="connsiteX431" fmla="*/ 2460342 w 5282638"/>
              <a:gd name="connsiteY431" fmla="*/ 3553861 h 4504269"/>
              <a:gd name="connsiteX432" fmla="*/ 2339690 w 5282638"/>
              <a:gd name="connsiteY432" fmla="*/ 3759985 h 4504269"/>
              <a:gd name="connsiteX433" fmla="*/ 2197748 w 5282638"/>
              <a:gd name="connsiteY433" fmla="*/ 3994540 h 4504269"/>
              <a:gd name="connsiteX434" fmla="*/ 2069999 w 5282638"/>
              <a:gd name="connsiteY434" fmla="*/ 4203034 h 4504269"/>
              <a:gd name="connsiteX435" fmla="*/ 1890205 w 5282638"/>
              <a:gd name="connsiteY435" fmla="*/ 4077464 h 4504269"/>
              <a:gd name="connsiteX436" fmla="*/ 1710411 w 5282638"/>
              <a:gd name="connsiteY436" fmla="*/ 3951894 h 4504269"/>
              <a:gd name="connsiteX437" fmla="*/ 1540080 w 5282638"/>
              <a:gd name="connsiteY437" fmla="*/ 3831063 h 4504269"/>
              <a:gd name="connsiteX438" fmla="*/ 1395771 w 5282638"/>
              <a:gd name="connsiteY438" fmla="*/ 3717339 h 4504269"/>
              <a:gd name="connsiteX439" fmla="*/ 1310605 w 5282638"/>
              <a:gd name="connsiteY439" fmla="*/ 3648631 h 4504269"/>
              <a:gd name="connsiteX440" fmla="*/ 1215977 w 5282638"/>
              <a:gd name="connsiteY440" fmla="*/ 3570446 h 4504269"/>
              <a:gd name="connsiteX441" fmla="*/ 1114251 w 5282638"/>
              <a:gd name="connsiteY441" fmla="*/ 3482784 h 4504269"/>
              <a:gd name="connsiteX442" fmla="*/ 1003063 w 5282638"/>
              <a:gd name="connsiteY442" fmla="*/ 3380907 h 4504269"/>
              <a:gd name="connsiteX443" fmla="*/ 889508 w 5282638"/>
              <a:gd name="connsiteY443" fmla="*/ 3271922 h 4504269"/>
              <a:gd name="connsiteX444" fmla="*/ 773588 w 5282638"/>
              <a:gd name="connsiteY444" fmla="*/ 3153460 h 4504269"/>
              <a:gd name="connsiteX445" fmla="*/ 714446 w 5282638"/>
              <a:gd name="connsiteY445" fmla="*/ 3089490 h 4504269"/>
              <a:gd name="connsiteX446" fmla="*/ 657669 w 5282638"/>
              <a:gd name="connsiteY446" fmla="*/ 3023151 h 4504269"/>
              <a:gd name="connsiteX447" fmla="*/ 598526 w 5282638"/>
              <a:gd name="connsiteY447" fmla="*/ 2954443 h 4504269"/>
              <a:gd name="connsiteX448" fmla="*/ 544114 w 5282638"/>
              <a:gd name="connsiteY448" fmla="*/ 2885736 h 4504269"/>
              <a:gd name="connsiteX449" fmla="*/ 487337 w 5282638"/>
              <a:gd name="connsiteY449" fmla="*/ 2814658 h 4504269"/>
              <a:gd name="connsiteX450" fmla="*/ 432926 w 5282638"/>
              <a:gd name="connsiteY450" fmla="*/ 2738843 h 4504269"/>
              <a:gd name="connsiteX451" fmla="*/ 383246 w 5282638"/>
              <a:gd name="connsiteY451" fmla="*/ 2663027 h 4504269"/>
              <a:gd name="connsiteX452" fmla="*/ 333566 w 5282638"/>
              <a:gd name="connsiteY452" fmla="*/ 2584842 h 4504269"/>
              <a:gd name="connsiteX453" fmla="*/ 286252 w 5282638"/>
              <a:gd name="connsiteY453" fmla="*/ 2506657 h 4504269"/>
              <a:gd name="connsiteX454" fmla="*/ 238937 w 5282638"/>
              <a:gd name="connsiteY454" fmla="*/ 2423734 h 4504269"/>
              <a:gd name="connsiteX455" fmla="*/ 198720 w 5282638"/>
              <a:gd name="connsiteY455" fmla="*/ 2340810 h 4504269"/>
              <a:gd name="connsiteX456" fmla="*/ 160869 w 5282638"/>
              <a:gd name="connsiteY456" fmla="*/ 2255517 h 4504269"/>
              <a:gd name="connsiteX457" fmla="*/ 123017 w 5282638"/>
              <a:gd name="connsiteY457" fmla="*/ 2167856 h 4504269"/>
              <a:gd name="connsiteX458" fmla="*/ 94629 w 5282638"/>
              <a:gd name="connsiteY458" fmla="*/ 2077824 h 4504269"/>
              <a:gd name="connsiteX459" fmla="*/ 66240 w 5282638"/>
              <a:gd name="connsiteY459" fmla="*/ 1987793 h 4504269"/>
              <a:gd name="connsiteX460" fmla="*/ 42583 w 5282638"/>
              <a:gd name="connsiteY460" fmla="*/ 1897762 h 4504269"/>
              <a:gd name="connsiteX461" fmla="*/ 23657 w 5282638"/>
              <a:gd name="connsiteY461" fmla="*/ 1802992 h 4504269"/>
              <a:gd name="connsiteX462" fmla="*/ 9463 w 5282638"/>
              <a:gd name="connsiteY462" fmla="*/ 1708223 h 4504269"/>
              <a:gd name="connsiteX463" fmla="*/ 2366 w 5282638"/>
              <a:gd name="connsiteY463" fmla="*/ 1611084 h 4504269"/>
              <a:gd name="connsiteX464" fmla="*/ 0 w 5282638"/>
              <a:gd name="connsiteY464" fmla="*/ 1513945 h 4504269"/>
              <a:gd name="connsiteX465" fmla="*/ 2366 w 5282638"/>
              <a:gd name="connsiteY465" fmla="*/ 1445237 h 4504269"/>
              <a:gd name="connsiteX466" fmla="*/ 4732 w 5282638"/>
              <a:gd name="connsiteY466" fmla="*/ 1376529 h 4504269"/>
              <a:gd name="connsiteX467" fmla="*/ 9463 w 5282638"/>
              <a:gd name="connsiteY467" fmla="*/ 1310190 h 4504269"/>
              <a:gd name="connsiteX468" fmla="*/ 18926 w 5282638"/>
              <a:gd name="connsiteY468" fmla="*/ 1246221 h 4504269"/>
              <a:gd name="connsiteX469" fmla="*/ 26023 w 5282638"/>
              <a:gd name="connsiteY469" fmla="*/ 1184621 h 4504269"/>
              <a:gd name="connsiteX470" fmla="*/ 40217 w 5282638"/>
              <a:gd name="connsiteY470" fmla="*/ 1123020 h 4504269"/>
              <a:gd name="connsiteX471" fmla="*/ 52046 w 5282638"/>
              <a:gd name="connsiteY471" fmla="*/ 1063789 h 4504269"/>
              <a:gd name="connsiteX472" fmla="*/ 68606 w 5282638"/>
              <a:gd name="connsiteY472" fmla="*/ 1004558 h 4504269"/>
              <a:gd name="connsiteX473" fmla="*/ 85166 w 5282638"/>
              <a:gd name="connsiteY473" fmla="*/ 947697 h 4504269"/>
              <a:gd name="connsiteX474" fmla="*/ 104092 w 5282638"/>
              <a:gd name="connsiteY474" fmla="*/ 890835 h 4504269"/>
              <a:gd name="connsiteX475" fmla="*/ 125383 w 5282638"/>
              <a:gd name="connsiteY475" fmla="*/ 836342 h 4504269"/>
              <a:gd name="connsiteX476" fmla="*/ 146674 w 5282638"/>
              <a:gd name="connsiteY476" fmla="*/ 784219 h 4504269"/>
              <a:gd name="connsiteX477" fmla="*/ 172697 w 5282638"/>
              <a:gd name="connsiteY477" fmla="*/ 736834 h 4504269"/>
              <a:gd name="connsiteX478" fmla="*/ 198720 w 5282638"/>
              <a:gd name="connsiteY478" fmla="*/ 684711 h 4504269"/>
              <a:gd name="connsiteX479" fmla="*/ 227109 w 5282638"/>
              <a:gd name="connsiteY479" fmla="*/ 639695 h 4504269"/>
              <a:gd name="connsiteX480" fmla="*/ 255497 w 5282638"/>
              <a:gd name="connsiteY480" fmla="*/ 592310 h 4504269"/>
              <a:gd name="connsiteX481" fmla="*/ 335932 w 5282638"/>
              <a:gd name="connsiteY481" fmla="*/ 696557 h 4504269"/>
              <a:gd name="connsiteX482" fmla="*/ 387977 w 5282638"/>
              <a:gd name="connsiteY482" fmla="*/ 765265 h 4504269"/>
              <a:gd name="connsiteX483" fmla="*/ 402172 w 5282638"/>
              <a:gd name="connsiteY483" fmla="*/ 784219 h 4504269"/>
              <a:gd name="connsiteX484" fmla="*/ 411634 w 5282638"/>
              <a:gd name="connsiteY484" fmla="*/ 812650 h 4504269"/>
              <a:gd name="connsiteX485" fmla="*/ 440023 w 5282638"/>
              <a:gd name="connsiteY485" fmla="*/ 876619 h 4504269"/>
              <a:gd name="connsiteX486" fmla="*/ 451851 w 5282638"/>
              <a:gd name="connsiteY486" fmla="*/ 914527 h 4504269"/>
              <a:gd name="connsiteX487" fmla="*/ 470777 w 5282638"/>
              <a:gd name="connsiteY487" fmla="*/ 952435 h 4504269"/>
              <a:gd name="connsiteX488" fmla="*/ 494434 w 5282638"/>
              <a:gd name="connsiteY488" fmla="*/ 992712 h 4504269"/>
              <a:gd name="connsiteX489" fmla="*/ 520457 w 5282638"/>
              <a:gd name="connsiteY489" fmla="*/ 1032989 h 4504269"/>
              <a:gd name="connsiteX490" fmla="*/ 553577 w 5282638"/>
              <a:gd name="connsiteY490" fmla="*/ 1075636 h 4504269"/>
              <a:gd name="connsiteX491" fmla="*/ 591429 w 5282638"/>
              <a:gd name="connsiteY491" fmla="*/ 1115913 h 4504269"/>
              <a:gd name="connsiteX492" fmla="*/ 634011 w 5282638"/>
              <a:gd name="connsiteY492" fmla="*/ 1153820 h 4504269"/>
              <a:gd name="connsiteX493" fmla="*/ 657669 w 5282638"/>
              <a:gd name="connsiteY493" fmla="*/ 1172774 h 4504269"/>
              <a:gd name="connsiteX494" fmla="*/ 686057 w 5282638"/>
              <a:gd name="connsiteY494" fmla="*/ 1191728 h 4504269"/>
              <a:gd name="connsiteX495" fmla="*/ 712080 w 5282638"/>
              <a:gd name="connsiteY495" fmla="*/ 1208313 h 4504269"/>
              <a:gd name="connsiteX496" fmla="*/ 742834 w 5282638"/>
              <a:gd name="connsiteY496" fmla="*/ 1224898 h 4504269"/>
              <a:gd name="connsiteX497" fmla="*/ 773588 w 5282638"/>
              <a:gd name="connsiteY497" fmla="*/ 1241482 h 4504269"/>
              <a:gd name="connsiteX498" fmla="*/ 809074 w 5282638"/>
              <a:gd name="connsiteY498" fmla="*/ 1255698 h 4504269"/>
              <a:gd name="connsiteX499" fmla="*/ 846926 w 5282638"/>
              <a:gd name="connsiteY499" fmla="*/ 1267544 h 4504269"/>
              <a:gd name="connsiteX500" fmla="*/ 884777 w 5282638"/>
              <a:gd name="connsiteY500" fmla="*/ 1281759 h 4504269"/>
              <a:gd name="connsiteX501" fmla="*/ 927360 w 5282638"/>
              <a:gd name="connsiteY501" fmla="*/ 1291236 h 4504269"/>
              <a:gd name="connsiteX502" fmla="*/ 972308 w 5282638"/>
              <a:gd name="connsiteY502" fmla="*/ 1300713 h 4504269"/>
              <a:gd name="connsiteX503" fmla="*/ 1090594 w 5282638"/>
              <a:gd name="connsiteY503" fmla="*/ 1324406 h 4504269"/>
              <a:gd name="connsiteX504" fmla="*/ 1182857 w 5282638"/>
              <a:gd name="connsiteY504" fmla="*/ 1345729 h 4504269"/>
              <a:gd name="connsiteX505" fmla="*/ 1303508 w 5282638"/>
              <a:gd name="connsiteY505" fmla="*/ 1378898 h 4504269"/>
              <a:gd name="connsiteX506" fmla="*/ 1346091 w 5282638"/>
              <a:gd name="connsiteY506" fmla="*/ 1388375 h 4504269"/>
              <a:gd name="connsiteX507" fmla="*/ 1383943 w 5282638"/>
              <a:gd name="connsiteY507" fmla="*/ 1395483 h 4504269"/>
              <a:gd name="connsiteX508" fmla="*/ 1419428 w 5282638"/>
              <a:gd name="connsiteY508" fmla="*/ 1397852 h 4504269"/>
              <a:gd name="connsiteX509" fmla="*/ 1459645 w 5282638"/>
              <a:gd name="connsiteY509" fmla="*/ 1395483 h 4504269"/>
              <a:gd name="connsiteX510" fmla="*/ 1521154 w 5282638"/>
              <a:gd name="connsiteY510" fmla="*/ 1416806 h 4504269"/>
              <a:gd name="connsiteX511" fmla="*/ 1585028 w 5282638"/>
              <a:gd name="connsiteY511" fmla="*/ 1442868 h 4504269"/>
              <a:gd name="connsiteX512" fmla="*/ 1646537 w 5282638"/>
              <a:gd name="connsiteY512" fmla="*/ 1473668 h 4504269"/>
              <a:gd name="connsiteX513" fmla="*/ 1705680 w 5282638"/>
              <a:gd name="connsiteY513" fmla="*/ 1504468 h 4504269"/>
              <a:gd name="connsiteX514" fmla="*/ 1760091 w 5282638"/>
              <a:gd name="connsiteY514" fmla="*/ 1542376 h 4504269"/>
              <a:gd name="connsiteX515" fmla="*/ 1814502 w 5282638"/>
              <a:gd name="connsiteY515" fmla="*/ 1580284 h 4504269"/>
              <a:gd name="connsiteX516" fmla="*/ 1859451 w 5282638"/>
              <a:gd name="connsiteY516" fmla="*/ 1625299 h 4504269"/>
              <a:gd name="connsiteX517" fmla="*/ 1880742 w 5282638"/>
              <a:gd name="connsiteY517" fmla="*/ 1646623 h 4504269"/>
              <a:gd name="connsiteX518" fmla="*/ 1899668 w 5282638"/>
              <a:gd name="connsiteY518" fmla="*/ 1670315 h 4504269"/>
              <a:gd name="connsiteX519" fmla="*/ 1939885 w 5282638"/>
              <a:gd name="connsiteY519" fmla="*/ 1720069 h 4504269"/>
              <a:gd name="connsiteX520" fmla="*/ 1982468 w 5282638"/>
              <a:gd name="connsiteY520" fmla="*/ 1767454 h 4504269"/>
              <a:gd name="connsiteX521" fmla="*/ 2025051 w 5282638"/>
              <a:gd name="connsiteY521" fmla="*/ 1807731 h 4504269"/>
              <a:gd name="connsiteX522" fmla="*/ 2062902 w 5282638"/>
              <a:gd name="connsiteY522" fmla="*/ 1843270 h 4504269"/>
              <a:gd name="connsiteX523" fmla="*/ 2100754 w 5282638"/>
              <a:gd name="connsiteY523" fmla="*/ 1866962 h 4504269"/>
              <a:gd name="connsiteX524" fmla="*/ 2114948 w 5282638"/>
              <a:gd name="connsiteY524" fmla="*/ 1876439 h 4504269"/>
              <a:gd name="connsiteX525" fmla="*/ 2131508 w 5282638"/>
              <a:gd name="connsiteY525" fmla="*/ 1883547 h 4504269"/>
              <a:gd name="connsiteX526" fmla="*/ 2145702 w 5282638"/>
              <a:gd name="connsiteY526" fmla="*/ 1885916 h 4504269"/>
              <a:gd name="connsiteX527" fmla="*/ 2155165 w 5282638"/>
              <a:gd name="connsiteY527" fmla="*/ 1885916 h 4504269"/>
              <a:gd name="connsiteX528" fmla="*/ 2169359 w 5282638"/>
              <a:gd name="connsiteY528" fmla="*/ 1883547 h 4504269"/>
              <a:gd name="connsiteX529" fmla="*/ 2178822 w 5282638"/>
              <a:gd name="connsiteY529" fmla="*/ 1878808 h 4504269"/>
              <a:gd name="connsiteX530" fmla="*/ 2190650 w 5282638"/>
              <a:gd name="connsiteY530" fmla="*/ 1862224 h 4504269"/>
              <a:gd name="connsiteX531" fmla="*/ 2110216 w 5282638"/>
              <a:gd name="connsiteY531" fmla="*/ 1784039 h 4504269"/>
              <a:gd name="connsiteX532" fmla="*/ 2020319 w 5282638"/>
              <a:gd name="connsiteY532" fmla="*/ 1689269 h 4504269"/>
              <a:gd name="connsiteX533" fmla="*/ 1892571 w 5282638"/>
              <a:gd name="connsiteY533" fmla="*/ 1554222 h 4504269"/>
              <a:gd name="connsiteX534" fmla="*/ 1845257 w 5282638"/>
              <a:gd name="connsiteY534" fmla="*/ 1504468 h 4504269"/>
              <a:gd name="connsiteX535" fmla="*/ 1807405 w 5282638"/>
              <a:gd name="connsiteY535" fmla="*/ 1471299 h 4504269"/>
              <a:gd name="connsiteX536" fmla="*/ 1771920 w 5282638"/>
              <a:gd name="connsiteY536" fmla="*/ 1440499 h 4504269"/>
              <a:gd name="connsiteX537" fmla="*/ 1743531 w 5282638"/>
              <a:gd name="connsiteY537" fmla="*/ 1419175 h 4504269"/>
              <a:gd name="connsiteX538" fmla="*/ 1710411 w 5282638"/>
              <a:gd name="connsiteY538" fmla="*/ 1400222 h 4504269"/>
              <a:gd name="connsiteX539" fmla="*/ 1674925 w 5282638"/>
              <a:gd name="connsiteY539" fmla="*/ 1383637 h 4504269"/>
              <a:gd name="connsiteX540" fmla="*/ 1653634 w 5282638"/>
              <a:gd name="connsiteY540" fmla="*/ 1376529 h 4504269"/>
              <a:gd name="connsiteX541" fmla="*/ 1627611 w 5282638"/>
              <a:gd name="connsiteY541" fmla="*/ 1367052 h 4504269"/>
              <a:gd name="connsiteX542" fmla="*/ 1573200 w 5282638"/>
              <a:gd name="connsiteY542" fmla="*/ 1357575 h 4504269"/>
              <a:gd name="connsiteX543" fmla="*/ 1561371 w 5282638"/>
              <a:gd name="connsiteY543" fmla="*/ 1355206 h 4504269"/>
              <a:gd name="connsiteX544" fmla="*/ 1573200 w 5282638"/>
              <a:gd name="connsiteY544" fmla="*/ 1348098 h 4504269"/>
              <a:gd name="connsiteX545" fmla="*/ 1585028 w 5282638"/>
              <a:gd name="connsiteY545" fmla="*/ 1345729 h 4504269"/>
              <a:gd name="connsiteX546" fmla="*/ 1599222 w 5282638"/>
              <a:gd name="connsiteY546" fmla="*/ 1340991 h 4504269"/>
              <a:gd name="connsiteX547" fmla="*/ 1613417 w 5282638"/>
              <a:gd name="connsiteY547" fmla="*/ 1340991 h 4504269"/>
              <a:gd name="connsiteX548" fmla="*/ 1629977 w 5282638"/>
              <a:gd name="connsiteY548" fmla="*/ 1340991 h 4504269"/>
              <a:gd name="connsiteX549" fmla="*/ 1646537 w 5282638"/>
              <a:gd name="connsiteY549" fmla="*/ 1340991 h 4504269"/>
              <a:gd name="connsiteX550" fmla="*/ 1667828 w 5282638"/>
              <a:gd name="connsiteY550" fmla="*/ 1345729 h 4504269"/>
              <a:gd name="connsiteX551" fmla="*/ 1693851 w 5282638"/>
              <a:gd name="connsiteY551" fmla="*/ 1357575 h 4504269"/>
              <a:gd name="connsiteX552" fmla="*/ 1729337 w 5282638"/>
              <a:gd name="connsiteY552" fmla="*/ 1376529 h 4504269"/>
              <a:gd name="connsiteX553" fmla="*/ 1769554 w 5282638"/>
              <a:gd name="connsiteY553" fmla="*/ 1402591 h 4504269"/>
              <a:gd name="connsiteX554" fmla="*/ 1814502 w 5282638"/>
              <a:gd name="connsiteY554" fmla="*/ 1435760 h 4504269"/>
              <a:gd name="connsiteX555" fmla="*/ 1861817 w 5282638"/>
              <a:gd name="connsiteY555" fmla="*/ 1476037 h 4504269"/>
              <a:gd name="connsiteX556" fmla="*/ 1916228 w 5282638"/>
              <a:gd name="connsiteY556" fmla="*/ 1521053 h 4504269"/>
              <a:gd name="connsiteX557" fmla="*/ 2036879 w 5282638"/>
              <a:gd name="connsiteY557" fmla="*/ 1634776 h 4504269"/>
              <a:gd name="connsiteX558" fmla="*/ 2197748 w 5282638"/>
              <a:gd name="connsiteY558" fmla="*/ 1784039 h 4504269"/>
              <a:gd name="connsiteX559" fmla="*/ 2275816 w 5282638"/>
              <a:gd name="connsiteY559" fmla="*/ 1857485 h 4504269"/>
              <a:gd name="connsiteX560" fmla="*/ 2349154 w 5282638"/>
              <a:gd name="connsiteY560" fmla="*/ 1916716 h 4504269"/>
              <a:gd name="connsiteX561" fmla="*/ 2377542 w 5282638"/>
              <a:gd name="connsiteY561" fmla="*/ 1940408 h 4504269"/>
              <a:gd name="connsiteX562" fmla="*/ 2408296 w 5282638"/>
              <a:gd name="connsiteY562" fmla="*/ 1959362 h 4504269"/>
              <a:gd name="connsiteX563" fmla="*/ 2429588 w 5282638"/>
              <a:gd name="connsiteY563" fmla="*/ 1973578 h 4504269"/>
              <a:gd name="connsiteX564" fmla="*/ 2450879 w 5282638"/>
              <a:gd name="connsiteY564" fmla="*/ 1980686 h 4504269"/>
              <a:gd name="connsiteX565" fmla="*/ 2469805 w 5282638"/>
              <a:gd name="connsiteY565" fmla="*/ 1983055 h 4504269"/>
              <a:gd name="connsiteX566" fmla="*/ 2488730 w 5282638"/>
              <a:gd name="connsiteY566" fmla="*/ 1983055 h 4504269"/>
              <a:gd name="connsiteX567" fmla="*/ 2502925 w 5282638"/>
              <a:gd name="connsiteY567" fmla="*/ 1978316 h 4504269"/>
              <a:gd name="connsiteX568" fmla="*/ 2514753 w 5282638"/>
              <a:gd name="connsiteY568" fmla="*/ 1968839 h 4504269"/>
              <a:gd name="connsiteX569" fmla="*/ 2521850 w 5282638"/>
              <a:gd name="connsiteY569" fmla="*/ 1956993 h 4504269"/>
              <a:gd name="connsiteX570" fmla="*/ 2526582 w 5282638"/>
              <a:gd name="connsiteY570" fmla="*/ 1940408 h 4504269"/>
              <a:gd name="connsiteX571" fmla="*/ 2526582 w 5282638"/>
              <a:gd name="connsiteY571" fmla="*/ 1923824 h 4504269"/>
              <a:gd name="connsiteX572" fmla="*/ 2524216 w 5282638"/>
              <a:gd name="connsiteY572" fmla="*/ 1909608 h 4504269"/>
              <a:gd name="connsiteX573" fmla="*/ 2457976 w 5282638"/>
              <a:gd name="connsiteY573" fmla="*/ 1857485 h 4504269"/>
              <a:gd name="connsiteX574" fmla="*/ 2382274 w 5282638"/>
              <a:gd name="connsiteY574" fmla="*/ 1791146 h 4504269"/>
              <a:gd name="connsiteX575" fmla="*/ 2202479 w 5282638"/>
              <a:gd name="connsiteY575" fmla="*/ 1632407 h 4504269"/>
              <a:gd name="connsiteX576" fmla="*/ 2048708 w 5282638"/>
              <a:gd name="connsiteY576" fmla="*/ 1494991 h 4504269"/>
              <a:gd name="connsiteX577" fmla="*/ 1951714 w 5282638"/>
              <a:gd name="connsiteY577" fmla="*/ 1404960 h 4504269"/>
              <a:gd name="connsiteX578" fmla="*/ 1911497 w 5282638"/>
              <a:gd name="connsiteY578" fmla="*/ 1374160 h 4504269"/>
              <a:gd name="connsiteX579" fmla="*/ 1876011 w 5282638"/>
              <a:gd name="connsiteY579" fmla="*/ 1352837 h 4504269"/>
              <a:gd name="connsiteX580" fmla="*/ 1838159 w 5282638"/>
              <a:gd name="connsiteY580" fmla="*/ 1329144 h 4504269"/>
              <a:gd name="connsiteX581" fmla="*/ 1797942 w 5282638"/>
              <a:gd name="connsiteY581" fmla="*/ 1317298 h 4504269"/>
              <a:gd name="connsiteX582" fmla="*/ 1795577 w 5282638"/>
              <a:gd name="connsiteY582" fmla="*/ 1314929 h 4504269"/>
              <a:gd name="connsiteX583" fmla="*/ 1767188 w 5282638"/>
              <a:gd name="connsiteY583" fmla="*/ 1307821 h 4504269"/>
              <a:gd name="connsiteX584" fmla="*/ 1729337 w 5282638"/>
              <a:gd name="connsiteY584" fmla="*/ 1303083 h 4504269"/>
              <a:gd name="connsiteX585" fmla="*/ 1667828 w 5282638"/>
              <a:gd name="connsiteY585" fmla="*/ 1291236 h 4504269"/>
              <a:gd name="connsiteX586" fmla="*/ 1656000 w 5282638"/>
              <a:gd name="connsiteY586" fmla="*/ 1291236 h 4504269"/>
              <a:gd name="connsiteX587" fmla="*/ 1665462 w 5282638"/>
              <a:gd name="connsiteY587" fmla="*/ 1286498 h 4504269"/>
              <a:gd name="connsiteX588" fmla="*/ 1686754 w 5282638"/>
              <a:gd name="connsiteY588" fmla="*/ 1279390 h 4504269"/>
              <a:gd name="connsiteX589" fmla="*/ 1715142 w 5282638"/>
              <a:gd name="connsiteY589" fmla="*/ 1269913 h 4504269"/>
              <a:gd name="connsiteX590" fmla="*/ 1731702 w 5282638"/>
              <a:gd name="connsiteY590" fmla="*/ 1267544 h 4504269"/>
              <a:gd name="connsiteX591" fmla="*/ 1752994 w 5282638"/>
              <a:gd name="connsiteY591" fmla="*/ 1267544 h 4504269"/>
              <a:gd name="connsiteX592" fmla="*/ 1786114 w 5282638"/>
              <a:gd name="connsiteY592" fmla="*/ 1269913 h 4504269"/>
              <a:gd name="connsiteX593" fmla="*/ 1816868 w 5282638"/>
              <a:gd name="connsiteY593" fmla="*/ 1279390 h 4504269"/>
              <a:gd name="connsiteX594" fmla="*/ 1847622 w 5282638"/>
              <a:gd name="connsiteY594" fmla="*/ 1291236 h 4504269"/>
              <a:gd name="connsiteX595" fmla="*/ 1890205 w 5282638"/>
              <a:gd name="connsiteY595" fmla="*/ 1314929 h 4504269"/>
              <a:gd name="connsiteX596" fmla="*/ 1932788 w 5282638"/>
              <a:gd name="connsiteY596" fmla="*/ 1340991 h 4504269"/>
              <a:gd name="connsiteX597" fmla="*/ 1982468 w 5282638"/>
              <a:gd name="connsiteY597" fmla="*/ 1374160 h 4504269"/>
              <a:gd name="connsiteX598" fmla="*/ 2034514 w 5282638"/>
              <a:gd name="connsiteY598" fmla="*/ 1414437 h 4504269"/>
              <a:gd name="connsiteX599" fmla="*/ 2091291 w 5282638"/>
              <a:gd name="connsiteY599" fmla="*/ 1457083 h 4504269"/>
              <a:gd name="connsiteX600" fmla="*/ 2152799 w 5282638"/>
              <a:gd name="connsiteY600" fmla="*/ 1504468 h 4504269"/>
              <a:gd name="connsiteX601" fmla="*/ 2223770 w 5282638"/>
              <a:gd name="connsiteY601" fmla="*/ 1566068 h 4504269"/>
              <a:gd name="connsiteX602" fmla="*/ 2375176 w 5282638"/>
              <a:gd name="connsiteY602" fmla="*/ 1691638 h 4504269"/>
              <a:gd name="connsiteX603" fmla="*/ 2446148 w 5282638"/>
              <a:gd name="connsiteY603" fmla="*/ 1750869 h 4504269"/>
              <a:gd name="connsiteX604" fmla="*/ 2512388 w 5282638"/>
              <a:gd name="connsiteY604" fmla="*/ 1805362 h 4504269"/>
              <a:gd name="connsiteX605" fmla="*/ 2573896 w 5282638"/>
              <a:gd name="connsiteY605" fmla="*/ 1850377 h 4504269"/>
              <a:gd name="connsiteX606" fmla="*/ 2628308 w 5282638"/>
              <a:gd name="connsiteY606" fmla="*/ 1885916 h 4504269"/>
              <a:gd name="connsiteX607" fmla="*/ 2675622 w 5282638"/>
              <a:gd name="connsiteY607" fmla="*/ 1909608 h 4504269"/>
              <a:gd name="connsiteX608" fmla="*/ 2696913 w 5282638"/>
              <a:gd name="connsiteY608" fmla="*/ 1919085 h 4504269"/>
              <a:gd name="connsiteX609" fmla="*/ 2713473 w 5282638"/>
              <a:gd name="connsiteY609" fmla="*/ 1923824 h 4504269"/>
              <a:gd name="connsiteX610" fmla="*/ 2737130 w 5282638"/>
              <a:gd name="connsiteY610" fmla="*/ 1923824 h 4504269"/>
              <a:gd name="connsiteX611" fmla="*/ 2758422 w 5282638"/>
              <a:gd name="connsiteY611" fmla="*/ 1921455 h 4504269"/>
              <a:gd name="connsiteX612" fmla="*/ 2772616 w 5282638"/>
              <a:gd name="connsiteY612" fmla="*/ 1916716 h 4504269"/>
              <a:gd name="connsiteX613" fmla="*/ 2784445 w 5282638"/>
              <a:gd name="connsiteY613" fmla="*/ 1907239 h 4504269"/>
              <a:gd name="connsiteX614" fmla="*/ 2796273 w 5282638"/>
              <a:gd name="connsiteY614" fmla="*/ 1900131 h 4504269"/>
              <a:gd name="connsiteX615" fmla="*/ 2808102 w 5282638"/>
              <a:gd name="connsiteY615" fmla="*/ 1890654 h 4504269"/>
              <a:gd name="connsiteX616" fmla="*/ 2819930 w 5282638"/>
              <a:gd name="connsiteY616" fmla="*/ 1876439 h 4504269"/>
              <a:gd name="connsiteX617" fmla="*/ 2829393 w 5282638"/>
              <a:gd name="connsiteY617" fmla="*/ 1862224 h 4504269"/>
              <a:gd name="connsiteX618" fmla="*/ 2817565 w 5282638"/>
              <a:gd name="connsiteY618" fmla="*/ 1862224 h 4504269"/>
              <a:gd name="connsiteX619" fmla="*/ 2803370 w 5282638"/>
              <a:gd name="connsiteY619" fmla="*/ 1862224 h 4504269"/>
              <a:gd name="connsiteX620" fmla="*/ 2777348 w 5282638"/>
              <a:gd name="connsiteY620" fmla="*/ 1852747 h 4504269"/>
              <a:gd name="connsiteX621" fmla="*/ 2753690 w 5282638"/>
              <a:gd name="connsiteY621" fmla="*/ 1845639 h 4504269"/>
              <a:gd name="connsiteX622" fmla="*/ 2727668 w 5282638"/>
              <a:gd name="connsiteY622" fmla="*/ 1831423 h 4504269"/>
              <a:gd name="connsiteX623" fmla="*/ 2675622 w 5282638"/>
              <a:gd name="connsiteY623" fmla="*/ 1793516 h 4504269"/>
              <a:gd name="connsiteX624" fmla="*/ 2611748 w 5282638"/>
              <a:gd name="connsiteY624" fmla="*/ 1748500 h 4504269"/>
              <a:gd name="connsiteX625" fmla="*/ 2545508 w 5282638"/>
              <a:gd name="connsiteY625" fmla="*/ 1694007 h 4504269"/>
              <a:gd name="connsiteX626" fmla="*/ 2398834 w 5282638"/>
              <a:gd name="connsiteY626" fmla="*/ 1570807 h 4504269"/>
              <a:gd name="connsiteX627" fmla="*/ 2318399 w 5282638"/>
              <a:gd name="connsiteY627" fmla="*/ 1504468 h 4504269"/>
              <a:gd name="connsiteX628" fmla="*/ 2235599 w 5282638"/>
              <a:gd name="connsiteY628" fmla="*/ 1442868 h 4504269"/>
              <a:gd name="connsiteX629" fmla="*/ 2112582 w 5282638"/>
              <a:gd name="connsiteY629" fmla="*/ 1352837 h 4504269"/>
              <a:gd name="connsiteX630" fmla="*/ 2027417 w 5282638"/>
              <a:gd name="connsiteY630" fmla="*/ 1284129 h 4504269"/>
              <a:gd name="connsiteX631" fmla="*/ 1989565 w 5282638"/>
              <a:gd name="connsiteY631" fmla="*/ 1258067 h 4504269"/>
              <a:gd name="connsiteX632" fmla="*/ 1954079 w 5282638"/>
              <a:gd name="connsiteY632" fmla="*/ 1236744 h 4504269"/>
              <a:gd name="connsiteX633" fmla="*/ 1916228 w 5282638"/>
              <a:gd name="connsiteY633" fmla="*/ 1213052 h 4504269"/>
              <a:gd name="connsiteX634" fmla="*/ 1876011 w 5282638"/>
              <a:gd name="connsiteY634" fmla="*/ 1194097 h 4504269"/>
              <a:gd name="connsiteX635" fmla="*/ 1859451 w 5282638"/>
              <a:gd name="connsiteY635" fmla="*/ 1189359 h 4504269"/>
              <a:gd name="connsiteX636" fmla="*/ 1840525 w 5282638"/>
              <a:gd name="connsiteY636" fmla="*/ 1186990 h 4504269"/>
              <a:gd name="connsiteX637" fmla="*/ 1790845 w 5282638"/>
              <a:gd name="connsiteY637" fmla="*/ 1182251 h 4504269"/>
              <a:gd name="connsiteX638" fmla="*/ 1741165 w 5282638"/>
              <a:gd name="connsiteY638" fmla="*/ 1182251 h 4504269"/>
              <a:gd name="connsiteX639" fmla="*/ 1745897 w 5282638"/>
              <a:gd name="connsiteY639" fmla="*/ 1179882 h 4504269"/>
              <a:gd name="connsiteX640" fmla="*/ 1762457 w 5282638"/>
              <a:gd name="connsiteY640" fmla="*/ 1168036 h 4504269"/>
              <a:gd name="connsiteX641" fmla="*/ 1786114 w 5282638"/>
              <a:gd name="connsiteY641" fmla="*/ 1160928 h 4504269"/>
              <a:gd name="connsiteX642" fmla="*/ 1802674 w 5282638"/>
              <a:gd name="connsiteY642" fmla="*/ 1153820 h 4504269"/>
              <a:gd name="connsiteX643" fmla="*/ 1819234 w 5282638"/>
              <a:gd name="connsiteY643" fmla="*/ 1151451 h 4504269"/>
              <a:gd name="connsiteX644" fmla="*/ 1840525 w 5282638"/>
              <a:gd name="connsiteY644" fmla="*/ 1151451 h 4504269"/>
              <a:gd name="connsiteX645" fmla="*/ 1864182 w 5282638"/>
              <a:gd name="connsiteY645" fmla="*/ 1151451 h 4504269"/>
              <a:gd name="connsiteX646" fmla="*/ 1897302 w 5282638"/>
              <a:gd name="connsiteY646" fmla="*/ 1158559 h 4504269"/>
              <a:gd name="connsiteX647" fmla="*/ 1932788 w 5282638"/>
              <a:gd name="connsiteY647" fmla="*/ 1168036 h 4504269"/>
              <a:gd name="connsiteX648" fmla="*/ 1970639 w 5282638"/>
              <a:gd name="connsiteY648" fmla="*/ 1186990 h 4504269"/>
              <a:gd name="connsiteX649" fmla="*/ 2013222 w 5282638"/>
              <a:gd name="connsiteY649" fmla="*/ 1208313 h 4504269"/>
              <a:gd name="connsiteX650" fmla="*/ 2065268 w 5282638"/>
              <a:gd name="connsiteY650" fmla="*/ 1241482 h 4504269"/>
              <a:gd name="connsiteX651" fmla="*/ 2119679 w 5282638"/>
              <a:gd name="connsiteY651" fmla="*/ 1279390 h 4504269"/>
              <a:gd name="connsiteX652" fmla="*/ 2183554 w 5282638"/>
              <a:gd name="connsiteY652" fmla="*/ 1322036 h 4504269"/>
              <a:gd name="connsiteX653" fmla="*/ 2254525 w 5282638"/>
              <a:gd name="connsiteY653" fmla="*/ 1376529 h 4504269"/>
              <a:gd name="connsiteX654" fmla="*/ 2358616 w 5282638"/>
              <a:gd name="connsiteY654" fmla="*/ 1459452 h 4504269"/>
              <a:gd name="connsiteX655" fmla="*/ 2472170 w 5282638"/>
              <a:gd name="connsiteY655" fmla="*/ 1549484 h 4504269"/>
              <a:gd name="connsiteX656" fmla="*/ 2580993 w 5282638"/>
              <a:gd name="connsiteY656" fmla="*/ 1637146 h 4504269"/>
              <a:gd name="connsiteX657" fmla="*/ 2680353 w 5282638"/>
              <a:gd name="connsiteY657" fmla="*/ 1712961 h 4504269"/>
              <a:gd name="connsiteX658" fmla="*/ 2725302 w 5282638"/>
              <a:gd name="connsiteY658" fmla="*/ 1746131 h 4504269"/>
              <a:gd name="connsiteX659" fmla="*/ 2763153 w 5282638"/>
              <a:gd name="connsiteY659" fmla="*/ 1769823 h 4504269"/>
              <a:gd name="connsiteX660" fmla="*/ 2798639 w 5282638"/>
              <a:gd name="connsiteY660" fmla="*/ 1786408 h 4504269"/>
              <a:gd name="connsiteX661" fmla="*/ 2812833 w 5282638"/>
              <a:gd name="connsiteY661" fmla="*/ 1791146 h 4504269"/>
              <a:gd name="connsiteX662" fmla="*/ 2822296 w 5282638"/>
              <a:gd name="connsiteY662" fmla="*/ 1793516 h 4504269"/>
              <a:gd name="connsiteX663" fmla="*/ 2848319 w 5282638"/>
              <a:gd name="connsiteY663" fmla="*/ 1793516 h 4504269"/>
              <a:gd name="connsiteX664" fmla="*/ 2869610 w 5282638"/>
              <a:gd name="connsiteY664" fmla="*/ 1788777 h 4504269"/>
              <a:gd name="connsiteX665" fmla="*/ 2888536 w 5282638"/>
              <a:gd name="connsiteY665" fmla="*/ 1779300 h 4504269"/>
              <a:gd name="connsiteX666" fmla="*/ 2900364 w 5282638"/>
              <a:gd name="connsiteY666" fmla="*/ 1767454 h 4504269"/>
              <a:gd name="connsiteX667" fmla="*/ 2907462 w 5282638"/>
              <a:gd name="connsiteY667" fmla="*/ 1748500 h 4504269"/>
              <a:gd name="connsiteX668" fmla="*/ 2905096 w 5282638"/>
              <a:gd name="connsiteY668" fmla="*/ 1729546 h 4504269"/>
              <a:gd name="connsiteX669" fmla="*/ 2897999 w 5282638"/>
              <a:gd name="connsiteY669" fmla="*/ 1708223 h 4504269"/>
              <a:gd name="connsiteX670" fmla="*/ 2888536 w 5282638"/>
              <a:gd name="connsiteY670" fmla="*/ 1684530 h 4504269"/>
              <a:gd name="connsiteX671" fmla="*/ 2871976 w 5282638"/>
              <a:gd name="connsiteY671" fmla="*/ 1658469 h 4504269"/>
              <a:gd name="connsiteX672" fmla="*/ 2853050 w 5282638"/>
              <a:gd name="connsiteY672" fmla="*/ 1632407 h 4504269"/>
              <a:gd name="connsiteX673" fmla="*/ 2808102 w 5282638"/>
              <a:gd name="connsiteY673" fmla="*/ 1577915 h 4504269"/>
              <a:gd name="connsiteX674" fmla="*/ 2756056 w 5282638"/>
              <a:gd name="connsiteY674" fmla="*/ 1523422 h 4504269"/>
              <a:gd name="connsiteX675" fmla="*/ 2699279 w 5282638"/>
              <a:gd name="connsiteY675" fmla="*/ 1471299 h 4504269"/>
              <a:gd name="connsiteX676" fmla="*/ 2590456 w 5282638"/>
              <a:gd name="connsiteY676" fmla="*/ 1367052 h 4504269"/>
              <a:gd name="connsiteX677" fmla="*/ 2344422 w 5282638"/>
              <a:gd name="connsiteY677" fmla="*/ 1130128 h 4504269"/>
              <a:gd name="connsiteX678" fmla="*/ 2204845 w 5282638"/>
              <a:gd name="connsiteY678" fmla="*/ 992712 h 4504269"/>
              <a:gd name="connsiteX679" fmla="*/ 2185919 w 5282638"/>
              <a:gd name="connsiteY679" fmla="*/ 978497 h 4504269"/>
              <a:gd name="connsiteX680" fmla="*/ 2166994 w 5282638"/>
              <a:gd name="connsiteY680" fmla="*/ 995081 h 4504269"/>
              <a:gd name="connsiteX681" fmla="*/ 2143336 w 5282638"/>
              <a:gd name="connsiteY681" fmla="*/ 1014035 h 4504269"/>
              <a:gd name="connsiteX682" fmla="*/ 2112582 w 5282638"/>
              <a:gd name="connsiteY682" fmla="*/ 1032989 h 4504269"/>
              <a:gd name="connsiteX683" fmla="*/ 2077096 w 5282638"/>
              <a:gd name="connsiteY683" fmla="*/ 1049574 h 4504269"/>
              <a:gd name="connsiteX684" fmla="*/ 2039245 w 5282638"/>
              <a:gd name="connsiteY684" fmla="*/ 1066159 h 4504269"/>
              <a:gd name="connsiteX685" fmla="*/ 2001394 w 5282638"/>
              <a:gd name="connsiteY685" fmla="*/ 1075636 h 4504269"/>
              <a:gd name="connsiteX686" fmla="*/ 1968274 w 5282638"/>
              <a:gd name="connsiteY686" fmla="*/ 1085113 h 4504269"/>
              <a:gd name="connsiteX687" fmla="*/ 1932788 w 5282638"/>
              <a:gd name="connsiteY687" fmla="*/ 1089851 h 4504269"/>
              <a:gd name="connsiteX688" fmla="*/ 1904399 w 5282638"/>
              <a:gd name="connsiteY688" fmla="*/ 1092220 h 4504269"/>
              <a:gd name="connsiteX689" fmla="*/ 1878377 w 5282638"/>
              <a:gd name="connsiteY689" fmla="*/ 1092220 h 4504269"/>
              <a:gd name="connsiteX690" fmla="*/ 1807405 w 5282638"/>
              <a:gd name="connsiteY690" fmla="*/ 1089851 h 4504269"/>
              <a:gd name="connsiteX691" fmla="*/ 1776651 w 5282638"/>
              <a:gd name="connsiteY691" fmla="*/ 1087482 h 4504269"/>
              <a:gd name="connsiteX692" fmla="*/ 1741165 w 5282638"/>
              <a:gd name="connsiteY692" fmla="*/ 1082743 h 4504269"/>
              <a:gd name="connsiteX693" fmla="*/ 1651268 w 5282638"/>
              <a:gd name="connsiteY693" fmla="*/ 1063789 h 4504269"/>
              <a:gd name="connsiteX694" fmla="*/ 1521154 w 5282638"/>
              <a:gd name="connsiteY694" fmla="*/ 1032989 h 4504269"/>
              <a:gd name="connsiteX695" fmla="*/ 1495131 w 5282638"/>
              <a:gd name="connsiteY695" fmla="*/ 1028251 h 4504269"/>
              <a:gd name="connsiteX696" fmla="*/ 1462011 w 5282638"/>
              <a:gd name="connsiteY696" fmla="*/ 1028251 h 4504269"/>
              <a:gd name="connsiteX697" fmla="*/ 1426525 w 5282638"/>
              <a:gd name="connsiteY697" fmla="*/ 1030620 h 4504269"/>
              <a:gd name="connsiteX698" fmla="*/ 1393405 w 5282638"/>
              <a:gd name="connsiteY698" fmla="*/ 1037728 h 4504269"/>
              <a:gd name="connsiteX699" fmla="*/ 1310605 w 5282638"/>
              <a:gd name="connsiteY699" fmla="*/ 1056681 h 4504269"/>
              <a:gd name="connsiteX700" fmla="*/ 1230171 w 5282638"/>
              <a:gd name="connsiteY700" fmla="*/ 1082743 h 4504269"/>
              <a:gd name="connsiteX701" fmla="*/ 1147371 w 5282638"/>
              <a:gd name="connsiteY701" fmla="*/ 1104066 h 4504269"/>
              <a:gd name="connsiteX702" fmla="*/ 1107154 w 5282638"/>
              <a:gd name="connsiteY702" fmla="*/ 1113543 h 4504269"/>
              <a:gd name="connsiteX703" fmla="*/ 1069303 w 5282638"/>
              <a:gd name="connsiteY703" fmla="*/ 1120651 h 4504269"/>
              <a:gd name="connsiteX704" fmla="*/ 1033817 w 5282638"/>
              <a:gd name="connsiteY704" fmla="*/ 1125390 h 4504269"/>
              <a:gd name="connsiteX705" fmla="*/ 1000697 w 5282638"/>
              <a:gd name="connsiteY705" fmla="*/ 1123020 h 4504269"/>
              <a:gd name="connsiteX706" fmla="*/ 972308 w 5282638"/>
              <a:gd name="connsiteY706" fmla="*/ 1120651 h 4504269"/>
              <a:gd name="connsiteX707" fmla="*/ 958114 w 5282638"/>
              <a:gd name="connsiteY707" fmla="*/ 1113543 h 4504269"/>
              <a:gd name="connsiteX708" fmla="*/ 943920 w 5282638"/>
              <a:gd name="connsiteY708" fmla="*/ 1108805 h 4504269"/>
              <a:gd name="connsiteX709" fmla="*/ 804343 w 5282638"/>
              <a:gd name="connsiteY709" fmla="*/ 1037728 h 4504269"/>
              <a:gd name="connsiteX710" fmla="*/ 749931 w 5282638"/>
              <a:gd name="connsiteY710" fmla="*/ 1014035 h 4504269"/>
              <a:gd name="connsiteX711" fmla="*/ 835097 w 5282638"/>
              <a:gd name="connsiteY711" fmla="*/ 1028251 h 4504269"/>
              <a:gd name="connsiteX712" fmla="*/ 1033817 w 5282638"/>
              <a:gd name="connsiteY712" fmla="*/ 1063789 h 4504269"/>
              <a:gd name="connsiteX713" fmla="*/ 1050377 w 5282638"/>
              <a:gd name="connsiteY713" fmla="*/ 1066159 h 4504269"/>
              <a:gd name="connsiteX714" fmla="*/ 1064571 w 5282638"/>
              <a:gd name="connsiteY714" fmla="*/ 1066159 h 4504269"/>
              <a:gd name="connsiteX715" fmla="*/ 1081131 w 5282638"/>
              <a:gd name="connsiteY715" fmla="*/ 1063789 h 4504269"/>
              <a:gd name="connsiteX716" fmla="*/ 1095325 w 5282638"/>
              <a:gd name="connsiteY716" fmla="*/ 1059051 h 4504269"/>
              <a:gd name="connsiteX717" fmla="*/ 1126080 w 5282638"/>
              <a:gd name="connsiteY717" fmla="*/ 1049574 h 4504269"/>
              <a:gd name="connsiteX718" fmla="*/ 1156834 w 5282638"/>
              <a:gd name="connsiteY718" fmla="*/ 1035358 h 4504269"/>
              <a:gd name="connsiteX719" fmla="*/ 1189954 w 5282638"/>
              <a:gd name="connsiteY719" fmla="*/ 1018774 h 4504269"/>
              <a:gd name="connsiteX720" fmla="*/ 1230171 w 5282638"/>
              <a:gd name="connsiteY720" fmla="*/ 1004558 h 4504269"/>
              <a:gd name="connsiteX721" fmla="*/ 1282217 w 5282638"/>
              <a:gd name="connsiteY721" fmla="*/ 990343 h 4504269"/>
              <a:gd name="connsiteX722" fmla="*/ 1308240 w 5282638"/>
              <a:gd name="connsiteY722" fmla="*/ 980866 h 4504269"/>
              <a:gd name="connsiteX723" fmla="*/ 1341360 w 5282638"/>
              <a:gd name="connsiteY723" fmla="*/ 976127 h 4504269"/>
              <a:gd name="connsiteX724" fmla="*/ 1365017 w 5282638"/>
              <a:gd name="connsiteY724" fmla="*/ 976127 h 4504269"/>
              <a:gd name="connsiteX725" fmla="*/ 1395771 w 5282638"/>
              <a:gd name="connsiteY725" fmla="*/ 973758 h 4504269"/>
              <a:gd name="connsiteX726" fmla="*/ 1459645 w 5282638"/>
              <a:gd name="connsiteY726" fmla="*/ 966650 h 4504269"/>
              <a:gd name="connsiteX727" fmla="*/ 1495131 w 5282638"/>
              <a:gd name="connsiteY727" fmla="*/ 961912 h 4504269"/>
              <a:gd name="connsiteX728" fmla="*/ 1530617 w 5282638"/>
              <a:gd name="connsiteY728" fmla="*/ 966650 h 4504269"/>
              <a:gd name="connsiteX729" fmla="*/ 1561371 w 5282638"/>
              <a:gd name="connsiteY729" fmla="*/ 969020 h 4504269"/>
              <a:gd name="connsiteX730" fmla="*/ 1596857 w 5282638"/>
              <a:gd name="connsiteY730" fmla="*/ 978497 h 4504269"/>
              <a:gd name="connsiteX731" fmla="*/ 1665462 w 5282638"/>
              <a:gd name="connsiteY731" fmla="*/ 999820 h 4504269"/>
              <a:gd name="connsiteX732" fmla="*/ 1731702 w 5282638"/>
              <a:gd name="connsiteY732" fmla="*/ 1018774 h 4504269"/>
              <a:gd name="connsiteX733" fmla="*/ 1797942 w 5282638"/>
              <a:gd name="connsiteY733" fmla="*/ 1030620 h 4504269"/>
              <a:gd name="connsiteX734" fmla="*/ 1859451 w 5282638"/>
              <a:gd name="connsiteY734" fmla="*/ 1032989 h 4504269"/>
              <a:gd name="connsiteX735" fmla="*/ 1890205 w 5282638"/>
              <a:gd name="connsiteY735" fmla="*/ 1032989 h 4504269"/>
              <a:gd name="connsiteX736" fmla="*/ 1918594 w 5282638"/>
              <a:gd name="connsiteY736" fmla="*/ 1030620 h 4504269"/>
              <a:gd name="connsiteX737" fmla="*/ 1944617 w 5282638"/>
              <a:gd name="connsiteY737" fmla="*/ 1025881 h 4504269"/>
              <a:gd name="connsiteX738" fmla="*/ 1973005 w 5282638"/>
              <a:gd name="connsiteY738" fmla="*/ 1018774 h 4504269"/>
              <a:gd name="connsiteX739" fmla="*/ 1999028 w 5282638"/>
              <a:gd name="connsiteY739" fmla="*/ 1014035 h 4504269"/>
              <a:gd name="connsiteX740" fmla="*/ 2025051 w 5282638"/>
              <a:gd name="connsiteY740" fmla="*/ 1004558 h 4504269"/>
              <a:gd name="connsiteX741" fmla="*/ 2048708 w 5282638"/>
              <a:gd name="connsiteY741" fmla="*/ 992712 h 4504269"/>
              <a:gd name="connsiteX742" fmla="*/ 2069999 w 5282638"/>
              <a:gd name="connsiteY742" fmla="*/ 980866 h 4504269"/>
              <a:gd name="connsiteX743" fmla="*/ 2107851 w 5282638"/>
              <a:gd name="connsiteY743" fmla="*/ 954804 h 4504269"/>
              <a:gd name="connsiteX744" fmla="*/ 2140970 w 5282638"/>
              <a:gd name="connsiteY744" fmla="*/ 933481 h 4504269"/>
              <a:gd name="connsiteX745" fmla="*/ 2162262 w 5282638"/>
              <a:gd name="connsiteY745" fmla="*/ 912158 h 4504269"/>
              <a:gd name="connsiteX746" fmla="*/ 2174090 w 5282638"/>
              <a:gd name="connsiteY746" fmla="*/ 893204 h 4504269"/>
              <a:gd name="connsiteX747" fmla="*/ 2185919 w 5282638"/>
              <a:gd name="connsiteY747" fmla="*/ 874250 h 4504269"/>
              <a:gd name="connsiteX748" fmla="*/ 2188285 w 5282638"/>
              <a:gd name="connsiteY748" fmla="*/ 855296 h 4504269"/>
              <a:gd name="connsiteX749" fmla="*/ 2185919 w 5282638"/>
              <a:gd name="connsiteY749" fmla="*/ 836342 h 4504269"/>
              <a:gd name="connsiteX750" fmla="*/ 2181188 w 5282638"/>
              <a:gd name="connsiteY750" fmla="*/ 815019 h 4504269"/>
              <a:gd name="connsiteX751" fmla="*/ 2174090 w 5282638"/>
              <a:gd name="connsiteY751" fmla="*/ 805542 h 4504269"/>
              <a:gd name="connsiteX752" fmla="*/ 2166994 w 5282638"/>
              <a:gd name="connsiteY752" fmla="*/ 798434 h 4504269"/>
              <a:gd name="connsiteX753" fmla="*/ 2155165 w 5282638"/>
              <a:gd name="connsiteY753" fmla="*/ 791327 h 4504269"/>
              <a:gd name="connsiteX754" fmla="*/ 2143336 w 5282638"/>
              <a:gd name="connsiteY754" fmla="*/ 784219 h 4504269"/>
              <a:gd name="connsiteX755" fmla="*/ 2110216 w 5282638"/>
              <a:gd name="connsiteY755" fmla="*/ 779480 h 4504269"/>
              <a:gd name="connsiteX756" fmla="*/ 2072365 w 5282638"/>
              <a:gd name="connsiteY756" fmla="*/ 774742 h 4504269"/>
              <a:gd name="connsiteX757" fmla="*/ 1987199 w 5282638"/>
              <a:gd name="connsiteY757" fmla="*/ 765265 h 4504269"/>
              <a:gd name="connsiteX758" fmla="*/ 1942251 w 5282638"/>
              <a:gd name="connsiteY758" fmla="*/ 760526 h 4504269"/>
              <a:gd name="connsiteX759" fmla="*/ 1902034 w 5282638"/>
              <a:gd name="connsiteY759" fmla="*/ 748680 h 4504269"/>
              <a:gd name="connsiteX760" fmla="*/ 1866548 w 5282638"/>
              <a:gd name="connsiteY760" fmla="*/ 739203 h 4504269"/>
              <a:gd name="connsiteX761" fmla="*/ 1816868 w 5282638"/>
              <a:gd name="connsiteY761" fmla="*/ 724988 h 4504269"/>
              <a:gd name="connsiteX762" fmla="*/ 1677291 w 5282638"/>
              <a:gd name="connsiteY762" fmla="*/ 696557 h 4504269"/>
              <a:gd name="connsiteX763" fmla="*/ 1516422 w 5282638"/>
              <a:gd name="connsiteY763" fmla="*/ 665757 h 4504269"/>
              <a:gd name="connsiteX764" fmla="*/ 1362651 w 5282638"/>
              <a:gd name="connsiteY764" fmla="*/ 637326 h 4504269"/>
              <a:gd name="connsiteX765" fmla="*/ 1357920 w 5282638"/>
              <a:gd name="connsiteY765" fmla="*/ 630218 h 4504269"/>
              <a:gd name="connsiteX766" fmla="*/ 1518788 w 5282638"/>
              <a:gd name="connsiteY766" fmla="*/ 632587 h 4504269"/>
              <a:gd name="connsiteX767" fmla="*/ 1660731 w 5282638"/>
              <a:gd name="connsiteY767" fmla="*/ 639695 h 4504269"/>
              <a:gd name="connsiteX768" fmla="*/ 1788480 w 5282638"/>
              <a:gd name="connsiteY768" fmla="*/ 644434 h 4504269"/>
              <a:gd name="connsiteX769" fmla="*/ 1757725 w 5282638"/>
              <a:gd name="connsiteY769" fmla="*/ 613634 h 4504269"/>
              <a:gd name="connsiteX770" fmla="*/ 1719874 w 5282638"/>
              <a:gd name="connsiteY770" fmla="*/ 585203 h 4504269"/>
              <a:gd name="connsiteX771" fmla="*/ 1667828 w 5282638"/>
              <a:gd name="connsiteY771" fmla="*/ 549664 h 4504269"/>
              <a:gd name="connsiteX772" fmla="*/ 1634708 w 5282638"/>
              <a:gd name="connsiteY772" fmla="*/ 530710 h 4504269"/>
              <a:gd name="connsiteX773" fmla="*/ 1603954 w 5282638"/>
              <a:gd name="connsiteY773" fmla="*/ 511756 h 4504269"/>
              <a:gd name="connsiteX774" fmla="*/ 1566102 w 5282638"/>
              <a:gd name="connsiteY774" fmla="*/ 495172 h 4504269"/>
              <a:gd name="connsiteX775" fmla="*/ 1523520 w 5282638"/>
              <a:gd name="connsiteY775" fmla="*/ 476217 h 4504269"/>
              <a:gd name="connsiteX776" fmla="*/ 1480937 w 5282638"/>
              <a:gd name="connsiteY776" fmla="*/ 462002 h 4504269"/>
              <a:gd name="connsiteX777" fmla="*/ 1435988 w 5282638"/>
              <a:gd name="connsiteY777" fmla="*/ 447787 h 4504269"/>
              <a:gd name="connsiteX778" fmla="*/ 1386308 w 5282638"/>
              <a:gd name="connsiteY778" fmla="*/ 435940 h 4504269"/>
              <a:gd name="connsiteX779" fmla="*/ 1336628 w 5282638"/>
              <a:gd name="connsiteY779" fmla="*/ 426463 h 4504269"/>
              <a:gd name="connsiteX780" fmla="*/ 1234903 w 5282638"/>
              <a:gd name="connsiteY780" fmla="*/ 414617 h 4504269"/>
              <a:gd name="connsiteX781" fmla="*/ 1147371 w 5282638"/>
              <a:gd name="connsiteY781" fmla="*/ 407510 h 4504269"/>
              <a:gd name="connsiteX782" fmla="*/ 1064571 w 5282638"/>
              <a:gd name="connsiteY782" fmla="*/ 395663 h 4504269"/>
              <a:gd name="connsiteX783" fmla="*/ 1026720 w 5282638"/>
              <a:gd name="connsiteY783" fmla="*/ 390925 h 4504269"/>
              <a:gd name="connsiteX784" fmla="*/ 993600 w 5282638"/>
              <a:gd name="connsiteY784" fmla="*/ 381448 h 4504269"/>
              <a:gd name="connsiteX785" fmla="*/ 958114 w 5282638"/>
              <a:gd name="connsiteY785" fmla="*/ 374340 h 4504269"/>
              <a:gd name="connsiteX786" fmla="*/ 924994 w 5282638"/>
              <a:gd name="connsiteY786" fmla="*/ 364863 h 4504269"/>
              <a:gd name="connsiteX787" fmla="*/ 896606 w 5282638"/>
              <a:gd name="connsiteY787" fmla="*/ 348278 h 4504269"/>
              <a:gd name="connsiteX788" fmla="*/ 865851 w 5282638"/>
              <a:gd name="connsiteY788" fmla="*/ 331694 h 4504269"/>
              <a:gd name="connsiteX789" fmla="*/ 835097 w 5282638"/>
              <a:gd name="connsiteY789" fmla="*/ 310371 h 4504269"/>
              <a:gd name="connsiteX790" fmla="*/ 806708 w 5282638"/>
              <a:gd name="connsiteY790" fmla="*/ 281940 h 4504269"/>
              <a:gd name="connsiteX791" fmla="*/ 778320 w 5282638"/>
              <a:gd name="connsiteY791" fmla="*/ 253509 h 4504269"/>
              <a:gd name="connsiteX792" fmla="*/ 752297 w 5282638"/>
              <a:gd name="connsiteY792" fmla="*/ 217970 h 4504269"/>
              <a:gd name="connsiteX793" fmla="*/ 716811 w 5282638"/>
              <a:gd name="connsiteY793" fmla="*/ 165847 h 4504269"/>
              <a:gd name="connsiteX794" fmla="*/ 764126 w 5282638"/>
              <a:gd name="connsiteY794" fmla="*/ 142155 h 4504269"/>
              <a:gd name="connsiteX795" fmla="*/ 809074 w 5282638"/>
              <a:gd name="connsiteY795" fmla="*/ 120831 h 4504269"/>
              <a:gd name="connsiteX796" fmla="*/ 854023 w 5282638"/>
              <a:gd name="connsiteY796" fmla="*/ 99508 h 4504269"/>
              <a:gd name="connsiteX797" fmla="*/ 901337 w 5282638"/>
              <a:gd name="connsiteY797" fmla="*/ 80554 h 4504269"/>
              <a:gd name="connsiteX798" fmla="*/ 948651 w 5282638"/>
              <a:gd name="connsiteY798" fmla="*/ 63970 h 4504269"/>
              <a:gd name="connsiteX799" fmla="*/ 998331 w 5282638"/>
              <a:gd name="connsiteY799" fmla="*/ 49754 h 4504269"/>
              <a:gd name="connsiteX800" fmla="*/ 1045646 w 5282638"/>
              <a:gd name="connsiteY800" fmla="*/ 37908 h 4504269"/>
              <a:gd name="connsiteX801" fmla="*/ 1095325 w 5282638"/>
              <a:gd name="connsiteY801" fmla="*/ 26062 h 4504269"/>
              <a:gd name="connsiteX802" fmla="*/ 1147371 w 5282638"/>
              <a:gd name="connsiteY802" fmla="*/ 16585 h 4504269"/>
              <a:gd name="connsiteX803" fmla="*/ 1194685 w 5282638"/>
              <a:gd name="connsiteY803" fmla="*/ 9477 h 4504269"/>
              <a:gd name="connsiteX804" fmla="*/ 1246731 w 5282638"/>
              <a:gd name="connsiteY804" fmla="*/ 4739 h 4504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</a:cxnLst>
            <a:rect l="l" t="t" r="r" b="b"/>
            <a:pathLst>
              <a:path w="5282638" h="4504269">
                <a:moveTo>
                  <a:pt x="1294045" y="0"/>
                </a:moveTo>
                <a:lnTo>
                  <a:pt x="1346091" y="0"/>
                </a:lnTo>
                <a:lnTo>
                  <a:pt x="1398137" y="0"/>
                </a:lnTo>
                <a:lnTo>
                  <a:pt x="1447817" y="2369"/>
                </a:lnTo>
                <a:lnTo>
                  <a:pt x="1497497" y="4739"/>
                </a:lnTo>
                <a:lnTo>
                  <a:pt x="1559005" y="11846"/>
                </a:lnTo>
                <a:lnTo>
                  <a:pt x="1622880" y="26062"/>
                </a:lnTo>
                <a:lnTo>
                  <a:pt x="1677291" y="40277"/>
                </a:lnTo>
                <a:lnTo>
                  <a:pt x="1734068" y="59231"/>
                </a:lnTo>
                <a:lnTo>
                  <a:pt x="1790845" y="82924"/>
                </a:lnTo>
                <a:lnTo>
                  <a:pt x="1845257" y="106616"/>
                </a:lnTo>
                <a:lnTo>
                  <a:pt x="1897302" y="135047"/>
                </a:lnTo>
                <a:lnTo>
                  <a:pt x="1949348" y="163478"/>
                </a:lnTo>
                <a:lnTo>
                  <a:pt x="1996662" y="196647"/>
                </a:lnTo>
                <a:lnTo>
                  <a:pt x="2046342" y="232186"/>
                </a:lnTo>
                <a:lnTo>
                  <a:pt x="2091291" y="267724"/>
                </a:lnTo>
                <a:lnTo>
                  <a:pt x="2133874" y="300894"/>
                </a:lnTo>
                <a:lnTo>
                  <a:pt x="2178822" y="341171"/>
                </a:lnTo>
                <a:lnTo>
                  <a:pt x="2219039" y="379079"/>
                </a:lnTo>
                <a:lnTo>
                  <a:pt x="2256890" y="419356"/>
                </a:lnTo>
                <a:lnTo>
                  <a:pt x="2294742" y="462002"/>
                </a:lnTo>
                <a:lnTo>
                  <a:pt x="2363348" y="542556"/>
                </a:lnTo>
                <a:lnTo>
                  <a:pt x="2427222" y="620741"/>
                </a:lnTo>
                <a:lnTo>
                  <a:pt x="2479268" y="698926"/>
                </a:lnTo>
                <a:lnTo>
                  <a:pt x="2526582" y="767634"/>
                </a:lnTo>
                <a:lnTo>
                  <a:pt x="2566799" y="833973"/>
                </a:lnTo>
                <a:lnTo>
                  <a:pt x="2599919" y="890835"/>
                </a:lnTo>
                <a:lnTo>
                  <a:pt x="2642502" y="969020"/>
                </a:lnTo>
                <a:lnTo>
                  <a:pt x="2682719" y="890835"/>
                </a:lnTo>
                <a:lnTo>
                  <a:pt x="2715839" y="833973"/>
                </a:lnTo>
                <a:lnTo>
                  <a:pt x="2756056" y="767634"/>
                </a:lnTo>
                <a:lnTo>
                  <a:pt x="2801005" y="698926"/>
                </a:lnTo>
                <a:lnTo>
                  <a:pt x="2857782" y="620741"/>
                </a:lnTo>
                <a:lnTo>
                  <a:pt x="2919290" y="542556"/>
                </a:lnTo>
                <a:lnTo>
                  <a:pt x="2987896" y="462002"/>
                </a:lnTo>
                <a:lnTo>
                  <a:pt x="3025748" y="419356"/>
                </a:lnTo>
                <a:lnTo>
                  <a:pt x="3063599" y="379079"/>
                </a:lnTo>
                <a:lnTo>
                  <a:pt x="3103816" y="341171"/>
                </a:lnTo>
                <a:lnTo>
                  <a:pt x="3146399" y="300894"/>
                </a:lnTo>
                <a:lnTo>
                  <a:pt x="3191347" y="267724"/>
                </a:lnTo>
                <a:lnTo>
                  <a:pt x="3236296" y="232186"/>
                </a:lnTo>
                <a:lnTo>
                  <a:pt x="3283610" y="196647"/>
                </a:lnTo>
                <a:lnTo>
                  <a:pt x="3333290" y="163478"/>
                </a:lnTo>
                <a:lnTo>
                  <a:pt x="3385336" y="135047"/>
                </a:lnTo>
                <a:lnTo>
                  <a:pt x="3435016" y="106616"/>
                </a:lnTo>
                <a:lnTo>
                  <a:pt x="3489427" y="82924"/>
                </a:lnTo>
                <a:lnTo>
                  <a:pt x="3546204" y="59231"/>
                </a:lnTo>
                <a:lnTo>
                  <a:pt x="3602982" y="40277"/>
                </a:lnTo>
                <a:lnTo>
                  <a:pt x="3662124" y="26062"/>
                </a:lnTo>
                <a:lnTo>
                  <a:pt x="3721267" y="11846"/>
                </a:lnTo>
                <a:lnTo>
                  <a:pt x="3785142" y="4739"/>
                </a:lnTo>
                <a:lnTo>
                  <a:pt x="3851382" y="0"/>
                </a:lnTo>
                <a:lnTo>
                  <a:pt x="3922353" y="0"/>
                </a:lnTo>
                <a:lnTo>
                  <a:pt x="3988593" y="0"/>
                </a:lnTo>
                <a:lnTo>
                  <a:pt x="4059564" y="4739"/>
                </a:lnTo>
                <a:lnTo>
                  <a:pt x="4128170" y="16585"/>
                </a:lnTo>
                <a:lnTo>
                  <a:pt x="4194410" y="26062"/>
                </a:lnTo>
                <a:lnTo>
                  <a:pt x="4263016" y="42646"/>
                </a:lnTo>
                <a:lnTo>
                  <a:pt x="4326890" y="61600"/>
                </a:lnTo>
                <a:lnTo>
                  <a:pt x="4390764" y="85293"/>
                </a:lnTo>
                <a:lnTo>
                  <a:pt x="4457004" y="113724"/>
                </a:lnTo>
                <a:lnTo>
                  <a:pt x="4518512" y="142155"/>
                </a:lnTo>
                <a:lnTo>
                  <a:pt x="4580021" y="175324"/>
                </a:lnTo>
                <a:lnTo>
                  <a:pt x="4639164" y="210863"/>
                </a:lnTo>
                <a:lnTo>
                  <a:pt x="4698307" y="251140"/>
                </a:lnTo>
                <a:lnTo>
                  <a:pt x="4752718" y="293786"/>
                </a:lnTo>
                <a:lnTo>
                  <a:pt x="4807130" y="338802"/>
                </a:lnTo>
                <a:lnTo>
                  <a:pt x="4861541" y="388556"/>
                </a:lnTo>
                <a:lnTo>
                  <a:pt x="4908856" y="443048"/>
                </a:lnTo>
                <a:lnTo>
                  <a:pt x="4958536" y="497541"/>
                </a:lnTo>
                <a:lnTo>
                  <a:pt x="5001118" y="559141"/>
                </a:lnTo>
                <a:lnTo>
                  <a:pt x="5046066" y="620741"/>
                </a:lnTo>
                <a:lnTo>
                  <a:pt x="5083918" y="684711"/>
                </a:lnTo>
                <a:lnTo>
                  <a:pt x="5117038" y="755788"/>
                </a:lnTo>
                <a:lnTo>
                  <a:pt x="5152524" y="824496"/>
                </a:lnTo>
                <a:lnTo>
                  <a:pt x="5183278" y="900312"/>
                </a:lnTo>
                <a:lnTo>
                  <a:pt x="5206935" y="978497"/>
                </a:lnTo>
                <a:lnTo>
                  <a:pt x="5230592" y="1059051"/>
                </a:lnTo>
                <a:lnTo>
                  <a:pt x="5247152" y="1146713"/>
                </a:lnTo>
                <a:lnTo>
                  <a:pt x="5263712" y="1232005"/>
                </a:lnTo>
                <a:lnTo>
                  <a:pt x="5275541" y="1324406"/>
                </a:lnTo>
                <a:lnTo>
                  <a:pt x="5280272" y="1416806"/>
                </a:lnTo>
                <a:lnTo>
                  <a:pt x="5282638" y="1513945"/>
                </a:lnTo>
                <a:lnTo>
                  <a:pt x="5280272" y="1611084"/>
                </a:lnTo>
                <a:lnTo>
                  <a:pt x="5270810" y="1708223"/>
                </a:lnTo>
                <a:lnTo>
                  <a:pt x="5258981" y="1802992"/>
                </a:lnTo>
                <a:lnTo>
                  <a:pt x="5240055" y="1897762"/>
                </a:lnTo>
                <a:lnTo>
                  <a:pt x="5218764" y="1987793"/>
                </a:lnTo>
                <a:lnTo>
                  <a:pt x="5188010" y="2077824"/>
                </a:lnTo>
                <a:lnTo>
                  <a:pt x="5157255" y="2167856"/>
                </a:lnTo>
                <a:lnTo>
                  <a:pt x="5124135" y="2255517"/>
                </a:lnTo>
                <a:lnTo>
                  <a:pt x="5083918" y="2340810"/>
                </a:lnTo>
                <a:lnTo>
                  <a:pt x="5041335" y="2423734"/>
                </a:lnTo>
                <a:lnTo>
                  <a:pt x="4996386" y="2506657"/>
                </a:lnTo>
                <a:lnTo>
                  <a:pt x="4951438" y="2584842"/>
                </a:lnTo>
                <a:lnTo>
                  <a:pt x="4899392" y="2663027"/>
                </a:lnTo>
                <a:lnTo>
                  <a:pt x="4847346" y="2738843"/>
                </a:lnTo>
                <a:lnTo>
                  <a:pt x="4792936" y="2814658"/>
                </a:lnTo>
                <a:lnTo>
                  <a:pt x="4740890" y="2885736"/>
                </a:lnTo>
                <a:lnTo>
                  <a:pt x="4684112" y="2954443"/>
                </a:lnTo>
                <a:lnTo>
                  <a:pt x="4627336" y="3023151"/>
                </a:lnTo>
                <a:lnTo>
                  <a:pt x="4568192" y="3089490"/>
                </a:lnTo>
                <a:lnTo>
                  <a:pt x="4511416" y="3153460"/>
                </a:lnTo>
                <a:lnTo>
                  <a:pt x="4395496" y="3271922"/>
                </a:lnTo>
                <a:lnTo>
                  <a:pt x="4277210" y="3380907"/>
                </a:lnTo>
                <a:lnTo>
                  <a:pt x="4170753" y="3482784"/>
                </a:lnTo>
                <a:lnTo>
                  <a:pt x="4064296" y="3570446"/>
                </a:lnTo>
                <a:lnTo>
                  <a:pt x="3969667" y="3648631"/>
                </a:lnTo>
                <a:lnTo>
                  <a:pt x="3889233" y="3717339"/>
                </a:lnTo>
                <a:lnTo>
                  <a:pt x="3749656" y="3823955"/>
                </a:lnTo>
                <a:lnTo>
                  <a:pt x="3586422" y="3940048"/>
                </a:lnTo>
                <a:lnTo>
                  <a:pt x="3416090" y="4063248"/>
                </a:lnTo>
                <a:lnTo>
                  <a:pt x="3243393" y="4181710"/>
                </a:lnTo>
                <a:lnTo>
                  <a:pt x="2928753" y="4397311"/>
                </a:lnTo>
                <a:lnTo>
                  <a:pt x="2765110" y="4504269"/>
                </a:lnTo>
                <a:lnTo>
                  <a:pt x="2721299" y="4504269"/>
                </a:lnTo>
                <a:lnTo>
                  <a:pt x="2850685" y="4205403"/>
                </a:lnTo>
                <a:lnTo>
                  <a:pt x="2924022" y="4037187"/>
                </a:lnTo>
                <a:lnTo>
                  <a:pt x="2983164" y="3909248"/>
                </a:lnTo>
                <a:lnTo>
                  <a:pt x="3004456" y="3866601"/>
                </a:lnTo>
                <a:lnTo>
                  <a:pt x="3025748" y="3833432"/>
                </a:lnTo>
                <a:lnTo>
                  <a:pt x="3047039" y="3802632"/>
                </a:lnTo>
                <a:lnTo>
                  <a:pt x="3073062" y="3776570"/>
                </a:lnTo>
                <a:lnTo>
                  <a:pt x="3099084" y="3755247"/>
                </a:lnTo>
                <a:lnTo>
                  <a:pt x="3127473" y="3731555"/>
                </a:lnTo>
                <a:lnTo>
                  <a:pt x="3158228" y="3717339"/>
                </a:lnTo>
                <a:lnTo>
                  <a:pt x="3191347" y="3700754"/>
                </a:lnTo>
                <a:lnTo>
                  <a:pt x="3222102" y="3686539"/>
                </a:lnTo>
                <a:lnTo>
                  <a:pt x="3257587" y="3677062"/>
                </a:lnTo>
                <a:lnTo>
                  <a:pt x="3335656" y="3651000"/>
                </a:lnTo>
                <a:lnTo>
                  <a:pt x="3423187" y="3627308"/>
                </a:lnTo>
                <a:lnTo>
                  <a:pt x="3520182" y="3598877"/>
                </a:lnTo>
                <a:lnTo>
                  <a:pt x="3567496" y="3579923"/>
                </a:lnTo>
                <a:lnTo>
                  <a:pt x="3614810" y="3560969"/>
                </a:lnTo>
                <a:lnTo>
                  <a:pt x="3657393" y="3537277"/>
                </a:lnTo>
                <a:lnTo>
                  <a:pt x="3695244" y="3513584"/>
                </a:lnTo>
                <a:lnTo>
                  <a:pt x="3733096" y="3489892"/>
                </a:lnTo>
                <a:lnTo>
                  <a:pt x="3766216" y="3466200"/>
                </a:lnTo>
                <a:lnTo>
                  <a:pt x="3794604" y="3440138"/>
                </a:lnTo>
                <a:lnTo>
                  <a:pt x="3825358" y="3416445"/>
                </a:lnTo>
                <a:lnTo>
                  <a:pt x="3867942" y="3373799"/>
                </a:lnTo>
                <a:lnTo>
                  <a:pt x="3901062" y="3335891"/>
                </a:lnTo>
                <a:lnTo>
                  <a:pt x="3927084" y="3302722"/>
                </a:lnTo>
                <a:lnTo>
                  <a:pt x="3927084" y="3300353"/>
                </a:lnTo>
                <a:lnTo>
                  <a:pt x="3799336" y="3331153"/>
                </a:lnTo>
                <a:lnTo>
                  <a:pt x="3662124" y="3359584"/>
                </a:lnTo>
                <a:lnTo>
                  <a:pt x="3503622" y="3392753"/>
                </a:lnTo>
                <a:lnTo>
                  <a:pt x="3505987" y="3388015"/>
                </a:lnTo>
                <a:lnTo>
                  <a:pt x="3655027" y="3331153"/>
                </a:lnTo>
                <a:lnTo>
                  <a:pt x="3806433" y="3271922"/>
                </a:lnTo>
                <a:lnTo>
                  <a:pt x="3938913" y="3217429"/>
                </a:lnTo>
                <a:lnTo>
                  <a:pt x="3986227" y="3196106"/>
                </a:lnTo>
                <a:lnTo>
                  <a:pt x="4019347" y="3179521"/>
                </a:lnTo>
                <a:lnTo>
                  <a:pt x="4057198" y="3160567"/>
                </a:lnTo>
                <a:lnTo>
                  <a:pt x="4097416" y="3146352"/>
                </a:lnTo>
                <a:lnTo>
                  <a:pt x="4180216" y="3122660"/>
                </a:lnTo>
                <a:lnTo>
                  <a:pt x="4218067" y="3110813"/>
                </a:lnTo>
                <a:lnTo>
                  <a:pt x="4248821" y="3101336"/>
                </a:lnTo>
                <a:lnTo>
                  <a:pt x="4258284" y="3091859"/>
                </a:lnTo>
                <a:lnTo>
                  <a:pt x="4270112" y="3084752"/>
                </a:lnTo>
                <a:lnTo>
                  <a:pt x="4274844" y="3072906"/>
                </a:lnTo>
                <a:lnTo>
                  <a:pt x="4281941" y="3065798"/>
                </a:lnTo>
                <a:lnTo>
                  <a:pt x="4284307" y="3044475"/>
                </a:lnTo>
                <a:lnTo>
                  <a:pt x="4281941" y="3023151"/>
                </a:lnTo>
                <a:lnTo>
                  <a:pt x="4274844" y="3006567"/>
                </a:lnTo>
                <a:lnTo>
                  <a:pt x="4263016" y="2987613"/>
                </a:lnTo>
                <a:lnTo>
                  <a:pt x="4244090" y="2971028"/>
                </a:lnTo>
                <a:lnTo>
                  <a:pt x="4218067" y="2954443"/>
                </a:lnTo>
                <a:lnTo>
                  <a:pt x="4184947" y="2940228"/>
                </a:lnTo>
                <a:lnTo>
                  <a:pt x="4142364" y="2921274"/>
                </a:lnTo>
                <a:lnTo>
                  <a:pt x="4118707" y="2911797"/>
                </a:lnTo>
                <a:lnTo>
                  <a:pt x="4092684" y="2907059"/>
                </a:lnTo>
                <a:lnTo>
                  <a:pt x="4066661" y="2902320"/>
                </a:lnTo>
                <a:lnTo>
                  <a:pt x="4040638" y="2897582"/>
                </a:lnTo>
                <a:lnTo>
                  <a:pt x="4014616" y="2897582"/>
                </a:lnTo>
                <a:lnTo>
                  <a:pt x="3983861" y="2897582"/>
                </a:lnTo>
                <a:lnTo>
                  <a:pt x="3955473" y="2904689"/>
                </a:lnTo>
                <a:lnTo>
                  <a:pt x="3924718" y="2907059"/>
                </a:lnTo>
                <a:lnTo>
                  <a:pt x="3865576" y="2923643"/>
                </a:lnTo>
                <a:lnTo>
                  <a:pt x="3804067" y="2944967"/>
                </a:lnTo>
                <a:lnTo>
                  <a:pt x="3740193" y="2971028"/>
                </a:lnTo>
                <a:lnTo>
                  <a:pt x="3676318" y="3008936"/>
                </a:lnTo>
                <a:lnTo>
                  <a:pt x="3645564" y="3023151"/>
                </a:lnTo>
                <a:lnTo>
                  <a:pt x="3614810" y="3032628"/>
                </a:lnTo>
                <a:lnTo>
                  <a:pt x="3579324" y="3042105"/>
                </a:lnTo>
                <a:lnTo>
                  <a:pt x="3543839" y="3044475"/>
                </a:lnTo>
                <a:lnTo>
                  <a:pt x="3479964" y="3049213"/>
                </a:lnTo>
                <a:lnTo>
                  <a:pt x="3449210" y="3051582"/>
                </a:lnTo>
                <a:lnTo>
                  <a:pt x="3425553" y="3056321"/>
                </a:lnTo>
                <a:lnTo>
                  <a:pt x="3392433" y="3056321"/>
                </a:lnTo>
                <a:lnTo>
                  <a:pt x="3364044" y="3056321"/>
                </a:lnTo>
                <a:lnTo>
                  <a:pt x="3314364" y="3049213"/>
                </a:lnTo>
                <a:lnTo>
                  <a:pt x="3271782" y="3042105"/>
                </a:lnTo>
                <a:lnTo>
                  <a:pt x="3233930" y="3030259"/>
                </a:lnTo>
                <a:lnTo>
                  <a:pt x="3200810" y="3023151"/>
                </a:lnTo>
                <a:lnTo>
                  <a:pt x="3167690" y="3018413"/>
                </a:lnTo>
                <a:lnTo>
                  <a:pt x="3155862" y="3018413"/>
                </a:lnTo>
                <a:lnTo>
                  <a:pt x="3139302" y="3018413"/>
                </a:lnTo>
                <a:lnTo>
                  <a:pt x="3122742" y="3020782"/>
                </a:lnTo>
                <a:lnTo>
                  <a:pt x="3106182" y="3025521"/>
                </a:lnTo>
                <a:lnTo>
                  <a:pt x="2919290" y="3096598"/>
                </a:lnTo>
                <a:lnTo>
                  <a:pt x="2838856" y="3125029"/>
                </a:lnTo>
                <a:lnTo>
                  <a:pt x="2886170" y="3089490"/>
                </a:lnTo>
                <a:lnTo>
                  <a:pt x="3011553" y="2994721"/>
                </a:lnTo>
                <a:lnTo>
                  <a:pt x="3023382" y="2987613"/>
                </a:lnTo>
                <a:lnTo>
                  <a:pt x="3037576" y="2982874"/>
                </a:lnTo>
                <a:lnTo>
                  <a:pt x="3063599" y="2971028"/>
                </a:lnTo>
                <a:lnTo>
                  <a:pt x="3099084" y="2966290"/>
                </a:lnTo>
                <a:lnTo>
                  <a:pt x="3134570" y="2963920"/>
                </a:lnTo>
                <a:lnTo>
                  <a:pt x="3172422" y="2963920"/>
                </a:lnTo>
                <a:lnTo>
                  <a:pt x="3212639" y="2963920"/>
                </a:lnTo>
                <a:lnTo>
                  <a:pt x="3295439" y="2971028"/>
                </a:lnTo>
                <a:lnTo>
                  <a:pt x="3382970" y="2980505"/>
                </a:lnTo>
                <a:lnTo>
                  <a:pt x="3463404" y="2985244"/>
                </a:lnTo>
                <a:lnTo>
                  <a:pt x="3501256" y="2985244"/>
                </a:lnTo>
                <a:lnTo>
                  <a:pt x="3536742" y="2982874"/>
                </a:lnTo>
                <a:lnTo>
                  <a:pt x="3567496" y="2975767"/>
                </a:lnTo>
                <a:lnTo>
                  <a:pt x="3595884" y="2968659"/>
                </a:lnTo>
                <a:lnTo>
                  <a:pt x="3716536" y="2914166"/>
                </a:lnTo>
                <a:lnTo>
                  <a:pt x="3799336" y="2883366"/>
                </a:lnTo>
                <a:lnTo>
                  <a:pt x="3832456" y="2869151"/>
                </a:lnTo>
                <a:lnTo>
                  <a:pt x="3865576" y="2859674"/>
                </a:lnTo>
                <a:lnTo>
                  <a:pt x="3936547" y="2845458"/>
                </a:lnTo>
                <a:lnTo>
                  <a:pt x="3962570" y="2840720"/>
                </a:lnTo>
                <a:lnTo>
                  <a:pt x="3988593" y="2838351"/>
                </a:lnTo>
                <a:lnTo>
                  <a:pt x="4024078" y="2835981"/>
                </a:lnTo>
                <a:lnTo>
                  <a:pt x="4059564" y="2838351"/>
                </a:lnTo>
                <a:lnTo>
                  <a:pt x="4097416" y="2845458"/>
                </a:lnTo>
                <a:lnTo>
                  <a:pt x="4137633" y="2852566"/>
                </a:lnTo>
                <a:lnTo>
                  <a:pt x="4175484" y="2864412"/>
                </a:lnTo>
                <a:lnTo>
                  <a:pt x="4208604" y="2873889"/>
                </a:lnTo>
                <a:lnTo>
                  <a:pt x="4234627" y="2888105"/>
                </a:lnTo>
                <a:lnTo>
                  <a:pt x="4255918" y="2904689"/>
                </a:lnTo>
                <a:lnTo>
                  <a:pt x="4272478" y="2885736"/>
                </a:lnTo>
                <a:lnTo>
                  <a:pt x="4386032" y="2724627"/>
                </a:lnTo>
                <a:lnTo>
                  <a:pt x="4587118" y="2447426"/>
                </a:lnTo>
                <a:lnTo>
                  <a:pt x="4672284" y="2328964"/>
                </a:lnTo>
                <a:lnTo>
                  <a:pt x="4717232" y="2264994"/>
                </a:lnTo>
                <a:lnTo>
                  <a:pt x="4762181" y="2198656"/>
                </a:lnTo>
                <a:lnTo>
                  <a:pt x="4797667" y="2139425"/>
                </a:lnTo>
                <a:lnTo>
                  <a:pt x="4809496" y="2110994"/>
                </a:lnTo>
                <a:lnTo>
                  <a:pt x="4821324" y="2082563"/>
                </a:lnTo>
                <a:lnTo>
                  <a:pt x="4826056" y="2058871"/>
                </a:lnTo>
                <a:lnTo>
                  <a:pt x="4828421" y="2035178"/>
                </a:lnTo>
                <a:lnTo>
                  <a:pt x="4826056" y="2016224"/>
                </a:lnTo>
                <a:lnTo>
                  <a:pt x="4821324" y="1997270"/>
                </a:lnTo>
                <a:lnTo>
                  <a:pt x="4802398" y="1987793"/>
                </a:lnTo>
                <a:lnTo>
                  <a:pt x="4783472" y="1983055"/>
                </a:lnTo>
                <a:lnTo>
                  <a:pt x="4762181" y="1983055"/>
                </a:lnTo>
                <a:lnTo>
                  <a:pt x="4736158" y="1985424"/>
                </a:lnTo>
                <a:lnTo>
                  <a:pt x="4726696" y="1992532"/>
                </a:lnTo>
                <a:lnTo>
                  <a:pt x="4712501" y="1997270"/>
                </a:lnTo>
                <a:lnTo>
                  <a:pt x="4684112" y="2020963"/>
                </a:lnTo>
                <a:lnTo>
                  <a:pt x="4650992" y="2051763"/>
                </a:lnTo>
                <a:lnTo>
                  <a:pt x="4610776" y="2092040"/>
                </a:lnTo>
                <a:lnTo>
                  <a:pt x="4525610" y="2182071"/>
                </a:lnTo>
                <a:lnTo>
                  <a:pt x="4435712" y="2291056"/>
                </a:lnTo>
                <a:lnTo>
                  <a:pt x="4341084" y="2400041"/>
                </a:lnTo>
                <a:lnTo>
                  <a:pt x="4251187" y="2499549"/>
                </a:lnTo>
                <a:lnTo>
                  <a:pt x="4192044" y="2563519"/>
                </a:lnTo>
                <a:lnTo>
                  <a:pt x="4137633" y="2620381"/>
                </a:lnTo>
                <a:lnTo>
                  <a:pt x="4090318" y="2665396"/>
                </a:lnTo>
                <a:lnTo>
                  <a:pt x="4045370" y="2708042"/>
                </a:lnTo>
                <a:lnTo>
                  <a:pt x="4007518" y="2736473"/>
                </a:lnTo>
                <a:lnTo>
                  <a:pt x="3972033" y="2760166"/>
                </a:lnTo>
                <a:lnTo>
                  <a:pt x="3941278" y="2776750"/>
                </a:lnTo>
                <a:lnTo>
                  <a:pt x="3910524" y="2788597"/>
                </a:lnTo>
                <a:lnTo>
                  <a:pt x="3886867" y="2793335"/>
                </a:lnTo>
                <a:lnTo>
                  <a:pt x="3865576" y="2795704"/>
                </a:lnTo>
                <a:lnTo>
                  <a:pt x="3846650" y="2795704"/>
                </a:lnTo>
                <a:lnTo>
                  <a:pt x="3830090" y="2795704"/>
                </a:lnTo>
                <a:lnTo>
                  <a:pt x="3806433" y="2790966"/>
                </a:lnTo>
                <a:lnTo>
                  <a:pt x="3787507" y="2786227"/>
                </a:lnTo>
                <a:lnTo>
                  <a:pt x="3780410" y="2781489"/>
                </a:lnTo>
                <a:lnTo>
                  <a:pt x="3832456" y="2772012"/>
                </a:lnTo>
                <a:lnTo>
                  <a:pt x="3879770" y="2760166"/>
                </a:lnTo>
                <a:lnTo>
                  <a:pt x="3898696" y="2753058"/>
                </a:lnTo>
                <a:lnTo>
                  <a:pt x="3912890" y="2748320"/>
                </a:lnTo>
                <a:lnTo>
                  <a:pt x="3948376" y="2719889"/>
                </a:lnTo>
                <a:lnTo>
                  <a:pt x="3983861" y="2693827"/>
                </a:lnTo>
                <a:lnTo>
                  <a:pt x="4014616" y="2663027"/>
                </a:lnTo>
                <a:lnTo>
                  <a:pt x="4045370" y="2627488"/>
                </a:lnTo>
                <a:lnTo>
                  <a:pt x="4118707" y="2546934"/>
                </a:lnTo>
                <a:lnTo>
                  <a:pt x="4220432" y="2437949"/>
                </a:lnTo>
                <a:lnTo>
                  <a:pt x="4291404" y="2359764"/>
                </a:lnTo>
                <a:lnTo>
                  <a:pt x="4360010" y="2283948"/>
                </a:lnTo>
                <a:lnTo>
                  <a:pt x="4483027" y="2134686"/>
                </a:lnTo>
                <a:lnTo>
                  <a:pt x="4537438" y="2065978"/>
                </a:lnTo>
                <a:lnTo>
                  <a:pt x="4589484" y="2013855"/>
                </a:lnTo>
                <a:lnTo>
                  <a:pt x="4636798" y="1966470"/>
                </a:lnTo>
                <a:lnTo>
                  <a:pt x="4658090" y="1947516"/>
                </a:lnTo>
                <a:lnTo>
                  <a:pt x="4679381" y="1935670"/>
                </a:lnTo>
                <a:lnTo>
                  <a:pt x="4707770" y="1923824"/>
                </a:lnTo>
                <a:lnTo>
                  <a:pt x="4717232" y="1919085"/>
                </a:lnTo>
                <a:lnTo>
                  <a:pt x="4731427" y="1919085"/>
                </a:lnTo>
                <a:lnTo>
                  <a:pt x="4721964" y="1907239"/>
                </a:lnTo>
                <a:lnTo>
                  <a:pt x="4705404" y="1895393"/>
                </a:lnTo>
                <a:lnTo>
                  <a:pt x="4693576" y="1885916"/>
                </a:lnTo>
                <a:lnTo>
                  <a:pt x="4679381" y="1881177"/>
                </a:lnTo>
                <a:lnTo>
                  <a:pt x="4667552" y="1876439"/>
                </a:lnTo>
                <a:lnTo>
                  <a:pt x="4650992" y="1871700"/>
                </a:lnTo>
                <a:lnTo>
                  <a:pt x="4629701" y="1871700"/>
                </a:lnTo>
                <a:lnTo>
                  <a:pt x="4606044" y="1878808"/>
                </a:lnTo>
                <a:lnTo>
                  <a:pt x="4589484" y="1885916"/>
                </a:lnTo>
                <a:lnTo>
                  <a:pt x="4572924" y="1897762"/>
                </a:lnTo>
                <a:lnTo>
                  <a:pt x="4530341" y="1928562"/>
                </a:lnTo>
                <a:lnTo>
                  <a:pt x="4483027" y="1975947"/>
                </a:lnTo>
                <a:lnTo>
                  <a:pt x="4430981" y="2032809"/>
                </a:lnTo>
                <a:lnTo>
                  <a:pt x="4376570" y="2096778"/>
                </a:lnTo>
                <a:lnTo>
                  <a:pt x="4312696" y="2167856"/>
                </a:lnTo>
                <a:lnTo>
                  <a:pt x="4189678" y="2317118"/>
                </a:lnTo>
                <a:lnTo>
                  <a:pt x="4130536" y="2388195"/>
                </a:lnTo>
                <a:lnTo>
                  <a:pt x="4078490" y="2447426"/>
                </a:lnTo>
                <a:lnTo>
                  <a:pt x="4028810" y="2501918"/>
                </a:lnTo>
                <a:lnTo>
                  <a:pt x="3986227" y="2549303"/>
                </a:lnTo>
                <a:lnTo>
                  <a:pt x="3943644" y="2591950"/>
                </a:lnTo>
                <a:lnTo>
                  <a:pt x="3905793" y="2625119"/>
                </a:lnTo>
                <a:lnTo>
                  <a:pt x="3870307" y="2653550"/>
                </a:lnTo>
                <a:lnTo>
                  <a:pt x="3837187" y="2674873"/>
                </a:lnTo>
                <a:lnTo>
                  <a:pt x="3811164" y="2684350"/>
                </a:lnTo>
                <a:lnTo>
                  <a:pt x="3778044" y="2696196"/>
                </a:lnTo>
                <a:lnTo>
                  <a:pt x="3759118" y="2698565"/>
                </a:lnTo>
                <a:lnTo>
                  <a:pt x="3740193" y="2698565"/>
                </a:lnTo>
                <a:lnTo>
                  <a:pt x="3711804" y="2696196"/>
                </a:lnTo>
                <a:lnTo>
                  <a:pt x="3690513" y="2691458"/>
                </a:lnTo>
                <a:lnTo>
                  <a:pt x="3681050" y="2689089"/>
                </a:lnTo>
                <a:lnTo>
                  <a:pt x="3690513" y="2684350"/>
                </a:lnTo>
                <a:lnTo>
                  <a:pt x="3752022" y="2665396"/>
                </a:lnTo>
                <a:lnTo>
                  <a:pt x="3785142" y="2653550"/>
                </a:lnTo>
                <a:lnTo>
                  <a:pt x="3811164" y="2641704"/>
                </a:lnTo>
                <a:lnTo>
                  <a:pt x="3813530" y="2639334"/>
                </a:lnTo>
                <a:lnTo>
                  <a:pt x="3851382" y="2618011"/>
                </a:lnTo>
                <a:lnTo>
                  <a:pt x="3884502" y="2594319"/>
                </a:lnTo>
                <a:lnTo>
                  <a:pt x="3917621" y="2561150"/>
                </a:lnTo>
                <a:lnTo>
                  <a:pt x="3948376" y="2525611"/>
                </a:lnTo>
                <a:lnTo>
                  <a:pt x="4028810" y="2421364"/>
                </a:lnTo>
                <a:lnTo>
                  <a:pt x="4156558" y="2255517"/>
                </a:lnTo>
                <a:lnTo>
                  <a:pt x="4305598" y="2065978"/>
                </a:lnTo>
                <a:lnTo>
                  <a:pt x="4367107" y="1992532"/>
                </a:lnTo>
                <a:lnTo>
                  <a:pt x="4423884" y="1926193"/>
                </a:lnTo>
                <a:lnTo>
                  <a:pt x="4421518" y="1909608"/>
                </a:lnTo>
                <a:lnTo>
                  <a:pt x="4419152" y="1895393"/>
                </a:lnTo>
                <a:lnTo>
                  <a:pt x="4414421" y="1881177"/>
                </a:lnTo>
                <a:lnTo>
                  <a:pt x="4402592" y="1866962"/>
                </a:lnTo>
                <a:lnTo>
                  <a:pt x="4388398" y="1862224"/>
                </a:lnTo>
                <a:lnTo>
                  <a:pt x="4371838" y="1862224"/>
                </a:lnTo>
                <a:lnTo>
                  <a:pt x="4357644" y="1862224"/>
                </a:lnTo>
                <a:lnTo>
                  <a:pt x="4338718" y="1869331"/>
                </a:lnTo>
                <a:lnTo>
                  <a:pt x="4319792" y="1881177"/>
                </a:lnTo>
                <a:lnTo>
                  <a:pt x="4296136" y="1900131"/>
                </a:lnTo>
                <a:lnTo>
                  <a:pt x="4272478" y="1921455"/>
                </a:lnTo>
                <a:lnTo>
                  <a:pt x="4248821" y="1949885"/>
                </a:lnTo>
                <a:lnTo>
                  <a:pt x="4189678" y="2023332"/>
                </a:lnTo>
                <a:lnTo>
                  <a:pt x="4121073" y="2110994"/>
                </a:lnTo>
                <a:lnTo>
                  <a:pt x="3995690" y="2283948"/>
                </a:lnTo>
                <a:lnTo>
                  <a:pt x="3893964" y="2414257"/>
                </a:lnTo>
                <a:lnTo>
                  <a:pt x="3849016" y="2471118"/>
                </a:lnTo>
                <a:lnTo>
                  <a:pt x="3808798" y="2520872"/>
                </a:lnTo>
                <a:lnTo>
                  <a:pt x="3770947" y="2561150"/>
                </a:lnTo>
                <a:lnTo>
                  <a:pt x="3735462" y="2594319"/>
                </a:lnTo>
                <a:lnTo>
                  <a:pt x="3707073" y="2618011"/>
                </a:lnTo>
                <a:lnTo>
                  <a:pt x="3681050" y="2634596"/>
                </a:lnTo>
                <a:lnTo>
                  <a:pt x="3662124" y="2641704"/>
                </a:lnTo>
                <a:lnTo>
                  <a:pt x="3643198" y="2646442"/>
                </a:lnTo>
                <a:lnTo>
                  <a:pt x="3626639" y="2651181"/>
                </a:lnTo>
                <a:lnTo>
                  <a:pt x="3614810" y="2651181"/>
                </a:lnTo>
                <a:lnTo>
                  <a:pt x="3598250" y="2651181"/>
                </a:lnTo>
                <a:lnTo>
                  <a:pt x="3586422" y="2646442"/>
                </a:lnTo>
                <a:lnTo>
                  <a:pt x="3576959" y="2644073"/>
                </a:lnTo>
                <a:lnTo>
                  <a:pt x="3586422" y="2639334"/>
                </a:lnTo>
                <a:lnTo>
                  <a:pt x="3636102" y="2618011"/>
                </a:lnTo>
                <a:lnTo>
                  <a:pt x="3662124" y="2606165"/>
                </a:lnTo>
                <a:lnTo>
                  <a:pt x="3681050" y="2594319"/>
                </a:lnTo>
                <a:lnTo>
                  <a:pt x="3714170" y="2572996"/>
                </a:lnTo>
                <a:lnTo>
                  <a:pt x="3740193" y="2546934"/>
                </a:lnTo>
                <a:lnTo>
                  <a:pt x="3768582" y="2520872"/>
                </a:lnTo>
                <a:lnTo>
                  <a:pt x="3794604" y="2487703"/>
                </a:lnTo>
                <a:lnTo>
                  <a:pt x="3827724" y="2445057"/>
                </a:lnTo>
                <a:lnTo>
                  <a:pt x="3865576" y="2388195"/>
                </a:lnTo>
                <a:lnTo>
                  <a:pt x="3967301" y="2231825"/>
                </a:lnTo>
                <a:lnTo>
                  <a:pt x="4040638" y="2122840"/>
                </a:lnTo>
                <a:lnTo>
                  <a:pt x="4102147" y="2032809"/>
                </a:lnTo>
                <a:lnTo>
                  <a:pt x="4085587" y="2018593"/>
                </a:lnTo>
                <a:lnTo>
                  <a:pt x="4078490" y="2013855"/>
                </a:lnTo>
                <a:lnTo>
                  <a:pt x="4064296" y="2013855"/>
                </a:lnTo>
                <a:lnTo>
                  <a:pt x="4054833" y="2016224"/>
                </a:lnTo>
                <a:lnTo>
                  <a:pt x="4040638" y="2020963"/>
                </a:lnTo>
                <a:lnTo>
                  <a:pt x="4026444" y="2032809"/>
                </a:lnTo>
                <a:lnTo>
                  <a:pt x="4009884" y="2042286"/>
                </a:lnTo>
                <a:lnTo>
                  <a:pt x="3981496" y="2075455"/>
                </a:lnTo>
                <a:lnTo>
                  <a:pt x="3948376" y="2115732"/>
                </a:lnTo>
                <a:lnTo>
                  <a:pt x="3917621" y="2165486"/>
                </a:lnTo>
                <a:lnTo>
                  <a:pt x="3882136" y="2217610"/>
                </a:lnTo>
                <a:lnTo>
                  <a:pt x="3851382" y="2274471"/>
                </a:lnTo>
                <a:lnTo>
                  <a:pt x="3834822" y="2298164"/>
                </a:lnTo>
                <a:lnTo>
                  <a:pt x="3818262" y="2326595"/>
                </a:lnTo>
                <a:lnTo>
                  <a:pt x="3780410" y="2378718"/>
                </a:lnTo>
                <a:lnTo>
                  <a:pt x="3737827" y="2423734"/>
                </a:lnTo>
                <a:lnTo>
                  <a:pt x="3690513" y="2468749"/>
                </a:lnTo>
                <a:lnTo>
                  <a:pt x="3636102" y="2511395"/>
                </a:lnTo>
                <a:lnTo>
                  <a:pt x="3581690" y="2554042"/>
                </a:lnTo>
                <a:lnTo>
                  <a:pt x="3524913" y="2587211"/>
                </a:lnTo>
                <a:lnTo>
                  <a:pt x="3468136" y="2622750"/>
                </a:lnTo>
                <a:lnTo>
                  <a:pt x="3427919" y="2627488"/>
                </a:lnTo>
                <a:lnTo>
                  <a:pt x="3392433" y="2636965"/>
                </a:lnTo>
                <a:lnTo>
                  <a:pt x="3356947" y="2646442"/>
                </a:lnTo>
                <a:lnTo>
                  <a:pt x="3316730" y="2665396"/>
                </a:lnTo>
                <a:lnTo>
                  <a:pt x="3203176" y="2719889"/>
                </a:lnTo>
                <a:lnTo>
                  <a:pt x="3118010" y="2757797"/>
                </a:lnTo>
                <a:lnTo>
                  <a:pt x="3004456" y="2800443"/>
                </a:lnTo>
                <a:lnTo>
                  <a:pt x="2964239" y="2819397"/>
                </a:lnTo>
                <a:lnTo>
                  <a:pt x="2924022" y="2838351"/>
                </a:lnTo>
                <a:lnTo>
                  <a:pt x="2888536" y="2857305"/>
                </a:lnTo>
                <a:lnTo>
                  <a:pt x="2853050" y="2876259"/>
                </a:lnTo>
                <a:lnTo>
                  <a:pt x="2819930" y="2897582"/>
                </a:lnTo>
                <a:lnTo>
                  <a:pt x="2793908" y="2916536"/>
                </a:lnTo>
                <a:lnTo>
                  <a:pt x="2765519" y="2940228"/>
                </a:lnTo>
                <a:lnTo>
                  <a:pt x="2739496" y="2963920"/>
                </a:lnTo>
                <a:lnTo>
                  <a:pt x="2718205" y="2985244"/>
                </a:lnTo>
                <a:lnTo>
                  <a:pt x="2696913" y="3006567"/>
                </a:lnTo>
                <a:lnTo>
                  <a:pt x="2661428" y="3051582"/>
                </a:lnTo>
                <a:lnTo>
                  <a:pt x="2630673" y="3101336"/>
                </a:lnTo>
                <a:lnTo>
                  <a:pt x="2609382" y="3146352"/>
                </a:lnTo>
                <a:lnTo>
                  <a:pt x="2590456" y="3188998"/>
                </a:lnTo>
                <a:lnTo>
                  <a:pt x="2573896" y="3236383"/>
                </a:lnTo>
                <a:lnTo>
                  <a:pt x="2564433" y="3276660"/>
                </a:lnTo>
                <a:lnTo>
                  <a:pt x="2554970" y="3316937"/>
                </a:lnTo>
                <a:lnTo>
                  <a:pt x="2543142" y="3385645"/>
                </a:lnTo>
                <a:lnTo>
                  <a:pt x="2533679" y="3411707"/>
                </a:lnTo>
                <a:lnTo>
                  <a:pt x="2526582" y="3433030"/>
                </a:lnTo>
                <a:lnTo>
                  <a:pt x="2505290" y="3482784"/>
                </a:lnTo>
                <a:lnTo>
                  <a:pt x="2460342" y="3553861"/>
                </a:lnTo>
                <a:lnTo>
                  <a:pt x="2339690" y="3759985"/>
                </a:lnTo>
                <a:lnTo>
                  <a:pt x="2197748" y="3994540"/>
                </a:lnTo>
                <a:lnTo>
                  <a:pt x="2069999" y="4203034"/>
                </a:lnTo>
                <a:lnTo>
                  <a:pt x="1890205" y="4077464"/>
                </a:lnTo>
                <a:lnTo>
                  <a:pt x="1710411" y="3951894"/>
                </a:lnTo>
                <a:lnTo>
                  <a:pt x="1540080" y="3831063"/>
                </a:lnTo>
                <a:lnTo>
                  <a:pt x="1395771" y="3717339"/>
                </a:lnTo>
                <a:lnTo>
                  <a:pt x="1310605" y="3648631"/>
                </a:lnTo>
                <a:lnTo>
                  <a:pt x="1215977" y="3570446"/>
                </a:lnTo>
                <a:lnTo>
                  <a:pt x="1114251" y="3482784"/>
                </a:lnTo>
                <a:lnTo>
                  <a:pt x="1003063" y="3380907"/>
                </a:lnTo>
                <a:lnTo>
                  <a:pt x="889508" y="3271922"/>
                </a:lnTo>
                <a:lnTo>
                  <a:pt x="773588" y="3153460"/>
                </a:lnTo>
                <a:lnTo>
                  <a:pt x="714446" y="3089490"/>
                </a:lnTo>
                <a:lnTo>
                  <a:pt x="657669" y="3023151"/>
                </a:lnTo>
                <a:lnTo>
                  <a:pt x="598526" y="2954443"/>
                </a:lnTo>
                <a:lnTo>
                  <a:pt x="544114" y="2885736"/>
                </a:lnTo>
                <a:lnTo>
                  <a:pt x="487337" y="2814658"/>
                </a:lnTo>
                <a:lnTo>
                  <a:pt x="432926" y="2738843"/>
                </a:lnTo>
                <a:lnTo>
                  <a:pt x="383246" y="2663027"/>
                </a:lnTo>
                <a:lnTo>
                  <a:pt x="333566" y="2584842"/>
                </a:lnTo>
                <a:lnTo>
                  <a:pt x="286252" y="2506657"/>
                </a:lnTo>
                <a:lnTo>
                  <a:pt x="238937" y="2423734"/>
                </a:lnTo>
                <a:lnTo>
                  <a:pt x="198720" y="2340810"/>
                </a:lnTo>
                <a:lnTo>
                  <a:pt x="160869" y="2255517"/>
                </a:lnTo>
                <a:lnTo>
                  <a:pt x="123017" y="2167856"/>
                </a:lnTo>
                <a:lnTo>
                  <a:pt x="94629" y="2077824"/>
                </a:lnTo>
                <a:lnTo>
                  <a:pt x="66240" y="1987793"/>
                </a:lnTo>
                <a:lnTo>
                  <a:pt x="42583" y="1897762"/>
                </a:lnTo>
                <a:lnTo>
                  <a:pt x="23657" y="1802992"/>
                </a:lnTo>
                <a:lnTo>
                  <a:pt x="9463" y="1708223"/>
                </a:lnTo>
                <a:lnTo>
                  <a:pt x="2366" y="1611084"/>
                </a:lnTo>
                <a:lnTo>
                  <a:pt x="0" y="1513945"/>
                </a:lnTo>
                <a:lnTo>
                  <a:pt x="2366" y="1445237"/>
                </a:lnTo>
                <a:lnTo>
                  <a:pt x="4732" y="1376529"/>
                </a:lnTo>
                <a:lnTo>
                  <a:pt x="9463" y="1310190"/>
                </a:lnTo>
                <a:lnTo>
                  <a:pt x="18926" y="1246221"/>
                </a:lnTo>
                <a:lnTo>
                  <a:pt x="26023" y="1184621"/>
                </a:lnTo>
                <a:lnTo>
                  <a:pt x="40217" y="1123020"/>
                </a:lnTo>
                <a:lnTo>
                  <a:pt x="52046" y="1063789"/>
                </a:lnTo>
                <a:lnTo>
                  <a:pt x="68606" y="1004558"/>
                </a:lnTo>
                <a:lnTo>
                  <a:pt x="85166" y="947697"/>
                </a:lnTo>
                <a:lnTo>
                  <a:pt x="104092" y="890835"/>
                </a:lnTo>
                <a:lnTo>
                  <a:pt x="125383" y="836342"/>
                </a:lnTo>
                <a:lnTo>
                  <a:pt x="146674" y="784219"/>
                </a:lnTo>
                <a:lnTo>
                  <a:pt x="172697" y="736834"/>
                </a:lnTo>
                <a:lnTo>
                  <a:pt x="198720" y="684711"/>
                </a:lnTo>
                <a:lnTo>
                  <a:pt x="227109" y="639695"/>
                </a:lnTo>
                <a:lnTo>
                  <a:pt x="255497" y="592310"/>
                </a:lnTo>
                <a:lnTo>
                  <a:pt x="335932" y="696557"/>
                </a:lnTo>
                <a:lnTo>
                  <a:pt x="387977" y="765265"/>
                </a:lnTo>
                <a:lnTo>
                  <a:pt x="402172" y="784219"/>
                </a:lnTo>
                <a:lnTo>
                  <a:pt x="411634" y="812650"/>
                </a:lnTo>
                <a:lnTo>
                  <a:pt x="440023" y="876619"/>
                </a:lnTo>
                <a:lnTo>
                  <a:pt x="451851" y="914527"/>
                </a:lnTo>
                <a:lnTo>
                  <a:pt x="470777" y="952435"/>
                </a:lnTo>
                <a:lnTo>
                  <a:pt x="494434" y="992712"/>
                </a:lnTo>
                <a:lnTo>
                  <a:pt x="520457" y="1032989"/>
                </a:lnTo>
                <a:lnTo>
                  <a:pt x="553577" y="1075636"/>
                </a:lnTo>
                <a:lnTo>
                  <a:pt x="591429" y="1115913"/>
                </a:lnTo>
                <a:lnTo>
                  <a:pt x="634011" y="1153820"/>
                </a:lnTo>
                <a:lnTo>
                  <a:pt x="657669" y="1172774"/>
                </a:lnTo>
                <a:lnTo>
                  <a:pt x="686057" y="1191728"/>
                </a:lnTo>
                <a:lnTo>
                  <a:pt x="712080" y="1208313"/>
                </a:lnTo>
                <a:lnTo>
                  <a:pt x="742834" y="1224898"/>
                </a:lnTo>
                <a:lnTo>
                  <a:pt x="773588" y="1241482"/>
                </a:lnTo>
                <a:lnTo>
                  <a:pt x="809074" y="1255698"/>
                </a:lnTo>
                <a:lnTo>
                  <a:pt x="846926" y="1267544"/>
                </a:lnTo>
                <a:lnTo>
                  <a:pt x="884777" y="1281759"/>
                </a:lnTo>
                <a:lnTo>
                  <a:pt x="927360" y="1291236"/>
                </a:lnTo>
                <a:lnTo>
                  <a:pt x="972308" y="1300713"/>
                </a:lnTo>
                <a:lnTo>
                  <a:pt x="1090594" y="1324406"/>
                </a:lnTo>
                <a:lnTo>
                  <a:pt x="1182857" y="1345729"/>
                </a:lnTo>
                <a:lnTo>
                  <a:pt x="1303508" y="1378898"/>
                </a:lnTo>
                <a:lnTo>
                  <a:pt x="1346091" y="1388375"/>
                </a:lnTo>
                <a:lnTo>
                  <a:pt x="1383943" y="1395483"/>
                </a:lnTo>
                <a:lnTo>
                  <a:pt x="1419428" y="1397852"/>
                </a:lnTo>
                <a:lnTo>
                  <a:pt x="1459645" y="1395483"/>
                </a:lnTo>
                <a:lnTo>
                  <a:pt x="1521154" y="1416806"/>
                </a:lnTo>
                <a:lnTo>
                  <a:pt x="1585028" y="1442868"/>
                </a:lnTo>
                <a:lnTo>
                  <a:pt x="1646537" y="1473668"/>
                </a:lnTo>
                <a:lnTo>
                  <a:pt x="1705680" y="1504468"/>
                </a:lnTo>
                <a:lnTo>
                  <a:pt x="1760091" y="1542376"/>
                </a:lnTo>
                <a:lnTo>
                  <a:pt x="1814502" y="1580284"/>
                </a:lnTo>
                <a:lnTo>
                  <a:pt x="1859451" y="1625299"/>
                </a:lnTo>
                <a:lnTo>
                  <a:pt x="1880742" y="1646623"/>
                </a:lnTo>
                <a:lnTo>
                  <a:pt x="1899668" y="1670315"/>
                </a:lnTo>
                <a:lnTo>
                  <a:pt x="1939885" y="1720069"/>
                </a:lnTo>
                <a:lnTo>
                  <a:pt x="1982468" y="1767454"/>
                </a:lnTo>
                <a:lnTo>
                  <a:pt x="2025051" y="1807731"/>
                </a:lnTo>
                <a:lnTo>
                  <a:pt x="2062902" y="1843270"/>
                </a:lnTo>
                <a:lnTo>
                  <a:pt x="2100754" y="1866962"/>
                </a:lnTo>
                <a:lnTo>
                  <a:pt x="2114948" y="1876439"/>
                </a:lnTo>
                <a:lnTo>
                  <a:pt x="2131508" y="1883547"/>
                </a:lnTo>
                <a:lnTo>
                  <a:pt x="2145702" y="1885916"/>
                </a:lnTo>
                <a:lnTo>
                  <a:pt x="2155165" y="1885916"/>
                </a:lnTo>
                <a:lnTo>
                  <a:pt x="2169359" y="1883547"/>
                </a:lnTo>
                <a:lnTo>
                  <a:pt x="2178822" y="1878808"/>
                </a:lnTo>
                <a:lnTo>
                  <a:pt x="2190650" y="1862224"/>
                </a:lnTo>
                <a:lnTo>
                  <a:pt x="2110216" y="1784039"/>
                </a:lnTo>
                <a:lnTo>
                  <a:pt x="2020319" y="1689269"/>
                </a:lnTo>
                <a:lnTo>
                  <a:pt x="1892571" y="1554222"/>
                </a:lnTo>
                <a:lnTo>
                  <a:pt x="1845257" y="1504468"/>
                </a:lnTo>
                <a:lnTo>
                  <a:pt x="1807405" y="1471299"/>
                </a:lnTo>
                <a:lnTo>
                  <a:pt x="1771920" y="1440499"/>
                </a:lnTo>
                <a:lnTo>
                  <a:pt x="1743531" y="1419175"/>
                </a:lnTo>
                <a:lnTo>
                  <a:pt x="1710411" y="1400222"/>
                </a:lnTo>
                <a:lnTo>
                  <a:pt x="1674925" y="1383637"/>
                </a:lnTo>
                <a:lnTo>
                  <a:pt x="1653634" y="1376529"/>
                </a:lnTo>
                <a:lnTo>
                  <a:pt x="1627611" y="1367052"/>
                </a:lnTo>
                <a:lnTo>
                  <a:pt x="1573200" y="1357575"/>
                </a:lnTo>
                <a:lnTo>
                  <a:pt x="1561371" y="1355206"/>
                </a:lnTo>
                <a:lnTo>
                  <a:pt x="1573200" y="1348098"/>
                </a:lnTo>
                <a:lnTo>
                  <a:pt x="1585028" y="1345729"/>
                </a:lnTo>
                <a:lnTo>
                  <a:pt x="1599222" y="1340991"/>
                </a:lnTo>
                <a:lnTo>
                  <a:pt x="1613417" y="1340991"/>
                </a:lnTo>
                <a:lnTo>
                  <a:pt x="1629977" y="1340991"/>
                </a:lnTo>
                <a:lnTo>
                  <a:pt x="1646537" y="1340991"/>
                </a:lnTo>
                <a:lnTo>
                  <a:pt x="1667828" y="1345729"/>
                </a:lnTo>
                <a:lnTo>
                  <a:pt x="1693851" y="1357575"/>
                </a:lnTo>
                <a:lnTo>
                  <a:pt x="1729337" y="1376529"/>
                </a:lnTo>
                <a:lnTo>
                  <a:pt x="1769554" y="1402591"/>
                </a:lnTo>
                <a:lnTo>
                  <a:pt x="1814502" y="1435760"/>
                </a:lnTo>
                <a:lnTo>
                  <a:pt x="1861817" y="1476037"/>
                </a:lnTo>
                <a:lnTo>
                  <a:pt x="1916228" y="1521053"/>
                </a:lnTo>
                <a:lnTo>
                  <a:pt x="2036879" y="1634776"/>
                </a:lnTo>
                <a:lnTo>
                  <a:pt x="2197748" y="1784039"/>
                </a:lnTo>
                <a:lnTo>
                  <a:pt x="2275816" y="1857485"/>
                </a:lnTo>
                <a:lnTo>
                  <a:pt x="2349154" y="1916716"/>
                </a:lnTo>
                <a:lnTo>
                  <a:pt x="2377542" y="1940408"/>
                </a:lnTo>
                <a:lnTo>
                  <a:pt x="2408296" y="1959362"/>
                </a:lnTo>
                <a:lnTo>
                  <a:pt x="2429588" y="1973578"/>
                </a:lnTo>
                <a:lnTo>
                  <a:pt x="2450879" y="1980686"/>
                </a:lnTo>
                <a:lnTo>
                  <a:pt x="2469805" y="1983055"/>
                </a:lnTo>
                <a:lnTo>
                  <a:pt x="2488730" y="1983055"/>
                </a:lnTo>
                <a:lnTo>
                  <a:pt x="2502925" y="1978316"/>
                </a:lnTo>
                <a:lnTo>
                  <a:pt x="2514753" y="1968839"/>
                </a:lnTo>
                <a:lnTo>
                  <a:pt x="2521850" y="1956993"/>
                </a:lnTo>
                <a:lnTo>
                  <a:pt x="2526582" y="1940408"/>
                </a:lnTo>
                <a:lnTo>
                  <a:pt x="2526582" y="1923824"/>
                </a:lnTo>
                <a:lnTo>
                  <a:pt x="2524216" y="1909608"/>
                </a:lnTo>
                <a:lnTo>
                  <a:pt x="2457976" y="1857485"/>
                </a:lnTo>
                <a:lnTo>
                  <a:pt x="2382274" y="1791146"/>
                </a:lnTo>
                <a:lnTo>
                  <a:pt x="2202479" y="1632407"/>
                </a:lnTo>
                <a:lnTo>
                  <a:pt x="2048708" y="1494991"/>
                </a:lnTo>
                <a:lnTo>
                  <a:pt x="1951714" y="1404960"/>
                </a:lnTo>
                <a:lnTo>
                  <a:pt x="1911497" y="1374160"/>
                </a:lnTo>
                <a:lnTo>
                  <a:pt x="1876011" y="1352837"/>
                </a:lnTo>
                <a:lnTo>
                  <a:pt x="1838159" y="1329144"/>
                </a:lnTo>
                <a:lnTo>
                  <a:pt x="1797942" y="1317298"/>
                </a:lnTo>
                <a:lnTo>
                  <a:pt x="1795577" y="1314929"/>
                </a:lnTo>
                <a:lnTo>
                  <a:pt x="1767188" y="1307821"/>
                </a:lnTo>
                <a:lnTo>
                  <a:pt x="1729337" y="1303083"/>
                </a:lnTo>
                <a:lnTo>
                  <a:pt x="1667828" y="1291236"/>
                </a:lnTo>
                <a:lnTo>
                  <a:pt x="1656000" y="1291236"/>
                </a:lnTo>
                <a:lnTo>
                  <a:pt x="1665462" y="1286498"/>
                </a:lnTo>
                <a:lnTo>
                  <a:pt x="1686754" y="1279390"/>
                </a:lnTo>
                <a:lnTo>
                  <a:pt x="1715142" y="1269913"/>
                </a:lnTo>
                <a:lnTo>
                  <a:pt x="1731702" y="1267544"/>
                </a:lnTo>
                <a:lnTo>
                  <a:pt x="1752994" y="1267544"/>
                </a:lnTo>
                <a:lnTo>
                  <a:pt x="1786114" y="1269913"/>
                </a:lnTo>
                <a:lnTo>
                  <a:pt x="1816868" y="1279390"/>
                </a:lnTo>
                <a:lnTo>
                  <a:pt x="1847622" y="1291236"/>
                </a:lnTo>
                <a:lnTo>
                  <a:pt x="1890205" y="1314929"/>
                </a:lnTo>
                <a:lnTo>
                  <a:pt x="1932788" y="1340991"/>
                </a:lnTo>
                <a:lnTo>
                  <a:pt x="1982468" y="1374160"/>
                </a:lnTo>
                <a:lnTo>
                  <a:pt x="2034514" y="1414437"/>
                </a:lnTo>
                <a:lnTo>
                  <a:pt x="2091291" y="1457083"/>
                </a:lnTo>
                <a:lnTo>
                  <a:pt x="2152799" y="1504468"/>
                </a:lnTo>
                <a:lnTo>
                  <a:pt x="2223770" y="1566068"/>
                </a:lnTo>
                <a:lnTo>
                  <a:pt x="2375176" y="1691638"/>
                </a:lnTo>
                <a:lnTo>
                  <a:pt x="2446148" y="1750869"/>
                </a:lnTo>
                <a:lnTo>
                  <a:pt x="2512388" y="1805362"/>
                </a:lnTo>
                <a:lnTo>
                  <a:pt x="2573896" y="1850377"/>
                </a:lnTo>
                <a:lnTo>
                  <a:pt x="2628308" y="1885916"/>
                </a:lnTo>
                <a:lnTo>
                  <a:pt x="2675622" y="1909608"/>
                </a:lnTo>
                <a:lnTo>
                  <a:pt x="2696913" y="1919085"/>
                </a:lnTo>
                <a:lnTo>
                  <a:pt x="2713473" y="1923824"/>
                </a:lnTo>
                <a:lnTo>
                  <a:pt x="2737130" y="1923824"/>
                </a:lnTo>
                <a:lnTo>
                  <a:pt x="2758422" y="1921455"/>
                </a:lnTo>
                <a:lnTo>
                  <a:pt x="2772616" y="1916716"/>
                </a:lnTo>
                <a:lnTo>
                  <a:pt x="2784445" y="1907239"/>
                </a:lnTo>
                <a:lnTo>
                  <a:pt x="2796273" y="1900131"/>
                </a:lnTo>
                <a:lnTo>
                  <a:pt x="2808102" y="1890654"/>
                </a:lnTo>
                <a:lnTo>
                  <a:pt x="2819930" y="1876439"/>
                </a:lnTo>
                <a:lnTo>
                  <a:pt x="2829393" y="1862224"/>
                </a:lnTo>
                <a:lnTo>
                  <a:pt x="2817565" y="1862224"/>
                </a:lnTo>
                <a:lnTo>
                  <a:pt x="2803370" y="1862224"/>
                </a:lnTo>
                <a:lnTo>
                  <a:pt x="2777348" y="1852747"/>
                </a:lnTo>
                <a:lnTo>
                  <a:pt x="2753690" y="1845639"/>
                </a:lnTo>
                <a:lnTo>
                  <a:pt x="2727668" y="1831423"/>
                </a:lnTo>
                <a:lnTo>
                  <a:pt x="2675622" y="1793516"/>
                </a:lnTo>
                <a:lnTo>
                  <a:pt x="2611748" y="1748500"/>
                </a:lnTo>
                <a:lnTo>
                  <a:pt x="2545508" y="1694007"/>
                </a:lnTo>
                <a:lnTo>
                  <a:pt x="2398834" y="1570807"/>
                </a:lnTo>
                <a:lnTo>
                  <a:pt x="2318399" y="1504468"/>
                </a:lnTo>
                <a:lnTo>
                  <a:pt x="2235599" y="1442868"/>
                </a:lnTo>
                <a:lnTo>
                  <a:pt x="2112582" y="1352837"/>
                </a:lnTo>
                <a:lnTo>
                  <a:pt x="2027417" y="1284129"/>
                </a:lnTo>
                <a:lnTo>
                  <a:pt x="1989565" y="1258067"/>
                </a:lnTo>
                <a:lnTo>
                  <a:pt x="1954079" y="1236744"/>
                </a:lnTo>
                <a:lnTo>
                  <a:pt x="1916228" y="1213052"/>
                </a:lnTo>
                <a:lnTo>
                  <a:pt x="1876011" y="1194097"/>
                </a:lnTo>
                <a:lnTo>
                  <a:pt x="1859451" y="1189359"/>
                </a:lnTo>
                <a:lnTo>
                  <a:pt x="1840525" y="1186990"/>
                </a:lnTo>
                <a:lnTo>
                  <a:pt x="1790845" y="1182251"/>
                </a:lnTo>
                <a:lnTo>
                  <a:pt x="1741165" y="1182251"/>
                </a:lnTo>
                <a:lnTo>
                  <a:pt x="1745897" y="1179882"/>
                </a:lnTo>
                <a:lnTo>
                  <a:pt x="1762457" y="1168036"/>
                </a:lnTo>
                <a:lnTo>
                  <a:pt x="1786114" y="1160928"/>
                </a:lnTo>
                <a:lnTo>
                  <a:pt x="1802674" y="1153820"/>
                </a:lnTo>
                <a:lnTo>
                  <a:pt x="1819234" y="1151451"/>
                </a:lnTo>
                <a:lnTo>
                  <a:pt x="1840525" y="1151451"/>
                </a:lnTo>
                <a:lnTo>
                  <a:pt x="1864182" y="1151451"/>
                </a:lnTo>
                <a:lnTo>
                  <a:pt x="1897302" y="1158559"/>
                </a:lnTo>
                <a:lnTo>
                  <a:pt x="1932788" y="1168036"/>
                </a:lnTo>
                <a:lnTo>
                  <a:pt x="1970639" y="1186990"/>
                </a:lnTo>
                <a:lnTo>
                  <a:pt x="2013222" y="1208313"/>
                </a:lnTo>
                <a:lnTo>
                  <a:pt x="2065268" y="1241482"/>
                </a:lnTo>
                <a:lnTo>
                  <a:pt x="2119679" y="1279390"/>
                </a:lnTo>
                <a:lnTo>
                  <a:pt x="2183554" y="1322036"/>
                </a:lnTo>
                <a:lnTo>
                  <a:pt x="2254525" y="1376529"/>
                </a:lnTo>
                <a:lnTo>
                  <a:pt x="2358616" y="1459452"/>
                </a:lnTo>
                <a:lnTo>
                  <a:pt x="2472170" y="1549484"/>
                </a:lnTo>
                <a:lnTo>
                  <a:pt x="2580993" y="1637146"/>
                </a:lnTo>
                <a:lnTo>
                  <a:pt x="2680353" y="1712961"/>
                </a:lnTo>
                <a:lnTo>
                  <a:pt x="2725302" y="1746131"/>
                </a:lnTo>
                <a:lnTo>
                  <a:pt x="2763153" y="1769823"/>
                </a:lnTo>
                <a:lnTo>
                  <a:pt x="2798639" y="1786408"/>
                </a:lnTo>
                <a:lnTo>
                  <a:pt x="2812833" y="1791146"/>
                </a:lnTo>
                <a:lnTo>
                  <a:pt x="2822296" y="1793516"/>
                </a:lnTo>
                <a:lnTo>
                  <a:pt x="2848319" y="1793516"/>
                </a:lnTo>
                <a:lnTo>
                  <a:pt x="2869610" y="1788777"/>
                </a:lnTo>
                <a:lnTo>
                  <a:pt x="2888536" y="1779300"/>
                </a:lnTo>
                <a:lnTo>
                  <a:pt x="2900364" y="1767454"/>
                </a:lnTo>
                <a:lnTo>
                  <a:pt x="2907462" y="1748500"/>
                </a:lnTo>
                <a:lnTo>
                  <a:pt x="2905096" y="1729546"/>
                </a:lnTo>
                <a:lnTo>
                  <a:pt x="2897999" y="1708223"/>
                </a:lnTo>
                <a:lnTo>
                  <a:pt x="2888536" y="1684530"/>
                </a:lnTo>
                <a:lnTo>
                  <a:pt x="2871976" y="1658469"/>
                </a:lnTo>
                <a:lnTo>
                  <a:pt x="2853050" y="1632407"/>
                </a:lnTo>
                <a:lnTo>
                  <a:pt x="2808102" y="1577915"/>
                </a:lnTo>
                <a:lnTo>
                  <a:pt x="2756056" y="1523422"/>
                </a:lnTo>
                <a:lnTo>
                  <a:pt x="2699279" y="1471299"/>
                </a:lnTo>
                <a:lnTo>
                  <a:pt x="2590456" y="1367052"/>
                </a:lnTo>
                <a:lnTo>
                  <a:pt x="2344422" y="1130128"/>
                </a:lnTo>
                <a:lnTo>
                  <a:pt x="2204845" y="992712"/>
                </a:lnTo>
                <a:lnTo>
                  <a:pt x="2185919" y="978497"/>
                </a:lnTo>
                <a:lnTo>
                  <a:pt x="2166994" y="995081"/>
                </a:lnTo>
                <a:lnTo>
                  <a:pt x="2143336" y="1014035"/>
                </a:lnTo>
                <a:lnTo>
                  <a:pt x="2112582" y="1032989"/>
                </a:lnTo>
                <a:lnTo>
                  <a:pt x="2077096" y="1049574"/>
                </a:lnTo>
                <a:lnTo>
                  <a:pt x="2039245" y="1066159"/>
                </a:lnTo>
                <a:lnTo>
                  <a:pt x="2001394" y="1075636"/>
                </a:lnTo>
                <a:lnTo>
                  <a:pt x="1968274" y="1085113"/>
                </a:lnTo>
                <a:lnTo>
                  <a:pt x="1932788" y="1089851"/>
                </a:lnTo>
                <a:lnTo>
                  <a:pt x="1904399" y="1092220"/>
                </a:lnTo>
                <a:lnTo>
                  <a:pt x="1878377" y="1092220"/>
                </a:lnTo>
                <a:lnTo>
                  <a:pt x="1807405" y="1089851"/>
                </a:lnTo>
                <a:lnTo>
                  <a:pt x="1776651" y="1087482"/>
                </a:lnTo>
                <a:lnTo>
                  <a:pt x="1741165" y="1082743"/>
                </a:lnTo>
                <a:lnTo>
                  <a:pt x="1651268" y="1063789"/>
                </a:lnTo>
                <a:lnTo>
                  <a:pt x="1521154" y="1032989"/>
                </a:lnTo>
                <a:lnTo>
                  <a:pt x="1495131" y="1028251"/>
                </a:lnTo>
                <a:lnTo>
                  <a:pt x="1462011" y="1028251"/>
                </a:lnTo>
                <a:lnTo>
                  <a:pt x="1426525" y="1030620"/>
                </a:lnTo>
                <a:lnTo>
                  <a:pt x="1393405" y="1037728"/>
                </a:lnTo>
                <a:lnTo>
                  <a:pt x="1310605" y="1056681"/>
                </a:lnTo>
                <a:lnTo>
                  <a:pt x="1230171" y="1082743"/>
                </a:lnTo>
                <a:lnTo>
                  <a:pt x="1147371" y="1104066"/>
                </a:lnTo>
                <a:lnTo>
                  <a:pt x="1107154" y="1113543"/>
                </a:lnTo>
                <a:lnTo>
                  <a:pt x="1069303" y="1120651"/>
                </a:lnTo>
                <a:lnTo>
                  <a:pt x="1033817" y="1125390"/>
                </a:lnTo>
                <a:lnTo>
                  <a:pt x="1000697" y="1123020"/>
                </a:lnTo>
                <a:lnTo>
                  <a:pt x="972308" y="1120651"/>
                </a:lnTo>
                <a:lnTo>
                  <a:pt x="958114" y="1113543"/>
                </a:lnTo>
                <a:lnTo>
                  <a:pt x="943920" y="1108805"/>
                </a:lnTo>
                <a:lnTo>
                  <a:pt x="804343" y="1037728"/>
                </a:lnTo>
                <a:lnTo>
                  <a:pt x="749931" y="1014035"/>
                </a:lnTo>
                <a:lnTo>
                  <a:pt x="835097" y="1028251"/>
                </a:lnTo>
                <a:lnTo>
                  <a:pt x="1033817" y="1063789"/>
                </a:lnTo>
                <a:lnTo>
                  <a:pt x="1050377" y="1066159"/>
                </a:lnTo>
                <a:lnTo>
                  <a:pt x="1064571" y="1066159"/>
                </a:lnTo>
                <a:lnTo>
                  <a:pt x="1081131" y="1063789"/>
                </a:lnTo>
                <a:lnTo>
                  <a:pt x="1095325" y="1059051"/>
                </a:lnTo>
                <a:lnTo>
                  <a:pt x="1126080" y="1049574"/>
                </a:lnTo>
                <a:lnTo>
                  <a:pt x="1156834" y="1035358"/>
                </a:lnTo>
                <a:lnTo>
                  <a:pt x="1189954" y="1018774"/>
                </a:lnTo>
                <a:lnTo>
                  <a:pt x="1230171" y="1004558"/>
                </a:lnTo>
                <a:lnTo>
                  <a:pt x="1282217" y="990343"/>
                </a:lnTo>
                <a:lnTo>
                  <a:pt x="1308240" y="980866"/>
                </a:lnTo>
                <a:lnTo>
                  <a:pt x="1341360" y="976127"/>
                </a:lnTo>
                <a:lnTo>
                  <a:pt x="1365017" y="976127"/>
                </a:lnTo>
                <a:lnTo>
                  <a:pt x="1395771" y="973758"/>
                </a:lnTo>
                <a:lnTo>
                  <a:pt x="1459645" y="966650"/>
                </a:lnTo>
                <a:lnTo>
                  <a:pt x="1495131" y="961912"/>
                </a:lnTo>
                <a:lnTo>
                  <a:pt x="1530617" y="966650"/>
                </a:lnTo>
                <a:lnTo>
                  <a:pt x="1561371" y="969020"/>
                </a:lnTo>
                <a:lnTo>
                  <a:pt x="1596857" y="978497"/>
                </a:lnTo>
                <a:lnTo>
                  <a:pt x="1665462" y="999820"/>
                </a:lnTo>
                <a:lnTo>
                  <a:pt x="1731702" y="1018774"/>
                </a:lnTo>
                <a:lnTo>
                  <a:pt x="1797942" y="1030620"/>
                </a:lnTo>
                <a:lnTo>
                  <a:pt x="1859451" y="1032989"/>
                </a:lnTo>
                <a:lnTo>
                  <a:pt x="1890205" y="1032989"/>
                </a:lnTo>
                <a:lnTo>
                  <a:pt x="1918594" y="1030620"/>
                </a:lnTo>
                <a:lnTo>
                  <a:pt x="1944617" y="1025881"/>
                </a:lnTo>
                <a:lnTo>
                  <a:pt x="1973005" y="1018774"/>
                </a:lnTo>
                <a:lnTo>
                  <a:pt x="1999028" y="1014035"/>
                </a:lnTo>
                <a:lnTo>
                  <a:pt x="2025051" y="1004558"/>
                </a:lnTo>
                <a:lnTo>
                  <a:pt x="2048708" y="992712"/>
                </a:lnTo>
                <a:lnTo>
                  <a:pt x="2069999" y="980866"/>
                </a:lnTo>
                <a:lnTo>
                  <a:pt x="2107851" y="954804"/>
                </a:lnTo>
                <a:lnTo>
                  <a:pt x="2140970" y="933481"/>
                </a:lnTo>
                <a:lnTo>
                  <a:pt x="2162262" y="912158"/>
                </a:lnTo>
                <a:lnTo>
                  <a:pt x="2174090" y="893204"/>
                </a:lnTo>
                <a:lnTo>
                  <a:pt x="2185919" y="874250"/>
                </a:lnTo>
                <a:lnTo>
                  <a:pt x="2188285" y="855296"/>
                </a:lnTo>
                <a:lnTo>
                  <a:pt x="2185919" y="836342"/>
                </a:lnTo>
                <a:lnTo>
                  <a:pt x="2181188" y="815019"/>
                </a:lnTo>
                <a:lnTo>
                  <a:pt x="2174090" y="805542"/>
                </a:lnTo>
                <a:lnTo>
                  <a:pt x="2166994" y="798434"/>
                </a:lnTo>
                <a:lnTo>
                  <a:pt x="2155165" y="791327"/>
                </a:lnTo>
                <a:lnTo>
                  <a:pt x="2143336" y="784219"/>
                </a:lnTo>
                <a:lnTo>
                  <a:pt x="2110216" y="779480"/>
                </a:lnTo>
                <a:lnTo>
                  <a:pt x="2072365" y="774742"/>
                </a:lnTo>
                <a:lnTo>
                  <a:pt x="1987199" y="765265"/>
                </a:lnTo>
                <a:lnTo>
                  <a:pt x="1942251" y="760526"/>
                </a:lnTo>
                <a:lnTo>
                  <a:pt x="1902034" y="748680"/>
                </a:lnTo>
                <a:lnTo>
                  <a:pt x="1866548" y="739203"/>
                </a:lnTo>
                <a:lnTo>
                  <a:pt x="1816868" y="724988"/>
                </a:lnTo>
                <a:lnTo>
                  <a:pt x="1677291" y="696557"/>
                </a:lnTo>
                <a:lnTo>
                  <a:pt x="1516422" y="665757"/>
                </a:lnTo>
                <a:lnTo>
                  <a:pt x="1362651" y="637326"/>
                </a:lnTo>
                <a:lnTo>
                  <a:pt x="1357920" y="630218"/>
                </a:lnTo>
                <a:lnTo>
                  <a:pt x="1518788" y="632587"/>
                </a:lnTo>
                <a:lnTo>
                  <a:pt x="1660731" y="639695"/>
                </a:lnTo>
                <a:lnTo>
                  <a:pt x="1788480" y="644434"/>
                </a:lnTo>
                <a:lnTo>
                  <a:pt x="1757725" y="613634"/>
                </a:lnTo>
                <a:lnTo>
                  <a:pt x="1719874" y="585203"/>
                </a:lnTo>
                <a:lnTo>
                  <a:pt x="1667828" y="549664"/>
                </a:lnTo>
                <a:lnTo>
                  <a:pt x="1634708" y="530710"/>
                </a:lnTo>
                <a:lnTo>
                  <a:pt x="1603954" y="511756"/>
                </a:lnTo>
                <a:lnTo>
                  <a:pt x="1566102" y="495172"/>
                </a:lnTo>
                <a:lnTo>
                  <a:pt x="1523520" y="476217"/>
                </a:lnTo>
                <a:lnTo>
                  <a:pt x="1480937" y="462002"/>
                </a:lnTo>
                <a:lnTo>
                  <a:pt x="1435988" y="447787"/>
                </a:lnTo>
                <a:lnTo>
                  <a:pt x="1386308" y="435940"/>
                </a:lnTo>
                <a:lnTo>
                  <a:pt x="1336628" y="426463"/>
                </a:lnTo>
                <a:lnTo>
                  <a:pt x="1234903" y="414617"/>
                </a:lnTo>
                <a:lnTo>
                  <a:pt x="1147371" y="407510"/>
                </a:lnTo>
                <a:lnTo>
                  <a:pt x="1064571" y="395663"/>
                </a:lnTo>
                <a:lnTo>
                  <a:pt x="1026720" y="390925"/>
                </a:lnTo>
                <a:lnTo>
                  <a:pt x="993600" y="381448"/>
                </a:lnTo>
                <a:lnTo>
                  <a:pt x="958114" y="374340"/>
                </a:lnTo>
                <a:lnTo>
                  <a:pt x="924994" y="364863"/>
                </a:lnTo>
                <a:lnTo>
                  <a:pt x="896606" y="348278"/>
                </a:lnTo>
                <a:lnTo>
                  <a:pt x="865851" y="331694"/>
                </a:lnTo>
                <a:lnTo>
                  <a:pt x="835097" y="310371"/>
                </a:lnTo>
                <a:lnTo>
                  <a:pt x="806708" y="281940"/>
                </a:lnTo>
                <a:lnTo>
                  <a:pt x="778320" y="253509"/>
                </a:lnTo>
                <a:lnTo>
                  <a:pt x="752297" y="217970"/>
                </a:lnTo>
                <a:lnTo>
                  <a:pt x="716811" y="165847"/>
                </a:lnTo>
                <a:lnTo>
                  <a:pt x="764126" y="142155"/>
                </a:lnTo>
                <a:lnTo>
                  <a:pt x="809074" y="120831"/>
                </a:lnTo>
                <a:lnTo>
                  <a:pt x="854023" y="99508"/>
                </a:lnTo>
                <a:lnTo>
                  <a:pt x="901337" y="80554"/>
                </a:lnTo>
                <a:lnTo>
                  <a:pt x="948651" y="63970"/>
                </a:lnTo>
                <a:lnTo>
                  <a:pt x="998331" y="49754"/>
                </a:lnTo>
                <a:lnTo>
                  <a:pt x="1045646" y="37908"/>
                </a:lnTo>
                <a:lnTo>
                  <a:pt x="1095325" y="26062"/>
                </a:lnTo>
                <a:lnTo>
                  <a:pt x="1147371" y="16585"/>
                </a:lnTo>
                <a:lnTo>
                  <a:pt x="1194685" y="9477"/>
                </a:lnTo>
                <a:lnTo>
                  <a:pt x="1246731" y="473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635855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934684" y="3476978"/>
            <a:ext cx="6774564" cy="471560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33400" sx="102000" sy="102000" algn="ctr" rotWithShape="0">
              <a:prstClr val="black">
                <a:alpha val="3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693236" y="3476978"/>
            <a:ext cx="6774564" cy="471560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33400" sx="102000" sy="102000" algn="ctr" rotWithShape="0">
              <a:prstClr val="black">
                <a:alpha val="3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5475804" y="3476978"/>
            <a:ext cx="6774564" cy="471560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33400" sx="102000" sy="102000" algn="ctr" rotWithShape="0">
              <a:prstClr val="black">
                <a:alpha val="3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1828434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942691" y="8192579"/>
            <a:ext cx="6774562" cy="91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0" name="Rectangle 9"/>
          <p:cNvSpPr/>
          <p:nvPr userDrawn="1"/>
        </p:nvSpPr>
        <p:spPr>
          <a:xfrm>
            <a:off x="15475807" y="8192579"/>
            <a:ext cx="6774562" cy="914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  <p:sp>
        <p:nvSpPr>
          <p:cNvPr id="12" name="Rectangle 11"/>
          <p:cNvSpPr/>
          <p:nvPr userDrawn="1"/>
        </p:nvSpPr>
        <p:spPr>
          <a:xfrm>
            <a:off x="8709249" y="8140294"/>
            <a:ext cx="6774562" cy="1960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/>
          </a:p>
        </p:txBody>
      </p:sp>
    </p:spTree>
    <p:extLst>
      <p:ext uri="{BB962C8B-B14F-4D97-AF65-F5344CB8AC3E}">
        <p14:creationId xmlns:p14="http://schemas.microsoft.com/office/powerpoint/2010/main" val="36791218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1153420" cy="1002453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1153421" y="0"/>
            <a:ext cx="6615290" cy="334151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7768709" y="0"/>
            <a:ext cx="6615290" cy="334151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7768709" y="3341512"/>
            <a:ext cx="6615290" cy="334151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11153421" y="6683024"/>
            <a:ext cx="6615290" cy="334151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17768709" y="6683024"/>
            <a:ext cx="6615290" cy="334151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1024817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059492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4340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7410994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757740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3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4068802" cy="34586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091263" y="1"/>
            <a:ext cx="4068802" cy="34586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6223027" y="1"/>
            <a:ext cx="4068802" cy="34586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4062967" y="3490761"/>
            <a:ext cx="4068802" cy="34586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12105373" y="3490761"/>
            <a:ext cx="4068802" cy="34586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20332343" y="3490761"/>
            <a:ext cx="4068802" cy="34586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0" y="0"/>
            <a:ext cx="24401148" cy="6944768"/>
            <a:chOff x="0" y="0"/>
            <a:chExt cx="12200574" cy="3472384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1733895"/>
              <a:ext cx="2034402" cy="173848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034402" y="0"/>
              <a:ext cx="2034402" cy="17384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4065885" y="1733895"/>
              <a:ext cx="2034402" cy="173848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100288" y="0"/>
              <a:ext cx="2034402" cy="17384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8131769" y="1733895"/>
              <a:ext cx="2034402" cy="173848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0166172" y="0"/>
              <a:ext cx="2034402" cy="173848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/>
            </a:p>
          </p:txBody>
        </p:sp>
      </p:grpSp>
    </p:spTree>
    <p:extLst>
      <p:ext uri="{BB962C8B-B14F-4D97-AF65-F5344CB8AC3E}">
        <p14:creationId xmlns:p14="http://schemas.microsoft.com/office/powerpoint/2010/main" val="20481383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5913640" y="4585516"/>
            <a:ext cx="6366932" cy="5531556"/>
          </a:xfrm>
          <a:custGeom>
            <a:avLst/>
            <a:gdLst>
              <a:gd name="connsiteX0" fmla="*/ 3183466 w 3183466"/>
              <a:gd name="connsiteY0" fmla="*/ 0 h 2765778"/>
              <a:gd name="connsiteX1" fmla="*/ 2709334 w 3183466"/>
              <a:gd name="connsiteY1" fmla="*/ 2731911 h 2765778"/>
              <a:gd name="connsiteX2" fmla="*/ 0 w 3183466"/>
              <a:gd name="connsiteY2" fmla="*/ 2765778 h 2765778"/>
              <a:gd name="connsiteX3" fmla="*/ 485422 w 3183466"/>
              <a:gd name="connsiteY3" fmla="*/ 643467 h 2765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3466" h="2765778">
                <a:moveTo>
                  <a:pt x="3183466" y="0"/>
                </a:moveTo>
                <a:lnTo>
                  <a:pt x="2709334" y="2731911"/>
                </a:lnTo>
                <a:lnTo>
                  <a:pt x="0" y="2765778"/>
                </a:lnTo>
                <a:lnTo>
                  <a:pt x="485422" y="643467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1115779"/>
            <a:ext cx="21031200" cy="15156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41B23-1EB8-4103-AFD8-E07943742AB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9D3F227-D80C-43C2-8A8F-7C0926469A7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D5938D-20AB-4AD8-8E2C-63F2F8A8AC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3" t="8590" r="6483" b="8590"/>
          <a:stretch/>
        </p:blipFill>
        <p:spPr>
          <a:xfrm>
            <a:off x="11866503" y="3825859"/>
            <a:ext cx="11730098" cy="8371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73963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0078471" y="9177476"/>
            <a:ext cx="3788342" cy="284014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213870" y="3161568"/>
            <a:ext cx="8686800" cy="889561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078471" y="3161568"/>
            <a:ext cx="3788342" cy="284014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10078471" y="6169522"/>
            <a:ext cx="3788342" cy="284014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48686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447972" y="4898332"/>
            <a:ext cx="7259628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47972" y="5796620"/>
            <a:ext cx="7259628" cy="314418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-3003902" y="1"/>
            <a:ext cx="6519996" cy="8454518"/>
          </a:xfrm>
          <a:prstGeom prst="parallelogram">
            <a:avLst>
              <a:gd name="adj" fmla="val 4536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/>
            </a:lvl1pPr>
          </a:lstStyle>
          <a:p>
            <a:pPr marL="0" lvl="0" algn="ctr" defTabSz="1828434"/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86470" y="1"/>
            <a:ext cx="6519996" cy="8454518"/>
          </a:xfrm>
          <a:prstGeom prst="parallelogram">
            <a:avLst>
              <a:gd name="adj" fmla="val 4536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/>
            </a:lvl1pPr>
          </a:lstStyle>
          <a:p>
            <a:pPr marL="0" lvl="0" algn="ctr" defTabSz="1828434"/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376848" y="1"/>
            <a:ext cx="6519996" cy="8454518"/>
          </a:xfrm>
          <a:prstGeom prst="parallelogram">
            <a:avLst>
              <a:gd name="adj" fmla="val 4536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/>
            </a:lvl1pPr>
          </a:lstStyle>
          <a:p>
            <a:pPr marL="0" lvl="0" algn="ctr" defTabSz="1828434"/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8067224" y="1"/>
            <a:ext cx="6519996" cy="8454518"/>
          </a:xfrm>
          <a:prstGeom prst="parallelogram">
            <a:avLst>
              <a:gd name="adj" fmla="val 4536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3600" dirty="0"/>
            </a:lvl1pPr>
          </a:lstStyle>
          <a:p>
            <a:pPr marL="0" lvl="0" algn="ctr" defTabSz="182843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785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8944033" y="3096557"/>
            <a:ext cx="12594830" cy="8805154"/>
          </a:xfrm>
          <a:prstGeom prst="triangle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12010895" y="-1867335"/>
            <a:ext cx="19695150" cy="13769046"/>
          </a:xfrm>
          <a:custGeom>
            <a:avLst/>
            <a:gdLst>
              <a:gd name="connsiteX0" fmla="*/ 0 w 9847575"/>
              <a:gd name="connsiteY0" fmla="*/ 0 h 6884523"/>
              <a:gd name="connsiteX1" fmla="*/ 9847575 w 9847575"/>
              <a:gd name="connsiteY1" fmla="*/ 0 h 6884523"/>
              <a:gd name="connsiteX2" fmla="*/ 4923788 w 9847575"/>
              <a:gd name="connsiteY2" fmla="*/ 6884523 h 688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847575" h="6884523">
                <a:moveTo>
                  <a:pt x="0" y="0"/>
                </a:moveTo>
                <a:lnTo>
                  <a:pt x="9847575" y="0"/>
                </a:lnTo>
                <a:lnTo>
                  <a:pt x="4923788" y="6884523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116967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l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116967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l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27634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551008" y="4360858"/>
            <a:ext cx="2280124" cy="348678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068453" y="3884280"/>
            <a:ext cx="3414966" cy="443806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871007" y="3083537"/>
            <a:ext cx="8506362" cy="603569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6641049" y="3884280"/>
            <a:ext cx="3414966" cy="443806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20372504" y="4360858"/>
            <a:ext cx="2280124" cy="348678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115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752600" y="-1117600"/>
            <a:ext cx="11353800" cy="9626600"/>
          </a:xfrm>
          <a:custGeom>
            <a:avLst/>
            <a:gdLst>
              <a:gd name="connsiteX0" fmla="*/ 1714500 w 5676900"/>
              <a:gd name="connsiteY0" fmla="*/ 0 h 4813300"/>
              <a:gd name="connsiteX1" fmla="*/ 5676900 w 5676900"/>
              <a:gd name="connsiteY1" fmla="*/ 101600 h 4813300"/>
              <a:gd name="connsiteX2" fmla="*/ 2959100 w 5676900"/>
              <a:gd name="connsiteY2" fmla="*/ 4813300 h 4813300"/>
              <a:gd name="connsiteX3" fmla="*/ 0 w 5676900"/>
              <a:gd name="connsiteY3" fmla="*/ 2997200 h 481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6900" h="4813300">
                <a:moveTo>
                  <a:pt x="1714500" y="0"/>
                </a:moveTo>
                <a:lnTo>
                  <a:pt x="5676900" y="101600"/>
                </a:lnTo>
                <a:lnTo>
                  <a:pt x="2959100" y="4813300"/>
                </a:lnTo>
                <a:lnTo>
                  <a:pt x="0" y="29972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50072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971401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867111" y="4645224"/>
            <a:ext cx="5357674" cy="3136208"/>
          </a:xfrm>
          <a:custGeom>
            <a:avLst/>
            <a:gdLst>
              <a:gd name="connsiteX0" fmla="*/ 0 w 2662962"/>
              <a:gd name="connsiteY0" fmla="*/ 0 h 1553816"/>
              <a:gd name="connsiteX1" fmla="*/ 2662962 w 2662962"/>
              <a:gd name="connsiteY1" fmla="*/ 0 h 1553816"/>
              <a:gd name="connsiteX2" fmla="*/ 2662962 w 2662962"/>
              <a:gd name="connsiteY2" fmla="*/ 1553816 h 1553816"/>
              <a:gd name="connsiteX3" fmla="*/ 0 w 2662962"/>
              <a:gd name="connsiteY3" fmla="*/ 1553816 h 1553816"/>
              <a:gd name="connsiteX4" fmla="*/ 0 w 2662962"/>
              <a:gd name="connsiteY4" fmla="*/ 0 h 1553816"/>
              <a:gd name="connsiteX0" fmla="*/ 0 w 2662962"/>
              <a:gd name="connsiteY0" fmla="*/ 0 h 1563341"/>
              <a:gd name="connsiteX1" fmla="*/ 2662962 w 2662962"/>
              <a:gd name="connsiteY1" fmla="*/ 0 h 1563341"/>
              <a:gd name="connsiteX2" fmla="*/ 2615337 w 2662962"/>
              <a:gd name="connsiteY2" fmla="*/ 1563341 h 1563341"/>
              <a:gd name="connsiteX3" fmla="*/ 0 w 2662962"/>
              <a:gd name="connsiteY3" fmla="*/ 1553816 h 1563341"/>
              <a:gd name="connsiteX4" fmla="*/ 0 w 2662962"/>
              <a:gd name="connsiteY4" fmla="*/ 0 h 1563341"/>
              <a:gd name="connsiteX0" fmla="*/ 12700 w 2675662"/>
              <a:gd name="connsiteY0" fmla="*/ 0 h 1563341"/>
              <a:gd name="connsiteX1" fmla="*/ 2675662 w 2675662"/>
              <a:gd name="connsiteY1" fmla="*/ 0 h 1563341"/>
              <a:gd name="connsiteX2" fmla="*/ 2628037 w 2675662"/>
              <a:gd name="connsiteY2" fmla="*/ 1563341 h 1563341"/>
              <a:gd name="connsiteX3" fmla="*/ 0 w 2675662"/>
              <a:gd name="connsiteY3" fmla="*/ 1496666 h 1563341"/>
              <a:gd name="connsiteX4" fmla="*/ 12700 w 2675662"/>
              <a:gd name="connsiteY4" fmla="*/ 0 h 1563341"/>
              <a:gd name="connsiteX0" fmla="*/ 12700 w 2678837"/>
              <a:gd name="connsiteY0" fmla="*/ 0 h 1563341"/>
              <a:gd name="connsiteX1" fmla="*/ 2678837 w 2678837"/>
              <a:gd name="connsiteY1" fmla="*/ 19050 h 1563341"/>
              <a:gd name="connsiteX2" fmla="*/ 2628037 w 2678837"/>
              <a:gd name="connsiteY2" fmla="*/ 1563341 h 1563341"/>
              <a:gd name="connsiteX3" fmla="*/ 0 w 2678837"/>
              <a:gd name="connsiteY3" fmla="*/ 1496666 h 1563341"/>
              <a:gd name="connsiteX4" fmla="*/ 12700 w 2678837"/>
              <a:gd name="connsiteY4" fmla="*/ 0 h 1563341"/>
              <a:gd name="connsiteX0" fmla="*/ 31750 w 2678837"/>
              <a:gd name="connsiteY0" fmla="*/ 0 h 1568104"/>
              <a:gd name="connsiteX1" fmla="*/ 2678837 w 2678837"/>
              <a:gd name="connsiteY1" fmla="*/ 23813 h 1568104"/>
              <a:gd name="connsiteX2" fmla="*/ 2628037 w 2678837"/>
              <a:gd name="connsiteY2" fmla="*/ 1568104 h 1568104"/>
              <a:gd name="connsiteX3" fmla="*/ 0 w 2678837"/>
              <a:gd name="connsiteY3" fmla="*/ 1501429 h 1568104"/>
              <a:gd name="connsiteX4" fmla="*/ 31750 w 2678837"/>
              <a:gd name="connsiteY4" fmla="*/ 0 h 15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8837" h="1568104">
                <a:moveTo>
                  <a:pt x="31750" y="0"/>
                </a:moveTo>
                <a:lnTo>
                  <a:pt x="2678837" y="23813"/>
                </a:lnTo>
                <a:lnTo>
                  <a:pt x="2628037" y="1568104"/>
                </a:lnTo>
                <a:lnTo>
                  <a:pt x="0" y="1501429"/>
                </a:lnTo>
                <a:lnTo>
                  <a:pt x="31750" y="0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69461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24384000" cy="12954002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506568" y="4601390"/>
            <a:ext cx="7810912" cy="3831412"/>
          </a:xfrm>
          <a:custGeom>
            <a:avLst/>
            <a:gdLst>
              <a:gd name="connsiteX0" fmla="*/ 0 w 4423616"/>
              <a:gd name="connsiteY0" fmla="*/ 0 h 2350046"/>
              <a:gd name="connsiteX1" fmla="*/ 4423616 w 4423616"/>
              <a:gd name="connsiteY1" fmla="*/ 0 h 2350046"/>
              <a:gd name="connsiteX2" fmla="*/ 4423616 w 4423616"/>
              <a:gd name="connsiteY2" fmla="*/ 2350046 h 2350046"/>
              <a:gd name="connsiteX3" fmla="*/ 0 w 4423616"/>
              <a:gd name="connsiteY3" fmla="*/ 2350046 h 2350046"/>
              <a:gd name="connsiteX4" fmla="*/ 0 w 4423616"/>
              <a:gd name="connsiteY4" fmla="*/ 0 h 2350046"/>
              <a:gd name="connsiteX0" fmla="*/ 0 w 4423616"/>
              <a:gd name="connsiteY0" fmla="*/ 541020 h 2891066"/>
              <a:gd name="connsiteX1" fmla="*/ 1588976 w 4423616"/>
              <a:gd name="connsiteY1" fmla="*/ 0 h 2891066"/>
              <a:gd name="connsiteX2" fmla="*/ 4423616 w 4423616"/>
              <a:gd name="connsiteY2" fmla="*/ 2891066 h 2891066"/>
              <a:gd name="connsiteX3" fmla="*/ 0 w 4423616"/>
              <a:gd name="connsiteY3" fmla="*/ 2891066 h 2891066"/>
              <a:gd name="connsiteX4" fmla="*/ 0 w 4423616"/>
              <a:gd name="connsiteY4" fmla="*/ 541020 h 2891066"/>
              <a:gd name="connsiteX0" fmla="*/ 0 w 3905456"/>
              <a:gd name="connsiteY0" fmla="*/ 541020 h 2891066"/>
              <a:gd name="connsiteX1" fmla="*/ 1588976 w 3905456"/>
              <a:gd name="connsiteY1" fmla="*/ 0 h 2891066"/>
              <a:gd name="connsiteX2" fmla="*/ 3905456 w 3905456"/>
              <a:gd name="connsiteY2" fmla="*/ 1237526 h 2891066"/>
              <a:gd name="connsiteX3" fmla="*/ 0 w 3905456"/>
              <a:gd name="connsiteY3" fmla="*/ 2891066 h 2891066"/>
              <a:gd name="connsiteX4" fmla="*/ 0 w 3905456"/>
              <a:gd name="connsiteY4" fmla="*/ 541020 h 2891066"/>
              <a:gd name="connsiteX0" fmla="*/ 0 w 3905456"/>
              <a:gd name="connsiteY0" fmla="*/ 541020 h 1915706"/>
              <a:gd name="connsiteX1" fmla="*/ 1588976 w 3905456"/>
              <a:gd name="connsiteY1" fmla="*/ 0 h 1915706"/>
              <a:gd name="connsiteX2" fmla="*/ 3905456 w 3905456"/>
              <a:gd name="connsiteY2" fmla="*/ 1237526 h 1915706"/>
              <a:gd name="connsiteX3" fmla="*/ 2301240 w 3905456"/>
              <a:gd name="connsiteY3" fmla="*/ 1915706 h 1915706"/>
              <a:gd name="connsiteX4" fmla="*/ 0 w 3905456"/>
              <a:gd name="connsiteY4" fmla="*/ 541020 h 1915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5456" h="1915706">
                <a:moveTo>
                  <a:pt x="0" y="541020"/>
                </a:moveTo>
                <a:lnTo>
                  <a:pt x="1588976" y="0"/>
                </a:lnTo>
                <a:lnTo>
                  <a:pt x="3905456" y="1237526"/>
                </a:lnTo>
                <a:lnTo>
                  <a:pt x="2301240" y="1915706"/>
                </a:lnTo>
                <a:lnTo>
                  <a:pt x="0" y="541020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57204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1_Mobile 0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08410" y="4103389"/>
            <a:ext cx="4402928" cy="7724434"/>
          </a:xfrm>
          <a:prstGeom prst="rect">
            <a:avLst/>
          </a:prstGeom>
        </p:spPr>
      </p:pic>
      <p:pic>
        <p:nvPicPr>
          <p:cNvPr id="8" name="01_Mobile 0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146734" y="4103389"/>
            <a:ext cx="4402928" cy="7724434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045080" y="4930795"/>
            <a:ext cx="3018556" cy="539071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2783400" y="4930795"/>
            <a:ext cx="3018556" cy="539071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11102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4000" cy="779490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864179" y="3094356"/>
            <a:ext cx="4320510" cy="770468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94756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24384000" cy="12082268"/>
          </a:xfrm>
          <a:custGeom>
            <a:avLst/>
            <a:gdLst>
              <a:gd name="connsiteX0" fmla="*/ 0 w 12192000"/>
              <a:gd name="connsiteY0" fmla="*/ 0 h 6041134"/>
              <a:gd name="connsiteX1" fmla="*/ 12192000 w 12192000"/>
              <a:gd name="connsiteY1" fmla="*/ 0 h 6041134"/>
              <a:gd name="connsiteX2" fmla="*/ 12192000 w 12192000"/>
              <a:gd name="connsiteY2" fmla="*/ 5333051 h 6041134"/>
              <a:gd name="connsiteX3" fmla="*/ 5467773 w 12192000"/>
              <a:gd name="connsiteY3" fmla="*/ 3897919 h 6041134"/>
              <a:gd name="connsiteX4" fmla="*/ 296038 w 12192000"/>
              <a:gd name="connsiteY4" fmla="*/ 2469026 h 6041134"/>
              <a:gd name="connsiteX5" fmla="*/ 0 w 12192000"/>
              <a:gd name="connsiteY5" fmla="*/ 2592535 h 6041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041134">
                <a:moveTo>
                  <a:pt x="0" y="0"/>
                </a:moveTo>
                <a:lnTo>
                  <a:pt x="12192000" y="0"/>
                </a:lnTo>
                <a:lnTo>
                  <a:pt x="12192000" y="5333051"/>
                </a:lnTo>
                <a:cubicBezTo>
                  <a:pt x="10420208" y="6563382"/>
                  <a:pt x="7302782" y="6254963"/>
                  <a:pt x="5467773" y="3897919"/>
                </a:cubicBezTo>
                <a:cubicBezTo>
                  <a:pt x="4209415" y="2281572"/>
                  <a:pt x="1834845" y="1912685"/>
                  <a:pt x="296038" y="2469026"/>
                </a:cubicBezTo>
                <a:lnTo>
                  <a:pt x="0" y="2592535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7129071" y="2556388"/>
            <a:ext cx="3846938" cy="6807076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80D99-EBBB-423B-BB5D-F52C7FE98A9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76400" y="515016"/>
            <a:ext cx="21031200" cy="660400"/>
          </a:xfrm>
        </p:spPr>
        <p:txBody>
          <a:bodyPr vert="horz" lIns="91416" tIns="45708" rIns="91416" bIns="45708" rtlCol="0" anchor="ctr">
            <a:noAutofit/>
          </a:bodyPr>
          <a:lstStyle>
            <a:lvl1pPr marL="0" indent="0" algn="ctr">
              <a:buNone/>
              <a:defRPr lang="en-US" sz="2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Open Sans Light" panose="020B0306030504020204" pitchFamily="34" charset="0"/>
              </a:defRPr>
            </a:lvl1pPr>
          </a:lstStyle>
          <a:p>
            <a:pPr marL="0" lvl="0" algn="ctr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861762"/>
            <a:ext cx="21031200" cy="1475040"/>
          </a:xfrm>
        </p:spPr>
        <p:txBody>
          <a:bodyPr vert="horz" wrap="square" lIns="91416" tIns="45708" rIns="91416" bIns="45708" rtlCol="0" anchor="ctr">
            <a:noAutofit/>
          </a:bodyPr>
          <a:lstStyle>
            <a:lvl1pPr algn="ctr">
              <a:defRPr lang="en-US" sz="7198" b="1" spc="-600" dirty="0">
                <a:solidFill>
                  <a:schemeClr val="tx1">
                    <a:lumMod val="85000"/>
                    <a:lumOff val="15000"/>
                  </a:schemeClr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579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671" Type="http://schemas.openxmlformats.org/officeDocument/2006/relationships/slideLayout" Target="../slideLayouts/slideLayout671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366" Type="http://schemas.openxmlformats.org/officeDocument/2006/relationships/slideLayout" Target="../slideLayouts/slideLayout366.xml"/><Relationship Id="rId531" Type="http://schemas.openxmlformats.org/officeDocument/2006/relationships/slideLayout" Target="../slideLayouts/slideLayout531.xml"/><Relationship Id="rId573" Type="http://schemas.openxmlformats.org/officeDocument/2006/relationships/slideLayout" Target="../slideLayouts/slideLayout573.xml"/><Relationship Id="rId629" Type="http://schemas.openxmlformats.org/officeDocument/2006/relationships/slideLayout" Target="../slideLayouts/slideLayout629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268" Type="http://schemas.openxmlformats.org/officeDocument/2006/relationships/slideLayout" Target="../slideLayouts/slideLayout268.xml"/><Relationship Id="rId475" Type="http://schemas.openxmlformats.org/officeDocument/2006/relationships/slideLayout" Target="../slideLayouts/slideLayout475.xml"/><Relationship Id="rId640" Type="http://schemas.openxmlformats.org/officeDocument/2006/relationships/slideLayout" Target="../slideLayouts/slideLayout640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377" Type="http://schemas.openxmlformats.org/officeDocument/2006/relationships/slideLayout" Target="../slideLayouts/slideLayout377.xml"/><Relationship Id="rId500" Type="http://schemas.openxmlformats.org/officeDocument/2006/relationships/slideLayout" Target="../slideLayouts/slideLayout500.xml"/><Relationship Id="rId542" Type="http://schemas.openxmlformats.org/officeDocument/2006/relationships/slideLayout" Target="../slideLayouts/slideLayout542.xml"/><Relationship Id="rId584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.xml"/><Relationship Id="rId181" Type="http://schemas.openxmlformats.org/officeDocument/2006/relationships/slideLayout" Target="../slideLayouts/slideLayout181.xml"/><Relationship Id="rId237" Type="http://schemas.openxmlformats.org/officeDocument/2006/relationships/slideLayout" Target="../slideLayouts/slideLayout237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44" Type="http://schemas.openxmlformats.org/officeDocument/2006/relationships/slideLayout" Target="../slideLayouts/slideLayout444.xml"/><Relationship Id="rId486" Type="http://schemas.openxmlformats.org/officeDocument/2006/relationships/slideLayout" Target="../slideLayouts/slideLayout486.xml"/><Relationship Id="rId651" Type="http://schemas.openxmlformats.org/officeDocument/2006/relationships/slideLayout" Target="../slideLayouts/slideLayout651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46" Type="http://schemas.openxmlformats.org/officeDocument/2006/relationships/slideLayout" Target="../slideLayouts/slideLayout346.xml"/><Relationship Id="rId388" Type="http://schemas.openxmlformats.org/officeDocument/2006/relationships/slideLayout" Target="../slideLayouts/slideLayout388.xml"/><Relationship Id="rId511" Type="http://schemas.openxmlformats.org/officeDocument/2006/relationships/slideLayout" Target="../slideLayouts/slideLayout511.xml"/><Relationship Id="rId553" Type="http://schemas.openxmlformats.org/officeDocument/2006/relationships/slideLayout" Target="../slideLayouts/slideLayout553.xml"/><Relationship Id="rId609" Type="http://schemas.openxmlformats.org/officeDocument/2006/relationships/slideLayout" Target="../slideLayouts/slideLayout60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595" Type="http://schemas.openxmlformats.org/officeDocument/2006/relationships/slideLayout" Target="../slideLayouts/slideLayout595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497" Type="http://schemas.openxmlformats.org/officeDocument/2006/relationships/slideLayout" Target="../slideLayouts/slideLayout497.xml"/><Relationship Id="rId620" Type="http://schemas.openxmlformats.org/officeDocument/2006/relationships/slideLayout" Target="../slideLayouts/slideLayout620.xml"/><Relationship Id="rId662" Type="http://schemas.openxmlformats.org/officeDocument/2006/relationships/slideLayout" Target="../slideLayouts/slideLayout662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357" Type="http://schemas.openxmlformats.org/officeDocument/2006/relationships/slideLayout" Target="../slideLayouts/slideLayout357.xml"/><Relationship Id="rId522" Type="http://schemas.openxmlformats.org/officeDocument/2006/relationships/slideLayout" Target="../slideLayouts/slideLayout522.xml"/><Relationship Id="rId54" Type="http://schemas.openxmlformats.org/officeDocument/2006/relationships/slideLayout" Target="../slideLayouts/slideLayout54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217" Type="http://schemas.openxmlformats.org/officeDocument/2006/relationships/slideLayout" Target="../slideLayouts/slideLayout217.xml"/><Relationship Id="rId399" Type="http://schemas.openxmlformats.org/officeDocument/2006/relationships/slideLayout" Target="../slideLayouts/slideLayout399.xml"/><Relationship Id="rId564" Type="http://schemas.openxmlformats.org/officeDocument/2006/relationships/slideLayout" Target="../slideLayouts/slideLayout564.xml"/><Relationship Id="rId259" Type="http://schemas.openxmlformats.org/officeDocument/2006/relationships/slideLayout" Target="../slideLayouts/slideLayout259.xml"/><Relationship Id="rId424" Type="http://schemas.openxmlformats.org/officeDocument/2006/relationships/slideLayout" Target="../slideLayouts/slideLayout424.xml"/><Relationship Id="rId466" Type="http://schemas.openxmlformats.org/officeDocument/2006/relationships/slideLayout" Target="../slideLayouts/slideLayout466.xml"/><Relationship Id="rId631" Type="http://schemas.openxmlformats.org/officeDocument/2006/relationships/slideLayout" Target="../slideLayouts/slideLayout631.xml"/><Relationship Id="rId673" Type="http://schemas.openxmlformats.org/officeDocument/2006/relationships/slideLayout" Target="../slideLayouts/slideLayout673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326" Type="http://schemas.openxmlformats.org/officeDocument/2006/relationships/slideLayout" Target="../slideLayouts/slideLayout326.xml"/><Relationship Id="rId533" Type="http://schemas.openxmlformats.org/officeDocument/2006/relationships/slideLayout" Target="../slideLayouts/slideLayout533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575" Type="http://schemas.openxmlformats.org/officeDocument/2006/relationships/slideLayout" Target="../slideLayouts/slideLayout575.xml"/><Relationship Id="rId172" Type="http://schemas.openxmlformats.org/officeDocument/2006/relationships/slideLayout" Target="../slideLayouts/slideLayout172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477" Type="http://schemas.openxmlformats.org/officeDocument/2006/relationships/slideLayout" Target="../slideLayouts/slideLayout477.xml"/><Relationship Id="rId600" Type="http://schemas.openxmlformats.org/officeDocument/2006/relationships/slideLayout" Target="../slideLayouts/slideLayout600.xml"/><Relationship Id="rId642" Type="http://schemas.openxmlformats.org/officeDocument/2006/relationships/slideLayout" Target="../slideLayouts/slideLayout642.xml"/><Relationship Id="rId281" Type="http://schemas.openxmlformats.org/officeDocument/2006/relationships/slideLayout" Target="../slideLayouts/slideLayout281.xml"/><Relationship Id="rId337" Type="http://schemas.openxmlformats.org/officeDocument/2006/relationships/slideLayout" Target="../slideLayouts/slideLayout337.xml"/><Relationship Id="rId502" Type="http://schemas.openxmlformats.org/officeDocument/2006/relationships/slideLayout" Target="../slideLayouts/slideLayout502.xml"/><Relationship Id="rId34" Type="http://schemas.openxmlformats.org/officeDocument/2006/relationships/slideLayout" Target="../slideLayouts/slideLayout34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544" Type="http://schemas.openxmlformats.org/officeDocument/2006/relationships/slideLayout" Target="../slideLayouts/slideLayout544.xml"/><Relationship Id="rId586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7.xml"/><Relationship Id="rId183" Type="http://schemas.openxmlformats.org/officeDocument/2006/relationships/slideLayout" Target="../slideLayouts/slideLayout183.xml"/><Relationship Id="rId239" Type="http://schemas.openxmlformats.org/officeDocument/2006/relationships/slideLayout" Target="../slideLayouts/slideLayout239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446" Type="http://schemas.openxmlformats.org/officeDocument/2006/relationships/slideLayout" Target="../slideLayouts/slideLayout446.xml"/><Relationship Id="rId611" Type="http://schemas.openxmlformats.org/officeDocument/2006/relationships/slideLayout" Target="../slideLayouts/slideLayout611.xml"/><Relationship Id="rId653" Type="http://schemas.openxmlformats.org/officeDocument/2006/relationships/slideLayout" Target="../slideLayouts/slideLayout653.xml"/><Relationship Id="rId250" Type="http://schemas.openxmlformats.org/officeDocument/2006/relationships/slideLayout" Target="../slideLayouts/slideLayout250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488" Type="http://schemas.openxmlformats.org/officeDocument/2006/relationships/slideLayout" Target="../slideLayouts/slideLayout488.xml"/><Relationship Id="rId45" Type="http://schemas.openxmlformats.org/officeDocument/2006/relationships/slideLayout" Target="../slideLayouts/slideLayout45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513" Type="http://schemas.openxmlformats.org/officeDocument/2006/relationships/slideLayout" Target="../slideLayouts/slideLayout513.xml"/><Relationship Id="rId555" Type="http://schemas.openxmlformats.org/officeDocument/2006/relationships/slideLayout" Target="../slideLayouts/slideLayout555.xml"/><Relationship Id="rId597" Type="http://schemas.openxmlformats.org/officeDocument/2006/relationships/slideLayout" Target="../slideLayouts/slideLayout597.xml"/><Relationship Id="rId152" Type="http://schemas.openxmlformats.org/officeDocument/2006/relationships/slideLayout" Target="../slideLayouts/slideLayout15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457" Type="http://schemas.openxmlformats.org/officeDocument/2006/relationships/slideLayout" Target="../slideLayouts/slideLayout457.xml"/><Relationship Id="rId622" Type="http://schemas.openxmlformats.org/officeDocument/2006/relationships/slideLayout" Target="../slideLayouts/slideLayout622.xml"/><Relationship Id="rId261" Type="http://schemas.openxmlformats.org/officeDocument/2006/relationships/slideLayout" Target="../slideLayouts/slideLayout261.xml"/><Relationship Id="rId499" Type="http://schemas.openxmlformats.org/officeDocument/2006/relationships/slideLayout" Target="../slideLayouts/slideLayout499.xml"/><Relationship Id="rId664" Type="http://schemas.openxmlformats.org/officeDocument/2006/relationships/slideLayout" Target="../slideLayouts/slideLayout664.xml"/><Relationship Id="rId14" Type="http://schemas.openxmlformats.org/officeDocument/2006/relationships/slideLayout" Target="../slideLayouts/slideLayout14.xml"/><Relationship Id="rId56" Type="http://schemas.openxmlformats.org/officeDocument/2006/relationships/slideLayout" Target="../slideLayouts/slideLayout56.xml"/><Relationship Id="rId317" Type="http://schemas.openxmlformats.org/officeDocument/2006/relationships/slideLayout" Target="../slideLayouts/slideLayout317.xml"/><Relationship Id="rId359" Type="http://schemas.openxmlformats.org/officeDocument/2006/relationships/slideLayout" Target="../slideLayouts/slideLayout359.xml"/><Relationship Id="rId524" Type="http://schemas.openxmlformats.org/officeDocument/2006/relationships/slideLayout" Target="../slideLayouts/slideLayout524.xml"/><Relationship Id="rId566" Type="http://schemas.openxmlformats.org/officeDocument/2006/relationships/slideLayout" Target="../slideLayouts/slideLayout566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63" Type="http://schemas.openxmlformats.org/officeDocument/2006/relationships/slideLayout" Target="../slideLayouts/slideLayout163.xml"/><Relationship Id="rId219" Type="http://schemas.openxmlformats.org/officeDocument/2006/relationships/slideLayout" Target="../slideLayouts/slideLayout219.xml"/><Relationship Id="rId370" Type="http://schemas.openxmlformats.org/officeDocument/2006/relationships/slideLayout" Target="../slideLayouts/slideLayout370.xml"/><Relationship Id="rId426" Type="http://schemas.openxmlformats.org/officeDocument/2006/relationships/slideLayout" Target="../slideLayouts/slideLayout426.xml"/><Relationship Id="rId633" Type="http://schemas.openxmlformats.org/officeDocument/2006/relationships/slideLayout" Target="../slideLayouts/slideLayout633.xml"/><Relationship Id="rId230" Type="http://schemas.openxmlformats.org/officeDocument/2006/relationships/slideLayout" Target="../slideLayouts/slideLayout230.xml"/><Relationship Id="rId468" Type="http://schemas.openxmlformats.org/officeDocument/2006/relationships/slideLayout" Target="../slideLayouts/slideLayout468.xml"/><Relationship Id="rId675" Type="http://schemas.openxmlformats.org/officeDocument/2006/relationships/slideLayout" Target="../slideLayouts/slideLayout675.xml"/><Relationship Id="rId25" Type="http://schemas.openxmlformats.org/officeDocument/2006/relationships/slideLayout" Target="../slideLayouts/slideLayout25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328" Type="http://schemas.openxmlformats.org/officeDocument/2006/relationships/slideLayout" Target="../slideLayouts/slideLayout328.xml"/><Relationship Id="rId535" Type="http://schemas.openxmlformats.org/officeDocument/2006/relationships/slideLayout" Target="../slideLayouts/slideLayout535.xml"/><Relationship Id="rId577" Type="http://schemas.openxmlformats.org/officeDocument/2006/relationships/slideLayout" Target="../slideLayouts/slideLayout577.xml"/><Relationship Id="rId132" Type="http://schemas.openxmlformats.org/officeDocument/2006/relationships/slideLayout" Target="../slideLayouts/slideLayout132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602" Type="http://schemas.openxmlformats.org/officeDocument/2006/relationships/slideLayout" Target="../slideLayouts/slideLayout602.xml"/><Relationship Id="rId241" Type="http://schemas.openxmlformats.org/officeDocument/2006/relationships/slideLayout" Target="../slideLayouts/slideLayout241.xml"/><Relationship Id="rId437" Type="http://schemas.openxmlformats.org/officeDocument/2006/relationships/slideLayout" Target="../slideLayouts/slideLayout437.xml"/><Relationship Id="rId479" Type="http://schemas.openxmlformats.org/officeDocument/2006/relationships/slideLayout" Target="../slideLayouts/slideLayout479.xml"/><Relationship Id="rId644" Type="http://schemas.openxmlformats.org/officeDocument/2006/relationships/slideLayout" Target="../slideLayouts/slideLayout644.xml"/><Relationship Id="rId36" Type="http://schemas.openxmlformats.org/officeDocument/2006/relationships/slideLayout" Target="../slideLayouts/slideLayout36.xml"/><Relationship Id="rId283" Type="http://schemas.openxmlformats.org/officeDocument/2006/relationships/slideLayout" Target="../slideLayouts/slideLayout283.xml"/><Relationship Id="rId339" Type="http://schemas.openxmlformats.org/officeDocument/2006/relationships/slideLayout" Target="../slideLayouts/slideLayout339.xml"/><Relationship Id="rId490" Type="http://schemas.openxmlformats.org/officeDocument/2006/relationships/slideLayout" Target="../slideLayouts/slideLayout490.xml"/><Relationship Id="rId504" Type="http://schemas.openxmlformats.org/officeDocument/2006/relationships/slideLayout" Target="../slideLayouts/slideLayout504.xml"/><Relationship Id="rId546" Type="http://schemas.openxmlformats.org/officeDocument/2006/relationships/slideLayout" Target="../slideLayouts/slideLayout546.xml"/><Relationship Id="rId78" Type="http://schemas.openxmlformats.org/officeDocument/2006/relationships/slideLayout" Target="../slideLayouts/slideLayout78.xml"/><Relationship Id="rId101" Type="http://schemas.openxmlformats.org/officeDocument/2006/relationships/slideLayout" Target="../slideLayouts/slideLayout101.xml"/><Relationship Id="rId143" Type="http://schemas.openxmlformats.org/officeDocument/2006/relationships/slideLayout" Target="../slideLayouts/slideLayout143.xml"/><Relationship Id="rId185" Type="http://schemas.openxmlformats.org/officeDocument/2006/relationships/slideLayout" Target="../slideLayouts/slideLayout185.xml"/><Relationship Id="rId350" Type="http://schemas.openxmlformats.org/officeDocument/2006/relationships/slideLayout" Target="../slideLayouts/slideLayout350.xml"/><Relationship Id="rId406" Type="http://schemas.openxmlformats.org/officeDocument/2006/relationships/slideLayout" Target="../slideLayouts/slideLayout406.xml"/><Relationship Id="rId588" Type="http://schemas.openxmlformats.org/officeDocument/2006/relationships/slideLayout" Target="../slideLayouts/slideLayout588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392" Type="http://schemas.openxmlformats.org/officeDocument/2006/relationships/slideLayout" Target="../slideLayouts/slideLayout392.xml"/><Relationship Id="rId448" Type="http://schemas.openxmlformats.org/officeDocument/2006/relationships/slideLayout" Target="../slideLayouts/slideLayout448.xml"/><Relationship Id="rId613" Type="http://schemas.openxmlformats.org/officeDocument/2006/relationships/slideLayout" Target="../slideLayouts/slideLayout613.xml"/><Relationship Id="rId655" Type="http://schemas.openxmlformats.org/officeDocument/2006/relationships/slideLayout" Target="../slideLayouts/slideLayout655.xml"/><Relationship Id="rId252" Type="http://schemas.openxmlformats.org/officeDocument/2006/relationships/slideLayout" Target="../slideLayouts/slideLayout252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515" Type="http://schemas.openxmlformats.org/officeDocument/2006/relationships/slideLayout" Target="../slideLayouts/slideLayout515.xml"/><Relationship Id="rId47" Type="http://schemas.openxmlformats.org/officeDocument/2006/relationships/slideLayout" Target="../slideLayouts/slideLayout47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557" Type="http://schemas.openxmlformats.org/officeDocument/2006/relationships/slideLayout" Target="../slideLayouts/slideLayout557.xml"/><Relationship Id="rId599" Type="http://schemas.openxmlformats.org/officeDocument/2006/relationships/slideLayout" Target="../slideLayouts/slideLayout599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459" Type="http://schemas.openxmlformats.org/officeDocument/2006/relationships/slideLayout" Target="../slideLayouts/slideLayout459.xml"/><Relationship Id="rId624" Type="http://schemas.openxmlformats.org/officeDocument/2006/relationships/slideLayout" Target="../slideLayouts/slideLayout624.xml"/><Relationship Id="rId666" Type="http://schemas.openxmlformats.org/officeDocument/2006/relationships/slideLayout" Target="../slideLayouts/slideLayout666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63" Type="http://schemas.openxmlformats.org/officeDocument/2006/relationships/slideLayout" Target="../slideLayouts/slideLayout263.xml"/><Relationship Id="rId319" Type="http://schemas.openxmlformats.org/officeDocument/2006/relationships/slideLayout" Target="../slideLayouts/slideLayout319.xml"/><Relationship Id="rId470" Type="http://schemas.openxmlformats.org/officeDocument/2006/relationships/slideLayout" Target="../slideLayouts/slideLayout470.xml"/><Relationship Id="rId526" Type="http://schemas.openxmlformats.org/officeDocument/2006/relationships/slideLayout" Target="../slideLayouts/slideLayout526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568" Type="http://schemas.openxmlformats.org/officeDocument/2006/relationships/slideLayout" Target="../slideLayouts/slideLayout568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428" Type="http://schemas.openxmlformats.org/officeDocument/2006/relationships/slideLayout" Target="../slideLayouts/slideLayout428.xml"/><Relationship Id="rId635" Type="http://schemas.openxmlformats.org/officeDocument/2006/relationships/slideLayout" Target="../slideLayouts/slideLayout635.xml"/><Relationship Id="rId677" Type="http://schemas.openxmlformats.org/officeDocument/2006/relationships/theme" Target="../theme/theme1.xml"/><Relationship Id="rId232" Type="http://schemas.openxmlformats.org/officeDocument/2006/relationships/slideLayout" Target="../slideLayouts/slideLayout232.xml"/><Relationship Id="rId274" Type="http://schemas.openxmlformats.org/officeDocument/2006/relationships/slideLayout" Target="../slideLayouts/slideLayout274.xml"/><Relationship Id="rId481" Type="http://schemas.openxmlformats.org/officeDocument/2006/relationships/slideLayout" Target="../slideLayouts/slideLayout481.xml"/><Relationship Id="rId27" Type="http://schemas.openxmlformats.org/officeDocument/2006/relationships/slideLayout" Target="../slideLayouts/slideLayout27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537" Type="http://schemas.openxmlformats.org/officeDocument/2006/relationships/slideLayout" Target="../slideLayouts/slideLayout537.xml"/><Relationship Id="rId579" Type="http://schemas.openxmlformats.org/officeDocument/2006/relationships/slideLayout" Target="../slideLayouts/slideLayout579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41" Type="http://schemas.openxmlformats.org/officeDocument/2006/relationships/slideLayout" Target="../slideLayouts/slideLayout341.xml"/><Relationship Id="rId383" Type="http://schemas.openxmlformats.org/officeDocument/2006/relationships/slideLayout" Target="../slideLayouts/slideLayout383.xml"/><Relationship Id="rId439" Type="http://schemas.openxmlformats.org/officeDocument/2006/relationships/slideLayout" Target="../slideLayouts/slideLayout439.xml"/><Relationship Id="rId590" Type="http://schemas.openxmlformats.org/officeDocument/2006/relationships/slideLayout" Target="../slideLayouts/slideLayout590.xml"/><Relationship Id="rId604" Type="http://schemas.openxmlformats.org/officeDocument/2006/relationships/slideLayout" Target="../slideLayouts/slideLayout604.xml"/><Relationship Id="rId646" Type="http://schemas.openxmlformats.org/officeDocument/2006/relationships/slideLayout" Target="../slideLayouts/slideLayout646.xml"/><Relationship Id="rId201" Type="http://schemas.openxmlformats.org/officeDocument/2006/relationships/slideLayout" Target="../slideLayouts/slideLayout201.xml"/><Relationship Id="rId243" Type="http://schemas.openxmlformats.org/officeDocument/2006/relationships/slideLayout" Target="../slideLayouts/slideLayout243.xml"/><Relationship Id="rId285" Type="http://schemas.openxmlformats.org/officeDocument/2006/relationships/slideLayout" Target="../slideLayouts/slideLayout285.xml"/><Relationship Id="rId450" Type="http://schemas.openxmlformats.org/officeDocument/2006/relationships/slideLayout" Target="../slideLayouts/slideLayout450.xml"/><Relationship Id="rId506" Type="http://schemas.openxmlformats.org/officeDocument/2006/relationships/slideLayout" Target="../slideLayouts/slideLayout506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492" Type="http://schemas.openxmlformats.org/officeDocument/2006/relationships/slideLayout" Target="../slideLayouts/slideLayout492.xml"/><Relationship Id="rId548" Type="http://schemas.openxmlformats.org/officeDocument/2006/relationships/slideLayout" Target="../slideLayouts/slideLayout548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87" Type="http://schemas.openxmlformats.org/officeDocument/2006/relationships/slideLayout" Target="../slideLayouts/slideLayout187.xml"/><Relationship Id="rId352" Type="http://schemas.openxmlformats.org/officeDocument/2006/relationships/slideLayout" Target="../slideLayouts/slideLayout352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615" Type="http://schemas.openxmlformats.org/officeDocument/2006/relationships/slideLayout" Target="../slideLayouts/slideLayout615.xml"/><Relationship Id="rId212" Type="http://schemas.openxmlformats.org/officeDocument/2006/relationships/slideLayout" Target="../slideLayouts/slideLayout212.xml"/><Relationship Id="rId254" Type="http://schemas.openxmlformats.org/officeDocument/2006/relationships/slideLayout" Target="../slideLayouts/slideLayout254.xml"/><Relationship Id="rId657" Type="http://schemas.openxmlformats.org/officeDocument/2006/relationships/slideLayout" Target="../slideLayouts/slideLayout657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461" Type="http://schemas.openxmlformats.org/officeDocument/2006/relationships/slideLayout" Target="../slideLayouts/slideLayout461.xml"/><Relationship Id="rId517" Type="http://schemas.openxmlformats.org/officeDocument/2006/relationships/slideLayout" Target="../slideLayouts/slideLayout517.xml"/><Relationship Id="rId559" Type="http://schemas.openxmlformats.org/officeDocument/2006/relationships/slideLayout" Target="../slideLayouts/slideLayout559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570" Type="http://schemas.openxmlformats.org/officeDocument/2006/relationships/slideLayout" Target="../slideLayouts/slideLayout570.xml"/><Relationship Id="rId626" Type="http://schemas.openxmlformats.org/officeDocument/2006/relationships/slideLayout" Target="../slideLayouts/slideLayout626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668" Type="http://schemas.openxmlformats.org/officeDocument/2006/relationships/slideLayout" Target="../slideLayouts/slideLayout668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472" Type="http://schemas.openxmlformats.org/officeDocument/2006/relationships/slideLayout" Target="../slideLayouts/slideLayout472.xml"/><Relationship Id="rId528" Type="http://schemas.openxmlformats.org/officeDocument/2006/relationships/slideLayout" Target="../slideLayouts/slideLayout528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32" Type="http://schemas.openxmlformats.org/officeDocument/2006/relationships/slideLayout" Target="../slideLayouts/slideLayout332.xml"/><Relationship Id="rId353" Type="http://schemas.openxmlformats.org/officeDocument/2006/relationships/slideLayout" Target="../slideLayouts/slideLayout353.xml"/><Relationship Id="rId374" Type="http://schemas.openxmlformats.org/officeDocument/2006/relationships/slideLayout" Target="../slideLayouts/slideLayout374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560" Type="http://schemas.openxmlformats.org/officeDocument/2006/relationships/slideLayout" Target="../slideLayouts/slideLayout560.xml"/><Relationship Id="rId581" Type="http://schemas.openxmlformats.org/officeDocument/2006/relationships/slideLayout" Target="../slideLayouts/slideLayout581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420" Type="http://schemas.openxmlformats.org/officeDocument/2006/relationships/slideLayout" Target="../slideLayouts/slideLayout420.xml"/><Relationship Id="rId616" Type="http://schemas.openxmlformats.org/officeDocument/2006/relationships/slideLayout" Target="../slideLayouts/slideLayout616.xml"/><Relationship Id="rId637" Type="http://schemas.openxmlformats.org/officeDocument/2006/relationships/slideLayout" Target="../slideLayouts/slideLayout637.xml"/><Relationship Id="rId658" Type="http://schemas.openxmlformats.org/officeDocument/2006/relationships/slideLayout" Target="../slideLayouts/slideLayout658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276" Type="http://schemas.openxmlformats.org/officeDocument/2006/relationships/slideLayout" Target="../slideLayouts/slideLayout276.xml"/><Relationship Id="rId297" Type="http://schemas.openxmlformats.org/officeDocument/2006/relationships/slideLayout" Target="../slideLayouts/slideLayout297.xml"/><Relationship Id="rId441" Type="http://schemas.openxmlformats.org/officeDocument/2006/relationships/slideLayout" Target="../slideLayouts/slideLayout441.xml"/><Relationship Id="rId462" Type="http://schemas.openxmlformats.org/officeDocument/2006/relationships/slideLayout" Target="../slideLayouts/slideLayout462.xml"/><Relationship Id="rId483" Type="http://schemas.openxmlformats.org/officeDocument/2006/relationships/slideLayout" Target="../slideLayouts/slideLayout483.xml"/><Relationship Id="rId518" Type="http://schemas.openxmlformats.org/officeDocument/2006/relationships/slideLayout" Target="../slideLayouts/slideLayout518.xml"/><Relationship Id="rId539" Type="http://schemas.openxmlformats.org/officeDocument/2006/relationships/slideLayout" Target="../slideLayouts/slideLayout53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22" Type="http://schemas.openxmlformats.org/officeDocument/2006/relationships/slideLayout" Target="../slideLayouts/slideLayout322.xml"/><Relationship Id="rId343" Type="http://schemas.openxmlformats.org/officeDocument/2006/relationships/slideLayout" Target="../slideLayouts/slideLayout343.xml"/><Relationship Id="rId364" Type="http://schemas.openxmlformats.org/officeDocument/2006/relationships/slideLayout" Target="../slideLayouts/slideLayout364.xml"/><Relationship Id="rId550" Type="http://schemas.openxmlformats.org/officeDocument/2006/relationships/slideLayout" Target="../slideLayouts/slideLayout550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571" Type="http://schemas.openxmlformats.org/officeDocument/2006/relationships/slideLayout" Target="../slideLayouts/slideLayout571.xml"/><Relationship Id="rId592" Type="http://schemas.openxmlformats.org/officeDocument/2006/relationships/slideLayout" Target="../slideLayouts/slideLayout592.xml"/><Relationship Id="rId606" Type="http://schemas.openxmlformats.org/officeDocument/2006/relationships/slideLayout" Target="../slideLayouts/slideLayout606.xml"/><Relationship Id="rId627" Type="http://schemas.openxmlformats.org/officeDocument/2006/relationships/slideLayout" Target="../slideLayouts/slideLayout627.xml"/><Relationship Id="rId648" Type="http://schemas.openxmlformats.org/officeDocument/2006/relationships/slideLayout" Target="../slideLayouts/slideLayout648.xml"/><Relationship Id="rId669" Type="http://schemas.openxmlformats.org/officeDocument/2006/relationships/slideLayout" Target="../slideLayouts/slideLayout669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31" Type="http://schemas.openxmlformats.org/officeDocument/2006/relationships/slideLayout" Target="../slideLayouts/slideLayout431.xml"/><Relationship Id="rId452" Type="http://schemas.openxmlformats.org/officeDocument/2006/relationships/slideLayout" Target="../slideLayouts/slideLayout452.xml"/><Relationship Id="rId473" Type="http://schemas.openxmlformats.org/officeDocument/2006/relationships/slideLayout" Target="../slideLayouts/slideLayout473.xml"/><Relationship Id="rId494" Type="http://schemas.openxmlformats.org/officeDocument/2006/relationships/slideLayout" Target="../slideLayouts/slideLayout494.xml"/><Relationship Id="rId508" Type="http://schemas.openxmlformats.org/officeDocument/2006/relationships/slideLayout" Target="../slideLayouts/slideLayout508.xml"/><Relationship Id="rId529" Type="http://schemas.openxmlformats.org/officeDocument/2006/relationships/slideLayout" Target="../slideLayouts/slideLayout529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354" Type="http://schemas.openxmlformats.org/officeDocument/2006/relationships/slideLayout" Target="../slideLayouts/slideLayout354.xml"/><Relationship Id="rId540" Type="http://schemas.openxmlformats.org/officeDocument/2006/relationships/slideLayout" Target="../slideLayouts/slideLayout540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75" Type="http://schemas.openxmlformats.org/officeDocument/2006/relationships/slideLayout" Target="../slideLayouts/slideLayout375.xml"/><Relationship Id="rId396" Type="http://schemas.openxmlformats.org/officeDocument/2006/relationships/slideLayout" Target="../slideLayouts/slideLayout396.xml"/><Relationship Id="rId561" Type="http://schemas.openxmlformats.org/officeDocument/2006/relationships/slideLayout" Target="../slideLayouts/slideLayout561.xml"/><Relationship Id="rId582" Type="http://schemas.openxmlformats.org/officeDocument/2006/relationships/slideLayout" Target="../slideLayouts/slideLayout582.xml"/><Relationship Id="rId617" Type="http://schemas.openxmlformats.org/officeDocument/2006/relationships/slideLayout" Target="../slideLayouts/slideLayout617.xml"/><Relationship Id="rId638" Type="http://schemas.openxmlformats.org/officeDocument/2006/relationships/slideLayout" Target="../slideLayouts/slideLayout638.xml"/><Relationship Id="rId659" Type="http://schemas.openxmlformats.org/officeDocument/2006/relationships/slideLayout" Target="../slideLayouts/slideLayout65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Relationship Id="rId400" Type="http://schemas.openxmlformats.org/officeDocument/2006/relationships/slideLayout" Target="../slideLayouts/slideLayout400.xml"/><Relationship Id="rId421" Type="http://schemas.openxmlformats.org/officeDocument/2006/relationships/slideLayout" Target="../slideLayouts/slideLayout421.xml"/><Relationship Id="rId442" Type="http://schemas.openxmlformats.org/officeDocument/2006/relationships/slideLayout" Target="../slideLayouts/slideLayout442.xml"/><Relationship Id="rId463" Type="http://schemas.openxmlformats.org/officeDocument/2006/relationships/slideLayout" Target="../slideLayouts/slideLayout463.xml"/><Relationship Id="rId484" Type="http://schemas.openxmlformats.org/officeDocument/2006/relationships/slideLayout" Target="../slideLayouts/slideLayout484.xml"/><Relationship Id="rId519" Type="http://schemas.openxmlformats.org/officeDocument/2006/relationships/slideLayout" Target="../slideLayouts/slideLayout519.xml"/><Relationship Id="rId670" Type="http://schemas.openxmlformats.org/officeDocument/2006/relationships/slideLayout" Target="../slideLayouts/slideLayout670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302" Type="http://schemas.openxmlformats.org/officeDocument/2006/relationships/slideLayout" Target="../slideLayouts/slideLayout302.xml"/><Relationship Id="rId323" Type="http://schemas.openxmlformats.org/officeDocument/2006/relationships/slideLayout" Target="../slideLayouts/slideLayout323.xml"/><Relationship Id="rId344" Type="http://schemas.openxmlformats.org/officeDocument/2006/relationships/slideLayout" Target="../slideLayouts/slideLayout344.xml"/><Relationship Id="rId530" Type="http://schemas.openxmlformats.org/officeDocument/2006/relationships/slideLayout" Target="../slideLayouts/slideLayout530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65" Type="http://schemas.openxmlformats.org/officeDocument/2006/relationships/slideLayout" Target="../slideLayouts/slideLayout365.xml"/><Relationship Id="rId386" Type="http://schemas.openxmlformats.org/officeDocument/2006/relationships/slideLayout" Target="../slideLayouts/slideLayout386.xml"/><Relationship Id="rId551" Type="http://schemas.openxmlformats.org/officeDocument/2006/relationships/slideLayout" Target="../slideLayouts/slideLayout551.xml"/><Relationship Id="rId572" Type="http://schemas.openxmlformats.org/officeDocument/2006/relationships/slideLayout" Target="../slideLayouts/slideLayout572.xml"/><Relationship Id="rId593" Type="http://schemas.openxmlformats.org/officeDocument/2006/relationships/slideLayout" Target="../slideLayouts/slideLayout593.xml"/><Relationship Id="rId607" Type="http://schemas.openxmlformats.org/officeDocument/2006/relationships/slideLayout" Target="../slideLayouts/slideLayout607.xml"/><Relationship Id="rId628" Type="http://schemas.openxmlformats.org/officeDocument/2006/relationships/slideLayout" Target="../slideLayouts/slideLayout628.xml"/><Relationship Id="rId649" Type="http://schemas.openxmlformats.org/officeDocument/2006/relationships/slideLayout" Target="../slideLayouts/slideLayout64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32" Type="http://schemas.openxmlformats.org/officeDocument/2006/relationships/slideLayout" Target="../slideLayouts/slideLayout432.xml"/><Relationship Id="rId453" Type="http://schemas.openxmlformats.org/officeDocument/2006/relationships/slideLayout" Target="../slideLayouts/slideLayout453.xml"/><Relationship Id="rId474" Type="http://schemas.openxmlformats.org/officeDocument/2006/relationships/slideLayout" Target="../slideLayouts/slideLayout474.xml"/><Relationship Id="rId509" Type="http://schemas.openxmlformats.org/officeDocument/2006/relationships/slideLayout" Target="../slideLayouts/slideLayout509.xml"/><Relationship Id="rId660" Type="http://schemas.openxmlformats.org/officeDocument/2006/relationships/slideLayout" Target="../slideLayouts/slideLayout660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313" Type="http://schemas.openxmlformats.org/officeDocument/2006/relationships/slideLayout" Target="../slideLayouts/slideLayout313.xml"/><Relationship Id="rId495" Type="http://schemas.openxmlformats.org/officeDocument/2006/relationships/slideLayout" Target="../slideLayouts/slideLayout495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55" Type="http://schemas.openxmlformats.org/officeDocument/2006/relationships/slideLayout" Target="../slideLayouts/slideLayout355.xml"/><Relationship Id="rId376" Type="http://schemas.openxmlformats.org/officeDocument/2006/relationships/slideLayout" Target="../slideLayouts/slideLayout376.xml"/><Relationship Id="rId397" Type="http://schemas.openxmlformats.org/officeDocument/2006/relationships/slideLayout" Target="../slideLayouts/slideLayout397.xml"/><Relationship Id="rId520" Type="http://schemas.openxmlformats.org/officeDocument/2006/relationships/slideLayout" Target="../slideLayouts/slideLayout520.xml"/><Relationship Id="rId541" Type="http://schemas.openxmlformats.org/officeDocument/2006/relationships/slideLayout" Target="../slideLayouts/slideLayout541.xml"/><Relationship Id="rId562" Type="http://schemas.openxmlformats.org/officeDocument/2006/relationships/slideLayout" Target="../slideLayouts/slideLayout562.xml"/><Relationship Id="rId583" Type="http://schemas.openxmlformats.org/officeDocument/2006/relationships/slideLayout" Target="../slideLayouts/slideLayout583.xml"/><Relationship Id="rId618" Type="http://schemas.openxmlformats.org/officeDocument/2006/relationships/slideLayout" Target="../slideLayouts/slideLayout618.xml"/><Relationship Id="rId639" Type="http://schemas.openxmlformats.org/officeDocument/2006/relationships/slideLayout" Target="../slideLayouts/slideLayout63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22" Type="http://schemas.openxmlformats.org/officeDocument/2006/relationships/slideLayout" Target="../slideLayouts/slideLayout422.xml"/><Relationship Id="rId443" Type="http://schemas.openxmlformats.org/officeDocument/2006/relationships/slideLayout" Target="../slideLayouts/slideLayout443.xml"/><Relationship Id="rId464" Type="http://schemas.openxmlformats.org/officeDocument/2006/relationships/slideLayout" Target="../slideLayouts/slideLayout464.xml"/><Relationship Id="rId650" Type="http://schemas.openxmlformats.org/officeDocument/2006/relationships/slideLayout" Target="../slideLayouts/slideLayout650.xml"/><Relationship Id="rId303" Type="http://schemas.openxmlformats.org/officeDocument/2006/relationships/slideLayout" Target="../slideLayouts/slideLayout303.xml"/><Relationship Id="rId485" Type="http://schemas.openxmlformats.org/officeDocument/2006/relationships/slideLayout" Target="../slideLayouts/slideLayout485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510" Type="http://schemas.openxmlformats.org/officeDocument/2006/relationships/slideLayout" Target="../slideLayouts/slideLayout510.xml"/><Relationship Id="rId552" Type="http://schemas.openxmlformats.org/officeDocument/2006/relationships/slideLayout" Target="../slideLayouts/slideLayout552.xml"/><Relationship Id="rId594" Type="http://schemas.openxmlformats.org/officeDocument/2006/relationships/slideLayout" Target="../slideLayouts/slideLayout594.xml"/><Relationship Id="rId608" Type="http://schemas.openxmlformats.org/officeDocument/2006/relationships/slideLayout" Target="../slideLayouts/slideLayout60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496" Type="http://schemas.openxmlformats.org/officeDocument/2006/relationships/slideLayout" Target="../slideLayouts/slideLayout496.xml"/><Relationship Id="rId661" Type="http://schemas.openxmlformats.org/officeDocument/2006/relationships/slideLayout" Target="../slideLayouts/slideLayout661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521" Type="http://schemas.openxmlformats.org/officeDocument/2006/relationships/slideLayout" Target="../slideLayouts/slideLayout521.xml"/><Relationship Id="rId563" Type="http://schemas.openxmlformats.org/officeDocument/2006/relationships/slideLayout" Target="../slideLayouts/slideLayout563.xml"/><Relationship Id="rId619" Type="http://schemas.openxmlformats.org/officeDocument/2006/relationships/slideLayout" Target="../slideLayouts/slideLayout619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465" Type="http://schemas.openxmlformats.org/officeDocument/2006/relationships/slideLayout" Target="../slideLayouts/slideLayout465.xml"/><Relationship Id="rId630" Type="http://schemas.openxmlformats.org/officeDocument/2006/relationships/slideLayout" Target="../slideLayouts/slideLayout630.xml"/><Relationship Id="rId672" Type="http://schemas.openxmlformats.org/officeDocument/2006/relationships/slideLayout" Target="../slideLayouts/slideLayout672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532" Type="http://schemas.openxmlformats.org/officeDocument/2006/relationships/slideLayout" Target="../slideLayouts/slideLayout532.xml"/><Relationship Id="rId574" Type="http://schemas.openxmlformats.org/officeDocument/2006/relationships/slideLayout" Target="../slideLayouts/slideLayout574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476" Type="http://schemas.openxmlformats.org/officeDocument/2006/relationships/slideLayout" Target="../slideLayouts/slideLayout476.xml"/><Relationship Id="rId641" Type="http://schemas.openxmlformats.org/officeDocument/2006/relationships/slideLayout" Target="../slideLayouts/slideLayout641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501" Type="http://schemas.openxmlformats.org/officeDocument/2006/relationships/slideLayout" Target="../slideLayouts/slideLayout501.xml"/><Relationship Id="rId543" Type="http://schemas.openxmlformats.org/officeDocument/2006/relationships/slideLayout" Target="../slideLayouts/slideLayout543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585" Type="http://schemas.openxmlformats.org/officeDocument/2006/relationships/slideLayout" Target="../slideLayouts/slideLayout585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487" Type="http://schemas.openxmlformats.org/officeDocument/2006/relationships/slideLayout" Target="../slideLayouts/slideLayout487.xml"/><Relationship Id="rId610" Type="http://schemas.openxmlformats.org/officeDocument/2006/relationships/slideLayout" Target="../slideLayouts/slideLayout610.xml"/><Relationship Id="rId652" Type="http://schemas.openxmlformats.org/officeDocument/2006/relationships/slideLayout" Target="../slideLayouts/slideLayout652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512" Type="http://schemas.openxmlformats.org/officeDocument/2006/relationships/slideLayout" Target="../slideLayouts/slideLayout512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554" Type="http://schemas.openxmlformats.org/officeDocument/2006/relationships/slideLayout" Target="../slideLayouts/slideLayout554.xml"/><Relationship Id="rId596" Type="http://schemas.openxmlformats.org/officeDocument/2006/relationships/slideLayout" Target="../slideLayouts/slideLayout596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slideLayout" Target="../slideLayouts/slideLayout456.xml"/><Relationship Id="rId498" Type="http://schemas.openxmlformats.org/officeDocument/2006/relationships/slideLayout" Target="../slideLayouts/slideLayout498.xml"/><Relationship Id="rId621" Type="http://schemas.openxmlformats.org/officeDocument/2006/relationships/slideLayout" Target="../slideLayouts/slideLayout621.xml"/><Relationship Id="rId663" Type="http://schemas.openxmlformats.org/officeDocument/2006/relationships/slideLayout" Target="../slideLayouts/slideLayout663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23" Type="http://schemas.openxmlformats.org/officeDocument/2006/relationships/slideLayout" Target="../slideLayouts/slideLayout523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565" Type="http://schemas.openxmlformats.org/officeDocument/2006/relationships/slideLayout" Target="../slideLayouts/slideLayout565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467" Type="http://schemas.openxmlformats.org/officeDocument/2006/relationships/slideLayout" Target="../slideLayouts/slideLayout467.xml"/><Relationship Id="rId632" Type="http://schemas.openxmlformats.org/officeDocument/2006/relationships/slideLayout" Target="../slideLayouts/slideLayout632.xml"/><Relationship Id="rId271" Type="http://schemas.openxmlformats.org/officeDocument/2006/relationships/slideLayout" Target="../slideLayouts/slideLayout271.xml"/><Relationship Id="rId674" Type="http://schemas.openxmlformats.org/officeDocument/2006/relationships/slideLayout" Target="../slideLayouts/slideLayout674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534" Type="http://schemas.openxmlformats.org/officeDocument/2006/relationships/slideLayout" Target="../slideLayouts/slideLayout534.xml"/><Relationship Id="rId576" Type="http://schemas.openxmlformats.org/officeDocument/2006/relationships/slideLayout" Target="../slideLayouts/slideLayout576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601" Type="http://schemas.openxmlformats.org/officeDocument/2006/relationships/slideLayout" Target="../slideLayouts/slideLayout601.xml"/><Relationship Id="rId643" Type="http://schemas.openxmlformats.org/officeDocument/2006/relationships/slideLayout" Target="../slideLayouts/slideLayout643.xml"/><Relationship Id="rId240" Type="http://schemas.openxmlformats.org/officeDocument/2006/relationships/slideLayout" Target="../slideLayouts/slideLayout240.xml"/><Relationship Id="rId478" Type="http://schemas.openxmlformats.org/officeDocument/2006/relationships/slideLayout" Target="../slideLayouts/slideLayout478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503" Type="http://schemas.openxmlformats.org/officeDocument/2006/relationships/slideLayout" Target="../slideLayouts/slideLayout503.xml"/><Relationship Id="rId545" Type="http://schemas.openxmlformats.org/officeDocument/2006/relationships/slideLayout" Target="../slideLayouts/slideLayout545.xml"/><Relationship Id="rId587" Type="http://schemas.openxmlformats.org/officeDocument/2006/relationships/slideLayout" Target="../slideLayouts/slideLayout587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612" Type="http://schemas.openxmlformats.org/officeDocument/2006/relationships/slideLayout" Target="../slideLayouts/slideLayout612.xml"/><Relationship Id="rId251" Type="http://schemas.openxmlformats.org/officeDocument/2006/relationships/slideLayout" Target="../slideLayouts/slideLayout251.xml"/><Relationship Id="rId489" Type="http://schemas.openxmlformats.org/officeDocument/2006/relationships/slideLayout" Target="../slideLayouts/slideLayout489.xml"/><Relationship Id="rId654" Type="http://schemas.openxmlformats.org/officeDocument/2006/relationships/slideLayout" Target="../slideLayouts/slideLayout654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514" Type="http://schemas.openxmlformats.org/officeDocument/2006/relationships/slideLayout" Target="../slideLayouts/slideLayout514.xml"/><Relationship Id="rId556" Type="http://schemas.openxmlformats.org/officeDocument/2006/relationships/slideLayout" Target="../slideLayouts/slideLayout556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598" Type="http://schemas.openxmlformats.org/officeDocument/2006/relationships/slideLayout" Target="../slideLayouts/slideLayout598.xml"/><Relationship Id="rId220" Type="http://schemas.openxmlformats.org/officeDocument/2006/relationships/slideLayout" Target="../slideLayouts/slideLayout220.xml"/><Relationship Id="rId458" Type="http://schemas.openxmlformats.org/officeDocument/2006/relationships/slideLayout" Target="../slideLayouts/slideLayout458.xml"/><Relationship Id="rId623" Type="http://schemas.openxmlformats.org/officeDocument/2006/relationships/slideLayout" Target="../slideLayouts/slideLayout623.xml"/><Relationship Id="rId665" Type="http://schemas.openxmlformats.org/officeDocument/2006/relationships/slideLayout" Target="../slideLayouts/slideLayout665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525" Type="http://schemas.openxmlformats.org/officeDocument/2006/relationships/slideLayout" Target="../slideLayouts/slideLayout525.xml"/><Relationship Id="rId567" Type="http://schemas.openxmlformats.org/officeDocument/2006/relationships/slideLayout" Target="../slideLayouts/slideLayout567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469" Type="http://schemas.openxmlformats.org/officeDocument/2006/relationships/slideLayout" Target="../slideLayouts/slideLayout469.xml"/><Relationship Id="rId634" Type="http://schemas.openxmlformats.org/officeDocument/2006/relationships/slideLayout" Target="../slideLayouts/slideLayout634.xml"/><Relationship Id="rId676" Type="http://schemas.openxmlformats.org/officeDocument/2006/relationships/slideLayout" Target="../slideLayouts/slideLayout676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480" Type="http://schemas.openxmlformats.org/officeDocument/2006/relationships/slideLayout" Target="../slideLayouts/slideLayout480.xml"/><Relationship Id="rId536" Type="http://schemas.openxmlformats.org/officeDocument/2006/relationships/slideLayout" Target="../slideLayouts/slideLayout536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578" Type="http://schemas.openxmlformats.org/officeDocument/2006/relationships/slideLayout" Target="../slideLayouts/slideLayout578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603" Type="http://schemas.openxmlformats.org/officeDocument/2006/relationships/slideLayout" Target="../slideLayouts/slideLayout603.xml"/><Relationship Id="rId645" Type="http://schemas.openxmlformats.org/officeDocument/2006/relationships/slideLayout" Target="../slideLayouts/slideLayout645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491" Type="http://schemas.openxmlformats.org/officeDocument/2006/relationships/slideLayout" Target="../slideLayouts/slideLayout491.xml"/><Relationship Id="rId505" Type="http://schemas.openxmlformats.org/officeDocument/2006/relationships/slideLayout" Target="../slideLayouts/slideLayout505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547" Type="http://schemas.openxmlformats.org/officeDocument/2006/relationships/slideLayout" Target="../slideLayouts/slideLayout547.xml"/><Relationship Id="rId589" Type="http://schemas.openxmlformats.org/officeDocument/2006/relationships/slideLayout" Target="../slideLayouts/slideLayout589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614" Type="http://schemas.openxmlformats.org/officeDocument/2006/relationships/slideLayout" Target="../slideLayouts/slideLayout614.xml"/><Relationship Id="rId656" Type="http://schemas.openxmlformats.org/officeDocument/2006/relationships/slideLayout" Target="../slideLayouts/slideLayout656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60" Type="http://schemas.openxmlformats.org/officeDocument/2006/relationships/slideLayout" Target="../slideLayouts/slideLayout460.xml"/><Relationship Id="rId516" Type="http://schemas.openxmlformats.org/officeDocument/2006/relationships/slideLayout" Target="../slideLayouts/slideLayout516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558" Type="http://schemas.openxmlformats.org/officeDocument/2006/relationships/slideLayout" Target="../slideLayouts/slideLayout558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625" Type="http://schemas.openxmlformats.org/officeDocument/2006/relationships/slideLayout" Target="../slideLayouts/slideLayout625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471" Type="http://schemas.openxmlformats.org/officeDocument/2006/relationships/slideLayout" Target="../slideLayouts/slideLayout471.xml"/><Relationship Id="rId667" Type="http://schemas.openxmlformats.org/officeDocument/2006/relationships/slideLayout" Target="../slideLayouts/slideLayout667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527" Type="http://schemas.openxmlformats.org/officeDocument/2006/relationships/slideLayout" Target="../slideLayouts/slideLayout527.xml"/><Relationship Id="rId569" Type="http://schemas.openxmlformats.org/officeDocument/2006/relationships/slideLayout" Target="../slideLayouts/slideLayout569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580" Type="http://schemas.openxmlformats.org/officeDocument/2006/relationships/slideLayout" Target="../slideLayouts/slideLayout580.xml"/><Relationship Id="rId636" Type="http://schemas.openxmlformats.org/officeDocument/2006/relationships/slideLayout" Target="../slideLayouts/slideLayout636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482" Type="http://schemas.openxmlformats.org/officeDocument/2006/relationships/slideLayout" Target="../slideLayouts/slideLayout482.xml"/><Relationship Id="rId538" Type="http://schemas.openxmlformats.org/officeDocument/2006/relationships/slideLayout" Target="../slideLayouts/slideLayout538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591" Type="http://schemas.openxmlformats.org/officeDocument/2006/relationships/slideLayout" Target="../slideLayouts/slideLayout591.xml"/><Relationship Id="rId605" Type="http://schemas.openxmlformats.org/officeDocument/2006/relationships/slideLayout" Target="../slideLayouts/slideLayout605.xml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647" Type="http://schemas.openxmlformats.org/officeDocument/2006/relationships/slideLayout" Target="../slideLayouts/slideLayout647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493" Type="http://schemas.openxmlformats.org/officeDocument/2006/relationships/slideLayout" Target="../slideLayouts/slideLayout493.xml"/><Relationship Id="rId507" Type="http://schemas.openxmlformats.org/officeDocument/2006/relationships/slideLayout" Target="../slideLayouts/slideLayout507.xml"/><Relationship Id="rId549" Type="http://schemas.openxmlformats.org/officeDocument/2006/relationships/slideLayout" Target="../slideLayouts/slideLayout54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78.xml"/><Relationship Id="rId1" Type="http://schemas.openxmlformats.org/officeDocument/2006/relationships/slideLayout" Target="../slideLayouts/slideLayout677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2.xml"/><Relationship Id="rId2" Type="http://schemas.openxmlformats.org/officeDocument/2006/relationships/slideLayout" Target="../slideLayouts/slideLayout681.xml"/><Relationship Id="rId1" Type="http://schemas.openxmlformats.org/officeDocument/2006/relationships/slideLayout" Target="../slideLayouts/slideLayout680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497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3" r:id="rId1"/>
    <p:sldLayoutId id="2147485184" r:id="rId2"/>
    <p:sldLayoutId id="2147485185" r:id="rId3"/>
    <p:sldLayoutId id="2147485194" r:id="rId4"/>
    <p:sldLayoutId id="2147485172" r:id="rId5"/>
    <p:sldLayoutId id="2147485174" r:id="rId6"/>
    <p:sldLayoutId id="2147485175" r:id="rId7"/>
    <p:sldLayoutId id="2147485103" r:id="rId8"/>
    <p:sldLayoutId id="2147485104" r:id="rId9"/>
    <p:sldLayoutId id="2147485105" r:id="rId10"/>
    <p:sldLayoutId id="2147485106" r:id="rId11"/>
    <p:sldLayoutId id="2147485107" r:id="rId12"/>
    <p:sldLayoutId id="2147485108" r:id="rId13"/>
    <p:sldLayoutId id="2147485109" r:id="rId14"/>
    <p:sldLayoutId id="2147485110" r:id="rId15"/>
    <p:sldLayoutId id="2147485111" r:id="rId16"/>
    <p:sldLayoutId id="2147485112" r:id="rId17"/>
    <p:sldLayoutId id="2147485113" r:id="rId18"/>
    <p:sldLayoutId id="2147485114" r:id="rId19"/>
    <p:sldLayoutId id="2147485115" r:id="rId20"/>
    <p:sldLayoutId id="2147485116" r:id="rId21"/>
    <p:sldLayoutId id="2147485117" r:id="rId22"/>
    <p:sldLayoutId id="2147485118" r:id="rId23"/>
    <p:sldLayoutId id="2147485119" r:id="rId24"/>
    <p:sldLayoutId id="2147485120" r:id="rId25"/>
    <p:sldLayoutId id="2147485121" r:id="rId26"/>
    <p:sldLayoutId id="2147485122" r:id="rId27"/>
    <p:sldLayoutId id="2147485123" r:id="rId28"/>
    <p:sldLayoutId id="2147485124" r:id="rId29"/>
    <p:sldLayoutId id="2147485125" r:id="rId30"/>
    <p:sldLayoutId id="2147485126" r:id="rId31"/>
    <p:sldLayoutId id="2147485127" r:id="rId32"/>
    <p:sldLayoutId id="2147485128" r:id="rId33"/>
    <p:sldLayoutId id="2147485129" r:id="rId34"/>
    <p:sldLayoutId id="2147485130" r:id="rId35"/>
    <p:sldLayoutId id="2147485131" r:id="rId36"/>
    <p:sldLayoutId id="2147485132" r:id="rId37"/>
    <p:sldLayoutId id="2147485133" r:id="rId38"/>
    <p:sldLayoutId id="2147485134" r:id="rId39"/>
    <p:sldLayoutId id="2147485135" r:id="rId40"/>
    <p:sldLayoutId id="2147485136" r:id="rId41"/>
    <p:sldLayoutId id="2147485137" r:id="rId42"/>
    <p:sldLayoutId id="2147485138" r:id="rId43"/>
    <p:sldLayoutId id="2147485139" r:id="rId44"/>
    <p:sldLayoutId id="2147485140" r:id="rId45"/>
    <p:sldLayoutId id="2147485141" r:id="rId46"/>
    <p:sldLayoutId id="2147485142" r:id="rId47"/>
    <p:sldLayoutId id="2147485143" r:id="rId48"/>
    <p:sldLayoutId id="2147485144" r:id="rId49"/>
    <p:sldLayoutId id="2147485145" r:id="rId50"/>
    <p:sldLayoutId id="2147485146" r:id="rId51"/>
    <p:sldLayoutId id="2147485147" r:id="rId52"/>
    <p:sldLayoutId id="2147485148" r:id="rId53"/>
    <p:sldLayoutId id="2147485149" r:id="rId54"/>
    <p:sldLayoutId id="2147485150" r:id="rId55"/>
    <p:sldLayoutId id="2147485151" r:id="rId56"/>
    <p:sldLayoutId id="2147485152" r:id="rId57"/>
    <p:sldLayoutId id="2147485153" r:id="rId58"/>
    <p:sldLayoutId id="2147485154" r:id="rId59"/>
    <p:sldLayoutId id="2147485155" r:id="rId60"/>
    <p:sldLayoutId id="2147485156" r:id="rId61"/>
    <p:sldLayoutId id="2147485159" r:id="rId62"/>
    <p:sldLayoutId id="2147485160" r:id="rId63"/>
    <p:sldLayoutId id="2147485162" r:id="rId64"/>
    <p:sldLayoutId id="2147485163" r:id="rId65"/>
    <p:sldLayoutId id="2147485164" r:id="rId66"/>
    <p:sldLayoutId id="2147485165" r:id="rId67"/>
    <p:sldLayoutId id="2147484994" r:id="rId68"/>
    <p:sldLayoutId id="2147484995" r:id="rId69"/>
    <p:sldLayoutId id="2147484996" r:id="rId70"/>
    <p:sldLayoutId id="2147484997" r:id="rId71"/>
    <p:sldLayoutId id="2147484998" r:id="rId72"/>
    <p:sldLayoutId id="2147484999" r:id="rId73"/>
    <p:sldLayoutId id="2147485000" r:id="rId74"/>
    <p:sldLayoutId id="2147485001" r:id="rId75"/>
    <p:sldLayoutId id="2147485002" r:id="rId76"/>
    <p:sldLayoutId id="2147485003" r:id="rId77"/>
    <p:sldLayoutId id="2147485004" r:id="rId78"/>
    <p:sldLayoutId id="2147485005" r:id="rId79"/>
    <p:sldLayoutId id="2147485006" r:id="rId80"/>
    <p:sldLayoutId id="2147485007" r:id="rId81"/>
    <p:sldLayoutId id="2147485008" r:id="rId82"/>
    <p:sldLayoutId id="2147485009" r:id="rId83"/>
    <p:sldLayoutId id="2147485010" r:id="rId84"/>
    <p:sldLayoutId id="2147485011" r:id="rId85"/>
    <p:sldLayoutId id="2147485012" r:id="rId86"/>
    <p:sldLayoutId id="2147485013" r:id="rId87"/>
    <p:sldLayoutId id="2147485014" r:id="rId88"/>
    <p:sldLayoutId id="2147485015" r:id="rId89"/>
    <p:sldLayoutId id="2147485016" r:id="rId90"/>
    <p:sldLayoutId id="2147485017" r:id="rId91"/>
    <p:sldLayoutId id="2147485018" r:id="rId92"/>
    <p:sldLayoutId id="2147485019" r:id="rId93"/>
    <p:sldLayoutId id="2147485020" r:id="rId94"/>
    <p:sldLayoutId id="2147485021" r:id="rId95"/>
    <p:sldLayoutId id="2147485022" r:id="rId96"/>
    <p:sldLayoutId id="2147485023" r:id="rId97"/>
    <p:sldLayoutId id="2147485024" r:id="rId98"/>
    <p:sldLayoutId id="2147485025" r:id="rId99"/>
    <p:sldLayoutId id="2147485026" r:id="rId100"/>
    <p:sldLayoutId id="2147485027" r:id="rId101"/>
    <p:sldLayoutId id="2147485028" r:id="rId102"/>
    <p:sldLayoutId id="2147485029" r:id="rId103"/>
    <p:sldLayoutId id="2147485030" r:id="rId104"/>
    <p:sldLayoutId id="2147485031" r:id="rId105"/>
    <p:sldLayoutId id="2147485032" r:id="rId106"/>
    <p:sldLayoutId id="2147485033" r:id="rId107"/>
    <p:sldLayoutId id="2147485034" r:id="rId108"/>
    <p:sldLayoutId id="2147485035" r:id="rId109"/>
    <p:sldLayoutId id="2147485036" r:id="rId110"/>
    <p:sldLayoutId id="2147485037" r:id="rId111"/>
    <p:sldLayoutId id="2147485038" r:id="rId112"/>
    <p:sldLayoutId id="2147485039" r:id="rId113"/>
    <p:sldLayoutId id="2147485040" r:id="rId114"/>
    <p:sldLayoutId id="2147485041" r:id="rId115"/>
    <p:sldLayoutId id="2147485042" r:id="rId116"/>
    <p:sldLayoutId id="2147485043" r:id="rId117"/>
    <p:sldLayoutId id="2147485044" r:id="rId118"/>
    <p:sldLayoutId id="2147485045" r:id="rId119"/>
    <p:sldLayoutId id="2147485046" r:id="rId120"/>
    <p:sldLayoutId id="2147485047" r:id="rId121"/>
    <p:sldLayoutId id="2147485048" r:id="rId122"/>
    <p:sldLayoutId id="2147485049" r:id="rId123"/>
    <p:sldLayoutId id="2147485050" r:id="rId124"/>
    <p:sldLayoutId id="2147485051" r:id="rId125"/>
    <p:sldLayoutId id="2147485052" r:id="rId126"/>
    <p:sldLayoutId id="2147485053" r:id="rId127"/>
    <p:sldLayoutId id="2147485054" r:id="rId128"/>
    <p:sldLayoutId id="2147485055" r:id="rId129"/>
    <p:sldLayoutId id="2147485056" r:id="rId130"/>
    <p:sldLayoutId id="2147485057" r:id="rId131"/>
    <p:sldLayoutId id="2147485058" r:id="rId132"/>
    <p:sldLayoutId id="2147485059" r:id="rId133"/>
    <p:sldLayoutId id="2147485060" r:id="rId134"/>
    <p:sldLayoutId id="2147485061" r:id="rId135"/>
    <p:sldLayoutId id="2147485062" r:id="rId136"/>
    <p:sldLayoutId id="2147485063" r:id="rId137"/>
    <p:sldLayoutId id="2147485064" r:id="rId138"/>
    <p:sldLayoutId id="2147485065" r:id="rId139"/>
    <p:sldLayoutId id="2147485066" r:id="rId140"/>
    <p:sldLayoutId id="2147485067" r:id="rId141"/>
    <p:sldLayoutId id="2147485068" r:id="rId142"/>
    <p:sldLayoutId id="2147485069" r:id="rId143"/>
    <p:sldLayoutId id="2147485070" r:id="rId144"/>
    <p:sldLayoutId id="2147485071" r:id="rId145"/>
    <p:sldLayoutId id="2147485072" r:id="rId146"/>
    <p:sldLayoutId id="2147485073" r:id="rId147"/>
    <p:sldLayoutId id="2147485074" r:id="rId148"/>
    <p:sldLayoutId id="2147485075" r:id="rId149"/>
    <p:sldLayoutId id="2147485076" r:id="rId150"/>
    <p:sldLayoutId id="2147485077" r:id="rId151"/>
    <p:sldLayoutId id="2147485078" r:id="rId152"/>
    <p:sldLayoutId id="2147485079" r:id="rId153"/>
    <p:sldLayoutId id="2147485080" r:id="rId154"/>
    <p:sldLayoutId id="2147485081" r:id="rId155"/>
    <p:sldLayoutId id="2147485082" r:id="rId156"/>
    <p:sldLayoutId id="2147485083" r:id="rId157"/>
    <p:sldLayoutId id="2147485084" r:id="rId158"/>
    <p:sldLayoutId id="2147485085" r:id="rId159"/>
    <p:sldLayoutId id="2147485086" r:id="rId160"/>
    <p:sldLayoutId id="2147485087" r:id="rId161"/>
    <p:sldLayoutId id="2147485091" r:id="rId162"/>
    <p:sldLayoutId id="2147485092" r:id="rId163"/>
    <p:sldLayoutId id="2147485093" r:id="rId164"/>
    <p:sldLayoutId id="2147485094" r:id="rId165"/>
    <p:sldLayoutId id="2147485095" r:id="rId166"/>
    <p:sldLayoutId id="2147484924" r:id="rId167"/>
    <p:sldLayoutId id="2147484925" r:id="rId168"/>
    <p:sldLayoutId id="2147484926" r:id="rId169"/>
    <p:sldLayoutId id="2147484927" r:id="rId170"/>
    <p:sldLayoutId id="2147484928" r:id="rId171"/>
    <p:sldLayoutId id="2147484929" r:id="rId172"/>
    <p:sldLayoutId id="2147484930" r:id="rId173"/>
    <p:sldLayoutId id="2147484931" r:id="rId174"/>
    <p:sldLayoutId id="2147484932" r:id="rId175"/>
    <p:sldLayoutId id="2147484933" r:id="rId176"/>
    <p:sldLayoutId id="2147484934" r:id="rId177"/>
    <p:sldLayoutId id="2147484935" r:id="rId178"/>
    <p:sldLayoutId id="2147484936" r:id="rId179"/>
    <p:sldLayoutId id="2147484937" r:id="rId180"/>
    <p:sldLayoutId id="2147484938" r:id="rId181"/>
    <p:sldLayoutId id="2147484939" r:id="rId182"/>
    <p:sldLayoutId id="2147484940" r:id="rId183"/>
    <p:sldLayoutId id="2147484941" r:id="rId184"/>
    <p:sldLayoutId id="2147484942" r:id="rId185"/>
    <p:sldLayoutId id="2147484943" r:id="rId186"/>
    <p:sldLayoutId id="2147484944" r:id="rId187"/>
    <p:sldLayoutId id="2147484945" r:id="rId188"/>
    <p:sldLayoutId id="2147484946" r:id="rId189"/>
    <p:sldLayoutId id="2147484947" r:id="rId190"/>
    <p:sldLayoutId id="2147484948" r:id="rId191"/>
    <p:sldLayoutId id="2147484949" r:id="rId192"/>
    <p:sldLayoutId id="2147484950" r:id="rId193"/>
    <p:sldLayoutId id="2147484951" r:id="rId194"/>
    <p:sldLayoutId id="2147484952" r:id="rId195"/>
    <p:sldLayoutId id="2147484953" r:id="rId196"/>
    <p:sldLayoutId id="2147484954" r:id="rId197"/>
    <p:sldLayoutId id="2147484955" r:id="rId198"/>
    <p:sldLayoutId id="2147484956" r:id="rId199"/>
    <p:sldLayoutId id="2147484957" r:id="rId200"/>
    <p:sldLayoutId id="2147484958" r:id="rId201"/>
    <p:sldLayoutId id="2147484959" r:id="rId202"/>
    <p:sldLayoutId id="2147484960" r:id="rId203"/>
    <p:sldLayoutId id="2147484961" r:id="rId204"/>
    <p:sldLayoutId id="2147484963" r:id="rId205"/>
    <p:sldLayoutId id="2147484964" r:id="rId206"/>
    <p:sldLayoutId id="2147484965" r:id="rId207"/>
    <p:sldLayoutId id="2147484966" r:id="rId208"/>
    <p:sldLayoutId id="2147484967" r:id="rId209"/>
    <p:sldLayoutId id="2147484968" r:id="rId210"/>
    <p:sldLayoutId id="2147484969" r:id="rId211"/>
    <p:sldLayoutId id="2147484970" r:id="rId212"/>
    <p:sldLayoutId id="2147484971" r:id="rId213"/>
    <p:sldLayoutId id="2147484972" r:id="rId214"/>
    <p:sldLayoutId id="2147484973" r:id="rId215"/>
    <p:sldLayoutId id="2147484974" r:id="rId216"/>
    <p:sldLayoutId id="2147484975" r:id="rId217"/>
    <p:sldLayoutId id="2147484976" r:id="rId218"/>
    <p:sldLayoutId id="2147484977" r:id="rId219"/>
    <p:sldLayoutId id="2147484979" r:id="rId220"/>
    <p:sldLayoutId id="2147484980" r:id="rId221"/>
    <p:sldLayoutId id="2147484982" r:id="rId222"/>
    <p:sldLayoutId id="2147484983" r:id="rId223"/>
    <p:sldLayoutId id="2147484985" r:id="rId224"/>
    <p:sldLayoutId id="2147484986" r:id="rId225"/>
    <p:sldLayoutId id="2147484987" r:id="rId226"/>
    <p:sldLayoutId id="2147484988" r:id="rId227"/>
    <p:sldLayoutId id="2147484989" r:id="rId228"/>
    <p:sldLayoutId id="2147484880" r:id="rId229"/>
    <p:sldLayoutId id="2147484881" r:id="rId230"/>
    <p:sldLayoutId id="2147484882" r:id="rId231"/>
    <p:sldLayoutId id="2147484883" r:id="rId232"/>
    <p:sldLayoutId id="2147484884" r:id="rId233"/>
    <p:sldLayoutId id="2147484885" r:id="rId234"/>
    <p:sldLayoutId id="2147484886" r:id="rId235"/>
    <p:sldLayoutId id="2147484887" r:id="rId236"/>
    <p:sldLayoutId id="2147484888" r:id="rId237"/>
    <p:sldLayoutId id="2147484889" r:id="rId238"/>
    <p:sldLayoutId id="2147484890" r:id="rId239"/>
    <p:sldLayoutId id="2147484891" r:id="rId240"/>
    <p:sldLayoutId id="2147484892" r:id="rId241"/>
    <p:sldLayoutId id="2147484893" r:id="rId242"/>
    <p:sldLayoutId id="2147484894" r:id="rId243"/>
    <p:sldLayoutId id="2147484895" r:id="rId244"/>
    <p:sldLayoutId id="2147484896" r:id="rId245"/>
    <p:sldLayoutId id="2147484897" r:id="rId246"/>
    <p:sldLayoutId id="2147484899" r:id="rId247"/>
    <p:sldLayoutId id="2147484900" r:id="rId248"/>
    <p:sldLayoutId id="2147484902" r:id="rId249"/>
    <p:sldLayoutId id="2147484903" r:id="rId250"/>
    <p:sldLayoutId id="2147484904" r:id="rId251"/>
    <p:sldLayoutId id="2147484906" r:id="rId252"/>
    <p:sldLayoutId id="2147484907" r:id="rId253"/>
    <p:sldLayoutId id="2147484908" r:id="rId254"/>
    <p:sldLayoutId id="2147484909" r:id="rId255"/>
    <p:sldLayoutId id="2147484910" r:id="rId256"/>
    <p:sldLayoutId id="2147484911" r:id="rId257"/>
    <p:sldLayoutId id="2147484912" r:id="rId258"/>
    <p:sldLayoutId id="2147484913" r:id="rId259"/>
    <p:sldLayoutId id="2147484914" r:id="rId260"/>
    <p:sldLayoutId id="2147484915" r:id="rId261"/>
    <p:sldLayoutId id="2147484916" r:id="rId262"/>
    <p:sldLayoutId id="2147484917" r:id="rId263"/>
    <p:sldLayoutId id="2147484918" r:id="rId264"/>
    <p:sldLayoutId id="2147484919" r:id="rId265"/>
    <p:sldLayoutId id="2147484920" r:id="rId266"/>
    <p:sldLayoutId id="2147484921" r:id="rId267"/>
    <p:sldLayoutId id="2147484845" r:id="rId268"/>
    <p:sldLayoutId id="2147484855" r:id="rId269"/>
    <p:sldLayoutId id="2147484862" r:id="rId270"/>
    <p:sldLayoutId id="2147484757" r:id="rId271"/>
    <p:sldLayoutId id="2147484758" r:id="rId272"/>
    <p:sldLayoutId id="2147484759" r:id="rId273"/>
    <p:sldLayoutId id="2147484760" r:id="rId274"/>
    <p:sldLayoutId id="2147484761" r:id="rId275"/>
    <p:sldLayoutId id="2147484762" r:id="rId276"/>
    <p:sldLayoutId id="2147484763" r:id="rId277"/>
    <p:sldLayoutId id="2147484764" r:id="rId278"/>
    <p:sldLayoutId id="2147484765" r:id="rId279"/>
    <p:sldLayoutId id="2147484766" r:id="rId280"/>
    <p:sldLayoutId id="2147484767" r:id="rId281"/>
    <p:sldLayoutId id="2147484768" r:id="rId282"/>
    <p:sldLayoutId id="2147484769" r:id="rId283"/>
    <p:sldLayoutId id="2147484770" r:id="rId284"/>
    <p:sldLayoutId id="2147484771" r:id="rId285"/>
    <p:sldLayoutId id="2147484772" r:id="rId286"/>
    <p:sldLayoutId id="2147484773" r:id="rId287"/>
    <p:sldLayoutId id="2147484774" r:id="rId288"/>
    <p:sldLayoutId id="2147484775" r:id="rId289"/>
    <p:sldLayoutId id="2147484776" r:id="rId290"/>
    <p:sldLayoutId id="2147484777" r:id="rId291"/>
    <p:sldLayoutId id="2147484778" r:id="rId292"/>
    <p:sldLayoutId id="2147484779" r:id="rId293"/>
    <p:sldLayoutId id="2147484780" r:id="rId294"/>
    <p:sldLayoutId id="2147484781" r:id="rId295"/>
    <p:sldLayoutId id="2147484782" r:id="rId296"/>
    <p:sldLayoutId id="2147484783" r:id="rId297"/>
    <p:sldLayoutId id="2147484784" r:id="rId298"/>
    <p:sldLayoutId id="2147484785" r:id="rId299"/>
    <p:sldLayoutId id="2147484786" r:id="rId300"/>
    <p:sldLayoutId id="2147484787" r:id="rId301"/>
    <p:sldLayoutId id="2147484788" r:id="rId302"/>
    <p:sldLayoutId id="2147484789" r:id="rId303"/>
    <p:sldLayoutId id="2147484790" r:id="rId304"/>
    <p:sldLayoutId id="2147484791" r:id="rId305"/>
    <p:sldLayoutId id="2147484792" r:id="rId306"/>
    <p:sldLayoutId id="2147484793" r:id="rId307"/>
    <p:sldLayoutId id="2147484794" r:id="rId308"/>
    <p:sldLayoutId id="2147484795" r:id="rId309"/>
    <p:sldLayoutId id="2147484796" r:id="rId310"/>
    <p:sldLayoutId id="2147484797" r:id="rId311"/>
    <p:sldLayoutId id="2147484798" r:id="rId312"/>
    <p:sldLayoutId id="2147484799" r:id="rId313"/>
    <p:sldLayoutId id="2147484800" r:id="rId314"/>
    <p:sldLayoutId id="2147484801" r:id="rId315"/>
    <p:sldLayoutId id="2147484802" r:id="rId316"/>
    <p:sldLayoutId id="2147484803" r:id="rId317"/>
    <p:sldLayoutId id="2147484804" r:id="rId318"/>
    <p:sldLayoutId id="2147484805" r:id="rId319"/>
    <p:sldLayoutId id="2147484806" r:id="rId320"/>
    <p:sldLayoutId id="2147484807" r:id="rId321"/>
    <p:sldLayoutId id="2147484808" r:id="rId322"/>
    <p:sldLayoutId id="2147484809" r:id="rId323"/>
    <p:sldLayoutId id="2147484810" r:id="rId324"/>
    <p:sldLayoutId id="2147484811" r:id="rId325"/>
    <p:sldLayoutId id="2147484812" r:id="rId326"/>
    <p:sldLayoutId id="2147484813" r:id="rId327"/>
    <p:sldLayoutId id="2147484814" r:id="rId328"/>
    <p:sldLayoutId id="2147484815" r:id="rId329"/>
    <p:sldLayoutId id="2147484818" r:id="rId330"/>
    <p:sldLayoutId id="2147484819" r:id="rId331"/>
    <p:sldLayoutId id="2147484820" r:id="rId332"/>
    <p:sldLayoutId id="2147484821" r:id="rId333"/>
    <p:sldLayoutId id="2147484822" r:id="rId334"/>
    <p:sldLayoutId id="2147484823" r:id="rId335"/>
    <p:sldLayoutId id="2147484824" r:id="rId336"/>
    <p:sldLayoutId id="2147484825" r:id="rId337"/>
    <p:sldLayoutId id="2147484826" r:id="rId338"/>
    <p:sldLayoutId id="2147484827" r:id="rId339"/>
    <p:sldLayoutId id="2147484829" r:id="rId340"/>
    <p:sldLayoutId id="2147484680" r:id="rId341"/>
    <p:sldLayoutId id="2147484681" r:id="rId342"/>
    <p:sldLayoutId id="2147484682" r:id="rId343"/>
    <p:sldLayoutId id="2147484683" r:id="rId344"/>
    <p:sldLayoutId id="2147484684" r:id="rId345"/>
    <p:sldLayoutId id="2147484685" r:id="rId346"/>
    <p:sldLayoutId id="2147484686" r:id="rId347"/>
    <p:sldLayoutId id="2147484687" r:id="rId348"/>
    <p:sldLayoutId id="2147484688" r:id="rId349"/>
    <p:sldLayoutId id="2147484689" r:id="rId350"/>
    <p:sldLayoutId id="2147484690" r:id="rId351"/>
    <p:sldLayoutId id="2147484691" r:id="rId352"/>
    <p:sldLayoutId id="2147484692" r:id="rId353"/>
    <p:sldLayoutId id="2147484693" r:id="rId354"/>
    <p:sldLayoutId id="2147484694" r:id="rId355"/>
    <p:sldLayoutId id="2147484695" r:id="rId356"/>
    <p:sldLayoutId id="2147484696" r:id="rId357"/>
    <p:sldLayoutId id="2147484697" r:id="rId358"/>
    <p:sldLayoutId id="2147484698" r:id="rId359"/>
    <p:sldLayoutId id="2147484699" r:id="rId360"/>
    <p:sldLayoutId id="2147484700" r:id="rId361"/>
    <p:sldLayoutId id="2147484701" r:id="rId362"/>
    <p:sldLayoutId id="2147484702" r:id="rId363"/>
    <p:sldLayoutId id="2147484703" r:id="rId364"/>
    <p:sldLayoutId id="2147484704" r:id="rId365"/>
    <p:sldLayoutId id="2147484705" r:id="rId366"/>
    <p:sldLayoutId id="2147484706" r:id="rId367"/>
    <p:sldLayoutId id="2147484707" r:id="rId368"/>
    <p:sldLayoutId id="2147484708" r:id="rId369"/>
    <p:sldLayoutId id="2147484709" r:id="rId370"/>
    <p:sldLayoutId id="2147484710" r:id="rId371"/>
    <p:sldLayoutId id="2147484711" r:id="rId372"/>
    <p:sldLayoutId id="2147484712" r:id="rId373"/>
    <p:sldLayoutId id="2147484713" r:id="rId374"/>
    <p:sldLayoutId id="2147484714" r:id="rId375"/>
    <p:sldLayoutId id="2147484715" r:id="rId376"/>
    <p:sldLayoutId id="2147484716" r:id="rId377"/>
    <p:sldLayoutId id="2147484717" r:id="rId378"/>
    <p:sldLayoutId id="2147484718" r:id="rId379"/>
    <p:sldLayoutId id="2147484719" r:id="rId380"/>
    <p:sldLayoutId id="2147484720" r:id="rId381"/>
    <p:sldLayoutId id="2147484722" r:id="rId382"/>
    <p:sldLayoutId id="2147484723" r:id="rId383"/>
    <p:sldLayoutId id="2147484724" r:id="rId384"/>
    <p:sldLayoutId id="2147484725" r:id="rId385"/>
    <p:sldLayoutId id="2147484726" r:id="rId386"/>
    <p:sldLayoutId id="2147484727" r:id="rId387"/>
    <p:sldLayoutId id="2147484728" r:id="rId388"/>
    <p:sldLayoutId id="2147484729" r:id="rId389"/>
    <p:sldLayoutId id="2147484730" r:id="rId390"/>
    <p:sldLayoutId id="2147484732" r:id="rId391"/>
    <p:sldLayoutId id="2147484733" r:id="rId392"/>
    <p:sldLayoutId id="2147484734" r:id="rId393"/>
    <p:sldLayoutId id="2147484735" r:id="rId394"/>
    <p:sldLayoutId id="2147484736" r:id="rId395"/>
    <p:sldLayoutId id="2147484745" r:id="rId396"/>
    <p:sldLayoutId id="2147484746" r:id="rId397"/>
    <p:sldLayoutId id="2147484657" r:id="rId398"/>
    <p:sldLayoutId id="2147484658" r:id="rId399"/>
    <p:sldLayoutId id="2147484659" r:id="rId400"/>
    <p:sldLayoutId id="2147484660" r:id="rId401"/>
    <p:sldLayoutId id="2147484661" r:id="rId402"/>
    <p:sldLayoutId id="2147484662" r:id="rId403"/>
    <p:sldLayoutId id="2147484663" r:id="rId404"/>
    <p:sldLayoutId id="2147484664" r:id="rId405"/>
    <p:sldLayoutId id="2147484665" r:id="rId406"/>
    <p:sldLayoutId id="2147484666" r:id="rId407"/>
    <p:sldLayoutId id="2147484667" r:id="rId408"/>
    <p:sldLayoutId id="2147484668" r:id="rId409"/>
    <p:sldLayoutId id="2147484669" r:id="rId410"/>
    <p:sldLayoutId id="2147484670" r:id="rId411"/>
    <p:sldLayoutId id="2147484671" r:id="rId412"/>
    <p:sldLayoutId id="2147484672" r:id="rId413"/>
    <p:sldLayoutId id="2147484673" r:id="rId414"/>
    <p:sldLayoutId id="2147484674" r:id="rId415"/>
    <p:sldLayoutId id="2147484592" r:id="rId416"/>
    <p:sldLayoutId id="2147484593" r:id="rId417"/>
    <p:sldLayoutId id="2147484594" r:id="rId418"/>
    <p:sldLayoutId id="2147484595" r:id="rId419"/>
    <p:sldLayoutId id="2147484596" r:id="rId420"/>
    <p:sldLayoutId id="2147484597" r:id="rId421"/>
    <p:sldLayoutId id="2147484598" r:id="rId422"/>
    <p:sldLayoutId id="2147484599" r:id="rId423"/>
    <p:sldLayoutId id="2147484600" r:id="rId424"/>
    <p:sldLayoutId id="2147484601" r:id="rId425"/>
    <p:sldLayoutId id="2147484602" r:id="rId426"/>
    <p:sldLayoutId id="2147484603" r:id="rId427"/>
    <p:sldLayoutId id="2147484604" r:id="rId428"/>
    <p:sldLayoutId id="2147484605" r:id="rId429"/>
    <p:sldLayoutId id="2147484606" r:id="rId430"/>
    <p:sldLayoutId id="2147484607" r:id="rId431"/>
    <p:sldLayoutId id="2147484608" r:id="rId432"/>
    <p:sldLayoutId id="2147484609" r:id="rId433"/>
    <p:sldLayoutId id="2147484610" r:id="rId434"/>
    <p:sldLayoutId id="2147484611" r:id="rId435"/>
    <p:sldLayoutId id="2147484612" r:id="rId436"/>
    <p:sldLayoutId id="2147484613" r:id="rId437"/>
    <p:sldLayoutId id="2147484614" r:id="rId438"/>
    <p:sldLayoutId id="2147484617" r:id="rId439"/>
    <p:sldLayoutId id="2147484618" r:id="rId440"/>
    <p:sldLayoutId id="2147484619" r:id="rId441"/>
    <p:sldLayoutId id="2147484620" r:id="rId442"/>
    <p:sldLayoutId id="2147484621" r:id="rId443"/>
    <p:sldLayoutId id="2147484622" r:id="rId444"/>
    <p:sldLayoutId id="2147484623" r:id="rId445"/>
    <p:sldLayoutId id="2147484624" r:id="rId446"/>
    <p:sldLayoutId id="2147484625" r:id="rId447"/>
    <p:sldLayoutId id="2147484626" r:id="rId448"/>
    <p:sldLayoutId id="2147484628" r:id="rId449"/>
    <p:sldLayoutId id="2147484631" r:id="rId450"/>
    <p:sldLayoutId id="2147484632" r:id="rId451"/>
    <p:sldLayoutId id="2147484633" r:id="rId452"/>
    <p:sldLayoutId id="2147484634" r:id="rId453"/>
    <p:sldLayoutId id="2147484635" r:id="rId454"/>
    <p:sldLayoutId id="2147484636" r:id="rId455"/>
    <p:sldLayoutId id="2147484637" r:id="rId456"/>
    <p:sldLayoutId id="2147484638" r:id="rId457"/>
    <p:sldLayoutId id="2147484639" r:id="rId458"/>
    <p:sldLayoutId id="2147484640" r:id="rId459"/>
    <p:sldLayoutId id="2147484641" r:id="rId460"/>
    <p:sldLayoutId id="2147484642" r:id="rId461"/>
    <p:sldLayoutId id="2147484643" r:id="rId462"/>
    <p:sldLayoutId id="2147484644" r:id="rId463"/>
    <p:sldLayoutId id="2147484646" r:id="rId464"/>
    <p:sldLayoutId id="2147484647" r:id="rId465"/>
    <p:sldLayoutId id="2147484648" r:id="rId466"/>
    <p:sldLayoutId id="2147484649" r:id="rId467"/>
    <p:sldLayoutId id="2147484650" r:id="rId468"/>
    <p:sldLayoutId id="2147484652" r:id="rId469"/>
    <p:sldLayoutId id="2147484653" r:id="rId470"/>
    <p:sldLayoutId id="2147484507" r:id="rId471"/>
    <p:sldLayoutId id="2147484508" r:id="rId472"/>
    <p:sldLayoutId id="2147484511" r:id="rId473"/>
    <p:sldLayoutId id="2147484512" r:id="rId474"/>
    <p:sldLayoutId id="2147484513" r:id="rId475"/>
    <p:sldLayoutId id="2147484514" r:id="rId476"/>
    <p:sldLayoutId id="2147484515" r:id="rId477"/>
    <p:sldLayoutId id="2147484516" r:id="rId478"/>
    <p:sldLayoutId id="2147484517" r:id="rId479"/>
    <p:sldLayoutId id="2147484518" r:id="rId480"/>
    <p:sldLayoutId id="2147484519" r:id="rId481"/>
    <p:sldLayoutId id="2147484520" r:id="rId482"/>
    <p:sldLayoutId id="2147484521" r:id="rId483"/>
    <p:sldLayoutId id="2147484523" r:id="rId484"/>
    <p:sldLayoutId id="2147484524" r:id="rId485"/>
    <p:sldLayoutId id="2147484525" r:id="rId486"/>
    <p:sldLayoutId id="2147484526" r:id="rId487"/>
    <p:sldLayoutId id="2147484527" r:id="rId488"/>
    <p:sldLayoutId id="2147484528" r:id="rId489"/>
    <p:sldLayoutId id="2147484529" r:id="rId490"/>
    <p:sldLayoutId id="2147484530" r:id="rId491"/>
    <p:sldLayoutId id="2147484531" r:id="rId492"/>
    <p:sldLayoutId id="2147484532" r:id="rId493"/>
    <p:sldLayoutId id="2147484533" r:id="rId494"/>
    <p:sldLayoutId id="2147484534" r:id="rId495"/>
    <p:sldLayoutId id="2147484535" r:id="rId496"/>
    <p:sldLayoutId id="2147484536" r:id="rId497"/>
    <p:sldLayoutId id="2147484537" r:id="rId498"/>
    <p:sldLayoutId id="2147484538" r:id="rId499"/>
    <p:sldLayoutId id="2147484539" r:id="rId500"/>
    <p:sldLayoutId id="2147484540" r:id="rId501"/>
    <p:sldLayoutId id="2147484541" r:id="rId502"/>
    <p:sldLayoutId id="2147484542" r:id="rId503"/>
    <p:sldLayoutId id="2147484543" r:id="rId504"/>
    <p:sldLayoutId id="2147484544" r:id="rId505"/>
    <p:sldLayoutId id="2147484545" r:id="rId506"/>
    <p:sldLayoutId id="2147484546" r:id="rId507"/>
    <p:sldLayoutId id="2147484410" r:id="rId508"/>
    <p:sldLayoutId id="2147484411" r:id="rId509"/>
    <p:sldLayoutId id="2147484412" r:id="rId510"/>
    <p:sldLayoutId id="2147484413" r:id="rId511"/>
    <p:sldLayoutId id="2147484414" r:id="rId512"/>
    <p:sldLayoutId id="2147484415" r:id="rId513"/>
    <p:sldLayoutId id="2147484416" r:id="rId514"/>
    <p:sldLayoutId id="2147484417" r:id="rId515"/>
    <p:sldLayoutId id="2147484418" r:id="rId516"/>
    <p:sldLayoutId id="2147484419" r:id="rId517"/>
    <p:sldLayoutId id="2147484420" r:id="rId518"/>
    <p:sldLayoutId id="2147484421" r:id="rId519"/>
    <p:sldLayoutId id="2147484422" r:id="rId520"/>
    <p:sldLayoutId id="2147484423" r:id="rId521"/>
    <p:sldLayoutId id="2147484424" r:id="rId522"/>
    <p:sldLayoutId id="2147484425" r:id="rId523"/>
    <p:sldLayoutId id="2147484426" r:id="rId524"/>
    <p:sldLayoutId id="2147484427" r:id="rId525"/>
    <p:sldLayoutId id="2147484428" r:id="rId526"/>
    <p:sldLayoutId id="2147484429" r:id="rId527"/>
    <p:sldLayoutId id="2147484430" r:id="rId528"/>
    <p:sldLayoutId id="2147484432" r:id="rId529"/>
    <p:sldLayoutId id="2147484433" r:id="rId530"/>
    <p:sldLayoutId id="2147484434" r:id="rId531"/>
    <p:sldLayoutId id="2147484435" r:id="rId532"/>
    <p:sldLayoutId id="2147484436" r:id="rId533"/>
    <p:sldLayoutId id="2147484437" r:id="rId534"/>
    <p:sldLayoutId id="2147484438" r:id="rId535"/>
    <p:sldLayoutId id="2147484439" r:id="rId536"/>
    <p:sldLayoutId id="2147484440" r:id="rId537"/>
    <p:sldLayoutId id="2147484441" r:id="rId538"/>
    <p:sldLayoutId id="2147484442" r:id="rId539"/>
    <p:sldLayoutId id="2147484443" r:id="rId540"/>
    <p:sldLayoutId id="2147484444" r:id="rId541"/>
    <p:sldLayoutId id="2147484445" r:id="rId542"/>
    <p:sldLayoutId id="2147484446" r:id="rId543"/>
    <p:sldLayoutId id="2147484447" r:id="rId544"/>
    <p:sldLayoutId id="2147484448" r:id="rId545"/>
    <p:sldLayoutId id="2147484449" r:id="rId546"/>
    <p:sldLayoutId id="2147484450" r:id="rId547"/>
    <p:sldLayoutId id="2147484451" r:id="rId548"/>
    <p:sldLayoutId id="2147484452" r:id="rId549"/>
    <p:sldLayoutId id="2147484453" r:id="rId550"/>
    <p:sldLayoutId id="2147484454" r:id="rId551"/>
    <p:sldLayoutId id="2147484455" r:id="rId552"/>
    <p:sldLayoutId id="2147484456" r:id="rId553"/>
    <p:sldLayoutId id="2147484457" r:id="rId554"/>
    <p:sldLayoutId id="2147484458" r:id="rId555"/>
    <p:sldLayoutId id="2147484355" r:id="rId556"/>
    <p:sldLayoutId id="2147484356" r:id="rId557"/>
    <p:sldLayoutId id="2147484357" r:id="rId558"/>
    <p:sldLayoutId id="2147484358" r:id="rId559"/>
    <p:sldLayoutId id="2147484359" r:id="rId560"/>
    <p:sldLayoutId id="2147484360" r:id="rId561"/>
    <p:sldLayoutId id="2147484361" r:id="rId562"/>
    <p:sldLayoutId id="2147484362" r:id="rId563"/>
    <p:sldLayoutId id="2147484363" r:id="rId564"/>
    <p:sldLayoutId id="2147484364" r:id="rId565"/>
    <p:sldLayoutId id="2147484365" r:id="rId566"/>
    <p:sldLayoutId id="2147484366" r:id="rId567"/>
    <p:sldLayoutId id="2147484367" r:id="rId568"/>
    <p:sldLayoutId id="2147484368" r:id="rId569"/>
    <p:sldLayoutId id="2147484369" r:id="rId570"/>
    <p:sldLayoutId id="2147484370" r:id="rId571"/>
    <p:sldLayoutId id="2147484371" r:id="rId572"/>
    <p:sldLayoutId id="2147484372" r:id="rId573"/>
    <p:sldLayoutId id="2147484373" r:id="rId574"/>
    <p:sldLayoutId id="2147484374" r:id="rId575"/>
    <p:sldLayoutId id="2147484375" r:id="rId576"/>
    <p:sldLayoutId id="2147484376" r:id="rId577"/>
    <p:sldLayoutId id="2147484377" r:id="rId578"/>
    <p:sldLayoutId id="2147484378" r:id="rId579"/>
    <p:sldLayoutId id="2147484379" r:id="rId580"/>
    <p:sldLayoutId id="2147484380" r:id="rId581"/>
    <p:sldLayoutId id="2147484381" r:id="rId582"/>
    <p:sldLayoutId id="2147484382" r:id="rId583"/>
    <p:sldLayoutId id="2147484383" r:id="rId584"/>
    <p:sldLayoutId id="2147484384" r:id="rId585"/>
    <p:sldLayoutId id="2147484385" r:id="rId586"/>
    <p:sldLayoutId id="2147484386" r:id="rId587"/>
    <p:sldLayoutId id="2147484387" r:id="rId588"/>
    <p:sldLayoutId id="2147484388" r:id="rId589"/>
    <p:sldLayoutId id="2147484389" r:id="rId590"/>
    <p:sldLayoutId id="2147484390" r:id="rId591"/>
    <p:sldLayoutId id="2147484391" r:id="rId592"/>
    <p:sldLayoutId id="2147484392" r:id="rId593"/>
    <p:sldLayoutId id="2147484393" r:id="rId594"/>
    <p:sldLayoutId id="2147484395" r:id="rId595"/>
    <p:sldLayoutId id="2147484396" r:id="rId596"/>
    <p:sldLayoutId id="2147484398" r:id="rId597"/>
    <p:sldLayoutId id="2147484399" r:id="rId598"/>
    <p:sldLayoutId id="2147484400" r:id="rId599"/>
    <p:sldLayoutId id="2147484401" r:id="rId600"/>
    <p:sldLayoutId id="2147484402" r:id="rId601"/>
    <p:sldLayoutId id="2147484403" r:id="rId602"/>
    <p:sldLayoutId id="2147484405" r:id="rId603"/>
    <p:sldLayoutId id="2147484406" r:id="rId604"/>
    <p:sldLayoutId id="2147484292" r:id="rId605"/>
    <p:sldLayoutId id="2147484271" r:id="rId606"/>
    <p:sldLayoutId id="2147484272" r:id="rId607"/>
    <p:sldLayoutId id="2147484273" r:id="rId608"/>
    <p:sldLayoutId id="2147484207" r:id="rId609"/>
    <p:sldLayoutId id="2147484208" r:id="rId610"/>
    <p:sldLayoutId id="2147484209" r:id="rId611"/>
    <p:sldLayoutId id="2147484210" r:id="rId612"/>
    <p:sldLayoutId id="2147484211" r:id="rId613"/>
    <p:sldLayoutId id="2147484212" r:id="rId614"/>
    <p:sldLayoutId id="2147484213" r:id="rId615"/>
    <p:sldLayoutId id="2147484214" r:id="rId616"/>
    <p:sldLayoutId id="2147484215" r:id="rId617"/>
    <p:sldLayoutId id="2147484216" r:id="rId618"/>
    <p:sldLayoutId id="2147484217" r:id="rId619"/>
    <p:sldLayoutId id="2147484218" r:id="rId620"/>
    <p:sldLayoutId id="2147484219" r:id="rId621"/>
    <p:sldLayoutId id="2147484220" r:id="rId622"/>
    <p:sldLayoutId id="2147484221" r:id="rId623"/>
    <p:sldLayoutId id="2147484222" r:id="rId624"/>
    <p:sldLayoutId id="2147484223" r:id="rId625"/>
    <p:sldLayoutId id="2147484224" r:id="rId626"/>
    <p:sldLayoutId id="2147484225" r:id="rId627"/>
    <p:sldLayoutId id="2147484226" r:id="rId628"/>
    <p:sldLayoutId id="2147484227" r:id="rId629"/>
    <p:sldLayoutId id="2147484228" r:id="rId630"/>
    <p:sldLayoutId id="2147484229" r:id="rId631"/>
    <p:sldLayoutId id="2147484230" r:id="rId632"/>
    <p:sldLayoutId id="2147484231" r:id="rId633"/>
    <p:sldLayoutId id="2147484232" r:id="rId634"/>
    <p:sldLayoutId id="2147484233" r:id="rId635"/>
    <p:sldLayoutId id="2147484234" r:id="rId636"/>
    <p:sldLayoutId id="2147484235" r:id="rId637"/>
    <p:sldLayoutId id="2147484236" r:id="rId638"/>
    <p:sldLayoutId id="2147484237" r:id="rId639"/>
    <p:sldLayoutId id="2147484238" r:id="rId640"/>
    <p:sldLayoutId id="2147484239" r:id="rId641"/>
    <p:sldLayoutId id="2147484240" r:id="rId642"/>
    <p:sldLayoutId id="2147484241" r:id="rId643"/>
    <p:sldLayoutId id="2147484242" r:id="rId644"/>
    <p:sldLayoutId id="2147484243" r:id="rId645"/>
    <p:sldLayoutId id="2147484244" r:id="rId646"/>
    <p:sldLayoutId id="2147484245" r:id="rId647"/>
    <p:sldLayoutId id="2147484246" r:id="rId648"/>
    <p:sldLayoutId id="2147484247" r:id="rId649"/>
    <p:sldLayoutId id="2147484248" r:id="rId650"/>
    <p:sldLayoutId id="2147484249" r:id="rId651"/>
    <p:sldLayoutId id="2147484250" r:id="rId652"/>
    <p:sldLayoutId id="2147484251" r:id="rId653"/>
    <p:sldLayoutId id="2147484252" r:id="rId654"/>
    <p:sldLayoutId id="2147484253" r:id="rId655"/>
    <p:sldLayoutId id="2147484254" r:id="rId656"/>
    <p:sldLayoutId id="2147484255" r:id="rId657"/>
    <p:sldLayoutId id="2147484256" r:id="rId658"/>
    <p:sldLayoutId id="2147484257" r:id="rId659"/>
    <p:sldLayoutId id="2147484258" r:id="rId660"/>
    <p:sldLayoutId id="2147484259" r:id="rId661"/>
    <p:sldLayoutId id="2147484260" r:id="rId662"/>
    <p:sldLayoutId id="2147484261" r:id="rId663"/>
    <p:sldLayoutId id="2147484262" r:id="rId664"/>
    <p:sldLayoutId id="2147484190" r:id="rId665"/>
    <p:sldLayoutId id="2147484191" r:id="rId666"/>
    <p:sldLayoutId id="2147484195" r:id="rId667"/>
    <p:sldLayoutId id="2147484196" r:id="rId668"/>
    <p:sldLayoutId id="2147484197" r:id="rId669"/>
    <p:sldLayoutId id="2147484198" r:id="rId670"/>
    <p:sldLayoutId id="2147484199" r:id="rId671"/>
    <p:sldLayoutId id="2147484200" r:id="rId672"/>
    <p:sldLayoutId id="2147484201" r:id="rId673"/>
    <p:sldLayoutId id="2147484202" r:id="rId674"/>
    <p:sldLayoutId id="2147484203" r:id="rId675"/>
    <p:sldLayoutId id="2147484204" r:id="rId676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539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6" r:id="rId1"/>
    <p:sldLayoutId id="2147485197" r:id="rId2"/>
    <p:sldLayoutId id="2147485198" r:id="rId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5B67-55DA-424F-9805-71BDE70D7489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606CC1-1436-4FA3-B5BE-7FF06ED26E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874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0" r:id="rId1"/>
    <p:sldLayoutId id="2147485201" r:id="rId2"/>
    <p:sldLayoutId id="2147485202" r:id="rId3"/>
    <p:sldLayoutId id="2147485203" r:id="rId4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audio" Target="../media/media1.mp3"/><Relationship Id="rId7" Type="http://schemas.openxmlformats.org/officeDocument/2006/relationships/slideLayout" Target="../slideLayouts/slideLayout4.xml"/><Relationship Id="rId2" Type="http://schemas.microsoft.com/office/2007/relationships/media" Target="../media/media1.mp3"/><Relationship Id="rId1" Type="http://schemas.openxmlformats.org/officeDocument/2006/relationships/tags" Target="../tags/tag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40.png"/><Relationship Id="rId4" Type="http://schemas.openxmlformats.org/officeDocument/2006/relationships/tags" Target="../tags/tag7.xml"/><Relationship Id="rId9" Type="http://schemas.openxmlformats.org/officeDocument/2006/relationships/image" Target="../media/image3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83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8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8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8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8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8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8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8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8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8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8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8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7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7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7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7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7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7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7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7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7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7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7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7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7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7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7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7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7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7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8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7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8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8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8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8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E356D724-84DB-42D3-895B-63A76ECCE7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24384000" cy="13805402"/>
          </a:xfrm>
          <a:prstGeom prst="rect">
            <a:avLst/>
          </a:prstGeom>
        </p:spPr>
      </p:pic>
      <p:grpSp>
        <p:nvGrpSpPr>
          <p:cNvPr id="2" name="PA_组合 1"/>
          <p:cNvGrpSpPr/>
          <p:nvPr>
            <p:custDataLst>
              <p:tags r:id="rId1"/>
            </p:custDataLst>
          </p:nvPr>
        </p:nvGrpSpPr>
        <p:grpSpPr>
          <a:xfrm>
            <a:off x="8236857" y="2673448"/>
            <a:ext cx="7910295" cy="7910294"/>
            <a:chOff x="4043362" y="1257300"/>
            <a:chExt cx="4105275" cy="4105275"/>
          </a:xfrm>
        </p:grpSpPr>
        <p:sp>
          <p:nvSpPr>
            <p:cNvPr id="6" name="PA_矩形 5"/>
            <p:cNvSpPr/>
            <p:nvPr>
              <p:custDataLst>
                <p:tags r:id="rId4"/>
              </p:custDataLst>
            </p:nvPr>
          </p:nvSpPr>
          <p:spPr>
            <a:xfrm>
              <a:off x="4043362" y="1257300"/>
              <a:ext cx="4105275" cy="4105275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accent4"/>
              </a:solidFill>
            </a:ln>
            <a:effectLst>
              <a:outerShdw blurRad="508000" dist="190500" dir="5400000" algn="ctr" rotWithShape="0">
                <a:schemeClr val="tx2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761910" hangingPunct="0">
                <a:defRPr/>
              </a:pPr>
              <a:endParaRPr lang="zh-CN" altLang="en-US" sz="3469" dirty="0">
                <a:solidFill>
                  <a:srgbClr val="FFFFFF"/>
                </a:solidFill>
                <a:latin typeface="造字工房博黑（非商用）常规体" pitchFamily="2" charset="-122"/>
                <a:ea typeface="造字工房博黑（非商用）常规体" pitchFamily="2" charset="-122"/>
                <a:sym typeface="Calibri"/>
              </a:endParaRPr>
            </a:p>
          </p:txBody>
        </p:sp>
        <p:sp>
          <p:nvSpPr>
            <p:cNvPr id="7" name="PA_文本框 6"/>
            <p:cNvSpPr txBox="1"/>
            <p:nvPr>
              <p:custDataLst>
                <p:tags r:id="rId5"/>
              </p:custDataLst>
            </p:nvPr>
          </p:nvSpPr>
          <p:spPr>
            <a:xfrm>
              <a:off x="4755267" y="1930069"/>
              <a:ext cx="2681459" cy="15253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762107" hangingPunct="0">
                <a:defRPr/>
              </a:pPr>
              <a:r>
                <a:rPr lang="en-US" altLang="zh-CN" sz="18499" dirty="0">
                  <a:solidFill>
                    <a:schemeClr val="accent6"/>
                  </a:solidFill>
                  <a:latin typeface="造字工房博黑（非商用）常规体" pitchFamily="2" charset="-122"/>
                  <a:ea typeface="造字工房博黑（非商用）常规体" pitchFamily="2" charset="-122"/>
                  <a:sym typeface="Calibri"/>
                </a:rPr>
                <a:t>40</a:t>
              </a:r>
              <a:r>
                <a:rPr lang="zh-CN" altLang="en-US" sz="9251" dirty="0">
                  <a:solidFill>
                    <a:srgbClr val="000000"/>
                  </a:solidFill>
                  <a:latin typeface="造字工房博黑（非商用）常规体" pitchFamily="2" charset="-122"/>
                  <a:ea typeface="造字工房博黑（非商用）常规体" pitchFamily="2" charset="-122"/>
                  <a:sym typeface="Calibri"/>
                </a:rPr>
                <a:t>页</a:t>
              </a:r>
            </a:p>
          </p:txBody>
        </p:sp>
        <p:sp>
          <p:nvSpPr>
            <p:cNvPr id="8" name="PA_文本框 7"/>
            <p:cNvSpPr txBox="1"/>
            <p:nvPr>
              <p:custDataLst>
                <p:tags r:id="rId6"/>
              </p:custDataLst>
            </p:nvPr>
          </p:nvSpPr>
          <p:spPr>
            <a:xfrm>
              <a:off x="4291058" y="3386475"/>
              <a:ext cx="3609886" cy="1150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04556" hangingPunct="0">
                <a:defRPr/>
              </a:pPr>
              <a:r>
                <a:rPr lang="zh-CN" altLang="en-US" sz="7200" dirty="0">
                  <a:solidFill>
                    <a:schemeClr val="accent6"/>
                  </a:solidFill>
                  <a:latin typeface="造字工房博黑（非商用）常规体" pitchFamily="2" charset="-122"/>
                  <a:ea typeface="造字工房博黑（非商用）常规体" pitchFamily="2" charset="-122"/>
                  <a:sym typeface="Calibri"/>
                </a:rPr>
                <a:t>甘特图、齿轮图</a:t>
              </a:r>
              <a:endParaRPr lang="en-US" altLang="zh-CN" sz="7200" dirty="0">
                <a:solidFill>
                  <a:schemeClr val="accent6"/>
                </a:solidFill>
                <a:latin typeface="造字工房博黑（非商用）常规体" pitchFamily="2" charset="-122"/>
                <a:ea typeface="造字工房博黑（非商用）常规体" pitchFamily="2" charset="-122"/>
                <a:sym typeface="Calibri"/>
              </a:endParaRPr>
            </a:p>
            <a:p>
              <a:pPr defTabSz="1804556" hangingPunct="0">
                <a:defRPr/>
              </a:pPr>
              <a:r>
                <a:rPr lang="zh-CN" altLang="en-US" sz="6600" dirty="0">
                  <a:solidFill>
                    <a:srgbClr val="000000"/>
                  </a:solidFill>
                  <a:latin typeface="造字工房博黑（非商用）常规体" pitchFamily="2" charset="-122"/>
                  <a:ea typeface="造字工房博黑（非商用）常规体" pitchFamily="2" charset="-122"/>
                  <a:sym typeface="Calibri"/>
                </a:rPr>
                <a:t>信息可视化图表集</a:t>
              </a:r>
              <a:endParaRPr lang="en-US" altLang="zh-CN" sz="6600" dirty="0">
                <a:solidFill>
                  <a:srgbClr val="000000"/>
                </a:solidFill>
                <a:latin typeface="造字工房博黑（非商用）常规体" pitchFamily="2" charset="-122"/>
                <a:ea typeface="造字工房博黑（非商用）常规体" pitchFamily="2" charset="-122"/>
                <a:sym typeface="Calibri"/>
              </a:endParaRPr>
            </a:p>
          </p:txBody>
        </p:sp>
      </p:grpSp>
      <p:pic>
        <p:nvPicPr>
          <p:cNvPr id="9" name="5c00b8a8c4602">
            <a:hlinkClick r:id="" action="ppaction://media"/>
            <a:extLst>
              <a:ext uri="{FF2B5EF4-FFF2-40B4-BE49-F238E27FC236}">
                <a16:creationId xmlns:a16="http://schemas.microsoft.com/office/drawing/2014/main" id="{1F79C923-5D33-418B-8D9E-2A7B4AA173AE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-1597368" y="564683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33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2000">
        <p:random/>
      </p:transition>
    </mc:Choice>
    <mc:Fallback xmlns="">
      <p:transition spd="slow" advClick="0" advTm="2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7" repeatCount="indefinite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/>
          <p:cNvGraphicFramePr/>
          <p:nvPr/>
        </p:nvGraphicFramePr>
        <p:xfrm>
          <a:off x="9597938" y="4634345"/>
          <a:ext cx="5188124" cy="345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5" name="Chart 34"/>
          <p:cNvGraphicFramePr/>
          <p:nvPr/>
        </p:nvGraphicFramePr>
        <p:xfrm>
          <a:off x="3282044" y="4634345"/>
          <a:ext cx="5188124" cy="345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6" name="Chart 35"/>
          <p:cNvGraphicFramePr/>
          <p:nvPr/>
        </p:nvGraphicFramePr>
        <p:xfrm>
          <a:off x="15846338" y="4634345"/>
          <a:ext cx="5188124" cy="345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4036195" y="4531067"/>
            <a:ext cx="3679826" cy="3679826"/>
            <a:chOff x="1327150" y="2514600"/>
            <a:chExt cx="1839913" cy="1839913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1327150" y="2514600"/>
              <a:ext cx="1839913" cy="1839913"/>
            </a:xfrm>
            <a:custGeom>
              <a:avLst/>
              <a:gdLst>
                <a:gd name="T0" fmla="*/ 488 w 488"/>
                <a:gd name="T1" fmla="*/ 237 h 487"/>
                <a:gd name="T2" fmla="*/ 470 w 488"/>
                <a:gd name="T3" fmla="*/ 218 h 487"/>
                <a:gd name="T4" fmla="*/ 468 w 488"/>
                <a:gd name="T5" fmla="*/ 183 h 487"/>
                <a:gd name="T6" fmla="*/ 458 w 488"/>
                <a:gd name="T7" fmla="*/ 153 h 487"/>
                <a:gd name="T8" fmla="*/ 438 w 488"/>
                <a:gd name="T9" fmla="*/ 124 h 487"/>
                <a:gd name="T10" fmla="*/ 440 w 488"/>
                <a:gd name="T11" fmla="*/ 98 h 487"/>
                <a:gd name="T12" fmla="*/ 395 w 488"/>
                <a:gd name="T13" fmla="*/ 99 h 487"/>
                <a:gd name="T14" fmla="*/ 399 w 488"/>
                <a:gd name="T15" fmla="*/ 55 h 487"/>
                <a:gd name="T16" fmla="*/ 373 w 488"/>
                <a:gd name="T17" fmla="*/ 56 h 487"/>
                <a:gd name="T18" fmla="*/ 345 w 488"/>
                <a:gd name="T19" fmla="*/ 35 h 487"/>
                <a:gd name="T20" fmla="*/ 316 w 488"/>
                <a:gd name="T21" fmla="*/ 23 h 487"/>
                <a:gd name="T22" fmla="*/ 281 w 488"/>
                <a:gd name="T23" fmla="*/ 19 h 487"/>
                <a:gd name="T24" fmla="*/ 263 w 488"/>
                <a:gd name="T25" fmla="*/ 0 h 487"/>
                <a:gd name="T26" fmla="*/ 237 w 488"/>
                <a:gd name="T27" fmla="*/ 35 h 487"/>
                <a:gd name="T28" fmla="*/ 203 w 488"/>
                <a:gd name="T29" fmla="*/ 3 h 487"/>
                <a:gd name="T30" fmla="*/ 187 w 488"/>
                <a:gd name="T31" fmla="*/ 24 h 487"/>
                <a:gd name="T32" fmla="*/ 153 w 488"/>
                <a:gd name="T33" fmla="*/ 30 h 487"/>
                <a:gd name="T34" fmla="*/ 125 w 488"/>
                <a:gd name="T35" fmla="*/ 44 h 487"/>
                <a:gd name="T36" fmla="*/ 99 w 488"/>
                <a:gd name="T37" fmla="*/ 69 h 487"/>
                <a:gd name="T38" fmla="*/ 80 w 488"/>
                <a:gd name="T39" fmla="*/ 63 h 487"/>
                <a:gd name="T40" fmla="*/ 78 w 488"/>
                <a:gd name="T41" fmla="*/ 90 h 487"/>
                <a:gd name="T42" fmla="*/ 52 w 488"/>
                <a:gd name="T43" fmla="*/ 114 h 487"/>
                <a:gd name="T44" fmla="*/ 36 w 488"/>
                <a:gd name="T45" fmla="*/ 141 h 487"/>
                <a:gd name="T46" fmla="*/ 28 w 488"/>
                <a:gd name="T47" fmla="*/ 175 h 487"/>
                <a:gd name="T48" fmla="*/ 6 w 488"/>
                <a:gd name="T49" fmla="*/ 190 h 487"/>
                <a:gd name="T50" fmla="*/ 37 w 488"/>
                <a:gd name="T51" fmla="*/ 224 h 487"/>
                <a:gd name="T52" fmla="*/ 0 w 488"/>
                <a:gd name="T53" fmla="*/ 250 h 487"/>
                <a:gd name="T54" fmla="*/ 20 w 488"/>
                <a:gd name="T55" fmla="*/ 268 h 487"/>
                <a:gd name="T56" fmla="*/ 21 w 488"/>
                <a:gd name="T57" fmla="*/ 304 h 487"/>
                <a:gd name="T58" fmla="*/ 30 w 488"/>
                <a:gd name="T59" fmla="*/ 333 h 487"/>
                <a:gd name="T60" fmla="*/ 59 w 488"/>
                <a:gd name="T61" fmla="*/ 339 h 487"/>
                <a:gd name="T62" fmla="*/ 43 w 488"/>
                <a:gd name="T63" fmla="*/ 380 h 487"/>
                <a:gd name="T64" fmla="*/ 69 w 488"/>
                <a:gd name="T65" fmla="*/ 386 h 487"/>
                <a:gd name="T66" fmla="*/ 89 w 488"/>
                <a:gd name="T67" fmla="*/ 415 h 487"/>
                <a:gd name="T68" fmla="*/ 113 w 488"/>
                <a:gd name="T69" fmla="*/ 435 h 487"/>
                <a:gd name="T70" fmla="*/ 146 w 488"/>
                <a:gd name="T71" fmla="*/ 448 h 487"/>
                <a:gd name="T72" fmla="*/ 158 w 488"/>
                <a:gd name="T73" fmla="*/ 471 h 487"/>
                <a:gd name="T74" fmla="*/ 195 w 488"/>
                <a:gd name="T75" fmla="*/ 446 h 487"/>
                <a:gd name="T76" fmla="*/ 207 w 488"/>
                <a:gd name="T77" fmla="*/ 472 h 487"/>
                <a:gd name="T78" fmla="*/ 237 w 488"/>
                <a:gd name="T79" fmla="*/ 475 h 487"/>
                <a:gd name="T80" fmla="*/ 272 w 488"/>
                <a:gd name="T81" fmla="*/ 468 h 487"/>
                <a:gd name="T82" fmla="*/ 295 w 488"/>
                <a:gd name="T83" fmla="*/ 482 h 487"/>
                <a:gd name="T84" fmla="*/ 313 w 488"/>
                <a:gd name="T85" fmla="*/ 440 h 487"/>
                <a:gd name="T86" fmla="*/ 336 w 488"/>
                <a:gd name="T87" fmla="*/ 456 h 487"/>
                <a:gd name="T88" fmla="*/ 364 w 488"/>
                <a:gd name="T89" fmla="*/ 442 h 487"/>
                <a:gd name="T90" fmla="*/ 390 w 488"/>
                <a:gd name="T91" fmla="*/ 417 h 487"/>
                <a:gd name="T92" fmla="*/ 409 w 488"/>
                <a:gd name="T93" fmla="*/ 423 h 487"/>
                <a:gd name="T94" fmla="*/ 411 w 488"/>
                <a:gd name="T95" fmla="*/ 397 h 487"/>
                <a:gd name="T96" fmla="*/ 437 w 488"/>
                <a:gd name="T97" fmla="*/ 373 h 487"/>
                <a:gd name="T98" fmla="*/ 453 w 488"/>
                <a:gd name="T99" fmla="*/ 346 h 487"/>
                <a:gd name="T100" fmla="*/ 461 w 488"/>
                <a:gd name="T101" fmla="*/ 311 h 487"/>
                <a:gd name="T102" fmla="*/ 482 w 488"/>
                <a:gd name="T103" fmla="*/ 296 h 487"/>
                <a:gd name="T104" fmla="*/ 452 w 488"/>
                <a:gd name="T105" fmla="*/ 263 h 487"/>
                <a:gd name="T106" fmla="*/ 75 w 488"/>
                <a:gd name="T107" fmla="*/ 243 h 487"/>
                <a:gd name="T108" fmla="*/ 244 w 488"/>
                <a:gd name="T109" fmla="*/ 41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8" h="487">
                  <a:moveTo>
                    <a:pt x="460" y="246"/>
                  </a:moveTo>
                  <a:cubicBezTo>
                    <a:pt x="476" y="248"/>
                    <a:pt x="476" y="248"/>
                    <a:pt x="476" y="248"/>
                  </a:cubicBezTo>
                  <a:cubicBezTo>
                    <a:pt x="483" y="249"/>
                    <a:pt x="488" y="244"/>
                    <a:pt x="488" y="237"/>
                  </a:cubicBezTo>
                  <a:cubicBezTo>
                    <a:pt x="488" y="234"/>
                    <a:pt x="488" y="230"/>
                    <a:pt x="488" y="227"/>
                  </a:cubicBezTo>
                  <a:cubicBezTo>
                    <a:pt x="487" y="221"/>
                    <a:pt x="481" y="216"/>
                    <a:pt x="475" y="217"/>
                  </a:cubicBezTo>
                  <a:cubicBezTo>
                    <a:pt x="470" y="218"/>
                    <a:pt x="470" y="218"/>
                    <a:pt x="470" y="218"/>
                  </a:cubicBezTo>
                  <a:cubicBezTo>
                    <a:pt x="461" y="219"/>
                    <a:pt x="452" y="215"/>
                    <a:pt x="450" y="207"/>
                  </a:cubicBezTo>
                  <a:cubicBezTo>
                    <a:pt x="446" y="196"/>
                    <a:pt x="453" y="185"/>
                    <a:pt x="463" y="183"/>
                  </a:cubicBezTo>
                  <a:cubicBezTo>
                    <a:pt x="468" y="183"/>
                    <a:pt x="468" y="183"/>
                    <a:pt x="468" y="183"/>
                  </a:cubicBezTo>
                  <a:cubicBezTo>
                    <a:pt x="475" y="182"/>
                    <a:pt x="479" y="175"/>
                    <a:pt x="477" y="168"/>
                  </a:cubicBezTo>
                  <a:cubicBezTo>
                    <a:pt x="476" y="165"/>
                    <a:pt x="475" y="162"/>
                    <a:pt x="473" y="159"/>
                  </a:cubicBezTo>
                  <a:cubicBezTo>
                    <a:pt x="471" y="153"/>
                    <a:pt x="464" y="150"/>
                    <a:pt x="458" y="153"/>
                  </a:cubicBezTo>
                  <a:cubicBezTo>
                    <a:pt x="453" y="156"/>
                    <a:pt x="453" y="156"/>
                    <a:pt x="453" y="156"/>
                  </a:cubicBezTo>
                  <a:cubicBezTo>
                    <a:pt x="446" y="159"/>
                    <a:pt x="436" y="157"/>
                    <a:pt x="431" y="150"/>
                  </a:cubicBezTo>
                  <a:cubicBezTo>
                    <a:pt x="424" y="141"/>
                    <a:pt x="428" y="129"/>
                    <a:pt x="438" y="124"/>
                  </a:cubicBezTo>
                  <a:cubicBezTo>
                    <a:pt x="442" y="122"/>
                    <a:pt x="442" y="122"/>
                    <a:pt x="442" y="122"/>
                  </a:cubicBezTo>
                  <a:cubicBezTo>
                    <a:pt x="448" y="119"/>
                    <a:pt x="450" y="112"/>
                    <a:pt x="446" y="106"/>
                  </a:cubicBezTo>
                  <a:cubicBezTo>
                    <a:pt x="444" y="103"/>
                    <a:pt x="442" y="101"/>
                    <a:pt x="440" y="98"/>
                  </a:cubicBezTo>
                  <a:cubicBezTo>
                    <a:pt x="437" y="93"/>
                    <a:pt x="429" y="92"/>
                    <a:pt x="424" y="96"/>
                  </a:cubicBezTo>
                  <a:cubicBezTo>
                    <a:pt x="420" y="100"/>
                    <a:pt x="420" y="100"/>
                    <a:pt x="420" y="100"/>
                  </a:cubicBezTo>
                  <a:cubicBezTo>
                    <a:pt x="413" y="107"/>
                    <a:pt x="402" y="106"/>
                    <a:pt x="395" y="99"/>
                  </a:cubicBezTo>
                  <a:cubicBezTo>
                    <a:pt x="389" y="92"/>
                    <a:pt x="389" y="81"/>
                    <a:pt x="396" y="75"/>
                  </a:cubicBezTo>
                  <a:cubicBezTo>
                    <a:pt x="400" y="71"/>
                    <a:pt x="400" y="71"/>
                    <a:pt x="400" y="71"/>
                  </a:cubicBezTo>
                  <a:cubicBezTo>
                    <a:pt x="405" y="67"/>
                    <a:pt x="404" y="59"/>
                    <a:pt x="399" y="55"/>
                  </a:cubicBezTo>
                  <a:cubicBezTo>
                    <a:pt x="397" y="53"/>
                    <a:pt x="394" y="51"/>
                    <a:pt x="392" y="49"/>
                  </a:cubicBezTo>
                  <a:cubicBezTo>
                    <a:pt x="386" y="45"/>
                    <a:pt x="379" y="46"/>
                    <a:pt x="376" y="52"/>
                  </a:cubicBezTo>
                  <a:cubicBezTo>
                    <a:pt x="373" y="56"/>
                    <a:pt x="373" y="56"/>
                    <a:pt x="373" y="56"/>
                  </a:cubicBezTo>
                  <a:cubicBezTo>
                    <a:pt x="368" y="64"/>
                    <a:pt x="359" y="67"/>
                    <a:pt x="351" y="64"/>
                  </a:cubicBezTo>
                  <a:cubicBezTo>
                    <a:pt x="341" y="60"/>
                    <a:pt x="337" y="48"/>
                    <a:pt x="343" y="39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8" y="29"/>
                    <a:pt x="346" y="21"/>
                    <a:pt x="340" y="19"/>
                  </a:cubicBezTo>
                  <a:cubicBezTo>
                    <a:pt x="337" y="17"/>
                    <a:pt x="334" y="16"/>
                    <a:pt x="331" y="15"/>
                  </a:cubicBezTo>
                  <a:cubicBezTo>
                    <a:pt x="325" y="13"/>
                    <a:pt x="318" y="16"/>
                    <a:pt x="316" y="23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13" y="36"/>
                    <a:pt x="305" y="42"/>
                    <a:pt x="296" y="41"/>
                  </a:cubicBezTo>
                  <a:cubicBezTo>
                    <a:pt x="285" y="40"/>
                    <a:pt x="278" y="30"/>
                    <a:pt x="281" y="19"/>
                  </a:cubicBezTo>
                  <a:cubicBezTo>
                    <a:pt x="282" y="15"/>
                    <a:pt x="282" y="15"/>
                    <a:pt x="282" y="15"/>
                  </a:cubicBezTo>
                  <a:cubicBezTo>
                    <a:pt x="284" y="8"/>
                    <a:pt x="279" y="2"/>
                    <a:pt x="273" y="1"/>
                  </a:cubicBezTo>
                  <a:cubicBezTo>
                    <a:pt x="270" y="1"/>
                    <a:pt x="266" y="0"/>
                    <a:pt x="263" y="0"/>
                  </a:cubicBezTo>
                  <a:cubicBezTo>
                    <a:pt x="257" y="0"/>
                    <a:pt x="251" y="5"/>
                    <a:pt x="251" y="11"/>
                  </a:cubicBezTo>
                  <a:cubicBezTo>
                    <a:pt x="251" y="17"/>
                    <a:pt x="251" y="17"/>
                    <a:pt x="251" y="17"/>
                  </a:cubicBezTo>
                  <a:cubicBezTo>
                    <a:pt x="252" y="25"/>
                    <a:pt x="246" y="33"/>
                    <a:pt x="237" y="35"/>
                  </a:cubicBezTo>
                  <a:cubicBezTo>
                    <a:pt x="226" y="37"/>
                    <a:pt x="217" y="29"/>
                    <a:pt x="216" y="18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7"/>
                    <a:pt x="210" y="2"/>
                    <a:pt x="203" y="3"/>
                  </a:cubicBezTo>
                  <a:cubicBezTo>
                    <a:pt x="200" y="3"/>
                    <a:pt x="197" y="4"/>
                    <a:pt x="194" y="5"/>
                  </a:cubicBezTo>
                  <a:cubicBezTo>
                    <a:pt x="187" y="6"/>
                    <a:pt x="184" y="12"/>
                    <a:pt x="186" y="19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90" y="34"/>
                    <a:pt x="185" y="43"/>
                    <a:pt x="176" y="46"/>
                  </a:cubicBezTo>
                  <a:cubicBezTo>
                    <a:pt x="169" y="52"/>
                    <a:pt x="159" y="50"/>
                    <a:pt x="156" y="41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1" y="24"/>
                    <a:pt x="143" y="21"/>
                    <a:pt x="137" y="24"/>
                  </a:cubicBezTo>
                  <a:cubicBezTo>
                    <a:pt x="134" y="25"/>
                    <a:pt x="131" y="27"/>
                    <a:pt x="129" y="28"/>
                  </a:cubicBezTo>
                  <a:cubicBezTo>
                    <a:pt x="123" y="32"/>
                    <a:pt x="121" y="39"/>
                    <a:pt x="125" y="44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34" y="58"/>
                    <a:pt x="131" y="70"/>
                    <a:pt x="121" y="75"/>
                  </a:cubicBezTo>
                  <a:cubicBezTo>
                    <a:pt x="113" y="79"/>
                    <a:pt x="104" y="76"/>
                    <a:pt x="99" y="69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3" y="59"/>
                    <a:pt x="85" y="59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7" y="65"/>
                    <a:pt x="75" y="68"/>
                    <a:pt x="73" y="70"/>
                  </a:cubicBezTo>
                  <a:cubicBezTo>
                    <a:pt x="68" y="74"/>
                    <a:pt x="69" y="82"/>
                    <a:pt x="74" y="86"/>
                  </a:cubicBezTo>
                  <a:cubicBezTo>
                    <a:pt x="78" y="90"/>
                    <a:pt x="78" y="90"/>
                    <a:pt x="78" y="90"/>
                  </a:cubicBezTo>
                  <a:cubicBezTo>
                    <a:pt x="84" y="95"/>
                    <a:pt x="87" y="105"/>
                    <a:pt x="82" y="112"/>
                  </a:cubicBezTo>
                  <a:cubicBezTo>
                    <a:pt x="77" y="122"/>
                    <a:pt x="64" y="124"/>
                    <a:pt x="56" y="117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47" y="110"/>
                    <a:pt x="39" y="111"/>
                    <a:pt x="36" y="117"/>
                  </a:cubicBezTo>
                  <a:cubicBezTo>
                    <a:pt x="34" y="119"/>
                    <a:pt x="32" y="122"/>
                    <a:pt x="31" y="125"/>
                  </a:cubicBezTo>
                  <a:cubicBezTo>
                    <a:pt x="28" y="131"/>
                    <a:pt x="30" y="138"/>
                    <a:pt x="36" y="141"/>
                  </a:cubicBezTo>
                  <a:cubicBezTo>
                    <a:pt x="41" y="143"/>
                    <a:pt x="41" y="143"/>
                    <a:pt x="41" y="143"/>
                  </a:cubicBezTo>
                  <a:cubicBezTo>
                    <a:pt x="49" y="146"/>
                    <a:pt x="54" y="155"/>
                    <a:pt x="52" y="163"/>
                  </a:cubicBezTo>
                  <a:cubicBezTo>
                    <a:pt x="49" y="174"/>
                    <a:pt x="38" y="179"/>
                    <a:pt x="28" y="175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17" y="171"/>
                    <a:pt x="10" y="174"/>
                    <a:pt x="9" y="181"/>
                  </a:cubicBezTo>
                  <a:cubicBezTo>
                    <a:pt x="8" y="184"/>
                    <a:pt x="7" y="187"/>
                    <a:pt x="6" y="190"/>
                  </a:cubicBezTo>
                  <a:cubicBezTo>
                    <a:pt x="5" y="196"/>
                    <a:pt x="9" y="203"/>
                    <a:pt x="16" y="203"/>
                  </a:cubicBezTo>
                  <a:cubicBezTo>
                    <a:pt x="22" y="204"/>
                    <a:pt x="22" y="204"/>
                    <a:pt x="22" y="204"/>
                  </a:cubicBezTo>
                  <a:cubicBezTo>
                    <a:pt x="31" y="205"/>
                    <a:pt x="38" y="214"/>
                    <a:pt x="37" y="224"/>
                  </a:cubicBezTo>
                  <a:cubicBezTo>
                    <a:pt x="43" y="230"/>
                    <a:pt x="38" y="241"/>
                    <a:pt x="28" y="240"/>
                  </a:cubicBezTo>
                  <a:cubicBezTo>
                    <a:pt x="13" y="238"/>
                    <a:pt x="13" y="238"/>
                    <a:pt x="13" y="238"/>
                  </a:cubicBezTo>
                  <a:cubicBezTo>
                    <a:pt x="6" y="238"/>
                    <a:pt x="0" y="243"/>
                    <a:pt x="0" y="250"/>
                  </a:cubicBezTo>
                  <a:cubicBezTo>
                    <a:pt x="1" y="253"/>
                    <a:pt x="1" y="256"/>
                    <a:pt x="1" y="259"/>
                  </a:cubicBezTo>
                  <a:cubicBezTo>
                    <a:pt x="1" y="266"/>
                    <a:pt x="7" y="271"/>
                    <a:pt x="14" y="269"/>
                  </a:cubicBezTo>
                  <a:cubicBezTo>
                    <a:pt x="20" y="268"/>
                    <a:pt x="20" y="268"/>
                    <a:pt x="20" y="268"/>
                  </a:cubicBezTo>
                  <a:cubicBezTo>
                    <a:pt x="29" y="267"/>
                    <a:pt x="38" y="273"/>
                    <a:pt x="40" y="283"/>
                  </a:cubicBezTo>
                  <a:cubicBezTo>
                    <a:pt x="41" y="292"/>
                    <a:pt x="35" y="301"/>
                    <a:pt x="25" y="303"/>
                  </a:cubicBezTo>
                  <a:cubicBezTo>
                    <a:pt x="21" y="304"/>
                    <a:pt x="21" y="304"/>
                    <a:pt x="21" y="304"/>
                  </a:cubicBezTo>
                  <a:cubicBezTo>
                    <a:pt x="14" y="305"/>
                    <a:pt x="10" y="312"/>
                    <a:pt x="12" y="318"/>
                  </a:cubicBezTo>
                  <a:cubicBezTo>
                    <a:pt x="13" y="321"/>
                    <a:pt x="14" y="324"/>
                    <a:pt x="15" y="327"/>
                  </a:cubicBezTo>
                  <a:cubicBezTo>
                    <a:pt x="18" y="333"/>
                    <a:pt x="25" y="336"/>
                    <a:pt x="30" y="333"/>
                  </a:cubicBezTo>
                  <a:cubicBezTo>
                    <a:pt x="36" y="331"/>
                    <a:pt x="36" y="331"/>
                    <a:pt x="36" y="331"/>
                  </a:cubicBezTo>
                  <a:cubicBezTo>
                    <a:pt x="44" y="327"/>
                    <a:pt x="55" y="330"/>
                    <a:pt x="59" y="339"/>
                  </a:cubicBezTo>
                  <a:cubicBezTo>
                    <a:pt x="59" y="339"/>
                    <a:pt x="59" y="339"/>
                    <a:pt x="59" y="339"/>
                  </a:cubicBezTo>
                  <a:cubicBezTo>
                    <a:pt x="63" y="347"/>
                    <a:pt x="60" y="358"/>
                    <a:pt x="51" y="362"/>
                  </a:cubicBezTo>
                  <a:cubicBezTo>
                    <a:pt x="47" y="364"/>
                    <a:pt x="47" y="364"/>
                    <a:pt x="47" y="364"/>
                  </a:cubicBezTo>
                  <a:cubicBezTo>
                    <a:pt x="41" y="367"/>
                    <a:pt x="39" y="375"/>
                    <a:pt x="43" y="380"/>
                  </a:cubicBezTo>
                  <a:cubicBezTo>
                    <a:pt x="44" y="383"/>
                    <a:pt x="46" y="386"/>
                    <a:pt x="48" y="388"/>
                  </a:cubicBezTo>
                  <a:cubicBezTo>
                    <a:pt x="52" y="394"/>
                    <a:pt x="60" y="394"/>
                    <a:pt x="65" y="390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76" y="379"/>
                    <a:pt x="87" y="380"/>
                    <a:pt x="94" y="387"/>
                  </a:cubicBezTo>
                  <a:cubicBezTo>
                    <a:pt x="100" y="394"/>
                    <a:pt x="100" y="405"/>
                    <a:pt x="93" y="412"/>
                  </a:cubicBezTo>
                  <a:cubicBezTo>
                    <a:pt x="89" y="415"/>
                    <a:pt x="89" y="415"/>
                    <a:pt x="89" y="415"/>
                  </a:cubicBezTo>
                  <a:cubicBezTo>
                    <a:pt x="84" y="420"/>
                    <a:pt x="84" y="427"/>
                    <a:pt x="89" y="432"/>
                  </a:cubicBezTo>
                  <a:cubicBezTo>
                    <a:pt x="92" y="434"/>
                    <a:pt x="94" y="436"/>
                    <a:pt x="97" y="438"/>
                  </a:cubicBezTo>
                  <a:cubicBezTo>
                    <a:pt x="102" y="442"/>
                    <a:pt x="110" y="440"/>
                    <a:pt x="113" y="435"/>
                  </a:cubicBezTo>
                  <a:cubicBezTo>
                    <a:pt x="116" y="430"/>
                    <a:pt x="116" y="430"/>
                    <a:pt x="116" y="430"/>
                  </a:cubicBezTo>
                  <a:cubicBezTo>
                    <a:pt x="120" y="423"/>
                    <a:pt x="130" y="419"/>
                    <a:pt x="138" y="422"/>
                  </a:cubicBezTo>
                  <a:cubicBezTo>
                    <a:pt x="148" y="426"/>
                    <a:pt x="152" y="439"/>
                    <a:pt x="146" y="448"/>
                  </a:cubicBezTo>
                  <a:cubicBezTo>
                    <a:pt x="144" y="452"/>
                    <a:pt x="144" y="452"/>
                    <a:pt x="144" y="452"/>
                  </a:cubicBezTo>
                  <a:cubicBezTo>
                    <a:pt x="140" y="458"/>
                    <a:pt x="143" y="465"/>
                    <a:pt x="149" y="468"/>
                  </a:cubicBezTo>
                  <a:cubicBezTo>
                    <a:pt x="152" y="469"/>
                    <a:pt x="155" y="470"/>
                    <a:pt x="158" y="471"/>
                  </a:cubicBezTo>
                  <a:cubicBezTo>
                    <a:pt x="164" y="474"/>
                    <a:pt x="171" y="470"/>
                    <a:pt x="172" y="464"/>
                  </a:cubicBezTo>
                  <a:cubicBezTo>
                    <a:pt x="174" y="458"/>
                    <a:pt x="174" y="458"/>
                    <a:pt x="174" y="458"/>
                  </a:cubicBezTo>
                  <a:cubicBezTo>
                    <a:pt x="176" y="449"/>
                    <a:pt x="186" y="443"/>
                    <a:pt x="195" y="446"/>
                  </a:cubicBezTo>
                  <a:cubicBezTo>
                    <a:pt x="195" y="446"/>
                    <a:pt x="195" y="446"/>
                    <a:pt x="195" y="446"/>
                  </a:cubicBezTo>
                  <a:cubicBezTo>
                    <a:pt x="205" y="448"/>
                    <a:pt x="210" y="458"/>
                    <a:pt x="208" y="467"/>
                  </a:cubicBezTo>
                  <a:cubicBezTo>
                    <a:pt x="207" y="472"/>
                    <a:pt x="207" y="472"/>
                    <a:pt x="207" y="472"/>
                  </a:cubicBezTo>
                  <a:cubicBezTo>
                    <a:pt x="205" y="478"/>
                    <a:pt x="209" y="485"/>
                    <a:pt x="216" y="485"/>
                  </a:cubicBezTo>
                  <a:cubicBezTo>
                    <a:pt x="219" y="486"/>
                    <a:pt x="222" y="486"/>
                    <a:pt x="226" y="486"/>
                  </a:cubicBezTo>
                  <a:cubicBezTo>
                    <a:pt x="232" y="487"/>
                    <a:pt x="238" y="482"/>
                    <a:pt x="237" y="475"/>
                  </a:cubicBezTo>
                  <a:cubicBezTo>
                    <a:pt x="237" y="469"/>
                    <a:pt x="237" y="469"/>
                    <a:pt x="237" y="469"/>
                  </a:cubicBezTo>
                  <a:cubicBezTo>
                    <a:pt x="237" y="460"/>
                    <a:pt x="245" y="452"/>
                    <a:pt x="254" y="451"/>
                  </a:cubicBezTo>
                  <a:cubicBezTo>
                    <a:pt x="264" y="451"/>
                    <a:pt x="272" y="459"/>
                    <a:pt x="272" y="468"/>
                  </a:cubicBezTo>
                  <a:cubicBezTo>
                    <a:pt x="272" y="473"/>
                    <a:pt x="272" y="473"/>
                    <a:pt x="272" y="473"/>
                  </a:cubicBezTo>
                  <a:cubicBezTo>
                    <a:pt x="273" y="480"/>
                    <a:pt x="279" y="485"/>
                    <a:pt x="285" y="484"/>
                  </a:cubicBezTo>
                  <a:cubicBezTo>
                    <a:pt x="288" y="483"/>
                    <a:pt x="292" y="483"/>
                    <a:pt x="295" y="482"/>
                  </a:cubicBezTo>
                  <a:cubicBezTo>
                    <a:pt x="301" y="481"/>
                    <a:pt x="305" y="474"/>
                    <a:pt x="303" y="468"/>
                  </a:cubicBezTo>
                  <a:cubicBezTo>
                    <a:pt x="301" y="462"/>
                    <a:pt x="301" y="462"/>
                    <a:pt x="301" y="462"/>
                  </a:cubicBezTo>
                  <a:cubicBezTo>
                    <a:pt x="298" y="453"/>
                    <a:pt x="303" y="443"/>
                    <a:pt x="313" y="440"/>
                  </a:cubicBezTo>
                  <a:cubicBezTo>
                    <a:pt x="313" y="440"/>
                    <a:pt x="313" y="440"/>
                    <a:pt x="313" y="440"/>
                  </a:cubicBezTo>
                  <a:cubicBezTo>
                    <a:pt x="322" y="437"/>
                    <a:pt x="332" y="442"/>
                    <a:pt x="335" y="451"/>
                  </a:cubicBezTo>
                  <a:cubicBezTo>
                    <a:pt x="336" y="456"/>
                    <a:pt x="336" y="456"/>
                    <a:pt x="336" y="456"/>
                  </a:cubicBezTo>
                  <a:cubicBezTo>
                    <a:pt x="338" y="462"/>
                    <a:pt x="345" y="465"/>
                    <a:pt x="351" y="462"/>
                  </a:cubicBezTo>
                  <a:cubicBezTo>
                    <a:pt x="354" y="461"/>
                    <a:pt x="357" y="460"/>
                    <a:pt x="360" y="458"/>
                  </a:cubicBezTo>
                  <a:cubicBezTo>
                    <a:pt x="366" y="455"/>
                    <a:pt x="368" y="448"/>
                    <a:pt x="364" y="442"/>
                  </a:cubicBezTo>
                  <a:cubicBezTo>
                    <a:pt x="361" y="437"/>
                    <a:pt x="361" y="437"/>
                    <a:pt x="361" y="437"/>
                  </a:cubicBezTo>
                  <a:cubicBezTo>
                    <a:pt x="355" y="429"/>
                    <a:pt x="357" y="418"/>
                    <a:pt x="365" y="413"/>
                  </a:cubicBezTo>
                  <a:cubicBezTo>
                    <a:pt x="373" y="407"/>
                    <a:pt x="384" y="410"/>
                    <a:pt x="390" y="417"/>
                  </a:cubicBezTo>
                  <a:cubicBezTo>
                    <a:pt x="392" y="421"/>
                    <a:pt x="392" y="421"/>
                    <a:pt x="392" y="421"/>
                  </a:cubicBezTo>
                  <a:cubicBezTo>
                    <a:pt x="396" y="427"/>
                    <a:pt x="404" y="428"/>
                    <a:pt x="409" y="423"/>
                  </a:cubicBezTo>
                  <a:cubicBezTo>
                    <a:pt x="409" y="423"/>
                    <a:pt x="409" y="423"/>
                    <a:pt x="409" y="423"/>
                  </a:cubicBezTo>
                  <a:cubicBezTo>
                    <a:pt x="411" y="421"/>
                    <a:pt x="414" y="419"/>
                    <a:pt x="416" y="417"/>
                  </a:cubicBezTo>
                  <a:cubicBezTo>
                    <a:pt x="421" y="412"/>
                    <a:pt x="420" y="404"/>
                    <a:pt x="415" y="400"/>
                  </a:cubicBezTo>
                  <a:cubicBezTo>
                    <a:pt x="411" y="397"/>
                    <a:pt x="411" y="397"/>
                    <a:pt x="411" y="397"/>
                  </a:cubicBezTo>
                  <a:cubicBezTo>
                    <a:pt x="403" y="390"/>
                    <a:pt x="402" y="379"/>
                    <a:pt x="408" y="372"/>
                  </a:cubicBezTo>
                  <a:cubicBezTo>
                    <a:pt x="414" y="364"/>
                    <a:pt x="425" y="363"/>
                    <a:pt x="433" y="370"/>
                  </a:cubicBezTo>
                  <a:cubicBezTo>
                    <a:pt x="437" y="373"/>
                    <a:pt x="437" y="373"/>
                    <a:pt x="437" y="373"/>
                  </a:cubicBezTo>
                  <a:cubicBezTo>
                    <a:pt x="442" y="377"/>
                    <a:pt x="449" y="376"/>
                    <a:pt x="453" y="370"/>
                  </a:cubicBezTo>
                  <a:cubicBezTo>
                    <a:pt x="455" y="367"/>
                    <a:pt x="456" y="364"/>
                    <a:pt x="458" y="361"/>
                  </a:cubicBezTo>
                  <a:cubicBezTo>
                    <a:pt x="461" y="356"/>
                    <a:pt x="459" y="348"/>
                    <a:pt x="453" y="346"/>
                  </a:cubicBezTo>
                  <a:cubicBezTo>
                    <a:pt x="447" y="344"/>
                    <a:pt x="447" y="344"/>
                    <a:pt x="447" y="344"/>
                  </a:cubicBezTo>
                  <a:cubicBezTo>
                    <a:pt x="438" y="340"/>
                    <a:pt x="434" y="329"/>
                    <a:pt x="438" y="321"/>
                  </a:cubicBezTo>
                  <a:cubicBezTo>
                    <a:pt x="442" y="312"/>
                    <a:pt x="452" y="308"/>
                    <a:pt x="461" y="311"/>
                  </a:cubicBezTo>
                  <a:cubicBezTo>
                    <a:pt x="465" y="313"/>
                    <a:pt x="465" y="313"/>
                    <a:pt x="465" y="313"/>
                  </a:cubicBezTo>
                  <a:cubicBezTo>
                    <a:pt x="471" y="316"/>
                    <a:pt x="478" y="312"/>
                    <a:pt x="480" y="306"/>
                  </a:cubicBezTo>
                  <a:cubicBezTo>
                    <a:pt x="481" y="303"/>
                    <a:pt x="482" y="300"/>
                    <a:pt x="482" y="296"/>
                  </a:cubicBezTo>
                  <a:cubicBezTo>
                    <a:pt x="484" y="290"/>
                    <a:pt x="479" y="284"/>
                    <a:pt x="473" y="283"/>
                  </a:cubicBezTo>
                  <a:cubicBezTo>
                    <a:pt x="467" y="282"/>
                    <a:pt x="467" y="282"/>
                    <a:pt x="467" y="282"/>
                  </a:cubicBezTo>
                  <a:cubicBezTo>
                    <a:pt x="458" y="281"/>
                    <a:pt x="451" y="272"/>
                    <a:pt x="452" y="263"/>
                  </a:cubicBezTo>
                  <a:cubicBezTo>
                    <a:pt x="446" y="256"/>
                    <a:pt x="451" y="245"/>
                    <a:pt x="460" y="246"/>
                  </a:cubicBezTo>
                  <a:close/>
                  <a:moveTo>
                    <a:pt x="244" y="412"/>
                  </a:moveTo>
                  <a:cubicBezTo>
                    <a:pt x="151" y="412"/>
                    <a:pt x="75" y="336"/>
                    <a:pt x="75" y="243"/>
                  </a:cubicBezTo>
                  <a:cubicBezTo>
                    <a:pt x="75" y="150"/>
                    <a:pt x="151" y="74"/>
                    <a:pt x="244" y="74"/>
                  </a:cubicBezTo>
                  <a:cubicBezTo>
                    <a:pt x="338" y="74"/>
                    <a:pt x="413" y="150"/>
                    <a:pt x="413" y="243"/>
                  </a:cubicBezTo>
                  <a:cubicBezTo>
                    <a:pt x="413" y="336"/>
                    <a:pt x="338" y="412"/>
                    <a:pt x="244" y="4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1839913" y="3021013"/>
              <a:ext cx="819150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0354056" y="4533034"/>
            <a:ext cx="3675888" cy="3675888"/>
            <a:chOff x="1327150" y="2514600"/>
            <a:chExt cx="1839913" cy="1839913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9" name="Freeform 5"/>
            <p:cNvSpPr>
              <a:spLocks noEditPoints="1"/>
            </p:cNvSpPr>
            <p:nvPr/>
          </p:nvSpPr>
          <p:spPr bwMode="auto">
            <a:xfrm>
              <a:off x="1327150" y="2514600"/>
              <a:ext cx="1839913" cy="1839913"/>
            </a:xfrm>
            <a:custGeom>
              <a:avLst/>
              <a:gdLst>
                <a:gd name="T0" fmla="*/ 488 w 488"/>
                <a:gd name="T1" fmla="*/ 237 h 487"/>
                <a:gd name="T2" fmla="*/ 470 w 488"/>
                <a:gd name="T3" fmla="*/ 218 h 487"/>
                <a:gd name="T4" fmla="*/ 468 w 488"/>
                <a:gd name="T5" fmla="*/ 183 h 487"/>
                <a:gd name="T6" fmla="*/ 458 w 488"/>
                <a:gd name="T7" fmla="*/ 153 h 487"/>
                <a:gd name="T8" fmla="*/ 438 w 488"/>
                <a:gd name="T9" fmla="*/ 124 h 487"/>
                <a:gd name="T10" fmla="*/ 440 w 488"/>
                <a:gd name="T11" fmla="*/ 98 h 487"/>
                <a:gd name="T12" fmla="*/ 395 w 488"/>
                <a:gd name="T13" fmla="*/ 99 h 487"/>
                <a:gd name="T14" fmla="*/ 399 w 488"/>
                <a:gd name="T15" fmla="*/ 55 h 487"/>
                <a:gd name="T16" fmla="*/ 373 w 488"/>
                <a:gd name="T17" fmla="*/ 56 h 487"/>
                <a:gd name="T18" fmla="*/ 345 w 488"/>
                <a:gd name="T19" fmla="*/ 35 h 487"/>
                <a:gd name="T20" fmla="*/ 316 w 488"/>
                <a:gd name="T21" fmla="*/ 23 h 487"/>
                <a:gd name="T22" fmla="*/ 281 w 488"/>
                <a:gd name="T23" fmla="*/ 19 h 487"/>
                <a:gd name="T24" fmla="*/ 263 w 488"/>
                <a:gd name="T25" fmla="*/ 0 h 487"/>
                <a:gd name="T26" fmla="*/ 237 w 488"/>
                <a:gd name="T27" fmla="*/ 35 h 487"/>
                <a:gd name="T28" fmla="*/ 203 w 488"/>
                <a:gd name="T29" fmla="*/ 3 h 487"/>
                <a:gd name="T30" fmla="*/ 187 w 488"/>
                <a:gd name="T31" fmla="*/ 24 h 487"/>
                <a:gd name="T32" fmla="*/ 153 w 488"/>
                <a:gd name="T33" fmla="*/ 30 h 487"/>
                <a:gd name="T34" fmla="*/ 125 w 488"/>
                <a:gd name="T35" fmla="*/ 44 h 487"/>
                <a:gd name="T36" fmla="*/ 99 w 488"/>
                <a:gd name="T37" fmla="*/ 69 h 487"/>
                <a:gd name="T38" fmla="*/ 80 w 488"/>
                <a:gd name="T39" fmla="*/ 63 h 487"/>
                <a:gd name="T40" fmla="*/ 78 w 488"/>
                <a:gd name="T41" fmla="*/ 90 h 487"/>
                <a:gd name="T42" fmla="*/ 52 w 488"/>
                <a:gd name="T43" fmla="*/ 114 h 487"/>
                <a:gd name="T44" fmla="*/ 36 w 488"/>
                <a:gd name="T45" fmla="*/ 141 h 487"/>
                <a:gd name="T46" fmla="*/ 28 w 488"/>
                <a:gd name="T47" fmla="*/ 175 h 487"/>
                <a:gd name="T48" fmla="*/ 6 w 488"/>
                <a:gd name="T49" fmla="*/ 190 h 487"/>
                <a:gd name="T50" fmla="*/ 37 w 488"/>
                <a:gd name="T51" fmla="*/ 224 h 487"/>
                <a:gd name="T52" fmla="*/ 0 w 488"/>
                <a:gd name="T53" fmla="*/ 250 h 487"/>
                <a:gd name="T54" fmla="*/ 20 w 488"/>
                <a:gd name="T55" fmla="*/ 268 h 487"/>
                <a:gd name="T56" fmla="*/ 21 w 488"/>
                <a:gd name="T57" fmla="*/ 304 h 487"/>
                <a:gd name="T58" fmla="*/ 30 w 488"/>
                <a:gd name="T59" fmla="*/ 333 h 487"/>
                <a:gd name="T60" fmla="*/ 59 w 488"/>
                <a:gd name="T61" fmla="*/ 339 h 487"/>
                <a:gd name="T62" fmla="*/ 43 w 488"/>
                <a:gd name="T63" fmla="*/ 380 h 487"/>
                <a:gd name="T64" fmla="*/ 69 w 488"/>
                <a:gd name="T65" fmla="*/ 386 h 487"/>
                <a:gd name="T66" fmla="*/ 89 w 488"/>
                <a:gd name="T67" fmla="*/ 415 h 487"/>
                <a:gd name="T68" fmla="*/ 113 w 488"/>
                <a:gd name="T69" fmla="*/ 435 h 487"/>
                <a:gd name="T70" fmla="*/ 146 w 488"/>
                <a:gd name="T71" fmla="*/ 448 h 487"/>
                <a:gd name="T72" fmla="*/ 158 w 488"/>
                <a:gd name="T73" fmla="*/ 471 h 487"/>
                <a:gd name="T74" fmla="*/ 195 w 488"/>
                <a:gd name="T75" fmla="*/ 446 h 487"/>
                <a:gd name="T76" fmla="*/ 207 w 488"/>
                <a:gd name="T77" fmla="*/ 472 h 487"/>
                <a:gd name="T78" fmla="*/ 237 w 488"/>
                <a:gd name="T79" fmla="*/ 475 h 487"/>
                <a:gd name="T80" fmla="*/ 272 w 488"/>
                <a:gd name="T81" fmla="*/ 468 h 487"/>
                <a:gd name="T82" fmla="*/ 295 w 488"/>
                <a:gd name="T83" fmla="*/ 482 h 487"/>
                <a:gd name="T84" fmla="*/ 313 w 488"/>
                <a:gd name="T85" fmla="*/ 440 h 487"/>
                <a:gd name="T86" fmla="*/ 336 w 488"/>
                <a:gd name="T87" fmla="*/ 456 h 487"/>
                <a:gd name="T88" fmla="*/ 364 w 488"/>
                <a:gd name="T89" fmla="*/ 442 h 487"/>
                <a:gd name="T90" fmla="*/ 390 w 488"/>
                <a:gd name="T91" fmla="*/ 417 h 487"/>
                <a:gd name="T92" fmla="*/ 409 w 488"/>
                <a:gd name="T93" fmla="*/ 423 h 487"/>
                <a:gd name="T94" fmla="*/ 411 w 488"/>
                <a:gd name="T95" fmla="*/ 397 h 487"/>
                <a:gd name="T96" fmla="*/ 437 w 488"/>
                <a:gd name="T97" fmla="*/ 373 h 487"/>
                <a:gd name="T98" fmla="*/ 453 w 488"/>
                <a:gd name="T99" fmla="*/ 346 h 487"/>
                <a:gd name="T100" fmla="*/ 461 w 488"/>
                <a:gd name="T101" fmla="*/ 311 h 487"/>
                <a:gd name="T102" fmla="*/ 482 w 488"/>
                <a:gd name="T103" fmla="*/ 296 h 487"/>
                <a:gd name="T104" fmla="*/ 452 w 488"/>
                <a:gd name="T105" fmla="*/ 263 h 487"/>
                <a:gd name="T106" fmla="*/ 75 w 488"/>
                <a:gd name="T107" fmla="*/ 243 h 487"/>
                <a:gd name="T108" fmla="*/ 244 w 488"/>
                <a:gd name="T109" fmla="*/ 41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8" h="487">
                  <a:moveTo>
                    <a:pt x="460" y="246"/>
                  </a:moveTo>
                  <a:cubicBezTo>
                    <a:pt x="476" y="248"/>
                    <a:pt x="476" y="248"/>
                    <a:pt x="476" y="248"/>
                  </a:cubicBezTo>
                  <a:cubicBezTo>
                    <a:pt x="483" y="249"/>
                    <a:pt x="488" y="244"/>
                    <a:pt x="488" y="237"/>
                  </a:cubicBezTo>
                  <a:cubicBezTo>
                    <a:pt x="488" y="234"/>
                    <a:pt x="488" y="230"/>
                    <a:pt x="488" y="227"/>
                  </a:cubicBezTo>
                  <a:cubicBezTo>
                    <a:pt x="487" y="221"/>
                    <a:pt x="481" y="216"/>
                    <a:pt x="475" y="217"/>
                  </a:cubicBezTo>
                  <a:cubicBezTo>
                    <a:pt x="470" y="218"/>
                    <a:pt x="470" y="218"/>
                    <a:pt x="470" y="218"/>
                  </a:cubicBezTo>
                  <a:cubicBezTo>
                    <a:pt x="461" y="219"/>
                    <a:pt x="452" y="215"/>
                    <a:pt x="450" y="207"/>
                  </a:cubicBezTo>
                  <a:cubicBezTo>
                    <a:pt x="446" y="196"/>
                    <a:pt x="453" y="185"/>
                    <a:pt x="463" y="183"/>
                  </a:cubicBezTo>
                  <a:cubicBezTo>
                    <a:pt x="468" y="183"/>
                    <a:pt x="468" y="183"/>
                    <a:pt x="468" y="183"/>
                  </a:cubicBezTo>
                  <a:cubicBezTo>
                    <a:pt x="475" y="182"/>
                    <a:pt x="479" y="175"/>
                    <a:pt x="477" y="168"/>
                  </a:cubicBezTo>
                  <a:cubicBezTo>
                    <a:pt x="476" y="165"/>
                    <a:pt x="475" y="162"/>
                    <a:pt x="473" y="159"/>
                  </a:cubicBezTo>
                  <a:cubicBezTo>
                    <a:pt x="471" y="153"/>
                    <a:pt x="464" y="150"/>
                    <a:pt x="458" y="153"/>
                  </a:cubicBezTo>
                  <a:cubicBezTo>
                    <a:pt x="453" y="156"/>
                    <a:pt x="453" y="156"/>
                    <a:pt x="453" y="156"/>
                  </a:cubicBezTo>
                  <a:cubicBezTo>
                    <a:pt x="446" y="159"/>
                    <a:pt x="436" y="157"/>
                    <a:pt x="431" y="150"/>
                  </a:cubicBezTo>
                  <a:cubicBezTo>
                    <a:pt x="424" y="141"/>
                    <a:pt x="428" y="129"/>
                    <a:pt x="438" y="124"/>
                  </a:cubicBezTo>
                  <a:cubicBezTo>
                    <a:pt x="442" y="122"/>
                    <a:pt x="442" y="122"/>
                    <a:pt x="442" y="122"/>
                  </a:cubicBezTo>
                  <a:cubicBezTo>
                    <a:pt x="448" y="119"/>
                    <a:pt x="450" y="112"/>
                    <a:pt x="446" y="106"/>
                  </a:cubicBezTo>
                  <a:cubicBezTo>
                    <a:pt x="444" y="103"/>
                    <a:pt x="442" y="101"/>
                    <a:pt x="440" y="98"/>
                  </a:cubicBezTo>
                  <a:cubicBezTo>
                    <a:pt x="437" y="93"/>
                    <a:pt x="429" y="92"/>
                    <a:pt x="424" y="96"/>
                  </a:cubicBezTo>
                  <a:cubicBezTo>
                    <a:pt x="420" y="100"/>
                    <a:pt x="420" y="100"/>
                    <a:pt x="420" y="100"/>
                  </a:cubicBezTo>
                  <a:cubicBezTo>
                    <a:pt x="413" y="107"/>
                    <a:pt x="402" y="106"/>
                    <a:pt x="395" y="99"/>
                  </a:cubicBezTo>
                  <a:cubicBezTo>
                    <a:pt x="389" y="92"/>
                    <a:pt x="389" y="81"/>
                    <a:pt x="396" y="75"/>
                  </a:cubicBezTo>
                  <a:cubicBezTo>
                    <a:pt x="400" y="71"/>
                    <a:pt x="400" y="71"/>
                    <a:pt x="400" y="71"/>
                  </a:cubicBezTo>
                  <a:cubicBezTo>
                    <a:pt x="405" y="67"/>
                    <a:pt x="404" y="59"/>
                    <a:pt x="399" y="55"/>
                  </a:cubicBezTo>
                  <a:cubicBezTo>
                    <a:pt x="397" y="53"/>
                    <a:pt x="394" y="51"/>
                    <a:pt x="392" y="49"/>
                  </a:cubicBezTo>
                  <a:cubicBezTo>
                    <a:pt x="386" y="45"/>
                    <a:pt x="379" y="46"/>
                    <a:pt x="376" y="52"/>
                  </a:cubicBezTo>
                  <a:cubicBezTo>
                    <a:pt x="373" y="56"/>
                    <a:pt x="373" y="56"/>
                    <a:pt x="373" y="56"/>
                  </a:cubicBezTo>
                  <a:cubicBezTo>
                    <a:pt x="368" y="64"/>
                    <a:pt x="359" y="67"/>
                    <a:pt x="351" y="64"/>
                  </a:cubicBezTo>
                  <a:cubicBezTo>
                    <a:pt x="341" y="60"/>
                    <a:pt x="337" y="48"/>
                    <a:pt x="343" y="39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8" y="29"/>
                    <a:pt x="346" y="21"/>
                    <a:pt x="340" y="19"/>
                  </a:cubicBezTo>
                  <a:cubicBezTo>
                    <a:pt x="337" y="17"/>
                    <a:pt x="334" y="16"/>
                    <a:pt x="331" y="15"/>
                  </a:cubicBezTo>
                  <a:cubicBezTo>
                    <a:pt x="325" y="13"/>
                    <a:pt x="318" y="16"/>
                    <a:pt x="316" y="23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13" y="36"/>
                    <a:pt x="305" y="42"/>
                    <a:pt x="296" y="41"/>
                  </a:cubicBezTo>
                  <a:cubicBezTo>
                    <a:pt x="285" y="40"/>
                    <a:pt x="278" y="30"/>
                    <a:pt x="281" y="19"/>
                  </a:cubicBezTo>
                  <a:cubicBezTo>
                    <a:pt x="282" y="15"/>
                    <a:pt x="282" y="15"/>
                    <a:pt x="282" y="15"/>
                  </a:cubicBezTo>
                  <a:cubicBezTo>
                    <a:pt x="284" y="8"/>
                    <a:pt x="279" y="2"/>
                    <a:pt x="273" y="1"/>
                  </a:cubicBezTo>
                  <a:cubicBezTo>
                    <a:pt x="270" y="1"/>
                    <a:pt x="266" y="0"/>
                    <a:pt x="263" y="0"/>
                  </a:cubicBezTo>
                  <a:cubicBezTo>
                    <a:pt x="257" y="0"/>
                    <a:pt x="251" y="5"/>
                    <a:pt x="251" y="11"/>
                  </a:cubicBezTo>
                  <a:cubicBezTo>
                    <a:pt x="251" y="17"/>
                    <a:pt x="251" y="17"/>
                    <a:pt x="251" y="17"/>
                  </a:cubicBezTo>
                  <a:cubicBezTo>
                    <a:pt x="252" y="25"/>
                    <a:pt x="246" y="33"/>
                    <a:pt x="237" y="35"/>
                  </a:cubicBezTo>
                  <a:cubicBezTo>
                    <a:pt x="226" y="37"/>
                    <a:pt x="217" y="29"/>
                    <a:pt x="216" y="18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7"/>
                    <a:pt x="210" y="2"/>
                    <a:pt x="203" y="3"/>
                  </a:cubicBezTo>
                  <a:cubicBezTo>
                    <a:pt x="200" y="3"/>
                    <a:pt x="197" y="4"/>
                    <a:pt x="194" y="5"/>
                  </a:cubicBezTo>
                  <a:cubicBezTo>
                    <a:pt x="187" y="6"/>
                    <a:pt x="184" y="12"/>
                    <a:pt x="186" y="19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90" y="34"/>
                    <a:pt x="185" y="43"/>
                    <a:pt x="176" y="46"/>
                  </a:cubicBezTo>
                  <a:cubicBezTo>
                    <a:pt x="169" y="52"/>
                    <a:pt x="159" y="50"/>
                    <a:pt x="156" y="41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1" y="24"/>
                    <a:pt x="143" y="21"/>
                    <a:pt x="137" y="24"/>
                  </a:cubicBezTo>
                  <a:cubicBezTo>
                    <a:pt x="134" y="25"/>
                    <a:pt x="131" y="27"/>
                    <a:pt x="129" y="28"/>
                  </a:cubicBezTo>
                  <a:cubicBezTo>
                    <a:pt x="123" y="32"/>
                    <a:pt x="121" y="39"/>
                    <a:pt x="125" y="44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34" y="58"/>
                    <a:pt x="131" y="70"/>
                    <a:pt x="121" y="75"/>
                  </a:cubicBezTo>
                  <a:cubicBezTo>
                    <a:pt x="113" y="79"/>
                    <a:pt x="104" y="76"/>
                    <a:pt x="99" y="69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3" y="59"/>
                    <a:pt x="85" y="59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7" y="65"/>
                    <a:pt x="75" y="68"/>
                    <a:pt x="73" y="70"/>
                  </a:cubicBezTo>
                  <a:cubicBezTo>
                    <a:pt x="68" y="74"/>
                    <a:pt x="69" y="82"/>
                    <a:pt x="74" y="86"/>
                  </a:cubicBezTo>
                  <a:cubicBezTo>
                    <a:pt x="78" y="90"/>
                    <a:pt x="78" y="90"/>
                    <a:pt x="78" y="90"/>
                  </a:cubicBezTo>
                  <a:cubicBezTo>
                    <a:pt x="84" y="95"/>
                    <a:pt x="87" y="105"/>
                    <a:pt x="82" y="112"/>
                  </a:cubicBezTo>
                  <a:cubicBezTo>
                    <a:pt x="77" y="122"/>
                    <a:pt x="64" y="124"/>
                    <a:pt x="56" y="117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47" y="110"/>
                    <a:pt x="39" y="111"/>
                    <a:pt x="36" y="117"/>
                  </a:cubicBezTo>
                  <a:cubicBezTo>
                    <a:pt x="34" y="119"/>
                    <a:pt x="32" y="122"/>
                    <a:pt x="31" y="125"/>
                  </a:cubicBezTo>
                  <a:cubicBezTo>
                    <a:pt x="28" y="131"/>
                    <a:pt x="30" y="138"/>
                    <a:pt x="36" y="141"/>
                  </a:cubicBezTo>
                  <a:cubicBezTo>
                    <a:pt x="41" y="143"/>
                    <a:pt x="41" y="143"/>
                    <a:pt x="41" y="143"/>
                  </a:cubicBezTo>
                  <a:cubicBezTo>
                    <a:pt x="49" y="146"/>
                    <a:pt x="54" y="155"/>
                    <a:pt x="52" y="163"/>
                  </a:cubicBezTo>
                  <a:cubicBezTo>
                    <a:pt x="49" y="174"/>
                    <a:pt x="38" y="179"/>
                    <a:pt x="28" y="175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17" y="171"/>
                    <a:pt x="10" y="174"/>
                    <a:pt x="9" y="181"/>
                  </a:cubicBezTo>
                  <a:cubicBezTo>
                    <a:pt x="8" y="184"/>
                    <a:pt x="7" y="187"/>
                    <a:pt x="6" y="190"/>
                  </a:cubicBezTo>
                  <a:cubicBezTo>
                    <a:pt x="5" y="196"/>
                    <a:pt x="9" y="203"/>
                    <a:pt x="16" y="203"/>
                  </a:cubicBezTo>
                  <a:cubicBezTo>
                    <a:pt x="22" y="204"/>
                    <a:pt x="22" y="204"/>
                    <a:pt x="22" y="204"/>
                  </a:cubicBezTo>
                  <a:cubicBezTo>
                    <a:pt x="31" y="205"/>
                    <a:pt x="38" y="214"/>
                    <a:pt x="37" y="224"/>
                  </a:cubicBezTo>
                  <a:cubicBezTo>
                    <a:pt x="43" y="230"/>
                    <a:pt x="38" y="241"/>
                    <a:pt x="28" y="240"/>
                  </a:cubicBezTo>
                  <a:cubicBezTo>
                    <a:pt x="13" y="238"/>
                    <a:pt x="13" y="238"/>
                    <a:pt x="13" y="238"/>
                  </a:cubicBezTo>
                  <a:cubicBezTo>
                    <a:pt x="6" y="238"/>
                    <a:pt x="0" y="243"/>
                    <a:pt x="0" y="250"/>
                  </a:cubicBezTo>
                  <a:cubicBezTo>
                    <a:pt x="1" y="253"/>
                    <a:pt x="1" y="256"/>
                    <a:pt x="1" y="259"/>
                  </a:cubicBezTo>
                  <a:cubicBezTo>
                    <a:pt x="1" y="266"/>
                    <a:pt x="7" y="271"/>
                    <a:pt x="14" y="269"/>
                  </a:cubicBezTo>
                  <a:cubicBezTo>
                    <a:pt x="20" y="268"/>
                    <a:pt x="20" y="268"/>
                    <a:pt x="20" y="268"/>
                  </a:cubicBezTo>
                  <a:cubicBezTo>
                    <a:pt x="29" y="267"/>
                    <a:pt x="38" y="273"/>
                    <a:pt x="40" y="283"/>
                  </a:cubicBezTo>
                  <a:cubicBezTo>
                    <a:pt x="41" y="292"/>
                    <a:pt x="35" y="301"/>
                    <a:pt x="25" y="303"/>
                  </a:cubicBezTo>
                  <a:cubicBezTo>
                    <a:pt x="21" y="304"/>
                    <a:pt x="21" y="304"/>
                    <a:pt x="21" y="304"/>
                  </a:cubicBezTo>
                  <a:cubicBezTo>
                    <a:pt x="14" y="305"/>
                    <a:pt x="10" y="312"/>
                    <a:pt x="12" y="318"/>
                  </a:cubicBezTo>
                  <a:cubicBezTo>
                    <a:pt x="13" y="321"/>
                    <a:pt x="14" y="324"/>
                    <a:pt x="15" y="327"/>
                  </a:cubicBezTo>
                  <a:cubicBezTo>
                    <a:pt x="18" y="333"/>
                    <a:pt x="25" y="336"/>
                    <a:pt x="30" y="333"/>
                  </a:cubicBezTo>
                  <a:cubicBezTo>
                    <a:pt x="36" y="331"/>
                    <a:pt x="36" y="331"/>
                    <a:pt x="36" y="331"/>
                  </a:cubicBezTo>
                  <a:cubicBezTo>
                    <a:pt x="44" y="327"/>
                    <a:pt x="55" y="330"/>
                    <a:pt x="59" y="339"/>
                  </a:cubicBezTo>
                  <a:cubicBezTo>
                    <a:pt x="59" y="339"/>
                    <a:pt x="59" y="339"/>
                    <a:pt x="59" y="339"/>
                  </a:cubicBezTo>
                  <a:cubicBezTo>
                    <a:pt x="63" y="347"/>
                    <a:pt x="60" y="358"/>
                    <a:pt x="51" y="362"/>
                  </a:cubicBezTo>
                  <a:cubicBezTo>
                    <a:pt x="47" y="364"/>
                    <a:pt x="47" y="364"/>
                    <a:pt x="47" y="364"/>
                  </a:cubicBezTo>
                  <a:cubicBezTo>
                    <a:pt x="41" y="367"/>
                    <a:pt x="39" y="375"/>
                    <a:pt x="43" y="380"/>
                  </a:cubicBezTo>
                  <a:cubicBezTo>
                    <a:pt x="44" y="383"/>
                    <a:pt x="46" y="386"/>
                    <a:pt x="48" y="388"/>
                  </a:cubicBezTo>
                  <a:cubicBezTo>
                    <a:pt x="52" y="394"/>
                    <a:pt x="60" y="394"/>
                    <a:pt x="65" y="390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76" y="379"/>
                    <a:pt x="87" y="380"/>
                    <a:pt x="94" y="387"/>
                  </a:cubicBezTo>
                  <a:cubicBezTo>
                    <a:pt x="100" y="394"/>
                    <a:pt x="100" y="405"/>
                    <a:pt x="93" y="412"/>
                  </a:cubicBezTo>
                  <a:cubicBezTo>
                    <a:pt x="89" y="415"/>
                    <a:pt x="89" y="415"/>
                    <a:pt x="89" y="415"/>
                  </a:cubicBezTo>
                  <a:cubicBezTo>
                    <a:pt x="84" y="420"/>
                    <a:pt x="84" y="427"/>
                    <a:pt x="89" y="432"/>
                  </a:cubicBezTo>
                  <a:cubicBezTo>
                    <a:pt x="92" y="434"/>
                    <a:pt x="94" y="436"/>
                    <a:pt x="97" y="438"/>
                  </a:cubicBezTo>
                  <a:cubicBezTo>
                    <a:pt x="102" y="442"/>
                    <a:pt x="110" y="440"/>
                    <a:pt x="113" y="435"/>
                  </a:cubicBezTo>
                  <a:cubicBezTo>
                    <a:pt x="116" y="430"/>
                    <a:pt x="116" y="430"/>
                    <a:pt x="116" y="430"/>
                  </a:cubicBezTo>
                  <a:cubicBezTo>
                    <a:pt x="120" y="423"/>
                    <a:pt x="130" y="419"/>
                    <a:pt x="138" y="422"/>
                  </a:cubicBezTo>
                  <a:cubicBezTo>
                    <a:pt x="148" y="426"/>
                    <a:pt x="152" y="439"/>
                    <a:pt x="146" y="448"/>
                  </a:cubicBezTo>
                  <a:cubicBezTo>
                    <a:pt x="144" y="452"/>
                    <a:pt x="144" y="452"/>
                    <a:pt x="144" y="452"/>
                  </a:cubicBezTo>
                  <a:cubicBezTo>
                    <a:pt x="140" y="458"/>
                    <a:pt x="143" y="465"/>
                    <a:pt x="149" y="468"/>
                  </a:cubicBezTo>
                  <a:cubicBezTo>
                    <a:pt x="152" y="469"/>
                    <a:pt x="155" y="470"/>
                    <a:pt x="158" y="471"/>
                  </a:cubicBezTo>
                  <a:cubicBezTo>
                    <a:pt x="164" y="474"/>
                    <a:pt x="171" y="470"/>
                    <a:pt x="172" y="464"/>
                  </a:cubicBezTo>
                  <a:cubicBezTo>
                    <a:pt x="174" y="458"/>
                    <a:pt x="174" y="458"/>
                    <a:pt x="174" y="458"/>
                  </a:cubicBezTo>
                  <a:cubicBezTo>
                    <a:pt x="176" y="449"/>
                    <a:pt x="186" y="443"/>
                    <a:pt x="195" y="446"/>
                  </a:cubicBezTo>
                  <a:cubicBezTo>
                    <a:pt x="195" y="446"/>
                    <a:pt x="195" y="446"/>
                    <a:pt x="195" y="446"/>
                  </a:cubicBezTo>
                  <a:cubicBezTo>
                    <a:pt x="205" y="448"/>
                    <a:pt x="210" y="458"/>
                    <a:pt x="208" y="467"/>
                  </a:cubicBezTo>
                  <a:cubicBezTo>
                    <a:pt x="207" y="472"/>
                    <a:pt x="207" y="472"/>
                    <a:pt x="207" y="472"/>
                  </a:cubicBezTo>
                  <a:cubicBezTo>
                    <a:pt x="205" y="478"/>
                    <a:pt x="209" y="485"/>
                    <a:pt x="216" y="485"/>
                  </a:cubicBezTo>
                  <a:cubicBezTo>
                    <a:pt x="219" y="486"/>
                    <a:pt x="222" y="486"/>
                    <a:pt x="226" y="486"/>
                  </a:cubicBezTo>
                  <a:cubicBezTo>
                    <a:pt x="232" y="487"/>
                    <a:pt x="238" y="482"/>
                    <a:pt x="237" y="475"/>
                  </a:cubicBezTo>
                  <a:cubicBezTo>
                    <a:pt x="237" y="469"/>
                    <a:pt x="237" y="469"/>
                    <a:pt x="237" y="469"/>
                  </a:cubicBezTo>
                  <a:cubicBezTo>
                    <a:pt x="237" y="460"/>
                    <a:pt x="245" y="452"/>
                    <a:pt x="254" y="451"/>
                  </a:cubicBezTo>
                  <a:cubicBezTo>
                    <a:pt x="264" y="451"/>
                    <a:pt x="272" y="459"/>
                    <a:pt x="272" y="468"/>
                  </a:cubicBezTo>
                  <a:cubicBezTo>
                    <a:pt x="272" y="473"/>
                    <a:pt x="272" y="473"/>
                    <a:pt x="272" y="473"/>
                  </a:cubicBezTo>
                  <a:cubicBezTo>
                    <a:pt x="273" y="480"/>
                    <a:pt x="279" y="485"/>
                    <a:pt x="285" y="484"/>
                  </a:cubicBezTo>
                  <a:cubicBezTo>
                    <a:pt x="288" y="483"/>
                    <a:pt x="292" y="483"/>
                    <a:pt x="295" y="482"/>
                  </a:cubicBezTo>
                  <a:cubicBezTo>
                    <a:pt x="301" y="481"/>
                    <a:pt x="305" y="474"/>
                    <a:pt x="303" y="468"/>
                  </a:cubicBezTo>
                  <a:cubicBezTo>
                    <a:pt x="301" y="462"/>
                    <a:pt x="301" y="462"/>
                    <a:pt x="301" y="462"/>
                  </a:cubicBezTo>
                  <a:cubicBezTo>
                    <a:pt x="298" y="453"/>
                    <a:pt x="303" y="443"/>
                    <a:pt x="313" y="440"/>
                  </a:cubicBezTo>
                  <a:cubicBezTo>
                    <a:pt x="313" y="440"/>
                    <a:pt x="313" y="440"/>
                    <a:pt x="313" y="440"/>
                  </a:cubicBezTo>
                  <a:cubicBezTo>
                    <a:pt x="322" y="437"/>
                    <a:pt x="332" y="442"/>
                    <a:pt x="335" y="451"/>
                  </a:cubicBezTo>
                  <a:cubicBezTo>
                    <a:pt x="336" y="456"/>
                    <a:pt x="336" y="456"/>
                    <a:pt x="336" y="456"/>
                  </a:cubicBezTo>
                  <a:cubicBezTo>
                    <a:pt x="338" y="462"/>
                    <a:pt x="345" y="465"/>
                    <a:pt x="351" y="462"/>
                  </a:cubicBezTo>
                  <a:cubicBezTo>
                    <a:pt x="354" y="461"/>
                    <a:pt x="357" y="460"/>
                    <a:pt x="360" y="458"/>
                  </a:cubicBezTo>
                  <a:cubicBezTo>
                    <a:pt x="366" y="455"/>
                    <a:pt x="368" y="448"/>
                    <a:pt x="364" y="442"/>
                  </a:cubicBezTo>
                  <a:cubicBezTo>
                    <a:pt x="361" y="437"/>
                    <a:pt x="361" y="437"/>
                    <a:pt x="361" y="437"/>
                  </a:cubicBezTo>
                  <a:cubicBezTo>
                    <a:pt x="355" y="429"/>
                    <a:pt x="357" y="418"/>
                    <a:pt x="365" y="413"/>
                  </a:cubicBezTo>
                  <a:cubicBezTo>
                    <a:pt x="373" y="407"/>
                    <a:pt x="384" y="410"/>
                    <a:pt x="390" y="417"/>
                  </a:cubicBezTo>
                  <a:cubicBezTo>
                    <a:pt x="392" y="421"/>
                    <a:pt x="392" y="421"/>
                    <a:pt x="392" y="421"/>
                  </a:cubicBezTo>
                  <a:cubicBezTo>
                    <a:pt x="396" y="427"/>
                    <a:pt x="404" y="428"/>
                    <a:pt x="409" y="423"/>
                  </a:cubicBezTo>
                  <a:cubicBezTo>
                    <a:pt x="409" y="423"/>
                    <a:pt x="409" y="423"/>
                    <a:pt x="409" y="423"/>
                  </a:cubicBezTo>
                  <a:cubicBezTo>
                    <a:pt x="411" y="421"/>
                    <a:pt x="414" y="419"/>
                    <a:pt x="416" y="417"/>
                  </a:cubicBezTo>
                  <a:cubicBezTo>
                    <a:pt x="421" y="412"/>
                    <a:pt x="420" y="404"/>
                    <a:pt x="415" y="400"/>
                  </a:cubicBezTo>
                  <a:cubicBezTo>
                    <a:pt x="411" y="397"/>
                    <a:pt x="411" y="397"/>
                    <a:pt x="411" y="397"/>
                  </a:cubicBezTo>
                  <a:cubicBezTo>
                    <a:pt x="403" y="390"/>
                    <a:pt x="402" y="379"/>
                    <a:pt x="408" y="372"/>
                  </a:cubicBezTo>
                  <a:cubicBezTo>
                    <a:pt x="414" y="364"/>
                    <a:pt x="425" y="363"/>
                    <a:pt x="433" y="370"/>
                  </a:cubicBezTo>
                  <a:cubicBezTo>
                    <a:pt x="437" y="373"/>
                    <a:pt x="437" y="373"/>
                    <a:pt x="437" y="373"/>
                  </a:cubicBezTo>
                  <a:cubicBezTo>
                    <a:pt x="442" y="377"/>
                    <a:pt x="449" y="376"/>
                    <a:pt x="453" y="370"/>
                  </a:cubicBezTo>
                  <a:cubicBezTo>
                    <a:pt x="455" y="367"/>
                    <a:pt x="456" y="364"/>
                    <a:pt x="458" y="361"/>
                  </a:cubicBezTo>
                  <a:cubicBezTo>
                    <a:pt x="461" y="356"/>
                    <a:pt x="459" y="348"/>
                    <a:pt x="453" y="346"/>
                  </a:cubicBezTo>
                  <a:cubicBezTo>
                    <a:pt x="447" y="344"/>
                    <a:pt x="447" y="344"/>
                    <a:pt x="447" y="344"/>
                  </a:cubicBezTo>
                  <a:cubicBezTo>
                    <a:pt x="438" y="340"/>
                    <a:pt x="434" y="329"/>
                    <a:pt x="438" y="321"/>
                  </a:cubicBezTo>
                  <a:cubicBezTo>
                    <a:pt x="442" y="312"/>
                    <a:pt x="452" y="308"/>
                    <a:pt x="461" y="311"/>
                  </a:cubicBezTo>
                  <a:cubicBezTo>
                    <a:pt x="465" y="313"/>
                    <a:pt x="465" y="313"/>
                    <a:pt x="465" y="313"/>
                  </a:cubicBezTo>
                  <a:cubicBezTo>
                    <a:pt x="471" y="316"/>
                    <a:pt x="478" y="312"/>
                    <a:pt x="480" y="306"/>
                  </a:cubicBezTo>
                  <a:cubicBezTo>
                    <a:pt x="481" y="303"/>
                    <a:pt x="482" y="300"/>
                    <a:pt x="482" y="296"/>
                  </a:cubicBezTo>
                  <a:cubicBezTo>
                    <a:pt x="484" y="290"/>
                    <a:pt x="479" y="284"/>
                    <a:pt x="473" y="283"/>
                  </a:cubicBezTo>
                  <a:cubicBezTo>
                    <a:pt x="467" y="282"/>
                    <a:pt x="467" y="282"/>
                    <a:pt x="467" y="282"/>
                  </a:cubicBezTo>
                  <a:cubicBezTo>
                    <a:pt x="458" y="281"/>
                    <a:pt x="451" y="272"/>
                    <a:pt x="452" y="263"/>
                  </a:cubicBezTo>
                  <a:cubicBezTo>
                    <a:pt x="446" y="256"/>
                    <a:pt x="451" y="245"/>
                    <a:pt x="460" y="246"/>
                  </a:cubicBezTo>
                  <a:close/>
                  <a:moveTo>
                    <a:pt x="244" y="412"/>
                  </a:moveTo>
                  <a:cubicBezTo>
                    <a:pt x="151" y="412"/>
                    <a:pt x="75" y="336"/>
                    <a:pt x="75" y="243"/>
                  </a:cubicBezTo>
                  <a:cubicBezTo>
                    <a:pt x="75" y="150"/>
                    <a:pt x="151" y="74"/>
                    <a:pt x="244" y="74"/>
                  </a:cubicBezTo>
                  <a:cubicBezTo>
                    <a:pt x="338" y="74"/>
                    <a:pt x="413" y="150"/>
                    <a:pt x="413" y="243"/>
                  </a:cubicBezTo>
                  <a:cubicBezTo>
                    <a:pt x="413" y="336"/>
                    <a:pt x="338" y="412"/>
                    <a:pt x="244" y="4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0" name="Oval 6"/>
            <p:cNvSpPr>
              <a:spLocks noChangeArrowheads="1"/>
            </p:cNvSpPr>
            <p:nvPr/>
          </p:nvSpPr>
          <p:spPr bwMode="auto">
            <a:xfrm>
              <a:off x="1839913" y="3021013"/>
              <a:ext cx="819150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6546634" y="4533034"/>
            <a:ext cx="3675888" cy="3675888"/>
            <a:chOff x="1327150" y="2514600"/>
            <a:chExt cx="1839913" cy="1839913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1327150" y="2514600"/>
              <a:ext cx="1839913" cy="1839913"/>
            </a:xfrm>
            <a:custGeom>
              <a:avLst/>
              <a:gdLst>
                <a:gd name="T0" fmla="*/ 488 w 488"/>
                <a:gd name="T1" fmla="*/ 237 h 487"/>
                <a:gd name="T2" fmla="*/ 470 w 488"/>
                <a:gd name="T3" fmla="*/ 218 h 487"/>
                <a:gd name="T4" fmla="*/ 468 w 488"/>
                <a:gd name="T5" fmla="*/ 183 h 487"/>
                <a:gd name="T6" fmla="*/ 458 w 488"/>
                <a:gd name="T7" fmla="*/ 153 h 487"/>
                <a:gd name="T8" fmla="*/ 438 w 488"/>
                <a:gd name="T9" fmla="*/ 124 h 487"/>
                <a:gd name="T10" fmla="*/ 440 w 488"/>
                <a:gd name="T11" fmla="*/ 98 h 487"/>
                <a:gd name="T12" fmla="*/ 395 w 488"/>
                <a:gd name="T13" fmla="*/ 99 h 487"/>
                <a:gd name="T14" fmla="*/ 399 w 488"/>
                <a:gd name="T15" fmla="*/ 55 h 487"/>
                <a:gd name="T16" fmla="*/ 373 w 488"/>
                <a:gd name="T17" fmla="*/ 56 h 487"/>
                <a:gd name="T18" fmla="*/ 345 w 488"/>
                <a:gd name="T19" fmla="*/ 35 h 487"/>
                <a:gd name="T20" fmla="*/ 316 w 488"/>
                <a:gd name="T21" fmla="*/ 23 h 487"/>
                <a:gd name="T22" fmla="*/ 281 w 488"/>
                <a:gd name="T23" fmla="*/ 19 h 487"/>
                <a:gd name="T24" fmla="*/ 263 w 488"/>
                <a:gd name="T25" fmla="*/ 0 h 487"/>
                <a:gd name="T26" fmla="*/ 237 w 488"/>
                <a:gd name="T27" fmla="*/ 35 h 487"/>
                <a:gd name="T28" fmla="*/ 203 w 488"/>
                <a:gd name="T29" fmla="*/ 3 h 487"/>
                <a:gd name="T30" fmla="*/ 187 w 488"/>
                <a:gd name="T31" fmla="*/ 24 h 487"/>
                <a:gd name="T32" fmla="*/ 153 w 488"/>
                <a:gd name="T33" fmla="*/ 30 h 487"/>
                <a:gd name="T34" fmla="*/ 125 w 488"/>
                <a:gd name="T35" fmla="*/ 44 h 487"/>
                <a:gd name="T36" fmla="*/ 99 w 488"/>
                <a:gd name="T37" fmla="*/ 69 h 487"/>
                <a:gd name="T38" fmla="*/ 80 w 488"/>
                <a:gd name="T39" fmla="*/ 63 h 487"/>
                <a:gd name="T40" fmla="*/ 78 w 488"/>
                <a:gd name="T41" fmla="*/ 90 h 487"/>
                <a:gd name="T42" fmla="*/ 52 w 488"/>
                <a:gd name="T43" fmla="*/ 114 h 487"/>
                <a:gd name="T44" fmla="*/ 36 w 488"/>
                <a:gd name="T45" fmla="*/ 141 h 487"/>
                <a:gd name="T46" fmla="*/ 28 w 488"/>
                <a:gd name="T47" fmla="*/ 175 h 487"/>
                <a:gd name="T48" fmla="*/ 6 w 488"/>
                <a:gd name="T49" fmla="*/ 190 h 487"/>
                <a:gd name="T50" fmla="*/ 37 w 488"/>
                <a:gd name="T51" fmla="*/ 224 h 487"/>
                <a:gd name="T52" fmla="*/ 0 w 488"/>
                <a:gd name="T53" fmla="*/ 250 h 487"/>
                <a:gd name="T54" fmla="*/ 20 w 488"/>
                <a:gd name="T55" fmla="*/ 268 h 487"/>
                <a:gd name="T56" fmla="*/ 21 w 488"/>
                <a:gd name="T57" fmla="*/ 304 h 487"/>
                <a:gd name="T58" fmla="*/ 30 w 488"/>
                <a:gd name="T59" fmla="*/ 333 h 487"/>
                <a:gd name="T60" fmla="*/ 59 w 488"/>
                <a:gd name="T61" fmla="*/ 339 h 487"/>
                <a:gd name="T62" fmla="*/ 43 w 488"/>
                <a:gd name="T63" fmla="*/ 380 h 487"/>
                <a:gd name="T64" fmla="*/ 69 w 488"/>
                <a:gd name="T65" fmla="*/ 386 h 487"/>
                <a:gd name="T66" fmla="*/ 89 w 488"/>
                <a:gd name="T67" fmla="*/ 415 h 487"/>
                <a:gd name="T68" fmla="*/ 113 w 488"/>
                <a:gd name="T69" fmla="*/ 435 h 487"/>
                <a:gd name="T70" fmla="*/ 146 w 488"/>
                <a:gd name="T71" fmla="*/ 448 h 487"/>
                <a:gd name="T72" fmla="*/ 158 w 488"/>
                <a:gd name="T73" fmla="*/ 471 h 487"/>
                <a:gd name="T74" fmla="*/ 195 w 488"/>
                <a:gd name="T75" fmla="*/ 446 h 487"/>
                <a:gd name="T76" fmla="*/ 207 w 488"/>
                <a:gd name="T77" fmla="*/ 472 h 487"/>
                <a:gd name="T78" fmla="*/ 237 w 488"/>
                <a:gd name="T79" fmla="*/ 475 h 487"/>
                <a:gd name="T80" fmla="*/ 272 w 488"/>
                <a:gd name="T81" fmla="*/ 468 h 487"/>
                <a:gd name="T82" fmla="*/ 295 w 488"/>
                <a:gd name="T83" fmla="*/ 482 h 487"/>
                <a:gd name="T84" fmla="*/ 313 w 488"/>
                <a:gd name="T85" fmla="*/ 440 h 487"/>
                <a:gd name="T86" fmla="*/ 336 w 488"/>
                <a:gd name="T87" fmla="*/ 456 h 487"/>
                <a:gd name="T88" fmla="*/ 364 w 488"/>
                <a:gd name="T89" fmla="*/ 442 h 487"/>
                <a:gd name="T90" fmla="*/ 390 w 488"/>
                <a:gd name="T91" fmla="*/ 417 h 487"/>
                <a:gd name="T92" fmla="*/ 409 w 488"/>
                <a:gd name="T93" fmla="*/ 423 h 487"/>
                <a:gd name="T94" fmla="*/ 411 w 488"/>
                <a:gd name="T95" fmla="*/ 397 h 487"/>
                <a:gd name="T96" fmla="*/ 437 w 488"/>
                <a:gd name="T97" fmla="*/ 373 h 487"/>
                <a:gd name="T98" fmla="*/ 453 w 488"/>
                <a:gd name="T99" fmla="*/ 346 h 487"/>
                <a:gd name="T100" fmla="*/ 461 w 488"/>
                <a:gd name="T101" fmla="*/ 311 h 487"/>
                <a:gd name="T102" fmla="*/ 482 w 488"/>
                <a:gd name="T103" fmla="*/ 296 h 487"/>
                <a:gd name="T104" fmla="*/ 452 w 488"/>
                <a:gd name="T105" fmla="*/ 263 h 487"/>
                <a:gd name="T106" fmla="*/ 75 w 488"/>
                <a:gd name="T107" fmla="*/ 243 h 487"/>
                <a:gd name="T108" fmla="*/ 244 w 488"/>
                <a:gd name="T109" fmla="*/ 41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8" h="487">
                  <a:moveTo>
                    <a:pt x="460" y="246"/>
                  </a:moveTo>
                  <a:cubicBezTo>
                    <a:pt x="476" y="248"/>
                    <a:pt x="476" y="248"/>
                    <a:pt x="476" y="248"/>
                  </a:cubicBezTo>
                  <a:cubicBezTo>
                    <a:pt x="483" y="249"/>
                    <a:pt x="488" y="244"/>
                    <a:pt x="488" y="237"/>
                  </a:cubicBezTo>
                  <a:cubicBezTo>
                    <a:pt x="488" y="234"/>
                    <a:pt x="488" y="230"/>
                    <a:pt x="488" y="227"/>
                  </a:cubicBezTo>
                  <a:cubicBezTo>
                    <a:pt x="487" y="221"/>
                    <a:pt x="481" y="216"/>
                    <a:pt x="475" y="217"/>
                  </a:cubicBezTo>
                  <a:cubicBezTo>
                    <a:pt x="470" y="218"/>
                    <a:pt x="470" y="218"/>
                    <a:pt x="470" y="218"/>
                  </a:cubicBezTo>
                  <a:cubicBezTo>
                    <a:pt x="461" y="219"/>
                    <a:pt x="452" y="215"/>
                    <a:pt x="450" y="207"/>
                  </a:cubicBezTo>
                  <a:cubicBezTo>
                    <a:pt x="446" y="196"/>
                    <a:pt x="453" y="185"/>
                    <a:pt x="463" y="183"/>
                  </a:cubicBezTo>
                  <a:cubicBezTo>
                    <a:pt x="468" y="183"/>
                    <a:pt x="468" y="183"/>
                    <a:pt x="468" y="183"/>
                  </a:cubicBezTo>
                  <a:cubicBezTo>
                    <a:pt x="475" y="182"/>
                    <a:pt x="479" y="175"/>
                    <a:pt x="477" y="168"/>
                  </a:cubicBezTo>
                  <a:cubicBezTo>
                    <a:pt x="476" y="165"/>
                    <a:pt x="475" y="162"/>
                    <a:pt x="473" y="159"/>
                  </a:cubicBezTo>
                  <a:cubicBezTo>
                    <a:pt x="471" y="153"/>
                    <a:pt x="464" y="150"/>
                    <a:pt x="458" y="153"/>
                  </a:cubicBezTo>
                  <a:cubicBezTo>
                    <a:pt x="453" y="156"/>
                    <a:pt x="453" y="156"/>
                    <a:pt x="453" y="156"/>
                  </a:cubicBezTo>
                  <a:cubicBezTo>
                    <a:pt x="446" y="159"/>
                    <a:pt x="436" y="157"/>
                    <a:pt x="431" y="150"/>
                  </a:cubicBezTo>
                  <a:cubicBezTo>
                    <a:pt x="424" y="141"/>
                    <a:pt x="428" y="129"/>
                    <a:pt x="438" y="124"/>
                  </a:cubicBezTo>
                  <a:cubicBezTo>
                    <a:pt x="442" y="122"/>
                    <a:pt x="442" y="122"/>
                    <a:pt x="442" y="122"/>
                  </a:cubicBezTo>
                  <a:cubicBezTo>
                    <a:pt x="448" y="119"/>
                    <a:pt x="450" y="112"/>
                    <a:pt x="446" y="106"/>
                  </a:cubicBezTo>
                  <a:cubicBezTo>
                    <a:pt x="444" y="103"/>
                    <a:pt x="442" y="101"/>
                    <a:pt x="440" y="98"/>
                  </a:cubicBezTo>
                  <a:cubicBezTo>
                    <a:pt x="437" y="93"/>
                    <a:pt x="429" y="92"/>
                    <a:pt x="424" y="96"/>
                  </a:cubicBezTo>
                  <a:cubicBezTo>
                    <a:pt x="420" y="100"/>
                    <a:pt x="420" y="100"/>
                    <a:pt x="420" y="100"/>
                  </a:cubicBezTo>
                  <a:cubicBezTo>
                    <a:pt x="413" y="107"/>
                    <a:pt x="402" y="106"/>
                    <a:pt x="395" y="99"/>
                  </a:cubicBezTo>
                  <a:cubicBezTo>
                    <a:pt x="389" y="92"/>
                    <a:pt x="389" y="81"/>
                    <a:pt x="396" y="75"/>
                  </a:cubicBezTo>
                  <a:cubicBezTo>
                    <a:pt x="400" y="71"/>
                    <a:pt x="400" y="71"/>
                    <a:pt x="400" y="71"/>
                  </a:cubicBezTo>
                  <a:cubicBezTo>
                    <a:pt x="405" y="67"/>
                    <a:pt x="404" y="59"/>
                    <a:pt x="399" y="55"/>
                  </a:cubicBezTo>
                  <a:cubicBezTo>
                    <a:pt x="397" y="53"/>
                    <a:pt x="394" y="51"/>
                    <a:pt x="392" y="49"/>
                  </a:cubicBezTo>
                  <a:cubicBezTo>
                    <a:pt x="386" y="45"/>
                    <a:pt x="379" y="46"/>
                    <a:pt x="376" y="52"/>
                  </a:cubicBezTo>
                  <a:cubicBezTo>
                    <a:pt x="373" y="56"/>
                    <a:pt x="373" y="56"/>
                    <a:pt x="373" y="56"/>
                  </a:cubicBezTo>
                  <a:cubicBezTo>
                    <a:pt x="368" y="64"/>
                    <a:pt x="359" y="67"/>
                    <a:pt x="351" y="64"/>
                  </a:cubicBezTo>
                  <a:cubicBezTo>
                    <a:pt x="341" y="60"/>
                    <a:pt x="337" y="48"/>
                    <a:pt x="343" y="39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8" y="29"/>
                    <a:pt x="346" y="21"/>
                    <a:pt x="340" y="19"/>
                  </a:cubicBezTo>
                  <a:cubicBezTo>
                    <a:pt x="337" y="17"/>
                    <a:pt x="334" y="16"/>
                    <a:pt x="331" y="15"/>
                  </a:cubicBezTo>
                  <a:cubicBezTo>
                    <a:pt x="325" y="13"/>
                    <a:pt x="318" y="16"/>
                    <a:pt x="316" y="23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13" y="36"/>
                    <a:pt x="305" y="42"/>
                    <a:pt x="296" y="41"/>
                  </a:cubicBezTo>
                  <a:cubicBezTo>
                    <a:pt x="285" y="40"/>
                    <a:pt x="278" y="30"/>
                    <a:pt x="281" y="19"/>
                  </a:cubicBezTo>
                  <a:cubicBezTo>
                    <a:pt x="282" y="15"/>
                    <a:pt x="282" y="15"/>
                    <a:pt x="282" y="15"/>
                  </a:cubicBezTo>
                  <a:cubicBezTo>
                    <a:pt x="284" y="8"/>
                    <a:pt x="279" y="2"/>
                    <a:pt x="273" y="1"/>
                  </a:cubicBezTo>
                  <a:cubicBezTo>
                    <a:pt x="270" y="1"/>
                    <a:pt x="266" y="0"/>
                    <a:pt x="263" y="0"/>
                  </a:cubicBezTo>
                  <a:cubicBezTo>
                    <a:pt x="257" y="0"/>
                    <a:pt x="251" y="5"/>
                    <a:pt x="251" y="11"/>
                  </a:cubicBezTo>
                  <a:cubicBezTo>
                    <a:pt x="251" y="17"/>
                    <a:pt x="251" y="17"/>
                    <a:pt x="251" y="17"/>
                  </a:cubicBezTo>
                  <a:cubicBezTo>
                    <a:pt x="252" y="25"/>
                    <a:pt x="246" y="33"/>
                    <a:pt x="237" y="35"/>
                  </a:cubicBezTo>
                  <a:cubicBezTo>
                    <a:pt x="226" y="37"/>
                    <a:pt x="217" y="29"/>
                    <a:pt x="216" y="18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7"/>
                    <a:pt x="210" y="2"/>
                    <a:pt x="203" y="3"/>
                  </a:cubicBezTo>
                  <a:cubicBezTo>
                    <a:pt x="200" y="3"/>
                    <a:pt x="197" y="4"/>
                    <a:pt x="194" y="5"/>
                  </a:cubicBezTo>
                  <a:cubicBezTo>
                    <a:pt x="187" y="6"/>
                    <a:pt x="184" y="12"/>
                    <a:pt x="186" y="19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90" y="34"/>
                    <a:pt x="185" y="43"/>
                    <a:pt x="176" y="46"/>
                  </a:cubicBezTo>
                  <a:cubicBezTo>
                    <a:pt x="169" y="52"/>
                    <a:pt x="159" y="50"/>
                    <a:pt x="156" y="41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1" y="24"/>
                    <a:pt x="143" y="21"/>
                    <a:pt x="137" y="24"/>
                  </a:cubicBezTo>
                  <a:cubicBezTo>
                    <a:pt x="134" y="25"/>
                    <a:pt x="131" y="27"/>
                    <a:pt x="129" y="28"/>
                  </a:cubicBezTo>
                  <a:cubicBezTo>
                    <a:pt x="123" y="32"/>
                    <a:pt x="121" y="39"/>
                    <a:pt x="125" y="44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34" y="58"/>
                    <a:pt x="131" y="70"/>
                    <a:pt x="121" y="75"/>
                  </a:cubicBezTo>
                  <a:cubicBezTo>
                    <a:pt x="113" y="79"/>
                    <a:pt x="104" y="76"/>
                    <a:pt x="99" y="69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3" y="59"/>
                    <a:pt x="85" y="59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7" y="65"/>
                    <a:pt x="75" y="68"/>
                    <a:pt x="73" y="70"/>
                  </a:cubicBezTo>
                  <a:cubicBezTo>
                    <a:pt x="68" y="74"/>
                    <a:pt x="69" y="82"/>
                    <a:pt x="74" y="86"/>
                  </a:cubicBezTo>
                  <a:cubicBezTo>
                    <a:pt x="78" y="90"/>
                    <a:pt x="78" y="90"/>
                    <a:pt x="78" y="90"/>
                  </a:cubicBezTo>
                  <a:cubicBezTo>
                    <a:pt x="84" y="95"/>
                    <a:pt x="87" y="105"/>
                    <a:pt x="82" y="112"/>
                  </a:cubicBezTo>
                  <a:cubicBezTo>
                    <a:pt x="77" y="122"/>
                    <a:pt x="64" y="124"/>
                    <a:pt x="56" y="117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47" y="110"/>
                    <a:pt x="39" y="111"/>
                    <a:pt x="36" y="117"/>
                  </a:cubicBezTo>
                  <a:cubicBezTo>
                    <a:pt x="34" y="119"/>
                    <a:pt x="32" y="122"/>
                    <a:pt x="31" y="125"/>
                  </a:cubicBezTo>
                  <a:cubicBezTo>
                    <a:pt x="28" y="131"/>
                    <a:pt x="30" y="138"/>
                    <a:pt x="36" y="141"/>
                  </a:cubicBezTo>
                  <a:cubicBezTo>
                    <a:pt x="41" y="143"/>
                    <a:pt x="41" y="143"/>
                    <a:pt x="41" y="143"/>
                  </a:cubicBezTo>
                  <a:cubicBezTo>
                    <a:pt x="49" y="146"/>
                    <a:pt x="54" y="155"/>
                    <a:pt x="52" y="163"/>
                  </a:cubicBezTo>
                  <a:cubicBezTo>
                    <a:pt x="49" y="174"/>
                    <a:pt x="38" y="179"/>
                    <a:pt x="28" y="175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17" y="171"/>
                    <a:pt x="10" y="174"/>
                    <a:pt x="9" y="181"/>
                  </a:cubicBezTo>
                  <a:cubicBezTo>
                    <a:pt x="8" y="184"/>
                    <a:pt x="7" y="187"/>
                    <a:pt x="6" y="190"/>
                  </a:cubicBezTo>
                  <a:cubicBezTo>
                    <a:pt x="5" y="196"/>
                    <a:pt x="9" y="203"/>
                    <a:pt x="16" y="203"/>
                  </a:cubicBezTo>
                  <a:cubicBezTo>
                    <a:pt x="22" y="204"/>
                    <a:pt x="22" y="204"/>
                    <a:pt x="22" y="204"/>
                  </a:cubicBezTo>
                  <a:cubicBezTo>
                    <a:pt x="31" y="205"/>
                    <a:pt x="38" y="214"/>
                    <a:pt x="37" y="224"/>
                  </a:cubicBezTo>
                  <a:cubicBezTo>
                    <a:pt x="43" y="230"/>
                    <a:pt x="38" y="241"/>
                    <a:pt x="28" y="240"/>
                  </a:cubicBezTo>
                  <a:cubicBezTo>
                    <a:pt x="13" y="238"/>
                    <a:pt x="13" y="238"/>
                    <a:pt x="13" y="238"/>
                  </a:cubicBezTo>
                  <a:cubicBezTo>
                    <a:pt x="6" y="238"/>
                    <a:pt x="0" y="243"/>
                    <a:pt x="0" y="250"/>
                  </a:cubicBezTo>
                  <a:cubicBezTo>
                    <a:pt x="1" y="253"/>
                    <a:pt x="1" y="256"/>
                    <a:pt x="1" y="259"/>
                  </a:cubicBezTo>
                  <a:cubicBezTo>
                    <a:pt x="1" y="266"/>
                    <a:pt x="7" y="271"/>
                    <a:pt x="14" y="269"/>
                  </a:cubicBezTo>
                  <a:cubicBezTo>
                    <a:pt x="20" y="268"/>
                    <a:pt x="20" y="268"/>
                    <a:pt x="20" y="268"/>
                  </a:cubicBezTo>
                  <a:cubicBezTo>
                    <a:pt x="29" y="267"/>
                    <a:pt x="38" y="273"/>
                    <a:pt x="40" y="283"/>
                  </a:cubicBezTo>
                  <a:cubicBezTo>
                    <a:pt x="41" y="292"/>
                    <a:pt x="35" y="301"/>
                    <a:pt x="25" y="303"/>
                  </a:cubicBezTo>
                  <a:cubicBezTo>
                    <a:pt x="21" y="304"/>
                    <a:pt x="21" y="304"/>
                    <a:pt x="21" y="304"/>
                  </a:cubicBezTo>
                  <a:cubicBezTo>
                    <a:pt x="14" y="305"/>
                    <a:pt x="10" y="312"/>
                    <a:pt x="12" y="318"/>
                  </a:cubicBezTo>
                  <a:cubicBezTo>
                    <a:pt x="13" y="321"/>
                    <a:pt x="14" y="324"/>
                    <a:pt x="15" y="327"/>
                  </a:cubicBezTo>
                  <a:cubicBezTo>
                    <a:pt x="18" y="333"/>
                    <a:pt x="25" y="336"/>
                    <a:pt x="30" y="333"/>
                  </a:cubicBezTo>
                  <a:cubicBezTo>
                    <a:pt x="36" y="331"/>
                    <a:pt x="36" y="331"/>
                    <a:pt x="36" y="331"/>
                  </a:cubicBezTo>
                  <a:cubicBezTo>
                    <a:pt x="44" y="327"/>
                    <a:pt x="55" y="330"/>
                    <a:pt x="59" y="339"/>
                  </a:cubicBezTo>
                  <a:cubicBezTo>
                    <a:pt x="59" y="339"/>
                    <a:pt x="59" y="339"/>
                    <a:pt x="59" y="339"/>
                  </a:cubicBezTo>
                  <a:cubicBezTo>
                    <a:pt x="63" y="347"/>
                    <a:pt x="60" y="358"/>
                    <a:pt x="51" y="362"/>
                  </a:cubicBezTo>
                  <a:cubicBezTo>
                    <a:pt x="47" y="364"/>
                    <a:pt x="47" y="364"/>
                    <a:pt x="47" y="364"/>
                  </a:cubicBezTo>
                  <a:cubicBezTo>
                    <a:pt x="41" y="367"/>
                    <a:pt x="39" y="375"/>
                    <a:pt x="43" y="380"/>
                  </a:cubicBezTo>
                  <a:cubicBezTo>
                    <a:pt x="44" y="383"/>
                    <a:pt x="46" y="386"/>
                    <a:pt x="48" y="388"/>
                  </a:cubicBezTo>
                  <a:cubicBezTo>
                    <a:pt x="52" y="394"/>
                    <a:pt x="60" y="394"/>
                    <a:pt x="65" y="390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76" y="379"/>
                    <a:pt x="87" y="380"/>
                    <a:pt x="94" y="387"/>
                  </a:cubicBezTo>
                  <a:cubicBezTo>
                    <a:pt x="100" y="394"/>
                    <a:pt x="100" y="405"/>
                    <a:pt x="93" y="412"/>
                  </a:cubicBezTo>
                  <a:cubicBezTo>
                    <a:pt x="89" y="415"/>
                    <a:pt x="89" y="415"/>
                    <a:pt x="89" y="415"/>
                  </a:cubicBezTo>
                  <a:cubicBezTo>
                    <a:pt x="84" y="420"/>
                    <a:pt x="84" y="427"/>
                    <a:pt x="89" y="432"/>
                  </a:cubicBezTo>
                  <a:cubicBezTo>
                    <a:pt x="92" y="434"/>
                    <a:pt x="94" y="436"/>
                    <a:pt x="97" y="438"/>
                  </a:cubicBezTo>
                  <a:cubicBezTo>
                    <a:pt x="102" y="442"/>
                    <a:pt x="110" y="440"/>
                    <a:pt x="113" y="435"/>
                  </a:cubicBezTo>
                  <a:cubicBezTo>
                    <a:pt x="116" y="430"/>
                    <a:pt x="116" y="430"/>
                    <a:pt x="116" y="430"/>
                  </a:cubicBezTo>
                  <a:cubicBezTo>
                    <a:pt x="120" y="423"/>
                    <a:pt x="130" y="419"/>
                    <a:pt x="138" y="422"/>
                  </a:cubicBezTo>
                  <a:cubicBezTo>
                    <a:pt x="148" y="426"/>
                    <a:pt x="152" y="439"/>
                    <a:pt x="146" y="448"/>
                  </a:cubicBezTo>
                  <a:cubicBezTo>
                    <a:pt x="144" y="452"/>
                    <a:pt x="144" y="452"/>
                    <a:pt x="144" y="452"/>
                  </a:cubicBezTo>
                  <a:cubicBezTo>
                    <a:pt x="140" y="458"/>
                    <a:pt x="143" y="465"/>
                    <a:pt x="149" y="468"/>
                  </a:cubicBezTo>
                  <a:cubicBezTo>
                    <a:pt x="152" y="469"/>
                    <a:pt x="155" y="470"/>
                    <a:pt x="158" y="471"/>
                  </a:cubicBezTo>
                  <a:cubicBezTo>
                    <a:pt x="164" y="474"/>
                    <a:pt x="171" y="470"/>
                    <a:pt x="172" y="464"/>
                  </a:cubicBezTo>
                  <a:cubicBezTo>
                    <a:pt x="174" y="458"/>
                    <a:pt x="174" y="458"/>
                    <a:pt x="174" y="458"/>
                  </a:cubicBezTo>
                  <a:cubicBezTo>
                    <a:pt x="176" y="449"/>
                    <a:pt x="186" y="443"/>
                    <a:pt x="195" y="446"/>
                  </a:cubicBezTo>
                  <a:cubicBezTo>
                    <a:pt x="195" y="446"/>
                    <a:pt x="195" y="446"/>
                    <a:pt x="195" y="446"/>
                  </a:cubicBezTo>
                  <a:cubicBezTo>
                    <a:pt x="205" y="448"/>
                    <a:pt x="210" y="458"/>
                    <a:pt x="208" y="467"/>
                  </a:cubicBezTo>
                  <a:cubicBezTo>
                    <a:pt x="207" y="472"/>
                    <a:pt x="207" y="472"/>
                    <a:pt x="207" y="472"/>
                  </a:cubicBezTo>
                  <a:cubicBezTo>
                    <a:pt x="205" y="478"/>
                    <a:pt x="209" y="485"/>
                    <a:pt x="216" y="485"/>
                  </a:cubicBezTo>
                  <a:cubicBezTo>
                    <a:pt x="219" y="486"/>
                    <a:pt x="222" y="486"/>
                    <a:pt x="226" y="486"/>
                  </a:cubicBezTo>
                  <a:cubicBezTo>
                    <a:pt x="232" y="487"/>
                    <a:pt x="238" y="482"/>
                    <a:pt x="237" y="475"/>
                  </a:cubicBezTo>
                  <a:cubicBezTo>
                    <a:pt x="237" y="469"/>
                    <a:pt x="237" y="469"/>
                    <a:pt x="237" y="469"/>
                  </a:cubicBezTo>
                  <a:cubicBezTo>
                    <a:pt x="237" y="460"/>
                    <a:pt x="245" y="452"/>
                    <a:pt x="254" y="451"/>
                  </a:cubicBezTo>
                  <a:cubicBezTo>
                    <a:pt x="264" y="451"/>
                    <a:pt x="272" y="459"/>
                    <a:pt x="272" y="468"/>
                  </a:cubicBezTo>
                  <a:cubicBezTo>
                    <a:pt x="272" y="473"/>
                    <a:pt x="272" y="473"/>
                    <a:pt x="272" y="473"/>
                  </a:cubicBezTo>
                  <a:cubicBezTo>
                    <a:pt x="273" y="480"/>
                    <a:pt x="279" y="485"/>
                    <a:pt x="285" y="484"/>
                  </a:cubicBezTo>
                  <a:cubicBezTo>
                    <a:pt x="288" y="483"/>
                    <a:pt x="292" y="483"/>
                    <a:pt x="295" y="482"/>
                  </a:cubicBezTo>
                  <a:cubicBezTo>
                    <a:pt x="301" y="481"/>
                    <a:pt x="305" y="474"/>
                    <a:pt x="303" y="468"/>
                  </a:cubicBezTo>
                  <a:cubicBezTo>
                    <a:pt x="301" y="462"/>
                    <a:pt x="301" y="462"/>
                    <a:pt x="301" y="462"/>
                  </a:cubicBezTo>
                  <a:cubicBezTo>
                    <a:pt x="298" y="453"/>
                    <a:pt x="303" y="443"/>
                    <a:pt x="313" y="440"/>
                  </a:cubicBezTo>
                  <a:cubicBezTo>
                    <a:pt x="313" y="440"/>
                    <a:pt x="313" y="440"/>
                    <a:pt x="313" y="440"/>
                  </a:cubicBezTo>
                  <a:cubicBezTo>
                    <a:pt x="322" y="437"/>
                    <a:pt x="332" y="442"/>
                    <a:pt x="335" y="451"/>
                  </a:cubicBezTo>
                  <a:cubicBezTo>
                    <a:pt x="336" y="456"/>
                    <a:pt x="336" y="456"/>
                    <a:pt x="336" y="456"/>
                  </a:cubicBezTo>
                  <a:cubicBezTo>
                    <a:pt x="338" y="462"/>
                    <a:pt x="345" y="465"/>
                    <a:pt x="351" y="462"/>
                  </a:cubicBezTo>
                  <a:cubicBezTo>
                    <a:pt x="354" y="461"/>
                    <a:pt x="357" y="460"/>
                    <a:pt x="360" y="458"/>
                  </a:cubicBezTo>
                  <a:cubicBezTo>
                    <a:pt x="366" y="455"/>
                    <a:pt x="368" y="448"/>
                    <a:pt x="364" y="442"/>
                  </a:cubicBezTo>
                  <a:cubicBezTo>
                    <a:pt x="361" y="437"/>
                    <a:pt x="361" y="437"/>
                    <a:pt x="361" y="437"/>
                  </a:cubicBezTo>
                  <a:cubicBezTo>
                    <a:pt x="355" y="429"/>
                    <a:pt x="357" y="418"/>
                    <a:pt x="365" y="413"/>
                  </a:cubicBezTo>
                  <a:cubicBezTo>
                    <a:pt x="373" y="407"/>
                    <a:pt x="384" y="410"/>
                    <a:pt x="390" y="417"/>
                  </a:cubicBezTo>
                  <a:cubicBezTo>
                    <a:pt x="392" y="421"/>
                    <a:pt x="392" y="421"/>
                    <a:pt x="392" y="421"/>
                  </a:cubicBezTo>
                  <a:cubicBezTo>
                    <a:pt x="396" y="427"/>
                    <a:pt x="404" y="428"/>
                    <a:pt x="409" y="423"/>
                  </a:cubicBezTo>
                  <a:cubicBezTo>
                    <a:pt x="409" y="423"/>
                    <a:pt x="409" y="423"/>
                    <a:pt x="409" y="423"/>
                  </a:cubicBezTo>
                  <a:cubicBezTo>
                    <a:pt x="411" y="421"/>
                    <a:pt x="414" y="419"/>
                    <a:pt x="416" y="417"/>
                  </a:cubicBezTo>
                  <a:cubicBezTo>
                    <a:pt x="421" y="412"/>
                    <a:pt x="420" y="404"/>
                    <a:pt x="415" y="400"/>
                  </a:cubicBezTo>
                  <a:cubicBezTo>
                    <a:pt x="411" y="397"/>
                    <a:pt x="411" y="397"/>
                    <a:pt x="411" y="397"/>
                  </a:cubicBezTo>
                  <a:cubicBezTo>
                    <a:pt x="403" y="390"/>
                    <a:pt x="402" y="379"/>
                    <a:pt x="408" y="372"/>
                  </a:cubicBezTo>
                  <a:cubicBezTo>
                    <a:pt x="414" y="364"/>
                    <a:pt x="425" y="363"/>
                    <a:pt x="433" y="370"/>
                  </a:cubicBezTo>
                  <a:cubicBezTo>
                    <a:pt x="437" y="373"/>
                    <a:pt x="437" y="373"/>
                    <a:pt x="437" y="373"/>
                  </a:cubicBezTo>
                  <a:cubicBezTo>
                    <a:pt x="442" y="377"/>
                    <a:pt x="449" y="376"/>
                    <a:pt x="453" y="370"/>
                  </a:cubicBezTo>
                  <a:cubicBezTo>
                    <a:pt x="455" y="367"/>
                    <a:pt x="456" y="364"/>
                    <a:pt x="458" y="361"/>
                  </a:cubicBezTo>
                  <a:cubicBezTo>
                    <a:pt x="461" y="356"/>
                    <a:pt x="459" y="348"/>
                    <a:pt x="453" y="346"/>
                  </a:cubicBezTo>
                  <a:cubicBezTo>
                    <a:pt x="447" y="344"/>
                    <a:pt x="447" y="344"/>
                    <a:pt x="447" y="344"/>
                  </a:cubicBezTo>
                  <a:cubicBezTo>
                    <a:pt x="438" y="340"/>
                    <a:pt x="434" y="329"/>
                    <a:pt x="438" y="321"/>
                  </a:cubicBezTo>
                  <a:cubicBezTo>
                    <a:pt x="442" y="312"/>
                    <a:pt x="452" y="308"/>
                    <a:pt x="461" y="311"/>
                  </a:cubicBezTo>
                  <a:cubicBezTo>
                    <a:pt x="465" y="313"/>
                    <a:pt x="465" y="313"/>
                    <a:pt x="465" y="313"/>
                  </a:cubicBezTo>
                  <a:cubicBezTo>
                    <a:pt x="471" y="316"/>
                    <a:pt x="478" y="312"/>
                    <a:pt x="480" y="306"/>
                  </a:cubicBezTo>
                  <a:cubicBezTo>
                    <a:pt x="481" y="303"/>
                    <a:pt x="482" y="300"/>
                    <a:pt x="482" y="296"/>
                  </a:cubicBezTo>
                  <a:cubicBezTo>
                    <a:pt x="484" y="290"/>
                    <a:pt x="479" y="284"/>
                    <a:pt x="473" y="283"/>
                  </a:cubicBezTo>
                  <a:cubicBezTo>
                    <a:pt x="467" y="282"/>
                    <a:pt x="467" y="282"/>
                    <a:pt x="467" y="282"/>
                  </a:cubicBezTo>
                  <a:cubicBezTo>
                    <a:pt x="458" y="281"/>
                    <a:pt x="451" y="272"/>
                    <a:pt x="452" y="263"/>
                  </a:cubicBezTo>
                  <a:cubicBezTo>
                    <a:pt x="446" y="256"/>
                    <a:pt x="451" y="245"/>
                    <a:pt x="460" y="246"/>
                  </a:cubicBezTo>
                  <a:close/>
                  <a:moveTo>
                    <a:pt x="244" y="412"/>
                  </a:moveTo>
                  <a:cubicBezTo>
                    <a:pt x="151" y="412"/>
                    <a:pt x="75" y="336"/>
                    <a:pt x="75" y="243"/>
                  </a:cubicBezTo>
                  <a:cubicBezTo>
                    <a:pt x="75" y="150"/>
                    <a:pt x="151" y="74"/>
                    <a:pt x="244" y="74"/>
                  </a:cubicBezTo>
                  <a:cubicBezTo>
                    <a:pt x="338" y="74"/>
                    <a:pt x="413" y="150"/>
                    <a:pt x="413" y="243"/>
                  </a:cubicBezTo>
                  <a:cubicBezTo>
                    <a:pt x="413" y="336"/>
                    <a:pt x="338" y="412"/>
                    <a:pt x="244" y="4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4" name="Oval 6"/>
            <p:cNvSpPr>
              <a:spLocks noChangeArrowheads="1"/>
            </p:cNvSpPr>
            <p:nvPr/>
          </p:nvSpPr>
          <p:spPr bwMode="auto">
            <a:xfrm>
              <a:off x="1839913" y="3021013"/>
              <a:ext cx="819150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16353073" y="8595321"/>
            <a:ext cx="400387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0160495" y="8595321"/>
            <a:ext cx="400387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844601" y="8595321"/>
            <a:ext cx="400387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52513" y="348707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ATA TAMPL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768407" y="348707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ATA TAMPL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6960985" y="348707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ATA TAMPLE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599421" y="5968045"/>
            <a:ext cx="535958" cy="796234"/>
            <a:chOff x="1299545" y="2435356"/>
            <a:chExt cx="402565" cy="598061"/>
          </a:xfrm>
          <a:solidFill>
            <a:schemeClr val="bg1"/>
          </a:solidFill>
        </p:grpSpPr>
        <p:sp>
          <p:nvSpPr>
            <p:cNvPr id="38" name="Oval 35"/>
            <p:cNvSpPr>
              <a:spLocks noChangeArrowheads="1"/>
            </p:cNvSpPr>
            <p:nvPr/>
          </p:nvSpPr>
          <p:spPr bwMode="auto">
            <a:xfrm>
              <a:off x="1339415" y="2435356"/>
              <a:ext cx="322824" cy="32025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9" name="Freeform 36"/>
            <p:cNvSpPr>
              <a:spLocks/>
            </p:cNvSpPr>
            <p:nvPr/>
          </p:nvSpPr>
          <p:spPr bwMode="auto">
            <a:xfrm>
              <a:off x="1299545" y="2762039"/>
              <a:ext cx="402565" cy="271378"/>
            </a:xfrm>
            <a:custGeom>
              <a:avLst/>
              <a:gdLst>
                <a:gd name="T0" fmla="*/ 65 w 130"/>
                <a:gd name="T1" fmla="*/ 12 h 88"/>
                <a:gd name="T2" fmla="*/ 24 w 130"/>
                <a:gd name="T3" fmla="*/ 0 h 88"/>
                <a:gd name="T4" fmla="*/ 0 w 130"/>
                <a:gd name="T5" fmla="*/ 88 h 88"/>
                <a:gd name="T6" fmla="*/ 130 w 130"/>
                <a:gd name="T7" fmla="*/ 88 h 88"/>
                <a:gd name="T8" fmla="*/ 106 w 130"/>
                <a:gd name="T9" fmla="*/ 0 h 88"/>
                <a:gd name="T10" fmla="*/ 65 w 130"/>
                <a:gd name="T11" fmla="*/ 1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8">
                  <a:moveTo>
                    <a:pt x="65" y="12"/>
                  </a:moveTo>
                  <a:cubicBezTo>
                    <a:pt x="50" y="12"/>
                    <a:pt x="36" y="7"/>
                    <a:pt x="24" y="0"/>
                  </a:cubicBezTo>
                  <a:cubicBezTo>
                    <a:pt x="10" y="20"/>
                    <a:pt x="0" y="52"/>
                    <a:pt x="0" y="88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30" y="52"/>
                    <a:pt x="120" y="20"/>
                    <a:pt x="106" y="0"/>
                  </a:cubicBezTo>
                  <a:cubicBezTo>
                    <a:pt x="94" y="7"/>
                    <a:pt x="80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11894923" y="5874862"/>
            <a:ext cx="670594" cy="849176"/>
            <a:chOff x="3660259" y="2415473"/>
            <a:chExt cx="503691" cy="637826"/>
          </a:xfrm>
          <a:solidFill>
            <a:schemeClr val="bg1"/>
          </a:solidFill>
        </p:grpSpPr>
        <p:sp>
          <p:nvSpPr>
            <p:cNvPr id="41" name="Oval 40"/>
            <p:cNvSpPr>
              <a:spLocks noChangeArrowheads="1"/>
            </p:cNvSpPr>
            <p:nvPr/>
          </p:nvSpPr>
          <p:spPr bwMode="auto">
            <a:xfrm>
              <a:off x="3706796" y="2415473"/>
              <a:ext cx="339444" cy="34218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3660259" y="2760392"/>
              <a:ext cx="395562" cy="292907"/>
            </a:xfrm>
            <a:custGeom>
              <a:avLst/>
              <a:gdLst>
                <a:gd name="T0" fmla="*/ 86 w 120"/>
                <a:gd name="T1" fmla="*/ 50 h 89"/>
                <a:gd name="T2" fmla="*/ 114 w 120"/>
                <a:gd name="T3" fmla="*/ 13 h 89"/>
                <a:gd name="T4" fmla="*/ 106 w 120"/>
                <a:gd name="T5" fmla="*/ 0 h 89"/>
                <a:gd name="T6" fmla="*/ 65 w 120"/>
                <a:gd name="T7" fmla="*/ 12 h 89"/>
                <a:gd name="T8" fmla="*/ 24 w 120"/>
                <a:gd name="T9" fmla="*/ 0 h 89"/>
                <a:gd name="T10" fmla="*/ 0 w 120"/>
                <a:gd name="T11" fmla="*/ 89 h 89"/>
                <a:gd name="T12" fmla="*/ 120 w 120"/>
                <a:gd name="T13" fmla="*/ 89 h 89"/>
                <a:gd name="T14" fmla="*/ 86 w 120"/>
                <a:gd name="T15" fmla="*/ 5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89">
                  <a:moveTo>
                    <a:pt x="86" y="50"/>
                  </a:moveTo>
                  <a:cubicBezTo>
                    <a:pt x="86" y="33"/>
                    <a:pt x="98" y="18"/>
                    <a:pt x="114" y="13"/>
                  </a:cubicBezTo>
                  <a:cubicBezTo>
                    <a:pt x="112" y="8"/>
                    <a:pt x="109" y="4"/>
                    <a:pt x="106" y="0"/>
                  </a:cubicBezTo>
                  <a:cubicBezTo>
                    <a:pt x="95" y="8"/>
                    <a:pt x="80" y="12"/>
                    <a:pt x="65" y="12"/>
                  </a:cubicBezTo>
                  <a:cubicBezTo>
                    <a:pt x="50" y="12"/>
                    <a:pt x="36" y="8"/>
                    <a:pt x="24" y="0"/>
                  </a:cubicBezTo>
                  <a:cubicBezTo>
                    <a:pt x="10" y="21"/>
                    <a:pt x="1" y="53"/>
                    <a:pt x="0" y="89"/>
                  </a:cubicBezTo>
                  <a:cubicBezTo>
                    <a:pt x="120" y="89"/>
                    <a:pt x="120" y="89"/>
                    <a:pt x="120" y="89"/>
                  </a:cubicBezTo>
                  <a:cubicBezTo>
                    <a:pt x="101" y="86"/>
                    <a:pt x="86" y="70"/>
                    <a:pt x="8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3980541" y="2832935"/>
              <a:ext cx="183409" cy="184778"/>
            </a:xfrm>
            <a:custGeom>
              <a:avLst/>
              <a:gdLst>
                <a:gd name="T0" fmla="*/ 28 w 56"/>
                <a:gd name="T1" fmla="*/ 0 h 56"/>
                <a:gd name="T2" fmla="*/ 21 w 56"/>
                <a:gd name="T3" fmla="*/ 1 h 56"/>
                <a:gd name="T4" fmla="*/ 0 w 56"/>
                <a:gd name="T5" fmla="*/ 28 h 56"/>
                <a:gd name="T6" fmla="*/ 28 w 56"/>
                <a:gd name="T7" fmla="*/ 56 h 56"/>
                <a:gd name="T8" fmla="*/ 33 w 56"/>
                <a:gd name="T9" fmla="*/ 56 h 56"/>
                <a:gd name="T10" fmla="*/ 56 w 56"/>
                <a:gd name="T11" fmla="*/ 28 h 56"/>
                <a:gd name="T12" fmla="*/ 28 w 56"/>
                <a:gd name="T13" fmla="*/ 0 h 56"/>
                <a:gd name="T14" fmla="*/ 47 w 56"/>
                <a:gd name="T15" fmla="*/ 34 h 56"/>
                <a:gd name="T16" fmla="*/ 33 w 56"/>
                <a:gd name="T17" fmla="*/ 34 h 56"/>
                <a:gd name="T18" fmla="*/ 33 w 56"/>
                <a:gd name="T19" fmla="*/ 48 h 56"/>
                <a:gd name="T20" fmla="*/ 33 w 56"/>
                <a:gd name="T21" fmla="*/ 48 h 56"/>
                <a:gd name="T22" fmla="*/ 22 w 56"/>
                <a:gd name="T23" fmla="*/ 48 h 56"/>
                <a:gd name="T24" fmla="*/ 22 w 56"/>
                <a:gd name="T25" fmla="*/ 34 h 56"/>
                <a:gd name="T26" fmla="*/ 8 w 56"/>
                <a:gd name="T27" fmla="*/ 34 h 56"/>
                <a:gd name="T28" fmla="*/ 8 w 56"/>
                <a:gd name="T29" fmla="*/ 23 h 56"/>
                <a:gd name="T30" fmla="*/ 22 w 56"/>
                <a:gd name="T31" fmla="*/ 23 h 56"/>
                <a:gd name="T32" fmla="*/ 22 w 56"/>
                <a:gd name="T33" fmla="*/ 9 h 56"/>
                <a:gd name="T34" fmla="*/ 24 w 56"/>
                <a:gd name="T35" fmla="*/ 9 h 56"/>
                <a:gd name="T36" fmla="*/ 33 w 56"/>
                <a:gd name="T37" fmla="*/ 9 h 56"/>
                <a:gd name="T38" fmla="*/ 33 w 56"/>
                <a:gd name="T39" fmla="*/ 23 h 56"/>
                <a:gd name="T40" fmla="*/ 47 w 56"/>
                <a:gd name="T41" fmla="*/ 23 h 56"/>
                <a:gd name="T42" fmla="*/ 47 w 56"/>
                <a:gd name="T4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26" y="0"/>
                    <a:pt x="23" y="0"/>
                    <a:pt x="21" y="1"/>
                  </a:cubicBezTo>
                  <a:cubicBezTo>
                    <a:pt x="9" y="4"/>
                    <a:pt x="0" y="15"/>
                    <a:pt x="0" y="28"/>
                  </a:cubicBezTo>
                  <a:cubicBezTo>
                    <a:pt x="0" y="44"/>
                    <a:pt x="12" y="56"/>
                    <a:pt x="28" y="56"/>
                  </a:cubicBezTo>
                  <a:cubicBezTo>
                    <a:pt x="30" y="56"/>
                    <a:pt x="31" y="56"/>
                    <a:pt x="33" y="56"/>
                  </a:cubicBezTo>
                  <a:cubicBezTo>
                    <a:pt x="46" y="53"/>
                    <a:pt x="56" y="42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  <a:moveTo>
                    <a:pt x="4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47" y="23"/>
                    <a:pt x="47" y="23"/>
                    <a:pt x="47" y="23"/>
                  </a:cubicBezTo>
                  <a:lnTo>
                    <a:pt x="47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8095769" y="5948195"/>
            <a:ext cx="689262" cy="855126"/>
            <a:chOff x="5854905" y="2413239"/>
            <a:chExt cx="517713" cy="642295"/>
          </a:xfrm>
          <a:solidFill>
            <a:schemeClr val="bg1"/>
          </a:solidFill>
        </p:grpSpPr>
        <p:sp>
          <p:nvSpPr>
            <p:cNvPr id="45" name="Oval 50"/>
            <p:cNvSpPr>
              <a:spLocks noChangeArrowheads="1"/>
            </p:cNvSpPr>
            <p:nvPr/>
          </p:nvSpPr>
          <p:spPr bwMode="auto">
            <a:xfrm>
              <a:off x="5892280" y="2413239"/>
              <a:ext cx="276851" cy="27685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6" name="Freeform 51"/>
            <p:cNvSpPr>
              <a:spLocks/>
            </p:cNvSpPr>
            <p:nvPr/>
          </p:nvSpPr>
          <p:spPr bwMode="auto">
            <a:xfrm>
              <a:off x="5854905" y="2692859"/>
              <a:ext cx="290694" cy="235324"/>
            </a:xfrm>
            <a:custGeom>
              <a:avLst/>
              <a:gdLst>
                <a:gd name="T0" fmla="*/ 87 w 87"/>
                <a:gd name="T1" fmla="*/ 49 h 71"/>
                <a:gd name="T2" fmla="*/ 78 w 87"/>
                <a:gd name="T3" fmla="*/ 24 h 71"/>
                <a:gd name="T4" fmla="*/ 86 w 87"/>
                <a:gd name="T5" fmla="*/ 0 h 71"/>
                <a:gd name="T6" fmla="*/ 85 w 87"/>
                <a:gd name="T7" fmla="*/ 0 h 71"/>
                <a:gd name="T8" fmla="*/ 53 w 87"/>
                <a:gd name="T9" fmla="*/ 10 h 71"/>
                <a:gd name="T10" fmla="*/ 20 w 87"/>
                <a:gd name="T11" fmla="*/ 0 h 71"/>
                <a:gd name="T12" fmla="*/ 0 w 87"/>
                <a:gd name="T13" fmla="*/ 71 h 71"/>
                <a:gd name="T14" fmla="*/ 76 w 87"/>
                <a:gd name="T15" fmla="*/ 71 h 71"/>
                <a:gd name="T16" fmla="*/ 85 w 87"/>
                <a:gd name="T17" fmla="*/ 52 h 71"/>
                <a:gd name="T18" fmla="*/ 87 w 87"/>
                <a:gd name="T19" fmla="*/ 4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87" y="49"/>
                  </a:moveTo>
                  <a:cubicBezTo>
                    <a:pt x="81" y="42"/>
                    <a:pt x="78" y="33"/>
                    <a:pt x="78" y="24"/>
                  </a:cubicBezTo>
                  <a:cubicBezTo>
                    <a:pt x="78" y="15"/>
                    <a:pt x="81" y="7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76" y="6"/>
                    <a:pt x="65" y="10"/>
                    <a:pt x="53" y="10"/>
                  </a:cubicBezTo>
                  <a:cubicBezTo>
                    <a:pt x="40" y="10"/>
                    <a:pt x="29" y="6"/>
                    <a:pt x="20" y="0"/>
                  </a:cubicBezTo>
                  <a:cubicBezTo>
                    <a:pt x="8" y="17"/>
                    <a:pt x="1" y="42"/>
                    <a:pt x="0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8" y="64"/>
                    <a:pt x="81" y="57"/>
                    <a:pt x="85" y="52"/>
                  </a:cubicBezTo>
                  <a:lnTo>
                    <a:pt x="8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7" name="Freeform 52"/>
            <p:cNvSpPr>
              <a:spLocks/>
            </p:cNvSpPr>
            <p:nvPr/>
          </p:nvSpPr>
          <p:spPr bwMode="auto">
            <a:xfrm>
              <a:off x="6138678" y="2669327"/>
              <a:ext cx="206255" cy="206255"/>
            </a:xfrm>
            <a:custGeom>
              <a:avLst/>
              <a:gdLst>
                <a:gd name="T0" fmla="*/ 0 w 62"/>
                <a:gd name="T1" fmla="*/ 31 h 62"/>
                <a:gd name="T2" fmla="*/ 19 w 62"/>
                <a:gd name="T3" fmla="*/ 59 h 62"/>
                <a:gd name="T4" fmla="*/ 31 w 62"/>
                <a:gd name="T5" fmla="*/ 62 h 62"/>
                <a:gd name="T6" fmla="*/ 62 w 62"/>
                <a:gd name="T7" fmla="*/ 31 h 62"/>
                <a:gd name="T8" fmla="*/ 31 w 62"/>
                <a:gd name="T9" fmla="*/ 0 h 62"/>
                <a:gd name="T10" fmla="*/ 5 w 62"/>
                <a:gd name="T11" fmla="*/ 14 h 62"/>
                <a:gd name="T12" fmla="*/ 0 w 62"/>
                <a:gd name="T13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62">
                  <a:moveTo>
                    <a:pt x="0" y="31"/>
                  </a:moveTo>
                  <a:cubicBezTo>
                    <a:pt x="0" y="44"/>
                    <a:pt x="7" y="55"/>
                    <a:pt x="19" y="59"/>
                  </a:cubicBezTo>
                  <a:cubicBezTo>
                    <a:pt x="22" y="61"/>
                    <a:pt x="26" y="62"/>
                    <a:pt x="31" y="62"/>
                  </a:cubicBezTo>
                  <a:cubicBezTo>
                    <a:pt x="48" y="62"/>
                    <a:pt x="62" y="48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20" y="0"/>
                    <a:pt x="10" y="5"/>
                    <a:pt x="5" y="14"/>
                  </a:cubicBezTo>
                  <a:cubicBezTo>
                    <a:pt x="1" y="19"/>
                    <a:pt x="0" y="25"/>
                    <a:pt x="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8" name="Freeform 53"/>
            <p:cNvSpPr>
              <a:spLocks/>
            </p:cNvSpPr>
            <p:nvPr/>
          </p:nvSpPr>
          <p:spPr bwMode="auto">
            <a:xfrm>
              <a:off x="6108224" y="2878349"/>
              <a:ext cx="264394" cy="177185"/>
            </a:xfrm>
            <a:custGeom>
              <a:avLst/>
              <a:gdLst>
                <a:gd name="T0" fmla="*/ 64 w 79"/>
                <a:gd name="T1" fmla="*/ 0 h 53"/>
                <a:gd name="T2" fmla="*/ 40 w 79"/>
                <a:gd name="T3" fmla="*/ 7 h 53"/>
                <a:gd name="T4" fmla="*/ 28 w 79"/>
                <a:gd name="T5" fmla="*/ 6 h 53"/>
                <a:gd name="T6" fmla="*/ 15 w 79"/>
                <a:gd name="T7" fmla="*/ 0 h 53"/>
                <a:gd name="T8" fmla="*/ 7 w 79"/>
                <a:gd name="T9" fmla="*/ 15 h 53"/>
                <a:gd name="T10" fmla="*/ 0 w 79"/>
                <a:gd name="T11" fmla="*/ 53 h 53"/>
                <a:gd name="T12" fmla="*/ 79 w 79"/>
                <a:gd name="T13" fmla="*/ 53 h 53"/>
                <a:gd name="T14" fmla="*/ 64 w 7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53">
                  <a:moveTo>
                    <a:pt x="64" y="0"/>
                  </a:moveTo>
                  <a:cubicBezTo>
                    <a:pt x="57" y="5"/>
                    <a:pt x="49" y="7"/>
                    <a:pt x="40" y="7"/>
                  </a:cubicBezTo>
                  <a:cubicBezTo>
                    <a:pt x="36" y="7"/>
                    <a:pt x="32" y="7"/>
                    <a:pt x="28" y="6"/>
                  </a:cubicBezTo>
                  <a:cubicBezTo>
                    <a:pt x="24" y="5"/>
                    <a:pt x="19" y="3"/>
                    <a:pt x="15" y="0"/>
                  </a:cubicBezTo>
                  <a:cubicBezTo>
                    <a:pt x="12" y="4"/>
                    <a:pt x="9" y="9"/>
                    <a:pt x="7" y="15"/>
                  </a:cubicBezTo>
                  <a:cubicBezTo>
                    <a:pt x="3" y="26"/>
                    <a:pt x="1" y="39"/>
                    <a:pt x="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8" y="31"/>
                    <a:pt x="73" y="12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254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11071458" y="5637946"/>
            <a:ext cx="12093344" cy="184873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1071458" y="8426734"/>
            <a:ext cx="12093344" cy="184873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9328717" y="10590574"/>
            <a:ext cx="13836082" cy="184873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9328719" y="3503492"/>
            <a:ext cx="13836082" cy="184873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-312191" y="3940483"/>
            <a:ext cx="11965074" cy="8086014"/>
            <a:chOff x="-156096" y="1970241"/>
            <a:chExt cx="5982537" cy="4043007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59" name="Rectangle 58"/>
            <p:cNvSpPr/>
            <p:nvPr/>
          </p:nvSpPr>
          <p:spPr>
            <a:xfrm rot="16200000">
              <a:off x="4990485" y="3825459"/>
              <a:ext cx="1330430" cy="34148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-156096" y="1970241"/>
              <a:ext cx="5520117" cy="1643433"/>
              <a:chOff x="-143083" y="1970241"/>
              <a:chExt cx="5520117" cy="1643433"/>
            </a:xfrm>
            <a:grpFill/>
          </p:grpSpPr>
          <p:sp>
            <p:nvSpPr>
              <p:cNvPr id="57" name="Rectangle 56"/>
              <p:cNvSpPr/>
              <p:nvPr/>
            </p:nvSpPr>
            <p:spPr>
              <a:xfrm>
                <a:off x="1350455" y="2005932"/>
                <a:ext cx="3468123" cy="37318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 rot="3060369">
                <a:off x="4385810" y="2622450"/>
                <a:ext cx="1643433" cy="3390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>
              <a:xfrm rot="19004018">
                <a:off x="-143083" y="2593031"/>
                <a:ext cx="1861183" cy="37318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 flipV="1">
              <a:off x="-156096" y="4369815"/>
              <a:ext cx="5520117" cy="1643433"/>
              <a:chOff x="-143083" y="1970241"/>
              <a:chExt cx="5520117" cy="1643433"/>
            </a:xfrm>
            <a:grpFill/>
          </p:grpSpPr>
          <p:sp>
            <p:nvSpPr>
              <p:cNvPr id="63" name="Rectangle 62"/>
              <p:cNvSpPr/>
              <p:nvPr/>
            </p:nvSpPr>
            <p:spPr>
              <a:xfrm>
                <a:off x="1350455" y="2005932"/>
                <a:ext cx="3468123" cy="37318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>
              <a:xfrm rot="3060369">
                <a:off x="4385810" y="2622450"/>
                <a:ext cx="1643433" cy="33901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>
              <a:xfrm rot="19004018">
                <a:off x="-143083" y="2593031"/>
                <a:ext cx="1861183" cy="37318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3" name="Oval 2"/>
          <p:cNvSpPr/>
          <p:nvPr/>
        </p:nvSpPr>
        <p:spPr>
          <a:xfrm>
            <a:off x="8420623" y="3393049"/>
            <a:ext cx="2066542" cy="2066542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" name="Freeform 5"/>
          <p:cNvSpPr>
            <a:spLocks noEditPoints="1"/>
          </p:cNvSpPr>
          <p:nvPr/>
        </p:nvSpPr>
        <p:spPr bwMode="auto">
          <a:xfrm>
            <a:off x="8040369" y="3041438"/>
            <a:ext cx="2827050" cy="2785440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" name="Oval 6"/>
          <p:cNvSpPr>
            <a:spLocks noChangeArrowheads="1"/>
          </p:cNvSpPr>
          <p:nvPr/>
        </p:nvSpPr>
        <p:spPr bwMode="auto">
          <a:xfrm>
            <a:off x="8780071" y="3760336"/>
            <a:ext cx="1347646" cy="134764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10184691" y="5531315"/>
            <a:ext cx="2066542" cy="2066542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0" name="Freeform 5"/>
          <p:cNvSpPr>
            <a:spLocks noEditPoints="1"/>
          </p:cNvSpPr>
          <p:nvPr/>
        </p:nvSpPr>
        <p:spPr bwMode="auto">
          <a:xfrm>
            <a:off x="9804437" y="5179704"/>
            <a:ext cx="2827050" cy="2785440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1" name="Oval 6"/>
          <p:cNvSpPr>
            <a:spLocks noChangeArrowheads="1"/>
          </p:cNvSpPr>
          <p:nvPr/>
        </p:nvSpPr>
        <p:spPr bwMode="auto">
          <a:xfrm>
            <a:off x="10544139" y="5898602"/>
            <a:ext cx="1347646" cy="134764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10163361" y="8264151"/>
            <a:ext cx="2066542" cy="2066542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7" name="Freeform 5"/>
          <p:cNvSpPr>
            <a:spLocks noEditPoints="1"/>
          </p:cNvSpPr>
          <p:nvPr/>
        </p:nvSpPr>
        <p:spPr bwMode="auto">
          <a:xfrm>
            <a:off x="9783107" y="7912540"/>
            <a:ext cx="2827050" cy="2785440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8" name="Oval 6"/>
          <p:cNvSpPr>
            <a:spLocks noChangeArrowheads="1"/>
          </p:cNvSpPr>
          <p:nvPr/>
        </p:nvSpPr>
        <p:spPr bwMode="auto">
          <a:xfrm>
            <a:off x="10522809" y="8631438"/>
            <a:ext cx="1347646" cy="134764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8377965" y="10360673"/>
            <a:ext cx="2066542" cy="2066542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4" name="Freeform 5"/>
          <p:cNvSpPr>
            <a:spLocks noEditPoints="1"/>
          </p:cNvSpPr>
          <p:nvPr/>
        </p:nvSpPr>
        <p:spPr bwMode="auto">
          <a:xfrm>
            <a:off x="7997711" y="10009062"/>
            <a:ext cx="2827050" cy="2785440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Oval 6"/>
          <p:cNvSpPr>
            <a:spLocks noChangeArrowheads="1"/>
          </p:cNvSpPr>
          <p:nvPr/>
        </p:nvSpPr>
        <p:spPr bwMode="auto">
          <a:xfrm>
            <a:off x="8737413" y="10727960"/>
            <a:ext cx="1347646" cy="134764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1" y="6057042"/>
            <a:ext cx="6965418" cy="3889372"/>
            <a:chOff x="0" y="2998541"/>
            <a:chExt cx="3482709" cy="1944686"/>
          </a:xfrm>
          <a:solidFill>
            <a:schemeClr val="tx1">
              <a:lumMod val="60000"/>
              <a:lumOff val="40000"/>
            </a:schemeClr>
          </a:solidFill>
        </p:grpSpPr>
        <p:sp>
          <p:nvSpPr>
            <p:cNvPr id="50" name="Rectangle 49"/>
            <p:cNvSpPr/>
            <p:nvPr/>
          </p:nvSpPr>
          <p:spPr>
            <a:xfrm>
              <a:off x="0" y="3280748"/>
              <a:ext cx="2498958" cy="14036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  <p:grpSp>
          <p:nvGrpSpPr>
            <p:cNvPr id="52" name="Group 51"/>
            <p:cNvGrpSpPr/>
            <p:nvPr/>
          </p:nvGrpSpPr>
          <p:grpSpPr>
            <a:xfrm rot="620479">
              <a:off x="1508972" y="2998541"/>
              <a:ext cx="1973737" cy="1944686"/>
              <a:chOff x="8846696" y="1734108"/>
              <a:chExt cx="1413525" cy="1392720"/>
            </a:xfrm>
            <a:grpFill/>
          </p:grpSpPr>
          <p:sp>
            <p:nvSpPr>
              <p:cNvPr id="49" name="Freeform 5"/>
              <p:cNvSpPr>
                <a:spLocks noEditPoints="1"/>
              </p:cNvSpPr>
              <p:nvPr/>
            </p:nvSpPr>
            <p:spPr bwMode="auto">
              <a:xfrm>
                <a:off x="8846696" y="1734108"/>
                <a:ext cx="1413525" cy="1392720"/>
              </a:xfrm>
              <a:custGeom>
                <a:avLst/>
                <a:gdLst>
                  <a:gd name="T0" fmla="*/ 739 w 818"/>
                  <a:gd name="T1" fmla="*/ 400 h 806"/>
                  <a:gd name="T2" fmla="*/ 818 w 818"/>
                  <a:gd name="T3" fmla="*/ 371 h 806"/>
                  <a:gd name="T4" fmla="*/ 807 w 818"/>
                  <a:gd name="T5" fmla="*/ 305 h 806"/>
                  <a:gd name="T6" fmla="*/ 723 w 818"/>
                  <a:gd name="T7" fmla="*/ 305 h 806"/>
                  <a:gd name="T8" fmla="*/ 656 w 818"/>
                  <a:gd name="T9" fmla="*/ 190 h 806"/>
                  <a:gd name="T10" fmla="*/ 698 w 818"/>
                  <a:gd name="T11" fmla="*/ 117 h 806"/>
                  <a:gd name="T12" fmla="*/ 647 w 818"/>
                  <a:gd name="T13" fmla="*/ 74 h 806"/>
                  <a:gd name="T14" fmla="*/ 582 w 818"/>
                  <a:gd name="T15" fmla="*/ 128 h 806"/>
                  <a:gd name="T16" fmla="*/ 457 w 818"/>
                  <a:gd name="T17" fmla="*/ 83 h 806"/>
                  <a:gd name="T18" fmla="*/ 442 w 818"/>
                  <a:gd name="T19" fmla="*/ 0 h 806"/>
                  <a:gd name="T20" fmla="*/ 375 w 818"/>
                  <a:gd name="T21" fmla="*/ 0 h 806"/>
                  <a:gd name="T22" fmla="*/ 361 w 818"/>
                  <a:gd name="T23" fmla="*/ 83 h 806"/>
                  <a:gd name="T24" fmla="*/ 236 w 818"/>
                  <a:gd name="T25" fmla="*/ 128 h 806"/>
                  <a:gd name="T26" fmla="*/ 171 w 818"/>
                  <a:gd name="T27" fmla="*/ 74 h 806"/>
                  <a:gd name="T28" fmla="*/ 120 w 818"/>
                  <a:gd name="T29" fmla="*/ 117 h 806"/>
                  <a:gd name="T30" fmla="*/ 162 w 818"/>
                  <a:gd name="T31" fmla="*/ 190 h 806"/>
                  <a:gd name="T32" fmla="*/ 95 w 818"/>
                  <a:gd name="T33" fmla="*/ 305 h 806"/>
                  <a:gd name="T34" fmla="*/ 11 w 818"/>
                  <a:gd name="T35" fmla="*/ 305 h 806"/>
                  <a:gd name="T36" fmla="*/ 0 w 818"/>
                  <a:gd name="T37" fmla="*/ 371 h 806"/>
                  <a:gd name="T38" fmla="*/ 78 w 818"/>
                  <a:gd name="T39" fmla="*/ 400 h 806"/>
                  <a:gd name="T40" fmla="*/ 102 w 818"/>
                  <a:gd name="T41" fmla="*/ 531 h 806"/>
                  <a:gd name="T42" fmla="*/ 37 w 818"/>
                  <a:gd name="T43" fmla="*/ 585 h 806"/>
                  <a:gd name="T44" fmla="*/ 71 w 818"/>
                  <a:gd name="T45" fmla="*/ 643 h 806"/>
                  <a:gd name="T46" fmla="*/ 150 w 818"/>
                  <a:gd name="T47" fmla="*/ 615 h 806"/>
                  <a:gd name="T48" fmla="*/ 252 w 818"/>
                  <a:gd name="T49" fmla="*/ 700 h 806"/>
                  <a:gd name="T50" fmla="*/ 237 w 818"/>
                  <a:gd name="T51" fmla="*/ 783 h 806"/>
                  <a:gd name="T52" fmla="*/ 300 w 818"/>
                  <a:gd name="T53" fmla="*/ 806 h 806"/>
                  <a:gd name="T54" fmla="*/ 342 w 818"/>
                  <a:gd name="T55" fmla="*/ 733 h 806"/>
                  <a:gd name="T56" fmla="*/ 476 w 818"/>
                  <a:gd name="T57" fmla="*/ 733 h 806"/>
                  <a:gd name="T58" fmla="*/ 518 w 818"/>
                  <a:gd name="T59" fmla="*/ 806 h 806"/>
                  <a:gd name="T60" fmla="*/ 581 w 818"/>
                  <a:gd name="T61" fmla="*/ 783 h 806"/>
                  <a:gd name="T62" fmla="*/ 566 w 818"/>
                  <a:gd name="T63" fmla="*/ 700 h 806"/>
                  <a:gd name="T64" fmla="*/ 668 w 818"/>
                  <a:gd name="T65" fmla="*/ 615 h 806"/>
                  <a:gd name="T66" fmla="*/ 747 w 818"/>
                  <a:gd name="T67" fmla="*/ 643 h 806"/>
                  <a:gd name="T68" fmla="*/ 781 w 818"/>
                  <a:gd name="T69" fmla="*/ 585 h 806"/>
                  <a:gd name="T70" fmla="*/ 716 w 818"/>
                  <a:gd name="T71" fmla="*/ 531 h 806"/>
                  <a:gd name="T72" fmla="*/ 739 w 818"/>
                  <a:gd name="T73" fmla="*/ 400 h 806"/>
                  <a:gd name="T74" fmla="*/ 409 w 818"/>
                  <a:gd name="T75" fmla="*/ 660 h 806"/>
                  <a:gd name="T76" fmla="*/ 152 w 818"/>
                  <a:gd name="T77" fmla="*/ 403 h 806"/>
                  <a:gd name="T78" fmla="*/ 409 w 818"/>
                  <a:gd name="T79" fmla="*/ 146 h 806"/>
                  <a:gd name="T80" fmla="*/ 666 w 818"/>
                  <a:gd name="T81" fmla="*/ 403 h 806"/>
                  <a:gd name="T82" fmla="*/ 409 w 818"/>
                  <a:gd name="T83" fmla="*/ 66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8" h="806">
                    <a:moveTo>
                      <a:pt x="739" y="400"/>
                    </a:moveTo>
                    <a:cubicBezTo>
                      <a:pt x="818" y="371"/>
                      <a:pt x="818" y="371"/>
                      <a:pt x="818" y="371"/>
                    </a:cubicBezTo>
                    <a:cubicBezTo>
                      <a:pt x="807" y="305"/>
                      <a:pt x="807" y="305"/>
                      <a:pt x="807" y="305"/>
                    </a:cubicBezTo>
                    <a:cubicBezTo>
                      <a:pt x="723" y="305"/>
                      <a:pt x="723" y="305"/>
                      <a:pt x="723" y="305"/>
                    </a:cubicBezTo>
                    <a:cubicBezTo>
                      <a:pt x="709" y="263"/>
                      <a:pt x="686" y="224"/>
                      <a:pt x="656" y="190"/>
                    </a:cubicBezTo>
                    <a:cubicBezTo>
                      <a:pt x="698" y="117"/>
                      <a:pt x="698" y="117"/>
                      <a:pt x="698" y="117"/>
                    </a:cubicBezTo>
                    <a:cubicBezTo>
                      <a:pt x="647" y="74"/>
                      <a:pt x="647" y="74"/>
                      <a:pt x="647" y="74"/>
                    </a:cubicBezTo>
                    <a:cubicBezTo>
                      <a:pt x="582" y="128"/>
                      <a:pt x="582" y="128"/>
                      <a:pt x="582" y="128"/>
                    </a:cubicBezTo>
                    <a:cubicBezTo>
                      <a:pt x="544" y="105"/>
                      <a:pt x="501" y="89"/>
                      <a:pt x="457" y="83"/>
                    </a:cubicBezTo>
                    <a:cubicBezTo>
                      <a:pt x="442" y="0"/>
                      <a:pt x="442" y="0"/>
                      <a:pt x="442" y="0"/>
                    </a:cubicBezTo>
                    <a:cubicBezTo>
                      <a:pt x="375" y="0"/>
                      <a:pt x="375" y="0"/>
                      <a:pt x="375" y="0"/>
                    </a:cubicBezTo>
                    <a:cubicBezTo>
                      <a:pt x="361" y="83"/>
                      <a:pt x="361" y="83"/>
                      <a:pt x="361" y="83"/>
                    </a:cubicBezTo>
                    <a:cubicBezTo>
                      <a:pt x="316" y="89"/>
                      <a:pt x="274" y="105"/>
                      <a:pt x="236" y="128"/>
                    </a:cubicBezTo>
                    <a:cubicBezTo>
                      <a:pt x="171" y="74"/>
                      <a:pt x="171" y="74"/>
                      <a:pt x="171" y="74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62" y="190"/>
                      <a:pt x="162" y="190"/>
                      <a:pt x="162" y="190"/>
                    </a:cubicBezTo>
                    <a:cubicBezTo>
                      <a:pt x="132" y="224"/>
                      <a:pt x="109" y="263"/>
                      <a:pt x="95" y="305"/>
                    </a:cubicBezTo>
                    <a:cubicBezTo>
                      <a:pt x="11" y="305"/>
                      <a:pt x="11" y="305"/>
                      <a:pt x="11" y="305"/>
                    </a:cubicBezTo>
                    <a:cubicBezTo>
                      <a:pt x="0" y="371"/>
                      <a:pt x="0" y="371"/>
                      <a:pt x="0" y="371"/>
                    </a:cubicBezTo>
                    <a:cubicBezTo>
                      <a:pt x="78" y="400"/>
                      <a:pt x="78" y="400"/>
                      <a:pt x="78" y="400"/>
                    </a:cubicBezTo>
                    <a:cubicBezTo>
                      <a:pt x="77" y="445"/>
                      <a:pt x="85" y="490"/>
                      <a:pt x="102" y="531"/>
                    </a:cubicBezTo>
                    <a:cubicBezTo>
                      <a:pt x="37" y="585"/>
                      <a:pt x="37" y="585"/>
                      <a:pt x="37" y="585"/>
                    </a:cubicBezTo>
                    <a:cubicBezTo>
                      <a:pt x="71" y="643"/>
                      <a:pt x="71" y="643"/>
                      <a:pt x="71" y="643"/>
                    </a:cubicBezTo>
                    <a:cubicBezTo>
                      <a:pt x="150" y="615"/>
                      <a:pt x="150" y="615"/>
                      <a:pt x="150" y="615"/>
                    </a:cubicBezTo>
                    <a:cubicBezTo>
                      <a:pt x="178" y="650"/>
                      <a:pt x="212" y="679"/>
                      <a:pt x="252" y="700"/>
                    </a:cubicBezTo>
                    <a:cubicBezTo>
                      <a:pt x="237" y="783"/>
                      <a:pt x="237" y="783"/>
                      <a:pt x="237" y="783"/>
                    </a:cubicBezTo>
                    <a:cubicBezTo>
                      <a:pt x="300" y="806"/>
                      <a:pt x="300" y="806"/>
                      <a:pt x="300" y="806"/>
                    </a:cubicBezTo>
                    <a:cubicBezTo>
                      <a:pt x="342" y="733"/>
                      <a:pt x="342" y="733"/>
                      <a:pt x="342" y="733"/>
                    </a:cubicBezTo>
                    <a:cubicBezTo>
                      <a:pt x="386" y="742"/>
                      <a:pt x="432" y="742"/>
                      <a:pt x="476" y="733"/>
                    </a:cubicBezTo>
                    <a:cubicBezTo>
                      <a:pt x="518" y="806"/>
                      <a:pt x="518" y="806"/>
                      <a:pt x="518" y="806"/>
                    </a:cubicBezTo>
                    <a:cubicBezTo>
                      <a:pt x="581" y="783"/>
                      <a:pt x="581" y="783"/>
                      <a:pt x="581" y="783"/>
                    </a:cubicBezTo>
                    <a:cubicBezTo>
                      <a:pt x="566" y="700"/>
                      <a:pt x="566" y="700"/>
                      <a:pt x="566" y="700"/>
                    </a:cubicBezTo>
                    <a:cubicBezTo>
                      <a:pt x="606" y="679"/>
                      <a:pt x="640" y="650"/>
                      <a:pt x="668" y="615"/>
                    </a:cubicBezTo>
                    <a:cubicBezTo>
                      <a:pt x="747" y="643"/>
                      <a:pt x="747" y="643"/>
                      <a:pt x="747" y="643"/>
                    </a:cubicBezTo>
                    <a:cubicBezTo>
                      <a:pt x="781" y="585"/>
                      <a:pt x="781" y="585"/>
                      <a:pt x="781" y="585"/>
                    </a:cubicBezTo>
                    <a:cubicBezTo>
                      <a:pt x="716" y="531"/>
                      <a:pt x="716" y="531"/>
                      <a:pt x="716" y="531"/>
                    </a:cubicBezTo>
                    <a:cubicBezTo>
                      <a:pt x="733" y="490"/>
                      <a:pt x="741" y="445"/>
                      <a:pt x="739" y="400"/>
                    </a:cubicBezTo>
                    <a:close/>
                    <a:moveTo>
                      <a:pt x="409" y="660"/>
                    </a:moveTo>
                    <a:cubicBezTo>
                      <a:pt x="267" y="660"/>
                      <a:pt x="152" y="545"/>
                      <a:pt x="152" y="403"/>
                    </a:cubicBezTo>
                    <a:cubicBezTo>
                      <a:pt x="152" y="261"/>
                      <a:pt x="267" y="146"/>
                      <a:pt x="409" y="146"/>
                    </a:cubicBezTo>
                    <a:cubicBezTo>
                      <a:pt x="551" y="146"/>
                      <a:pt x="666" y="261"/>
                      <a:pt x="666" y="403"/>
                    </a:cubicBezTo>
                    <a:cubicBezTo>
                      <a:pt x="666" y="545"/>
                      <a:pt x="551" y="660"/>
                      <a:pt x="409" y="6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Open Sans"/>
                </a:endParaRPr>
              </a:p>
            </p:txBody>
          </p:sp>
          <p:sp>
            <p:nvSpPr>
              <p:cNvPr id="51" name="Oval 50"/>
              <p:cNvSpPr/>
              <p:nvPr/>
            </p:nvSpPr>
            <p:spPr>
              <a:xfrm>
                <a:off x="9036823" y="1913833"/>
                <a:ext cx="1033271" cy="10332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</p:grpSp>
      </p:grpSp>
      <p:sp>
        <p:nvSpPr>
          <p:cNvPr id="71" name="Freeform 5"/>
          <p:cNvSpPr>
            <a:spLocks/>
          </p:cNvSpPr>
          <p:nvPr/>
        </p:nvSpPr>
        <p:spPr bwMode="auto">
          <a:xfrm>
            <a:off x="-55332" y="6801789"/>
            <a:ext cx="6291240" cy="2427758"/>
          </a:xfrm>
          <a:custGeom>
            <a:avLst/>
            <a:gdLst>
              <a:gd name="T0" fmla="*/ 820 w 986"/>
              <a:gd name="T1" fmla="*/ 0 h 331"/>
              <a:gd name="T2" fmla="*/ 789 w 986"/>
              <a:gd name="T3" fmla="*/ 3 h 331"/>
              <a:gd name="T4" fmla="*/ 0 w 986"/>
              <a:gd name="T5" fmla="*/ 3 h 331"/>
              <a:gd name="T6" fmla="*/ 0 w 986"/>
              <a:gd name="T7" fmla="*/ 20 h 331"/>
              <a:gd name="T8" fmla="*/ 801 w 986"/>
              <a:gd name="T9" fmla="*/ 18 h 331"/>
              <a:gd name="T10" fmla="*/ 963 w 986"/>
              <a:gd name="T11" fmla="*/ 164 h 331"/>
              <a:gd name="T12" fmla="*/ 801 w 986"/>
              <a:gd name="T13" fmla="*/ 310 h 331"/>
              <a:gd name="T14" fmla="*/ 0 w 986"/>
              <a:gd name="T15" fmla="*/ 308 h 331"/>
              <a:gd name="T16" fmla="*/ 0 w 986"/>
              <a:gd name="T17" fmla="*/ 328 h 331"/>
              <a:gd name="T18" fmla="*/ 789 w 986"/>
              <a:gd name="T19" fmla="*/ 328 h 331"/>
              <a:gd name="T20" fmla="*/ 820 w 986"/>
              <a:gd name="T21" fmla="*/ 331 h 331"/>
              <a:gd name="T22" fmla="*/ 986 w 986"/>
              <a:gd name="T23" fmla="*/ 165 h 331"/>
              <a:gd name="T24" fmla="*/ 820 w 986"/>
              <a:gd name="T25" fmla="*/ 0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86" h="331">
                <a:moveTo>
                  <a:pt x="820" y="0"/>
                </a:moveTo>
                <a:cubicBezTo>
                  <a:pt x="810" y="0"/>
                  <a:pt x="799" y="1"/>
                  <a:pt x="789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20"/>
                  <a:pt x="791" y="18"/>
                  <a:pt x="801" y="18"/>
                </a:cubicBezTo>
                <a:cubicBezTo>
                  <a:pt x="891" y="18"/>
                  <a:pt x="963" y="83"/>
                  <a:pt x="963" y="164"/>
                </a:cubicBezTo>
                <a:cubicBezTo>
                  <a:pt x="963" y="245"/>
                  <a:pt x="891" y="310"/>
                  <a:pt x="801" y="310"/>
                </a:cubicBezTo>
                <a:cubicBezTo>
                  <a:pt x="791" y="310"/>
                  <a:pt x="0" y="308"/>
                  <a:pt x="0" y="308"/>
                </a:cubicBezTo>
                <a:cubicBezTo>
                  <a:pt x="0" y="328"/>
                  <a:pt x="0" y="328"/>
                  <a:pt x="0" y="328"/>
                </a:cubicBezTo>
                <a:cubicBezTo>
                  <a:pt x="789" y="328"/>
                  <a:pt x="789" y="328"/>
                  <a:pt x="789" y="328"/>
                </a:cubicBezTo>
                <a:cubicBezTo>
                  <a:pt x="799" y="330"/>
                  <a:pt x="810" y="331"/>
                  <a:pt x="820" y="331"/>
                </a:cubicBezTo>
                <a:cubicBezTo>
                  <a:pt x="912" y="331"/>
                  <a:pt x="986" y="257"/>
                  <a:pt x="986" y="165"/>
                </a:cubicBezTo>
                <a:cubicBezTo>
                  <a:pt x="986" y="74"/>
                  <a:pt x="912" y="0"/>
                  <a:pt x="8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9192657" y="4007946"/>
            <a:ext cx="521746" cy="775120"/>
            <a:chOff x="1299545" y="2435356"/>
            <a:chExt cx="402565" cy="598061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93" name="Oval 35"/>
            <p:cNvSpPr>
              <a:spLocks noChangeArrowheads="1"/>
            </p:cNvSpPr>
            <p:nvPr/>
          </p:nvSpPr>
          <p:spPr bwMode="auto">
            <a:xfrm>
              <a:off x="1339415" y="2435356"/>
              <a:ext cx="322824" cy="32025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auto">
            <a:xfrm>
              <a:off x="1299545" y="2762039"/>
              <a:ext cx="402565" cy="271378"/>
            </a:xfrm>
            <a:custGeom>
              <a:avLst/>
              <a:gdLst>
                <a:gd name="T0" fmla="*/ 65 w 130"/>
                <a:gd name="T1" fmla="*/ 12 h 88"/>
                <a:gd name="T2" fmla="*/ 24 w 130"/>
                <a:gd name="T3" fmla="*/ 0 h 88"/>
                <a:gd name="T4" fmla="*/ 0 w 130"/>
                <a:gd name="T5" fmla="*/ 88 h 88"/>
                <a:gd name="T6" fmla="*/ 130 w 130"/>
                <a:gd name="T7" fmla="*/ 88 h 88"/>
                <a:gd name="T8" fmla="*/ 106 w 130"/>
                <a:gd name="T9" fmla="*/ 0 h 88"/>
                <a:gd name="T10" fmla="*/ 65 w 130"/>
                <a:gd name="T11" fmla="*/ 1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8">
                  <a:moveTo>
                    <a:pt x="65" y="12"/>
                  </a:moveTo>
                  <a:cubicBezTo>
                    <a:pt x="50" y="12"/>
                    <a:pt x="36" y="7"/>
                    <a:pt x="24" y="0"/>
                  </a:cubicBezTo>
                  <a:cubicBezTo>
                    <a:pt x="10" y="20"/>
                    <a:pt x="0" y="52"/>
                    <a:pt x="0" y="88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30" y="52"/>
                    <a:pt x="120" y="20"/>
                    <a:pt x="106" y="0"/>
                  </a:cubicBezTo>
                  <a:cubicBezTo>
                    <a:pt x="94" y="7"/>
                    <a:pt x="80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10951850" y="6151787"/>
            <a:ext cx="652812" cy="826658"/>
            <a:chOff x="3660259" y="2415473"/>
            <a:chExt cx="503691" cy="637826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96" name="Oval 40"/>
            <p:cNvSpPr>
              <a:spLocks noChangeArrowheads="1"/>
            </p:cNvSpPr>
            <p:nvPr/>
          </p:nvSpPr>
          <p:spPr bwMode="auto">
            <a:xfrm>
              <a:off x="3706796" y="2415473"/>
              <a:ext cx="339444" cy="34218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7" name="Freeform 41"/>
            <p:cNvSpPr>
              <a:spLocks/>
            </p:cNvSpPr>
            <p:nvPr/>
          </p:nvSpPr>
          <p:spPr bwMode="auto">
            <a:xfrm>
              <a:off x="3660259" y="2760392"/>
              <a:ext cx="395562" cy="292907"/>
            </a:xfrm>
            <a:custGeom>
              <a:avLst/>
              <a:gdLst>
                <a:gd name="T0" fmla="*/ 86 w 120"/>
                <a:gd name="T1" fmla="*/ 50 h 89"/>
                <a:gd name="T2" fmla="*/ 114 w 120"/>
                <a:gd name="T3" fmla="*/ 13 h 89"/>
                <a:gd name="T4" fmla="*/ 106 w 120"/>
                <a:gd name="T5" fmla="*/ 0 h 89"/>
                <a:gd name="T6" fmla="*/ 65 w 120"/>
                <a:gd name="T7" fmla="*/ 12 h 89"/>
                <a:gd name="T8" fmla="*/ 24 w 120"/>
                <a:gd name="T9" fmla="*/ 0 h 89"/>
                <a:gd name="T10" fmla="*/ 0 w 120"/>
                <a:gd name="T11" fmla="*/ 89 h 89"/>
                <a:gd name="T12" fmla="*/ 120 w 120"/>
                <a:gd name="T13" fmla="*/ 89 h 89"/>
                <a:gd name="T14" fmla="*/ 86 w 120"/>
                <a:gd name="T15" fmla="*/ 5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89">
                  <a:moveTo>
                    <a:pt x="86" y="50"/>
                  </a:moveTo>
                  <a:cubicBezTo>
                    <a:pt x="86" y="33"/>
                    <a:pt x="98" y="18"/>
                    <a:pt x="114" y="13"/>
                  </a:cubicBezTo>
                  <a:cubicBezTo>
                    <a:pt x="112" y="8"/>
                    <a:pt x="109" y="4"/>
                    <a:pt x="106" y="0"/>
                  </a:cubicBezTo>
                  <a:cubicBezTo>
                    <a:pt x="95" y="8"/>
                    <a:pt x="80" y="12"/>
                    <a:pt x="65" y="12"/>
                  </a:cubicBezTo>
                  <a:cubicBezTo>
                    <a:pt x="50" y="12"/>
                    <a:pt x="36" y="8"/>
                    <a:pt x="24" y="0"/>
                  </a:cubicBezTo>
                  <a:cubicBezTo>
                    <a:pt x="10" y="21"/>
                    <a:pt x="1" y="53"/>
                    <a:pt x="0" y="89"/>
                  </a:cubicBezTo>
                  <a:cubicBezTo>
                    <a:pt x="120" y="89"/>
                    <a:pt x="120" y="89"/>
                    <a:pt x="120" y="89"/>
                  </a:cubicBezTo>
                  <a:cubicBezTo>
                    <a:pt x="101" y="86"/>
                    <a:pt x="86" y="70"/>
                    <a:pt x="8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8" name="Freeform 42"/>
            <p:cNvSpPr>
              <a:spLocks noEditPoints="1"/>
            </p:cNvSpPr>
            <p:nvPr/>
          </p:nvSpPr>
          <p:spPr bwMode="auto">
            <a:xfrm>
              <a:off x="3980541" y="2832935"/>
              <a:ext cx="183409" cy="184778"/>
            </a:xfrm>
            <a:custGeom>
              <a:avLst/>
              <a:gdLst>
                <a:gd name="T0" fmla="*/ 28 w 56"/>
                <a:gd name="T1" fmla="*/ 0 h 56"/>
                <a:gd name="T2" fmla="*/ 21 w 56"/>
                <a:gd name="T3" fmla="*/ 1 h 56"/>
                <a:gd name="T4" fmla="*/ 0 w 56"/>
                <a:gd name="T5" fmla="*/ 28 h 56"/>
                <a:gd name="T6" fmla="*/ 28 w 56"/>
                <a:gd name="T7" fmla="*/ 56 h 56"/>
                <a:gd name="T8" fmla="*/ 33 w 56"/>
                <a:gd name="T9" fmla="*/ 56 h 56"/>
                <a:gd name="T10" fmla="*/ 56 w 56"/>
                <a:gd name="T11" fmla="*/ 28 h 56"/>
                <a:gd name="T12" fmla="*/ 28 w 56"/>
                <a:gd name="T13" fmla="*/ 0 h 56"/>
                <a:gd name="T14" fmla="*/ 47 w 56"/>
                <a:gd name="T15" fmla="*/ 34 h 56"/>
                <a:gd name="T16" fmla="*/ 33 w 56"/>
                <a:gd name="T17" fmla="*/ 34 h 56"/>
                <a:gd name="T18" fmla="*/ 33 w 56"/>
                <a:gd name="T19" fmla="*/ 48 h 56"/>
                <a:gd name="T20" fmla="*/ 33 w 56"/>
                <a:gd name="T21" fmla="*/ 48 h 56"/>
                <a:gd name="T22" fmla="*/ 22 w 56"/>
                <a:gd name="T23" fmla="*/ 48 h 56"/>
                <a:gd name="T24" fmla="*/ 22 w 56"/>
                <a:gd name="T25" fmla="*/ 34 h 56"/>
                <a:gd name="T26" fmla="*/ 8 w 56"/>
                <a:gd name="T27" fmla="*/ 34 h 56"/>
                <a:gd name="T28" fmla="*/ 8 w 56"/>
                <a:gd name="T29" fmla="*/ 23 h 56"/>
                <a:gd name="T30" fmla="*/ 22 w 56"/>
                <a:gd name="T31" fmla="*/ 23 h 56"/>
                <a:gd name="T32" fmla="*/ 22 w 56"/>
                <a:gd name="T33" fmla="*/ 9 h 56"/>
                <a:gd name="T34" fmla="*/ 24 w 56"/>
                <a:gd name="T35" fmla="*/ 9 h 56"/>
                <a:gd name="T36" fmla="*/ 33 w 56"/>
                <a:gd name="T37" fmla="*/ 9 h 56"/>
                <a:gd name="T38" fmla="*/ 33 w 56"/>
                <a:gd name="T39" fmla="*/ 23 h 56"/>
                <a:gd name="T40" fmla="*/ 47 w 56"/>
                <a:gd name="T41" fmla="*/ 23 h 56"/>
                <a:gd name="T42" fmla="*/ 47 w 56"/>
                <a:gd name="T4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26" y="0"/>
                    <a:pt x="23" y="0"/>
                    <a:pt x="21" y="1"/>
                  </a:cubicBezTo>
                  <a:cubicBezTo>
                    <a:pt x="9" y="4"/>
                    <a:pt x="0" y="15"/>
                    <a:pt x="0" y="28"/>
                  </a:cubicBezTo>
                  <a:cubicBezTo>
                    <a:pt x="0" y="44"/>
                    <a:pt x="12" y="56"/>
                    <a:pt x="28" y="56"/>
                  </a:cubicBezTo>
                  <a:cubicBezTo>
                    <a:pt x="30" y="56"/>
                    <a:pt x="31" y="56"/>
                    <a:pt x="33" y="56"/>
                  </a:cubicBezTo>
                  <a:cubicBezTo>
                    <a:pt x="46" y="53"/>
                    <a:pt x="56" y="42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  <a:moveTo>
                    <a:pt x="4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47" y="23"/>
                    <a:pt x="47" y="23"/>
                    <a:pt x="47" y="23"/>
                  </a:cubicBezTo>
                  <a:lnTo>
                    <a:pt x="47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8977132" y="10912830"/>
            <a:ext cx="840112" cy="864652"/>
            <a:chOff x="8207906" y="2400815"/>
            <a:chExt cx="648206" cy="667141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100" name="Freeform 25"/>
            <p:cNvSpPr>
              <a:spLocks noEditPoints="1"/>
            </p:cNvSpPr>
            <p:nvPr/>
          </p:nvSpPr>
          <p:spPr bwMode="auto">
            <a:xfrm>
              <a:off x="8317155" y="2498410"/>
              <a:ext cx="426796" cy="569546"/>
            </a:xfrm>
            <a:custGeom>
              <a:avLst/>
              <a:gdLst>
                <a:gd name="T0" fmla="*/ 61 w 122"/>
                <a:gd name="T1" fmla="*/ 0 h 163"/>
                <a:gd name="T2" fmla="*/ 0 w 122"/>
                <a:gd name="T3" fmla="*/ 61 h 163"/>
                <a:gd name="T4" fmla="*/ 41 w 122"/>
                <a:gd name="T5" fmla="*/ 118 h 163"/>
                <a:gd name="T6" fmla="*/ 41 w 122"/>
                <a:gd name="T7" fmla="*/ 152 h 163"/>
                <a:gd name="T8" fmla="*/ 47 w 122"/>
                <a:gd name="T9" fmla="*/ 156 h 163"/>
                <a:gd name="T10" fmla="*/ 52 w 122"/>
                <a:gd name="T11" fmla="*/ 163 h 163"/>
                <a:gd name="T12" fmla="*/ 70 w 122"/>
                <a:gd name="T13" fmla="*/ 163 h 163"/>
                <a:gd name="T14" fmla="*/ 75 w 122"/>
                <a:gd name="T15" fmla="*/ 156 h 163"/>
                <a:gd name="T16" fmla="*/ 81 w 122"/>
                <a:gd name="T17" fmla="*/ 152 h 163"/>
                <a:gd name="T18" fmla="*/ 81 w 122"/>
                <a:gd name="T19" fmla="*/ 152 h 163"/>
                <a:gd name="T20" fmla="*/ 81 w 122"/>
                <a:gd name="T21" fmla="*/ 118 h 163"/>
                <a:gd name="T22" fmla="*/ 122 w 122"/>
                <a:gd name="T23" fmla="*/ 61 h 163"/>
                <a:gd name="T24" fmla="*/ 61 w 122"/>
                <a:gd name="T25" fmla="*/ 0 h 163"/>
                <a:gd name="T26" fmla="*/ 61 w 122"/>
                <a:gd name="T27" fmla="*/ 113 h 163"/>
                <a:gd name="T28" fmla="*/ 9 w 122"/>
                <a:gd name="T29" fmla="*/ 61 h 163"/>
                <a:gd name="T30" fmla="*/ 61 w 122"/>
                <a:gd name="T31" fmla="*/ 9 h 163"/>
                <a:gd name="T32" fmla="*/ 113 w 122"/>
                <a:gd name="T33" fmla="*/ 61 h 163"/>
                <a:gd name="T34" fmla="*/ 61 w 122"/>
                <a:gd name="T35" fmla="*/ 11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63">
                  <a:moveTo>
                    <a:pt x="61" y="0"/>
                  </a:moveTo>
                  <a:cubicBezTo>
                    <a:pt x="28" y="0"/>
                    <a:pt x="0" y="27"/>
                    <a:pt x="0" y="61"/>
                  </a:cubicBezTo>
                  <a:cubicBezTo>
                    <a:pt x="0" y="87"/>
                    <a:pt x="17" y="110"/>
                    <a:pt x="41" y="118"/>
                  </a:cubicBezTo>
                  <a:cubicBezTo>
                    <a:pt x="41" y="152"/>
                    <a:pt x="41" y="152"/>
                    <a:pt x="41" y="152"/>
                  </a:cubicBezTo>
                  <a:cubicBezTo>
                    <a:pt x="47" y="156"/>
                    <a:pt x="47" y="156"/>
                    <a:pt x="47" y="156"/>
                  </a:cubicBezTo>
                  <a:cubicBezTo>
                    <a:pt x="52" y="163"/>
                    <a:pt x="52" y="163"/>
                    <a:pt x="52" y="163"/>
                  </a:cubicBezTo>
                  <a:cubicBezTo>
                    <a:pt x="70" y="163"/>
                    <a:pt x="70" y="163"/>
                    <a:pt x="70" y="163"/>
                  </a:cubicBezTo>
                  <a:cubicBezTo>
                    <a:pt x="75" y="156"/>
                    <a:pt x="75" y="156"/>
                    <a:pt x="75" y="156"/>
                  </a:cubicBezTo>
                  <a:cubicBezTo>
                    <a:pt x="81" y="152"/>
                    <a:pt x="81" y="152"/>
                    <a:pt x="81" y="152"/>
                  </a:cubicBezTo>
                  <a:cubicBezTo>
                    <a:pt x="81" y="152"/>
                    <a:pt x="81" y="152"/>
                    <a:pt x="81" y="152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105" y="110"/>
                    <a:pt x="122" y="87"/>
                    <a:pt x="122" y="61"/>
                  </a:cubicBezTo>
                  <a:cubicBezTo>
                    <a:pt x="122" y="27"/>
                    <a:pt x="95" y="0"/>
                    <a:pt x="61" y="0"/>
                  </a:cubicBezTo>
                  <a:close/>
                  <a:moveTo>
                    <a:pt x="61" y="113"/>
                  </a:moveTo>
                  <a:cubicBezTo>
                    <a:pt x="32" y="113"/>
                    <a:pt x="9" y="89"/>
                    <a:pt x="9" y="61"/>
                  </a:cubicBezTo>
                  <a:cubicBezTo>
                    <a:pt x="9" y="32"/>
                    <a:pt x="32" y="9"/>
                    <a:pt x="61" y="9"/>
                  </a:cubicBezTo>
                  <a:cubicBezTo>
                    <a:pt x="90" y="9"/>
                    <a:pt x="113" y="32"/>
                    <a:pt x="113" y="61"/>
                  </a:cubicBezTo>
                  <a:cubicBezTo>
                    <a:pt x="113" y="89"/>
                    <a:pt x="90" y="113"/>
                    <a:pt x="61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1" name="Freeform 26"/>
            <p:cNvSpPr>
              <a:spLocks/>
            </p:cNvSpPr>
            <p:nvPr/>
          </p:nvSpPr>
          <p:spPr bwMode="auto">
            <a:xfrm>
              <a:off x="8207906" y="2805761"/>
              <a:ext cx="97595" cy="59722"/>
            </a:xfrm>
            <a:custGeom>
              <a:avLst/>
              <a:gdLst>
                <a:gd name="T0" fmla="*/ 0 w 28"/>
                <a:gd name="T1" fmla="*/ 7 h 17"/>
                <a:gd name="T2" fmla="*/ 4 w 28"/>
                <a:gd name="T3" fmla="*/ 17 h 17"/>
                <a:gd name="T4" fmla="*/ 28 w 28"/>
                <a:gd name="T5" fmla="*/ 5 h 17"/>
                <a:gd name="T6" fmla="*/ 26 w 28"/>
                <a:gd name="T7" fmla="*/ 0 h 17"/>
                <a:gd name="T8" fmla="*/ 0 w 28"/>
                <a:gd name="T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0" y="7"/>
                  </a:moveTo>
                  <a:cubicBezTo>
                    <a:pt x="1" y="11"/>
                    <a:pt x="3" y="14"/>
                    <a:pt x="4" y="17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7" y="3"/>
                    <a:pt x="27" y="2"/>
                    <a:pt x="26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8757060" y="2578525"/>
              <a:ext cx="99052" cy="59722"/>
            </a:xfrm>
            <a:custGeom>
              <a:avLst/>
              <a:gdLst>
                <a:gd name="T0" fmla="*/ 28 w 28"/>
                <a:gd name="T1" fmla="*/ 10 h 17"/>
                <a:gd name="T2" fmla="*/ 24 w 28"/>
                <a:gd name="T3" fmla="*/ 0 h 17"/>
                <a:gd name="T4" fmla="*/ 0 w 28"/>
                <a:gd name="T5" fmla="*/ 12 h 17"/>
                <a:gd name="T6" fmla="*/ 2 w 28"/>
                <a:gd name="T7" fmla="*/ 17 h 17"/>
                <a:gd name="T8" fmla="*/ 28 w 28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10"/>
                  </a:moveTo>
                  <a:cubicBezTo>
                    <a:pt x="27" y="6"/>
                    <a:pt x="25" y="3"/>
                    <a:pt x="24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4"/>
                    <a:pt x="1" y="15"/>
                    <a:pt x="2" y="17"/>
                  </a:cubicBezTo>
                  <a:lnTo>
                    <a:pt x="2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3" name="Freeform 28"/>
            <p:cNvSpPr>
              <a:spLocks/>
            </p:cNvSpPr>
            <p:nvPr/>
          </p:nvSpPr>
          <p:spPr bwMode="auto">
            <a:xfrm>
              <a:off x="8207906" y="2575612"/>
              <a:ext cx="97595" cy="62635"/>
            </a:xfrm>
            <a:custGeom>
              <a:avLst/>
              <a:gdLst>
                <a:gd name="T0" fmla="*/ 0 w 28"/>
                <a:gd name="T1" fmla="*/ 10 h 18"/>
                <a:gd name="T2" fmla="*/ 26 w 28"/>
                <a:gd name="T3" fmla="*/ 18 h 18"/>
                <a:gd name="T4" fmla="*/ 28 w 28"/>
                <a:gd name="T5" fmla="*/ 13 h 18"/>
                <a:gd name="T6" fmla="*/ 4 w 28"/>
                <a:gd name="T7" fmla="*/ 0 h 18"/>
                <a:gd name="T8" fmla="*/ 0 w 28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8">
                  <a:moveTo>
                    <a:pt x="0" y="10"/>
                  </a:moveTo>
                  <a:cubicBezTo>
                    <a:pt x="26" y="18"/>
                    <a:pt x="26" y="18"/>
                    <a:pt x="26" y="18"/>
                  </a:cubicBezTo>
                  <a:cubicBezTo>
                    <a:pt x="27" y="16"/>
                    <a:pt x="27" y="15"/>
                    <a:pt x="28" y="1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4"/>
                    <a:pt x="1" y="7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8757060" y="2808674"/>
              <a:ext cx="99052" cy="59722"/>
            </a:xfrm>
            <a:custGeom>
              <a:avLst/>
              <a:gdLst>
                <a:gd name="T0" fmla="*/ 0 w 28"/>
                <a:gd name="T1" fmla="*/ 4 h 17"/>
                <a:gd name="T2" fmla="*/ 23 w 28"/>
                <a:gd name="T3" fmla="*/ 17 h 17"/>
                <a:gd name="T4" fmla="*/ 28 w 28"/>
                <a:gd name="T5" fmla="*/ 7 h 17"/>
                <a:gd name="T6" fmla="*/ 2 w 28"/>
                <a:gd name="T7" fmla="*/ 0 h 17"/>
                <a:gd name="T8" fmla="*/ 0 w 28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0" y="4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5" y="13"/>
                    <a:pt x="26" y="10"/>
                    <a:pt x="28" y="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auto">
            <a:xfrm>
              <a:off x="8387073" y="2400815"/>
              <a:ext cx="58266" cy="93225"/>
            </a:xfrm>
            <a:custGeom>
              <a:avLst/>
              <a:gdLst>
                <a:gd name="T0" fmla="*/ 17 w 17"/>
                <a:gd name="T1" fmla="*/ 26 h 27"/>
                <a:gd name="T2" fmla="*/ 10 w 17"/>
                <a:gd name="T3" fmla="*/ 0 h 27"/>
                <a:gd name="T4" fmla="*/ 0 w 17"/>
                <a:gd name="T5" fmla="*/ 4 h 27"/>
                <a:gd name="T6" fmla="*/ 13 w 17"/>
                <a:gd name="T7" fmla="*/ 27 h 27"/>
                <a:gd name="T8" fmla="*/ 17 w 17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17" y="2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1"/>
                    <a:pt x="3" y="2"/>
                    <a:pt x="0" y="4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4" y="27"/>
                    <a:pt x="16" y="26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6" name="Freeform 31"/>
            <p:cNvSpPr>
              <a:spLocks/>
            </p:cNvSpPr>
            <p:nvPr/>
          </p:nvSpPr>
          <p:spPr bwMode="auto">
            <a:xfrm>
              <a:off x="8617223" y="2400815"/>
              <a:ext cx="59723" cy="93225"/>
            </a:xfrm>
            <a:custGeom>
              <a:avLst/>
              <a:gdLst>
                <a:gd name="T0" fmla="*/ 17 w 17"/>
                <a:gd name="T1" fmla="*/ 4 h 27"/>
                <a:gd name="T2" fmla="*/ 7 w 17"/>
                <a:gd name="T3" fmla="*/ 0 h 27"/>
                <a:gd name="T4" fmla="*/ 0 w 17"/>
                <a:gd name="T5" fmla="*/ 26 h 27"/>
                <a:gd name="T6" fmla="*/ 4 w 17"/>
                <a:gd name="T7" fmla="*/ 27 h 27"/>
                <a:gd name="T8" fmla="*/ 17 w 17"/>
                <a:gd name="T9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17" y="4"/>
                  </a:moveTo>
                  <a:cubicBezTo>
                    <a:pt x="14" y="2"/>
                    <a:pt x="10" y="1"/>
                    <a:pt x="7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3" y="27"/>
                    <a:pt x="4" y="27"/>
                  </a:cubicBezTo>
                  <a:lnTo>
                    <a:pt x="1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10810122" y="8863427"/>
            <a:ext cx="670984" cy="832450"/>
            <a:chOff x="5854905" y="2413239"/>
            <a:chExt cx="517713" cy="642295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108" name="Oval 50"/>
            <p:cNvSpPr>
              <a:spLocks noChangeArrowheads="1"/>
            </p:cNvSpPr>
            <p:nvPr/>
          </p:nvSpPr>
          <p:spPr bwMode="auto">
            <a:xfrm>
              <a:off x="5892280" y="2413239"/>
              <a:ext cx="276851" cy="27685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9" name="Freeform 51"/>
            <p:cNvSpPr>
              <a:spLocks/>
            </p:cNvSpPr>
            <p:nvPr/>
          </p:nvSpPr>
          <p:spPr bwMode="auto">
            <a:xfrm>
              <a:off x="5854905" y="2692859"/>
              <a:ext cx="290694" cy="235324"/>
            </a:xfrm>
            <a:custGeom>
              <a:avLst/>
              <a:gdLst>
                <a:gd name="T0" fmla="*/ 87 w 87"/>
                <a:gd name="T1" fmla="*/ 49 h 71"/>
                <a:gd name="T2" fmla="*/ 78 w 87"/>
                <a:gd name="T3" fmla="*/ 24 h 71"/>
                <a:gd name="T4" fmla="*/ 86 w 87"/>
                <a:gd name="T5" fmla="*/ 0 h 71"/>
                <a:gd name="T6" fmla="*/ 85 w 87"/>
                <a:gd name="T7" fmla="*/ 0 h 71"/>
                <a:gd name="T8" fmla="*/ 53 w 87"/>
                <a:gd name="T9" fmla="*/ 10 h 71"/>
                <a:gd name="T10" fmla="*/ 20 w 87"/>
                <a:gd name="T11" fmla="*/ 0 h 71"/>
                <a:gd name="T12" fmla="*/ 0 w 87"/>
                <a:gd name="T13" fmla="*/ 71 h 71"/>
                <a:gd name="T14" fmla="*/ 76 w 87"/>
                <a:gd name="T15" fmla="*/ 71 h 71"/>
                <a:gd name="T16" fmla="*/ 85 w 87"/>
                <a:gd name="T17" fmla="*/ 52 h 71"/>
                <a:gd name="T18" fmla="*/ 87 w 87"/>
                <a:gd name="T19" fmla="*/ 4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87" y="49"/>
                  </a:moveTo>
                  <a:cubicBezTo>
                    <a:pt x="81" y="42"/>
                    <a:pt x="78" y="33"/>
                    <a:pt x="78" y="24"/>
                  </a:cubicBezTo>
                  <a:cubicBezTo>
                    <a:pt x="78" y="15"/>
                    <a:pt x="81" y="7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76" y="6"/>
                    <a:pt x="65" y="10"/>
                    <a:pt x="53" y="10"/>
                  </a:cubicBezTo>
                  <a:cubicBezTo>
                    <a:pt x="40" y="10"/>
                    <a:pt x="29" y="6"/>
                    <a:pt x="20" y="0"/>
                  </a:cubicBezTo>
                  <a:cubicBezTo>
                    <a:pt x="8" y="17"/>
                    <a:pt x="1" y="42"/>
                    <a:pt x="0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8" y="64"/>
                    <a:pt x="81" y="57"/>
                    <a:pt x="85" y="52"/>
                  </a:cubicBezTo>
                  <a:lnTo>
                    <a:pt x="8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10" name="Freeform 52"/>
            <p:cNvSpPr>
              <a:spLocks/>
            </p:cNvSpPr>
            <p:nvPr/>
          </p:nvSpPr>
          <p:spPr bwMode="auto">
            <a:xfrm>
              <a:off x="6138678" y="2669327"/>
              <a:ext cx="206255" cy="206255"/>
            </a:xfrm>
            <a:custGeom>
              <a:avLst/>
              <a:gdLst>
                <a:gd name="T0" fmla="*/ 0 w 62"/>
                <a:gd name="T1" fmla="*/ 31 h 62"/>
                <a:gd name="T2" fmla="*/ 19 w 62"/>
                <a:gd name="T3" fmla="*/ 59 h 62"/>
                <a:gd name="T4" fmla="*/ 31 w 62"/>
                <a:gd name="T5" fmla="*/ 62 h 62"/>
                <a:gd name="T6" fmla="*/ 62 w 62"/>
                <a:gd name="T7" fmla="*/ 31 h 62"/>
                <a:gd name="T8" fmla="*/ 31 w 62"/>
                <a:gd name="T9" fmla="*/ 0 h 62"/>
                <a:gd name="T10" fmla="*/ 5 w 62"/>
                <a:gd name="T11" fmla="*/ 14 h 62"/>
                <a:gd name="T12" fmla="*/ 0 w 62"/>
                <a:gd name="T13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62">
                  <a:moveTo>
                    <a:pt x="0" y="31"/>
                  </a:moveTo>
                  <a:cubicBezTo>
                    <a:pt x="0" y="44"/>
                    <a:pt x="7" y="55"/>
                    <a:pt x="19" y="59"/>
                  </a:cubicBezTo>
                  <a:cubicBezTo>
                    <a:pt x="22" y="61"/>
                    <a:pt x="26" y="62"/>
                    <a:pt x="31" y="62"/>
                  </a:cubicBezTo>
                  <a:cubicBezTo>
                    <a:pt x="48" y="62"/>
                    <a:pt x="62" y="48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20" y="0"/>
                    <a:pt x="10" y="5"/>
                    <a:pt x="5" y="14"/>
                  </a:cubicBezTo>
                  <a:cubicBezTo>
                    <a:pt x="1" y="19"/>
                    <a:pt x="0" y="25"/>
                    <a:pt x="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11" name="Freeform 53"/>
            <p:cNvSpPr>
              <a:spLocks/>
            </p:cNvSpPr>
            <p:nvPr/>
          </p:nvSpPr>
          <p:spPr bwMode="auto">
            <a:xfrm>
              <a:off x="6108224" y="2878349"/>
              <a:ext cx="264394" cy="177185"/>
            </a:xfrm>
            <a:custGeom>
              <a:avLst/>
              <a:gdLst>
                <a:gd name="T0" fmla="*/ 64 w 79"/>
                <a:gd name="T1" fmla="*/ 0 h 53"/>
                <a:gd name="T2" fmla="*/ 40 w 79"/>
                <a:gd name="T3" fmla="*/ 7 h 53"/>
                <a:gd name="T4" fmla="*/ 28 w 79"/>
                <a:gd name="T5" fmla="*/ 6 h 53"/>
                <a:gd name="T6" fmla="*/ 15 w 79"/>
                <a:gd name="T7" fmla="*/ 0 h 53"/>
                <a:gd name="T8" fmla="*/ 7 w 79"/>
                <a:gd name="T9" fmla="*/ 15 h 53"/>
                <a:gd name="T10" fmla="*/ 0 w 79"/>
                <a:gd name="T11" fmla="*/ 53 h 53"/>
                <a:gd name="T12" fmla="*/ 79 w 79"/>
                <a:gd name="T13" fmla="*/ 53 h 53"/>
                <a:gd name="T14" fmla="*/ 64 w 7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53">
                  <a:moveTo>
                    <a:pt x="64" y="0"/>
                  </a:moveTo>
                  <a:cubicBezTo>
                    <a:pt x="57" y="5"/>
                    <a:pt x="49" y="7"/>
                    <a:pt x="40" y="7"/>
                  </a:cubicBezTo>
                  <a:cubicBezTo>
                    <a:pt x="36" y="7"/>
                    <a:pt x="32" y="7"/>
                    <a:pt x="28" y="6"/>
                  </a:cubicBezTo>
                  <a:cubicBezTo>
                    <a:pt x="24" y="5"/>
                    <a:pt x="19" y="3"/>
                    <a:pt x="15" y="0"/>
                  </a:cubicBezTo>
                  <a:cubicBezTo>
                    <a:pt x="12" y="4"/>
                    <a:pt x="9" y="9"/>
                    <a:pt x="7" y="15"/>
                  </a:cubicBezTo>
                  <a:cubicBezTo>
                    <a:pt x="3" y="26"/>
                    <a:pt x="1" y="39"/>
                    <a:pt x="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8" y="31"/>
                    <a:pt x="73" y="12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12" name="Rectangle 111"/>
          <p:cNvSpPr/>
          <p:nvPr/>
        </p:nvSpPr>
        <p:spPr>
          <a:xfrm>
            <a:off x="1009236" y="6956770"/>
            <a:ext cx="3437671" cy="19389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828800" rtl="0"/>
            <a:r>
              <a:rPr lang="id-ID" sz="36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6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B</a:t>
            </a:r>
            <a:r>
              <a:rPr lang="id-ID" sz="36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usiness</a:t>
            </a:r>
            <a:r>
              <a:rPr lang="en-US" sz="36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pPr defTabSz="1828800" rtl="0"/>
            <a:r>
              <a:rPr lang="en-US" sz="4800" kern="1200" dirty="0" err="1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Infographic</a:t>
            </a:r>
            <a:endParaRPr lang="en-US" sz="4800" kern="1200" dirty="0">
              <a:solidFill>
                <a:prstClr val="white"/>
              </a:solidFill>
              <a:latin typeface="Open Sans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defTabSz="1828800" rtl="0"/>
            <a:r>
              <a:rPr lang="en-US" sz="36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Element</a:t>
            </a:r>
            <a:r>
              <a:rPr lang="id-ID" sz="36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en-US" sz="3600" kern="1200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1175906" y="4055510"/>
            <a:ext cx="99302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11200171" y="357364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2980B9"/>
                </a:solidFill>
                <a:latin typeface="Poppins"/>
              </a:rPr>
              <a:t>DATA TAMPLE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12791282" y="6194952"/>
            <a:ext cx="99302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12815547" y="5713090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9BBB59"/>
                </a:solidFill>
                <a:latin typeface="Poppins"/>
              </a:rPr>
              <a:t>DATA TAMPLE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12832590" y="8985322"/>
            <a:ext cx="99302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2856855" y="8503460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11067298" y="11162376"/>
            <a:ext cx="99302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prstClr val="white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1091563" y="10680514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</p:spTree>
    <p:extLst>
      <p:ext uri="{BB962C8B-B14F-4D97-AF65-F5344CB8AC3E}">
        <p14:creationId xmlns:p14="http://schemas.microsoft.com/office/powerpoint/2010/main" val="3213948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13874911" y="3865945"/>
            <a:ext cx="6844382" cy="37656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2" name="Rectangle 31"/>
          <p:cNvSpPr/>
          <p:nvPr/>
        </p:nvSpPr>
        <p:spPr>
          <a:xfrm rot="21256559">
            <a:off x="7052895" y="4886865"/>
            <a:ext cx="461966" cy="32339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1" name="Rectangle 30"/>
          <p:cNvSpPr/>
          <p:nvPr/>
        </p:nvSpPr>
        <p:spPr>
          <a:xfrm rot="8100000">
            <a:off x="7841871" y="8528729"/>
            <a:ext cx="461966" cy="32339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0" name="Rectangle 29"/>
          <p:cNvSpPr/>
          <p:nvPr/>
        </p:nvSpPr>
        <p:spPr>
          <a:xfrm rot="2700000">
            <a:off x="4007121" y="7272901"/>
            <a:ext cx="461966" cy="32339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4" name="Freeform 5"/>
          <p:cNvSpPr>
            <a:spLocks noEditPoints="1"/>
          </p:cNvSpPr>
          <p:nvPr/>
        </p:nvSpPr>
        <p:spPr bwMode="auto">
          <a:xfrm>
            <a:off x="1152527" y="3009900"/>
            <a:ext cx="10496550" cy="9309100"/>
          </a:xfrm>
          <a:custGeom>
            <a:avLst/>
            <a:gdLst>
              <a:gd name="T0" fmla="*/ 1346 w 1541"/>
              <a:gd name="T1" fmla="*/ 1365 h 1365"/>
              <a:gd name="T2" fmla="*/ 195 w 1541"/>
              <a:gd name="T3" fmla="*/ 1365 h 1365"/>
              <a:gd name="T4" fmla="*/ 30 w 1541"/>
              <a:gd name="T5" fmla="*/ 1283 h 1365"/>
              <a:gd name="T6" fmla="*/ 42 w 1541"/>
              <a:gd name="T7" fmla="*/ 1099 h 1365"/>
              <a:gd name="T8" fmla="*/ 617 w 1541"/>
              <a:gd name="T9" fmla="*/ 103 h 1365"/>
              <a:gd name="T10" fmla="*/ 771 w 1541"/>
              <a:gd name="T11" fmla="*/ 0 h 1365"/>
              <a:gd name="T12" fmla="*/ 924 w 1541"/>
              <a:gd name="T13" fmla="*/ 103 h 1365"/>
              <a:gd name="T14" fmla="*/ 1500 w 1541"/>
              <a:gd name="T15" fmla="*/ 1099 h 1365"/>
              <a:gd name="T16" fmla="*/ 1511 w 1541"/>
              <a:gd name="T17" fmla="*/ 1283 h 1365"/>
              <a:gd name="T18" fmla="*/ 1346 w 1541"/>
              <a:gd name="T19" fmla="*/ 1365 h 1365"/>
              <a:gd name="T20" fmla="*/ 771 w 1541"/>
              <a:gd name="T21" fmla="*/ 124 h 1365"/>
              <a:gd name="T22" fmla="*/ 724 w 1541"/>
              <a:gd name="T23" fmla="*/ 165 h 1365"/>
              <a:gd name="T24" fmla="*/ 149 w 1541"/>
              <a:gd name="T25" fmla="*/ 1161 h 1365"/>
              <a:gd name="T26" fmla="*/ 137 w 1541"/>
              <a:gd name="T27" fmla="*/ 1221 h 1365"/>
              <a:gd name="T28" fmla="*/ 195 w 1541"/>
              <a:gd name="T29" fmla="*/ 1241 h 1365"/>
              <a:gd name="T30" fmla="*/ 1346 w 1541"/>
              <a:gd name="T31" fmla="*/ 1241 h 1365"/>
              <a:gd name="T32" fmla="*/ 1404 w 1541"/>
              <a:gd name="T33" fmla="*/ 1221 h 1365"/>
              <a:gd name="T34" fmla="*/ 1392 w 1541"/>
              <a:gd name="T35" fmla="*/ 1161 h 1365"/>
              <a:gd name="T36" fmla="*/ 817 w 1541"/>
              <a:gd name="T37" fmla="*/ 165 h 1365"/>
              <a:gd name="T38" fmla="*/ 771 w 1541"/>
              <a:gd name="T39" fmla="*/ 124 h 1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41" h="1365">
                <a:moveTo>
                  <a:pt x="1346" y="1365"/>
                </a:moveTo>
                <a:cubicBezTo>
                  <a:pt x="195" y="1365"/>
                  <a:pt x="195" y="1365"/>
                  <a:pt x="195" y="1365"/>
                </a:cubicBezTo>
                <a:cubicBezTo>
                  <a:pt x="120" y="1365"/>
                  <a:pt x="60" y="1335"/>
                  <a:pt x="30" y="1283"/>
                </a:cubicBezTo>
                <a:cubicBezTo>
                  <a:pt x="0" y="1231"/>
                  <a:pt x="4" y="1164"/>
                  <a:pt x="42" y="1099"/>
                </a:cubicBezTo>
                <a:cubicBezTo>
                  <a:pt x="617" y="103"/>
                  <a:pt x="617" y="103"/>
                  <a:pt x="617" y="103"/>
                </a:cubicBezTo>
                <a:cubicBezTo>
                  <a:pt x="655" y="38"/>
                  <a:pt x="711" y="0"/>
                  <a:pt x="771" y="0"/>
                </a:cubicBezTo>
                <a:cubicBezTo>
                  <a:pt x="831" y="0"/>
                  <a:pt x="887" y="38"/>
                  <a:pt x="924" y="103"/>
                </a:cubicBezTo>
                <a:cubicBezTo>
                  <a:pt x="1500" y="1099"/>
                  <a:pt x="1500" y="1099"/>
                  <a:pt x="1500" y="1099"/>
                </a:cubicBezTo>
                <a:cubicBezTo>
                  <a:pt x="1537" y="1164"/>
                  <a:pt x="1541" y="1231"/>
                  <a:pt x="1511" y="1283"/>
                </a:cubicBezTo>
                <a:cubicBezTo>
                  <a:pt x="1481" y="1335"/>
                  <a:pt x="1421" y="1365"/>
                  <a:pt x="1346" y="1365"/>
                </a:cubicBezTo>
                <a:close/>
                <a:moveTo>
                  <a:pt x="771" y="124"/>
                </a:moveTo>
                <a:cubicBezTo>
                  <a:pt x="756" y="124"/>
                  <a:pt x="739" y="140"/>
                  <a:pt x="724" y="165"/>
                </a:cubicBezTo>
                <a:cubicBezTo>
                  <a:pt x="149" y="1161"/>
                  <a:pt x="149" y="1161"/>
                  <a:pt x="149" y="1161"/>
                </a:cubicBezTo>
                <a:cubicBezTo>
                  <a:pt x="135" y="1186"/>
                  <a:pt x="130" y="1209"/>
                  <a:pt x="137" y="1221"/>
                </a:cubicBezTo>
                <a:cubicBezTo>
                  <a:pt x="144" y="1234"/>
                  <a:pt x="167" y="1241"/>
                  <a:pt x="195" y="1241"/>
                </a:cubicBezTo>
                <a:cubicBezTo>
                  <a:pt x="1346" y="1241"/>
                  <a:pt x="1346" y="1241"/>
                  <a:pt x="1346" y="1241"/>
                </a:cubicBezTo>
                <a:cubicBezTo>
                  <a:pt x="1375" y="1241"/>
                  <a:pt x="1397" y="1234"/>
                  <a:pt x="1404" y="1221"/>
                </a:cubicBezTo>
                <a:cubicBezTo>
                  <a:pt x="1411" y="1209"/>
                  <a:pt x="1407" y="1186"/>
                  <a:pt x="1392" y="1161"/>
                </a:cubicBezTo>
                <a:cubicBezTo>
                  <a:pt x="817" y="165"/>
                  <a:pt x="817" y="165"/>
                  <a:pt x="817" y="165"/>
                </a:cubicBezTo>
                <a:cubicBezTo>
                  <a:pt x="803" y="140"/>
                  <a:pt x="785" y="124"/>
                  <a:pt x="771" y="124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8" name="Oval 7"/>
          <p:cNvSpPr/>
          <p:nvPr/>
        </p:nvSpPr>
        <p:spPr>
          <a:xfrm>
            <a:off x="1735820" y="9728258"/>
            <a:ext cx="2317064" cy="231706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934625" y="9941188"/>
            <a:ext cx="1919458" cy="1891204"/>
            <a:chOff x="2244553" y="1624089"/>
            <a:chExt cx="1542356" cy="1519654"/>
          </a:xfrm>
          <a:solidFill>
            <a:schemeClr val="bg2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2244553" y="1624089"/>
              <a:ext cx="1542356" cy="1519654"/>
            </a:xfrm>
            <a:custGeom>
              <a:avLst/>
              <a:gdLst>
                <a:gd name="T0" fmla="*/ 739 w 818"/>
                <a:gd name="T1" fmla="*/ 400 h 806"/>
                <a:gd name="T2" fmla="*/ 818 w 818"/>
                <a:gd name="T3" fmla="*/ 371 h 806"/>
                <a:gd name="T4" fmla="*/ 807 w 818"/>
                <a:gd name="T5" fmla="*/ 305 h 806"/>
                <a:gd name="T6" fmla="*/ 723 w 818"/>
                <a:gd name="T7" fmla="*/ 305 h 806"/>
                <a:gd name="T8" fmla="*/ 656 w 818"/>
                <a:gd name="T9" fmla="*/ 190 h 806"/>
                <a:gd name="T10" fmla="*/ 698 w 818"/>
                <a:gd name="T11" fmla="*/ 117 h 806"/>
                <a:gd name="T12" fmla="*/ 647 w 818"/>
                <a:gd name="T13" fmla="*/ 74 h 806"/>
                <a:gd name="T14" fmla="*/ 582 w 818"/>
                <a:gd name="T15" fmla="*/ 128 h 806"/>
                <a:gd name="T16" fmla="*/ 457 w 818"/>
                <a:gd name="T17" fmla="*/ 83 h 806"/>
                <a:gd name="T18" fmla="*/ 442 w 818"/>
                <a:gd name="T19" fmla="*/ 0 h 806"/>
                <a:gd name="T20" fmla="*/ 375 w 818"/>
                <a:gd name="T21" fmla="*/ 0 h 806"/>
                <a:gd name="T22" fmla="*/ 361 w 818"/>
                <a:gd name="T23" fmla="*/ 83 h 806"/>
                <a:gd name="T24" fmla="*/ 236 w 818"/>
                <a:gd name="T25" fmla="*/ 128 h 806"/>
                <a:gd name="T26" fmla="*/ 171 w 818"/>
                <a:gd name="T27" fmla="*/ 74 h 806"/>
                <a:gd name="T28" fmla="*/ 120 w 818"/>
                <a:gd name="T29" fmla="*/ 117 h 806"/>
                <a:gd name="T30" fmla="*/ 162 w 818"/>
                <a:gd name="T31" fmla="*/ 190 h 806"/>
                <a:gd name="T32" fmla="*/ 95 w 818"/>
                <a:gd name="T33" fmla="*/ 305 h 806"/>
                <a:gd name="T34" fmla="*/ 11 w 818"/>
                <a:gd name="T35" fmla="*/ 305 h 806"/>
                <a:gd name="T36" fmla="*/ 0 w 818"/>
                <a:gd name="T37" fmla="*/ 371 h 806"/>
                <a:gd name="T38" fmla="*/ 78 w 818"/>
                <a:gd name="T39" fmla="*/ 400 h 806"/>
                <a:gd name="T40" fmla="*/ 102 w 818"/>
                <a:gd name="T41" fmla="*/ 531 h 806"/>
                <a:gd name="T42" fmla="*/ 37 w 818"/>
                <a:gd name="T43" fmla="*/ 585 h 806"/>
                <a:gd name="T44" fmla="*/ 71 w 818"/>
                <a:gd name="T45" fmla="*/ 643 h 806"/>
                <a:gd name="T46" fmla="*/ 150 w 818"/>
                <a:gd name="T47" fmla="*/ 615 h 806"/>
                <a:gd name="T48" fmla="*/ 252 w 818"/>
                <a:gd name="T49" fmla="*/ 700 h 806"/>
                <a:gd name="T50" fmla="*/ 237 w 818"/>
                <a:gd name="T51" fmla="*/ 783 h 806"/>
                <a:gd name="T52" fmla="*/ 300 w 818"/>
                <a:gd name="T53" fmla="*/ 806 h 806"/>
                <a:gd name="T54" fmla="*/ 342 w 818"/>
                <a:gd name="T55" fmla="*/ 733 h 806"/>
                <a:gd name="T56" fmla="*/ 476 w 818"/>
                <a:gd name="T57" fmla="*/ 733 h 806"/>
                <a:gd name="T58" fmla="*/ 518 w 818"/>
                <a:gd name="T59" fmla="*/ 806 h 806"/>
                <a:gd name="T60" fmla="*/ 581 w 818"/>
                <a:gd name="T61" fmla="*/ 783 h 806"/>
                <a:gd name="T62" fmla="*/ 566 w 818"/>
                <a:gd name="T63" fmla="*/ 700 h 806"/>
                <a:gd name="T64" fmla="*/ 668 w 818"/>
                <a:gd name="T65" fmla="*/ 615 h 806"/>
                <a:gd name="T66" fmla="*/ 747 w 818"/>
                <a:gd name="T67" fmla="*/ 643 h 806"/>
                <a:gd name="T68" fmla="*/ 781 w 818"/>
                <a:gd name="T69" fmla="*/ 585 h 806"/>
                <a:gd name="T70" fmla="*/ 716 w 818"/>
                <a:gd name="T71" fmla="*/ 531 h 806"/>
                <a:gd name="T72" fmla="*/ 739 w 818"/>
                <a:gd name="T73" fmla="*/ 400 h 806"/>
                <a:gd name="T74" fmla="*/ 409 w 818"/>
                <a:gd name="T75" fmla="*/ 660 h 806"/>
                <a:gd name="T76" fmla="*/ 152 w 818"/>
                <a:gd name="T77" fmla="*/ 403 h 806"/>
                <a:gd name="T78" fmla="*/ 409 w 818"/>
                <a:gd name="T79" fmla="*/ 146 h 806"/>
                <a:gd name="T80" fmla="*/ 666 w 818"/>
                <a:gd name="T81" fmla="*/ 403 h 806"/>
                <a:gd name="T82" fmla="*/ 409 w 818"/>
                <a:gd name="T83" fmla="*/ 660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8" h="806">
                  <a:moveTo>
                    <a:pt x="739" y="400"/>
                  </a:moveTo>
                  <a:cubicBezTo>
                    <a:pt x="818" y="371"/>
                    <a:pt x="818" y="371"/>
                    <a:pt x="818" y="371"/>
                  </a:cubicBezTo>
                  <a:cubicBezTo>
                    <a:pt x="807" y="305"/>
                    <a:pt x="807" y="305"/>
                    <a:pt x="807" y="305"/>
                  </a:cubicBezTo>
                  <a:cubicBezTo>
                    <a:pt x="723" y="305"/>
                    <a:pt x="723" y="305"/>
                    <a:pt x="723" y="305"/>
                  </a:cubicBezTo>
                  <a:cubicBezTo>
                    <a:pt x="709" y="263"/>
                    <a:pt x="686" y="224"/>
                    <a:pt x="656" y="190"/>
                  </a:cubicBezTo>
                  <a:cubicBezTo>
                    <a:pt x="698" y="117"/>
                    <a:pt x="698" y="117"/>
                    <a:pt x="698" y="117"/>
                  </a:cubicBezTo>
                  <a:cubicBezTo>
                    <a:pt x="647" y="74"/>
                    <a:pt x="647" y="74"/>
                    <a:pt x="647" y="74"/>
                  </a:cubicBezTo>
                  <a:cubicBezTo>
                    <a:pt x="582" y="128"/>
                    <a:pt x="582" y="128"/>
                    <a:pt x="582" y="128"/>
                  </a:cubicBezTo>
                  <a:cubicBezTo>
                    <a:pt x="544" y="105"/>
                    <a:pt x="501" y="89"/>
                    <a:pt x="457" y="83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61" y="83"/>
                    <a:pt x="361" y="83"/>
                    <a:pt x="361" y="83"/>
                  </a:cubicBezTo>
                  <a:cubicBezTo>
                    <a:pt x="316" y="89"/>
                    <a:pt x="274" y="105"/>
                    <a:pt x="236" y="128"/>
                  </a:cubicBezTo>
                  <a:cubicBezTo>
                    <a:pt x="171" y="74"/>
                    <a:pt x="171" y="74"/>
                    <a:pt x="171" y="74"/>
                  </a:cubicBezTo>
                  <a:cubicBezTo>
                    <a:pt x="120" y="117"/>
                    <a:pt x="120" y="117"/>
                    <a:pt x="120" y="117"/>
                  </a:cubicBezTo>
                  <a:cubicBezTo>
                    <a:pt x="162" y="190"/>
                    <a:pt x="162" y="190"/>
                    <a:pt x="162" y="190"/>
                  </a:cubicBezTo>
                  <a:cubicBezTo>
                    <a:pt x="132" y="224"/>
                    <a:pt x="109" y="263"/>
                    <a:pt x="95" y="305"/>
                  </a:cubicBezTo>
                  <a:cubicBezTo>
                    <a:pt x="11" y="305"/>
                    <a:pt x="11" y="305"/>
                    <a:pt x="11" y="305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78" y="400"/>
                    <a:pt x="78" y="400"/>
                    <a:pt x="78" y="400"/>
                  </a:cubicBezTo>
                  <a:cubicBezTo>
                    <a:pt x="77" y="445"/>
                    <a:pt x="85" y="490"/>
                    <a:pt x="102" y="531"/>
                  </a:cubicBezTo>
                  <a:cubicBezTo>
                    <a:pt x="37" y="585"/>
                    <a:pt x="37" y="585"/>
                    <a:pt x="37" y="585"/>
                  </a:cubicBezTo>
                  <a:cubicBezTo>
                    <a:pt x="71" y="643"/>
                    <a:pt x="71" y="643"/>
                    <a:pt x="71" y="643"/>
                  </a:cubicBezTo>
                  <a:cubicBezTo>
                    <a:pt x="150" y="615"/>
                    <a:pt x="150" y="615"/>
                    <a:pt x="150" y="615"/>
                  </a:cubicBezTo>
                  <a:cubicBezTo>
                    <a:pt x="178" y="650"/>
                    <a:pt x="212" y="679"/>
                    <a:pt x="252" y="700"/>
                  </a:cubicBezTo>
                  <a:cubicBezTo>
                    <a:pt x="237" y="783"/>
                    <a:pt x="237" y="783"/>
                    <a:pt x="237" y="783"/>
                  </a:cubicBezTo>
                  <a:cubicBezTo>
                    <a:pt x="300" y="806"/>
                    <a:pt x="300" y="806"/>
                    <a:pt x="300" y="806"/>
                  </a:cubicBezTo>
                  <a:cubicBezTo>
                    <a:pt x="342" y="733"/>
                    <a:pt x="342" y="733"/>
                    <a:pt x="342" y="733"/>
                  </a:cubicBezTo>
                  <a:cubicBezTo>
                    <a:pt x="386" y="742"/>
                    <a:pt x="432" y="742"/>
                    <a:pt x="476" y="733"/>
                  </a:cubicBezTo>
                  <a:cubicBezTo>
                    <a:pt x="518" y="806"/>
                    <a:pt x="518" y="806"/>
                    <a:pt x="518" y="806"/>
                  </a:cubicBezTo>
                  <a:cubicBezTo>
                    <a:pt x="581" y="783"/>
                    <a:pt x="581" y="783"/>
                    <a:pt x="581" y="783"/>
                  </a:cubicBezTo>
                  <a:cubicBezTo>
                    <a:pt x="566" y="700"/>
                    <a:pt x="566" y="700"/>
                    <a:pt x="566" y="700"/>
                  </a:cubicBezTo>
                  <a:cubicBezTo>
                    <a:pt x="606" y="679"/>
                    <a:pt x="640" y="650"/>
                    <a:pt x="668" y="615"/>
                  </a:cubicBezTo>
                  <a:cubicBezTo>
                    <a:pt x="747" y="643"/>
                    <a:pt x="747" y="643"/>
                    <a:pt x="747" y="643"/>
                  </a:cubicBezTo>
                  <a:cubicBezTo>
                    <a:pt x="781" y="585"/>
                    <a:pt x="781" y="585"/>
                    <a:pt x="781" y="585"/>
                  </a:cubicBezTo>
                  <a:cubicBezTo>
                    <a:pt x="716" y="531"/>
                    <a:pt x="716" y="531"/>
                    <a:pt x="716" y="531"/>
                  </a:cubicBezTo>
                  <a:cubicBezTo>
                    <a:pt x="733" y="490"/>
                    <a:pt x="741" y="445"/>
                    <a:pt x="739" y="400"/>
                  </a:cubicBezTo>
                  <a:close/>
                  <a:moveTo>
                    <a:pt x="409" y="660"/>
                  </a:moveTo>
                  <a:cubicBezTo>
                    <a:pt x="267" y="660"/>
                    <a:pt x="152" y="545"/>
                    <a:pt x="152" y="403"/>
                  </a:cubicBezTo>
                  <a:cubicBezTo>
                    <a:pt x="152" y="261"/>
                    <a:pt x="267" y="146"/>
                    <a:pt x="409" y="146"/>
                  </a:cubicBezTo>
                  <a:cubicBezTo>
                    <a:pt x="551" y="146"/>
                    <a:pt x="666" y="261"/>
                    <a:pt x="666" y="403"/>
                  </a:cubicBezTo>
                  <a:cubicBezTo>
                    <a:pt x="666" y="545"/>
                    <a:pt x="551" y="660"/>
                    <a:pt x="409" y="6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1" name="Oval 6"/>
            <p:cNvSpPr>
              <a:spLocks noChangeArrowheads="1"/>
            </p:cNvSpPr>
            <p:nvPr/>
          </p:nvSpPr>
          <p:spPr bwMode="auto">
            <a:xfrm>
              <a:off x="2698462" y="2066648"/>
              <a:ext cx="634538" cy="63453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 dirty="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5242268" y="3530470"/>
            <a:ext cx="2317064" cy="23170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441073" y="3743400"/>
            <a:ext cx="1919458" cy="1891204"/>
            <a:chOff x="2244553" y="1624089"/>
            <a:chExt cx="1542356" cy="1519654"/>
          </a:xfrm>
          <a:solidFill>
            <a:schemeClr val="bg2"/>
          </a:solidFill>
        </p:grpSpPr>
        <p:sp>
          <p:nvSpPr>
            <p:cNvPr id="17" name="Freeform 5"/>
            <p:cNvSpPr>
              <a:spLocks noEditPoints="1"/>
            </p:cNvSpPr>
            <p:nvPr/>
          </p:nvSpPr>
          <p:spPr bwMode="auto">
            <a:xfrm>
              <a:off x="2244553" y="1624089"/>
              <a:ext cx="1542356" cy="1519654"/>
            </a:xfrm>
            <a:custGeom>
              <a:avLst/>
              <a:gdLst>
                <a:gd name="T0" fmla="*/ 739 w 818"/>
                <a:gd name="T1" fmla="*/ 400 h 806"/>
                <a:gd name="T2" fmla="*/ 818 w 818"/>
                <a:gd name="T3" fmla="*/ 371 h 806"/>
                <a:gd name="T4" fmla="*/ 807 w 818"/>
                <a:gd name="T5" fmla="*/ 305 h 806"/>
                <a:gd name="T6" fmla="*/ 723 w 818"/>
                <a:gd name="T7" fmla="*/ 305 h 806"/>
                <a:gd name="T8" fmla="*/ 656 w 818"/>
                <a:gd name="T9" fmla="*/ 190 h 806"/>
                <a:gd name="T10" fmla="*/ 698 w 818"/>
                <a:gd name="T11" fmla="*/ 117 h 806"/>
                <a:gd name="T12" fmla="*/ 647 w 818"/>
                <a:gd name="T13" fmla="*/ 74 h 806"/>
                <a:gd name="T14" fmla="*/ 582 w 818"/>
                <a:gd name="T15" fmla="*/ 128 h 806"/>
                <a:gd name="T16" fmla="*/ 457 w 818"/>
                <a:gd name="T17" fmla="*/ 83 h 806"/>
                <a:gd name="T18" fmla="*/ 442 w 818"/>
                <a:gd name="T19" fmla="*/ 0 h 806"/>
                <a:gd name="T20" fmla="*/ 375 w 818"/>
                <a:gd name="T21" fmla="*/ 0 h 806"/>
                <a:gd name="T22" fmla="*/ 361 w 818"/>
                <a:gd name="T23" fmla="*/ 83 h 806"/>
                <a:gd name="T24" fmla="*/ 236 w 818"/>
                <a:gd name="T25" fmla="*/ 128 h 806"/>
                <a:gd name="T26" fmla="*/ 171 w 818"/>
                <a:gd name="T27" fmla="*/ 74 h 806"/>
                <a:gd name="T28" fmla="*/ 120 w 818"/>
                <a:gd name="T29" fmla="*/ 117 h 806"/>
                <a:gd name="T30" fmla="*/ 162 w 818"/>
                <a:gd name="T31" fmla="*/ 190 h 806"/>
                <a:gd name="T32" fmla="*/ 95 w 818"/>
                <a:gd name="T33" fmla="*/ 305 h 806"/>
                <a:gd name="T34" fmla="*/ 11 w 818"/>
                <a:gd name="T35" fmla="*/ 305 h 806"/>
                <a:gd name="T36" fmla="*/ 0 w 818"/>
                <a:gd name="T37" fmla="*/ 371 h 806"/>
                <a:gd name="T38" fmla="*/ 78 w 818"/>
                <a:gd name="T39" fmla="*/ 400 h 806"/>
                <a:gd name="T40" fmla="*/ 102 w 818"/>
                <a:gd name="T41" fmla="*/ 531 h 806"/>
                <a:gd name="T42" fmla="*/ 37 w 818"/>
                <a:gd name="T43" fmla="*/ 585 h 806"/>
                <a:gd name="T44" fmla="*/ 71 w 818"/>
                <a:gd name="T45" fmla="*/ 643 h 806"/>
                <a:gd name="T46" fmla="*/ 150 w 818"/>
                <a:gd name="T47" fmla="*/ 615 h 806"/>
                <a:gd name="T48" fmla="*/ 252 w 818"/>
                <a:gd name="T49" fmla="*/ 700 h 806"/>
                <a:gd name="T50" fmla="*/ 237 w 818"/>
                <a:gd name="T51" fmla="*/ 783 h 806"/>
                <a:gd name="T52" fmla="*/ 300 w 818"/>
                <a:gd name="T53" fmla="*/ 806 h 806"/>
                <a:gd name="T54" fmla="*/ 342 w 818"/>
                <a:gd name="T55" fmla="*/ 733 h 806"/>
                <a:gd name="T56" fmla="*/ 476 w 818"/>
                <a:gd name="T57" fmla="*/ 733 h 806"/>
                <a:gd name="T58" fmla="*/ 518 w 818"/>
                <a:gd name="T59" fmla="*/ 806 h 806"/>
                <a:gd name="T60" fmla="*/ 581 w 818"/>
                <a:gd name="T61" fmla="*/ 783 h 806"/>
                <a:gd name="T62" fmla="*/ 566 w 818"/>
                <a:gd name="T63" fmla="*/ 700 h 806"/>
                <a:gd name="T64" fmla="*/ 668 w 818"/>
                <a:gd name="T65" fmla="*/ 615 h 806"/>
                <a:gd name="T66" fmla="*/ 747 w 818"/>
                <a:gd name="T67" fmla="*/ 643 h 806"/>
                <a:gd name="T68" fmla="*/ 781 w 818"/>
                <a:gd name="T69" fmla="*/ 585 h 806"/>
                <a:gd name="T70" fmla="*/ 716 w 818"/>
                <a:gd name="T71" fmla="*/ 531 h 806"/>
                <a:gd name="T72" fmla="*/ 739 w 818"/>
                <a:gd name="T73" fmla="*/ 400 h 806"/>
                <a:gd name="T74" fmla="*/ 409 w 818"/>
                <a:gd name="T75" fmla="*/ 660 h 806"/>
                <a:gd name="T76" fmla="*/ 152 w 818"/>
                <a:gd name="T77" fmla="*/ 403 h 806"/>
                <a:gd name="T78" fmla="*/ 409 w 818"/>
                <a:gd name="T79" fmla="*/ 146 h 806"/>
                <a:gd name="T80" fmla="*/ 666 w 818"/>
                <a:gd name="T81" fmla="*/ 403 h 806"/>
                <a:gd name="T82" fmla="*/ 409 w 818"/>
                <a:gd name="T83" fmla="*/ 660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8" h="806">
                  <a:moveTo>
                    <a:pt x="739" y="400"/>
                  </a:moveTo>
                  <a:cubicBezTo>
                    <a:pt x="818" y="371"/>
                    <a:pt x="818" y="371"/>
                    <a:pt x="818" y="371"/>
                  </a:cubicBezTo>
                  <a:cubicBezTo>
                    <a:pt x="807" y="305"/>
                    <a:pt x="807" y="305"/>
                    <a:pt x="807" y="305"/>
                  </a:cubicBezTo>
                  <a:cubicBezTo>
                    <a:pt x="723" y="305"/>
                    <a:pt x="723" y="305"/>
                    <a:pt x="723" y="305"/>
                  </a:cubicBezTo>
                  <a:cubicBezTo>
                    <a:pt x="709" y="263"/>
                    <a:pt x="686" y="224"/>
                    <a:pt x="656" y="190"/>
                  </a:cubicBezTo>
                  <a:cubicBezTo>
                    <a:pt x="698" y="117"/>
                    <a:pt x="698" y="117"/>
                    <a:pt x="698" y="117"/>
                  </a:cubicBezTo>
                  <a:cubicBezTo>
                    <a:pt x="647" y="74"/>
                    <a:pt x="647" y="74"/>
                    <a:pt x="647" y="74"/>
                  </a:cubicBezTo>
                  <a:cubicBezTo>
                    <a:pt x="582" y="128"/>
                    <a:pt x="582" y="128"/>
                    <a:pt x="582" y="128"/>
                  </a:cubicBezTo>
                  <a:cubicBezTo>
                    <a:pt x="544" y="105"/>
                    <a:pt x="501" y="89"/>
                    <a:pt x="457" y="83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61" y="83"/>
                    <a:pt x="361" y="83"/>
                    <a:pt x="361" y="83"/>
                  </a:cubicBezTo>
                  <a:cubicBezTo>
                    <a:pt x="316" y="89"/>
                    <a:pt x="274" y="105"/>
                    <a:pt x="236" y="128"/>
                  </a:cubicBezTo>
                  <a:cubicBezTo>
                    <a:pt x="171" y="74"/>
                    <a:pt x="171" y="74"/>
                    <a:pt x="171" y="74"/>
                  </a:cubicBezTo>
                  <a:cubicBezTo>
                    <a:pt x="120" y="117"/>
                    <a:pt x="120" y="117"/>
                    <a:pt x="120" y="117"/>
                  </a:cubicBezTo>
                  <a:cubicBezTo>
                    <a:pt x="162" y="190"/>
                    <a:pt x="162" y="190"/>
                    <a:pt x="162" y="190"/>
                  </a:cubicBezTo>
                  <a:cubicBezTo>
                    <a:pt x="132" y="224"/>
                    <a:pt x="109" y="263"/>
                    <a:pt x="95" y="305"/>
                  </a:cubicBezTo>
                  <a:cubicBezTo>
                    <a:pt x="11" y="305"/>
                    <a:pt x="11" y="305"/>
                    <a:pt x="11" y="305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78" y="400"/>
                    <a:pt x="78" y="400"/>
                    <a:pt x="78" y="400"/>
                  </a:cubicBezTo>
                  <a:cubicBezTo>
                    <a:pt x="77" y="445"/>
                    <a:pt x="85" y="490"/>
                    <a:pt x="102" y="531"/>
                  </a:cubicBezTo>
                  <a:cubicBezTo>
                    <a:pt x="37" y="585"/>
                    <a:pt x="37" y="585"/>
                    <a:pt x="37" y="585"/>
                  </a:cubicBezTo>
                  <a:cubicBezTo>
                    <a:pt x="71" y="643"/>
                    <a:pt x="71" y="643"/>
                    <a:pt x="71" y="643"/>
                  </a:cubicBezTo>
                  <a:cubicBezTo>
                    <a:pt x="150" y="615"/>
                    <a:pt x="150" y="615"/>
                    <a:pt x="150" y="615"/>
                  </a:cubicBezTo>
                  <a:cubicBezTo>
                    <a:pt x="178" y="650"/>
                    <a:pt x="212" y="679"/>
                    <a:pt x="252" y="700"/>
                  </a:cubicBezTo>
                  <a:cubicBezTo>
                    <a:pt x="237" y="783"/>
                    <a:pt x="237" y="783"/>
                    <a:pt x="237" y="783"/>
                  </a:cubicBezTo>
                  <a:cubicBezTo>
                    <a:pt x="300" y="806"/>
                    <a:pt x="300" y="806"/>
                    <a:pt x="300" y="806"/>
                  </a:cubicBezTo>
                  <a:cubicBezTo>
                    <a:pt x="342" y="733"/>
                    <a:pt x="342" y="733"/>
                    <a:pt x="342" y="733"/>
                  </a:cubicBezTo>
                  <a:cubicBezTo>
                    <a:pt x="386" y="742"/>
                    <a:pt x="432" y="742"/>
                    <a:pt x="476" y="733"/>
                  </a:cubicBezTo>
                  <a:cubicBezTo>
                    <a:pt x="518" y="806"/>
                    <a:pt x="518" y="806"/>
                    <a:pt x="518" y="806"/>
                  </a:cubicBezTo>
                  <a:cubicBezTo>
                    <a:pt x="581" y="783"/>
                    <a:pt x="581" y="783"/>
                    <a:pt x="581" y="783"/>
                  </a:cubicBezTo>
                  <a:cubicBezTo>
                    <a:pt x="566" y="700"/>
                    <a:pt x="566" y="700"/>
                    <a:pt x="566" y="700"/>
                  </a:cubicBezTo>
                  <a:cubicBezTo>
                    <a:pt x="606" y="679"/>
                    <a:pt x="640" y="650"/>
                    <a:pt x="668" y="615"/>
                  </a:cubicBezTo>
                  <a:cubicBezTo>
                    <a:pt x="747" y="643"/>
                    <a:pt x="747" y="643"/>
                    <a:pt x="747" y="643"/>
                  </a:cubicBezTo>
                  <a:cubicBezTo>
                    <a:pt x="781" y="585"/>
                    <a:pt x="781" y="585"/>
                    <a:pt x="781" y="585"/>
                  </a:cubicBezTo>
                  <a:cubicBezTo>
                    <a:pt x="716" y="531"/>
                    <a:pt x="716" y="531"/>
                    <a:pt x="716" y="531"/>
                  </a:cubicBezTo>
                  <a:cubicBezTo>
                    <a:pt x="733" y="490"/>
                    <a:pt x="741" y="445"/>
                    <a:pt x="739" y="400"/>
                  </a:cubicBezTo>
                  <a:close/>
                  <a:moveTo>
                    <a:pt x="409" y="660"/>
                  </a:moveTo>
                  <a:cubicBezTo>
                    <a:pt x="267" y="660"/>
                    <a:pt x="152" y="545"/>
                    <a:pt x="152" y="403"/>
                  </a:cubicBezTo>
                  <a:cubicBezTo>
                    <a:pt x="152" y="261"/>
                    <a:pt x="267" y="146"/>
                    <a:pt x="409" y="146"/>
                  </a:cubicBezTo>
                  <a:cubicBezTo>
                    <a:pt x="551" y="146"/>
                    <a:pt x="666" y="261"/>
                    <a:pt x="666" y="403"/>
                  </a:cubicBezTo>
                  <a:cubicBezTo>
                    <a:pt x="666" y="545"/>
                    <a:pt x="551" y="660"/>
                    <a:pt x="409" y="6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" name="Oval 6"/>
            <p:cNvSpPr>
              <a:spLocks noChangeArrowheads="1"/>
            </p:cNvSpPr>
            <p:nvPr/>
          </p:nvSpPr>
          <p:spPr bwMode="auto">
            <a:xfrm>
              <a:off x="2698462" y="2066648"/>
              <a:ext cx="634538" cy="63453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 dirty="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26" name="Oval 25"/>
          <p:cNvSpPr/>
          <p:nvPr/>
        </p:nvSpPr>
        <p:spPr>
          <a:xfrm>
            <a:off x="8855306" y="9728258"/>
            <a:ext cx="2317064" cy="23170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9054111" y="9941188"/>
            <a:ext cx="1919458" cy="1891204"/>
            <a:chOff x="2244553" y="1624089"/>
            <a:chExt cx="1542356" cy="1519654"/>
          </a:xfrm>
          <a:solidFill>
            <a:schemeClr val="bg2"/>
          </a:solidFill>
        </p:grpSpPr>
        <p:sp>
          <p:nvSpPr>
            <p:cNvPr id="28" name="Freeform 5"/>
            <p:cNvSpPr>
              <a:spLocks noEditPoints="1"/>
            </p:cNvSpPr>
            <p:nvPr/>
          </p:nvSpPr>
          <p:spPr bwMode="auto">
            <a:xfrm>
              <a:off x="2244553" y="1624089"/>
              <a:ext cx="1542356" cy="1519654"/>
            </a:xfrm>
            <a:custGeom>
              <a:avLst/>
              <a:gdLst>
                <a:gd name="T0" fmla="*/ 739 w 818"/>
                <a:gd name="T1" fmla="*/ 400 h 806"/>
                <a:gd name="T2" fmla="*/ 818 w 818"/>
                <a:gd name="T3" fmla="*/ 371 h 806"/>
                <a:gd name="T4" fmla="*/ 807 w 818"/>
                <a:gd name="T5" fmla="*/ 305 h 806"/>
                <a:gd name="T6" fmla="*/ 723 w 818"/>
                <a:gd name="T7" fmla="*/ 305 h 806"/>
                <a:gd name="T8" fmla="*/ 656 w 818"/>
                <a:gd name="T9" fmla="*/ 190 h 806"/>
                <a:gd name="T10" fmla="*/ 698 w 818"/>
                <a:gd name="T11" fmla="*/ 117 h 806"/>
                <a:gd name="T12" fmla="*/ 647 w 818"/>
                <a:gd name="T13" fmla="*/ 74 h 806"/>
                <a:gd name="T14" fmla="*/ 582 w 818"/>
                <a:gd name="T15" fmla="*/ 128 h 806"/>
                <a:gd name="T16" fmla="*/ 457 w 818"/>
                <a:gd name="T17" fmla="*/ 83 h 806"/>
                <a:gd name="T18" fmla="*/ 442 w 818"/>
                <a:gd name="T19" fmla="*/ 0 h 806"/>
                <a:gd name="T20" fmla="*/ 375 w 818"/>
                <a:gd name="T21" fmla="*/ 0 h 806"/>
                <a:gd name="T22" fmla="*/ 361 w 818"/>
                <a:gd name="T23" fmla="*/ 83 h 806"/>
                <a:gd name="T24" fmla="*/ 236 w 818"/>
                <a:gd name="T25" fmla="*/ 128 h 806"/>
                <a:gd name="T26" fmla="*/ 171 w 818"/>
                <a:gd name="T27" fmla="*/ 74 h 806"/>
                <a:gd name="T28" fmla="*/ 120 w 818"/>
                <a:gd name="T29" fmla="*/ 117 h 806"/>
                <a:gd name="T30" fmla="*/ 162 w 818"/>
                <a:gd name="T31" fmla="*/ 190 h 806"/>
                <a:gd name="T32" fmla="*/ 95 w 818"/>
                <a:gd name="T33" fmla="*/ 305 h 806"/>
                <a:gd name="T34" fmla="*/ 11 w 818"/>
                <a:gd name="T35" fmla="*/ 305 h 806"/>
                <a:gd name="T36" fmla="*/ 0 w 818"/>
                <a:gd name="T37" fmla="*/ 371 h 806"/>
                <a:gd name="T38" fmla="*/ 78 w 818"/>
                <a:gd name="T39" fmla="*/ 400 h 806"/>
                <a:gd name="T40" fmla="*/ 102 w 818"/>
                <a:gd name="T41" fmla="*/ 531 h 806"/>
                <a:gd name="T42" fmla="*/ 37 w 818"/>
                <a:gd name="T43" fmla="*/ 585 h 806"/>
                <a:gd name="T44" fmla="*/ 71 w 818"/>
                <a:gd name="T45" fmla="*/ 643 h 806"/>
                <a:gd name="T46" fmla="*/ 150 w 818"/>
                <a:gd name="T47" fmla="*/ 615 h 806"/>
                <a:gd name="T48" fmla="*/ 252 w 818"/>
                <a:gd name="T49" fmla="*/ 700 h 806"/>
                <a:gd name="T50" fmla="*/ 237 w 818"/>
                <a:gd name="T51" fmla="*/ 783 h 806"/>
                <a:gd name="T52" fmla="*/ 300 w 818"/>
                <a:gd name="T53" fmla="*/ 806 h 806"/>
                <a:gd name="T54" fmla="*/ 342 w 818"/>
                <a:gd name="T55" fmla="*/ 733 h 806"/>
                <a:gd name="T56" fmla="*/ 476 w 818"/>
                <a:gd name="T57" fmla="*/ 733 h 806"/>
                <a:gd name="T58" fmla="*/ 518 w 818"/>
                <a:gd name="T59" fmla="*/ 806 h 806"/>
                <a:gd name="T60" fmla="*/ 581 w 818"/>
                <a:gd name="T61" fmla="*/ 783 h 806"/>
                <a:gd name="T62" fmla="*/ 566 w 818"/>
                <a:gd name="T63" fmla="*/ 700 h 806"/>
                <a:gd name="T64" fmla="*/ 668 w 818"/>
                <a:gd name="T65" fmla="*/ 615 h 806"/>
                <a:gd name="T66" fmla="*/ 747 w 818"/>
                <a:gd name="T67" fmla="*/ 643 h 806"/>
                <a:gd name="T68" fmla="*/ 781 w 818"/>
                <a:gd name="T69" fmla="*/ 585 h 806"/>
                <a:gd name="T70" fmla="*/ 716 w 818"/>
                <a:gd name="T71" fmla="*/ 531 h 806"/>
                <a:gd name="T72" fmla="*/ 739 w 818"/>
                <a:gd name="T73" fmla="*/ 400 h 806"/>
                <a:gd name="T74" fmla="*/ 409 w 818"/>
                <a:gd name="T75" fmla="*/ 660 h 806"/>
                <a:gd name="T76" fmla="*/ 152 w 818"/>
                <a:gd name="T77" fmla="*/ 403 h 806"/>
                <a:gd name="T78" fmla="*/ 409 w 818"/>
                <a:gd name="T79" fmla="*/ 146 h 806"/>
                <a:gd name="T80" fmla="*/ 666 w 818"/>
                <a:gd name="T81" fmla="*/ 403 h 806"/>
                <a:gd name="T82" fmla="*/ 409 w 818"/>
                <a:gd name="T83" fmla="*/ 660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8" h="806">
                  <a:moveTo>
                    <a:pt x="739" y="400"/>
                  </a:moveTo>
                  <a:cubicBezTo>
                    <a:pt x="818" y="371"/>
                    <a:pt x="818" y="371"/>
                    <a:pt x="818" y="371"/>
                  </a:cubicBezTo>
                  <a:cubicBezTo>
                    <a:pt x="807" y="305"/>
                    <a:pt x="807" y="305"/>
                    <a:pt x="807" y="305"/>
                  </a:cubicBezTo>
                  <a:cubicBezTo>
                    <a:pt x="723" y="305"/>
                    <a:pt x="723" y="305"/>
                    <a:pt x="723" y="305"/>
                  </a:cubicBezTo>
                  <a:cubicBezTo>
                    <a:pt x="709" y="263"/>
                    <a:pt x="686" y="224"/>
                    <a:pt x="656" y="190"/>
                  </a:cubicBezTo>
                  <a:cubicBezTo>
                    <a:pt x="698" y="117"/>
                    <a:pt x="698" y="117"/>
                    <a:pt x="698" y="117"/>
                  </a:cubicBezTo>
                  <a:cubicBezTo>
                    <a:pt x="647" y="74"/>
                    <a:pt x="647" y="74"/>
                    <a:pt x="647" y="74"/>
                  </a:cubicBezTo>
                  <a:cubicBezTo>
                    <a:pt x="582" y="128"/>
                    <a:pt x="582" y="128"/>
                    <a:pt x="582" y="128"/>
                  </a:cubicBezTo>
                  <a:cubicBezTo>
                    <a:pt x="544" y="105"/>
                    <a:pt x="501" y="89"/>
                    <a:pt x="457" y="83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61" y="83"/>
                    <a:pt x="361" y="83"/>
                    <a:pt x="361" y="83"/>
                  </a:cubicBezTo>
                  <a:cubicBezTo>
                    <a:pt x="316" y="89"/>
                    <a:pt x="274" y="105"/>
                    <a:pt x="236" y="128"/>
                  </a:cubicBezTo>
                  <a:cubicBezTo>
                    <a:pt x="171" y="74"/>
                    <a:pt x="171" y="74"/>
                    <a:pt x="171" y="74"/>
                  </a:cubicBezTo>
                  <a:cubicBezTo>
                    <a:pt x="120" y="117"/>
                    <a:pt x="120" y="117"/>
                    <a:pt x="120" y="117"/>
                  </a:cubicBezTo>
                  <a:cubicBezTo>
                    <a:pt x="162" y="190"/>
                    <a:pt x="162" y="190"/>
                    <a:pt x="162" y="190"/>
                  </a:cubicBezTo>
                  <a:cubicBezTo>
                    <a:pt x="132" y="224"/>
                    <a:pt x="109" y="263"/>
                    <a:pt x="95" y="305"/>
                  </a:cubicBezTo>
                  <a:cubicBezTo>
                    <a:pt x="11" y="305"/>
                    <a:pt x="11" y="305"/>
                    <a:pt x="11" y="305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78" y="400"/>
                    <a:pt x="78" y="400"/>
                    <a:pt x="78" y="400"/>
                  </a:cubicBezTo>
                  <a:cubicBezTo>
                    <a:pt x="77" y="445"/>
                    <a:pt x="85" y="490"/>
                    <a:pt x="102" y="531"/>
                  </a:cubicBezTo>
                  <a:cubicBezTo>
                    <a:pt x="37" y="585"/>
                    <a:pt x="37" y="585"/>
                    <a:pt x="37" y="585"/>
                  </a:cubicBezTo>
                  <a:cubicBezTo>
                    <a:pt x="71" y="643"/>
                    <a:pt x="71" y="643"/>
                    <a:pt x="71" y="643"/>
                  </a:cubicBezTo>
                  <a:cubicBezTo>
                    <a:pt x="150" y="615"/>
                    <a:pt x="150" y="615"/>
                    <a:pt x="150" y="615"/>
                  </a:cubicBezTo>
                  <a:cubicBezTo>
                    <a:pt x="178" y="650"/>
                    <a:pt x="212" y="679"/>
                    <a:pt x="252" y="700"/>
                  </a:cubicBezTo>
                  <a:cubicBezTo>
                    <a:pt x="237" y="783"/>
                    <a:pt x="237" y="783"/>
                    <a:pt x="237" y="783"/>
                  </a:cubicBezTo>
                  <a:cubicBezTo>
                    <a:pt x="300" y="806"/>
                    <a:pt x="300" y="806"/>
                    <a:pt x="300" y="806"/>
                  </a:cubicBezTo>
                  <a:cubicBezTo>
                    <a:pt x="342" y="733"/>
                    <a:pt x="342" y="733"/>
                    <a:pt x="342" y="733"/>
                  </a:cubicBezTo>
                  <a:cubicBezTo>
                    <a:pt x="386" y="742"/>
                    <a:pt x="432" y="742"/>
                    <a:pt x="476" y="733"/>
                  </a:cubicBezTo>
                  <a:cubicBezTo>
                    <a:pt x="518" y="806"/>
                    <a:pt x="518" y="806"/>
                    <a:pt x="518" y="806"/>
                  </a:cubicBezTo>
                  <a:cubicBezTo>
                    <a:pt x="581" y="783"/>
                    <a:pt x="581" y="783"/>
                    <a:pt x="581" y="783"/>
                  </a:cubicBezTo>
                  <a:cubicBezTo>
                    <a:pt x="566" y="700"/>
                    <a:pt x="566" y="700"/>
                    <a:pt x="566" y="700"/>
                  </a:cubicBezTo>
                  <a:cubicBezTo>
                    <a:pt x="606" y="679"/>
                    <a:pt x="640" y="650"/>
                    <a:pt x="668" y="615"/>
                  </a:cubicBezTo>
                  <a:cubicBezTo>
                    <a:pt x="747" y="643"/>
                    <a:pt x="747" y="643"/>
                    <a:pt x="747" y="643"/>
                  </a:cubicBezTo>
                  <a:cubicBezTo>
                    <a:pt x="781" y="585"/>
                    <a:pt x="781" y="585"/>
                    <a:pt x="781" y="585"/>
                  </a:cubicBezTo>
                  <a:cubicBezTo>
                    <a:pt x="716" y="531"/>
                    <a:pt x="716" y="531"/>
                    <a:pt x="716" y="531"/>
                  </a:cubicBezTo>
                  <a:cubicBezTo>
                    <a:pt x="733" y="490"/>
                    <a:pt x="741" y="445"/>
                    <a:pt x="739" y="400"/>
                  </a:cubicBezTo>
                  <a:close/>
                  <a:moveTo>
                    <a:pt x="409" y="660"/>
                  </a:moveTo>
                  <a:cubicBezTo>
                    <a:pt x="267" y="660"/>
                    <a:pt x="152" y="545"/>
                    <a:pt x="152" y="403"/>
                  </a:cubicBezTo>
                  <a:cubicBezTo>
                    <a:pt x="152" y="261"/>
                    <a:pt x="267" y="146"/>
                    <a:pt x="409" y="146"/>
                  </a:cubicBezTo>
                  <a:cubicBezTo>
                    <a:pt x="551" y="146"/>
                    <a:pt x="666" y="261"/>
                    <a:pt x="666" y="403"/>
                  </a:cubicBezTo>
                  <a:cubicBezTo>
                    <a:pt x="666" y="545"/>
                    <a:pt x="551" y="660"/>
                    <a:pt x="409" y="6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9" name="Oval 6"/>
            <p:cNvSpPr>
              <a:spLocks noChangeArrowheads="1"/>
            </p:cNvSpPr>
            <p:nvPr/>
          </p:nvSpPr>
          <p:spPr bwMode="auto">
            <a:xfrm>
              <a:off x="2698462" y="2066648"/>
              <a:ext cx="634538" cy="63453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 dirty="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6" name="Oval 5"/>
          <p:cNvSpPr/>
          <p:nvPr/>
        </p:nvSpPr>
        <p:spPr>
          <a:xfrm>
            <a:off x="4982385" y="6767437"/>
            <a:ext cx="2789382" cy="278938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221713" y="7023771"/>
            <a:ext cx="2310726" cy="2276714"/>
            <a:chOff x="2244553" y="1624089"/>
            <a:chExt cx="1542356" cy="1519654"/>
          </a:xfrm>
          <a:solidFill>
            <a:schemeClr val="bg2"/>
          </a:solidFill>
        </p:grpSpPr>
        <p:sp>
          <p:nvSpPr>
            <p:cNvPr id="3" name="Freeform 5"/>
            <p:cNvSpPr>
              <a:spLocks noEditPoints="1"/>
            </p:cNvSpPr>
            <p:nvPr/>
          </p:nvSpPr>
          <p:spPr bwMode="auto">
            <a:xfrm>
              <a:off x="2244553" y="1624089"/>
              <a:ext cx="1542356" cy="1519654"/>
            </a:xfrm>
            <a:custGeom>
              <a:avLst/>
              <a:gdLst>
                <a:gd name="T0" fmla="*/ 739 w 818"/>
                <a:gd name="T1" fmla="*/ 400 h 806"/>
                <a:gd name="T2" fmla="*/ 818 w 818"/>
                <a:gd name="T3" fmla="*/ 371 h 806"/>
                <a:gd name="T4" fmla="*/ 807 w 818"/>
                <a:gd name="T5" fmla="*/ 305 h 806"/>
                <a:gd name="T6" fmla="*/ 723 w 818"/>
                <a:gd name="T7" fmla="*/ 305 h 806"/>
                <a:gd name="T8" fmla="*/ 656 w 818"/>
                <a:gd name="T9" fmla="*/ 190 h 806"/>
                <a:gd name="T10" fmla="*/ 698 w 818"/>
                <a:gd name="T11" fmla="*/ 117 h 806"/>
                <a:gd name="T12" fmla="*/ 647 w 818"/>
                <a:gd name="T13" fmla="*/ 74 h 806"/>
                <a:gd name="T14" fmla="*/ 582 w 818"/>
                <a:gd name="T15" fmla="*/ 128 h 806"/>
                <a:gd name="T16" fmla="*/ 457 w 818"/>
                <a:gd name="T17" fmla="*/ 83 h 806"/>
                <a:gd name="T18" fmla="*/ 442 w 818"/>
                <a:gd name="T19" fmla="*/ 0 h 806"/>
                <a:gd name="T20" fmla="*/ 375 w 818"/>
                <a:gd name="T21" fmla="*/ 0 h 806"/>
                <a:gd name="T22" fmla="*/ 361 w 818"/>
                <a:gd name="T23" fmla="*/ 83 h 806"/>
                <a:gd name="T24" fmla="*/ 236 w 818"/>
                <a:gd name="T25" fmla="*/ 128 h 806"/>
                <a:gd name="T26" fmla="*/ 171 w 818"/>
                <a:gd name="T27" fmla="*/ 74 h 806"/>
                <a:gd name="T28" fmla="*/ 120 w 818"/>
                <a:gd name="T29" fmla="*/ 117 h 806"/>
                <a:gd name="T30" fmla="*/ 162 w 818"/>
                <a:gd name="T31" fmla="*/ 190 h 806"/>
                <a:gd name="T32" fmla="*/ 95 w 818"/>
                <a:gd name="T33" fmla="*/ 305 h 806"/>
                <a:gd name="T34" fmla="*/ 11 w 818"/>
                <a:gd name="T35" fmla="*/ 305 h 806"/>
                <a:gd name="T36" fmla="*/ 0 w 818"/>
                <a:gd name="T37" fmla="*/ 371 h 806"/>
                <a:gd name="T38" fmla="*/ 78 w 818"/>
                <a:gd name="T39" fmla="*/ 400 h 806"/>
                <a:gd name="T40" fmla="*/ 102 w 818"/>
                <a:gd name="T41" fmla="*/ 531 h 806"/>
                <a:gd name="T42" fmla="*/ 37 w 818"/>
                <a:gd name="T43" fmla="*/ 585 h 806"/>
                <a:gd name="T44" fmla="*/ 71 w 818"/>
                <a:gd name="T45" fmla="*/ 643 h 806"/>
                <a:gd name="T46" fmla="*/ 150 w 818"/>
                <a:gd name="T47" fmla="*/ 615 h 806"/>
                <a:gd name="T48" fmla="*/ 252 w 818"/>
                <a:gd name="T49" fmla="*/ 700 h 806"/>
                <a:gd name="T50" fmla="*/ 237 w 818"/>
                <a:gd name="T51" fmla="*/ 783 h 806"/>
                <a:gd name="T52" fmla="*/ 300 w 818"/>
                <a:gd name="T53" fmla="*/ 806 h 806"/>
                <a:gd name="T54" fmla="*/ 342 w 818"/>
                <a:gd name="T55" fmla="*/ 733 h 806"/>
                <a:gd name="T56" fmla="*/ 476 w 818"/>
                <a:gd name="T57" fmla="*/ 733 h 806"/>
                <a:gd name="T58" fmla="*/ 518 w 818"/>
                <a:gd name="T59" fmla="*/ 806 h 806"/>
                <a:gd name="T60" fmla="*/ 581 w 818"/>
                <a:gd name="T61" fmla="*/ 783 h 806"/>
                <a:gd name="T62" fmla="*/ 566 w 818"/>
                <a:gd name="T63" fmla="*/ 700 h 806"/>
                <a:gd name="T64" fmla="*/ 668 w 818"/>
                <a:gd name="T65" fmla="*/ 615 h 806"/>
                <a:gd name="T66" fmla="*/ 747 w 818"/>
                <a:gd name="T67" fmla="*/ 643 h 806"/>
                <a:gd name="T68" fmla="*/ 781 w 818"/>
                <a:gd name="T69" fmla="*/ 585 h 806"/>
                <a:gd name="T70" fmla="*/ 716 w 818"/>
                <a:gd name="T71" fmla="*/ 531 h 806"/>
                <a:gd name="T72" fmla="*/ 739 w 818"/>
                <a:gd name="T73" fmla="*/ 400 h 806"/>
                <a:gd name="T74" fmla="*/ 409 w 818"/>
                <a:gd name="T75" fmla="*/ 660 h 806"/>
                <a:gd name="T76" fmla="*/ 152 w 818"/>
                <a:gd name="T77" fmla="*/ 403 h 806"/>
                <a:gd name="T78" fmla="*/ 409 w 818"/>
                <a:gd name="T79" fmla="*/ 146 h 806"/>
                <a:gd name="T80" fmla="*/ 666 w 818"/>
                <a:gd name="T81" fmla="*/ 403 h 806"/>
                <a:gd name="T82" fmla="*/ 409 w 818"/>
                <a:gd name="T83" fmla="*/ 660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8" h="806">
                  <a:moveTo>
                    <a:pt x="739" y="400"/>
                  </a:moveTo>
                  <a:cubicBezTo>
                    <a:pt x="818" y="371"/>
                    <a:pt x="818" y="371"/>
                    <a:pt x="818" y="371"/>
                  </a:cubicBezTo>
                  <a:cubicBezTo>
                    <a:pt x="807" y="305"/>
                    <a:pt x="807" y="305"/>
                    <a:pt x="807" y="305"/>
                  </a:cubicBezTo>
                  <a:cubicBezTo>
                    <a:pt x="723" y="305"/>
                    <a:pt x="723" y="305"/>
                    <a:pt x="723" y="305"/>
                  </a:cubicBezTo>
                  <a:cubicBezTo>
                    <a:pt x="709" y="263"/>
                    <a:pt x="686" y="224"/>
                    <a:pt x="656" y="190"/>
                  </a:cubicBezTo>
                  <a:cubicBezTo>
                    <a:pt x="698" y="117"/>
                    <a:pt x="698" y="117"/>
                    <a:pt x="698" y="117"/>
                  </a:cubicBezTo>
                  <a:cubicBezTo>
                    <a:pt x="647" y="74"/>
                    <a:pt x="647" y="74"/>
                    <a:pt x="647" y="74"/>
                  </a:cubicBezTo>
                  <a:cubicBezTo>
                    <a:pt x="582" y="128"/>
                    <a:pt x="582" y="128"/>
                    <a:pt x="582" y="128"/>
                  </a:cubicBezTo>
                  <a:cubicBezTo>
                    <a:pt x="544" y="105"/>
                    <a:pt x="501" y="89"/>
                    <a:pt x="457" y="83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61" y="83"/>
                    <a:pt x="361" y="83"/>
                    <a:pt x="361" y="83"/>
                  </a:cubicBezTo>
                  <a:cubicBezTo>
                    <a:pt x="316" y="89"/>
                    <a:pt x="274" y="105"/>
                    <a:pt x="236" y="128"/>
                  </a:cubicBezTo>
                  <a:cubicBezTo>
                    <a:pt x="171" y="74"/>
                    <a:pt x="171" y="74"/>
                    <a:pt x="171" y="74"/>
                  </a:cubicBezTo>
                  <a:cubicBezTo>
                    <a:pt x="120" y="117"/>
                    <a:pt x="120" y="117"/>
                    <a:pt x="120" y="117"/>
                  </a:cubicBezTo>
                  <a:cubicBezTo>
                    <a:pt x="162" y="190"/>
                    <a:pt x="162" y="190"/>
                    <a:pt x="162" y="190"/>
                  </a:cubicBezTo>
                  <a:cubicBezTo>
                    <a:pt x="132" y="224"/>
                    <a:pt x="109" y="263"/>
                    <a:pt x="95" y="305"/>
                  </a:cubicBezTo>
                  <a:cubicBezTo>
                    <a:pt x="11" y="305"/>
                    <a:pt x="11" y="305"/>
                    <a:pt x="11" y="305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78" y="400"/>
                    <a:pt x="78" y="400"/>
                    <a:pt x="78" y="400"/>
                  </a:cubicBezTo>
                  <a:cubicBezTo>
                    <a:pt x="77" y="445"/>
                    <a:pt x="85" y="490"/>
                    <a:pt x="102" y="531"/>
                  </a:cubicBezTo>
                  <a:cubicBezTo>
                    <a:pt x="37" y="585"/>
                    <a:pt x="37" y="585"/>
                    <a:pt x="37" y="585"/>
                  </a:cubicBezTo>
                  <a:cubicBezTo>
                    <a:pt x="71" y="643"/>
                    <a:pt x="71" y="643"/>
                    <a:pt x="71" y="643"/>
                  </a:cubicBezTo>
                  <a:cubicBezTo>
                    <a:pt x="150" y="615"/>
                    <a:pt x="150" y="615"/>
                    <a:pt x="150" y="615"/>
                  </a:cubicBezTo>
                  <a:cubicBezTo>
                    <a:pt x="178" y="650"/>
                    <a:pt x="212" y="679"/>
                    <a:pt x="252" y="700"/>
                  </a:cubicBezTo>
                  <a:cubicBezTo>
                    <a:pt x="237" y="783"/>
                    <a:pt x="237" y="783"/>
                    <a:pt x="237" y="783"/>
                  </a:cubicBezTo>
                  <a:cubicBezTo>
                    <a:pt x="300" y="806"/>
                    <a:pt x="300" y="806"/>
                    <a:pt x="300" y="806"/>
                  </a:cubicBezTo>
                  <a:cubicBezTo>
                    <a:pt x="342" y="733"/>
                    <a:pt x="342" y="733"/>
                    <a:pt x="342" y="733"/>
                  </a:cubicBezTo>
                  <a:cubicBezTo>
                    <a:pt x="386" y="742"/>
                    <a:pt x="432" y="742"/>
                    <a:pt x="476" y="733"/>
                  </a:cubicBezTo>
                  <a:cubicBezTo>
                    <a:pt x="518" y="806"/>
                    <a:pt x="518" y="806"/>
                    <a:pt x="518" y="806"/>
                  </a:cubicBezTo>
                  <a:cubicBezTo>
                    <a:pt x="581" y="783"/>
                    <a:pt x="581" y="783"/>
                    <a:pt x="581" y="783"/>
                  </a:cubicBezTo>
                  <a:cubicBezTo>
                    <a:pt x="566" y="700"/>
                    <a:pt x="566" y="700"/>
                    <a:pt x="566" y="700"/>
                  </a:cubicBezTo>
                  <a:cubicBezTo>
                    <a:pt x="606" y="679"/>
                    <a:pt x="640" y="650"/>
                    <a:pt x="668" y="615"/>
                  </a:cubicBezTo>
                  <a:cubicBezTo>
                    <a:pt x="747" y="643"/>
                    <a:pt x="747" y="643"/>
                    <a:pt x="747" y="643"/>
                  </a:cubicBezTo>
                  <a:cubicBezTo>
                    <a:pt x="781" y="585"/>
                    <a:pt x="781" y="585"/>
                    <a:pt x="781" y="585"/>
                  </a:cubicBezTo>
                  <a:cubicBezTo>
                    <a:pt x="716" y="531"/>
                    <a:pt x="716" y="531"/>
                    <a:pt x="716" y="531"/>
                  </a:cubicBezTo>
                  <a:cubicBezTo>
                    <a:pt x="733" y="490"/>
                    <a:pt x="741" y="445"/>
                    <a:pt x="739" y="400"/>
                  </a:cubicBezTo>
                  <a:close/>
                  <a:moveTo>
                    <a:pt x="409" y="660"/>
                  </a:moveTo>
                  <a:cubicBezTo>
                    <a:pt x="267" y="660"/>
                    <a:pt x="152" y="545"/>
                    <a:pt x="152" y="403"/>
                  </a:cubicBezTo>
                  <a:cubicBezTo>
                    <a:pt x="152" y="261"/>
                    <a:pt x="267" y="146"/>
                    <a:pt x="409" y="146"/>
                  </a:cubicBezTo>
                  <a:cubicBezTo>
                    <a:pt x="551" y="146"/>
                    <a:pt x="666" y="261"/>
                    <a:pt x="666" y="403"/>
                  </a:cubicBezTo>
                  <a:cubicBezTo>
                    <a:pt x="666" y="545"/>
                    <a:pt x="551" y="660"/>
                    <a:pt x="409" y="6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" name="Oval 6"/>
            <p:cNvSpPr>
              <a:spLocks noChangeArrowheads="1"/>
            </p:cNvSpPr>
            <p:nvPr/>
          </p:nvSpPr>
          <p:spPr bwMode="auto">
            <a:xfrm>
              <a:off x="2698462" y="2066648"/>
              <a:ext cx="634538" cy="63453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 dirty="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 rot="17917689">
            <a:off x="2843325" y="7205154"/>
            <a:ext cx="17790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prstClr val="white"/>
                </a:solidFill>
                <a:latin typeface="Poppins"/>
              </a:rPr>
              <a:t>PROCESS &gt;</a:t>
            </a:r>
          </a:p>
        </p:txBody>
      </p:sp>
      <p:sp>
        <p:nvSpPr>
          <p:cNvPr id="34" name="TextBox 33"/>
          <p:cNvSpPr txBox="1"/>
          <p:nvPr/>
        </p:nvSpPr>
        <p:spPr>
          <a:xfrm rot="3580149">
            <a:off x="8029589" y="6836538"/>
            <a:ext cx="17790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prstClr val="white"/>
                </a:solidFill>
                <a:latin typeface="Poppins"/>
              </a:rPr>
              <a:t>PROCESS &gt;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133841" y="11623600"/>
            <a:ext cx="17790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prstClr val="white"/>
                </a:solidFill>
                <a:latin typeface="Poppins"/>
              </a:rPr>
              <a:t>&lt; PROCES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4321637" y="4862166"/>
            <a:ext cx="688842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4345900" y="4380304"/>
            <a:ext cx="1890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3700371" y="3877327"/>
            <a:ext cx="5806138" cy="3538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56" name="Group 55"/>
          <p:cNvGrpSpPr/>
          <p:nvPr/>
        </p:nvGrpSpPr>
        <p:grpSpPr>
          <a:xfrm rot="21113442">
            <a:off x="12550749" y="3086830"/>
            <a:ext cx="1919458" cy="1891204"/>
            <a:chOff x="6275374" y="1663384"/>
            <a:chExt cx="959729" cy="945602"/>
          </a:xfrm>
        </p:grpSpPr>
        <p:sp>
          <p:nvSpPr>
            <p:cNvPr id="38" name="Oval 37"/>
            <p:cNvSpPr/>
            <p:nvPr/>
          </p:nvSpPr>
          <p:spPr>
            <a:xfrm>
              <a:off x="6438971" y="1806319"/>
              <a:ext cx="681526" cy="68152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6275374" y="1663384"/>
              <a:ext cx="959729" cy="945602"/>
              <a:chOff x="2244553" y="1624089"/>
              <a:chExt cx="1542356" cy="1519654"/>
            </a:xfrm>
            <a:solidFill>
              <a:schemeClr val="accent2"/>
            </a:solidFill>
          </p:grpSpPr>
          <p:sp>
            <p:nvSpPr>
              <p:cNvPr id="54" name="Freeform 5"/>
              <p:cNvSpPr>
                <a:spLocks noEditPoints="1"/>
              </p:cNvSpPr>
              <p:nvPr/>
            </p:nvSpPr>
            <p:spPr bwMode="auto">
              <a:xfrm>
                <a:off x="2244553" y="1624089"/>
                <a:ext cx="1542356" cy="1519654"/>
              </a:xfrm>
              <a:custGeom>
                <a:avLst/>
                <a:gdLst>
                  <a:gd name="T0" fmla="*/ 739 w 818"/>
                  <a:gd name="T1" fmla="*/ 400 h 806"/>
                  <a:gd name="T2" fmla="*/ 818 w 818"/>
                  <a:gd name="T3" fmla="*/ 371 h 806"/>
                  <a:gd name="T4" fmla="*/ 807 w 818"/>
                  <a:gd name="T5" fmla="*/ 305 h 806"/>
                  <a:gd name="T6" fmla="*/ 723 w 818"/>
                  <a:gd name="T7" fmla="*/ 305 h 806"/>
                  <a:gd name="T8" fmla="*/ 656 w 818"/>
                  <a:gd name="T9" fmla="*/ 190 h 806"/>
                  <a:gd name="T10" fmla="*/ 698 w 818"/>
                  <a:gd name="T11" fmla="*/ 117 h 806"/>
                  <a:gd name="T12" fmla="*/ 647 w 818"/>
                  <a:gd name="T13" fmla="*/ 74 h 806"/>
                  <a:gd name="T14" fmla="*/ 582 w 818"/>
                  <a:gd name="T15" fmla="*/ 128 h 806"/>
                  <a:gd name="T16" fmla="*/ 457 w 818"/>
                  <a:gd name="T17" fmla="*/ 83 h 806"/>
                  <a:gd name="T18" fmla="*/ 442 w 818"/>
                  <a:gd name="T19" fmla="*/ 0 h 806"/>
                  <a:gd name="T20" fmla="*/ 375 w 818"/>
                  <a:gd name="T21" fmla="*/ 0 h 806"/>
                  <a:gd name="T22" fmla="*/ 361 w 818"/>
                  <a:gd name="T23" fmla="*/ 83 h 806"/>
                  <a:gd name="T24" fmla="*/ 236 w 818"/>
                  <a:gd name="T25" fmla="*/ 128 h 806"/>
                  <a:gd name="T26" fmla="*/ 171 w 818"/>
                  <a:gd name="T27" fmla="*/ 74 h 806"/>
                  <a:gd name="T28" fmla="*/ 120 w 818"/>
                  <a:gd name="T29" fmla="*/ 117 h 806"/>
                  <a:gd name="T30" fmla="*/ 162 w 818"/>
                  <a:gd name="T31" fmla="*/ 190 h 806"/>
                  <a:gd name="T32" fmla="*/ 95 w 818"/>
                  <a:gd name="T33" fmla="*/ 305 h 806"/>
                  <a:gd name="T34" fmla="*/ 11 w 818"/>
                  <a:gd name="T35" fmla="*/ 305 h 806"/>
                  <a:gd name="T36" fmla="*/ 0 w 818"/>
                  <a:gd name="T37" fmla="*/ 371 h 806"/>
                  <a:gd name="T38" fmla="*/ 78 w 818"/>
                  <a:gd name="T39" fmla="*/ 400 h 806"/>
                  <a:gd name="T40" fmla="*/ 102 w 818"/>
                  <a:gd name="T41" fmla="*/ 531 h 806"/>
                  <a:gd name="T42" fmla="*/ 37 w 818"/>
                  <a:gd name="T43" fmla="*/ 585 h 806"/>
                  <a:gd name="T44" fmla="*/ 71 w 818"/>
                  <a:gd name="T45" fmla="*/ 643 h 806"/>
                  <a:gd name="T46" fmla="*/ 150 w 818"/>
                  <a:gd name="T47" fmla="*/ 615 h 806"/>
                  <a:gd name="T48" fmla="*/ 252 w 818"/>
                  <a:gd name="T49" fmla="*/ 700 h 806"/>
                  <a:gd name="T50" fmla="*/ 237 w 818"/>
                  <a:gd name="T51" fmla="*/ 783 h 806"/>
                  <a:gd name="T52" fmla="*/ 300 w 818"/>
                  <a:gd name="T53" fmla="*/ 806 h 806"/>
                  <a:gd name="T54" fmla="*/ 342 w 818"/>
                  <a:gd name="T55" fmla="*/ 733 h 806"/>
                  <a:gd name="T56" fmla="*/ 476 w 818"/>
                  <a:gd name="T57" fmla="*/ 733 h 806"/>
                  <a:gd name="T58" fmla="*/ 518 w 818"/>
                  <a:gd name="T59" fmla="*/ 806 h 806"/>
                  <a:gd name="T60" fmla="*/ 581 w 818"/>
                  <a:gd name="T61" fmla="*/ 783 h 806"/>
                  <a:gd name="T62" fmla="*/ 566 w 818"/>
                  <a:gd name="T63" fmla="*/ 700 h 806"/>
                  <a:gd name="T64" fmla="*/ 668 w 818"/>
                  <a:gd name="T65" fmla="*/ 615 h 806"/>
                  <a:gd name="T66" fmla="*/ 747 w 818"/>
                  <a:gd name="T67" fmla="*/ 643 h 806"/>
                  <a:gd name="T68" fmla="*/ 781 w 818"/>
                  <a:gd name="T69" fmla="*/ 585 h 806"/>
                  <a:gd name="T70" fmla="*/ 716 w 818"/>
                  <a:gd name="T71" fmla="*/ 531 h 806"/>
                  <a:gd name="T72" fmla="*/ 739 w 818"/>
                  <a:gd name="T73" fmla="*/ 400 h 806"/>
                  <a:gd name="T74" fmla="*/ 409 w 818"/>
                  <a:gd name="T75" fmla="*/ 660 h 806"/>
                  <a:gd name="T76" fmla="*/ 152 w 818"/>
                  <a:gd name="T77" fmla="*/ 403 h 806"/>
                  <a:gd name="T78" fmla="*/ 409 w 818"/>
                  <a:gd name="T79" fmla="*/ 146 h 806"/>
                  <a:gd name="T80" fmla="*/ 666 w 818"/>
                  <a:gd name="T81" fmla="*/ 403 h 806"/>
                  <a:gd name="T82" fmla="*/ 409 w 818"/>
                  <a:gd name="T83" fmla="*/ 66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8" h="806">
                    <a:moveTo>
                      <a:pt x="739" y="400"/>
                    </a:moveTo>
                    <a:cubicBezTo>
                      <a:pt x="818" y="371"/>
                      <a:pt x="818" y="371"/>
                      <a:pt x="818" y="371"/>
                    </a:cubicBezTo>
                    <a:cubicBezTo>
                      <a:pt x="807" y="305"/>
                      <a:pt x="807" y="305"/>
                      <a:pt x="807" y="305"/>
                    </a:cubicBezTo>
                    <a:cubicBezTo>
                      <a:pt x="723" y="305"/>
                      <a:pt x="723" y="305"/>
                      <a:pt x="723" y="305"/>
                    </a:cubicBezTo>
                    <a:cubicBezTo>
                      <a:pt x="709" y="263"/>
                      <a:pt x="686" y="224"/>
                      <a:pt x="656" y="190"/>
                    </a:cubicBezTo>
                    <a:cubicBezTo>
                      <a:pt x="698" y="117"/>
                      <a:pt x="698" y="117"/>
                      <a:pt x="698" y="117"/>
                    </a:cubicBezTo>
                    <a:cubicBezTo>
                      <a:pt x="647" y="74"/>
                      <a:pt x="647" y="74"/>
                      <a:pt x="647" y="74"/>
                    </a:cubicBezTo>
                    <a:cubicBezTo>
                      <a:pt x="582" y="128"/>
                      <a:pt x="582" y="128"/>
                      <a:pt x="582" y="128"/>
                    </a:cubicBezTo>
                    <a:cubicBezTo>
                      <a:pt x="544" y="105"/>
                      <a:pt x="501" y="89"/>
                      <a:pt x="457" y="83"/>
                    </a:cubicBezTo>
                    <a:cubicBezTo>
                      <a:pt x="442" y="0"/>
                      <a:pt x="442" y="0"/>
                      <a:pt x="442" y="0"/>
                    </a:cubicBezTo>
                    <a:cubicBezTo>
                      <a:pt x="375" y="0"/>
                      <a:pt x="375" y="0"/>
                      <a:pt x="375" y="0"/>
                    </a:cubicBezTo>
                    <a:cubicBezTo>
                      <a:pt x="361" y="83"/>
                      <a:pt x="361" y="83"/>
                      <a:pt x="361" y="83"/>
                    </a:cubicBezTo>
                    <a:cubicBezTo>
                      <a:pt x="316" y="89"/>
                      <a:pt x="274" y="105"/>
                      <a:pt x="236" y="128"/>
                    </a:cubicBezTo>
                    <a:cubicBezTo>
                      <a:pt x="171" y="74"/>
                      <a:pt x="171" y="74"/>
                      <a:pt x="171" y="74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62" y="190"/>
                      <a:pt x="162" y="190"/>
                      <a:pt x="162" y="190"/>
                    </a:cubicBezTo>
                    <a:cubicBezTo>
                      <a:pt x="132" y="224"/>
                      <a:pt x="109" y="263"/>
                      <a:pt x="95" y="305"/>
                    </a:cubicBezTo>
                    <a:cubicBezTo>
                      <a:pt x="11" y="305"/>
                      <a:pt x="11" y="305"/>
                      <a:pt x="11" y="305"/>
                    </a:cubicBezTo>
                    <a:cubicBezTo>
                      <a:pt x="0" y="371"/>
                      <a:pt x="0" y="371"/>
                      <a:pt x="0" y="371"/>
                    </a:cubicBezTo>
                    <a:cubicBezTo>
                      <a:pt x="78" y="400"/>
                      <a:pt x="78" y="400"/>
                      <a:pt x="78" y="400"/>
                    </a:cubicBezTo>
                    <a:cubicBezTo>
                      <a:pt x="77" y="445"/>
                      <a:pt x="85" y="490"/>
                      <a:pt x="102" y="531"/>
                    </a:cubicBezTo>
                    <a:cubicBezTo>
                      <a:pt x="37" y="585"/>
                      <a:pt x="37" y="585"/>
                      <a:pt x="37" y="585"/>
                    </a:cubicBezTo>
                    <a:cubicBezTo>
                      <a:pt x="71" y="643"/>
                      <a:pt x="71" y="643"/>
                      <a:pt x="71" y="643"/>
                    </a:cubicBezTo>
                    <a:cubicBezTo>
                      <a:pt x="150" y="615"/>
                      <a:pt x="150" y="615"/>
                      <a:pt x="150" y="615"/>
                    </a:cubicBezTo>
                    <a:cubicBezTo>
                      <a:pt x="178" y="650"/>
                      <a:pt x="212" y="679"/>
                      <a:pt x="252" y="700"/>
                    </a:cubicBezTo>
                    <a:cubicBezTo>
                      <a:pt x="237" y="783"/>
                      <a:pt x="237" y="783"/>
                      <a:pt x="237" y="783"/>
                    </a:cubicBezTo>
                    <a:cubicBezTo>
                      <a:pt x="300" y="806"/>
                      <a:pt x="300" y="806"/>
                      <a:pt x="300" y="806"/>
                    </a:cubicBezTo>
                    <a:cubicBezTo>
                      <a:pt x="342" y="733"/>
                      <a:pt x="342" y="733"/>
                      <a:pt x="342" y="733"/>
                    </a:cubicBezTo>
                    <a:cubicBezTo>
                      <a:pt x="386" y="742"/>
                      <a:pt x="432" y="742"/>
                      <a:pt x="476" y="733"/>
                    </a:cubicBezTo>
                    <a:cubicBezTo>
                      <a:pt x="518" y="806"/>
                      <a:pt x="518" y="806"/>
                      <a:pt x="518" y="806"/>
                    </a:cubicBezTo>
                    <a:cubicBezTo>
                      <a:pt x="581" y="783"/>
                      <a:pt x="581" y="783"/>
                      <a:pt x="581" y="783"/>
                    </a:cubicBezTo>
                    <a:cubicBezTo>
                      <a:pt x="566" y="700"/>
                      <a:pt x="566" y="700"/>
                      <a:pt x="566" y="700"/>
                    </a:cubicBezTo>
                    <a:cubicBezTo>
                      <a:pt x="606" y="679"/>
                      <a:pt x="640" y="650"/>
                      <a:pt x="668" y="615"/>
                    </a:cubicBezTo>
                    <a:cubicBezTo>
                      <a:pt x="747" y="643"/>
                      <a:pt x="747" y="643"/>
                      <a:pt x="747" y="643"/>
                    </a:cubicBezTo>
                    <a:cubicBezTo>
                      <a:pt x="781" y="585"/>
                      <a:pt x="781" y="585"/>
                      <a:pt x="781" y="585"/>
                    </a:cubicBezTo>
                    <a:cubicBezTo>
                      <a:pt x="716" y="531"/>
                      <a:pt x="716" y="531"/>
                      <a:pt x="716" y="531"/>
                    </a:cubicBezTo>
                    <a:cubicBezTo>
                      <a:pt x="733" y="490"/>
                      <a:pt x="741" y="445"/>
                      <a:pt x="739" y="400"/>
                    </a:cubicBezTo>
                    <a:close/>
                    <a:moveTo>
                      <a:pt x="409" y="660"/>
                    </a:moveTo>
                    <a:cubicBezTo>
                      <a:pt x="267" y="660"/>
                      <a:pt x="152" y="545"/>
                      <a:pt x="152" y="403"/>
                    </a:cubicBezTo>
                    <a:cubicBezTo>
                      <a:pt x="152" y="261"/>
                      <a:pt x="267" y="146"/>
                      <a:pt x="409" y="146"/>
                    </a:cubicBezTo>
                    <a:cubicBezTo>
                      <a:pt x="551" y="146"/>
                      <a:pt x="666" y="261"/>
                      <a:pt x="666" y="403"/>
                    </a:cubicBezTo>
                    <a:cubicBezTo>
                      <a:pt x="666" y="545"/>
                      <a:pt x="551" y="660"/>
                      <a:pt x="409" y="6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Open Sans"/>
                </a:endParaRPr>
              </a:p>
            </p:txBody>
          </p:sp>
          <p:sp>
            <p:nvSpPr>
              <p:cNvPr id="55" name="Oval 6"/>
              <p:cNvSpPr>
                <a:spLocks noChangeArrowheads="1"/>
              </p:cNvSpPr>
              <p:nvPr/>
            </p:nvSpPr>
            <p:spPr bwMode="auto">
              <a:xfrm>
                <a:off x="2698462" y="2066648"/>
                <a:ext cx="634538" cy="634537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 dirty="0">
                  <a:solidFill>
                    <a:srgbClr val="3F3F3F"/>
                  </a:solidFill>
                  <a:latin typeface="Open Sans"/>
                </a:endParaRPr>
              </a:p>
            </p:txBody>
          </p:sp>
        </p:grpSp>
      </p:grpSp>
      <p:sp>
        <p:nvSpPr>
          <p:cNvPr id="57" name="Rectangle 56"/>
          <p:cNvSpPr/>
          <p:nvPr/>
        </p:nvSpPr>
        <p:spPr>
          <a:xfrm>
            <a:off x="13874911" y="6994899"/>
            <a:ext cx="6844382" cy="37656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4321637" y="7991120"/>
            <a:ext cx="688842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4345900" y="7509258"/>
            <a:ext cx="1890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</a:p>
        </p:txBody>
      </p:sp>
      <p:sp>
        <p:nvSpPr>
          <p:cNvPr id="60" name="Rectangle 59"/>
          <p:cNvSpPr/>
          <p:nvPr/>
        </p:nvSpPr>
        <p:spPr>
          <a:xfrm>
            <a:off x="13700368" y="7006281"/>
            <a:ext cx="6583680" cy="3538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61" name="Group 60"/>
          <p:cNvGrpSpPr/>
          <p:nvPr/>
        </p:nvGrpSpPr>
        <p:grpSpPr>
          <a:xfrm rot="21113442">
            <a:off x="12550749" y="6215784"/>
            <a:ext cx="1919458" cy="1891204"/>
            <a:chOff x="6275374" y="1663384"/>
            <a:chExt cx="959729" cy="945602"/>
          </a:xfrm>
          <a:solidFill>
            <a:schemeClr val="accent3"/>
          </a:solidFill>
        </p:grpSpPr>
        <p:sp>
          <p:nvSpPr>
            <p:cNvPr id="62" name="Oval 61"/>
            <p:cNvSpPr/>
            <p:nvPr/>
          </p:nvSpPr>
          <p:spPr>
            <a:xfrm>
              <a:off x="6438971" y="1806319"/>
              <a:ext cx="681526" cy="68152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6275374" y="1663384"/>
              <a:ext cx="959729" cy="945602"/>
              <a:chOff x="2244553" y="1624089"/>
              <a:chExt cx="1542356" cy="1519654"/>
            </a:xfrm>
            <a:grpFill/>
          </p:grpSpPr>
          <p:sp>
            <p:nvSpPr>
              <p:cNvPr id="64" name="Freeform 5"/>
              <p:cNvSpPr>
                <a:spLocks noEditPoints="1"/>
              </p:cNvSpPr>
              <p:nvPr/>
            </p:nvSpPr>
            <p:spPr bwMode="auto">
              <a:xfrm>
                <a:off x="2244553" y="1624089"/>
                <a:ext cx="1542356" cy="1519654"/>
              </a:xfrm>
              <a:custGeom>
                <a:avLst/>
                <a:gdLst>
                  <a:gd name="T0" fmla="*/ 739 w 818"/>
                  <a:gd name="T1" fmla="*/ 400 h 806"/>
                  <a:gd name="T2" fmla="*/ 818 w 818"/>
                  <a:gd name="T3" fmla="*/ 371 h 806"/>
                  <a:gd name="T4" fmla="*/ 807 w 818"/>
                  <a:gd name="T5" fmla="*/ 305 h 806"/>
                  <a:gd name="T6" fmla="*/ 723 w 818"/>
                  <a:gd name="T7" fmla="*/ 305 h 806"/>
                  <a:gd name="T8" fmla="*/ 656 w 818"/>
                  <a:gd name="T9" fmla="*/ 190 h 806"/>
                  <a:gd name="T10" fmla="*/ 698 w 818"/>
                  <a:gd name="T11" fmla="*/ 117 h 806"/>
                  <a:gd name="T12" fmla="*/ 647 w 818"/>
                  <a:gd name="T13" fmla="*/ 74 h 806"/>
                  <a:gd name="T14" fmla="*/ 582 w 818"/>
                  <a:gd name="T15" fmla="*/ 128 h 806"/>
                  <a:gd name="T16" fmla="*/ 457 w 818"/>
                  <a:gd name="T17" fmla="*/ 83 h 806"/>
                  <a:gd name="T18" fmla="*/ 442 w 818"/>
                  <a:gd name="T19" fmla="*/ 0 h 806"/>
                  <a:gd name="T20" fmla="*/ 375 w 818"/>
                  <a:gd name="T21" fmla="*/ 0 h 806"/>
                  <a:gd name="T22" fmla="*/ 361 w 818"/>
                  <a:gd name="T23" fmla="*/ 83 h 806"/>
                  <a:gd name="T24" fmla="*/ 236 w 818"/>
                  <a:gd name="T25" fmla="*/ 128 h 806"/>
                  <a:gd name="T26" fmla="*/ 171 w 818"/>
                  <a:gd name="T27" fmla="*/ 74 h 806"/>
                  <a:gd name="T28" fmla="*/ 120 w 818"/>
                  <a:gd name="T29" fmla="*/ 117 h 806"/>
                  <a:gd name="T30" fmla="*/ 162 w 818"/>
                  <a:gd name="T31" fmla="*/ 190 h 806"/>
                  <a:gd name="T32" fmla="*/ 95 w 818"/>
                  <a:gd name="T33" fmla="*/ 305 h 806"/>
                  <a:gd name="T34" fmla="*/ 11 w 818"/>
                  <a:gd name="T35" fmla="*/ 305 h 806"/>
                  <a:gd name="T36" fmla="*/ 0 w 818"/>
                  <a:gd name="T37" fmla="*/ 371 h 806"/>
                  <a:gd name="T38" fmla="*/ 78 w 818"/>
                  <a:gd name="T39" fmla="*/ 400 h 806"/>
                  <a:gd name="T40" fmla="*/ 102 w 818"/>
                  <a:gd name="T41" fmla="*/ 531 h 806"/>
                  <a:gd name="T42" fmla="*/ 37 w 818"/>
                  <a:gd name="T43" fmla="*/ 585 h 806"/>
                  <a:gd name="T44" fmla="*/ 71 w 818"/>
                  <a:gd name="T45" fmla="*/ 643 h 806"/>
                  <a:gd name="T46" fmla="*/ 150 w 818"/>
                  <a:gd name="T47" fmla="*/ 615 h 806"/>
                  <a:gd name="T48" fmla="*/ 252 w 818"/>
                  <a:gd name="T49" fmla="*/ 700 h 806"/>
                  <a:gd name="T50" fmla="*/ 237 w 818"/>
                  <a:gd name="T51" fmla="*/ 783 h 806"/>
                  <a:gd name="T52" fmla="*/ 300 w 818"/>
                  <a:gd name="T53" fmla="*/ 806 h 806"/>
                  <a:gd name="T54" fmla="*/ 342 w 818"/>
                  <a:gd name="T55" fmla="*/ 733 h 806"/>
                  <a:gd name="T56" fmla="*/ 476 w 818"/>
                  <a:gd name="T57" fmla="*/ 733 h 806"/>
                  <a:gd name="T58" fmla="*/ 518 w 818"/>
                  <a:gd name="T59" fmla="*/ 806 h 806"/>
                  <a:gd name="T60" fmla="*/ 581 w 818"/>
                  <a:gd name="T61" fmla="*/ 783 h 806"/>
                  <a:gd name="T62" fmla="*/ 566 w 818"/>
                  <a:gd name="T63" fmla="*/ 700 h 806"/>
                  <a:gd name="T64" fmla="*/ 668 w 818"/>
                  <a:gd name="T65" fmla="*/ 615 h 806"/>
                  <a:gd name="T66" fmla="*/ 747 w 818"/>
                  <a:gd name="T67" fmla="*/ 643 h 806"/>
                  <a:gd name="T68" fmla="*/ 781 w 818"/>
                  <a:gd name="T69" fmla="*/ 585 h 806"/>
                  <a:gd name="T70" fmla="*/ 716 w 818"/>
                  <a:gd name="T71" fmla="*/ 531 h 806"/>
                  <a:gd name="T72" fmla="*/ 739 w 818"/>
                  <a:gd name="T73" fmla="*/ 400 h 806"/>
                  <a:gd name="T74" fmla="*/ 409 w 818"/>
                  <a:gd name="T75" fmla="*/ 660 h 806"/>
                  <a:gd name="T76" fmla="*/ 152 w 818"/>
                  <a:gd name="T77" fmla="*/ 403 h 806"/>
                  <a:gd name="T78" fmla="*/ 409 w 818"/>
                  <a:gd name="T79" fmla="*/ 146 h 806"/>
                  <a:gd name="T80" fmla="*/ 666 w 818"/>
                  <a:gd name="T81" fmla="*/ 403 h 806"/>
                  <a:gd name="T82" fmla="*/ 409 w 818"/>
                  <a:gd name="T83" fmla="*/ 66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8" h="806">
                    <a:moveTo>
                      <a:pt x="739" y="400"/>
                    </a:moveTo>
                    <a:cubicBezTo>
                      <a:pt x="818" y="371"/>
                      <a:pt x="818" y="371"/>
                      <a:pt x="818" y="371"/>
                    </a:cubicBezTo>
                    <a:cubicBezTo>
                      <a:pt x="807" y="305"/>
                      <a:pt x="807" y="305"/>
                      <a:pt x="807" y="305"/>
                    </a:cubicBezTo>
                    <a:cubicBezTo>
                      <a:pt x="723" y="305"/>
                      <a:pt x="723" y="305"/>
                      <a:pt x="723" y="305"/>
                    </a:cubicBezTo>
                    <a:cubicBezTo>
                      <a:pt x="709" y="263"/>
                      <a:pt x="686" y="224"/>
                      <a:pt x="656" y="190"/>
                    </a:cubicBezTo>
                    <a:cubicBezTo>
                      <a:pt x="698" y="117"/>
                      <a:pt x="698" y="117"/>
                      <a:pt x="698" y="117"/>
                    </a:cubicBezTo>
                    <a:cubicBezTo>
                      <a:pt x="647" y="74"/>
                      <a:pt x="647" y="74"/>
                      <a:pt x="647" y="74"/>
                    </a:cubicBezTo>
                    <a:cubicBezTo>
                      <a:pt x="582" y="128"/>
                      <a:pt x="582" y="128"/>
                      <a:pt x="582" y="128"/>
                    </a:cubicBezTo>
                    <a:cubicBezTo>
                      <a:pt x="544" y="105"/>
                      <a:pt x="501" y="89"/>
                      <a:pt x="457" y="83"/>
                    </a:cubicBezTo>
                    <a:cubicBezTo>
                      <a:pt x="442" y="0"/>
                      <a:pt x="442" y="0"/>
                      <a:pt x="442" y="0"/>
                    </a:cubicBezTo>
                    <a:cubicBezTo>
                      <a:pt x="375" y="0"/>
                      <a:pt x="375" y="0"/>
                      <a:pt x="375" y="0"/>
                    </a:cubicBezTo>
                    <a:cubicBezTo>
                      <a:pt x="361" y="83"/>
                      <a:pt x="361" y="83"/>
                      <a:pt x="361" y="83"/>
                    </a:cubicBezTo>
                    <a:cubicBezTo>
                      <a:pt x="316" y="89"/>
                      <a:pt x="274" y="105"/>
                      <a:pt x="236" y="128"/>
                    </a:cubicBezTo>
                    <a:cubicBezTo>
                      <a:pt x="171" y="74"/>
                      <a:pt x="171" y="74"/>
                      <a:pt x="171" y="74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62" y="190"/>
                      <a:pt x="162" y="190"/>
                      <a:pt x="162" y="190"/>
                    </a:cubicBezTo>
                    <a:cubicBezTo>
                      <a:pt x="132" y="224"/>
                      <a:pt x="109" y="263"/>
                      <a:pt x="95" y="305"/>
                    </a:cubicBezTo>
                    <a:cubicBezTo>
                      <a:pt x="11" y="305"/>
                      <a:pt x="11" y="305"/>
                      <a:pt x="11" y="305"/>
                    </a:cubicBezTo>
                    <a:cubicBezTo>
                      <a:pt x="0" y="371"/>
                      <a:pt x="0" y="371"/>
                      <a:pt x="0" y="371"/>
                    </a:cubicBezTo>
                    <a:cubicBezTo>
                      <a:pt x="78" y="400"/>
                      <a:pt x="78" y="400"/>
                      <a:pt x="78" y="400"/>
                    </a:cubicBezTo>
                    <a:cubicBezTo>
                      <a:pt x="77" y="445"/>
                      <a:pt x="85" y="490"/>
                      <a:pt x="102" y="531"/>
                    </a:cubicBezTo>
                    <a:cubicBezTo>
                      <a:pt x="37" y="585"/>
                      <a:pt x="37" y="585"/>
                      <a:pt x="37" y="585"/>
                    </a:cubicBezTo>
                    <a:cubicBezTo>
                      <a:pt x="71" y="643"/>
                      <a:pt x="71" y="643"/>
                      <a:pt x="71" y="643"/>
                    </a:cubicBezTo>
                    <a:cubicBezTo>
                      <a:pt x="150" y="615"/>
                      <a:pt x="150" y="615"/>
                      <a:pt x="150" y="615"/>
                    </a:cubicBezTo>
                    <a:cubicBezTo>
                      <a:pt x="178" y="650"/>
                      <a:pt x="212" y="679"/>
                      <a:pt x="252" y="700"/>
                    </a:cubicBezTo>
                    <a:cubicBezTo>
                      <a:pt x="237" y="783"/>
                      <a:pt x="237" y="783"/>
                      <a:pt x="237" y="783"/>
                    </a:cubicBezTo>
                    <a:cubicBezTo>
                      <a:pt x="300" y="806"/>
                      <a:pt x="300" y="806"/>
                      <a:pt x="300" y="806"/>
                    </a:cubicBezTo>
                    <a:cubicBezTo>
                      <a:pt x="342" y="733"/>
                      <a:pt x="342" y="733"/>
                      <a:pt x="342" y="733"/>
                    </a:cubicBezTo>
                    <a:cubicBezTo>
                      <a:pt x="386" y="742"/>
                      <a:pt x="432" y="742"/>
                      <a:pt x="476" y="733"/>
                    </a:cubicBezTo>
                    <a:cubicBezTo>
                      <a:pt x="518" y="806"/>
                      <a:pt x="518" y="806"/>
                      <a:pt x="518" y="806"/>
                    </a:cubicBezTo>
                    <a:cubicBezTo>
                      <a:pt x="581" y="783"/>
                      <a:pt x="581" y="783"/>
                      <a:pt x="581" y="783"/>
                    </a:cubicBezTo>
                    <a:cubicBezTo>
                      <a:pt x="566" y="700"/>
                      <a:pt x="566" y="700"/>
                      <a:pt x="566" y="700"/>
                    </a:cubicBezTo>
                    <a:cubicBezTo>
                      <a:pt x="606" y="679"/>
                      <a:pt x="640" y="650"/>
                      <a:pt x="668" y="615"/>
                    </a:cubicBezTo>
                    <a:cubicBezTo>
                      <a:pt x="747" y="643"/>
                      <a:pt x="747" y="643"/>
                      <a:pt x="747" y="643"/>
                    </a:cubicBezTo>
                    <a:cubicBezTo>
                      <a:pt x="781" y="585"/>
                      <a:pt x="781" y="585"/>
                      <a:pt x="781" y="585"/>
                    </a:cubicBezTo>
                    <a:cubicBezTo>
                      <a:pt x="716" y="531"/>
                      <a:pt x="716" y="531"/>
                      <a:pt x="716" y="531"/>
                    </a:cubicBezTo>
                    <a:cubicBezTo>
                      <a:pt x="733" y="490"/>
                      <a:pt x="741" y="445"/>
                      <a:pt x="739" y="400"/>
                    </a:cubicBezTo>
                    <a:close/>
                    <a:moveTo>
                      <a:pt x="409" y="660"/>
                    </a:moveTo>
                    <a:cubicBezTo>
                      <a:pt x="267" y="660"/>
                      <a:pt x="152" y="545"/>
                      <a:pt x="152" y="403"/>
                    </a:cubicBezTo>
                    <a:cubicBezTo>
                      <a:pt x="152" y="261"/>
                      <a:pt x="267" y="146"/>
                      <a:pt x="409" y="146"/>
                    </a:cubicBezTo>
                    <a:cubicBezTo>
                      <a:pt x="551" y="146"/>
                      <a:pt x="666" y="261"/>
                      <a:pt x="666" y="403"/>
                    </a:cubicBezTo>
                    <a:cubicBezTo>
                      <a:pt x="666" y="545"/>
                      <a:pt x="551" y="660"/>
                      <a:pt x="409" y="6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Open Sans"/>
                </a:endParaRPr>
              </a:p>
            </p:txBody>
          </p:sp>
          <p:sp>
            <p:nvSpPr>
              <p:cNvPr id="65" name="Oval 6"/>
              <p:cNvSpPr>
                <a:spLocks noChangeArrowheads="1"/>
              </p:cNvSpPr>
              <p:nvPr/>
            </p:nvSpPr>
            <p:spPr bwMode="auto">
              <a:xfrm>
                <a:off x="2698462" y="2066648"/>
                <a:ext cx="634538" cy="634537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 dirty="0">
                  <a:solidFill>
                    <a:srgbClr val="3F3F3F"/>
                  </a:solidFill>
                  <a:latin typeface="Open Sans"/>
                </a:endParaRPr>
              </a:p>
            </p:txBody>
          </p:sp>
        </p:grpSp>
      </p:grpSp>
      <p:sp>
        <p:nvSpPr>
          <p:cNvPr id="66" name="Rectangle 65"/>
          <p:cNvSpPr/>
          <p:nvPr/>
        </p:nvSpPr>
        <p:spPr>
          <a:xfrm>
            <a:off x="13874911" y="9950271"/>
            <a:ext cx="6844382" cy="37656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4321637" y="10946492"/>
            <a:ext cx="688842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4345900" y="10464630"/>
            <a:ext cx="1890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</a:p>
        </p:txBody>
      </p:sp>
      <p:sp>
        <p:nvSpPr>
          <p:cNvPr id="69" name="Rectangle 68"/>
          <p:cNvSpPr/>
          <p:nvPr/>
        </p:nvSpPr>
        <p:spPr>
          <a:xfrm>
            <a:off x="13700370" y="9961653"/>
            <a:ext cx="4572000" cy="3538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70" name="Group 69"/>
          <p:cNvGrpSpPr/>
          <p:nvPr/>
        </p:nvGrpSpPr>
        <p:grpSpPr>
          <a:xfrm rot="21113442">
            <a:off x="12550749" y="9171156"/>
            <a:ext cx="1919458" cy="1891204"/>
            <a:chOff x="6275374" y="1663384"/>
            <a:chExt cx="959729" cy="945602"/>
          </a:xfrm>
          <a:solidFill>
            <a:schemeClr val="accent4"/>
          </a:solidFill>
        </p:grpSpPr>
        <p:sp>
          <p:nvSpPr>
            <p:cNvPr id="71" name="Oval 70"/>
            <p:cNvSpPr/>
            <p:nvPr/>
          </p:nvSpPr>
          <p:spPr>
            <a:xfrm>
              <a:off x="6438971" y="1806319"/>
              <a:ext cx="681526" cy="68152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6275374" y="1663384"/>
              <a:ext cx="959729" cy="945602"/>
              <a:chOff x="2244553" y="1624089"/>
              <a:chExt cx="1542356" cy="1519654"/>
            </a:xfrm>
            <a:grpFill/>
          </p:grpSpPr>
          <p:sp>
            <p:nvSpPr>
              <p:cNvPr id="73" name="Freeform 5"/>
              <p:cNvSpPr>
                <a:spLocks noEditPoints="1"/>
              </p:cNvSpPr>
              <p:nvPr/>
            </p:nvSpPr>
            <p:spPr bwMode="auto">
              <a:xfrm>
                <a:off x="2244553" y="1624089"/>
                <a:ext cx="1542356" cy="1519654"/>
              </a:xfrm>
              <a:custGeom>
                <a:avLst/>
                <a:gdLst>
                  <a:gd name="T0" fmla="*/ 739 w 818"/>
                  <a:gd name="T1" fmla="*/ 400 h 806"/>
                  <a:gd name="T2" fmla="*/ 818 w 818"/>
                  <a:gd name="T3" fmla="*/ 371 h 806"/>
                  <a:gd name="T4" fmla="*/ 807 w 818"/>
                  <a:gd name="T5" fmla="*/ 305 h 806"/>
                  <a:gd name="T6" fmla="*/ 723 w 818"/>
                  <a:gd name="T7" fmla="*/ 305 h 806"/>
                  <a:gd name="T8" fmla="*/ 656 w 818"/>
                  <a:gd name="T9" fmla="*/ 190 h 806"/>
                  <a:gd name="T10" fmla="*/ 698 w 818"/>
                  <a:gd name="T11" fmla="*/ 117 h 806"/>
                  <a:gd name="T12" fmla="*/ 647 w 818"/>
                  <a:gd name="T13" fmla="*/ 74 h 806"/>
                  <a:gd name="T14" fmla="*/ 582 w 818"/>
                  <a:gd name="T15" fmla="*/ 128 h 806"/>
                  <a:gd name="T16" fmla="*/ 457 w 818"/>
                  <a:gd name="T17" fmla="*/ 83 h 806"/>
                  <a:gd name="T18" fmla="*/ 442 w 818"/>
                  <a:gd name="T19" fmla="*/ 0 h 806"/>
                  <a:gd name="T20" fmla="*/ 375 w 818"/>
                  <a:gd name="T21" fmla="*/ 0 h 806"/>
                  <a:gd name="T22" fmla="*/ 361 w 818"/>
                  <a:gd name="T23" fmla="*/ 83 h 806"/>
                  <a:gd name="T24" fmla="*/ 236 w 818"/>
                  <a:gd name="T25" fmla="*/ 128 h 806"/>
                  <a:gd name="T26" fmla="*/ 171 w 818"/>
                  <a:gd name="T27" fmla="*/ 74 h 806"/>
                  <a:gd name="T28" fmla="*/ 120 w 818"/>
                  <a:gd name="T29" fmla="*/ 117 h 806"/>
                  <a:gd name="T30" fmla="*/ 162 w 818"/>
                  <a:gd name="T31" fmla="*/ 190 h 806"/>
                  <a:gd name="T32" fmla="*/ 95 w 818"/>
                  <a:gd name="T33" fmla="*/ 305 h 806"/>
                  <a:gd name="T34" fmla="*/ 11 w 818"/>
                  <a:gd name="T35" fmla="*/ 305 h 806"/>
                  <a:gd name="T36" fmla="*/ 0 w 818"/>
                  <a:gd name="T37" fmla="*/ 371 h 806"/>
                  <a:gd name="T38" fmla="*/ 78 w 818"/>
                  <a:gd name="T39" fmla="*/ 400 h 806"/>
                  <a:gd name="T40" fmla="*/ 102 w 818"/>
                  <a:gd name="T41" fmla="*/ 531 h 806"/>
                  <a:gd name="T42" fmla="*/ 37 w 818"/>
                  <a:gd name="T43" fmla="*/ 585 h 806"/>
                  <a:gd name="T44" fmla="*/ 71 w 818"/>
                  <a:gd name="T45" fmla="*/ 643 h 806"/>
                  <a:gd name="T46" fmla="*/ 150 w 818"/>
                  <a:gd name="T47" fmla="*/ 615 h 806"/>
                  <a:gd name="T48" fmla="*/ 252 w 818"/>
                  <a:gd name="T49" fmla="*/ 700 h 806"/>
                  <a:gd name="T50" fmla="*/ 237 w 818"/>
                  <a:gd name="T51" fmla="*/ 783 h 806"/>
                  <a:gd name="T52" fmla="*/ 300 w 818"/>
                  <a:gd name="T53" fmla="*/ 806 h 806"/>
                  <a:gd name="T54" fmla="*/ 342 w 818"/>
                  <a:gd name="T55" fmla="*/ 733 h 806"/>
                  <a:gd name="T56" fmla="*/ 476 w 818"/>
                  <a:gd name="T57" fmla="*/ 733 h 806"/>
                  <a:gd name="T58" fmla="*/ 518 w 818"/>
                  <a:gd name="T59" fmla="*/ 806 h 806"/>
                  <a:gd name="T60" fmla="*/ 581 w 818"/>
                  <a:gd name="T61" fmla="*/ 783 h 806"/>
                  <a:gd name="T62" fmla="*/ 566 w 818"/>
                  <a:gd name="T63" fmla="*/ 700 h 806"/>
                  <a:gd name="T64" fmla="*/ 668 w 818"/>
                  <a:gd name="T65" fmla="*/ 615 h 806"/>
                  <a:gd name="T66" fmla="*/ 747 w 818"/>
                  <a:gd name="T67" fmla="*/ 643 h 806"/>
                  <a:gd name="T68" fmla="*/ 781 w 818"/>
                  <a:gd name="T69" fmla="*/ 585 h 806"/>
                  <a:gd name="T70" fmla="*/ 716 w 818"/>
                  <a:gd name="T71" fmla="*/ 531 h 806"/>
                  <a:gd name="T72" fmla="*/ 739 w 818"/>
                  <a:gd name="T73" fmla="*/ 400 h 806"/>
                  <a:gd name="T74" fmla="*/ 409 w 818"/>
                  <a:gd name="T75" fmla="*/ 660 h 806"/>
                  <a:gd name="T76" fmla="*/ 152 w 818"/>
                  <a:gd name="T77" fmla="*/ 403 h 806"/>
                  <a:gd name="T78" fmla="*/ 409 w 818"/>
                  <a:gd name="T79" fmla="*/ 146 h 806"/>
                  <a:gd name="T80" fmla="*/ 666 w 818"/>
                  <a:gd name="T81" fmla="*/ 403 h 806"/>
                  <a:gd name="T82" fmla="*/ 409 w 818"/>
                  <a:gd name="T83" fmla="*/ 66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8" h="806">
                    <a:moveTo>
                      <a:pt x="739" y="400"/>
                    </a:moveTo>
                    <a:cubicBezTo>
                      <a:pt x="818" y="371"/>
                      <a:pt x="818" y="371"/>
                      <a:pt x="818" y="371"/>
                    </a:cubicBezTo>
                    <a:cubicBezTo>
                      <a:pt x="807" y="305"/>
                      <a:pt x="807" y="305"/>
                      <a:pt x="807" y="305"/>
                    </a:cubicBezTo>
                    <a:cubicBezTo>
                      <a:pt x="723" y="305"/>
                      <a:pt x="723" y="305"/>
                      <a:pt x="723" y="305"/>
                    </a:cubicBezTo>
                    <a:cubicBezTo>
                      <a:pt x="709" y="263"/>
                      <a:pt x="686" y="224"/>
                      <a:pt x="656" y="190"/>
                    </a:cubicBezTo>
                    <a:cubicBezTo>
                      <a:pt x="698" y="117"/>
                      <a:pt x="698" y="117"/>
                      <a:pt x="698" y="117"/>
                    </a:cubicBezTo>
                    <a:cubicBezTo>
                      <a:pt x="647" y="74"/>
                      <a:pt x="647" y="74"/>
                      <a:pt x="647" y="74"/>
                    </a:cubicBezTo>
                    <a:cubicBezTo>
                      <a:pt x="582" y="128"/>
                      <a:pt x="582" y="128"/>
                      <a:pt x="582" y="128"/>
                    </a:cubicBezTo>
                    <a:cubicBezTo>
                      <a:pt x="544" y="105"/>
                      <a:pt x="501" y="89"/>
                      <a:pt x="457" y="83"/>
                    </a:cubicBezTo>
                    <a:cubicBezTo>
                      <a:pt x="442" y="0"/>
                      <a:pt x="442" y="0"/>
                      <a:pt x="442" y="0"/>
                    </a:cubicBezTo>
                    <a:cubicBezTo>
                      <a:pt x="375" y="0"/>
                      <a:pt x="375" y="0"/>
                      <a:pt x="375" y="0"/>
                    </a:cubicBezTo>
                    <a:cubicBezTo>
                      <a:pt x="361" y="83"/>
                      <a:pt x="361" y="83"/>
                      <a:pt x="361" y="83"/>
                    </a:cubicBezTo>
                    <a:cubicBezTo>
                      <a:pt x="316" y="89"/>
                      <a:pt x="274" y="105"/>
                      <a:pt x="236" y="128"/>
                    </a:cubicBezTo>
                    <a:cubicBezTo>
                      <a:pt x="171" y="74"/>
                      <a:pt x="171" y="74"/>
                      <a:pt x="171" y="74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62" y="190"/>
                      <a:pt x="162" y="190"/>
                      <a:pt x="162" y="190"/>
                    </a:cubicBezTo>
                    <a:cubicBezTo>
                      <a:pt x="132" y="224"/>
                      <a:pt x="109" y="263"/>
                      <a:pt x="95" y="305"/>
                    </a:cubicBezTo>
                    <a:cubicBezTo>
                      <a:pt x="11" y="305"/>
                      <a:pt x="11" y="305"/>
                      <a:pt x="11" y="305"/>
                    </a:cubicBezTo>
                    <a:cubicBezTo>
                      <a:pt x="0" y="371"/>
                      <a:pt x="0" y="371"/>
                      <a:pt x="0" y="371"/>
                    </a:cubicBezTo>
                    <a:cubicBezTo>
                      <a:pt x="78" y="400"/>
                      <a:pt x="78" y="400"/>
                      <a:pt x="78" y="400"/>
                    </a:cubicBezTo>
                    <a:cubicBezTo>
                      <a:pt x="77" y="445"/>
                      <a:pt x="85" y="490"/>
                      <a:pt x="102" y="531"/>
                    </a:cubicBezTo>
                    <a:cubicBezTo>
                      <a:pt x="37" y="585"/>
                      <a:pt x="37" y="585"/>
                      <a:pt x="37" y="585"/>
                    </a:cubicBezTo>
                    <a:cubicBezTo>
                      <a:pt x="71" y="643"/>
                      <a:pt x="71" y="643"/>
                      <a:pt x="71" y="643"/>
                    </a:cubicBezTo>
                    <a:cubicBezTo>
                      <a:pt x="150" y="615"/>
                      <a:pt x="150" y="615"/>
                      <a:pt x="150" y="615"/>
                    </a:cubicBezTo>
                    <a:cubicBezTo>
                      <a:pt x="178" y="650"/>
                      <a:pt x="212" y="679"/>
                      <a:pt x="252" y="700"/>
                    </a:cubicBezTo>
                    <a:cubicBezTo>
                      <a:pt x="237" y="783"/>
                      <a:pt x="237" y="783"/>
                      <a:pt x="237" y="783"/>
                    </a:cubicBezTo>
                    <a:cubicBezTo>
                      <a:pt x="300" y="806"/>
                      <a:pt x="300" y="806"/>
                      <a:pt x="300" y="806"/>
                    </a:cubicBezTo>
                    <a:cubicBezTo>
                      <a:pt x="342" y="733"/>
                      <a:pt x="342" y="733"/>
                      <a:pt x="342" y="733"/>
                    </a:cubicBezTo>
                    <a:cubicBezTo>
                      <a:pt x="386" y="742"/>
                      <a:pt x="432" y="742"/>
                      <a:pt x="476" y="733"/>
                    </a:cubicBezTo>
                    <a:cubicBezTo>
                      <a:pt x="518" y="806"/>
                      <a:pt x="518" y="806"/>
                      <a:pt x="518" y="806"/>
                    </a:cubicBezTo>
                    <a:cubicBezTo>
                      <a:pt x="581" y="783"/>
                      <a:pt x="581" y="783"/>
                      <a:pt x="581" y="783"/>
                    </a:cubicBezTo>
                    <a:cubicBezTo>
                      <a:pt x="566" y="700"/>
                      <a:pt x="566" y="700"/>
                      <a:pt x="566" y="700"/>
                    </a:cubicBezTo>
                    <a:cubicBezTo>
                      <a:pt x="606" y="679"/>
                      <a:pt x="640" y="650"/>
                      <a:pt x="668" y="615"/>
                    </a:cubicBezTo>
                    <a:cubicBezTo>
                      <a:pt x="747" y="643"/>
                      <a:pt x="747" y="643"/>
                      <a:pt x="747" y="643"/>
                    </a:cubicBezTo>
                    <a:cubicBezTo>
                      <a:pt x="781" y="585"/>
                      <a:pt x="781" y="585"/>
                      <a:pt x="781" y="585"/>
                    </a:cubicBezTo>
                    <a:cubicBezTo>
                      <a:pt x="716" y="531"/>
                      <a:pt x="716" y="531"/>
                      <a:pt x="716" y="531"/>
                    </a:cubicBezTo>
                    <a:cubicBezTo>
                      <a:pt x="733" y="490"/>
                      <a:pt x="741" y="445"/>
                      <a:pt x="739" y="400"/>
                    </a:cubicBezTo>
                    <a:close/>
                    <a:moveTo>
                      <a:pt x="409" y="660"/>
                    </a:moveTo>
                    <a:cubicBezTo>
                      <a:pt x="267" y="660"/>
                      <a:pt x="152" y="545"/>
                      <a:pt x="152" y="403"/>
                    </a:cubicBezTo>
                    <a:cubicBezTo>
                      <a:pt x="152" y="261"/>
                      <a:pt x="267" y="146"/>
                      <a:pt x="409" y="146"/>
                    </a:cubicBezTo>
                    <a:cubicBezTo>
                      <a:pt x="551" y="146"/>
                      <a:pt x="666" y="261"/>
                      <a:pt x="666" y="403"/>
                    </a:cubicBezTo>
                    <a:cubicBezTo>
                      <a:pt x="666" y="545"/>
                      <a:pt x="551" y="660"/>
                      <a:pt x="409" y="6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Open Sans"/>
                </a:endParaRPr>
              </a:p>
            </p:txBody>
          </p:sp>
          <p:sp>
            <p:nvSpPr>
              <p:cNvPr id="74" name="Oval 6"/>
              <p:cNvSpPr>
                <a:spLocks noChangeArrowheads="1"/>
              </p:cNvSpPr>
              <p:nvPr/>
            </p:nvSpPr>
            <p:spPr bwMode="auto">
              <a:xfrm>
                <a:off x="2698462" y="2066648"/>
                <a:ext cx="634538" cy="634537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 dirty="0">
                  <a:solidFill>
                    <a:srgbClr val="3F3F3F"/>
                  </a:solidFill>
                  <a:latin typeface="Open Sans"/>
                </a:endParaRPr>
              </a:p>
            </p:txBody>
          </p:sp>
        </p:grpSp>
      </p:grpSp>
      <p:sp>
        <p:nvSpPr>
          <p:cNvPr id="75" name="TextBox 74"/>
          <p:cNvSpPr txBox="1"/>
          <p:nvPr/>
        </p:nvSpPr>
        <p:spPr>
          <a:xfrm>
            <a:off x="12861809" y="6872375"/>
            <a:ext cx="9893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b="1" kern="1200" dirty="0">
                <a:solidFill>
                  <a:srgbClr val="FFFFFF"/>
                </a:solidFill>
                <a:latin typeface="Poppins"/>
              </a:rPr>
              <a:t>95%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2861809" y="3711483"/>
            <a:ext cx="9893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b="1" kern="1200" dirty="0">
                <a:solidFill>
                  <a:srgbClr val="FFFFFF"/>
                </a:solidFill>
                <a:latin typeface="Poppins"/>
              </a:rPr>
              <a:t>80%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2861809" y="9816389"/>
            <a:ext cx="9893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b="1" kern="1200" dirty="0">
                <a:solidFill>
                  <a:srgbClr val="FFFFFF"/>
                </a:solidFill>
                <a:latin typeface="Poppins"/>
              </a:rPr>
              <a:t>65%</a:t>
            </a:r>
          </a:p>
        </p:txBody>
      </p:sp>
    </p:spTree>
    <p:extLst>
      <p:ext uri="{BB962C8B-B14F-4D97-AF65-F5344CB8AC3E}">
        <p14:creationId xmlns:p14="http://schemas.microsoft.com/office/powerpoint/2010/main" val="299976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13758337" y="6003253"/>
            <a:ext cx="3509434" cy="3526366"/>
            <a:chOff x="5159376" y="2154238"/>
            <a:chExt cx="1316038" cy="1322387"/>
          </a:xfrm>
        </p:grpSpPr>
        <p:sp>
          <p:nvSpPr>
            <p:cNvPr id="94" name="Freeform 5"/>
            <p:cNvSpPr>
              <a:spLocks/>
            </p:cNvSpPr>
            <p:nvPr/>
          </p:nvSpPr>
          <p:spPr bwMode="auto">
            <a:xfrm>
              <a:off x="5159376" y="2154238"/>
              <a:ext cx="1316038" cy="1322387"/>
            </a:xfrm>
            <a:custGeom>
              <a:avLst/>
              <a:gdLst>
                <a:gd name="T0" fmla="*/ 606 w 671"/>
                <a:gd name="T1" fmla="*/ 243 h 674"/>
                <a:gd name="T2" fmla="*/ 635 w 671"/>
                <a:gd name="T3" fmla="*/ 182 h 674"/>
                <a:gd name="T4" fmla="*/ 569 w 671"/>
                <a:gd name="T5" fmla="*/ 170 h 674"/>
                <a:gd name="T6" fmla="*/ 579 w 671"/>
                <a:gd name="T7" fmla="*/ 104 h 674"/>
                <a:gd name="T8" fmla="*/ 512 w 671"/>
                <a:gd name="T9" fmla="*/ 111 h 674"/>
                <a:gd name="T10" fmla="*/ 504 w 671"/>
                <a:gd name="T11" fmla="*/ 45 h 674"/>
                <a:gd name="T12" fmla="*/ 442 w 671"/>
                <a:gd name="T13" fmla="*/ 71 h 674"/>
                <a:gd name="T14" fmla="*/ 415 w 671"/>
                <a:gd name="T15" fmla="*/ 10 h 674"/>
                <a:gd name="T16" fmla="*/ 362 w 671"/>
                <a:gd name="T17" fmla="*/ 51 h 674"/>
                <a:gd name="T18" fmla="*/ 319 w 671"/>
                <a:gd name="T19" fmla="*/ 0 h 674"/>
                <a:gd name="T20" fmla="*/ 293 w 671"/>
                <a:gd name="T21" fmla="*/ 53 h 674"/>
                <a:gd name="T22" fmla="*/ 252 w 671"/>
                <a:gd name="T23" fmla="*/ 10 h 674"/>
                <a:gd name="T24" fmla="*/ 226 w 671"/>
                <a:gd name="T25" fmla="*/ 72 h 674"/>
                <a:gd name="T26" fmla="*/ 164 w 671"/>
                <a:gd name="T27" fmla="*/ 47 h 674"/>
                <a:gd name="T28" fmla="*/ 156 w 671"/>
                <a:gd name="T29" fmla="*/ 113 h 674"/>
                <a:gd name="T30" fmla="*/ 89 w 671"/>
                <a:gd name="T31" fmla="*/ 107 h 674"/>
                <a:gd name="T32" fmla="*/ 100 w 671"/>
                <a:gd name="T33" fmla="*/ 173 h 674"/>
                <a:gd name="T34" fmla="*/ 35 w 671"/>
                <a:gd name="T35" fmla="*/ 186 h 674"/>
                <a:gd name="T36" fmla="*/ 64 w 671"/>
                <a:gd name="T37" fmla="*/ 246 h 674"/>
                <a:gd name="T38" fmla="*/ 4 w 671"/>
                <a:gd name="T39" fmla="*/ 276 h 674"/>
                <a:gd name="T40" fmla="*/ 49 w 671"/>
                <a:gd name="T41" fmla="*/ 326 h 674"/>
                <a:gd name="T42" fmla="*/ 1 w 671"/>
                <a:gd name="T43" fmla="*/ 372 h 674"/>
                <a:gd name="T44" fmla="*/ 5 w 671"/>
                <a:gd name="T45" fmla="*/ 401 h 674"/>
                <a:gd name="T46" fmla="*/ 65 w 671"/>
                <a:gd name="T47" fmla="*/ 431 h 674"/>
                <a:gd name="T48" fmla="*/ 36 w 671"/>
                <a:gd name="T49" fmla="*/ 491 h 674"/>
                <a:gd name="T50" fmla="*/ 102 w 671"/>
                <a:gd name="T51" fmla="*/ 503 h 674"/>
                <a:gd name="T52" fmla="*/ 92 w 671"/>
                <a:gd name="T53" fmla="*/ 569 h 674"/>
                <a:gd name="T54" fmla="*/ 158 w 671"/>
                <a:gd name="T55" fmla="*/ 562 h 674"/>
                <a:gd name="T56" fmla="*/ 167 w 671"/>
                <a:gd name="T57" fmla="*/ 628 h 674"/>
                <a:gd name="T58" fmla="*/ 229 w 671"/>
                <a:gd name="T59" fmla="*/ 603 h 674"/>
                <a:gd name="T60" fmla="*/ 256 w 671"/>
                <a:gd name="T61" fmla="*/ 664 h 674"/>
                <a:gd name="T62" fmla="*/ 308 w 671"/>
                <a:gd name="T63" fmla="*/ 622 h 674"/>
                <a:gd name="T64" fmla="*/ 351 w 671"/>
                <a:gd name="T65" fmla="*/ 673 h 674"/>
                <a:gd name="T66" fmla="*/ 378 w 671"/>
                <a:gd name="T67" fmla="*/ 620 h 674"/>
                <a:gd name="T68" fmla="*/ 418 w 671"/>
                <a:gd name="T69" fmla="*/ 663 h 674"/>
                <a:gd name="T70" fmla="*/ 444 w 671"/>
                <a:gd name="T71" fmla="*/ 602 h 674"/>
                <a:gd name="T72" fmla="*/ 507 w 671"/>
                <a:gd name="T73" fmla="*/ 627 h 674"/>
                <a:gd name="T74" fmla="*/ 515 w 671"/>
                <a:gd name="T75" fmla="*/ 560 h 674"/>
                <a:gd name="T76" fmla="*/ 581 w 671"/>
                <a:gd name="T77" fmla="*/ 567 h 674"/>
                <a:gd name="T78" fmla="*/ 570 w 671"/>
                <a:gd name="T79" fmla="*/ 501 h 674"/>
                <a:gd name="T80" fmla="*/ 636 w 671"/>
                <a:gd name="T81" fmla="*/ 488 h 674"/>
                <a:gd name="T82" fmla="*/ 607 w 671"/>
                <a:gd name="T83" fmla="*/ 428 h 674"/>
                <a:gd name="T84" fmla="*/ 667 w 671"/>
                <a:gd name="T85" fmla="*/ 397 h 674"/>
                <a:gd name="T86" fmla="*/ 622 w 671"/>
                <a:gd name="T87" fmla="*/ 348 h 674"/>
                <a:gd name="T88" fmla="*/ 670 w 671"/>
                <a:gd name="T89" fmla="*/ 301 h 674"/>
                <a:gd name="T90" fmla="*/ 666 w 671"/>
                <a:gd name="T91" fmla="*/ 273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1" h="674">
                  <a:moveTo>
                    <a:pt x="613" y="266"/>
                  </a:moveTo>
                  <a:cubicBezTo>
                    <a:pt x="611" y="258"/>
                    <a:pt x="609" y="250"/>
                    <a:pt x="606" y="243"/>
                  </a:cubicBezTo>
                  <a:cubicBezTo>
                    <a:pt x="617" y="232"/>
                    <a:pt x="634" y="220"/>
                    <a:pt x="647" y="208"/>
                  </a:cubicBezTo>
                  <a:cubicBezTo>
                    <a:pt x="643" y="199"/>
                    <a:pt x="639" y="191"/>
                    <a:pt x="635" y="182"/>
                  </a:cubicBezTo>
                  <a:cubicBezTo>
                    <a:pt x="618" y="185"/>
                    <a:pt x="597" y="190"/>
                    <a:pt x="582" y="191"/>
                  </a:cubicBezTo>
                  <a:cubicBezTo>
                    <a:pt x="578" y="184"/>
                    <a:pt x="573" y="177"/>
                    <a:pt x="569" y="170"/>
                  </a:cubicBezTo>
                  <a:cubicBezTo>
                    <a:pt x="576" y="157"/>
                    <a:pt x="588" y="140"/>
                    <a:pt x="598" y="126"/>
                  </a:cubicBezTo>
                  <a:cubicBezTo>
                    <a:pt x="592" y="118"/>
                    <a:pt x="586" y="111"/>
                    <a:pt x="579" y="104"/>
                  </a:cubicBezTo>
                  <a:cubicBezTo>
                    <a:pt x="563" y="112"/>
                    <a:pt x="545" y="122"/>
                    <a:pt x="531" y="127"/>
                  </a:cubicBezTo>
                  <a:cubicBezTo>
                    <a:pt x="525" y="122"/>
                    <a:pt x="519" y="116"/>
                    <a:pt x="512" y="111"/>
                  </a:cubicBezTo>
                  <a:cubicBezTo>
                    <a:pt x="516" y="97"/>
                    <a:pt x="523" y="77"/>
                    <a:pt x="528" y="61"/>
                  </a:cubicBezTo>
                  <a:cubicBezTo>
                    <a:pt x="520" y="55"/>
                    <a:pt x="512" y="50"/>
                    <a:pt x="504" y="45"/>
                  </a:cubicBezTo>
                  <a:cubicBezTo>
                    <a:pt x="491" y="57"/>
                    <a:pt x="476" y="72"/>
                    <a:pt x="464" y="81"/>
                  </a:cubicBezTo>
                  <a:cubicBezTo>
                    <a:pt x="457" y="77"/>
                    <a:pt x="449" y="74"/>
                    <a:pt x="442" y="71"/>
                  </a:cubicBezTo>
                  <a:cubicBezTo>
                    <a:pt x="441" y="56"/>
                    <a:pt x="442" y="35"/>
                    <a:pt x="442" y="17"/>
                  </a:cubicBezTo>
                  <a:cubicBezTo>
                    <a:pt x="433" y="14"/>
                    <a:pt x="424" y="12"/>
                    <a:pt x="415" y="10"/>
                  </a:cubicBezTo>
                  <a:cubicBezTo>
                    <a:pt x="406" y="24"/>
                    <a:pt x="396" y="43"/>
                    <a:pt x="387" y="55"/>
                  </a:cubicBezTo>
                  <a:cubicBezTo>
                    <a:pt x="379" y="53"/>
                    <a:pt x="371" y="52"/>
                    <a:pt x="362" y="51"/>
                  </a:cubicBezTo>
                  <a:cubicBezTo>
                    <a:pt x="357" y="37"/>
                    <a:pt x="353" y="17"/>
                    <a:pt x="348" y="0"/>
                  </a:cubicBezTo>
                  <a:cubicBezTo>
                    <a:pt x="339" y="0"/>
                    <a:pt x="329" y="0"/>
                    <a:pt x="319" y="0"/>
                  </a:cubicBezTo>
                  <a:cubicBezTo>
                    <a:pt x="315" y="17"/>
                    <a:pt x="310" y="38"/>
                    <a:pt x="305" y="52"/>
                  </a:cubicBezTo>
                  <a:cubicBezTo>
                    <a:pt x="301" y="52"/>
                    <a:pt x="297" y="53"/>
                    <a:pt x="293" y="53"/>
                  </a:cubicBezTo>
                  <a:cubicBezTo>
                    <a:pt x="289" y="54"/>
                    <a:pt x="285" y="55"/>
                    <a:pt x="281" y="55"/>
                  </a:cubicBezTo>
                  <a:cubicBezTo>
                    <a:pt x="272" y="43"/>
                    <a:pt x="262" y="25"/>
                    <a:pt x="252" y="10"/>
                  </a:cubicBezTo>
                  <a:cubicBezTo>
                    <a:pt x="243" y="13"/>
                    <a:pt x="234" y="16"/>
                    <a:pt x="225" y="19"/>
                  </a:cubicBezTo>
                  <a:cubicBezTo>
                    <a:pt x="225" y="36"/>
                    <a:pt x="227" y="57"/>
                    <a:pt x="226" y="72"/>
                  </a:cubicBezTo>
                  <a:cubicBezTo>
                    <a:pt x="218" y="75"/>
                    <a:pt x="211" y="78"/>
                    <a:pt x="204" y="82"/>
                  </a:cubicBezTo>
                  <a:cubicBezTo>
                    <a:pt x="192" y="73"/>
                    <a:pt x="177" y="58"/>
                    <a:pt x="164" y="47"/>
                  </a:cubicBezTo>
                  <a:cubicBezTo>
                    <a:pt x="156" y="52"/>
                    <a:pt x="148" y="57"/>
                    <a:pt x="140" y="63"/>
                  </a:cubicBezTo>
                  <a:cubicBezTo>
                    <a:pt x="145" y="79"/>
                    <a:pt x="152" y="99"/>
                    <a:pt x="156" y="113"/>
                  </a:cubicBezTo>
                  <a:cubicBezTo>
                    <a:pt x="150" y="118"/>
                    <a:pt x="143" y="124"/>
                    <a:pt x="137" y="129"/>
                  </a:cubicBezTo>
                  <a:cubicBezTo>
                    <a:pt x="124" y="124"/>
                    <a:pt x="105" y="114"/>
                    <a:pt x="89" y="107"/>
                  </a:cubicBezTo>
                  <a:cubicBezTo>
                    <a:pt x="83" y="114"/>
                    <a:pt x="77" y="121"/>
                    <a:pt x="71" y="129"/>
                  </a:cubicBezTo>
                  <a:cubicBezTo>
                    <a:pt x="80" y="143"/>
                    <a:pt x="93" y="160"/>
                    <a:pt x="100" y="173"/>
                  </a:cubicBezTo>
                  <a:cubicBezTo>
                    <a:pt x="96" y="180"/>
                    <a:pt x="91" y="186"/>
                    <a:pt x="87" y="194"/>
                  </a:cubicBezTo>
                  <a:cubicBezTo>
                    <a:pt x="72" y="192"/>
                    <a:pt x="52" y="188"/>
                    <a:pt x="35" y="186"/>
                  </a:cubicBezTo>
                  <a:cubicBezTo>
                    <a:pt x="30" y="194"/>
                    <a:pt x="26" y="203"/>
                    <a:pt x="23" y="212"/>
                  </a:cubicBezTo>
                  <a:cubicBezTo>
                    <a:pt x="36" y="223"/>
                    <a:pt x="53" y="235"/>
                    <a:pt x="64" y="246"/>
                  </a:cubicBezTo>
                  <a:cubicBezTo>
                    <a:pt x="61" y="253"/>
                    <a:pt x="59" y="261"/>
                    <a:pt x="57" y="269"/>
                  </a:cubicBezTo>
                  <a:cubicBezTo>
                    <a:pt x="42" y="272"/>
                    <a:pt x="21" y="274"/>
                    <a:pt x="4" y="276"/>
                  </a:cubicBezTo>
                  <a:cubicBezTo>
                    <a:pt x="2" y="286"/>
                    <a:pt x="1" y="295"/>
                    <a:pt x="0" y="305"/>
                  </a:cubicBezTo>
                  <a:cubicBezTo>
                    <a:pt x="16" y="312"/>
                    <a:pt x="36" y="319"/>
                    <a:pt x="49" y="326"/>
                  </a:cubicBezTo>
                  <a:cubicBezTo>
                    <a:pt x="49" y="334"/>
                    <a:pt x="49" y="342"/>
                    <a:pt x="49" y="350"/>
                  </a:cubicBezTo>
                  <a:cubicBezTo>
                    <a:pt x="36" y="357"/>
                    <a:pt x="16" y="365"/>
                    <a:pt x="1" y="372"/>
                  </a:cubicBezTo>
                  <a:cubicBezTo>
                    <a:pt x="1" y="377"/>
                    <a:pt x="2" y="382"/>
                    <a:pt x="2" y="386"/>
                  </a:cubicBezTo>
                  <a:cubicBezTo>
                    <a:pt x="3" y="391"/>
                    <a:pt x="4" y="396"/>
                    <a:pt x="5" y="401"/>
                  </a:cubicBezTo>
                  <a:cubicBezTo>
                    <a:pt x="22" y="403"/>
                    <a:pt x="43" y="404"/>
                    <a:pt x="57" y="407"/>
                  </a:cubicBezTo>
                  <a:cubicBezTo>
                    <a:pt x="59" y="415"/>
                    <a:pt x="62" y="423"/>
                    <a:pt x="65" y="431"/>
                  </a:cubicBezTo>
                  <a:cubicBezTo>
                    <a:pt x="54" y="441"/>
                    <a:pt x="37" y="454"/>
                    <a:pt x="24" y="465"/>
                  </a:cubicBezTo>
                  <a:cubicBezTo>
                    <a:pt x="28" y="474"/>
                    <a:pt x="32" y="483"/>
                    <a:pt x="36" y="491"/>
                  </a:cubicBezTo>
                  <a:cubicBezTo>
                    <a:pt x="53" y="489"/>
                    <a:pt x="74" y="484"/>
                    <a:pt x="88" y="482"/>
                  </a:cubicBezTo>
                  <a:cubicBezTo>
                    <a:pt x="93" y="490"/>
                    <a:pt x="97" y="497"/>
                    <a:pt x="102" y="503"/>
                  </a:cubicBezTo>
                  <a:cubicBezTo>
                    <a:pt x="95" y="516"/>
                    <a:pt x="82" y="533"/>
                    <a:pt x="73" y="548"/>
                  </a:cubicBezTo>
                  <a:cubicBezTo>
                    <a:pt x="79" y="555"/>
                    <a:pt x="85" y="562"/>
                    <a:pt x="92" y="569"/>
                  </a:cubicBezTo>
                  <a:cubicBezTo>
                    <a:pt x="107" y="562"/>
                    <a:pt x="126" y="552"/>
                    <a:pt x="139" y="546"/>
                  </a:cubicBezTo>
                  <a:cubicBezTo>
                    <a:pt x="146" y="552"/>
                    <a:pt x="152" y="557"/>
                    <a:pt x="158" y="562"/>
                  </a:cubicBezTo>
                  <a:cubicBezTo>
                    <a:pt x="155" y="577"/>
                    <a:pt x="148" y="596"/>
                    <a:pt x="143" y="613"/>
                  </a:cubicBezTo>
                  <a:cubicBezTo>
                    <a:pt x="151" y="618"/>
                    <a:pt x="159" y="624"/>
                    <a:pt x="167" y="628"/>
                  </a:cubicBezTo>
                  <a:cubicBezTo>
                    <a:pt x="180" y="617"/>
                    <a:pt x="195" y="602"/>
                    <a:pt x="206" y="593"/>
                  </a:cubicBezTo>
                  <a:cubicBezTo>
                    <a:pt x="214" y="597"/>
                    <a:pt x="221" y="600"/>
                    <a:pt x="229" y="603"/>
                  </a:cubicBezTo>
                  <a:cubicBezTo>
                    <a:pt x="230" y="618"/>
                    <a:pt x="228" y="639"/>
                    <a:pt x="228" y="656"/>
                  </a:cubicBezTo>
                  <a:cubicBezTo>
                    <a:pt x="237" y="659"/>
                    <a:pt x="247" y="662"/>
                    <a:pt x="256" y="664"/>
                  </a:cubicBezTo>
                  <a:cubicBezTo>
                    <a:pt x="265" y="649"/>
                    <a:pt x="275" y="631"/>
                    <a:pt x="284" y="619"/>
                  </a:cubicBezTo>
                  <a:cubicBezTo>
                    <a:pt x="292" y="620"/>
                    <a:pt x="300" y="621"/>
                    <a:pt x="308" y="622"/>
                  </a:cubicBezTo>
                  <a:cubicBezTo>
                    <a:pt x="313" y="636"/>
                    <a:pt x="318" y="657"/>
                    <a:pt x="323" y="673"/>
                  </a:cubicBezTo>
                  <a:cubicBezTo>
                    <a:pt x="332" y="674"/>
                    <a:pt x="342" y="674"/>
                    <a:pt x="351" y="673"/>
                  </a:cubicBezTo>
                  <a:cubicBezTo>
                    <a:pt x="356" y="656"/>
                    <a:pt x="360" y="636"/>
                    <a:pt x="365" y="622"/>
                  </a:cubicBezTo>
                  <a:cubicBezTo>
                    <a:pt x="369" y="621"/>
                    <a:pt x="373" y="621"/>
                    <a:pt x="378" y="620"/>
                  </a:cubicBezTo>
                  <a:cubicBezTo>
                    <a:pt x="382" y="620"/>
                    <a:pt x="386" y="619"/>
                    <a:pt x="390" y="618"/>
                  </a:cubicBezTo>
                  <a:cubicBezTo>
                    <a:pt x="399" y="630"/>
                    <a:pt x="409" y="649"/>
                    <a:pt x="418" y="663"/>
                  </a:cubicBezTo>
                  <a:cubicBezTo>
                    <a:pt x="427" y="661"/>
                    <a:pt x="437" y="658"/>
                    <a:pt x="446" y="655"/>
                  </a:cubicBezTo>
                  <a:cubicBezTo>
                    <a:pt x="445" y="638"/>
                    <a:pt x="444" y="617"/>
                    <a:pt x="444" y="602"/>
                  </a:cubicBezTo>
                  <a:cubicBezTo>
                    <a:pt x="452" y="599"/>
                    <a:pt x="460" y="595"/>
                    <a:pt x="467" y="591"/>
                  </a:cubicBezTo>
                  <a:cubicBezTo>
                    <a:pt x="479" y="600"/>
                    <a:pt x="494" y="615"/>
                    <a:pt x="507" y="627"/>
                  </a:cubicBezTo>
                  <a:cubicBezTo>
                    <a:pt x="515" y="622"/>
                    <a:pt x="523" y="617"/>
                    <a:pt x="531" y="611"/>
                  </a:cubicBezTo>
                  <a:cubicBezTo>
                    <a:pt x="526" y="595"/>
                    <a:pt x="518" y="575"/>
                    <a:pt x="515" y="560"/>
                  </a:cubicBezTo>
                  <a:cubicBezTo>
                    <a:pt x="521" y="555"/>
                    <a:pt x="527" y="550"/>
                    <a:pt x="533" y="544"/>
                  </a:cubicBezTo>
                  <a:cubicBezTo>
                    <a:pt x="547" y="549"/>
                    <a:pt x="566" y="559"/>
                    <a:pt x="581" y="567"/>
                  </a:cubicBezTo>
                  <a:cubicBezTo>
                    <a:pt x="588" y="560"/>
                    <a:pt x="594" y="552"/>
                    <a:pt x="600" y="545"/>
                  </a:cubicBezTo>
                  <a:cubicBezTo>
                    <a:pt x="591" y="530"/>
                    <a:pt x="578" y="514"/>
                    <a:pt x="570" y="501"/>
                  </a:cubicBezTo>
                  <a:cubicBezTo>
                    <a:pt x="575" y="494"/>
                    <a:pt x="580" y="487"/>
                    <a:pt x="584" y="480"/>
                  </a:cubicBezTo>
                  <a:cubicBezTo>
                    <a:pt x="598" y="481"/>
                    <a:pt x="619" y="486"/>
                    <a:pt x="636" y="488"/>
                  </a:cubicBezTo>
                  <a:cubicBezTo>
                    <a:pt x="640" y="479"/>
                    <a:pt x="644" y="471"/>
                    <a:pt x="648" y="462"/>
                  </a:cubicBezTo>
                  <a:cubicBezTo>
                    <a:pt x="635" y="451"/>
                    <a:pt x="618" y="438"/>
                    <a:pt x="607" y="428"/>
                  </a:cubicBezTo>
                  <a:cubicBezTo>
                    <a:pt x="610" y="420"/>
                    <a:pt x="612" y="412"/>
                    <a:pt x="614" y="404"/>
                  </a:cubicBezTo>
                  <a:cubicBezTo>
                    <a:pt x="628" y="401"/>
                    <a:pt x="650" y="400"/>
                    <a:pt x="667" y="397"/>
                  </a:cubicBezTo>
                  <a:cubicBezTo>
                    <a:pt x="668" y="388"/>
                    <a:pt x="670" y="378"/>
                    <a:pt x="671" y="369"/>
                  </a:cubicBezTo>
                  <a:cubicBezTo>
                    <a:pt x="655" y="362"/>
                    <a:pt x="635" y="355"/>
                    <a:pt x="622" y="348"/>
                  </a:cubicBezTo>
                  <a:cubicBezTo>
                    <a:pt x="622" y="340"/>
                    <a:pt x="622" y="331"/>
                    <a:pt x="622" y="323"/>
                  </a:cubicBezTo>
                  <a:cubicBezTo>
                    <a:pt x="635" y="316"/>
                    <a:pt x="654" y="309"/>
                    <a:pt x="670" y="301"/>
                  </a:cubicBezTo>
                  <a:cubicBezTo>
                    <a:pt x="670" y="297"/>
                    <a:pt x="669" y="292"/>
                    <a:pt x="668" y="287"/>
                  </a:cubicBezTo>
                  <a:cubicBezTo>
                    <a:pt x="668" y="282"/>
                    <a:pt x="667" y="278"/>
                    <a:pt x="666" y="273"/>
                  </a:cubicBezTo>
                  <a:cubicBezTo>
                    <a:pt x="649" y="271"/>
                    <a:pt x="628" y="269"/>
                    <a:pt x="613" y="26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2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5" name="Freeform 6"/>
            <p:cNvSpPr>
              <a:spLocks/>
            </p:cNvSpPr>
            <p:nvPr/>
          </p:nvSpPr>
          <p:spPr bwMode="auto">
            <a:xfrm>
              <a:off x="5360988" y="2357438"/>
              <a:ext cx="912813" cy="912812"/>
            </a:xfrm>
            <a:custGeom>
              <a:avLst/>
              <a:gdLst>
                <a:gd name="T0" fmla="*/ 447 w 465"/>
                <a:gd name="T1" fmla="*/ 201 h 465"/>
                <a:gd name="T2" fmla="*/ 264 w 465"/>
                <a:gd name="T3" fmla="*/ 447 h 465"/>
                <a:gd name="T4" fmla="*/ 18 w 465"/>
                <a:gd name="T5" fmla="*/ 265 h 465"/>
                <a:gd name="T6" fmla="*/ 200 w 465"/>
                <a:gd name="T7" fmla="*/ 18 h 465"/>
                <a:gd name="T8" fmla="*/ 447 w 465"/>
                <a:gd name="T9" fmla="*/ 20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5" h="465">
                  <a:moveTo>
                    <a:pt x="447" y="201"/>
                  </a:moveTo>
                  <a:cubicBezTo>
                    <a:pt x="465" y="319"/>
                    <a:pt x="383" y="430"/>
                    <a:pt x="264" y="447"/>
                  </a:cubicBezTo>
                  <a:cubicBezTo>
                    <a:pt x="146" y="465"/>
                    <a:pt x="35" y="383"/>
                    <a:pt x="18" y="265"/>
                  </a:cubicBezTo>
                  <a:cubicBezTo>
                    <a:pt x="0" y="146"/>
                    <a:pt x="82" y="36"/>
                    <a:pt x="200" y="18"/>
                  </a:cubicBezTo>
                  <a:cubicBezTo>
                    <a:pt x="319" y="0"/>
                    <a:pt x="429" y="82"/>
                    <a:pt x="447" y="201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1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96" name="Freeform 7"/>
          <p:cNvSpPr>
            <a:spLocks/>
          </p:cNvSpPr>
          <p:nvPr/>
        </p:nvSpPr>
        <p:spPr bwMode="auto">
          <a:xfrm>
            <a:off x="14558435" y="6841453"/>
            <a:ext cx="1947334" cy="1849966"/>
          </a:xfrm>
          <a:custGeom>
            <a:avLst/>
            <a:gdLst>
              <a:gd name="T0" fmla="*/ 182 w 372"/>
              <a:gd name="T1" fmla="*/ 354 h 354"/>
              <a:gd name="T2" fmla="*/ 7 w 372"/>
              <a:gd name="T3" fmla="*/ 203 h 354"/>
              <a:gd name="T4" fmla="*/ 40 w 372"/>
              <a:gd name="T5" fmla="*/ 71 h 354"/>
              <a:gd name="T6" fmla="*/ 156 w 372"/>
              <a:gd name="T7" fmla="*/ 2 h 354"/>
              <a:gd name="T8" fmla="*/ 183 w 372"/>
              <a:gd name="T9" fmla="*/ 0 h 354"/>
              <a:gd name="T10" fmla="*/ 357 w 372"/>
              <a:gd name="T11" fmla="*/ 151 h 354"/>
              <a:gd name="T12" fmla="*/ 208 w 372"/>
              <a:gd name="T13" fmla="*/ 352 h 354"/>
              <a:gd name="T14" fmla="*/ 182 w 372"/>
              <a:gd name="T15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2" h="354">
                <a:moveTo>
                  <a:pt x="182" y="354"/>
                </a:moveTo>
                <a:cubicBezTo>
                  <a:pt x="95" y="354"/>
                  <a:pt x="20" y="289"/>
                  <a:pt x="7" y="203"/>
                </a:cubicBezTo>
                <a:cubicBezTo>
                  <a:pt x="0" y="156"/>
                  <a:pt x="12" y="109"/>
                  <a:pt x="40" y="71"/>
                </a:cubicBezTo>
                <a:cubicBezTo>
                  <a:pt x="68" y="33"/>
                  <a:pt x="109" y="9"/>
                  <a:pt x="156" y="2"/>
                </a:cubicBezTo>
                <a:cubicBezTo>
                  <a:pt x="165" y="0"/>
                  <a:pt x="174" y="0"/>
                  <a:pt x="183" y="0"/>
                </a:cubicBezTo>
                <a:cubicBezTo>
                  <a:pt x="269" y="0"/>
                  <a:pt x="345" y="65"/>
                  <a:pt x="357" y="151"/>
                </a:cubicBezTo>
                <a:cubicBezTo>
                  <a:pt x="372" y="247"/>
                  <a:pt x="305" y="337"/>
                  <a:pt x="208" y="352"/>
                </a:cubicBezTo>
                <a:cubicBezTo>
                  <a:pt x="200" y="353"/>
                  <a:pt x="191" y="354"/>
                  <a:pt x="182" y="35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12107339" y="3145751"/>
            <a:ext cx="3513666" cy="3522134"/>
            <a:chOff x="4540251" y="1082675"/>
            <a:chExt cx="1317625" cy="1320800"/>
          </a:xfrm>
        </p:grpSpPr>
        <p:sp>
          <p:nvSpPr>
            <p:cNvPr id="98" name="Freeform 8"/>
            <p:cNvSpPr>
              <a:spLocks/>
            </p:cNvSpPr>
            <p:nvPr/>
          </p:nvSpPr>
          <p:spPr bwMode="auto">
            <a:xfrm>
              <a:off x="4540251" y="1082675"/>
              <a:ext cx="1317625" cy="1320800"/>
            </a:xfrm>
            <a:custGeom>
              <a:avLst/>
              <a:gdLst>
                <a:gd name="T0" fmla="*/ 603 w 672"/>
                <a:gd name="T1" fmla="*/ 232 h 673"/>
                <a:gd name="T2" fmla="*/ 629 w 672"/>
                <a:gd name="T3" fmla="*/ 170 h 673"/>
                <a:gd name="T4" fmla="*/ 563 w 672"/>
                <a:gd name="T5" fmla="*/ 161 h 673"/>
                <a:gd name="T6" fmla="*/ 570 w 672"/>
                <a:gd name="T7" fmla="*/ 95 h 673"/>
                <a:gd name="T8" fmla="*/ 504 w 672"/>
                <a:gd name="T9" fmla="*/ 104 h 673"/>
                <a:gd name="T10" fmla="*/ 493 w 672"/>
                <a:gd name="T11" fmla="*/ 38 h 673"/>
                <a:gd name="T12" fmla="*/ 432 w 672"/>
                <a:gd name="T13" fmla="*/ 66 h 673"/>
                <a:gd name="T14" fmla="*/ 403 w 672"/>
                <a:gd name="T15" fmla="*/ 6 h 673"/>
                <a:gd name="T16" fmla="*/ 352 w 672"/>
                <a:gd name="T17" fmla="*/ 50 h 673"/>
                <a:gd name="T18" fmla="*/ 307 w 672"/>
                <a:gd name="T19" fmla="*/ 1 h 673"/>
                <a:gd name="T20" fmla="*/ 283 w 672"/>
                <a:gd name="T21" fmla="*/ 55 h 673"/>
                <a:gd name="T22" fmla="*/ 241 w 672"/>
                <a:gd name="T23" fmla="*/ 14 h 673"/>
                <a:gd name="T24" fmla="*/ 217 w 672"/>
                <a:gd name="T25" fmla="*/ 76 h 673"/>
                <a:gd name="T26" fmla="*/ 153 w 672"/>
                <a:gd name="T27" fmla="*/ 54 h 673"/>
                <a:gd name="T28" fmla="*/ 148 w 672"/>
                <a:gd name="T29" fmla="*/ 120 h 673"/>
                <a:gd name="T30" fmla="*/ 81 w 672"/>
                <a:gd name="T31" fmla="*/ 117 h 673"/>
                <a:gd name="T32" fmla="*/ 95 w 672"/>
                <a:gd name="T33" fmla="*/ 182 h 673"/>
                <a:gd name="T34" fmla="*/ 30 w 672"/>
                <a:gd name="T35" fmla="*/ 197 h 673"/>
                <a:gd name="T36" fmla="*/ 61 w 672"/>
                <a:gd name="T37" fmla="*/ 256 h 673"/>
                <a:gd name="T38" fmla="*/ 3 w 672"/>
                <a:gd name="T39" fmla="*/ 289 h 673"/>
                <a:gd name="T40" fmla="*/ 50 w 672"/>
                <a:gd name="T41" fmla="*/ 337 h 673"/>
                <a:gd name="T42" fmla="*/ 3 w 672"/>
                <a:gd name="T43" fmla="*/ 385 h 673"/>
                <a:gd name="T44" fmla="*/ 8 w 672"/>
                <a:gd name="T45" fmla="*/ 413 h 673"/>
                <a:gd name="T46" fmla="*/ 69 w 672"/>
                <a:gd name="T47" fmla="*/ 441 h 673"/>
                <a:gd name="T48" fmla="*/ 43 w 672"/>
                <a:gd name="T49" fmla="*/ 503 h 673"/>
                <a:gd name="T50" fmla="*/ 110 w 672"/>
                <a:gd name="T51" fmla="*/ 512 h 673"/>
                <a:gd name="T52" fmla="*/ 102 w 672"/>
                <a:gd name="T53" fmla="*/ 578 h 673"/>
                <a:gd name="T54" fmla="*/ 168 w 672"/>
                <a:gd name="T55" fmla="*/ 569 h 673"/>
                <a:gd name="T56" fmla="*/ 180 w 672"/>
                <a:gd name="T57" fmla="*/ 634 h 673"/>
                <a:gd name="T58" fmla="*/ 241 w 672"/>
                <a:gd name="T59" fmla="*/ 607 h 673"/>
                <a:gd name="T60" fmla="*/ 270 w 672"/>
                <a:gd name="T61" fmla="*/ 667 h 673"/>
                <a:gd name="T62" fmla="*/ 320 w 672"/>
                <a:gd name="T63" fmla="*/ 623 h 673"/>
                <a:gd name="T64" fmla="*/ 365 w 672"/>
                <a:gd name="T65" fmla="*/ 672 h 673"/>
                <a:gd name="T66" fmla="*/ 390 w 672"/>
                <a:gd name="T67" fmla="*/ 618 h 673"/>
                <a:gd name="T68" fmla="*/ 432 w 672"/>
                <a:gd name="T69" fmla="*/ 659 h 673"/>
                <a:gd name="T70" fmla="*/ 456 w 672"/>
                <a:gd name="T71" fmla="*/ 597 h 673"/>
                <a:gd name="T72" fmla="*/ 519 w 672"/>
                <a:gd name="T73" fmla="*/ 619 h 673"/>
                <a:gd name="T74" fmla="*/ 524 w 672"/>
                <a:gd name="T75" fmla="*/ 553 h 673"/>
                <a:gd name="T76" fmla="*/ 591 w 672"/>
                <a:gd name="T77" fmla="*/ 556 h 673"/>
                <a:gd name="T78" fmla="*/ 578 w 672"/>
                <a:gd name="T79" fmla="*/ 491 h 673"/>
                <a:gd name="T80" fmla="*/ 643 w 672"/>
                <a:gd name="T81" fmla="*/ 476 h 673"/>
                <a:gd name="T82" fmla="*/ 611 w 672"/>
                <a:gd name="T83" fmla="*/ 417 h 673"/>
                <a:gd name="T84" fmla="*/ 670 w 672"/>
                <a:gd name="T85" fmla="*/ 384 h 673"/>
                <a:gd name="T86" fmla="*/ 623 w 672"/>
                <a:gd name="T87" fmla="*/ 336 h 673"/>
                <a:gd name="T88" fmla="*/ 669 w 672"/>
                <a:gd name="T89" fmla="*/ 288 h 673"/>
                <a:gd name="T90" fmla="*/ 664 w 672"/>
                <a:gd name="T91" fmla="*/ 25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2" h="673">
                  <a:moveTo>
                    <a:pt x="611" y="255"/>
                  </a:moveTo>
                  <a:cubicBezTo>
                    <a:pt x="609" y="247"/>
                    <a:pt x="606" y="239"/>
                    <a:pt x="603" y="232"/>
                  </a:cubicBezTo>
                  <a:cubicBezTo>
                    <a:pt x="613" y="221"/>
                    <a:pt x="630" y="208"/>
                    <a:pt x="642" y="196"/>
                  </a:cubicBezTo>
                  <a:cubicBezTo>
                    <a:pt x="638" y="187"/>
                    <a:pt x="634" y="179"/>
                    <a:pt x="629" y="170"/>
                  </a:cubicBezTo>
                  <a:cubicBezTo>
                    <a:pt x="612" y="174"/>
                    <a:pt x="592" y="179"/>
                    <a:pt x="577" y="181"/>
                  </a:cubicBezTo>
                  <a:cubicBezTo>
                    <a:pt x="573" y="174"/>
                    <a:pt x="568" y="167"/>
                    <a:pt x="563" y="161"/>
                  </a:cubicBezTo>
                  <a:cubicBezTo>
                    <a:pt x="570" y="148"/>
                    <a:pt x="581" y="130"/>
                    <a:pt x="590" y="115"/>
                  </a:cubicBezTo>
                  <a:cubicBezTo>
                    <a:pt x="584" y="108"/>
                    <a:pt x="577" y="101"/>
                    <a:pt x="570" y="95"/>
                  </a:cubicBezTo>
                  <a:cubicBezTo>
                    <a:pt x="555" y="103"/>
                    <a:pt x="537" y="114"/>
                    <a:pt x="524" y="120"/>
                  </a:cubicBezTo>
                  <a:cubicBezTo>
                    <a:pt x="517" y="114"/>
                    <a:pt x="511" y="109"/>
                    <a:pt x="504" y="104"/>
                  </a:cubicBezTo>
                  <a:cubicBezTo>
                    <a:pt x="507" y="90"/>
                    <a:pt x="513" y="70"/>
                    <a:pt x="518" y="53"/>
                  </a:cubicBezTo>
                  <a:cubicBezTo>
                    <a:pt x="510" y="48"/>
                    <a:pt x="501" y="43"/>
                    <a:pt x="493" y="38"/>
                  </a:cubicBezTo>
                  <a:cubicBezTo>
                    <a:pt x="480" y="50"/>
                    <a:pt x="466" y="66"/>
                    <a:pt x="455" y="76"/>
                  </a:cubicBezTo>
                  <a:cubicBezTo>
                    <a:pt x="447" y="72"/>
                    <a:pt x="440" y="69"/>
                    <a:pt x="432" y="66"/>
                  </a:cubicBezTo>
                  <a:cubicBezTo>
                    <a:pt x="430" y="51"/>
                    <a:pt x="431" y="30"/>
                    <a:pt x="430" y="13"/>
                  </a:cubicBezTo>
                  <a:cubicBezTo>
                    <a:pt x="421" y="10"/>
                    <a:pt x="412" y="8"/>
                    <a:pt x="403" y="6"/>
                  </a:cubicBezTo>
                  <a:cubicBezTo>
                    <a:pt x="394" y="21"/>
                    <a:pt x="385" y="40"/>
                    <a:pt x="377" y="53"/>
                  </a:cubicBezTo>
                  <a:cubicBezTo>
                    <a:pt x="369" y="51"/>
                    <a:pt x="360" y="51"/>
                    <a:pt x="352" y="50"/>
                  </a:cubicBezTo>
                  <a:cubicBezTo>
                    <a:pt x="346" y="36"/>
                    <a:pt x="341" y="16"/>
                    <a:pt x="336" y="0"/>
                  </a:cubicBezTo>
                  <a:cubicBezTo>
                    <a:pt x="326" y="0"/>
                    <a:pt x="317" y="0"/>
                    <a:pt x="307" y="1"/>
                  </a:cubicBezTo>
                  <a:cubicBezTo>
                    <a:pt x="303" y="18"/>
                    <a:pt x="299" y="39"/>
                    <a:pt x="295" y="53"/>
                  </a:cubicBezTo>
                  <a:cubicBezTo>
                    <a:pt x="291" y="53"/>
                    <a:pt x="287" y="54"/>
                    <a:pt x="283" y="55"/>
                  </a:cubicBezTo>
                  <a:cubicBezTo>
                    <a:pt x="279" y="56"/>
                    <a:pt x="275" y="56"/>
                    <a:pt x="270" y="57"/>
                  </a:cubicBezTo>
                  <a:cubicBezTo>
                    <a:pt x="261" y="46"/>
                    <a:pt x="250" y="28"/>
                    <a:pt x="241" y="14"/>
                  </a:cubicBezTo>
                  <a:cubicBezTo>
                    <a:pt x="231" y="16"/>
                    <a:pt x="222" y="19"/>
                    <a:pt x="213" y="23"/>
                  </a:cubicBezTo>
                  <a:cubicBezTo>
                    <a:pt x="214" y="40"/>
                    <a:pt x="217" y="61"/>
                    <a:pt x="217" y="76"/>
                  </a:cubicBezTo>
                  <a:cubicBezTo>
                    <a:pt x="209" y="79"/>
                    <a:pt x="202" y="83"/>
                    <a:pt x="195" y="87"/>
                  </a:cubicBezTo>
                  <a:cubicBezTo>
                    <a:pt x="182" y="79"/>
                    <a:pt x="167" y="64"/>
                    <a:pt x="153" y="54"/>
                  </a:cubicBezTo>
                  <a:cubicBezTo>
                    <a:pt x="145" y="59"/>
                    <a:pt x="138" y="64"/>
                    <a:pt x="130" y="70"/>
                  </a:cubicBezTo>
                  <a:cubicBezTo>
                    <a:pt x="136" y="86"/>
                    <a:pt x="144" y="106"/>
                    <a:pt x="148" y="120"/>
                  </a:cubicBezTo>
                  <a:cubicBezTo>
                    <a:pt x="142" y="125"/>
                    <a:pt x="136" y="131"/>
                    <a:pt x="130" y="137"/>
                  </a:cubicBezTo>
                  <a:cubicBezTo>
                    <a:pt x="116" y="132"/>
                    <a:pt x="97" y="123"/>
                    <a:pt x="81" y="117"/>
                  </a:cubicBezTo>
                  <a:cubicBezTo>
                    <a:pt x="75" y="124"/>
                    <a:pt x="69" y="131"/>
                    <a:pt x="64" y="139"/>
                  </a:cubicBezTo>
                  <a:cubicBezTo>
                    <a:pt x="74" y="153"/>
                    <a:pt x="87" y="169"/>
                    <a:pt x="95" y="182"/>
                  </a:cubicBezTo>
                  <a:cubicBezTo>
                    <a:pt x="90" y="189"/>
                    <a:pt x="86" y="196"/>
                    <a:pt x="82" y="203"/>
                  </a:cubicBezTo>
                  <a:cubicBezTo>
                    <a:pt x="68" y="203"/>
                    <a:pt x="47" y="199"/>
                    <a:pt x="30" y="197"/>
                  </a:cubicBezTo>
                  <a:cubicBezTo>
                    <a:pt x="26" y="206"/>
                    <a:pt x="22" y="215"/>
                    <a:pt x="19" y="224"/>
                  </a:cubicBezTo>
                  <a:cubicBezTo>
                    <a:pt x="33" y="234"/>
                    <a:pt x="50" y="246"/>
                    <a:pt x="61" y="256"/>
                  </a:cubicBezTo>
                  <a:cubicBezTo>
                    <a:pt x="59" y="264"/>
                    <a:pt x="57" y="272"/>
                    <a:pt x="55" y="280"/>
                  </a:cubicBezTo>
                  <a:cubicBezTo>
                    <a:pt x="41" y="284"/>
                    <a:pt x="20" y="286"/>
                    <a:pt x="3" y="289"/>
                  </a:cubicBezTo>
                  <a:cubicBezTo>
                    <a:pt x="1" y="299"/>
                    <a:pt x="1" y="308"/>
                    <a:pt x="0" y="318"/>
                  </a:cubicBezTo>
                  <a:cubicBezTo>
                    <a:pt x="16" y="324"/>
                    <a:pt x="36" y="330"/>
                    <a:pt x="50" y="337"/>
                  </a:cubicBezTo>
                  <a:cubicBezTo>
                    <a:pt x="50" y="345"/>
                    <a:pt x="50" y="353"/>
                    <a:pt x="51" y="362"/>
                  </a:cubicBezTo>
                  <a:cubicBezTo>
                    <a:pt x="38" y="369"/>
                    <a:pt x="18" y="377"/>
                    <a:pt x="3" y="385"/>
                  </a:cubicBezTo>
                  <a:cubicBezTo>
                    <a:pt x="4" y="390"/>
                    <a:pt x="5" y="394"/>
                    <a:pt x="5" y="399"/>
                  </a:cubicBezTo>
                  <a:cubicBezTo>
                    <a:pt x="6" y="404"/>
                    <a:pt x="7" y="409"/>
                    <a:pt x="8" y="413"/>
                  </a:cubicBezTo>
                  <a:cubicBezTo>
                    <a:pt x="26" y="415"/>
                    <a:pt x="47" y="416"/>
                    <a:pt x="61" y="418"/>
                  </a:cubicBezTo>
                  <a:cubicBezTo>
                    <a:pt x="64" y="426"/>
                    <a:pt x="66" y="434"/>
                    <a:pt x="69" y="441"/>
                  </a:cubicBezTo>
                  <a:cubicBezTo>
                    <a:pt x="59" y="452"/>
                    <a:pt x="43" y="465"/>
                    <a:pt x="30" y="477"/>
                  </a:cubicBezTo>
                  <a:cubicBezTo>
                    <a:pt x="34" y="486"/>
                    <a:pt x="39" y="494"/>
                    <a:pt x="43" y="503"/>
                  </a:cubicBezTo>
                  <a:cubicBezTo>
                    <a:pt x="60" y="499"/>
                    <a:pt x="81" y="494"/>
                    <a:pt x="95" y="492"/>
                  </a:cubicBezTo>
                  <a:cubicBezTo>
                    <a:pt x="100" y="499"/>
                    <a:pt x="105" y="506"/>
                    <a:pt x="110" y="512"/>
                  </a:cubicBezTo>
                  <a:cubicBezTo>
                    <a:pt x="103" y="525"/>
                    <a:pt x="91" y="543"/>
                    <a:pt x="82" y="558"/>
                  </a:cubicBezTo>
                  <a:cubicBezTo>
                    <a:pt x="89" y="565"/>
                    <a:pt x="95" y="572"/>
                    <a:pt x="102" y="578"/>
                  </a:cubicBezTo>
                  <a:cubicBezTo>
                    <a:pt x="117" y="570"/>
                    <a:pt x="135" y="559"/>
                    <a:pt x="149" y="553"/>
                  </a:cubicBezTo>
                  <a:cubicBezTo>
                    <a:pt x="155" y="559"/>
                    <a:pt x="162" y="564"/>
                    <a:pt x="168" y="569"/>
                  </a:cubicBezTo>
                  <a:cubicBezTo>
                    <a:pt x="166" y="583"/>
                    <a:pt x="159" y="603"/>
                    <a:pt x="155" y="620"/>
                  </a:cubicBezTo>
                  <a:cubicBezTo>
                    <a:pt x="163" y="625"/>
                    <a:pt x="171" y="630"/>
                    <a:pt x="180" y="634"/>
                  </a:cubicBezTo>
                  <a:cubicBezTo>
                    <a:pt x="192" y="623"/>
                    <a:pt x="206" y="607"/>
                    <a:pt x="218" y="597"/>
                  </a:cubicBezTo>
                  <a:cubicBezTo>
                    <a:pt x="225" y="601"/>
                    <a:pt x="233" y="604"/>
                    <a:pt x="241" y="607"/>
                  </a:cubicBezTo>
                  <a:cubicBezTo>
                    <a:pt x="242" y="621"/>
                    <a:pt x="241" y="643"/>
                    <a:pt x="242" y="660"/>
                  </a:cubicBezTo>
                  <a:cubicBezTo>
                    <a:pt x="251" y="662"/>
                    <a:pt x="260" y="665"/>
                    <a:pt x="270" y="667"/>
                  </a:cubicBezTo>
                  <a:cubicBezTo>
                    <a:pt x="278" y="652"/>
                    <a:pt x="288" y="633"/>
                    <a:pt x="296" y="620"/>
                  </a:cubicBezTo>
                  <a:cubicBezTo>
                    <a:pt x="304" y="621"/>
                    <a:pt x="312" y="622"/>
                    <a:pt x="320" y="623"/>
                  </a:cubicBezTo>
                  <a:cubicBezTo>
                    <a:pt x="326" y="636"/>
                    <a:pt x="331" y="657"/>
                    <a:pt x="337" y="673"/>
                  </a:cubicBezTo>
                  <a:cubicBezTo>
                    <a:pt x="346" y="673"/>
                    <a:pt x="356" y="673"/>
                    <a:pt x="365" y="672"/>
                  </a:cubicBezTo>
                  <a:cubicBezTo>
                    <a:pt x="369" y="655"/>
                    <a:pt x="373" y="634"/>
                    <a:pt x="377" y="620"/>
                  </a:cubicBezTo>
                  <a:cubicBezTo>
                    <a:pt x="381" y="620"/>
                    <a:pt x="386" y="619"/>
                    <a:pt x="390" y="618"/>
                  </a:cubicBezTo>
                  <a:cubicBezTo>
                    <a:pt x="394" y="617"/>
                    <a:pt x="398" y="616"/>
                    <a:pt x="402" y="615"/>
                  </a:cubicBezTo>
                  <a:cubicBezTo>
                    <a:pt x="411" y="627"/>
                    <a:pt x="422" y="645"/>
                    <a:pt x="432" y="659"/>
                  </a:cubicBezTo>
                  <a:cubicBezTo>
                    <a:pt x="441" y="657"/>
                    <a:pt x="450" y="653"/>
                    <a:pt x="459" y="650"/>
                  </a:cubicBezTo>
                  <a:cubicBezTo>
                    <a:pt x="458" y="633"/>
                    <a:pt x="456" y="612"/>
                    <a:pt x="456" y="597"/>
                  </a:cubicBezTo>
                  <a:cubicBezTo>
                    <a:pt x="463" y="594"/>
                    <a:pt x="471" y="590"/>
                    <a:pt x="478" y="586"/>
                  </a:cubicBezTo>
                  <a:cubicBezTo>
                    <a:pt x="490" y="594"/>
                    <a:pt x="506" y="608"/>
                    <a:pt x="519" y="619"/>
                  </a:cubicBezTo>
                  <a:cubicBezTo>
                    <a:pt x="527" y="614"/>
                    <a:pt x="535" y="609"/>
                    <a:pt x="542" y="603"/>
                  </a:cubicBezTo>
                  <a:cubicBezTo>
                    <a:pt x="537" y="586"/>
                    <a:pt x="528" y="567"/>
                    <a:pt x="524" y="553"/>
                  </a:cubicBezTo>
                  <a:cubicBezTo>
                    <a:pt x="531" y="547"/>
                    <a:pt x="537" y="542"/>
                    <a:pt x="542" y="536"/>
                  </a:cubicBezTo>
                  <a:cubicBezTo>
                    <a:pt x="556" y="541"/>
                    <a:pt x="575" y="550"/>
                    <a:pt x="591" y="556"/>
                  </a:cubicBezTo>
                  <a:cubicBezTo>
                    <a:pt x="597" y="549"/>
                    <a:pt x="603" y="542"/>
                    <a:pt x="609" y="534"/>
                  </a:cubicBezTo>
                  <a:cubicBezTo>
                    <a:pt x="599" y="520"/>
                    <a:pt x="585" y="504"/>
                    <a:pt x="578" y="491"/>
                  </a:cubicBezTo>
                  <a:cubicBezTo>
                    <a:pt x="582" y="484"/>
                    <a:pt x="586" y="477"/>
                    <a:pt x="590" y="470"/>
                  </a:cubicBezTo>
                  <a:cubicBezTo>
                    <a:pt x="605" y="470"/>
                    <a:pt x="626" y="474"/>
                    <a:pt x="643" y="476"/>
                  </a:cubicBezTo>
                  <a:cubicBezTo>
                    <a:pt x="647" y="467"/>
                    <a:pt x="650" y="458"/>
                    <a:pt x="654" y="449"/>
                  </a:cubicBezTo>
                  <a:cubicBezTo>
                    <a:pt x="640" y="438"/>
                    <a:pt x="622" y="427"/>
                    <a:pt x="611" y="417"/>
                  </a:cubicBezTo>
                  <a:cubicBezTo>
                    <a:pt x="614" y="409"/>
                    <a:pt x="616" y="401"/>
                    <a:pt x="617" y="393"/>
                  </a:cubicBezTo>
                  <a:cubicBezTo>
                    <a:pt x="632" y="389"/>
                    <a:pt x="653" y="387"/>
                    <a:pt x="670" y="384"/>
                  </a:cubicBezTo>
                  <a:cubicBezTo>
                    <a:pt x="671" y="374"/>
                    <a:pt x="672" y="365"/>
                    <a:pt x="672" y="355"/>
                  </a:cubicBezTo>
                  <a:cubicBezTo>
                    <a:pt x="656" y="349"/>
                    <a:pt x="636" y="342"/>
                    <a:pt x="623" y="336"/>
                  </a:cubicBezTo>
                  <a:cubicBezTo>
                    <a:pt x="623" y="328"/>
                    <a:pt x="623" y="320"/>
                    <a:pt x="622" y="311"/>
                  </a:cubicBezTo>
                  <a:cubicBezTo>
                    <a:pt x="635" y="304"/>
                    <a:pt x="654" y="296"/>
                    <a:pt x="669" y="288"/>
                  </a:cubicBezTo>
                  <a:cubicBezTo>
                    <a:pt x="669" y="283"/>
                    <a:pt x="668" y="278"/>
                    <a:pt x="667" y="274"/>
                  </a:cubicBezTo>
                  <a:cubicBezTo>
                    <a:pt x="666" y="269"/>
                    <a:pt x="665" y="264"/>
                    <a:pt x="664" y="259"/>
                  </a:cubicBezTo>
                  <a:cubicBezTo>
                    <a:pt x="647" y="258"/>
                    <a:pt x="626" y="257"/>
                    <a:pt x="611" y="25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2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9" name="Freeform 9"/>
            <p:cNvSpPr>
              <a:spLocks/>
            </p:cNvSpPr>
            <p:nvPr/>
          </p:nvSpPr>
          <p:spPr bwMode="auto">
            <a:xfrm>
              <a:off x="4737101" y="1281113"/>
              <a:ext cx="923925" cy="923925"/>
            </a:xfrm>
            <a:custGeom>
              <a:avLst/>
              <a:gdLst>
                <a:gd name="T0" fmla="*/ 448 w 471"/>
                <a:gd name="T1" fmla="*/ 195 h 471"/>
                <a:gd name="T2" fmla="*/ 276 w 471"/>
                <a:gd name="T3" fmla="*/ 449 h 471"/>
                <a:gd name="T4" fmla="*/ 22 w 471"/>
                <a:gd name="T5" fmla="*/ 276 h 471"/>
                <a:gd name="T6" fmla="*/ 195 w 471"/>
                <a:gd name="T7" fmla="*/ 22 h 471"/>
                <a:gd name="T8" fmla="*/ 448 w 471"/>
                <a:gd name="T9" fmla="*/ 195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1" h="471">
                  <a:moveTo>
                    <a:pt x="448" y="195"/>
                  </a:moveTo>
                  <a:cubicBezTo>
                    <a:pt x="471" y="313"/>
                    <a:pt x="393" y="426"/>
                    <a:pt x="276" y="449"/>
                  </a:cubicBezTo>
                  <a:cubicBezTo>
                    <a:pt x="158" y="471"/>
                    <a:pt x="44" y="394"/>
                    <a:pt x="22" y="276"/>
                  </a:cubicBezTo>
                  <a:cubicBezTo>
                    <a:pt x="0" y="158"/>
                    <a:pt x="77" y="45"/>
                    <a:pt x="195" y="22"/>
                  </a:cubicBezTo>
                  <a:cubicBezTo>
                    <a:pt x="312" y="0"/>
                    <a:pt x="426" y="77"/>
                    <a:pt x="448" y="195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1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00" name="Freeform 10"/>
          <p:cNvSpPr>
            <a:spLocks/>
          </p:cNvSpPr>
          <p:nvPr/>
        </p:nvSpPr>
        <p:spPr bwMode="auto">
          <a:xfrm>
            <a:off x="12911673" y="3979719"/>
            <a:ext cx="1909234" cy="1849966"/>
          </a:xfrm>
          <a:custGeom>
            <a:avLst/>
            <a:gdLst>
              <a:gd name="T0" fmla="*/ 182 w 365"/>
              <a:gd name="T1" fmla="*/ 354 h 354"/>
              <a:gd name="T2" fmla="*/ 8 w 365"/>
              <a:gd name="T3" fmla="*/ 210 h 354"/>
              <a:gd name="T4" fmla="*/ 36 w 365"/>
              <a:gd name="T5" fmla="*/ 78 h 354"/>
              <a:gd name="T6" fmla="*/ 149 w 365"/>
              <a:gd name="T7" fmla="*/ 4 h 354"/>
              <a:gd name="T8" fmla="*/ 182 w 365"/>
              <a:gd name="T9" fmla="*/ 0 h 354"/>
              <a:gd name="T10" fmla="*/ 356 w 365"/>
              <a:gd name="T11" fmla="*/ 144 h 354"/>
              <a:gd name="T12" fmla="*/ 329 w 365"/>
              <a:gd name="T13" fmla="*/ 277 h 354"/>
              <a:gd name="T14" fmla="*/ 215 w 365"/>
              <a:gd name="T15" fmla="*/ 351 h 354"/>
              <a:gd name="T16" fmla="*/ 182 w 365"/>
              <a:gd name="T17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5" h="354">
                <a:moveTo>
                  <a:pt x="182" y="354"/>
                </a:moveTo>
                <a:cubicBezTo>
                  <a:pt x="97" y="354"/>
                  <a:pt x="24" y="294"/>
                  <a:pt x="8" y="210"/>
                </a:cubicBezTo>
                <a:cubicBezTo>
                  <a:pt x="0" y="164"/>
                  <a:pt x="9" y="117"/>
                  <a:pt x="36" y="78"/>
                </a:cubicBezTo>
                <a:cubicBezTo>
                  <a:pt x="63" y="39"/>
                  <a:pt x="103" y="12"/>
                  <a:pt x="149" y="4"/>
                </a:cubicBezTo>
                <a:cubicBezTo>
                  <a:pt x="160" y="1"/>
                  <a:pt x="171" y="0"/>
                  <a:pt x="182" y="0"/>
                </a:cubicBezTo>
                <a:cubicBezTo>
                  <a:pt x="267" y="0"/>
                  <a:pt x="340" y="61"/>
                  <a:pt x="356" y="144"/>
                </a:cubicBezTo>
                <a:cubicBezTo>
                  <a:pt x="365" y="191"/>
                  <a:pt x="355" y="238"/>
                  <a:pt x="329" y="277"/>
                </a:cubicBezTo>
                <a:cubicBezTo>
                  <a:pt x="302" y="316"/>
                  <a:pt x="262" y="342"/>
                  <a:pt x="215" y="351"/>
                </a:cubicBezTo>
                <a:cubicBezTo>
                  <a:pt x="204" y="353"/>
                  <a:pt x="193" y="354"/>
                  <a:pt x="182" y="35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101" name="Group 100"/>
          <p:cNvGrpSpPr/>
          <p:nvPr/>
        </p:nvGrpSpPr>
        <p:grpSpPr>
          <a:xfrm>
            <a:off x="8784169" y="3145751"/>
            <a:ext cx="3522134" cy="3522134"/>
            <a:chOff x="3294063" y="1082675"/>
            <a:chExt cx="1320800" cy="1320800"/>
          </a:xfrm>
        </p:grpSpPr>
        <p:sp>
          <p:nvSpPr>
            <p:cNvPr id="102" name="Freeform 11"/>
            <p:cNvSpPr>
              <a:spLocks/>
            </p:cNvSpPr>
            <p:nvPr/>
          </p:nvSpPr>
          <p:spPr bwMode="auto">
            <a:xfrm>
              <a:off x="3294063" y="1082675"/>
              <a:ext cx="1320800" cy="1320800"/>
            </a:xfrm>
            <a:custGeom>
              <a:avLst/>
              <a:gdLst>
                <a:gd name="T0" fmla="*/ 597 w 673"/>
                <a:gd name="T1" fmla="*/ 216 h 673"/>
                <a:gd name="T2" fmla="*/ 619 w 673"/>
                <a:gd name="T3" fmla="*/ 153 h 673"/>
                <a:gd name="T4" fmla="*/ 552 w 673"/>
                <a:gd name="T5" fmla="*/ 148 h 673"/>
                <a:gd name="T6" fmla="*/ 556 w 673"/>
                <a:gd name="T7" fmla="*/ 81 h 673"/>
                <a:gd name="T8" fmla="*/ 490 w 673"/>
                <a:gd name="T9" fmla="*/ 95 h 673"/>
                <a:gd name="T10" fmla="*/ 475 w 673"/>
                <a:gd name="T11" fmla="*/ 30 h 673"/>
                <a:gd name="T12" fmla="*/ 416 w 673"/>
                <a:gd name="T13" fmla="*/ 61 h 673"/>
                <a:gd name="T14" fmla="*/ 383 w 673"/>
                <a:gd name="T15" fmla="*/ 3 h 673"/>
                <a:gd name="T16" fmla="*/ 335 w 673"/>
                <a:gd name="T17" fmla="*/ 50 h 673"/>
                <a:gd name="T18" fmla="*/ 287 w 673"/>
                <a:gd name="T19" fmla="*/ 3 h 673"/>
                <a:gd name="T20" fmla="*/ 266 w 673"/>
                <a:gd name="T21" fmla="*/ 58 h 673"/>
                <a:gd name="T22" fmla="*/ 222 w 673"/>
                <a:gd name="T23" fmla="*/ 20 h 673"/>
                <a:gd name="T24" fmla="*/ 202 w 673"/>
                <a:gd name="T25" fmla="*/ 83 h 673"/>
                <a:gd name="T26" fmla="*/ 137 w 673"/>
                <a:gd name="T27" fmla="*/ 65 h 673"/>
                <a:gd name="T28" fmla="*/ 136 w 673"/>
                <a:gd name="T29" fmla="*/ 132 h 673"/>
                <a:gd name="T30" fmla="*/ 69 w 673"/>
                <a:gd name="T31" fmla="*/ 132 h 673"/>
                <a:gd name="T32" fmla="*/ 86 w 673"/>
                <a:gd name="T33" fmla="*/ 196 h 673"/>
                <a:gd name="T34" fmla="*/ 22 w 673"/>
                <a:gd name="T35" fmla="*/ 216 h 673"/>
                <a:gd name="T36" fmla="*/ 57 w 673"/>
                <a:gd name="T37" fmla="*/ 273 h 673"/>
                <a:gd name="T38" fmla="*/ 1 w 673"/>
                <a:gd name="T39" fmla="*/ 309 h 673"/>
                <a:gd name="T40" fmla="*/ 50 w 673"/>
                <a:gd name="T41" fmla="*/ 354 h 673"/>
                <a:gd name="T42" fmla="*/ 7 w 673"/>
                <a:gd name="T43" fmla="*/ 405 h 673"/>
                <a:gd name="T44" fmla="*/ 14 w 673"/>
                <a:gd name="T45" fmla="*/ 433 h 673"/>
                <a:gd name="T46" fmla="*/ 76 w 673"/>
                <a:gd name="T47" fmla="*/ 457 h 673"/>
                <a:gd name="T48" fmla="*/ 54 w 673"/>
                <a:gd name="T49" fmla="*/ 520 h 673"/>
                <a:gd name="T50" fmla="*/ 121 w 673"/>
                <a:gd name="T51" fmla="*/ 525 h 673"/>
                <a:gd name="T52" fmla="*/ 117 w 673"/>
                <a:gd name="T53" fmla="*/ 592 h 673"/>
                <a:gd name="T54" fmla="*/ 183 w 673"/>
                <a:gd name="T55" fmla="*/ 578 h 673"/>
                <a:gd name="T56" fmla="*/ 198 w 673"/>
                <a:gd name="T57" fmla="*/ 643 h 673"/>
                <a:gd name="T58" fmla="*/ 257 w 673"/>
                <a:gd name="T59" fmla="*/ 612 h 673"/>
                <a:gd name="T60" fmla="*/ 290 w 673"/>
                <a:gd name="T61" fmla="*/ 670 h 673"/>
                <a:gd name="T62" fmla="*/ 338 w 673"/>
                <a:gd name="T63" fmla="*/ 623 h 673"/>
                <a:gd name="T64" fmla="*/ 386 w 673"/>
                <a:gd name="T65" fmla="*/ 670 h 673"/>
                <a:gd name="T66" fmla="*/ 407 w 673"/>
                <a:gd name="T67" fmla="*/ 614 h 673"/>
                <a:gd name="T68" fmla="*/ 451 w 673"/>
                <a:gd name="T69" fmla="*/ 653 h 673"/>
                <a:gd name="T70" fmla="*/ 471 w 673"/>
                <a:gd name="T71" fmla="*/ 589 h 673"/>
                <a:gd name="T72" fmla="*/ 536 w 673"/>
                <a:gd name="T73" fmla="*/ 608 h 673"/>
                <a:gd name="T74" fmla="*/ 537 w 673"/>
                <a:gd name="T75" fmla="*/ 541 h 673"/>
                <a:gd name="T76" fmla="*/ 604 w 673"/>
                <a:gd name="T77" fmla="*/ 541 h 673"/>
                <a:gd name="T78" fmla="*/ 587 w 673"/>
                <a:gd name="T79" fmla="*/ 476 h 673"/>
                <a:gd name="T80" fmla="*/ 651 w 673"/>
                <a:gd name="T81" fmla="*/ 457 h 673"/>
                <a:gd name="T82" fmla="*/ 616 w 673"/>
                <a:gd name="T83" fmla="*/ 400 h 673"/>
                <a:gd name="T84" fmla="*/ 672 w 673"/>
                <a:gd name="T85" fmla="*/ 364 h 673"/>
                <a:gd name="T86" fmla="*/ 623 w 673"/>
                <a:gd name="T87" fmla="*/ 319 h 673"/>
                <a:gd name="T88" fmla="*/ 666 w 673"/>
                <a:gd name="T89" fmla="*/ 268 h 673"/>
                <a:gd name="T90" fmla="*/ 659 w 673"/>
                <a:gd name="T91" fmla="*/ 240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3" h="673">
                  <a:moveTo>
                    <a:pt x="606" y="239"/>
                  </a:moveTo>
                  <a:cubicBezTo>
                    <a:pt x="603" y="231"/>
                    <a:pt x="600" y="223"/>
                    <a:pt x="597" y="216"/>
                  </a:cubicBezTo>
                  <a:cubicBezTo>
                    <a:pt x="606" y="205"/>
                    <a:pt x="622" y="190"/>
                    <a:pt x="634" y="178"/>
                  </a:cubicBezTo>
                  <a:cubicBezTo>
                    <a:pt x="629" y="169"/>
                    <a:pt x="624" y="161"/>
                    <a:pt x="619" y="153"/>
                  </a:cubicBezTo>
                  <a:cubicBezTo>
                    <a:pt x="602" y="158"/>
                    <a:pt x="582" y="164"/>
                    <a:pt x="568" y="167"/>
                  </a:cubicBezTo>
                  <a:cubicBezTo>
                    <a:pt x="563" y="160"/>
                    <a:pt x="558" y="154"/>
                    <a:pt x="552" y="148"/>
                  </a:cubicBezTo>
                  <a:cubicBezTo>
                    <a:pt x="558" y="134"/>
                    <a:pt x="569" y="116"/>
                    <a:pt x="577" y="101"/>
                  </a:cubicBezTo>
                  <a:cubicBezTo>
                    <a:pt x="570" y="94"/>
                    <a:pt x="563" y="87"/>
                    <a:pt x="556" y="81"/>
                  </a:cubicBezTo>
                  <a:cubicBezTo>
                    <a:pt x="541" y="90"/>
                    <a:pt x="524" y="102"/>
                    <a:pt x="511" y="109"/>
                  </a:cubicBezTo>
                  <a:cubicBezTo>
                    <a:pt x="504" y="104"/>
                    <a:pt x="497" y="99"/>
                    <a:pt x="490" y="95"/>
                  </a:cubicBezTo>
                  <a:cubicBezTo>
                    <a:pt x="492" y="80"/>
                    <a:pt x="498" y="59"/>
                    <a:pt x="501" y="43"/>
                  </a:cubicBezTo>
                  <a:cubicBezTo>
                    <a:pt x="492" y="38"/>
                    <a:pt x="484" y="34"/>
                    <a:pt x="475" y="30"/>
                  </a:cubicBezTo>
                  <a:cubicBezTo>
                    <a:pt x="463" y="42"/>
                    <a:pt x="450" y="59"/>
                    <a:pt x="439" y="69"/>
                  </a:cubicBezTo>
                  <a:cubicBezTo>
                    <a:pt x="432" y="66"/>
                    <a:pt x="424" y="63"/>
                    <a:pt x="416" y="61"/>
                  </a:cubicBezTo>
                  <a:cubicBezTo>
                    <a:pt x="414" y="46"/>
                    <a:pt x="413" y="25"/>
                    <a:pt x="411" y="8"/>
                  </a:cubicBezTo>
                  <a:cubicBezTo>
                    <a:pt x="402" y="6"/>
                    <a:pt x="393" y="4"/>
                    <a:pt x="383" y="3"/>
                  </a:cubicBezTo>
                  <a:cubicBezTo>
                    <a:pt x="376" y="18"/>
                    <a:pt x="367" y="38"/>
                    <a:pt x="360" y="51"/>
                  </a:cubicBezTo>
                  <a:cubicBezTo>
                    <a:pt x="352" y="50"/>
                    <a:pt x="344" y="50"/>
                    <a:pt x="335" y="50"/>
                  </a:cubicBezTo>
                  <a:cubicBezTo>
                    <a:pt x="329" y="36"/>
                    <a:pt x="322" y="16"/>
                    <a:pt x="316" y="0"/>
                  </a:cubicBezTo>
                  <a:cubicBezTo>
                    <a:pt x="306" y="1"/>
                    <a:pt x="297" y="2"/>
                    <a:pt x="287" y="3"/>
                  </a:cubicBezTo>
                  <a:cubicBezTo>
                    <a:pt x="284" y="20"/>
                    <a:pt x="282" y="41"/>
                    <a:pt x="279" y="56"/>
                  </a:cubicBezTo>
                  <a:cubicBezTo>
                    <a:pt x="275" y="57"/>
                    <a:pt x="270" y="57"/>
                    <a:pt x="266" y="58"/>
                  </a:cubicBezTo>
                  <a:cubicBezTo>
                    <a:pt x="262" y="59"/>
                    <a:pt x="258" y="61"/>
                    <a:pt x="254" y="62"/>
                  </a:cubicBezTo>
                  <a:cubicBezTo>
                    <a:pt x="244" y="51"/>
                    <a:pt x="232" y="33"/>
                    <a:pt x="222" y="20"/>
                  </a:cubicBezTo>
                  <a:cubicBezTo>
                    <a:pt x="213" y="23"/>
                    <a:pt x="204" y="27"/>
                    <a:pt x="195" y="31"/>
                  </a:cubicBezTo>
                  <a:cubicBezTo>
                    <a:pt x="197" y="48"/>
                    <a:pt x="201" y="69"/>
                    <a:pt x="202" y="83"/>
                  </a:cubicBezTo>
                  <a:cubicBezTo>
                    <a:pt x="194" y="87"/>
                    <a:pt x="187" y="92"/>
                    <a:pt x="180" y="96"/>
                  </a:cubicBezTo>
                  <a:cubicBezTo>
                    <a:pt x="168" y="88"/>
                    <a:pt x="151" y="75"/>
                    <a:pt x="137" y="65"/>
                  </a:cubicBezTo>
                  <a:cubicBezTo>
                    <a:pt x="130" y="71"/>
                    <a:pt x="122" y="77"/>
                    <a:pt x="115" y="83"/>
                  </a:cubicBezTo>
                  <a:cubicBezTo>
                    <a:pt x="122" y="99"/>
                    <a:pt x="131" y="118"/>
                    <a:pt x="136" y="132"/>
                  </a:cubicBezTo>
                  <a:cubicBezTo>
                    <a:pt x="130" y="137"/>
                    <a:pt x="124" y="143"/>
                    <a:pt x="119" y="150"/>
                  </a:cubicBezTo>
                  <a:cubicBezTo>
                    <a:pt x="105" y="146"/>
                    <a:pt x="85" y="138"/>
                    <a:pt x="69" y="132"/>
                  </a:cubicBezTo>
                  <a:cubicBezTo>
                    <a:pt x="63" y="140"/>
                    <a:pt x="58" y="147"/>
                    <a:pt x="53" y="156"/>
                  </a:cubicBezTo>
                  <a:cubicBezTo>
                    <a:pt x="63" y="169"/>
                    <a:pt x="78" y="184"/>
                    <a:pt x="86" y="196"/>
                  </a:cubicBezTo>
                  <a:cubicBezTo>
                    <a:pt x="82" y="204"/>
                    <a:pt x="79" y="211"/>
                    <a:pt x="75" y="219"/>
                  </a:cubicBezTo>
                  <a:cubicBezTo>
                    <a:pt x="60" y="219"/>
                    <a:pt x="39" y="216"/>
                    <a:pt x="22" y="216"/>
                  </a:cubicBezTo>
                  <a:cubicBezTo>
                    <a:pt x="19" y="225"/>
                    <a:pt x="16" y="234"/>
                    <a:pt x="13" y="243"/>
                  </a:cubicBezTo>
                  <a:cubicBezTo>
                    <a:pt x="27" y="253"/>
                    <a:pt x="45" y="263"/>
                    <a:pt x="57" y="273"/>
                  </a:cubicBezTo>
                  <a:cubicBezTo>
                    <a:pt x="55" y="281"/>
                    <a:pt x="54" y="289"/>
                    <a:pt x="53" y="297"/>
                  </a:cubicBezTo>
                  <a:cubicBezTo>
                    <a:pt x="38" y="301"/>
                    <a:pt x="18" y="305"/>
                    <a:pt x="1" y="309"/>
                  </a:cubicBezTo>
                  <a:cubicBezTo>
                    <a:pt x="0" y="319"/>
                    <a:pt x="0" y="328"/>
                    <a:pt x="0" y="338"/>
                  </a:cubicBezTo>
                  <a:cubicBezTo>
                    <a:pt x="16" y="343"/>
                    <a:pt x="37" y="348"/>
                    <a:pt x="50" y="354"/>
                  </a:cubicBezTo>
                  <a:cubicBezTo>
                    <a:pt x="51" y="362"/>
                    <a:pt x="52" y="370"/>
                    <a:pt x="53" y="378"/>
                  </a:cubicBezTo>
                  <a:cubicBezTo>
                    <a:pt x="41" y="387"/>
                    <a:pt x="22" y="396"/>
                    <a:pt x="7" y="405"/>
                  </a:cubicBezTo>
                  <a:cubicBezTo>
                    <a:pt x="8" y="409"/>
                    <a:pt x="9" y="414"/>
                    <a:pt x="10" y="419"/>
                  </a:cubicBezTo>
                  <a:cubicBezTo>
                    <a:pt x="11" y="423"/>
                    <a:pt x="13" y="428"/>
                    <a:pt x="14" y="433"/>
                  </a:cubicBezTo>
                  <a:cubicBezTo>
                    <a:pt x="31" y="433"/>
                    <a:pt x="52" y="433"/>
                    <a:pt x="67" y="434"/>
                  </a:cubicBezTo>
                  <a:cubicBezTo>
                    <a:pt x="70" y="442"/>
                    <a:pt x="73" y="449"/>
                    <a:pt x="76" y="457"/>
                  </a:cubicBezTo>
                  <a:cubicBezTo>
                    <a:pt x="67" y="468"/>
                    <a:pt x="51" y="483"/>
                    <a:pt x="39" y="495"/>
                  </a:cubicBezTo>
                  <a:cubicBezTo>
                    <a:pt x="44" y="503"/>
                    <a:pt x="49" y="512"/>
                    <a:pt x="54" y="520"/>
                  </a:cubicBezTo>
                  <a:cubicBezTo>
                    <a:pt x="71" y="515"/>
                    <a:pt x="91" y="509"/>
                    <a:pt x="105" y="506"/>
                  </a:cubicBezTo>
                  <a:cubicBezTo>
                    <a:pt x="110" y="513"/>
                    <a:pt x="115" y="519"/>
                    <a:pt x="121" y="525"/>
                  </a:cubicBezTo>
                  <a:cubicBezTo>
                    <a:pt x="115" y="539"/>
                    <a:pt x="104" y="557"/>
                    <a:pt x="96" y="572"/>
                  </a:cubicBezTo>
                  <a:cubicBezTo>
                    <a:pt x="103" y="579"/>
                    <a:pt x="110" y="586"/>
                    <a:pt x="117" y="592"/>
                  </a:cubicBezTo>
                  <a:cubicBezTo>
                    <a:pt x="132" y="583"/>
                    <a:pt x="149" y="571"/>
                    <a:pt x="162" y="564"/>
                  </a:cubicBezTo>
                  <a:cubicBezTo>
                    <a:pt x="169" y="569"/>
                    <a:pt x="176" y="574"/>
                    <a:pt x="183" y="578"/>
                  </a:cubicBezTo>
                  <a:cubicBezTo>
                    <a:pt x="181" y="593"/>
                    <a:pt x="175" y="613"/>
                    <a:pt x="172" y="630"/>
                  </a:cubicBezTo>
                  <a:cubicBezTo>
                    <a:pt x="181" y="635"/>
                    <a:pt x="189" y="639"/>
                    <a:pt x="198" y="643"/>
                  </a:cubicBezTo>
                  <a:cubicBezTo>
                    <a:pt x="210" y="631"/>
                    <a:pt x="223" y="614"/>
                    <a:pt x="234" y="604"/>
                  </a:cubicBezTo>
                  <a:cubicBezTo>
                    <a:pt x="241" y="607"/>
                    <a:pt x="249" y="610"/>
                    <a:pt x="257" y="612"/>
                  </a:cubicBezTo>
                  <a:cubicBezTo>
                    <a:pt x="259" y="627"/>
                    <a:pt x="260" y="648"/>
                    <a:pt x="262" y="665"/>
                  </a:cubicBezTo>
                  <a:cubicBezTo>
                    <a:pt x="271" y="667"/>
                    <a:pt x="280" y="669"/>
                    <a:pt x="290" y="670"/>
                  </a:cubicBezTo>
                  <a:cubicBezTo>
                    <a:pt x="297" y="654"/>
                    <a:pt x="306" y="635"/>
                    <a:pt x="313" y="622"/>
                  </a:cubicBezTo>
                  <a:cubicBezTo>
                    <a:pt x="321" y="623"/>
                    <a:pt x="329" y="623"/>
                    <a:pt x="338" y="623"/>
                  </a:cubicBezTo>
                  <a:cubicBezTo>
                    <a:pt x="344" y="637"/>
                    <a:pt x="351" y="657"/>
                    <a:pt x="357" y="673"/>
                  </a:cubicBezTo>
                  <a:cubicBezTo>
                    <a:pt x="367" y="672"/>
                    <a:pt x="376" y="671"/>
                    <a:pt x="386" y="670"/>
                  </a:cubicBezTo>
                  <a:cubicBezTo>
                    <a:pt x="389" y="653"/>
                    <a:pt x="391" y="632"/>
                    <a:pt x="394" y="617"/>
                  </a:cubicBezTo>
                  <a:cubicBezTo>
                    <a:pt x="398" y="616"/>
                    <a:pt x="403" y="615"/>
                    <a:pt x="407" y="614"/>
                  </a:cubicBezTo>
                  <a:cubicBezTo>
                    <a:pt x="411" y="613"/>
                    <a:pt x="415" y="612"/>
                    <a:pt x="419" y="611"/>
                  </a:cubicBezTo>
                  <a:cubicBezTo>
                    <a:pt x="429" y="622"/>
                    <a:pt x="441" y="639"/>
                    <a:pt x="451" y="653"/>
                  </a:cubicBezTo>
                  <a:cubicBezTo>
                    <a:pt x="460" y="650"/>
                    <a:pt x="469" y="646"/>
                    <a:pt x="478" y="642"/>
                  </a:cubicBezTo>
                  <a:cubicBezTo>
                    <a:pt x="476" y="625"/>
                    <a:pt x="472" y="604"/>
                    <a:pt x="471" y="589"/>
                  </a:cubicBezTo>
                  <a:cubicBezTo>
                    <a:pt x="479" y="586"/>
                    <a:pt x="486" y="581"/>
                    <a:pt x="493" y="577"/>
                  </a:cubicBezTo>
                  <a:cubicBezTo>
                    <a:pt x="505" y="585"/>
                    <a:pt x="522" y="598"/>
                    <a:pt x="536" y="608"/>
                  </a:cubicBezTo>
                  <a:cubicBezTo>
                    <a:pt x="543" y="602"/>
                    <a:pt x="551" y="596"/>
                    <a:pt x="558" y="590"/>
                  </a:cubicBezTo>
                  <a:cubicBezTo>
                    <a:pt x="551" y="574"/>
                    <a:pt x="542" y="555"/>
                    <a:pt x="537" y="541"/>
                  </a:cubicBezTo>
                  <a:cubicBezTo>
                    <a:pt x="543" y="535"/>
                    <a:pt x="549" y="529"/>
                    <a:pt x="554" y="523"/>
                  </a:cubicBezTo>
                  <a:cubicBezTo>
                    <a:pt x="568" y="527"/>
                    <a:pt x="588" y="535"/>
                    <a:pt x="604" y="541"/>
                  </a:cubicBezTo>
                  <a:cubicBezTo>
                    <a:pt x="610" y="533"/>
                    <a:pt x="615" y="525"/>
                    <a:pt x="620" y="517"/>
                  </a:cubicBezTo>
                  <a:cubicBezTo>
                    <a:pt x="610" y="504"/>
                    <a:pt x="595" y="488"/>
                    <a:pt x="587" y="476"/>
                  </a:cubicBezTo>
                  <a:cubicBezTo>
                    <a:pt x="591" y="469"/>
                    <a:pt x="594" y="462"/>
                    <a:pt x="598" y="454"/>
                  </a:cubicBezTo>
                  <a:cubicBezTo>
                    <a:pt x="613" y="454"/>
                    <a:pt x="634" y="456"/>
                    <a:pt x="651" y="457"/>
                  </a:cubicBezTo>
                  <a:cubicBezTo>
                    <a:pt x="654" y="448"/>
                    <a:pt x="657" y="439"/>
                    <a:pt x="660" y="430"/>
                  </a:cubicBezTo>
                  <a:cubicBezTo>
                    <a:pt x="646" y="420"/>
                    <a:pt x="628" y="409"/>
                    <a:pt x="616" y="400"/>
                  </a:cubicBezTo>
                  <a:cubicBezTo>
                    <a:pt x="618" y="392"/>
                    <a:pt x="619" y="384"/>
                    <a:pt x="621" y="376"/>
                  </a:cubicBezTo>
                  <a:cubicBezTo>
                    <a:pt x="635" y="372"/>
                    <a:pt x="655" y="368"/>
                    <a:pt x="672" y="364"/>
                  </a:cubicBezTo>
                  <a:cubicBezTo>
                    <a:pt x="673" y="354"/>
                    <a:pt x="673" y="345"/>
                    <a:pt x="673" y="335"/>
                  </a:cubicBezTo>
                  <a:cubicBezTo>
                    <a:pt x="657" y="330"/>
                    <a:pt x="636" y="325"/>
                    <a:pt x="623" y="319"/>
                  </a:cubicBezTo>
                  <a:cubicBezTo>
                    <a:pt x="622" y="311"/>
                    <a:pt x="621" y="303"/>
                    <a:pt x="620" y="294"/>
                  </a:cubicBezTo>
                  <a:cubicBezTo>
                    <a:pt x="632" y="286"/>
                    <a:pt x="651" y="277"/>
                    <a:pt x="666" y="268"/>
                  </a:cubicBezTo>
                  <a:cubicBezTo>
                    <a:pt x="665" y="264"/>
                    <a:pt x="664" y="259"/>
                    <a:pt x="663" y="254"/>
                  </a:cubicBezTo>
                  <a:cubicBezTo>
                    <a:pt x="662" y="249"/>
                    <a:pt x="660" y="245"/>
                    <a:pt x="659" y="240"/>
                  </a:cubicBezTo>
                  <a:cubicBezTo>
                    <a:pt x="642" y="240"/>
                    <a:pt x="621" y="240"/>
                    <a:pt x="606" y="239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2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3" name="Freeform 12"/>
            <p:cNvSpPr>
              <a:spLocks/>
            </p:cNvSpPr>
            <p:nvPr/>
          </p:nvSpPr>
          <p:spPr bwMode="auto">
            <a:xfrm>
              <a:off x="3484563" y="1273175"/>
              <a:ext cx="939800" cy="939800"/>
            </a:xfrm>
            <a:custGeom>
              <a:avLst/>
              <a:gdLst>
                <a:gd name="T0" fmla="*/ 450 w 479"/>
                <a:gd name="T1" fmla="*/ 186 h 479"/>
                <a:gd name="T2" fmla="*/ 293 w 479"/>
                <a:gd name="T3" fmla="*/ 450 h 479"/>
                <a:gd name="T4" fmla="*/ 29 w 479"/>
                <a:gd name="T5" fmla="*/ 292 h 479"/>
                <a:gd name="T6" fmla="*/ 186 w 479"/>
                <a:gd name="T7" fmla="*/ 29 h 479"/>
                <a:gd name="T8" fmla="*/ 450 w 479"/>
                <a:gd name="T9" fmla="*/ 18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79">
                  <a:moveTo>
                    <a:pt x="450" y="186"/>
                  </a:moveTo>
                  <a:cubicBezTo>
                    <a:pt x="479" y="303"/>
                    <a:pt x="409" y="421"/>
                    <a:pt x="293" y="450"/>
                  </a:cubicBezTo>
                  <a:cubicBezTo>
                    <a:pt x="176" y="479"/>
                    <a:pt x="58" y="409"/>
                    <a:pt x="29" y="292"/>
                  </a:cubicBezTo>
                  <a:cubicBezTo>
                    <a:pt x="0" y="176"/>
                    <a:pt x="70" y="58"/>
                    <a:pt x="186" y="29"/>
                  </a:cubicBezTo>
                  <a:cubicBezTo>
                    <a:pt x="303" y="0"/>
                    <a:pt x="421" y="70"/>
                    <a:pt x="450" y="18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1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04" name="Freeform 13"/>
          <p:cNvSpPr>
            <a:spLocks/>
          </p:cNvSpPr>
          <p:nvPr/>
        </p:nvSpPr>
        <p:spPr bwMode="auto">
          <a:xfrm>
            <a:off x="9482671" y="3840019"/>
            <a:ext cx="2125134" cy="2125134"/>
          </a:xfrm>
          <a:custGeom>
            <a:avLst/>
            <a:gdLst>
              <a:gd name="T0" fmla="*/ 382 w 407"/>
              <a:gd name="T1" fmla="*/ 159 h 406"/>
              <a:gd name="T2" fmla="*/ 248 w 407"/>
              <a:gd name="T3" fmla="*/ 382 h 406"/>
              <a:gd name="T4" fmla="*/ 25 w 407"/>
              <a:gd name="T5" fmla="*/ 248 h 406"/>
              <a:gd name="T6" fmla="*/ 159 w 407"/>
              <a:gd name="T7" fmla="*/ 25 h 406"/>
              <a:gd name="T8" fmla="*/ 382 w 407"/>
              <a:gd name="T9" fmla="*/ 159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7" h="406">
                <a:moveTo>
                  <a:pt x="382" y="159"/>
                </a:moveTo>
                <a:cubicBezTo>
                  <a:pt x="407" y="257"/>
                  <a:pt x="347" y="357"/>
                  <a:pt x="248" y="382"/>
                </a:cubicBezTo>
                <a:cubicBezTo>
                  <a:pt x="150" y="406"/>
                  <a:pt x="50" y="347"/>
                  <a:pt x="25" y="248"/>
                </a:cubicBezTo>
                <a:cubicBezTo>
                  <a:pt x="0" y="150"/>
                  <a:pt x="60" y="50"/>
                  <a:pt x="159" y="25"/>
                </a:cubicBezTo>
                <a:cubicBezTo>
                  <a:pt x="257" y="0"/>
                  <a:pt x="357" y="60"/>
                  <a:pt x="382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105" name="Group 104"/>
          <p:cNvGrpSpPr/>
          <p:nvPr/>
        </p:nvGrpSpPr>
        <p:grpSpPr>
          <a:xfrm>
            <a:off x="7116235" y="6020186"/>
            <a:ext cx="3522134" cy="3509432"/>
            <a:chOff x="2668588" y="2160588"/>
            <a:chExt cx="1320800" cy="1316037"/>
          </a:xfrm>
        </p:grpSpPr>
        <p:sp>
          <p:nvSpPr>
            <p:cNvPr id="106" name="Freeform 14"/>
            <p:cNvSpPr>
              <a:spLocks/>
            </p:cNvSpPr>
            <p:nvPr/>
          </p:nvSpPr>
          <p:spPr bwMode="auto">
            <a:xfrm>
              <a:off x="2668588" y="2160588"/>
              <a:ext cx="1320800" cy="1316037"/>
            </a:xfrm>
            <a:custGeom>
              <a:avLst/>
              <a:gdLst>
                <a:gd name="T0" fmla="*/ 593 w 673"/>
                <a:gd name="T1" fmla="*/ 208 h 671"/>
                <a:gd name="T2" fmla="*/ 614 w 673"/>
                <a:gd name="T3" fmla="*/ 145 h 671"/>
                <a:gd name="T4" fmla="*/ 547 w 673"/>
                <a:gd name="T5" fmla="*/ 141 h 671"/>
                <a:gd name="T6" fmla="*/ 549 w 673"/>
                <a:gd name="T7" fmla="*/ 74 h 671"/>
                <a:gd name="T8" fmla="*/ 484 w 673"/>
                <a:gd name="T9" fmla="*/ 89 h 671"/>
                <a:gd name="T10" fmla="*/ 467 w 673"/>
                <a:gd name="T11" fmla="*/ 25 h 671"/>
                <a:gd name="T12" fmla="*/ 409 w 673"/>
                <a:gd name="T13" fmla="*/ 58 h 671"/>
                <a:gd name="T14" fmla="*/ 375 w 673"/>
                <a:gd name="T15" fmla="*/ 1 h 671"/>
                <a:gd name="T16" fmla="*/ 328 w 673"/>
                <a:gd name="T17" fmla="*/ 49 h 671"/>
                <a:gd name="T18" fmla="*/ 279 w 673"/>
                <a:gd name="T19" fmla="*/ 3 h 671"/>
                <a:gd name="T20" fmla="*/ 259 w 673"/>
                <a:gd name="T21" fmla="*/ 59 h 671"/>
                <a:gd name="T22" fmla="*/ 214 w 673"/>
                <a:gd name="T23" fmla="*/ 22 h 671"/>
                <a:gd name="T24" fmla="*/ 195 w 673"/>
                <a:gd name="T25" fmla="*/ 86 h 671"/>
                <a:gd name="T26" fmla="*/ 130 w 673"/>
                <a:gd name="T27" fmla="*/ 69 h 671"/>
                <a:gd name="T28" fmla="*/ 131 w 673"/>
                <a:gd name="T29" fmla="*/ 136 h 671"/>
                <a:gd name="T30" fmla="*/ 64 w 673"/>
                <a:gd name="T31" fmla="*/ 138 h 671"/>
                <a:gd name="T32" fmla="*/ 83 w 673"/>
                <a:gd name="T33" fmla="*/ 202 h 671"/>
                <a:gd name="T34" fmla="*/ 19 w 673"/>
                <a:gd name="T35" fmla="*/ 223 h 671"/>
                <a:gd name="T36" fmla="*/ 55 w 673"/>
                <a:gd name="T37" fmla="*/ 278 h 671"/>
                <a:gd name="T38" fmla="*/ 0 w 673"/>
                <a:gd name="T39" fmla="*/ 316 h 671"/>
                <a:gd name="T40" fmla="*/ 51 w 673"/>
                <a:gd name="T41" fmla="*/ 360 h 671"/>
                <a:gd name="T42" fmla="*/ 9 w 673"/>
                <a:gd name="T43" fmla="*/ 412 h 671"/>
                <a:gd name="T44" fmla="*/ 16 w 673"/>
                <a:gd name="T45" fmla="*/ 440 h 671"/>
                <a:gd name="T46" fmla="*/ 80 w 673"/>
                <a:gd name="T47" fmla="*/ 462 h 671"/>
                <a:gd name="T48" fmla="*/ 59 w 673"/>
                <a:gd name="T49" fmla="*/ 526 h 671"/>
                <a:gd name="T50" fmla="*/ 126 w 673"/>
                <a:gd name="T51" fmla="*/ 529 h 671"/>
                <a:gd name="T52" fmla="*/ 124 w 673"/>
                <a:gd name="T53" fmla="*/ 596 h 671"/>
                <a:gd name="T54" fmla="*/ 189 w 673"/>
                <a:gd name="T55" fmla="*/ 581 h 671"/>
                <a:gd name="T56" fmla="*/ 206 w 673"/>
                <a:gd name="T57" fmla="*/ 645 h 671"/>
                <a:gd name="T58" fmla="*/ 264 w 673"/>
                <a:gd name="T59" fmla="*/ 613 h 671"/>
                <a:gd name="T60" fmla="*/ 298 w 673"/>
                <a:gd name="T61" fmla="*/ 670 h 671"/>
                <a:gd name="T62" fmla="*/ 345 w 673"/>
                <a:gd name="T63" fmla="*/ 622 h 671"/>
                <a:gd name="T64" fmla="*/ 394 w 673"/>
                <a:gd name="T65" fmla="*/ 667 h 671"/>
                <a:gd name="T66" fmla="*/ 414 w 673"/>
                <a:gd name="T67" fmla="*/ 611 h 671"/>
                <a:gd name="T68" fmla="*/ 459 w 673"/>
                <a:gd name="T69" fmla="*/ 649 h 671"/>
                <a:gd name="T70" fmla="*/ 478 w 673"/>
                <a:gd name="T71" fmla="*/ 585 h 671"/>
                <a:gd name="T72" fmla="*/ 543 w 673"/>
                <a:gd name="T73" fmla="*/ 601 h 671"/>
                <a:gd name="T74" fmla="*/ 542 w 673"/>
                <a:gd name="T75" fmla="*/ 535 h 671"/>
                <a:gd name="T76" fmla="*/ 609 w 673"/>
                <a:gd name="T77" fmla="*/ 532 h 671"/>
                <a:gd name="T78" fmla="*/ 590 w 673"/>
                <a:gd name="T79" fmla="*/ 469 h 671"/>
                <a:gd name="T80" fmla="*/ 654 w 673"/>
                <a:gd name="T81" fmla="*/ 448 h 671"/>
                <a:gd name="T82" fmla="*/ 618 w 673"/>
                <a:gd name="T83" fmla="*/ 392 h 671"/>
                <a:gd name="T84" fmla="*/ 673 w 673"/>
                <a:gd name="T85" fmla="*/ 354 h 671"/>
                <a:gd name="T86" fmla="*/ 622 w 673"/>
                <a:gd name="T87" fmla="*/ 310 h 671"/>
                <a:gd name="T88" fmla="*/ 664 w 673"/>
                <a:gd name="T89" fmla="*/ 258 h 671"/>
                <a:gd name="T90" fmla="*/ 656 w 673"/>
                <a:gd name="T91" fmla="*/ 231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3" h="671">
                  <a:moveTo>
                    <a:pt x="603" y="231"/>
                  </a:moveTo>
                  <a:cubicBezTo>
                    <a:pt x="600" y="223"/>
                    <a:pt x="597" y="215"/>
                    <a:pt x="593" y="208"/>
                  </a:cubicBezTo>
                  <a:cubicBezTo>
                    <a:pt x="603" y="196"/>
                    <a:pt x="618" y="182"/>
                    <a:pt x="629" y="169"/>
                  </a:cubicBezTo>
                  <a:cubicBezTo>
                    <a:pt x="625" y="161"/>
                    <a:pt x="620" y="152"/>
                    <a:pt x="614" y="145"/>
                  </a:cubicBezTo>
                  <a:cubicBezTo>
                    <a:pt x="598" y="149"/>
                    <a:pt x="578" y="157"/>
                    <a:pt x="563" y="160"/>
                  </a:cubicBezTo>
                  <a:cubicBezTo>
                    <a:pt x="558" y="153"/>
                    <a:pt x="553" y="147"/>
                    <a:pt x="547" y="141"/>
                  </a:cubicBezTo>
                  <a:cubicBezTo>
                    <a:pt x="553" y="127"/>
                    <a:pt x="563" y="109"/>
                    <a:pt x="571" y="93"/>
                  </a:cubicBezTo>
                  <a:cubicBezTo>
                    <a:pt x="564" y="87"/>
                    <a:pt x="557" y="80"/>
                    <a:pt x="549" y="74"/>
                  </a:cubicBezTo>
                  <a:cubicBezTo>
                    <a:pt x="535" y="83"/>
                    <a:pt x="518" y="96"/>
                    <a:pt x="505" y="103"/>
                  </a:cubicBezTo>
                  <a:cubicBezTo>
                    <a:pt x="498" y="98"/>
                    <a:pt x="491" y="94"/>
                    <a:pt x="484" y="89"/>
                  </a:cubicBezTo>
                  <a:cubicBezTo>
                    <a:pt x="486" y="75"/>
                    <a:pt x="490" y="54"/>
                    <a:pt x="493" y="37"/>
                  </a:cubicBezTo>
                  <a:cubicBezTo>
                    <a:pt x="485" y="33"/>
                    <a:pt x="476" y="29"/>
                    <a:pt x="467" y="25"/>
                  </a:cubicBezTo>
                  <a:cubicBezTo>
                    <a:pt x="456" y="38"/>
                    <a:pt x="443" y="55"/>
                    <a:pt x="432" y="65"/>
                  </a:cubicBezTo>
                  <a:cubicBezTo>
                    <a:pt x="425" y="62"/>
                    <a:pt x="417" y="60"/>
                    <a:pt x="409" y="58"/>
                  </a:cubicBezTo>
                  <a:cubicBezTo>
                    <a:pt x="406" y="43"/>
                    <a:pt x="405" y="22"/>
                    <a:pt x="403" y="5"/>
                  </a:cubicBezTo>
                  <a:cubicBezTo>
                    <a:pt x="393" y="3"/>
                    <a:pt x="384" y="2"/>
                    <a:pt x="375" y="1"/>
                  </a:cubicBezTo>
                  <a:cubicBezTo>
                    <a:pt x="367" y="16"/>
                    <a:pt x="360" y="36"/>
                    <a:pt x="353" y="49"/>
                  </a:cubicBezTo>
                  <a:cubicBezTo>
                    <a:pt x="344" y="48"/>
                    <a:pt x="336" y="48"/>
                    <a:pt x="328" y="49"/>
                  </a:cubicBezTo>
                  <a:cubicBezTo>
                    <a:pt x="321" y="35"/>
                    <a:pt x="314" y="15"/>
                    <a:pt x="307" y="0"/>
                  </a:cubicBezTo>
                  <a:cubicBezTo>
                    <a:pt x="298" y="1"/>
                    <a:pt x="288" y="2"/>
                    <a:pt x="279" y="3"/>
                  </a:cubicBezTo>
                  <a:cubicBezTo>
                    <a:pt x="276" y="20"/>
                    <a:pt x="274" y="41"/>
                    <a:pt x="271" y="56"/>
                  </a:cubicBezTo>
                  <a:cubicBezTo>
                    <a:pt x="267" y="57"/>
                    <a:pt x="263" y="58"/>
                    <a:pt x="259" y="59"/>
                  </a:cubicBezTo>
                  <a:cubicBezTo>
                    <a:pt x="255" y="60"/>
                    <a:pt x="251" y="61"/>
                    <a:pt x="247" y="63"/>
                  </a:cubicBezTo>
                  <a:cubicBezTo>
                    <a:pt x="237" y="52"/>
                    <a:pt x="225" y="35"/>
                    <a:pt x="214" y="22"/>
                  </a:cubicBezTo>
                  <a:cubicBezTo>
                    <a:pt x="205" y="25"/>
                    <a:pt x="196" y="29"/>
                    <a:pt x="187" y="33"/>
                  </a:cubicBezTo>
                  <a:cubicBezTo>
                    <a:pt x="190" y="50"/>
                    <a:pt x="194" y="71"/>
                    <a:pt x="195" y="86"/>
                  </a:cubicBezTo>
                  <a:cubicBezTo>
                    <a:pt x="188" y="90"/>
                    <a:pt x="181" y="94"/>
                    <a:pt x="174" y="99"/>
                  </a:cubicBezTo>
                  <a:cubicBezTo>
                    <a:pt x="161" y="91"/>
                    <a:pt x="145" y="78"/>
                    <a:pt x="130" y="69"/>
                  </a:cubicBezTo>
                  <a:cubicBezTo>
                    <a:pt x="123" y="75"/>
                    <a:pt x="115" y="81"/>
                    <a:pt x="108" y="87"/>
                  </a:cubicBezTo>
                  <a:cubicBezTo>
                    <a:pt x="115" y="103"/>
                    <a:pt x="125" y="122"/>
                    <a:pt x="131" y="136"/>
                  </a:cubicBezTo>
                  <a:cubicBezTo>
                    <a:pt x="125" y="141"/>
                    <a:pt x="119" y="148"/>
                    <a:pt x="114" y="154"/>
                  </a:cubicBezTo>
                  <a:cubicBezTo>
                    <a:pt x="100" y="151"/>
                    <a:pt x="80" y="143"/>
                    <a:pt x="64" y="138"/>
                  </a:cubicBezTo>
                  <a:cubicBezTo>
                    <a:pt x="58" y="145"/>
                    <a:pt x="53" y="153"/>
                    <a:pt x="48" y="162"/>
                  </a:cubicBezTo>
                  <a:cubicBezTo>
                    <a:pt x="59" y="175"/>
                    <a:pt x="74" y="190"/>
                    <a:pt x="83" y="202"/>
                  </a:cubicBezTo>
                  <a:cubicBezTo>
                    <a:pt x="79" y="209"/>
                    <a:pt x="75" y="216"/>
                    <a:pt x="72" y="224"/>
                  </a:cubicBezTo>
                  <a:cubicBezTo>
                    <a:pt x="57" y="225"/>
                    <a:pt x="36" y="223"/>
                    <a:pt x="19" y="223"/>
                  </a:cubicBezTo>
                  <a:cubicBezTo>
                    <a:pt x="16" y="232"/>
                    <a:pt x="13" y="241"/>
                    <a:pt x="11" y="250"/>
                  </a:cubicBezTo>
                  <a:cubicBezTo>
                    <a:pt x="25" y="259"/>
                    <a:pt x="44" y="270"/>
                    <a:pt x="55" y="278"/>
                  </a:cubicBezTo>
                  <a:cubicBezTo>
                    <a:pt x="54" y="287"/>
                    <a:pt x="52" y="295"/>
                    <a:pt x="52" y="303"/>
                  </a:cubicBezTo>
                  <a:cubicBezTo>
                    <a:pt x="38" y="308"/>
                    <a:pt x="17" y="312"/>
                    <a:pt x="0" y="316"/>
                  </a:cubicBezTo>
                  <a:cubicBezTo>
                    <a:pt x="0" y="326"/>
                    <a:pt x="0" y="335"/>
                    <a:pt x="0" y="345"/>
                  </a:cubicBezTo>
                  <a:cubicBezTo>
                    <a:pt x="16" y="350"/>
                    <a:pt x="37" y="355"/>
                    <a:pt x="51" y="360"/>
                  </a:cubicBezTo>
                  <a:cubicBezTo>
                    <a:pt x="52" y="368"/>
                    <a:pt x="53" y="376"/>
                    <a:pt x="54" y="384"/>
                  </a:cubicBezTo>
                  <a:cubicBezTo>
                    <a:pt x="42" y="393"/>
                    <a:pt x="23" y="403"/>
                    <a:pt x="9" y="412"/>
                  </a:cubicBezTo>
                  <a:cubicBezTo>
                    <a:pt x="10" y="417"/>
                    <a:pt x="11" y="421"/>
                    <a:pt x="12" y="426"/>
                  </a:cubicBezTo>
                  <a:cubicBezTo>
                    <a:pt x="14" y="431"/>
                    <a:pt x="15" y="435"/>
                    <a:pt x="16" y="440"/>
                  </a:cubicBezTo>
                  <a:cubicBezTo>
                    <a:pt x="34" y="440"/>
                    <a:pt x="55" y="439"/>
                    <a:pt x="69" y="440"/>
                  </a:cubicBezTo>
                  <a:cubicBezTo>
                    <a:pt x="72" y="447"/>
                    <a:pt x="76" y="455"/>
                    <a:pt x="80" y="462"/>
                  </a:cubicBezTo>
                  <a:cubicBezTo>
                    <a:pt x="70" y="474"/>
                    <a:pt x="55" y="489"/>
                    <a:pt x="44" y="501"/>
                  </a:cubicBezTo>
                  <a:cubicBezTo>
                    <a:pt x="48" y="510"/>
                    <a:pt x="53" y="518"/>
                    <a:pt x="59" y="526"/>
                  </a:cubicBezTo>
                  <a:cubicBezTo>
                    <a:pt x="75" y="521"/>
                    <a:pt x="95" y="514"/>
                    <a:pt x="110" y="510"/>
                  </a:cubicBezTo>
                  <a:cubicBezTo>
                    <a:pt x="115" y="517"/>
                    <a:pt x="120" y="523"/>
                    <a:pt x="126" y="529"/>
                  </a:cubicBezTo>
                  <a:cubicBezTo>
                    <a:pt x="120" y="543"/>
                    <a:pt x="110" y="562"/>
                    <a:pt x="102" y="577"/>
                  </a:cubicBezTo>
                  <a:cubicBezTo>
                    <a:pt x="109" y="584"/>
                    <a:pt x="116" y="590"/>
                    <a:pt x="124" y="596"/>
                  </a:cubicBezTo>
                  <a:cubicBezTo>
                    <a:pt x="138" y="587"/>
                    <a:pt x="155" y="574"/>
                    <a:pt x="168" y="567"/>
                  </a:cubicBezTo>
                  <a:cubicBezTo>
                    <a:pt x="175" y="572"/>
                    <a:pt x="182" y="577"/>
                    <a:pt x="189" y="581"/>
                  </a:cubicBezTo>
                  <a:cubicBezTo>
                    <a:pt x="187" y="596"/>
                    <a:pt x="183" y="616"/>
                    <a:pt x="180" y="633"/>
                  </a:cubicBezTo>
                  <a:cubicBezTo>
                    <a:pt x="188" y="638"/>
                    <a:pt x="197" y="642"/>
                    <a:pt x="206" y="645"/>
                  </a:cubicBezTo>
                  <a:cubicBezTo>
                    <a:pt x="217" y="632"/>
                    <a:pt x="230" y="616"/>
                    <a:pt x="240" y="605"/>
                  </a:cubicBezTo>
                  <a:cubicBezTo>
                    <a:pt x="248" y="608"/>
                    <a:pt x="256" y="610"/>
                    <a:pt x="264" y="613"/>
                  </a:cubicBezTo>
                  <a:cubicBezTo>
                    <a:pt x="267" y="627"/>
                    <a:pt x="268" y="648"/>
                    <a:pt x="270" y="665"/>
                  </a:cubicBezTo>
                  <a:cubicBezTo>
                    <a:pt x="280" y="667"/>
                    <a:pt x="289" y="669"/>
                    <a:pt x="298" y="670"/>
                  </a:cubicBezTo>
                  <a:cubicBezTo>
                    <a:pt x="306" y="654"/>
                    <a:pt x="313" y="634"/>
                    <a:pt x="320" y="621"/>
                  </a:cubicBezTo>
                  <a:cubicBezTo>
                    <a:pt x="329" y="622"/>
                    <a:pt x="337" y="622"/>
                    <a:pt x="345" y="622"/>
                  </a:cubicBezTo>
                  <a:cubicBezTo>
                    <a:pt x="352" y="635"/>
                    <a:pt x="359" y="655"/>
                    <a:pt x="366" y="671"/>
                  </a:cubicBezTo>
                  <a:cubicBezTo>
                    <a:pt x="375" y="670"/>
                    <a:pt x="385" y="668"/>
                    <a:pt x="394" y="667"/>
                  </a:cubicBezTo>
                  <a:cubicBezTo>
                    <a:pt x="397" y="650"/>
                    <a:pt x="398" y="629"/>
                    <a:pt x="402" y="614"/>
                  </a:cubicBezTo>
                  <a:cubicBezTo>
                    <a:pt x="406" y="613"/>
                    <a:pt x="410" y="612"/>
                    <a:pt x="414" y="611"/>
                  </a:cubicBezTo>
                  <a:cubicBezTo>
                    <a:pt x="418" y="610"/>
                    <a:pt x="422" y="609"/>
                    <a:pt x="426" y="608"/>
                  </a:cubicBezTo>
                  <a:cubicBezTo>
                    <a:pt x="436" y="618"/>
                    <a:pt x="448" y="635"/>
                    <a:pt x="459" y="649"/>
                  </a:cubicBezTo>
                  <a:cubicBezTo>
                    <a:pt x="468" y="645"/>
                    <a:pt x="477" y="641"/>
                    <a:pt x="486" y="637"/>
                  </a:cubicBezTo>
                  <a:cubicBezTo>
                    <a:pt x="483" y="620"/>
                    <a:pt x="479" y="599"/>
                    <a:pt x="478" y="585"/>
                  </a:cubicBezTo>
                  <a:cubicBezTo>
                    <a:pt x="485" y="580"/>
                    <a:pt x="492" y="576"/>
                    <a:pt x="499" y="571"/>
                  </a:cubicBezTo>
                  <a:cubicBezTo>
                    <a:pt x="512" y="579"/>
                    <a:pt x="528" y="592"/>
                    <a:pt x="543" y="601"/>
                  </a:cubicBezTo>
                  <a:cubicBezTo>
                    <a:pt x="550" y="595"/>
                    <a:pt x="558" y="589"/>
                    <a:pt x="565" y="583"/>
                  </a:cubicBezTo>
                  <a:cubicBezTo>
                    <a:pt x="557" y="567"/>
                    <a:pt x="548" y="549"/>
                    <a:pt x="542" y="535"/>
                  </a:cubicBezTo>
                  <a:cubicBezTo>
                    <a:pt x="548" y="529"/>
                    <a:pt x="554" y="523"/>
                    <a:pt x="559" y="516"/>
                  </a:cubicBezTo>
                  <a:cubicBezTo>
                    <a:pt x="573" y="520"/>
                    <a:pt x="593" y="527"/>
                    <a:pt x="609" y="532"/>
                  </a:cubicBezTo>
                  <a:cubicBezTo>
                    <a:pt x="615" y="525"/>
                    <a:pt x="620" y="517"/>
                    <a:pt x="625" y="509"/>
                  </a:cubicBezTo>
                  <a:cubicBezTo>
                    <a:pt x="614" y="495"/>
                    <a:pt x="599" y="480"/>
                    <a:pt x="590" y="469"/>
                  </a:cubicBezTo>
                  <a:cubicBezTo>
                    <a:pt x="594" y="461"/>
                    <a:pt x="598" y="454"/>
                    <a:pt x="601" y="446"/>
                  </a:cubicBezTo>
                  <a:cubicBezTo>
                    <a:pt x="616" y="446"/>
                    <a:pt x="637" y="447"/>
                    <a:pt x="654" y="448"/>
                  </a:cubicBezTo>
                  <a:cubicBezTo>
                    <a:pt x="657" y="439"/>
                    <a:pt x="660" y="430"/>
                    <a:pt x="662" y="420"/>
                  </a:cubicBezTo>
                  <a:cubicBezTo>
                    <a:pt x="648" y="411"/>
                    <a:pt x="629" y="401"/>
                    <a:pt x="618" y="392"/>
                  </a:cubicBezTo>
                  <a:cubicBezTo>
                    <a:pt x="619" y="384"/>
                    <a:pt x="620" y="375"/>
                    <a:pt x="621" y="367"/>
                  </a:cubicBezTo>
                  <a:cubicBezTo>
                    <a:pt x="635" y="362"/>
                    <a:pt x="656" y="358"/>
                    <a:pt x="673" y="354"/>
                  </a:cubicBezTo>
                  <a:cubicBezTo>
                    <a:pt x="673" y="344"/>
                    <a:pt x="673" y="335"/>
                    <a:pt x="673" y="325"/>
                  </a:cubicBezTo>
                  <a:cubicBezTo>
                    <a:pt x="657" y="320"/>
                    <a:pt x="636" y="316"/>
                    <a:pt x="622" y="310"/>
                  </a:cubicBezTo>
                  <a:cubicBezTo>
                    <a:pt x="621" y="302"/>
                    <a:pt x="620" y="294"/>
                    <a:pt x="619" y="286"/>
                  </a:cubicBezTo>
                  <a:cubicBezTo>
                    <a:pt x="631" y="277"/>
                    <a:pt x="650" y="267"/>
                    <a:pt x="664" y="258"/>
                  </a:cubicBezTo>
                  <a:cubicBezTo>
                    <a:pt x="663" y="254"/>
                    <a:pt x="662" y="249"/>
                    <a:pt x="661" y="244"/>
                  </a:cubicBezTo>
                  <a:cubicBezTo>
                    <a:pt x="659" y="240"/>
                    <a:pt x="658" y="235"/>
                    <a:pt x="656" y="231"/>
                  </a:cubicBezTo>
                  <a:cubicBezTo>
                    <a:pt x="639" y="230"/>
                    <a:pt x="618" y="232"/>
                    <a:pt x="603" y="231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2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7" name="Freeform 15"/>
            <p:cNvSpPr>
              <a:spLocks/>
            </p:cNvSpPr>
            <p:nvPr/>
          </p:nvSpPr>
          <p:spPr bwMode="auto">
            <a:xfrm>
              <a:off x="2854326" y="2344738"/>
              <a:ext cx="947738" cy="944562"/>
            </a:xfrm>
            <a:custGeom>
              <a:avLst/>
              <a:gdLst>
                <a:gd name="T0" fmla="*/ 450 w 483"/>
                <a:gd name="T1" fmla="*/ 183 h 482"/>
                <a:gd name="T2" fmla="*/ 300 w 483"/>
                <a:gd name="T3" fmla="*/ 450 h 482"/>
                <a:gd name="T4" fmla="*/ 33 w 483"/>
                <a:gd name="T5" fmla="*/ 300 h 482"/>
                <a:gd name="T6" fmla="*/ 183 w 483"/>
                <a:gd name="T7" fmla="*/ 32 h 482"/>
                <a:gd name="T8" fmla="*/ 450 w 483"/>
                <a:gd name="T9" fmla="*/ 183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2">
                  <a:moveTo>
                    <a:pt x="450" y="183"/>
                  </a:moveTo>
                  <a:cubicBezTo>
                    <a:pt x="483" y="298"/>
                    <a:pt x="415" y="418"/>
                    <a:pt x="300" y="450"/>
                  </a:cubicBezTo>
                  <a:cubicBezTo>
                    <a:pt x="185" y="482"/>
                    <a:pt x="65" y="415"/>
                    <a:pt x="33" y="300"/>
                  </a:cubicBezTo>
                  <a:cubicBezTo>
                    <a:pt x="0" y="184"/>
                    <a:pt x="68" y="64"/>
                    <a:pt x="183" y="32"/>
                  </a:cubicBezTo>
                  <a:cubicBezTo>
                    <a:pt x="298" y="0"/>
                    <a:pt x="418" y="67"/>
                    <a:pt x="450" y="183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1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08" name="Freeform 16"/>
          <p:cNvSpPr>
            <a:spLocks/>
          </p:cNvSpPr>
          <p:nvPr/>
        </p:nvSpPr>
        <p:spPr bwMode="auto">
          <a:xfrm>
            <a:off x="7916339" y="6845685"/>
            <a:ext cx="1989666" cy="1849966"/>
          </a:xfrm>
          <a:custGeom>
            <a:avLst/>
            <a:gdLst>
              <a:gd name="T0" fmla="*/ 183 w 380"/>
              <a:gd name="T1" fmla="*/ 354 h 354"/>
              <a:gd name="T2" fmla="*/ 13 w 380"/>
              <a:gd name="T3" fmla="*/ 225 h 354"/>
              <a:gd name="T4" fmla="*/ 29 w 380"/>
              <a:gd name="T5" fmla="*/ 90 h 354"/>
              <a:gd name="T6" fmla="*/ 136 w 380"/>
              <a:gd name="T7" fmla="*/ 7 h 354"/>
              <a:gd name="T8" fmla="*/ 184 w 380"/>
              <a:gd name="T9" fmla="*/ 0 h 354"/>
              <a:gd name="T10" fmla="*/ 354 w 380"/>
              <a:gd name="T11" fmla="*/ 129 h 354"/>
              <a:gd name="T12" fmla="*/ 231 w 380"/>
              <a:gd name="T13" fmla="*/ 348 h 354"/>
              <a:gd name="T14" fmla="*/ 183 w 380"/>
              <a:gd name="T15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0" h="354">
                <a:moveTo>
                  <a:pt x="183" y="354"/>
                </a:moveTo>
                <a:cubicBezTo>
                  <a:pt x="104" y="354"/>
                  <a:pt x="34" y="301"/>
                  <a:pt x="13" y="225"/>
                </a:cubicBezTo>
                <a:cubicBezTo>
                  <a:pt x="0" y="179"/>
                  <a:pt x="6" y="132"/>
                  <a:pt x="29" y="90"/>
                </a:cubicBezTo>
                <a:cubicBezTo>
                  <a:pt x="52" y="49"/>
                  <a:pt x="90" y="19"/>
                  <a:pt x="136" y="7"/>
                </a:cubicBezTo>
                <a:cubicBezTo>
                  <a:pt x="151" y="2"/>
                  <a:pt x="168" y="0"/>
                  <a:pt x="184" y="0"/>
                </a:cubicBezTo>
                <a:cubicBezTo>
                  <a:pt x="263" y="0"/>
                  <a:pt x="333" y="53"/>
                  <a:pt x="354" y="129"/>
                </a:cubicBezTo>
                <a:cubicBezTo>
                  <a:pt x="380" y="223"/>
                  <a:pt x="325" y="321"/>
                  <a:pt x="231" y="348"/>
                </a:cubicBezTo>
                <a:cubicBezTo>
                  <a:pt x="216" y="352"/>
                  <a:pt x="199" y="354"/>
                  <a:pt x="183" y="35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8767235" y="8877683"/>
            <a:ext cx="3522134" cy="3522134"/>
            <a:chOff x="3287713" y="3232150"/>
            <a:chExt cx="1320800" cy="1320800"/>
          </a:xfrm>
        </p:grpSpPr>
        <p:sp>
          <p:nvSpPr>
            <p:cNvPr id="110" name="Freeform 17"/>
            <p:cNvSpPr>
              <a:spLocks/>
            </p:cNvSpPr>
            <p:nvPr/>
          </p:nvSpPr>
          <p:spPr bwMode="auto">
            <a:xfrm>
              <a:off x="3287713" y="3232150"/>
              <a:ext cx="1320800" cy="1320800"/>
            </a:xfrm>
            <a:custGeom>
              <a:avLst/>
              <a:gdLst>
                <a:gd name="T0" fmla="*/ 585 w 673"/>
                <a:gd name="T1" fmla="*/ 193 h 673"/>
                <a:gd name="T2" fmla="*/ 601 w 673"/>
                <a:gd name="T3" fmla="*/ 128 h 673"/>
                <a:gd name="T4" fmla="*/ 534 w 673"/>
                <a:gd name="T5" fmla="*/ 129 h 673"/>
                <a:gd name="T6" fmla="*/ 532 w 673"/>
                <a:gd name="T7" fmla="*/ 62 h 673"/>
                <a:gd name="T8" fmla="*/ 468 w 673"/>
                <a:gd name="T9" fmla="*/ 82 h 673"/>
                <a:gd name="T10" fmla="*/ 447 w 673"/>
                <a:gd name="T11" fmla="*/ 18 h 673"/>
                <a:gd name="T12" fmla="*/ 391 w 673"/>
                <a:gd name="T13" fmla="*/ 55 h 673"/>
                <a:gd name="T14" fmla="*/ 353 w 673"/>
                <a:gd name="T15" fmla="*/ 0 h 673"/>
                <a:gd name="T16" fmla="*/ 309 w 673"/>
                <a:gd name="T17" fmla="*/ 51 h 673"/>
                <a:gd name="T18" fmla="*/ 257 w 673"/>
                <a:gd name="T19" fmla="*/ 10 h 673"/>
                <a:gd name="T20" fmla="*/ 241 w 673"/>
                <a:gd name="T21" fmla="*/ 66 h 673"/>
                <a:gd name="T22" fmla="*/ 193 w 673"/>
                <a:gd name="T23" fmla="*/ 32 h 673"/>
                <a:gd name="T24" fmla="*/ 179 w 673"/>
                <a:gd name="T25" fmla="*/ 97 h 673"/>
                <a:gd name="T26" fmla="*/ 113 w 673"/>
                <a:gd name="T27" fmla="*/ 85 h 673"/>
                <a:gd name="T28" fmla="*/ 118 w 673"/>
                <a:gd name="T29" fmla="*/ 151 h 673"/>
                <a:gd name="T30" fmla="*/ 52 w 673"/>
                <a:gd name="T31" fmla="*/ 158 h 673"/>
                <a:gd name="T32" fmla="*/ 75 w 673"/>
                <a:gd name="T33" fmla="*/ 220 h 673"/>
                <a:gd name="T34" fmla="*/ 13 w 673"/>
                <a:gd name="T35" fmla="*/ 245 h 673"/>
                <a:gd name="T36" fmla="*/ 53 w 673"/>
                <a:gd name="T37" fmla="*/ 299 h 673"/>
                <a:gd name="T38" fmla="*/ 0 w 673"/>
                <a:gd name="T39" fmla="*/ 340 h 673"/>
                <a:gd name="T40" fmla="*/ 53 w 673"/>
                <a:gd name="T41" fmla="*/ 380 h 673"/>
                <a:gd name="T42" fmla="*/ 15 w 673"/>
                <a:gd name="T43" fmla="*/ 435 h 673"/>
                <a:gd name="T44" fmla="*/ 24 w 673"/>
                <a:gd name="T45" fmla="*/ 462 h 673"/>
                <a:gd name="T46" fmla="*/ 89 w 673"/>
                <a:gd name="T47" fmla="*/ 481 h 673"/>
                <a:gd name="T48" fmla="*/ 72 w 673"/>
                <a:gd name="T49" fmla="*/ 545 h 673"/>
                <a:gd name="T50" fmla="*/ 139 w 673"/>
                <a:gd name="T51" fmla="*/ 544 h 673"/>
                <a:gd name="T52" fmla="*/ 142 w 673"/>
                <a:gd name="T53" fmla="*/ 611 h 673"/>
                <a:gd name="T54" fmla="*/ 206 w 673"/>
                <a:gd name="T55" fmla="*/ 592 h 673"/>
                <a:gd name="T56" fmla="*/ 227 w 673"/>
                <a:gd name="T57" fmla="*/ 655 h 673"/>
                <a:gd name="T58" fmla="*/ 283 w 673"/>
                <a:gd name="T59" fmla="*/ 618 h 673"/>
                <a:gd name="T60" fmla="*/ 321 w 673"/>
                <a:gd name="T61" fmla="*/ 673 h 673"/>
                <a:gd name="T62" fmla="*/ 364 w 673"/>
                <a:gd name="T63" fmla="*/ 622 h 673"/>
                <a:gd name="T64" fmla="*/ 416 w 673"/>
                <a:gd name="T65" fmla="*/ 664 h 673"/>
                <a:gd name="T66" fmla="*/ 432 w 673"/>
                <a:gd name="T67" fmla="*/ 607 h 673"/>
                <a:gd name="T68" fmla="*/ 480 w 673"/>
                <a:gd name="T69" fmla="*/ 641 h 673"/>
                <a:gd name="T70" fmla="*/ 494 w 673"/>
                <a:gd name="T71" fmla="*/ 576 h 673"/>
                <a:gd name="T72" fmla="*/ 560 w 673"/>
                <a:gd name="T73" fmla="*/ 589 h 673"/>
                <a:gd name="T74" fmla="*/ 555 w 673"/>
                <a:gd name="T75" fmla="*/ 522 h 673"/>
                <a:gd name="T76" fmla="*/ 622 w 673"/>
                <a:gd name="T77" fmla="*/ 516 h 673"/>
                <a:gd name="T78" fmla="*/ 599 w 673"/>
                <a:gd name="T79" fmla="*/ 453 h 673"/>
                <a:gd name="T80" fmla="*/ 661 w 673"/>
                <a:gd name="T81" fmla="*/ 428 h 673"/>
                <a:gd name="T82" fmla="*/ 621 w 673"/>
                <a:gd name="T83" fmla="*/ 375 h 673"/>
                <a:gd name="T84" fmla="*/ 673 w 673"/>
                <a:gd name="T85" fmla="*/ 333 h 673"/>
                <a:gd name="T86" fmla="*/ 620 w 673"/>
                <a:gd name="T87" fmla="*/ 293 h 673"/>
                <a:gd name="T88" fmla="*/ 659 w 673"/>
                <a:gd name="T89" fmla="*/ 238 h 673"/>
                <a:gd name="T90" fmla="*/ 649 w 673"/>
                <a:gd name="T91" fmla="*/ 211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3" h="673">
                  <a:moveTo>
                    <a:pt x="596" y="215"/>
                  </a:moveTo>
                  <a:cubicBezTo>
                    <a:pt x="593" y="207"/>
                    <a:pt x="589" y="200"/>
                    <a:pt x="585" y="193"/>
                  </a:cubicBezTo>
                  <a:cubicBezTo>
                    <a:pt x="593" y="181"/>
                    <a:pt x="607" y="165"/>
                    <a:pt x="618" y="151"/>
                  </a:cubicBezTo>
                  <a:cubicBezTo>
                    <a:pt x="613" y="143"/>
                    <a:pt x="607" y="136"/>
                    <a:pt x="601" y="128"/>
                  </a:cubicBezTo>
                  <a:cubicBezTo>
                    <a:pt x="585" y="134"/>
                    <a:pt x="566" y="143"/>
                    <a:pt x="552" y="147"/>
                  </a:cubicBezTo>
                  <a:cubicBezTo>
                    <a:pt x="546" y="140"/>
                    <a:pt x="540" y="135"/>
                    <a:pt x="534" y="129"/>
                  </a:cubicBezTo>
                  <a:cubicBezTo>
                    <a:pt x="539" y="115"/>
                    <a:pt x="548" y="96"/>
                    <a:pt x="554" y="80"/>
                  </a:cubicBezTo>
                  <a:cubicBezTo>
                    <a:pt x="547" y="74"/>
                    <a:pt x="540" y="68"/>
                    <a:pt x="532" y="62"/>
                  </a:cubicBezTo>
                  <a:cubicBezTo>
                    <a:pt x="518" y="72"/>
                    <a:pt x="502" y="86"/>
                    <a:pt x="489" y="94"/>
                  </a:cubicBezTo>
                  <a:cubicBezTo>
                    <a:pt x="482" y="90"/>
                    <a:pt x="475" y="85"/>
                    <a:pt x="468" y="82"/>
                  </a:cubicBezTo>
                  <a:cubicBezTo>
                    <a:pt x="468" y="67"/>
                    <a:pt x="472" y="46"/>
                    <a:pt x="473" y="29"/>
                  </a:cubicBezTo>
                  <a:cubicBezTo>
                    <a:pt x="465" y="25"/>
                    <a:pt x="456" y="22"/>
                    <a:pt x="447" y="18"/>
                  </a:cubicBezTo>
                  <a:cubicBezTo>
                    <a:pt x="436" y="32"/>
                    <a:pt x="424" y="50"/>
                    <a:pt x="415" y="61"/>
                  </a:cubicBezTo>
                  <a:cubicBezTo>
                    <a:pt x="407" y="59"/>
                    <a:pt x="399" y="57"/>
                    <a:pt x="391" y="55"/>
                  </a:cubicBezTo>
                  <a:cubicBezTo>
                    <a:pt x="387" y="41"/>
                    <a:pt x="384" y="20"/>
                    <a:pt x="381" y="3"/>
                  </a:cubicBezTo>
                  <a:cubicBezTo>
                    <a:pt x="372" y="2"/>
                    <a:pt x="362" y="1"/>
                    <a:pt x="353" y="0"/>
                  </a:cubicBezTo>
                  <a:cubicBezTo>
                    <a:pt x="346" y="16"/>
                    <a:pt x="340" y="37"/>
                    <a:pt x="334" y="50"/>
                  </a:cubicBezTo>
                  <a:cubicBezTo>
                    <a:pt x="326" y="50"/>
                    <a:pt x="317" y="50"/>
                    <a:pt x="309" y="51"/>
                  </a:cubicBezTo>
                  <a:cubicBezTo>
                    <a:pt x="302" y="39"/>
                    <a:pt x="293" y="19"/>
                    <a:pt x="285" y="4"/>
                  </a:cubicBezTo>
                  <a:cubicBezTo>
                    <a:pt x="276" y="5"/>
                    <a:pt x="267" y="7"/>
                    <a:pt x="257" y="10"/>
                  </a:cubicBezTo>
                  <a:cubicBezTo>
                    <a:pt x="256" y="27"/>
                    <a:pt x="255" y="48"/>
                    <a:pt x="253" y="62"/>
                  </a:cubicBezTo>
                  <a:cubicBezTo>
                    <a:pt x="249" y="64"/>
                    <a:pt x="245" y="65"/>
                    <a:pt x="241" y="66"/>
                  </a:cubicBezTo>
                  <a:cubicBezTo>
                    <a:pt x="237" y="68"/>
                    <a:pt x="234" y="69"/>
                    <a:pt x="230" y="71"/>
                  </a:cubicBezTo>
                  <a:cubicBezTo>
                    <a:pt x="219" y="61"/>
                    <a:pt x="205" y="44"/>
                    <a:pt x="193" y="32"/>
                  </a:cubicBezTo>
                  <a:cubicBezTo>
                    <a:pt x="185" y="36"/>
                    <a:pt x="176" y="41"/>
                    <a:pt x="168" y="45"/>
                  </a:cubicBezTo>
                  <a:cubicBezTo>
                    <a:pt x="172" y="62"/>
                    <a:pt x="177" y="82"/>
                    <a:pt x="179" y="97"/>
                  </a:cubicBezTo>
                  <a:cubicBezTo>
                    <a:pt x="172" y="102"/>
                    <a:pt x="166" y="107"/>
                    <a:pt x="159" y="112"/>
                  </a:cubicBezTo>
                  <a:cubicBezTo>
                    <a:pt x="146" y="105"/>
                    <a:pt x="128" y="93"/>
                    <a:pt x="113" y="85"/>
                  </a:cubicBezTo>
                  <a:cubicBezTo>
                    <a:pt x="106" y="91"/>
                    <a:pt x="99" y="98"/>
                    <a:pt x="93" y="105"/>
                  </a:cubicBezTo>
                  <a:cubicBezTo>
                    <a:pt x="101" y="120"/>
                    <a:pt x="112" y="138"/>
                    <a:pt x="118" y="151"/>
                  </a:cubicBezTo>
                  <a:cubicBezTo>
                    <a:pt x="113" y="157"/>
                    <a:pt x="108" y="164"/>
                    <a:pt x="103" y="171"/>
                  </a:cubicBezTo>
                  <a:cubicBezTo>
                    <a:pt x="88" y="168"/>
                    <a:pt x="68" y="162"/>
                    <a:pt x="52" y="158"/>
                  </a:cubicBezTo>
                  <a:cubicBezTo>
                    <a:pt x="46" y="166"/>
                    <a:pt x="42" y="174"/>
                    <a:pt x="37" y="183"/>
                  </a:cubicBezTo>
                  <a:cubicBezTo>
                    <a:pt x="49" y="195"/>
                    <a:pt x="65" y="209"/>
                    <a:pt x="75" y="220"/>
                  </a:cubicBezTo>
                  <a:cubicBezTo>
                    <a:pt x="71" y="228"/>
                    <a:pt x="68" y="236"/>
                    <a:pt x="66" y="243"/>
                  </a:cubicBezTo>
                  <a:cubicBezTo>
                    <a:pt x="51" y="245"/>
                    <a:pt x="30" y="245"/>
                    <a:pt x="13" y="245"/>
                  </a:cubicBezTo>
                  <a:cubicBezTo>
                    <a:pt x="10" y="254"/>
                    <a:pt x="8" y="264"/>
                    <a:pt x="6" y="273"/>
                  </a:cubicBezTo>
                  <a:cubicBezTo>
                    <a:pt x="21" y="282"/>
                    <a:pt x="40" y="291"/>
                    <a:pt x="53" y="299"/>
                  </a:cubicBezTo>
                  <a:cubicBezTo>
                    <a:pt x="51" y="307"/>
                    <a:pt x="51" y="315"/>
                    <a:pt x="50" y="323"/>
                  </a:cubicBezTo>
                  <a:cubicBezTo>
                    <a:pt x="37" y="329"/>
                    <a:pt x="16" y="335"/>
                    <a:pt x="0" y="340"/>
                  </a:cubicBezTo>
                  <a:cubicBezTo>
                    <a:pt x="0" y="350"/>
                    <a:pt x="1" y="359"/>
                    <a:pt x="2" y="369"/>
                  </a:cubicBezTo>
                  <a:cubicBezTo>
                    <a:pt x="18" y="373"/>
                    <a:pt x="39" y="376"/>
                    <a:pt x="53" y="380"/>
                  </a:cubicBezTo>
                  <a:cubicBezTo>
                    <a:pt x="55" y="388"/>
                    <a:pt x="56" y="396"/>
                    <a:pt x="58" y="405"/>
                  </a:cubicBezTo>
                  <a:cubicBezTo>
                    <a:pt x="47" y="414"/>
                    <a:pt x="29" y="425"/>
                    <a:pt x="15" y="435"/>
                  </a:cubicBezTo>
                  <a:cubicBezTo>
                    <a:pt x="16" y="439"/>
                    <a:pt x="18" y="444"/>
                    <a:pt x="19" y="449"/>
                  </a:cubicBezTo>
                  <a:cubicBezTo>
                    <a:pt x="21" y="453"/>
                    <a:pt x="23" y="458"/>
                    <a:pt x="24" y="462"/>
                  </a:cubicBezTo>
                  <a:cubicBezTo>
                    <a:pt x="42" y="461"/>
                    <a:pt x="62" y="459"/>
                    <a:pt x="77" y="459"/>
                  </a:cubicBezTo>
                  <a:cubicBezTo>
                    <a:pt x="81" y="466"/>
                    <a:pt x="85" y="473"/>
                    <a:pt x="89" y="481"/>
                  </a:cubicBezTo>
                  <a:cubicBezTo>
                    <a:pt x="80" y="493"/>
                    <a:pt x="66" y="508"/>
                    <a:pt x="56" y="522"/>
                  </a:cubicBezTo>
                  <a:cubicBezTo>
                    <a:pt x="61" y="530"/>
                    <a:pt x="66" y="538"/>
                    <a:pt x="72" y="545"/>
                  </a:cubicBezTo>
                  <a:cubicBezTo>
                    <a:pt x="88" y="539"/>
                    <a:pt x="108" y="531"/>
                    <a:pt x="122" y="527"/>
                  </a:cubicBezTo>
                  <a:cubicBezTo>
                    <a:pt x="128" y="533"/>
                    <a:pt x="133" y="539"/>
                    <a:pt x="139" y="544"/>
                  </a:cubicBezTo>
                  <a:cubicBezTo>
                    <a:pt x="135" y="559"/>
                    <a:pt x="126" y="578"/>
                    <a:pt x="119" y="594"/>
                  </a:cubicBezTo>
                  <a:cubicBezTo>
                    <a:pt x="126" y="600"/>
                    <a:pt x="134" y="606"/>
                    <a:pt x="142" y="611"/>
                  </a:cubicBezTo>
                  <a:cubicBezTo>
                    <a:pt x="156" y="601"/>
                    <a:pt x="172" y="587"/>
                    <a:pt x="184" y="579"/>
                  </a:cubicBezTo>
                  <a:cubicBezTo>
                    <a:pt x="191" y="584"/>
                    <a:pt x="198" y="588"/>
                    <a:pt x="206" y="592"/>
                  </a:cubicBezTo>
                  <a:cubicBezTo>
                    <a:pt x="205" y="606"/>
                    <a:pt x="202" y="627"/>
                    <a:pt x="200" y="644"/>
                  </a:cubicBezTo>
                  <a:cubicBezTo>
                    <a:pt x="209" y="648"/>
                    <a:pt x="218" y="652"/>
                    <a:pt x="227" y="655"/>
                  </a:cubicBezTo>
                  <a:cubicBezTo>
                    <a:pt x="237" y="641"/>
                    <a:pt x="249" y="624"/>
                    <a:pt x="259" y="613"/>
                  </a:cubicBezTo>
                  <a:cubicBezTo>
                    <a:pt x="267" y="615"/>
                    <a:pt x="275" y="617"/>
                    <a:pt x="283" y="618"/>
                  </a:cubicBezTo>
                  <a:cubicBezTo>
                    <a:pt x="287" y="633"/>
                    <a:pt x="289" y="654"/>
                    <a:pt x="292" y="670"/>
                  </a:cubicBezTo>
                  <a:cubicBezTo>
                    <a:pt x="302" y="672"/>
                    <a:pt x="311" y="673"/>
                    <a:pt x="321" y="673"/>
                  </a:cubicBezTo>
                  <a:cubicBezTo>
                    <a:pt x="327" y="657"/>
                    <a:pt x="333" y="637"/>
                    <a:pt x="340" y="623"/>
                  </a:cubicBezTo>
                  <a:cubicBezTo>
                    <a:pt x="348" y="623"/>
                    <a:pt x="356" y="623"/>
                    <a:pt x="364" y="622"/>
                  </a:cubicBezTo>
                  <a:cubicBezTo>
                    <a:pt x="372" y="635"/>
                    <a:pt x="380" y="654"/>
                    <a:pt x="388" y="669"/>
                  </a:cubicBezTo>
                  <a:cubicBezTo>
                    <a:pt x="398" y="668"/>
                    <a:pt x="407" y="666"/>
                    <a:pt x="416" y="664"/>
                  </a:cubicBezTo>
                  <a:cubicBezTo>
                    <a:pt x="418" y="647"/>
                    <a:pt x="418" y="626"/>
                    <a:pt x="420" y="611"/>
                  </a:cubicBezTo>
                  <a:cubicBezTo>
                    <a:pt x="424" y="610"/>
                    <a:pt x="428" y="608"/>
                    <a:pt x="432" y="607"/>
                  </a:cubicBezTo>
                  <a:cubicBezTo>
                    <a:pt x="436" y="606"/>
                    <a:pt x="440" y="604"/>
                    <a:pt x="444" y="603"/>
                  </a:cubicBezTo>
                  <a:cubicBezTo>
                    <a:pt x="455" y="613"/>
                    <a:pt x="468" y="629"/>
                    <a:pt x="480" y="641"/>
                  </a:cubicBezTo>
                  <a:cubicBezTo>
                    <a:pt x="489" y="637"/>
                    <a:pt x="497" y="633"/>
                    <a:pt x="505" y="628"/>
                  </a:cubicBezTo>
                  <a:cubicBezTo>
                    <a:pt x="502" y="611"/>
                    <a:pt x="496" y="591"/>
                    <a:pt x="494" y="576"/>
                  </a:cubicBezTo>
                  <a:cubicBezTo>
                    <a:pt x="501" y="572"/>
                    <a:pt x="508" y="567"/>
                    <a:pt x="514" y="562"/>
                  </a:cubicBezTo>
                  <a:cubicBezTo>
                    <a:pt x="528" y="568"/>
                    <a:pt x="545" y="580"/>
                    <a:pt x="560" y="589"/>
                  </a:cubicBezTo>
                  <a:cubicBezTo>
                    <a:pt x="567" y="582"/>
                    <a:pt x="574" y="576"/>
                    <a:pt x="581" y="569"/>
                  </a:cubicBezTo>
                  <a:cubicBezTo>
                    <a:pt x="573" y="554"/>
                    <a:pt x="561" y="536"/>
                    <a:pt x="555" y="522"/>
                  </a:cubicBezTo>
                  <a:cubicBezTo>
                    <a:pt x="561" y="516"/>
                    <a:pt x="566" y="509"/>
                    <a:pt x="571" y="503"/>
                  </a:cubicBezTo>
                  <a:cubicBezTo>
                    <a:pt x="585" y="505"/>
                    <a:pt x="605" y="512"/>
                    <a:pt x="622" y="516"/>
                  </a:cubicBezTo>
                  <a:cubicBezTo>
                    <a:pt x="627" y="507"/>
                    <a:pt x="632" y="499"/>
                    <a:pt x="636" y="491"/>
                  </a:cubicBezTo>
                  <a:cubicBezTo>
                    <a:pt x="624" y="478"/>
                    <a:pt x="608" y="464"/>
                    <a:pt x="599" y="453"/>
                  </a:cubicBezTo>
                  <a:cubicBezTo>
                    <a:pt x="602" y="446"/>
                    <a:pt x="605" y="438"/>
                    <a:pt x="608" y="430"/>
                  </a:cubicBezTo>
                  <a:cubicBezTo>
                    <a:pt x="623" y="428"/>
                    <a:pt x="644" y="429"/>
                    <a:pt x="661" y="428"/>
                  </a:cubicBezTo>
                  <a:cubicBezTo>
                    <a:pt x="663" y="419"/>
                    <a:pt x="666" y="410"/>
                    <a:pt x="667" y="400"/>
                  </a:cubicBezTo>
                  <a:cubicBezTo>
                    <a:pt x="652" y="392"/>
                    <a:pt x="633" y="383"/>
                    <a:pt x="621" y="375"/>
                  </a:cubicBezTo>
                  <a:cubicBezTo>
                    <a:pt x="622" y="366"/>
                    <a:pt x="623" y="358"/>
                    <a:pt x="623" y="350"/>
                  </a:cubicBezTo>
                  <a:cubicBezTo>
                    <a:pt x="637" y="344"/>
                    <a:pt x="657" y="339"/>
                    <a:pt x="673" y="333"/>
                  </a:cubicBezTo>
                  <a:cubicBezTo>
                    <a:pt x="673" y="324"/>
                    <a:pt x="673" y="314"/>
                    <a:pt x="672" y="304"/>
                  </a:cubicBezTo>
                  <a:cubicBezTo>
                    <a:pt x="655" y="301"/>
                    <a:pt x="634" y="297"/>
                    <a:pt x="620" y="293"/>
                  </a:cubicBezTo>
                  <a:cubicBezTo>
                    <a:pt x="619" y="285"/>
                    <a:pt x="617" y="277"/>
                    <a:pt x="615" y="269"/>
                  </a:cubicBezTo>
                  <a:cubicBezTo>
                    <a:pt x="627" y="260"/>
                    <a:pt x="645" y="248"/>
                    <a:pt x="659" y="238"/>
                  </a:cubicBezTo>
                  <a:cubicBezTo>
                    <a:pt x="657" y="234"/>
                    <a:pt x="656" y="229"/>
                    <a:pt x="654" y="225"/>
                  </a:cubicBezTo>
                  <a:cubicBezTo>
                    <a:pt x="653" y="220"/>
                    <a:pt x="651" y="216"/>
                    <a:pt x="649" y="211"/>
                  </a:cubicBezTo>
                  <a:cubicBezTo>
                    <a:pt x="632" y="212"/>
                    <a:pt x="611" y="215"/>
                    <a:pt x="596" y="21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2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11" name="Freeform 18"/>
            <p:cNvSpPr>
              <a:spLocks/>
            </p:cNvSpPr>
            <p:nvPr/>
          </p:nvSpPr>
          <p:spPr bwMode="auto">
            <a:xfrm>
              <a:off x="3468688" y="3413125"/>
              <a:ext cx="958850" cy="958850"/>
            </a:xfrm>
            <a:custGeom>
              <a:avLst/>
              <a:gdLst>
                <a:gd name="T0" fmla="*/ 449 w 489"/>
                <a:gd name="T1" fmla="*/ 172 h 489"/>
                <a:gd name="T2" fmla="*/ 317 w 489"/>
                <a:gd name="T3" fmla="*/ 449 h 489"/>
                <a:gd name="T4" fmla="*/ 40 w 489"/>
                <a:gd name="T5" fmla="*/ 317 h 489"/>
                <a:gd name="T6" fmla="*/ 173 w 489"/>
                <a:gd name="T7" fmla="*/ 40 h 489"/>
                <a:gd name="T8" fmla="*/ 449 w 489"/>
                <a:gd name="T9" fmla="*/ 172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489">
                  <a:moveTo>
                    <a:pt x="449" y="172"/>
                  </a:moveTo>
                  <a:cubicBezTo>
                    <a:pt x="489" y="285"/>
                    <a:pt x="430" y="409"/>
                    <a:pt x="317" y="449"/>
                  </a:cubicBezTo>
                  <a:cubicBezTo>
                    <a:pt x="204" y="489"/>
                    <a:pt x="80" y="430"/>
                    <a:pt x="40" y="317"/>
                  </a:cubicBezTo>
                  <a:cubicBezTo>
                    <a:pt x="0" y="204"/>
                    <a:pt x="60" y="80"/>
                    <a:pt x="173" y="40"/>
                  </a:cubicBezTo>
                  <a:cubicBezTo>
                    <a:pt x="286" y="0"/>
                    <a:pt x="410" y="59"/>
                    <a:pt x="449" y="172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1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12" name="Freeform 19"/>
          <p:cNvSpPr>
            <a:spLocks/>
          </p:cNvSpPr>
          <p:nvPr/>
        </p:nvSpPr>
        <p:spPr bwMode="auto">
          <a:xfrm>
            <a:off x="9575803" y="9715884"/>
            <a:ext cx="1998134" cy="1854200"/>
          </a:xfrm>
          <a:custGeom>
            <a:avLst/>
            <a:gdLst>
              <a:gd name="T0" fmla="*/ 183 w 382"/>
              <a:gd name="T1" fmla="*/ 354 h 354"/>
              <a:gd name="T2" fmla="*/ 16 w 382"/>
              <a:gd name="T3" fmla="*/ 236 h 354"/>
              <a:gd name="T4" fmla="*/ 23 w 382"/>
              <a:gd name="T5" fmla="*/ 100 h 354"/>
              <a:gd name="T6" fmla="*/ 124 w 382"/>
              <a:gd name="T7" fmla="*/ 10 h 354"/>
              <a:gd name="T8" fmla="*/ 183 w 382"/>
              <a:gd name="T9" fmla="*/ 0 h 354"/>
              <a:gd name="T10" fmla="*/ 350 w 382"/>
              <a:gd name="T11" fmla="*/ 118 h 354"/>
              <a:gd name="T12" fmla="*/ 242 w 382"/>
              <a:gd name="T13" fmla="*/ 344 h 354"/>
              <a:gd name="T14" fmla="*/ 183 w 382"/>
              <a:gd name="T15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2" h="354">
                <a:moveTo>
                  <a:pt x="183" y="354"/>
                </a:moveTo>
                <a:cubicBezTo>
                  <a:pt x="108" y="354"/>
                  <a:pt x="41" y="306"/>
                  <a:pt x="16" y="236"/>
                </a:cubicBezTo>
                <a:cubicBezTo>
                  <a:pt x="0" y="191"/>
                  <a:pt x="3" y="143"/>
                  <a:pt x="23" y="100"/>
                </a:cubicBezTo>
                <a:cubicBezTo>
                  <a:pt x="44" y="58"/>
                  <a:pt x="79" y="26"/>
                  <a:pt x="124" y="10"/>
                </a:cubicBezTo>
                <a:cubicBezTo>
                  <a:pt x="143" y="3"/>
                  <a:pt x="163" y="0"/>
                  <a:pt x="183" y="0"/>
                </a:cubicBezTo>
                <a:cubicBezTo>
                  <a:pt x="258" y="0"/>
                  <a:pt x="325" y="47"/>
                  <a:pt x="350" y="118"/>
                </a:cubicBezTo>
                <a:cubicBezTo>
                  <a:pt x="382" y="210"/>
                  <a:pt x="334" y="311"/>
                  <a:pt x="242" y="344"/>
                </a:cubicBezTo>
                <a:cubicBezTo>
                  <a:pt x="223" y="350"/>
                  <a:pt x="203" y="354"/>
                  <a:pt x="183" y="35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12098871" y="8877683"/>
            <a:ext cx="3517902" cy="3522134"/>
            <a:chOff x="4537076" y="3232150"/>
            <a:chExt cx="1319213" cy="1320800"/>
          </a:xfrm>
        </p:grpSpPr>
        <p:sp>
          <p:nvSpPr>
            <p:cNvPr id="114" name="Freeform 20"/>
            <p:cNvSpPr>
              <a:spLocks/>
            </p:cNvSpPr>
            <p:nvPr/>
          </p:nvSpPr>
          <p:spPr bwMode="auto">
            <a:xfrm>
              <a:off x="4537076" y="3232150"/>
              <a:ext cx="1319213" cy="1320800"/>
            </a:xfrm>
            <a:custGeom>
              <a:avLst/>
              <a:gdLst>
                <a:gd name="T0" fmla="*/ 578 w 672"/>
                <a:gd name="T1" fmla="*/ 184 h 673"/>
                <a:gd name="T2" fmla="*/ 592 w 672"/>
                <a:gd name="T3" fmla="*/ 118 h 673"/>
                <a:gd name="T4" fmla="*/ 526 w 672"/>
                <a:gd name="T5" fmla="*/ 122 h 673"/>
                <a:gd name="T6" fmla="*/ 521 w 672"/>
                <a:gd name="T7" fmla="*/ 55 h 673"/>
                <a:gd name="T8" fmla="*/ 457 w 672"/>
                <a:gd name="T9" fmla="*/ 77 h 673"/>
                <a:gd name="T10" fmla="*/ 434 w 672"/>
                <a:gd name="T11" fmla="*/ 15 h 673"/>
                <a:gd name="T12" fmla="*/ 379 w 672"/>
                <a:gd name="T13" fmla="*/ 53 h 673"/>
                <a:gd name="T14" fmla="*/ 339 w 672"/>
                <a:gd name="T15" fmla="*/ 0 h 673"/>
                <a:gd name="T16" fmla="*/ 298 w 672"/>
                <a:gd name="T17" fmla="*/ 53 h 673"/>
                <a:gd name="T18" fmla="*/ 244 w 672"/>
                <a:gd name="T19" fmla="*/ 13 h 673"/>
                <a:gd name="T20" fmla="*/ 231 w 672"/>
                <a:gd name="T21" fmla="*/ 70 h 673"/>
                <a:gd name="T22" fmla="*/ 181 w 672"/>
                <a:gd name="T23" fmla="*/ 38 h 673"/>
                <a:gd name="T24" fmla="*/ 170 w 672"/>
                <a:gd name="T25" fmla="*/ 103 h 673"/>
                <a:gd name="T26" fmla="*/ 103 w 672"/>
                <a:gd name="T27" fmla="*/ 93 h 673"/>
                <a:gd name="T28" fmla="*/ 111 w 672"/>
                <a:gd name="T29" fmla="*/ 160 h 673"/>
                <a:gd name="T30" fmla="*/ 44 w 672"/>
                <a:gd name="T31" fmla="*/ 169 h 673"/>
                <a:gd name="T32" fmla="*/ 70 w 672"/>
                <a:gd name="T33" fmla="*/ 230 h 673"/>
                <a:gd name="T34" fmla="*/ 9 w 672"/>
                <a:gd name="T35" fmla="*/ 258 h 673"/>
                <a:gd name="T36" fmla="*/ 51 w 672"/>
                <a:gd name="T37" fmla="*/ 310 h 673"/>
                <a:gd name="T38" fmla="*/ 0 w 672"/>
                <a:gd name="T39" fmla="*/ 353 h 673"/>
                <a:gd name="T40" fmla="*/ 55 w 672"/>
                <a:gd name="T41" fmla="*/ 391 h 673"/>
                <a:gd name="T42" fmla="*/ 18 w 672"/>
                <a:gd name="T43" fmla="*/ 447 h 673"/>
                <a:gd name="T44" fmla="*/ 29 w 672"/>
                <a:gd name="T45" fmla="*/ 474 h 673"/>
                <a:gd name="T46" fmla="*/ 94 w 672"/>
                <a:gd name="T47" fmla="*/ 490 h 673"/>
                <a:gd name="T48" fmla="*/ 80 w 672"/>
                <a:gd name="T49" fmla="*/ 555 h 673"/>
                <a:gd name="T50" fmla="*/ 147 w 672"/>
                <a:gd name="T51" fmla="*/ 552 h 673"/>
                <a:gd name="T52" fmla="*/ 152 w 672"/>
                <a:gd name="T53" fmla="*/ 618 h 673"/>
                <a:gd name="T54" fmla="*/ 215 w 672"/>
                <a:gd name="T55" fmla="*/ 596 h 673"/>
                <a:gd name="T56" fmla="*/ 238 w 672"/>
                <a:gd name="T57" fmla="*/ 659 h 673"/>
                <a:gd name="T58" fmla="*/ 293 w 672"/>
                <a:gd name="T59" fmla="*/ 620 h 673"/>
                <a:gd name="T60" fmla="*/ 333 w 672"/>
                <a:gd name="T61" fmla="*/ 673 h 673"/>
                <a:gd name="T62" fmla="*/ 374 w 672"/>
                <a:gd name="T63" fmla="*/ 621 h 673"/>
                <a:gd name="T64" fmla="*/ 428 w 672"/>
                <a:gd name="T65" fmla="*/ 661 h 673"/>
                <a:gd name="T66" fmla="*/ 442 w 672"/>
                <a:gd name="T67" fmla="*/ 603 h 673"/>
                <a:gd name="T68" fmla="*/ 491 w 672"/>
                <a:gd name="T69" fmla="*/ 636 h 673"/>
                <a:gd name="T70" fmla="*/ 503 w 672"/>
                <a:gd name="T71" fmla="*/ 570 h 673"/>
                <a:gd name="T72" fmla="*/ 569 w 672"/>
                <a:gd name="T73" fmla="*/ 580 h 673"/>
                <a:gd name="T74" fmla="*/ 561 w 672"/>
                <a:gd name="T75" fmla="*/ 514 h 673"/>
                <a:gd name="T76" fmla="*/ 628 w 672"/>
                <a:gd name="T77" fmla="*/ 505 h 673"/>
                <a:gd name="T78" fmla="*/ 602 w 672"/>
                <a:gd name="T79" fmla="*/ 443 h 673"/>
                <a:gd name="T80" fmla="*/ 663 w 672"/>
                <a:gd name="T81" fmla="*/ 416 h 673"/>
                <a:gd name="T82" fmla="*/ 621 w 672"/>
                <a:gd name="T83" fmla="*/ 364 h 673"/>
                <a:gd name="T84" fmla="*/ 672 w 672"/>
                <a:gd name="T85" fmla="*/ 320 h 673"/>
                <a:gd name="T86" fmla="*/ 618 w 672"/>
                <a:gd name="T87" fmla="*/ 282 h 673"/>
                <a:gd name="T88" fmla="*/ 654 w 672"/>
                <a:gd name="T89" fmla="*/ 226 h 673"/>
                <a:gd name="T90" fmla="*/ 643 w 672"/>
                <a:gd name="T91" fmla="*/ 19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2" h="673">
                  <a:moveTo>
                    <a:pt x="591" y="205"/>
                  </a:moveTo>
                  <a:cubicBezTo>
                    <a:pt x="587" y="198"/>
                    <a:pt x="583" y="190"/>
                    <a:pt x="578" y="184"/>
                  </a:cubicBezTo>
                  <a:cubicBezTo>
                    <a:pt x="586" y="171"/>
                    <a:pt x="600" y="155"/>
                    <a:pt x="610" y="141"/>
                  </a:cubicBezTo>
                  <a:cubicBezTo>
                    <a:pt x="604" y="133"/>
                    <a:pt x="599" y="126"/>
                    <a:pt x="592" y="118"/>
                  </a:cubicBezTo>
                  <a:cubicBezTo>
                    <a:pt x="576" y="125"/>
                    <a:pt x="557" y="134"/>
                    <a:pt x="543" y="139"/>
                  </a:cubicBezTo>
                  <a:cubicBezTo>
                    <a:pt x="538" y="133"/>
                    <a:pt x="532" y="127"/>
                    <a:pt x="526" y="122"/>
                  </a:cubicBezTo>
                  <a:cubicBezTo>
                    <a:pt x="530" y="107"/>
                    <a:pt x="538" y="88"/>
                    <a:pt x="544" y="72"/>
                  </a:cubicBezTo>
                  <a:cubicBezTo>
                    <a:pt x="536" y="66"/>
                    <a:pt x="529" y="60"/>
                    <a:pt x="521" y="55"/>
                  </a:cubicBezTo>
                  <a:cubicBezTo>
                    <a:pt x="507" y="66"/>
                    <a:pt x="491" y="80"/>
                    <a:pt x="479" y="88"/>
                  </a:cubicBezTo>
                  <a:cubicBezTo>
                    <a:pt x="472" y="84"/>
                    <a:pt x="465" y="80"/>
                    <a:pt x="457" y="77"/>
                  </a:cubicBezTo>
                  <a:cubicBezTo>
                    <a:pt x="457" y="62"/>
                    <a:pt x="460" y="41"/>
                    <a:pt x="461" y="24"/>
                  </a:cubicBezTo>
                  <a:cubicBezTo>
                    <a:pt x="452" y="20"/>
                    <a:pt x="443" y="17"/>
                    <a:pt x="434" y="15"/>
                  </a:cubicBezTo>
                  <a:cubicBezTo>
                    <a:pt x="424" y="29"/>
                    <a:pt x="413" y="47"/>
                    <a:pt x="403" y="58"/>
                  </a:cubicBezTo>
                  <a:cubicBezTo>
                    <a:pt x="395" y="56"/>
                    <a:pt x="387" y="54"/>
                    <a:pt x="379" y="53"/>
                  </a:cubicBezTo>
                  <a:cubicBezTo>
                    <a:pt x="375" y="39"/>
                    <a:pt x="372" y="18"/>
                    <a:pt x="368" y="1"/>
                  </a:cubicBezTo>
                  <a:cubicBezTo>
                    <a:pt x="358" y="1"/>
                    <a:pt x="349" y="0"/>
                    <a:pt x="339" y="0"/>
                  </a:cubicBezTo>
                  <a:cubicBezTo>
                    <a:pt x="334" y="16"/>
                    <a:pt x="328" y="37"/>
                    <a:pt x="322" y="50"/>
                  </a:cubicBezTo>
                  <a:cubicBezTo>
                    <a:pt x="314" y="51"/>
                    <a:pt x="306" y="51"/>
                    <a:pt x="298" y="53"/>
                  </a:cubicBezTo>
                  <a:cubicBezTo>
                    <a:pt x="290" y="40"/>
                    <a:pt x="281" y="21"/>
                    <a:pt x="272" y="6"/>
                  </a:cubicBezTo>
                  <a:cubicBezTo>
                    <a:pt x="263" y="8"/>
                    <a:pt x="253" y="10"/>
                    <a:pt x="244" y="13"/>
                  </a:cubicBezTo>
                  <a:cubicBezTo>
                    <a:pt x="243" y="30"/>
                    <a:pt x="244" y="51"/>
                    <a:pt x="242" y="66"/>
                  </a:cubicBezTo>
                  <a:cubicBezTo>
                    <a:pt x="238" y="67"/>
                    <a:pt x="234" y="69"/>
                    <a:pt x="231" y="70"/>
                  </a:cubicBezTo>
                  <a:cubicBezTo>
                    <a:pt x="227" y="72"/>
                    <a:pt x="223" y="73"/>
                    <a:pt x="219" y="75"/>
                  </a:cubicBezTo>
                  <a:cubicBezTo>
                    <a:pt x="208" y="65"/>
                    <a:pt x="194" y="50"/>
                    <a:pt x="181" y="38"/>
                  </a:cubicBezTo>
                  <a:cubicBezTo>
                    <a:pt x="173" y="42"/>
                    <a:pt x="164" y="47"/>
                    <a:pt x="156" y="52"/>
                  </a:cubicBezTo>
                  <a:cubicBezTo>
                    <a:pt x="161" y="69"/>
                    <a:pt x="167" y="89"/>
                    <a:pt x="170" y="103"/>
                  </a:cubicBezTo>
                  <a:cubicBezTo>
                    <a:pt x="163" y="108"/>
                    <a:pt x="156" y="113"/>
                    <a:pt x="150" y="118"/>
                  </a:cubicBezTo>
                  <a:cubicBezTo>
                    <a:pt x="137" y="112"/>
                    <a:pt x="119" y="101"/>
                    <a:pt x="103" y="93"/>
                  </a:cubicBezTo>
                  <a:cubicBezTo>
                    <a:pt x="96" y="100"/>
                    <a:pt x="90" y="107"/>
                    <a:pt x="84" y="114"/>
                  </a:cubicBezTo>
                  <a:cubicBezTo>
                    <a:pt x="92" y="129"/>
                    <a:pt x="104" y="146"/>
                    <a:pt x="111" y="160"/>
                  </a:cubicBezTo>
                  <a:cubicBezTo>
                    <a:pt x="106" y="166"/>
                    <a:pt x="101" y="173"/>
                    <a:pt x="96" y="180"/>
                  </a:cubicBezTo>
                  <a:cubicBezTo>
                    <a:pt x="82" y="178"/>
                    <a:pt x="61" y="172"/>
                    <a:pt x="44" y="169"/>
                  </a:cubicBezTo>
                  <a:cubicBezTo>
                    <a:pt x="40" y="177"/>
                    <a:pt x="35" y="185"/>
                    <a:pt x="31" y="194"/>
                  </a:cubicBezTo>
                  <a:cubicBezTo>
                    <a:pt x="44" y="206"/>
                    <a:pt x="60" y="219"/>
                    <a:pt x="70" y="230"/>
                  </a:cubicBezTo>
                  <a:cubicBezTo>
                    <a:pt x="67" y="238"/>
                    <a:pt x="64" y="246"/>
                    <a:pt x="62" y="254"/>
                  </a:cubicBezTo>
                  <a:cubicBezTo>
                    <a:pt x="47" y="256"/>
                    <a:pt x="26" y="256"/>
                    <a:pt x="9" y="258"/>
                  </a:cubicBezTo>
                  <a:cubicBezTo>
                    <a:pt x="7" y="267"/>
                    <a:pt x="5" y="276"/>
                    <a:pt x="3" y="286"/>
                  </a:cubicBezTo>
                  <a:cubicBezTo>
                    <a:pt x="19" y="294"/>
                    <a:pt x="38" y="302"/>
                    <a:pt x="51" y="310"/>
                  </a:cubicBezTo>
                  <a:cubicBezTo>
                    <a:pt x="50" y="318"/>
                    <a:pt x="49" y="326"/>
                    <a:pt x="49" y="334"/>
                  </a:cubicBezTo>
                  <a:cubicBezTo>
                    <a:pt x="36" y="340"/>
                    <a:pt x="16" y="347"/>
                    <a:pt x="0" y="353"/>
                  </a:cubicBezTo>
                  <a:cubicBezTo>
                    <a:pt x="0" y="363"/>
                    <a:pt x="1" y="372"/>
                    <a:pt x="2" y="382"/>
                  </a:cubicBezTo>
                  <a:cubicBezTo>
                    <a:pt x="19" y="385"/>
                    <a:pt x="40" y="387"/>
                    <a:pt x="55" y="391"/>
                  </a:cubicBezTo>
                  <a:cubicBezTo>
                    <a:pt x="56" y="399"/>
                    <a:pt x="58" y="407"/>
                    <a:pt x="60" y="415"/>
                  </a:cubicBezTo>
                  <a:cubicBezTo>
                    <a:pt x="49" y="425"/>
                    <a:pt x="32" y="436"/>
                    <a:pt x="18" y="447"/>
                  </a:cubicBezTo>
                  <a:cubicBezTo>
                    <a:pt x="20" y="452"/>
                    <a:pt x="21" y="456"/>
                    <a:pt x="23" y="461"/>
                  </a:cubicBezTo>
                  <a:cubicBezTo>
                    <a:pt x="25" y="465"/>
                    <a:pt x="27" y="470"/>
                    <a:pt x="29" y="474"/>
                  </a:cubicBezTo>
                  <a:cubicBezTo>
                    <a:pt x="46" y="472"/>
                    <a:pt x="67" y="469"/>
                    <a:pt x="81" y="468"/>
                  </a:cubicBezTo>
                  <a:cubicBezTo>
                    <a:pt x="85" y="476"/>
                    <a:pt x="89" y="483"/>
                    <a:pt x="94" y="490"/>
                  </a:cubicBezTo>
                  <a:cubicBezTo>
                    <a:pt x="86" y="502"/>
                    <a:pt x="72" y="519"/>
                    <a:pt x="62" y="532"/>
                  </a:cubicBezTo>
                  <a:cubicBezTo>
                    <a:pt x="68" y="540"/>
                    <a:pt x="73" y="548"/>
                    <a:pt x="80" y="555"/>
                  </a:cubicBezTo>
                  <a:cubicBezTo>
                    <a:pt x="96" y="549"/>
                    <a:pt x="115" y="539"/>
                    <a:pt x="129" y="535"/>
                  </a:cubicBezTo>
                  <a:cubicBezTo>
                    <a:pt x="134" y="541"/>
                    <a:pt x="140" y="546"/>
                    <a:pt x="147" y="552"/>
                  </a:cubicBezTo>
                  <a:cubicBezTo>
                    <a:pt x="142" y="566"/>
                    <a:pt x="134" y="585"/>
                    <a:pt x="128" y="602"/>
                  </a:cubicBezTo>
                  <a:cubicBezTo>
                    <a:pt x="136" y="607"/>
                    <a:pt x="144" y="613"/>
                    <a:pt x="152" y="618"/>
                  </a:cubicBezTo>
                  <a:cubicBezTo>
                    <a:pt x="165" y="608"/>
                    <a:pt x="181" y="593"/>
                    <a:pt x="193" y="585"/>
                  </a:cubicBezTo>
                  <a:cubicBezTo>
                    <a:pt x="200" y="589"/>
                    <a:pt x="207" y="593"/>
                    <a:pt x="215" y="596"/>
                  </a:cubicBezTo>
                  <a:cubicBezTo>
                    <a:pt x="215" y="611"/>
                    <a:pt x="212" y="632"/>
                    <a:pt x="211" y="649"/>
                  </a:cubicBezTo>
                  <a:cubicBezTo>
                    <a:pt x="220" y="653"/>
                    <a:pt x="229" y="656"/>
                    <a:pt x="238" y="659"/>
                  </a:cubicBezTo>
                  <a:cubicBezTo>
                    <a:pt x="248" y="645"/>
                    <a:pt x="259" y="627"/>
                    <a:pt x="269" y="615"/>
                  </a:cubicBezTo>
                  <a:cubicBezTo>
                    <a:pt x="277" y="617"/>
                    <a:pt x="285" y="619"/>
                    <a:pt x="293" y="620"/>
                  </a:cubicBezTo>
                  <a:cubicBezTo>
                    <a:pt x="297" y="634"/>
                    <a:pt x="301" y="655"/>
                    <a:pt x="304" y="672"/>
                  </a:cubicBezTo>
                  <a:cubicBezTo>
                    <a:pt x="314" y="673"/>
                    <a:pt x="323" y="673"/>
                    <a:pt x="333" y="673"/>
                  </a:cubicBezTo>
                  <a:cubicBezTo>
                    <a:pt x="339" y="657"/>
                    <a:pt x="344" y="637"/>
                    <a:pt x="350" y="623"/>
                  </a:cubicBezTo>
                  <a:cubicBezTo>
                    <a:pt x="358" y="623"/>
                    <a:pt x="366" y="622"/>
                    <a:pt x="374" y="621"/>
                  </a:cubicBezTo>
                  <a:cubicBezTo>
                    <a:pt x="382" y="633"/>
                    <a:pt x="392" y="652"/>
                    <a:pt x="400" y="667"/>
                  </a:cubicBezTo>
                  <a:cubicBezTo>
                    <a:pt x="409" y="665"/>
                    <a:pt x="419" y="663"/>
                    <a:pt x="428" y="661"/>
                  </a:cubicBezTo>
                  <a:cubicBezTo>
                    <a:pt x="429" y="643"/>
                    <a:pt x="428" y="622"/>
                    <a:pt x="430" y="608"/>
                  </a:cubicBezTo>
                  <a:cubicBezTo>
                    <a:pt x="434" y="606"/>
                    <a:pt x="438" y="605"/>
                    <a:pt x="442" y="603"/>
                  </a:cubicBezTo>
                  <a:cubicBezTo>
                    <a:pt x="446" y="602"/>
                    <a:pt x="449" y="600"/>
                    <a:pt x="453" y="598"/>
                  </a:cubicBezTo>
                  <a:cubicBezTo>
                    <a:pt x="464" y="608"/>
                    <a:pt x="478" y="624"/>
                    <a:pt x="491" y="636"/>
                  </a:cubicBezTo>
                  <a:cubicBezTo>
                    <a:pt x="499" y="631"/>
                    <a:pt x="508" y="627"/>
                    <a:pt x="516" y="621"/>
                  </a:cubicBezTo>
                  <a:cubicBezTo>
                    <a:pt x="512" y="605"/>
                    <a:pt x="505" y="585"/>
                    <a:pt x="503" y="570"/>
                  </a:cubicBezTo>
                  <a:cubicBezTo>
                    <a:pt x="509" y="565"/>
                    <a:pt x="516" y="560"/>
                    <a:pt x="522" y="555"/>
                  </a:cubicBezTo>
                  <a:cubicBezTo>
                    <a:pt x="536" y="561"/>
                    <a:pt x="554" y="572"/>
                    <a:pt x="569" y="580"/>
                  </a:cubicBezTo>
                  <a:cubicBezTo>
                    <a:pt x="576" y="573"/>
                    <a:pt x="582" y="567"/>
                    <a:pt x="589" y="559"/>
                  </a:cubicBezTo>
                  <a:cubicBezTo>
                    <a:pt x="580" y="545"/>
                    <a:pt x="568" y="527"/>
                    <a:pt x="561" y="514"/>
                  </a:cubicBezTo>
                  <a:cubicBezTo>
                    <a:pt x="567" y="507"/>
                    <a:pt x="571" y="501"/>
                    <a:pt x="576" y="494"/>
                  </a:cubicBezTo>
                  <a:cubicBezTo>
                    <a:pt x="591" y="496"/>
                    <a:pt x="611" y="501"/>
                    <a:pt x="628" y="505"/>
                  </a:cubicBezTo>
                  <a:cubicBezTo>
                    <a:pt x="633" y="496"/>
                    <a:pt x="637" y="488"/>
                    <a:pt x="641" y="479"/>
                  </a:cubicBezTo>
                  <a:cubicBezTo>
                    <a:pt x="629" y="467"/>
                    <a:pt x="612" y="454"/>
                    <a:pt x="602" y="443"/>
                  </a:cubicBezTo>
                  <a:cubicBezTo>
                    <a:pt x="605" y="435"/>
                    <a:pt x="608" y="428"/>
                    <a:pt x="610" y="420"/>
                  </a:cubicBezTo>
                  <a:cubicBezTo>
                    <a:pt x="625" y="418"/>
                    <a:pt x="646" y="417"/>
                    <a:pt x="663" y="416"/>
                  </a:cubicBezTo>
                  <a:cubicBezTo>
                    <a:pt x="666" y="406"/>
                    <a:pt x="667" y="397"/>
                    <a:pt x="669" y="388"/>
                  </a:cubicBezTo>
                  <a:cubicBezTo>
                    <a:pt x="654" y="380"/>
                    <a:pt x="634" y="371"/>
                    <a:pt x="621" y="364"/>
                  </a:cubicBezTo>
                  <a:cubicBezTo>
                    <a:pt x="622" y="356"/>
                    <a:pt x="623" y="347"/>
                    <a:pt x="623" y="339"/>
                  </a:cubicBezTo>
                  <a:cubicBezTo>
                    <a:pt x="636" y="333"/>
                    <a:pt x="656" y="327"/>
                    <a:pt x="672" y="320"/>
                  </a:cubicBezTo>
                  <a:cubicBezTo>
                    <a:pt x="672" y="311"/>
                    <a:pt x="671" y="301"/>
                    <a:pt x="670" y="292"/>
                  </a:cubicBezTo>
                  <a:cubicBezTo>
                    <a:pt x="653" y="289"/>
                    <a:pt x="632" y="286"/>
                    <a:pt x="618" y="282"/>
                  </a:cubicBezTo>
                  <a:cubicBezTo>
                    <a:pt x="616" y="274"/>
                    <a:pt x="614" y="266"/>
                    <a:pt x="612" y="258"/>
                  </a:cubicBezTo>
                  <a:cubicBezTo>
                    <a:pt x="623" y="249"/>
                    <a:pt x="641" y="237"/>
                    <a:pt x="654" y="226"/>
                  </a:cubicBezTo>
                  <a:cubicBezTo>
                    <a:pt x="653" y="222"/>
                    <a:pt x="651" y="217"/>
                    <a:pt x="649" y="213"/>
                  </a:cubicBezTo>
                  <a:cubicBezTo>
                    <a:pt x="647" y="208"/>
                    <a:pt x="645" y="204"/>
                    <a:pt x="643" y="199"/>
                  </a:cubicBezTo>
                  <a:cubicBezTo>
                    <a:pt x="626" y="201"/>
                    <a:pt x="606" y="204"/>
                    <a:pt x="591" y="20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2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15" name="Freeform 21"/>
            <p:cNvSpPr>
              <a:spLocks/>
            </p:cNvSpPr>
            <p:nvPr/>
          </p:nvSpPr>
          <p:spPr bwMode="auto">
            <a:xfrm>
              <a:off x="4714876" y="3411538"/>
              <a:ext cx="963613" cy="965200"/>
            </a:xfrm>
            <a:custGeom>
              <a:avLst/>
              <a:gdLst>
                <a:gd name="T0" fmla="*/ 448 w 492"/>
                <a:gd name="T1" fmla="*/ 166 h 492"/>
                <a:gd name="T2" fmla="*/ 326 w 492"/>
                <a:gd name="T3" fmla="*/ 447 h 492"/>
                <a:gd name="T4" fmla="*/ 44 w 492"/>
                <a:gd name="T5" fmla="*/ 326 h 492"/>
                <a:gd name="T6" fmla="*/ 166 w 492"/>
                <a:gd name="T7" fmla="*/ 44 h 492"/>
                <a:gd name="T8" fmla="*/ 448 w 492"/>
                <a:gd name="T9" fmla="*/ 16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492">
                  <a:moveTo>
                    <a:pt x="448" y="166"/>
                  </a:moveTo>
                  <a:cubicBezTo>
                    <a:pt x="492" y="277"/>
                    <a:pt x="437" y="403"/>
                    <a:pt x="326" y="447"/>
                  </a:cubicBezTo>
                  <a:cubicBezTo>
                    <a:pt x="215" y="492"/>
                    <a:pt x="88" y="437"/>
                    <a:pt x="44" y="326"/>
                  </a:cubicBezTo>
                  <a:cubicBezTo>
                    <a:pt x="0" y="214"/>
                    <a:pt x="55" y="88"/>
                    <a:pt x="166" y="44"/>
                  </a:cubicBezTo>
                  <a:cubicBezTo>
                    <a:pt x="278" y="0"/>
                    <a:pt x="404" y="54"/>
                    <a:pt x="448" y="166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15000"/>
              </a:schemeClr>
            </a:solidFill>
            <a:ln>
              <a:noFill/>
            </a:ln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16" name="Freeform 22"/>
          <p:cNvSpPr>
            <a:spLocks/>
          </p:cNvSpPr>
          <p:nvPr/>
        </p:nvSpPr>
        <p:spPr bwMode="auto">
          <a:xfrm>
            <a:off x="12907434" y="9715884"/>
            <a:ext cx="1900768" cy="1854200"/>
          </a:xfrm>
          <a:custGeom>
            <a:avLst/>
            <a:gdLst>
              <a:gd name="T0" fmla="*/ 182 w 364"/>
              <a:gd name="T1" fmla="*/ 354 h 354"/>
              <a:gd name="T2" fmla="*/ 18 w 364"/>
              <a:gd name="T3" fmla="*/ 242 h 354"/>
              <a:gd name="T4" fmla="*/ 20 w 364"/>
              <a:gd name="T5" fmla="*/ 106 h 354"/>
              <a:gd name="T6" fmla="*/ 117 w 364"/>
              <a:gd name="T7" fmla="*/ 12 h 354"/>
              <a:gd name="T8" fmla="*/ 182 w 364"/>
              <a:gd name="T9" fmla="*/ 0 h 354"/>
              <a:gd name="T10" fmla="*/ 347 w 364"/>
              <a:gd name="T11" fmla="*/ 112 h 354"/>
              <a:gd name="T12" fmla="*/ 344 w 364"/>
              <a:gd name="T13" fmla="*/ 247 h 354"/>
              <a:gd name="T14" fmla="*/ 247 w 364"/>
              <a:gd name="T15" fmla="*/ 341 h 354"/>
              <a:gd name="T16" fmla="*/ 182 w 364"/>
              <a:gd name="T17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4" h="354">
                <a:moveTo>
                  <a:pt x="182" y="354"/>
                </a:moveTo>
                <a:cubicBezTo>
                  <a:pt x="109" y="354"/>
                  <a:pt x="44" y="310"/>
                  <a:pt x="18" y="242"/>
                </a:cubicBezTo>
                <a:cubicBezTo>
                  <a:pt x="0" y="198"/>
                  <a:pt x="1" y="150"/>
                  <a:pt x="20" y="106"/>
                </a:cubicBezTo>
                <a:cubicBezTo>
                  <a:pt x="38" y="63"/>
                  <a:pt x="73" y="30"/>
                  <a:pt x="117" y="12"/>
                </a:cubicBezTo>
                <a:cubicBezTo>
                  <a:pt x="138" y="4"/>
                  <a:pt x="160" y="0"/>
                  <a:pt x="182" y="0"/>
                </a:cubicBezTo>
                <a:cubicBezTo>
                  <a:pt x="255" y="0"/>
                  <a:pt x="320" y="44"/>
                  <a:pt x="347" y="112"/>
                </a:cubicBezTo>
                <a:cubicBezTo>
                  <a:pt x="364" y="155"/>
                  <a:pt x="363" y="204"/>
                  <a:pt x="344" y="247"/>
                </a:cubicBezTo>
                <a:cubicBezTo>
                  <a:pt x="326" y="290"/>
                  <a:pt x="291" y="324"/>
                  <a:pt x="247" y="341"/>
                </a:cubicBezTo>
                <a:cubicBezTo>
                  <a:pt x="226" y="350"/>
                  <a:pt x="204" y="354"/>
                  <a:pt x="182" y="35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11251498" y="7013404"/>
            <a:ext cx="184717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3200" kern="1200" dirty="0">
                <a:solidFill>
                  <a:srgbClr val="3F3F3F"/>
                </a:solidFill>
                <a:latin typeface="Poppins"/>
              </a:rPr>
              <a:t>GEAR</a:t>
            </a:r>
          </a:p>
          <a:p>
            <a:pPr defTabSz="1828800" rtl="0"/>
            <a:r>
              <a:rPr lang="en-US" sz="3200" kern="1200" dirty="0">
                <a:solidFill>
                  <a:srgbClr val="3F3F3F"/>
                </a:solidFill>
                <a:latin typeface="Poppins"/>
              </a:rPr>
              <a:t>DIAGRAM</a:t>
            </a:r>
            <a:endParaRPr lang="id-ID" sz="1866" kern="1200" dirty="0">
              <a:solidFill>
                <a:srgbClr val="3F3F3F"/>
              </a:solidFill>
              <a:latin typeface="Poppins"/>
            </a:endParaRPr>
          </a:p>
        </p:txBody>
      </p:sp>
      <p:cxnSp>
        <p:nvCxnSpPr>
          <p:cNvPr id="118" name="Straight Arrow Connector 117"/>
          <p:cNvCxnSpPr/>
          <p:nvPr/>
        </p:nvCxnSpPr>
        <p:spPr>
          <a:xfrm>
            <a:off x="15979802" y="3589486"/>
            <a:ext cx="2125320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4461698" y="3786894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780187" y="4323922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18289743" y="2779566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18289746" y="3316594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231826" y="7029664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550315" y="7566692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18516607" y="6492638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18516610" y="7029666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5228898" y="10141716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2547387" y="10678742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18289743" y="9444088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18289746" y="9981116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31" name="Freeform 26"/>
          <p:cNvSpPr>
            <a:spLocks/>
          </p:cNvSpPr>
          <p:nvPr/>
        </p:nvSpPr>
        <p:spPr bwMode="auto">
          <a:xfrm>
            <a:off x="6454917" y="6332801"/>
            <a:ext cx="1298394" cy="3383082"/>
          </a:xfrm>
          <a:custGeom>
            <a:avLst/>
            <a:gdLst>
              <a:gd name="T0" fmla="*/ 35 w 240"/>
              <a:gd name="T1" fmla="*/ 336 h 625"/>
              <a:gd name="T2" fmla="*/ 112 w 240"/>
              <a:gd name="T3" fmla="*/ 52 h 625"/>
              <a:gd name="T4" fmla="*/ 128 w 240"/>
              <a:gd name="T5" fmla="*/ 68 h 625"/>
              <a:gd name="T6" fmla="*/ 155 w 240"/>
              <a:gd name="T7" fmla="*/ 0 h 625"/>
              <a:gd name="T8" fmla="*/ 81 w 240"/>
              <a:gd name="T9" fmla="*/ 21 h 625"/>
              <a:gd name="T10" fmla="*/ 101 w 240"/>
              <a:gd name="T11" fmla="*/ 41 h 625"/>
              <a:gd name="T12" fmla="*/ 19 w 240"/>
              <a:gd name="T13" fmla="*/ 339 h 625"/>
              <a:gd name="T14" fmla="*/ 232 w 240"/>
              <a:gd name="T15" fmla="*/ 625 h 625"/>
              <a:gd name="T16" fmla="*/ 240 w 240"/>
              <a:gd name="T17" fmla="*/ 611 h 625"/>
              <a:gd name="T18" fmla="*/ 35 w 240"/>
              <a:gd name="T19" fmla="*/ 336 h 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0" h="625">
                <a:moveTo>
                  <a:pt x="35" y="336"/>
                </a:moveTo>
                <a:cubicBezTo>
                  <a:pt x="17" y="236"/>
                  <a:pt x="45" y="136"/>
                  <a:pt x="112" y="52"/>
                </a:cubicBezTo>
                <a:cubicBezTo>
                  <a:pt x="128" y="68"/>
                  <a:pt x="128" y="68"/>
                  <a:pt x="128" y="68"/>
                </a:cubicBezTo>
                <a:cubicBezTo>
                  <a:pt x="155" y="0"/>
                  <a:pt x="155" y="0"/>
                  <a:pt x="155" y="0"/>
                </a:cubicBezTo>
                <a:cubicBezTo>
                  <a:pt x="81" y="21"/>
                  <a:pt x="81" y="21"/>
                  <a:pt x="81" y="21"/>
                </a:cubicBezTo>
                <a:cubicBezTo>
                  <a:pt x="101" y="41"/>
                  <a:pt x="101" y="41"/>
                  <a:pt x="101" y="41"/>
                </a:cubicBezTo>
                <a:cubicBezTo>
                  <a:pt x="30" y="129"/>
                  <a:pt x="0" y="234"/>
                  <a:pt x="19" y="339"/>
                </a:cubicBezTo>
                <a:cubicBezTo>
                  <a:pt x="39" y="454"/>
                  <a:pt x="117" y="558"/>
                  <a:pt x="232" y="625"/>
                </a:cubicBezTo>
                <a:cubicBezTo>
                  <a:pt x="240" y="611"/>
                  <a:pt x="240" y="611"/>
                  <a:pt x="240" y="611"/>
                </a:cubicBezTo>
                <a:cubicBezTo>
                  <a:pt x="127" y="546"/>
                  <a:pt x="54" y="448"/>
                  <a:pt x="35" y="3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2" name="Freeform 27"/>
          <p:cNvSpPr>
            <a:spLocks/>
          </p:cNvSpPr>
          <p:nvPr/>
        </p:nvSpPr>
        <p:spPr bwMode="auto">
          <a:xfrm>
            <a:off x="13308490" y="10699352"/>
            <a:ext cx="2721792" cy="2282272"/>
          </a:xfrm>
          <a:custGeom>
            <a:avLst/>
            <a:gdLst>
              <a:gd name="T0" fmla="*/ 487 w 503"/>
              <a:gd name="T1" fmla="*/ 0 h 422"/>
              <a:gd name="T2" fmla="*/ 344 w 503"/>
              <a:gd name="T3" fmla="*/ 312 h 422"/>
              <a:gd name="T4" fmla="*/ 67 w 503"/>
              <a:gd name="T5" fmla="*/ 381 h 422"/>
              <a:gd name="T6" fmla="*/ 72 w 503"/>
              <a:gd name="T7" fmla="*/ 358 h 422"/>
              <a:gd name="T8" fmla="*/ 0 w 503"/>
              <a:gd name="T9" fmla="*/ 373 h 422"/>
              <a:gd name="T10" fmla="*/ 59 w 503"/>
              <a:gd name="T11" fmla="*/ 422 h 422"/>
              <a:gd name="T12" fmla="*/ 64 w 503"/>
              <a:gd name="T13" fmla="*/ 396 h 422"/>
              <a:gd name="T14" fmla="*/ 129 w 503"/>
              <a:gd name="T15" fmla="*/ 402 h 422"/>
              <a:gd name="T16" fmla="*/ 354 w 503"/>
              <a:gd name="T17" fmla="*/ 324 h 422"/>
              <a:gd name="T18" fmla="*/ 503 w 503"/>
              <a:gd name="T19" fmla="*/ 0 h 422"/>
              <a:gd name="T20" fmla="*/ 487 w 503"/>
              <a:gd name="T21" fmla="*/ 0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03" h="422">
                <a:moveTo>
                  <a:pt x="487" y="0"/>
                </a:moveTo>
                <a:cubicBezTo>
                  <a:pt x="484" y="130"/>
                  <a:pt x="433" y="240"/>
                  <a:pt x="344" y="312"/>
                </a:cubicBezTo>
                <a:cubicBezTo>
                  <a:pt x="267" y="373"/>
                  <a:pt x="170" y="397"/>
                  <a:pt x="67" y="381"/>
                </a:cubicBezTo>
                <a:cubicBezTo>
                  <a:pt x="72" y="358"/>
                  <a:pt x="72" y="358"/>
                  <a:pt x="72" y="358"/>
                </a:cubicBezTo>
                <a:cubicBezTo>
                  <a:pt x="0" y="373"/>
                  <a:pt x="0" y="373"/>
                  <a:pt x="0" y="373"/>
                </a:cubicBezTo>
                <a:cubicBezTo>
                  <a:pt x="59" y="422"/>
                  <a:pt x="59" y="422"/>
                  <a:pt x="59" y="422"/>
                </a:cubicBezTo>
                <a:cubicBezTo>
                  <a:pt x="64" y="396"/>
                  <a:pt x="64" y="396"/>
                  <a:pt x="64" y="396"/>
                </a:cubicBezTo>
                <a:cubicBezTo>
                  <a:pt x="86" y="400"/>
                  <a:pt x="108" y="402"/>
                  <a:pt x="129" y="402"/>
                </a:cubicBezTo>
                <a:cubicBezTo>
                  <a:pt x="212" y="402"/>
                  <a:pt x="290" y="375"/>
                  <a:pt x="354" y="324"/>
                </a:cubicBezTo>
                <a:cubicBezTo>
                  <a:pt x="446" y="251"/>
                  <a:pt x="500" y="133"/>
                  <a:pt x="503" y="0"/>
                </a:cubicBezTo>
                <a:lnTo>
                  <a:pt x="487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3" name="Freeform 28"/>
          <p:cNvSpPr>
            <a:spLocks/>
          </p:cNvSpPr>
          <p:nvPr/>
        </p:nvSpPr>
        <p:spPr bwMode="auto">
          <a:xfrm>
            <a:off x="12834623" y="2697909"/>
            <a:ext cx="3145178" cy="1818558"/>
          </a:xfrm>
          <a:custGeom>
            <a:avLst/>
            <a:gdLst>
              <a:gd name="T0" fmla="*/ 558 w 581"/>
              <a:gd name="T1" fmla="*/ 268 h 336"/>
              <a:gd name="T2" fmla="*/ 355 w 581"/>
              <a:gd name="T3" fmla="*/ 46 h 336"/>
              <a:gd name="T4" fmla="*/ 0 w 581"/>
              <a:gd name="T5" fmla="*/ 70 h 336"/>
              <a:gd name="T6" fmla="*/ 7 w 581"/>
              <a:gd name="T7" fmla="*/ 84 h 336"/>
              <a:gd name="T8" fmla="*/ 349 w 581"/>
              <a:gd name="T9" fmla="*/ 61 h 336"/>
              <a:gd name="T10" fmla="*/ 543 w 581"/>
              <a:gd name="T11" fmla="*/ 273 h 336"/>
              <a:gd name="T12" fmla="*/ 518 w 581"/>
              <a:gd name="T13" fmla="*/ 281 h 336"/>
              <a:gd name="T14" fmla="*/ 567 w 581"/>
              <a:gd name="T15" fmla="*/ 336 h 336"/>
              <a:gd name="T16" fmla="*/ 581 w 581"/>
              <a:gd name="T17" fmla="*/ 261 h 336"/>
              <a:gd name="T18" fmla="*/ 558 w 581"/>
              <a:gd name="T19" fmla="*/ 268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81" h="336">
                <a:moveTo>
                  <a:pt x="558" y="268"/>
                </a:moveTo>
                <a:cubicBezTo>
                  <a:pt x="523" y="165"/>
                  <a:pt x="451" y="86"/>
                  <a:pt x="355" y="46"/>
                </a:cubicBezTo>
                <a:cubicBezTo>
                  <a:pt x="248" y="0"/>
                  <a:pt x="118" y="9"/>
                  <a:pt x="0" y="70"/>
                </a:cubicBezTo>
                <a:cubicBezTo>
                  <a:pt x="7" y="84"/>
                  <a:pt x="7" y="84"/>
                  <a:pt x="7" y="84"/>
                </a:cubicBezTo>
                <a:cubicBezTo>
                  <a:pt x="123" y="25"/>
                  <a:pt x="244" y="16"/>
                  <a:pt x="349" y="61"/>
                </a:cubicBezTo>
                <a:cubicBezTo>
                  <a:pt x="440" y="99"/>
                  <a:pt x="509" y="174"/>
                  <a:pt x="543" y="273"/>
                </a:cubicBezTo>
                <a:cubicBezTo>
                  <a:pt x="518" y="281"/>
                  <a:pt x="518" y="281"/>
                  <a:pt x="518" y="281"/>
                </a:cubicBezTo>
                <a:cubicBezTo>
                  <a:pt x="567" y="336"/>
                  <a:pt x="567" y="336"/>
                  <a:pt x="567" y="336"/>
                </a:cubicBezTo>
                <a:cubicBezTo>
                  <a:pt x="581" y="261"/>
                  <a:pt x="581" y="261"/>
                  <a:pt x="581" y="261"/>
                </a:cubicBezTo>
                <a:lnTo>
                  <a:pt x="558" y="2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4" name="Freeform 29"/>
          <p:cNvSpPr>
            <a:spLocks/>
          </p:cNvSpPr>
          <p:nvPr/>
        </p:nvSpPr>
        <p:spPr bwMode="auto">
          <a:xfrm>
            <a:off x="13309443" y="7152055"/>
            <a:ext cx="298390" cy="1254038"/>
          </a:xfrm>
          <a:custGeom>
            <a:avLst/>
            <a:gdLst>
              <a:gd name="T0" fmla="*/ 55 w 55"/>
              <a:gd name="T1" fmla="*/ 232 h 232"/>
              <a:gd name="T2" fmla="*/ 55 w 55"/>
              <a:gd name="T3" fmla="*/ 179 h 232"/>
              <a:gd name="T4" fmla="*/ 41 w 55"/>
              <a:gd name="T5" fmla="*/ 185 h 232"/>
              <a:gd name="T6" fmla="*/ 31 w 55"/>
              <a:gd name="T7" fmla="*/ 4 h 232"/>
              <a:gd name="T8" fmla="*/ 16 w 55"/>
              <a:gd name="T9" fmla="*/ 0 h 232"/>
              <a:gd name="T10" fmla="*/ 26 w 55"/>
              <a:gd name="T11" fmla="*/ 191 h 232"/>
              <a:gd name="T12" fmla="*/ 11 w 55"/>
              <a:gd name="T13" fmla="*/ 198 h 232"/>
              <a:gd name="T14" fmla="*/ 55 w 55"/>
              <a:gd name="T15" fmla="*/ 232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5" h="232">
                <a:moveTo>
                  <a:pt x="55" y="232"/>
                </a:moveTo>
                <a:cubicBezTo>
                  <a:pt x="55" y="179"/>
                  <a:pt x="55" y="179"/>
                  <a:pt x="55" y="179"/>
                </a:cubicBezTo>
                <a:cubicBezTo>
                  <a:pt x="41" y="185"/>
                  <a:pt x="41" y="185"/>
                  <a:pt x="41" y="185"/>
                </a:cubicBezTo>
                <a:cubicBezTo>
                  <a:pt x="20" y="130"/>
                  <a:pt x="16" y="68"/>
                  <a:pt x="31" y="4"/>
                </a:cubicBezTo>
                <a:cubicBezTo>
                  <a:pt x="16" y="0"/>
                  <a:pt x="16" y="0"/>
                  <a:pt x="16" y="0"/>
                </a:cubicBezTo>
                <a:cubicBezTo>
                  <a:pt x="0" y="68"/>
                  <a:pt x="4" y="133"/>
                  <a:pt x="26" y="191"/>
                </a:cubicBezTo>
                <a:cubicBezTo>
                  <a:pt x="11" y="198"/>
                  <a:pt x="11" y="198"/>
                  <a:pt x="11" y="198"/>
                </a:cubicBezTo>
                <a:lnTo>
                  <a:pt x="55" y="2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5" name="Freeform 30"/>
          <p:cNvSpPr>
            <a:spLocks/>
          </p:cNvSpPr>
          <p:nvPr/>
        </p:nvSpPr>
        <p:spPr bwMode="auto">
          <a:xfrm>
            <a:off x="10917827" y="6217521"/>
            <a:ext cx="1096782" cy="737906"/>
          </a:xfrm>
          <a:custGeom>
            <a:avLst/>
            <a:gdLst>
              <a:gd name="T0" fmla="*/ 203 w 203"/>
              <a:gd name="T1" fmla="*/ 0 h 136"/>
              <a:gd name="T2" fmla="*/ 154 w 203"/>
              <a:gd name="T3" fmla="*/ 20 h 136"/>
              <a:gd name="T4" fmla="*/ 164 w 203"/>
              <a:gd name="T5" fmla="*/ 30 h 136"/>
              <a:gd name="T6" fmla="*/ 0 w 203"/>
              <a:gd name="T7" fmla="*/ 121 h 136"/>
              <a:gd name="T8" fmla="*/ 4 w 203"/>
              <a:gd name="T9" fmla="*/ 136 h 136"/>
              <a:gd name="T10" fmla="*/ 176 w 203"/>
              <a:gd name="T11" fmla="*/ 41 h 136"/>
              <a:gd name="T12" fmla="*/ 189 w 203"/>
              <a:gd name="T13" fmla="*/ 53 h 136"/>
              <a:gd name="T14" fmla="*/ 203 w 203"/>
              <a:gd name="T15" fmla="*/ 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136">
                <a:moveTo>
                  <a:pt x="203" y="0"/>
                </a:moveTo>
                <a:cubicBezTo>
                  <a:pt x="154" y="20"/>
                  <a:pt x="154" y="20"/>
                  <a:pt x="154" y="20"/>
                </a:cubicBezTo>
                <a:cubicBezTo>
                  <a:pt x="164" y="30"/>
                  <a:pt x="164" y="30"/>
                  <a:pt x="164" y="30"/>
                </a:cubicBezTo>
                <a:cubicBezTo>
                  <a:pt x="123" y="75"/>
                  <a:pt x="67" y="106"/>
                  <a:pt x="0" y="121"/>
                </a:cubicBezTo>
                <a:cubicBezTo>
                  <a:pt x="4" y="136"/>
                  <a:pt x="4" y="136"/>
                  <a:pt x="4" y="136"/>
                </a:cubicBezTo>
                <a:cubicBezTo>
                  <a:pt x="74" y="121"/>
                  <a:pt x="133" y="88"/>
                  <a:pt x="176" y="41"/>
                </a:cubicBezTo>
                <a:cubicBezTo>
                  <a:pt x="189" y="53"/>
                  <a:pt x="189" y="53"/>
                  <a:pt x="189" y="53"/>
                </a:cubicBezTo>
                <a:lnTo>
                  <a:pt x="20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6" name="Freeform 31"/>
          <p:cNvSpPr>
            <a:spLocks/>
          </p:cNvSpPr>
          <p:nvPr/>
        </p:nvSpPr>
        <p:spPr bwMode="auto">
          <a:xfrm>
            <a:off x="10785417" y="8520453"/>
            <a:ext cx="1201618" cy="661294"/>
          </a:xfrm>
          <a:custGeom>
            <a:avLst/>
            <a:gdLst>
              <a:gd name="T0" fmla="*/ 222 w 222"/>
              <a:gd name="T1" fmla="*/ 110 h 122"/>
              <a:gd name="T2" fmla="*/ 49 w 222"/>
              <a:gd name="T3" fmla="*/ 18 h 122"/>
              <a:gd name="T4" fmla="*/ 51 w 222"/>
              <a:gd name="T5" fmla="*/ 0 h 122"/>
              <a:gd name="T6" fmla="*/ 0 w 222"/>
              <a:gd name="T7" fmla="*/ 21 h 122"/>
              <a:gd name="T8" fmla="*/ 46 w 222"/>
              <a:gd name="T9" fmla="*/ 47 h 122"/>
              <a:gd name="T10" fmla="*/ 48 w 222"/>
              <a:gd name="T11" fmla="*/ 34 h 122"/>
              <a:gd name="T12" fmla="*/ 211 w 222"/>
              <a:gd name="T13" fmla="*/ 122 h 122"/>
              <a:gd name="T14" fmla="*/ 222 w 222"/>
              <a:gd name="T15" fmla="*/ 11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2" h="122">
                <a:moveTo>
                  <a:pt x="222" y="110"/>
                </a:moveTo>
                <a:cubicBezTo>
                  <a:pt x="172" y="60"/>
                  <a:pt x="112" y="29"/>
                  <a:pt x="49" y="18"/>
                </a:cubicBezTo>
                <a:cubicBezTo>
                  <a:pt x="51" y="0"/>
                  <a:pt x="51" y="0"/>
                  <a:pt x="51" y="0"/>
                </a:cubicBezTo>
                <a:cubicBezTo>
                  <a:pt x="0" y="21"/>
                  <a:pt x="0" y="21"/>
                  <a:pt x="0" y="21"/>
                </a:cubicBezTo>
                <a:cubicBezTo>
                  <a:pt x="46" y="47"/>
                  <a:pt x="46" y="47"/>
                  <a:pt x="46" y="47"/>
                </a:cubicBezTo>
                <a:cubicBezTo>
                  <a:pt x="48" y="34"/>
                  <a:pt x="48" y="34"/>
                  <a:pt x="48" y="34"/>
                </a:cubicBezTo>
                <a:cubicBezTo>
                  <a:pt x="107" y="44"/>
                  <a:pt x="163" y="74"/>
                  <a:pt x="211" y="122"/>
                </a:cubicBezTo>
                <a:lnTo>
                  <a:pt x="222" y="11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48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137" name="Straight Arrow Connector 136"/>
          <p:cNvCxnSpPr/>
          <p:nvPr/>
        </p:nvCxnSpPr>
        <p:spPr>
          <a:xfrm>
            <a:off x="17342983" y="7240542"/>
            <a:ext cx="1127898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/>
          <p:cNvGrpSpPr/>
          <p:nvPr/>
        </p:nvGrpSpPr>
        <p:grpSpPr>
          <a:xfrm>
            <a:off x="16041034" y="10071482"/>
            <a:ext cx="1962912" cy="536448"/>
            <a:chOff x="6015388" y="3679825"/>
            <a:chExt cx="736092" cy="201168"/>
          </a:xfrm>
        </p:grpSpPr>
        <p:cxnSp>
          <p:nvCxnSpPr>
            <p:cNvPr id="139" name="Straight Connector 138"/>
            <p:cNvCxnSpPr/>
            <p:nvPr/>
          </p:nvCxnSpPr>
          <p:spPr>
            <a:xfrm flipV="1">
              <a:off x="6015388" y="3679825"/>
              <a:ext cx="201168" cy="201168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Arrow Connector 139"/>
            <p:cNvCxnSpPr/>
            <p:nvPr/>
          </p:nvCxnSpPr>
          <p:spPr>
            <a:xfrm>
              <a:off x="6215032" y="3679825"/>
              <a:ext cx="536448" cy="0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1" name="Straight Arrow Connector 140"/>
          <p:cNvCxnSpPr/>
          <p:nvPr/>
        </p:nvCxnSpPr>
        <p:spPr>
          <a:xfrm flipH="1">
            <a:off x="6454916" y="4516464"/>
            <a:ext cx="2125320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/>
          <p:cNvCxnSpPr/>
          <p:nvPr/>
        </p:nvCxnSpPr>
        <p:spPr>
          <a:xfrm flipH="1">
            <a:off x="5185589" y="7842400"/>
            <a:ext cx="1127898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/>
          <p:cNvCxnSpPr/>
          <p:nvPr/>
        </p:nvCxnSpPr>
        <p:spPr>
          <a:xfrm flipH="1">
            <a:off x="7189361" y="10910720"/>
            <a:ext cx="1127898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/>
          <p:cNvGrpSpPr/>
          <p:nvPr/>
        </p:nvGrpSpPr>
        <p:grpSpPr>
          <a:xfrm>
            <a:off x="10235104" y="10210297"/>
            <a:ext cx="542400" cy="813602"/>
            <a:chOff x="10891838" y="-938213"/>
            <a:chExt cx="241300" cy="361951"/>
          </a:xfrm>
          <a:solidFill>
            <a:schemeClr val="bg2"/>
          </a:solidFill>
        </p:grpSpPr>
        <p:sp>
          <p:nvSpPr>
            <p:cNvPr id="145" name="Freeform 35"/>
            <p:cNvSpPr>
              <a:spLocks/>
            </p:cNvSpPr>
            <p:nvPr/>
          </p:nvSpPr>
          <p:spPr bwMode="auto">
            <a:xfrm>
              <a:off x="10891838" y="-938213"/>
              <a:ext cx="241300" cy="246063"/>
            </a:xfrm>
            <a:custGeom>
              <a:avLst/>
              <a:gdLst>
                <a:gd name="T0" fmla="*/ 64 w 88"/>
                <a:gd name="T1" fmla="*/ 90 h 90"/>
                <a:gd name="T2" fmla="*/ 57 w 88"/>
                <a:gd name="T3" fmla="*/ 86 h 90"/>
                <a:gd name="T4" fmla="*/ 67 w 88"/>
                <a:gd name="T5" fmla="*/ 67 h 90"/>
                <a:gd name="T6" fmla="*/ 67 w 88"/>
                <a:gd name="T7" fmla="*/ 21 h 90"/>
                <a:gd name="T8" fmla="*/ 21 w 88"/>
                <a:gd name="T9" fmla="*/ 21 h 90"/>
                <a:gd name="T10" fmla="*/ 21 w 88"/>
                <a:gd name="T11" fmla="*/ 67 h 90"/>
                <a:gd name="T12" fmla="*/ 22 w 88"/>
                <a:gd name="T13" fmla="*/ 67 h 90"/>
                <a:gd name="T14" fmla="*/ 31 w 88"/>
                <a:gd name="T15" fmla="*/ 86 h 90"/>
                <a:gd name="T16" fmla="*/ 24 w 88"/>
                <a:gd name="T17" fmla="*/ 90 h 90"/>
                <a:gd name="T18" fmla="*/ 15 w 88"/>
                <a:gd name="T19" fmla="*/ 72 h 90"/>
                <a:gd name="T20" fmla="*/ 16 w 88"/>
                <a:gd name="T21" fmla="*/ 16 h 90"/>
                <a:gd name="T22" fmla="*/ 72 w 88"/>
                <a:gd name="T23" fmla="*/ 16 h 90"/>
                <a:gd name="T24" fmla="*/ 73 w 88"/>
                <a:gd name="T25" fmla="*/ 72 h 90"/>
                <a:gd name="T26" fmla="*/ 64 w 88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90">
                  <a:moveTo>
                    <a:pt x="64" y="90"/>
                  </a:moveTo>
                  <a:cubicBezTo>
                    <a:pt x="57" y="86"/>
                    <a:pt x="57" y="86"/>
                    <a:pt x="57" y="86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79" y="54"/>
                    <a:pt x="79" y="34"/>
                    <a:pt x="67" y="21"/>
                  </a:cubicBezTo>
                  <a:cubicBezTo>
                    <a:pt x="54" y="9"/>
                    <a:pt x="34" y="9"/>
                    <a:pt x="21" y="21"/>
                  </a:cubicBezTo>
                  <a:cubicBezTo>
                    <a:pt x="9" y="34"/>
                    <a:pt x="9" y="54"/>
                    <a:pt x="21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0" y="56"/>
                    <a:pt x="0" y="31"/>
                    <a:pt x="16" y="16"/>
                  </a:cubicBezTo>
                  <a:cubicBezTo>
                    <a:pt x="31" y="0"/>
                    <a:pt x="57" y="0"/>
                    <a:pt x="72" y="16"/>
                  </a:cubicBezTo>
                  <a:cubicBezTo>
                    <a:pt x="88" y="31"/>
                    <a:pt x="88" y="56"/>
                    <a:pt x="73" y="72"/>
                  </a:cubicBezTo>
                  <a:lnTo>
                    <a:pt x="6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46" name="Freeform 36"/>
            <p:cNvSpPr>
              <a:spLocks/>
            </p:cNvSpPr>
            <p:nvPr/>
          </p:nvSpPr>
          <p:spPr bwMode="auto">
            <a:xfrm>
              <a:off x="10968038" y="-685800"/>
              <a:ext cx="87313" cy="31750"/>
            </a:xfrm>
            <a:custGeom>
              <a:avLst/>
              <a:gdLst>
                <a:gd name="T0" fmla="*/ 0 w 55"/>
                <a:gd name="T1" fmla="*/ 20 h 20"/>
                <a:gd name="T2" fmla="*/ 0 w 55"/>
                <a:gd name="T3" fmla="*/ 7 h 20"/>
                <a:gd name="T4" fmla="*/ 55 w 55"/>
                <a:gd name="T5" fmla="*/ 0 h 20"/>
                <a:gd name="T6" fmla="*/ 55 w 55"/>
                <a:gd name="T7" fmla="*/ 13 h 20"/>
                <a:gd name="T8" fmla="*/ 0 w 5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0">
                  <a:moveTo>
                    <a:pt x="0" y="20"/>
                  </a:moveTo>
                  <a:lnTo>
                    <a:pt x="0" y="7"/>
                  </a:lnTo>
                  <a:lnTo>
                    <a:pt x="55" y="0"/>
                  </a:lnTo>
                  <a:lnTo>
                    <a:pt x="55" y="13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47" name="Freeform 37"/>
            <p:cNvSpPr>
              <a:spLocks/>
            </p:cNvSpPr>
            <p:nvPr/>
          </p:nvSpPr>
          <p:spPr bwMode="auto">
            <a:xfrm>
              <a:off x="10968038" y="-654050"/>
              <a:ext cx="87313" cy="33338"/>
            </a:xfrm>
            <a:custGeom>
              <a:avLst/>
              <a:gdLst>
                <a:gd name="T0" fmla="*/ 0 w 55"/>
                <a:gd name="T1" fmla="*/ 21 h 21"/>
                <a:gd name="T2" fmla="*/ 0 w 55"/>
                <a:gd name="T3" fmla="*/ 7 h 21"/>
                <a:gd name="T4" fmla="*/ 55 w 55"/>
                <a:gd name="T5" fmla="*/ 0 h 21"/>
                <a:gd name="T6" fmla="*/ 55 w 55"/>
                <a:gd name="T7" fmla="*/ 14 h 21"/>
                <a:gd name="T8" fmla="*/ 0 w 55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1">
                  <a:moveTo>
                    <a:pt x="0" y="21"/>
                  </a:moveTo>
                  <a:lnTo>
                    <a:pt x="0" y="7"/>
                  </a:lnTo>
                  <a:lnTo>
                    <a:pt x="55" y="0"/>
                  </a:lnTo>
                  <a:lnTo>
                    <a:pt x="55" y="14"/>
                  </a:ln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48" name="Freeform 38"/>
            <p:cNvSpPr>
              <a:spLocks/>
            </p:cNvSpPr>
            <p:nvPr/>
          </p:nvSpPr>
          <p:spPr bwMode="auto">
            <a:xfrm>
              <a:off x="10979150" y="-609600"/>
              <a:ext cx="65088" cy="33338"/>
            </a:xfrm>
            <a:custGeom>
              <a:avLst/>
              <a:gdLst>
                <a:gd name="T0" fmla="*/ 12 w 24"/>
                <a:gd name="T1" fmla="*/ 12 h 12"/>
                <a:gd name="T2" fmla="*/ 0 w 24"/>
                <a:gd name="T3" fmla="*/ 0 h 12"/>
                <a:gd name="T4" fmla="*/ 8 w 24"/>
                <a:gd name="T5" fmla="*/ 0 h 12"/>
                <a:gd name="T6" fmla="*/ 12 w 24"/>
                <a:gd name="T7" fmla="*/ 4 h 12"/>
                <a:gd name="T8" fmla="*/ 16 w 24"/>
                <a:gd name="T9" fmla="*/ 0 h 12"/>
                <a:gd name="T10" fmla="*/ 24 w 24"/>
                <a:gd name="T11" fmla="*/ 0 h 12"/>
                <a:gd name="T12" fmla="*/ 12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2" y="12"/>
                  </a:moveTo>
                  <a:cubicBezTo>
                    <a:pt x="5" y="12"/>
                    <a:pt x="0" y="7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10" y="4"/>
                    <a:pt x="12" y="4"/>
                  </a:cubicBezTo>
                  <a:cubicBezTo>
                    <a:pt x="14" y="4"/>
                    <a:pt x="16" y="2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7"/>
                    <a:pt x="19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49" name="Freeform 39"/>
            <p:cNvSpPr>
              <a:spLocks/>
            </p:cNvSpPr>
            <p:nvPr/>
          </p:nvSpPr>
          <p:spPr bwMode="auto">
            <a:xfrm>
              <a:off x="10945813" y="-884237"/>
              <a:ext cx="66675" cy="66675"/>
            </a:xfrm>
            <a:custGeom>
              <a:avLst/>
              <a:gdLst>
                <a:gd name="T0" fmla="*/ 8 w 24"/>
                <a:gd name="T1" fmla="*/ 24 h 24"/>
                <a:gd name="T2" fmla="*/ 0 w 24"/>
                <a:gd name="T3" fmla="*/ 24 h 24"/>
                <a:gd name="T4" fmla="*/ 24 w 24"/>
                <a:gd name="T5" fmla="*/ 0 h 24"/>
                <a:gd name="T6" fmla="*/ 24 w 24"/>
                <a:gd name="T7" fmla="*/ 8 h 24"/>
                <a:gd name="T8" fmla="*/ 8 w 2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4">
                  <a:moveTo>
                    <a:pt x="8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15147687" y="7366343"/>
            <a:ext cx="795754" cy="781482"/>
            <a:chOff x="9936163" y="2670175"/>
            <a:chExt cx="354012" cy="347663"/>
          </a:xfrm>
          <a:solidFill>
            <a:schemeClr val="bg2"/>
          </a:solidFill>
        </p:grpSpPr>
        <p:sp>
          <p:nvSpPr>
            <p:cNvPr id="151" name="Freeform 40"/>
            <p:cNvSpPr>
              <a:spLocks noEditPoints="1"/>
            </p:cNvSpPr>
            <p:nvPr/>
          </p:nvSpPr>
          <p:spPr bwMode="auto">
            <a:xfrm>
              <a:off x="9940925" y="2673350"/>
              <a:ext cx="71438" cy="71438"/>
            </a:xfrm>
            <a:custGeom>
              <a:avLst/>
              <a:gdLst>
                <a:gd name="T0" fmla="*/ 14 w 26"/>
                <a:gd name="T1" fmla="*/ 26 h 26"/>
                <a:gd name="T2" fmla="*/ 14 w 26"/>
                <a:gd name="T3" fmla="*/ 26 h 26"/>
                <a:gd name="T4" fmla="*/ 6 w 26"/>
                <a:gd name="T5" fmla="*/ 22 h 26"/>
                <a:gd name="T6" fmla="*/ 0 w 26"/>
                <a:gd name="T7" fmla="*/ 17 h 26"/>
                <a:gd name="T8" fmla="*/ 17 w 26"/>
                <a:gd name="T9" fmla="*/ 0 h 26"/>
                <a:gd name="T10" fmla="*/ 22 w 26"/>
                <a:gd name="T11" fmla="*/ 6 h 26"/>
                <a:gd name="T12" fmla="*/ 26 w 26"/>
                <a:gd name="T13" fmla="*/ 14 h 26"/>
                <a:gd name="T14" fmla="*/ 22 w 26"/>
                <a:gd name="T15" fmla="*/ 22 h 26"/>
                <a:gd name="T16" fmla="*/ 14 w 26"/>
                <a:gd name="T17" fmla="*/ 26 h 26"/>
                <a:gd name="T18" fmla="*/ 11 w 26"/>
                <a:gd name="T19" fmla="*/ 17 h 26"/>
                <a:gd name="T20" fmla="*/ 11 w 26"/>
                <a:gd name="T21" fmla="*/ 17 h 26"/>
                <a:gd name="T22" fmla="*/ 17 w 26"/>
                <a:gd name="T23" fmla="*/ 17 h 26"/>
                <a:gd name="T24" fmla="*/ 18 w 26"/>
                <a:gd name="T25" fmla="*/ 14 h 26"/>
                <a:gd name="T26" fmla="*/ 17 w 26"/>
                <a:gd name="T27" fmla="*/ 11 h 26"/>
                <a:gd name="T28" fmla="*/ 11 w 26"/>
                <a:gd name="T29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26">
                  <a:moveTo>
                    <a:pt x="14" y="26"/>
                  </a:moveTo>
                  <a:cubicBezTo>
                    <a:pt x="14" y="26"/>
                    <a:pt x="14" y="26"/>
                    <a:pt x="14" y="26"/>
                  </a:cubicBezTo>
                  <a:cubicBezTo>
                    <a:pt x="11" y="26"/>
                    <a:pt x="8" y="25"/>
                    <a:pt x="6" y="2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5" y="8"/>
                    <a:pt x="26" y="11"/>
                    <a:pt x="26" y="14"/>
                  </a:cubicBezTo>
                  <a:cubicBezTo>
                    <a:pt x="26" y="17"/>
                    <a:pt x="25" y="20"/>
                    <a:pt x="22" y="22"/>
                  </a:cubicBezTo>
                  <a:cubicBezTo>
                    <a:pt x="20" y="25"/>
                    <a:pt x="17" y="26"/>
                    <a:pt x="14" y="26"/>
                  </a:cubicBezTo>
                  <a:close/>
                  <a:moveTo>
                    <a:pt x="11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3" y="18"/>
                    <a:pt x="15" y="18"/>
                    <a:pt x="17" y="17"/>
                  </a:cubicBezTo>
                  <a:cubicBezTo>
                    <a:pt x="18" y="16"/>
                    <a:pt x="18" y="15"/>
                    <a:pt x="18" y="14"/>
                  </a:cubicBezTo>
                  <a:cubicBezTo>
                    <a:pt x="18" y="13"/>
                    <a:pt x="18" y="12"/>
                    <a:pt x="17" y="11"/>
                  </a:cubicBezTo>
                  <a:lnTo>
                    <a:pt x="1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2" name="Freeform 41"/>
            <p:cNvSpPr>
              <a:spLocks/>
            </p:cNvSpPr>
            <p:nvPr/>
          </p:nvSpPr>
          <p:spPr bwMode="auto">
            <a:xfrm>
              <a:off x="9988550" y="2719388"/>
              <a:ext cx="84138" cy="82550"/>
            </a:xfrm>
            <a:custGeom>
              <a:avLst/>
              <a:gdLst>
                <a:gd name="T0" fmla="*/ 43 w 53"/>
                <a:gd name="T1" fmla="*/ 52 h 52"/>
                <a:gd name="T2" fmla="*/ 0 w 53"/>
                <a:gd name="T3" fmla="*/ 10 h 52"/>
                <a:gd name="T4" fmla="*/ 8 w 53"/>
                <a:gd name="T5" fmla="*/ 0 h 52"/>
                <a:gd name="T6" fmla="*/ 53 w 53"/>
                <a:gd name="T7" fmla="*/ 41 h 52"/>
                <a:gd name="T8" fmla="*/ 43 w 53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lnTo>
                    <a:pt x="0" y="10"/>
                  </a:lnTo>
                  <a:lnTo>
                    <a:pt x="8" y="0"/>
                  </a:lnTo>
                  <a:lnTo>
                    <a:pt x="53" y="41"/>
                  </a:lnTo>
                  <a:lnTo>
                    <a:pt x="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3" name="Freeform 42"/>
            <p:cNvSpPr>
              <a:spLocks/>
            </p:cNvSpPr>
            <p:nvPr/>
          </p:nvSpPr>
          <p:spPr bwMode="auto">
            <a:xfrm>
              <a:off x="10161588" y="2889250"/>
              <a:ext cx="76200" cy="76200"/>
            </a:xfrm>
            <a:custGeom>
              <a:avLst/>
              <a:gdLst>
                <a:gd name="T0" fmla="*/ 38 w 48"/>
                <a:gd name="T1" fmla="*/ 48 h 48"/>
                <a:gd name="T2" fmla="*/ 0 w 48"/>
                <a:gd name="T3" fmla="*/ 10 h 48"/>
                <a:gd name="T4" fmla="*/ 10 w 48"/>
                <a:gd name="T5" fmla="*/ 0 h 48"/>
                <a:gd name="T6" fmla="*/ 48 w 48"/>
                <a:gd name="T7" fmla="*/ 38 h 48"/>
                <a:gd name="T8" fmla="*/ 38 w 48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38" y="48"/>
                  </a:moveTo>
                  <a:lnTo>
                    <a:pt x="0" y="10"/>
                  </a:lnTo>
                  <a:lnTo>
                    <a:pt x="10" y="0"/>
                  </a:lnTo>
                  <a:lnTo>
                    <a:pt x="48" y="38"/>
                  </a:lnTo>
                  <a:lnTo>
                    <a:pt x="38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4" name="Freeform 43"/>
            <p:cNvSpPr>
              <a:spLocks/>
            </p:cNvSpPr>
            <p:nvPr/>
          </p:nvSpPr>
          <p:spPr bwMode="auto">
            <a:xfrm>
              <a:off x="10125075" y="2854325"/>
              <a:ext cx="165100" cy="158750"/>
            </a:xfrm>
            <a:custGeom>
              <a:avLst/>
              <a:gdLst>
                <a:gd name="T0" fmla="*/ 38 w 60"/>
                <a:gd name="T1" fmla="*/ 58 h 58"/>
                <a:gd name="T2" fmla="*/ 24 w 60"/>
                <a:gd name="T3" fmla="*/ 52 h 58"/>
                <a:gd name="T4" fmla="*/ 0 w 60"/>
                <a:gd name="T5" fmla="*/ 28 h 58"/>
                <a:gd name="T6" fmla="*/ 5 w 60"/>
                <a:gd name="T7" fmla="*/ 22 h 58"/>
                <a:gd name="T8" fmla="*/ 30 w 60"/>
                <a:gd name="T9" fmla="*/ 47 h 58"/>
                <a:gd name="T10" fmla="*/ 46 w 60"/>
                <a:gd name="T11" fmla="*/ 47 h 58"/>
                <a:gd name="T12" fmla="*/ 46 w 60"/>
                <a:gd name="T13" fmla="*/ 30 h 58"/>
                <a:gd name="T14" fmla="*/ 22 w 60"/>
                <a:gd name="T15" fmla="*/ 5 h 58"/>
                <a:gd name="T16" fmla="*/ 28 w 60"/>
                <a:gd name="T17" fmla="*/ 0 h 58"/>
                <a:gd name="T18" fmla="*/ 52 w 60"/>
                <a:gd name="T19" fmla="*/ 24 h 58"/>
                <a:gd name="T20" fmla="*/ 52 w 60"/>
                <a:gd name="T21" fmla="*/ 52 h 58"/>
                <a:gd name="T22" fmla="*/ 38 w 60"/>
                <a:gd name="T2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8">
                  <a:moveTo>
                    <a:pt x="38" y="58"/>
                  </a:moveTo>
                  <a:cubicBezTo>
                    <a:pt x="33" y="58"/>
                    <a:pt x="28" y="56"/>
                    <a:pt x="24" y="5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4" y="51"/>
                    <a:pt x="42" y="51"/>
                    <a:pt x="46" y="47"/>
                  </a:cubicBezTo>
                  <a:cubicBezTo>
                    <a:pt x="51" y="42"/>
                    <a:pt x="51" y="34"/>
                    <a:pt x="46" y="30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60" y="32"/>
                    <a:pt x="60" y="44"/>
                    <a:pt x="52" y="52"/>
                  </a:cubicBezTo>
                  <a:cubicBezTo>
                    <a:pt x="48" y="56"/>
                    <a:pt x="43" y="58"/>
                    <a:pt x="38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5" name="Freeform 44"/>
            <p:cNvSpPr>
              <a:spLocks/>
            </p:cNvSpPr>
            <p:nvPr/>
          </p:nvSpPr>
          <p:spPr bwMode="auto">
            <a:xfrm>
              <a:off x="10117138" y="2686050"/>
              <a:ext cx="150813" cy="150813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8 w 55"/>
                <a:gd name="T5" fmla="*/ 47 h 55"/>
                <a:gd name="T6" fmla="*/ 0 w 55"/>
                <a:gd name="T7" fmla="*/ 27 h 55"/>
                <a:gd name="T8" fmla="*/ 8 w 55"/>
                <a:gd name="T9" fmla="*/ 7 h 55"/>
                <a:gd name="T10" fmla="*/ 16 w 55"/>
                <a:gd name="T11" fmla="*/ 0 h 55"/>
                <a:gd name="T12" fmla="*/ 21 w 55"/>
                <a:gd name="T13" fmla="*/ 5 h 55"/>
                <a:gd name="T14" fmla="*/ 14 w 55"/>
                <a:gd name="T15" fmla="*/ 13 h 55"/>
                <a:gd name="T16" fmla="*/ 8 w 55"/>
                <a:gd name="T17" fmla="*/ 27 h 55"/>
                <a:gd name="T18" fmla="*/ 14 w 55"/>
                <a:gd name="T19" fmla="*/ 41 h 55"/>
                <a:gd name="T20" fmla="*/ 28 w 55"/>
                <a:gd name="T21" fmla="*/ 47 h 55"/>
                <a:gd name="T22" fmla="*/ 28 w 55"/>
                <a:gd name="T23" fmla="*/ 47 h 55"/>
                <a:gd name="T24" fmla="*/ 42 w 55"/>
                <a:gd name="T25" fmla="*/ 41 h 55"/>
                <a:gd name="T26" fmla="*/ 50 w 55"/>
                <a:gd name="T27" fmla="*/ 34 h 55"/>
                <a:gd name="T28" fmla="*/ 55 w 55"/>
                <a:gd name="T29" fmla="*/ 39 h 55"/>
                <a:gd name="T30" fmla="*/ 48 w 55"/>
                <a:gd name="T31" fmla="*/ 47 h 55"/>
                <a:gd name="T32" fmla="*/ 28 w 55"/>
                <a:gd name="T3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1" y="55"/>
                    <a:pt x="14" y="52"/>
                    <a:pt x="8" y="47"/>
                  </a:cubicBezTo>
                  <a:cubicBezTo>
                    <a:pt x="3" y="41"/>
                    <a:pt x="0" y="34"/>
                    <a:pt x="0" y="27"/>
                  </a:cubicBezTo>
                  <a:cubicBezTo>
                    <a:pt x="0" y="19"/>
                    <a:pt x="3" y="12"/>
                    <a:pt x="8" y="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0" y="17"/>
                    <a:pt x="8" y="22"/>
                    <a:pt x="8" y="27"/>
                  </a:cubicBezTo>
                  <a:cubicBezTo>
                    <a:pt x="8" y="32"/>
                    <a:pt x="10" y="37"/>
                    <a:pt x="14" y="41"/>
                  </a:cubicBezTo>
                  <a:cubicBezTo>
                    <a:pt x="18" y="45"/>
                    <a:pt x="23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33" y="47"/>
                    <a:pt x="38" y="45"/>
                    <a:pt x="42" y="41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3" y="52"/>
                    <a:pt x="36" y="55"/>
                    <a:pt x="28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6" name="Freeform 45"/>
            <p:cNvSpPr>
              <a:spLocks/>
            </p:cNvSpPr>
            <p:nvPr/>
          </p:nvSpPr>
          <p:spPr bwMode="auto">
            <a:xfrm>
              <a:off x="10161588" y="2670175"/>
              <a:ext cx="123825" cy="123825"/>
            </a:xfrm>
            <a:custGeom>
              <a:avLst/>
              <a:gdLst>
                <a:gd name="T0" fmla="*/ 39 w 45"/>
                <a:gd name="T1" fmla="*/ 45 h 45"/>
                <a:gd name="T2" fmla="*/ 31 w 45"/>
                <a:gd name="T3" fmla="*/ 37 h 45"/>
                <a:gd name="T4" fmla="*/ 28 w 45"/>
                <a:gd name="T5" fmla="*/ 40 h 45"/>
                <a:gd name="T6" fmla="*/ 17 w 45"/>
                <a:gd name="T7" fmla="*/ 44 h 45"/>
                <a:gd name="T8" fmla="*/ 17 w 45"/>
                <a:gd name="T9" fmla="*/ 44 h 45"/>
                <a:gd name="T10" fmla="*/ 5 w 45"/>
                <a:gd name="T11" fmla="*/ 40 h 45"/>
                <a:gd name="T12" fmla="*/ 1 w 45"/>
                <a:gd name="T13" fmla="*/ 28 h 45"/>
                <a:gd name="T14" fmla="*/ 5 w 45"/>
                <a:gd name="T15" fmla="*/ 17 h 45"/>
                <a:gd name="T16" fmla="*/ 8 w 45"/>
                <a:gd name="T17" fmla="*/ 14 h 45"/>
                <a:gd name="T18" fmla="*/ 0 w 45"/>
                <a:gd name="T19" fmla="*/ 6 h 45"/>
                <a:gd name="T20" fmla="*/ 5 w 45"/>
                <a:gd name="T21" fmla="*/ 0 h 45"/>
                <a:gd name="T22" fmla="*/ 19 w 45"/>
                <a:gd name="T23" fmla="*/ 14 h 45"/>
                <a:gd name="T24" fmla="*/ 11 w 45"/>
                <a:gd name="T25" fmla="*/ 23 h 45"/>
                <a:gd name="T26" fmla="*/ 9 w 45"/>
                <a:gd name="T27" fmla="*/ 28 h 45"/>
                <a:gd name="T28" fmla="*/ 11 w 45"/>
                <a:gd name="T29" fmla="*/ 34 h 45"/>
                <a:gd name="T30" fmla="*/ 17 w 45"/>
                <a:gd name="T31" fmla="*/ 36 h 45"/>
                <a:gd name="T32" fmla="*/ 17 w 45"/>
                <a:gd name="T33" fmla="*/ 36 h 45"/>
                <a:gd name="T34" fmla="*/ 22 w 45"/>
                <a:gd name="T35" fmla="*/ 34 h 45"/>
                <a:gd name="T36" fmla="*/ 31 w 45"/>
                <a:gd name="T37" fmla="*/ 26 h 45"/>
                <a:gd name="T38" fmla="*/ 45 w 45"/>
                <a:gd name="T39" fmla="*/ 40 h 45"/>
                <a:gd name="T40" fmla="*/ 39 w 45"/>
                <a:gd name="T4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45">
                  <a:moveTo>
                    <a:pt x="39" y="45"/>
                  </a:moveTo>
                  <a:cubicBezTo>
                    <a:pt x="31" y="37"/>
                    <a:pt x="31" y="37"/>
                    <a:pt x="31" y="37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5" y="43"/>
                    <a:pt x="21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2" y="44"/>
                    <a:pt x="8" y="43"/>
                    <a:pt x="5" y="40"/>
                  </a:cubicBezTo>
                  <a:cubicBezTo>
                    <a:pt x="2" y="37"/>
                    <a:pt x="1" y="33"/>
                    <a:pt x="1" y="28"/>
                  </a:cubicBezTo>
                  <a:cubicBezTo>
                    <a:pt x="1" y="24"/>
                    <a:pt x="2" y="20"/>
                    <a:pt x="5" y="17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9" y="24"/>
                    <a:pt x="9" y="26"/>
                    <a:pt x="9" y="28"/>
                  </a:cubicBezTo>
                  <a:cubicBezTo>
                    <a:pt x="9" y="31"/>
                    <a:pt x="9" y="33"/>
                    <a:pt x="11" y="34"/>
                  </a:cubicBezTo>
                  <a:cubicBezTo>
                    <a:pt x="12" y="36"/>
                    <a:pt x="14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9" y="36"/>
                    <a:pt x="21" y="36"/>
                    <a:pt x="22" y="34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45" y="40"/>
                    <a:pt x="45" y="40"/>
                    <a:pt x="45" y="40"/>
                  </a:cubicBezTo>
                  <a:lnTo>
                    <a:pt x="39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7" name="Rectangle 46"/>
            <p:cNvSpPr>
              <a:spLocks noChangeArrowheads="1"/>
            </p:cNvSpPr>
            <p:nvPr/>
          </p:nvSpPr>
          <p:spPr bwMode="auto">
            <a:xfrm>
              <a:off x="9980613" y="2952750"/>
              <a:ext cx="2063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8" name="Freeform 47"/>
            <p:cNvSpPr>
              <a:spLocks/>
            </p:cNvSpPr>
            <p:nvPr/>
          </p:nvSpPr>
          <p:spPr bwMode="auto">
            <a:xfrm>
              <a:off x="10082213" y="2809875"/>
              <a:ext cx="57150" cy="57150"/>
            </a:xfrm>
            <a:custGeom>
              <a:avLst/>
              <a:gdLst>
                <a:gd name="T0" fmla="*/ 27 w 36"/>
                <a:gd name="T1" fmla="*/ 36 h 36"/>
                <a:gd name="T2" fmla="*/ 0 w 36"/>
                <a:gd name="T3" fmla="*/ 9 h 36"/>
                <a:gd name="T4" fmla="*/ 8 w 36"/>
                <a:gd name="T5" fmla="*/ 0 h 36"/>
                <a:gd name="T6" fmla="*/ 36 w 36"/>
                <a:gd name="T7" fmla="*/ 26 h 36"/>
                <a:gd name="T8" fmla="*/ 2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7" y="36"/>
                  </a:moveTo>
                  <a:lnTo>
                    <a:pt x="0" y="9"/>
                  </a:lnTo>
                  <a:lnTo>
                    <a:pt x="8" y="0"/>
                  </a:lnTo>
                  <a:lnTo>
                    <a:pt x="36" y="26"/>
                  </a:lnTo>
                  <a:lnTo>
                    <a:pt x="27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9" name="Freeform 48"/>
            <p:cNvSpPr>
              <a:spLocks/>
            </p:cNvSpPr>
            <p:nvPr/>
          </p:nvSpPr>
          <p:spPr bwMode="auto">
            <a:xfrm>
              <a:off x="9936163" y="2840038"/>
              <a:ext cx="177800" cy="177800"/>
            </a:xfrm>
            <a:custGeom>
              <a:avLst/>
              <a:gdLst>
                <a:gd name="T0" fmla="*/ 20 w 65"/>
                <a:gd name="T1" fmla="*/ 65 h 65"/>
                <a:gd name="T2" fmla="*/ 6 w 65"/>
                <a:gd name="T3" fmla="*/ 59 h 65"/>
                <a:gd name="T4" fmla="*/ 0 w 65"/>
                <a:gd name="T5" fmla="*/ 45 h 65"/>
                <a:gd name="T6" fmla="*/ 6 w 65"/>
                <a:gd name="T7" fmla="*/ 31 h 65"/>
                <a:gd name="T8" fmla="*/ 6 w 65"/>
                <a:gd name="T9" fmla="*/ 30 h 65"/>
                <a:gd name="T10" fmla="*/ 48 w 65"/>
                <a:gd name="T11" fmla="*/ 0 h 65"/>
                <a:gd name="T12" fmla="*/ 52 w 65"/>
                <a:gd name="T13" fmla="*/ 7 h 65"/>
                <a:gd name="T14" fmla="*/ 11 w 65"/>
                <a:gd name="T15" fmla="*/ 37 h 65"/>
                <a:gd name="T16" fmla="*/ 8 w 65"/>
                <a:gd name="T17" fmla="*/ 45 h 65"/>
                <a:gd name="T18" fmla="*/ 12 w 65"/>
                <a:gd name="T19" fmla="*/ 53 h 65"/>
                <a:gd name="T20" fmla="*/ 28 w 65"/>
                <a:gd name="T21" fmla="*/ 54 h 65"/>
                <a:gd name="T22" fmla="*/ 58 w 65"/>
                <a:gd name="T23" fmla="*/ 13 h 65"/>
                <a:gd name="T24" fmla="*/ 65 w 65"/>
                <a:gd name="T25" fmla="*/ 17 h 65"/>
                <a:gd name="T26" fmla="*/ 34 w 65"/>
                <a:gd name="T27" fmla="*/ 59 h 65"/>
                <a:gd name="T28" fmla="*/ 20 w 65"/>
                <a:gd name="T2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65">
                  <a:moveTo>
                    <a:pt x="20" y="65"/>
                  </a:moveTo>
                  <a:cubicBezTo>
                    <a:pt x="15" y="65"/>
                    <a:pt x="10" y="63"/>
                    <a:pt x="6" y="59"/>
                  </a:cubicBezTo>
                  <a:cubicBezTo>
                    <a:pt x="2" y="55"/>
                    <a:pt x="0" y="50"/>
                    <a:pt x="0" y="45"/>
                  </a:cubicBezTo>
                  <a:cubicBezTo>
                    <a:pt x="0" y="40"/>
                    <a:pt x="2" y="35"/>
                    <a:pt x="6" y="31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9" y="39"/>
                    <a:pt x="8" y="42"/>
                    <a:pt x="8" y="45"/>
                  </a:cubicBezTo>
                  <a:cubicBezTo>
                    <a:pt x="8" y="48"/>
                    <a:pt x="9" y="51"/>
                    <a:pt x="12" y="53"/>
                  </a:cubicBezTo>
                  <a:cubicBezTo>
                    <a:pt x="16" y="58"/>
                    <a:pt x="24" y="58"/>
                    <a:pt x="28" y="5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0" y="63"/>
                    <a:pt x="25" y="65"/>
                    <a:pt x="20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10210127" y="4456309"/>
            <a:ext cx="592358" cy="788622"/>
            <a:chOff x="9080500" y="3565525"/>
            <a:chExt cx="263525" cy="350838"/>
          </a:xfrm>
          <a:solidFill>
            <a:schemeClr val="bg2"/>
          </a:solidFill>
        </p:grpSpPr>
        <p:sp>
          <p:nvSpPr>
            <p:cNvPr id="161" name="Freeform 49"/>
            <p:cNvSpPr>
              <a:spLocks noEditPoints="1"/>
            </p:cNvSpPr>
            <p:nvPr/>
          </p:nvSpPr>
          <p:spPr bwMode="auto">
            <a:xfrm>
              <a:off x="9080500" y="3719513"/>
              <a:ext cx="263525" cy="196850"/>
            </a:xfrm>
            <a:custGeom>
              <a:avLst/>
              <a:gdLst>
                <a:gd name="T0" fmla="*/ 48 w 96"/>
                <a:gd name="T1" fmla="*/ 72 h 72"/>
                <a:gd name="T2" fmla="*/ 0 w 96"/>
                <a:gd name="T3" fmla="*/ 24 h 72"/>
                <a:gd name="T4" fmla="*/ 0 w 96"/>
                <a:gd name="T5" fmla="*/ 0 h 72"/>
                <a:gd name="T6" fmla="*/ 96 w 96"/>
                <a:gd name="T7" fmla="*/ 0 h 72"/>
                <a:gd name="T8" fmla="*/ 96 w 96"/>
                <a:gd name="T9" fmla="*/ 24 h 72"/>
                <a:gd name="T10" fmla="*/ 48 w 96"/>
                <a:gd name="T11" fmla="*/ 72 h 72"/>
                <a:gd name="T12" fmla="*/ 8 w 96"/>
                <a:gd name="T13" fmla="*/ 8 h 72"/>
                <a:gd name="T14" fmla="*/ 8 w 96"/>
                <a:gd name="T15" fmla="*/ 24 h 72"/>
                <a:gd name="T16" fmla="*/ 48 w 96"/>
                <a:gd name="T17" fmla="*/ 64 h 72"/>
                <a:gd name="T18" fmla="*/ 88 w 96"/>
                <a:gd name="T19" fmla="*/ 24 h 72"/>
                <a:gd name="T20" fmla="*/ 88 w 96"/>
                <a:gd name="T21" fmla="*/ 8 h 72"/>
                <a:gd name="T22" fmla="*/ 8 w 96"/>
                <a:gd name="T23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2">
                  <a:moveTo>
                    <a:pt x="48" y="72"/>
                  </a:moveTo>
                  <a:cubicBezTo>
                    <a:pt x="22" y="72"/>
                    <a:pt x="0" y="50"/>
                    <a:pt x="0" y="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50"/>
                    <a:pt x="74" y="72"/>
                    <a:pt x="48" y="72"/>
                  </a:cubicBezTo>
                  <a:close/>
                  <a:moveTo>
                    <a:pt x="8" y="8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8" y="46"/>
                    <a:pt x="26" y="64"/>
                    <a:pt x="48" y="64"/>
                  </a:cubicBezTo>
                  <a:cubicBezTo>
                    <a:pt x="70" y="64"/>
                    <a:pt x="88" y="46"/>
                    <a:pt x="88" y="24"/>
                  </a:cubicBezTo>
                  <a:cubicBezTo>
                    <a:pt x="88" y="8"/>
                    <a:pt x="88" y="8"/>
                    <a:pt x="88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62" name="Freeform 50"/>
            <p:cNvSpPr>
              <a:spLocks noEditPoints="1"/>
            </p:cNvSpPr>
            <p:nvPr/>
          </p:nvSpPr>
          <p:spPr bwMode="auto">
            <a:xfrm>
              <a:off x="9178925" y="3773488"/>
              <a:ext cx="65088" cy="88900"/>
            </a:xfrm>
            <a:custGeom>
              <a:avLst/>
              <a:gdLst>
                <a:gd name="T0" fmla="*/ 12 w 24"/>
                <a:gd name="T1" fmla="*/ 32 h 32"/>
                <a:gd name="T2" fmla="*/ 0 w 24"/>
                <a:gd name="T3" fmla="*/ 20 h 32"/>
                <a:gd name="T4" fmla="*/ 0 w 24"/>
                <a:gd name="T5" fmla="*/ 12 h 32"/>
                <a:gd name="T6" fmla="*/ 12 w 24"/>
                <a:gd name="T7" fmla="*/ 0 h 32"/>
                <a:gd name="T8" fmla="*/ 24 w 24"/>
                <a:gd name="T9" fmla="*/ 12 h 32"/>
                <a:gd name="T10" fmla="*/ 24 w 24"/>
                <a:gd name="T11" fmla="*/ 20 h 32"/>
                <a:gd name="T12" fmla="*/ 12 w 24"/>
                <a:gd name="T13" fmla="*/ 32 h 32"/>
                <a:gd name="T14" fmla="*/ 12 w 24"/>
                <a:gd name="T15" fmla="*/ 8 h 32"/>
                <a:gd name="T16" fmla="*/ 8 w 24"/>
                <a:gd name="T17" fmla="*/ 12 h 32"/>
                <a:gd name="T18" fmla="*/ 8 w 24"/>
                <a:gd name="T19" fmla="*/ 20 h 32"/>
                <a:gd name="T20" fmla="*/ 12 w 24"/>
                <a:gd name="T21" fmla="*/ 24 h 32"/>
                <a:gd name="T22" fmla="*/ 16 w 24"/>
                <a:gd name="T23" fmla="*/ 20 h 32"/>
                <a:gd name="T24" fmla="*/ 16 w 24"/>
                <a:gd name="T25" fmla="*/ 12 h 32"/>
                <a:gd name="T26" fmla="*/ 12 w 24"/>
                <a:gd name="T27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cubicBezTo>
                    <a:pt x="5" y="32"/>
                    <a:pt x="0" y="27"/>
                    <a:pt x="0" y="2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7"/>
                    <a:pt x="19" y="32"/>
                    <a:pt x="12" y="32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2"/>
                    <a:pt x="10" y="24"/>
                    <a:pt x="12" y="24"/>
                  </a:cubicBezTo>
                  <a:cubicBezTo>
                    <a:pt x="14" y="24"/>
                    <a:pt x="16" y="22"/>
                    <a:pt x="16" y="2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4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63" name="Freeform 51"/>
            <p:cNvSpPr>
              <a:spLocks/>
            </p:cNvSpPr>
            <p:nvPr/>
          </p:nvSpPr>
          <p:spPr bwMode="auto">
            <a:xfrm>
              <a:off x="9123363" y="3565525"/>
              <a:ext cx="176213" cy="131763"/>
            </a:xfrm>
            <a:custGeom>
              <a:avLst/>
              <a:gdLst>
                <a:gd name="T0" fmla="*/ 64 w 64"/>
                <a:gd name="T1" fmla="*/ 48 h 48"/>
                <a:gd name="T2" fmla="*/ 56 w 64"/>
                <a:gd name="T3" fmla="*/ 48 h 48"/>
                <a:gd name="T4" fmla="*/ 56 w 64"/>
                <a:gd name="T5" fmla="*/ 31 h 48"/>
                <a:gd name="T6" fmla="*/ 32 w 64"/>
                <a:gd name="T7" fmla="*/ 8 h 48"/>
                <a:gd name="T8" fmla="*/ 8 w 64"/>
                <a:gd name="T9" fmla="*/ 31 h 48"/>
                <a:gd name="T10" fmla="*/ 8 w 64"/>
                <a:gd name="T11" fmla="*/ 48 h 48"/>
                <a:gd name="T12" fmla="*/ 0 w 64"/>
                <a:gd name="T13" fmla="*/ 48 h 48"/>
                <a:gd name="T14" fmla="*/ 0 w 64"/>
                <a:gd name="T15" fmla="*/ 31 h 48"/>
                <a:gd name="T16" fmla="*/ 32 w 64"/>
                <a:gd name="T17" fmla="*/ 0 h 48"/>
                <a:gd name="T18" fmla="*/ 64 w 64"/>
                <a:gd name="T19" fmla="*/ 31 h 48"/>
                <a:gd name="T20" fmla="*/ 64 w 64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48">
                  <a:moveTo>
                    <a:pt x="64" y="48"/>
                  </a:moveTo>
                  <a:cubicBezTo>
                    <a:pt x="56" y="48"/>
                    <a:pt x="56" y="48"/>
                    <a:pt x="56" y="4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18"/>
                    <a:pt x="45" y="8"/>
                    <a:pt x="32" y="8"/>
                  </a:cubicBezTo>
                  <a:cubicBezTo>
                    <a:pt x="19" y="8"/>
                    <a:pt x="8" y="18"/>
                    <a:pt x="8" y="31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1"/>
                  </a:cubicBezTo>
                  <a:lnTo>
                    <a:pt x="64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13460771" y="4456309"/>
            <a:ext cx="788622" cy="788622"/>
            <a:chOff x="10836275" y="3565525"/>
            <a:chExt cx="350838" cy="350838"/>
          </a:xfrm>
          <a:solidFill>
            <a:schemeClr val="bg2"/>
          </a:solidFill>
        </p:grpSpPr>
        <p:sp>
          <p:nvSpPr>
            <p:cNvPr id="165" name="Freeform 52"/>
            <p:cNvSpPr>
              <a:spLocks/>
            </p:cNvSpPr>
            <p:nvPr/>
          </p:nvSpPr>
          <p:spPr bwMode="auto">
            <a:xfrm>
              <a:off x="10836275" y="3711575"/>
              <a:ext cx="206375" cy="204788"/>
            </a:xfrm>
            <a:custGeom>
              <a:avLst/>
              <a:gdLst>
                <a:gd name="T0" fmla="*/ 62 w 130"/>
                <a:gd name="T1" fmla="*/ 129 h 129"/>
                <a:gd name="T2" fmla="*/ 0 w 130"/>
                <a:gd name="T3" fmla="*/ 129 h 129"/>
                <a:gd name="T4" fmla="*/ 0 w 130"/>
                <a:gd name="T5" fmla="*/ 84 h 129"/>
                <a:gd name="T6" fmla="*/ 78 w 130"/>
                <a:gd name="T7" fmla="*/ 0 h 129"/>
                <a:gd name="T8" fmla="*/ 88 w 130"/>
                <a:gd name="T9" fmla="*/ 10 h 129"/>
                <a:gd name="T10" fmla="*/ 14 w 130"/>
                <a:gd name="T11" fmla="*/ 91 h 129"/>
                <a:gd name="T12" fmla="*/ 14 w 130"/>
                <a:gd name="T13" fmla="*/ 115 h 129"/>
                <a:gd name="T14" fmla="*/ 48 w 130"/>
                <a:gd name="T15" fmla="*/ 115 h 129"/>
                <a:gd name="T16" fmla="*/ 48 w 130"/>
                <a:gd name="T17" fmla="*/ 88 h 129"/>
                <a:gd name="T18" fmla="*/ 79 w 130"/>
                <a:gd name="T19" fmla="*/ 88 h 129"/>
                <a:gd name="T20" fmla="*/ 119 w 130"/>
                <a:gd name="T21" fmla="*/ 41 h 129"/>
                <a:gd name="T22" fmla="*/ 130 w 130"/>
                <a:gd name="T23" fmla="*/ 52 h 129"/>
                <a:gd name="T24" fmla="*/ 86 w 130"/>
                <a:gd name="T25" fmla="*/ 102 h 129"/>
                <a:gd name="T26" fmla="*/ 62 w 130"/>
                <a:gd name="T27" fmla="*/ 102 h 129"/>
                <a:gd name="T28" fmla="*/ 62 w 130"/>
                <a:gd name="T2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" h="129">
                  <a:moveTo>
                    <a:pt x="62" y="129"/>
                  </a:moveTo>
                  <a:lnTo>
                    <a:pt x="0" y="129"/>
                  </a:lnTo>
                  <a:lnTo>
                    <a:pt x="0" y="84"/>
                  </a:lnTo>
                  <a:lnTo>
                    <a:pt x="78" y="0"/>
                  </a:lnTo>
                  <a:lnTo>
                    <a:pt x="88" y="10"/>
                  </a:lnTo>
                  <a:lnTo>
                    <a:pt x="14" y="91"/>
                  </a:lnTo>
                  <a:lnTo>
                    <a:pt x="14" y="115"/>
                  </a:lnTo>
                  <a:lnTo>
                    <a:pt x="48" y="115"/>
                  </a:lnTo>
                  <a:lnTo>
                    <a:pt x="48" y="88"/>
                  </a:lnTo>
                  <a:lnTo>
                    <a:pt x="79" y="88"/>
                  </a:lnTo>
                  <a:lnTo>
                    <a:pt x="119" y="41"/>
                  </a:lnTo>
                  <a:lnTo>
                    <a:pt x="130" y="52"/>
                  </a:lnTo>
                  <a:lnTo>
                    <a:pt x="86" y="102"/>
                  </a:lnTo>
                  <a:lnTo>
                    <a:pt x="62" y="102"/>
                  </a:lnTo>
                  <a:lnTo>
                    <a:pt x="62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66" name="Freeform 53"/>
            <p:cNvSpPr>
              <a:spLocks/>
            </p:cNvSpPr>
            <p:nvPr/>
          </p:nvSpPr>
          <p:spPr bwMode="auto">
            <a:xfrm>
              <a:off x="10968038" y="3565525"/>
              <a:ext cx="219075" cy="219075"/>
            </a:xfrm>
            <a:custGeom>
              <a:avLst/>
              <a:gdLst>
                <a:gd name="T0" fmla="*/ 40 w 80"/>
                <a:gd name="T1" fmla="*/ 80 h 80"/>
                <a:gd name="T2" fmla="*/ 40 w 80"/>
                <a:gd name="T3" fmla="*/ 72 h 80"/>
                <a:gd name="T4" fmla="*/ 72 w 80"/>
                <a:gd name="T5" fmla="*/ 40 h 80"/>
                <a:gd name="T6" fmla="*/ 40 w 80"/>
                <a:gd name="T7" fmla="*/ 8 h 80"/>
                <a:gd name="T8" fmla="*/ 8 w 80"/>
                <a:gd name="T9" fmla="*/ 40 h 80"/>
                <a:gd name="T10" fmla="*/ 0 w 80"/>
                <a:gd name="T11" fmla="*/ 40 h 80"/>
                <a:gd name="T12" fmla="*/ 40 w 80"/>
                <a:gd name="T13" fmla="*/ 0 h 80"/>
                <a:gd name="T14" fmla="*/ 80 w 80"/>
                <a:gd name="T15" fmla="*/ 40 h 80"/>
                <a:gd name="T16" fmla="*/ 40 w 80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40" y="72"/>
                    <a:pt x="40" y="72"/>
                    <a:pt x="40" y="72"/>
                  </a:cubicBezTo>
                  <a:cubicBezTo>
                    <a:pt x="58" y="72"/>
                    <a:pt x="72" y="58"/>
                    <a:pt x="72" y="40"/>
                  </a:cubicBezTo>
                  <a:cubicBezTo>
                    <a:pt x="72" y="22"/>
                    <a:pt x="58" y="8"/>
                    <a:pt x="40" y="8"/>
                  </a:cubicBezTo>
                  <a:cubicBezTo>
                    <a:pt x="22" y="8"/>
                    <a:pt x="8" y="22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62"/>
                    <a:pt x="62" y="80"/>
                    <a:pt x="4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67" name="Freeform 54"/>
            <p:cNvSpPr>
              <a:spLocks noEditPoints="1"/>
            </p:cNvSpPr>
            <p:nvPr/>
          </p:nvSpPr>
          <p:spPr bwMode="auto">
            <a:xfrm>
              <a:off x="11033125" y="3632200"/>
              <a:ext cx="88900" cy="87313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2" y="8"/>
                    <a:pt x="8" y="12"/>
                    <a:pt x="8" y="16"/>
                  </a:cubicBezTo>
                  <a:cubicBezTo>
                    <a:pt x="8" y="20"/>
                    <a:pt x="12" y="24"/>
                    <a:pt x="16" y="24"/>
                  </a:cubicBezTo>
                  <a:cubicBezTo>
                    <a:pt x="20" y="24"/>
                    <a:pt x="24" y="20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8444547" y="7485882"/>
            <a:ext cx="788622" cy="542400"/>
            <a:chOff x="9036050" y="6316663"/>
            <a:chExt cx="350838" cy="241300"/>
          </a:xfrm>
          <a:solidFill>
            <a:schemeClr val="bg2"/>
          </a:solidFill>
        </p:grpSpPr>
        <p:sp>
          <p:nvSpPr>
            <p:cNvPr id="169" name="Freeform 55"/>
            <p:cNvSpPr>
              <a:spLocks noEditPoints="1"/>
            </p:cNvSpPr>
            <p:nvPr/>
          </p:nvSpPr>
          <p:spPr bwMode="auto">
            <a:xfrm>
              <a:off x="9036050" y="6316663"/>
              <a:ext cx="65088" cy="6667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8 h 24"/>
                <a:gd name="T12" fmla="*/ 8 w 24"/>
                <a:gd name="T13" fmla="*/ 12 h 24"/>
                <a:gd name="T14" fmla="*/ 12 w 24"/>
                <a:gd name="T15" fmla="*/ 16 h 24"/>
                <a:gd name="T16" fmla="*/ 16 w 24"/>
                <a:gd name="T17" fmla="*/ 12 h 24"/>
                <a:gd name="T18" fmla="*/ 12 w 24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14"/>
                    <a:pt x="10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10"/>
                    <a:pt x="14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0" name="Freeform 56"/>
            <p:cNvSpPr>
              <a:spLocks noEditPoints="1"/>
            </p:cNvSpPr>
            <p:nvPr/>
          </p:nvSpPr>
          <p:spPr bwMode="auto">
            <a:xfrm>
              <a:off x="9036050" y="6403975"/>
              <a:ext cx="65088" cy="6667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8 h 24"/>
                <a:gd name="T12" fmla="*/ 8 w 24"/>
                <a:gd name="T13" fmla="*/ 12 h 24"/>
                <a:gd name="T14" fmla="*/ 12 w 24"/>
                <a:gd name="T15" fmla="*/ 16 h 24"/>
                <a:gd name="T16" fmla="*/ 16 w 24"/>
                <a:gd name="T17" fmla="*/ 12 h 24"/>
                <a:gd name="T18" fmla="*/ 12 w 24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14"/>
                    <a:pt x="10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10"/>
                    <a:pt x="14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1" name="Freeform 57"/>
            <p:cNvSpPr>
              <a:spLocks noEditPoints="1"/>
            </p:cNvSpPr>
            <p:nvPr/>
          </p:nvSpPr>
          <p:spPr bwMode="auto">
            <a:xfrm>
              <a:off x="9036050" y="6492875"/>
              <a:ext cx="65088" cy="65088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8 h 24"/>
                <a:gd name="T12" fmla="*/ 8 w 24"/>
                <a:gd name="T13" fmla="*/ 12 h 24"/>
                <a:gd name="T14" fmla="*/ 12 w 24"/>
                <a:gd name="T15" fmla="*/ 16 h 24"/>
                <a:gd name="T16" fmla="*/ 16 w 24"/>
                <a:gd name="T17" fmla="*/ 12 h 24"/>
                <a:gd name="T18" fmla="*/ 12 w 24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14"/>
                    <a:pt x="10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10"/>
                    <a:pt x="14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2" name="Freeform 58"/>
            <p:cNvSpPr>
              <a:spLocks/>
            </p:cNvSpPr>
            <p:nvPr/>
          </p:nvSpPr>
          <p:spPr bwMode="auto">
            <a:xfrm>
              <a:off x="9123363" y="6316663"/>
              <a:ext cx="263525" cy="66675"/>
            </a:xfrm>
            <a:custGeom>
              <a:avLst/>
              <a:gdLst>
                <a:gd name="T0" fmla="*/ 166 w 166"/>
                <a:gd name="T1" fmla="*/ 42 h 42"/>
                <a:gd name="T2" fmla="*/ 0 w 166"/>
                <a:gd name="T3" fmla="*/ 42 h 42"/>
                <a:gd name="T4" fmla="*/ 0 w 166"/>
                <a:gd name="T5" fmla="*/ 28 h 42"/>
                <a:gd name="T6" fmla="*/ 152 w 166"/>
                <a:gd name="T7" fmla="*/ 28 h 42"/>
                <a:gd name="T8" fmla="*/ 152 w 166"/>
                <a:gd name="T9" fmla="*/ 14 h 42"/>
                <a:gd name="T10" fmla="*/ 0 w 166"/>
                <a:gd name="T11" fmla="*/ 14 h 42"/>
                <a:gd name="T12" fmla="*/ 0 w 166"/>
                <a:gd name="T13" fmla="*/ 0 h 42"/>
                <a:gd name="T14" fmla="*/ 166 w 166"/>
                <a:gd name="T15" fmla="*/ 0 h 42"/>
                <a:gd name="T16" fmla="*/ 166 w 166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42">
                  <a:moveTo>
                    <a:pt x="166" y="42"/>
                  </a:moveTo>
                  <a:lnTo>
                    <a:pt x="0" y="42"/>
                  </a:lnTo>
                  <a:lnTo>
                    <a:pt x="0" y="28"/>
                  </a:lnTo>
                  <a:lnTo>
                    <a:pt x="152" y="28"/>
                  </a:lnTo>
                  <a:lnTo>
                    <a:pt x="15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3" name="Freeform 59"/>
            <p:cNvSpPr>
              <a:spLocks/>
            </p:cNvSpPr>
            <p:nvPr/>
          </p:nvSpPr>
          <p:spPr bwMode="auto">
            <a:xfrm>
              <a:off x="9123363" y="6403975"/>
              <a:ext cx="263525" cy="66675"/>
            </a:xfrm>
            <a:custGeom>
              <a:avLst/>
              <a:gdLst>
                <a:gd name="T0" fmla="*/ 166 w 166"/>
                <a:gd name="T1" fmla="*/ 42 h 42"/>
                <a:gd name="T2" fmla="*/ 0 w 166"/>
                <a:gd name="T3" fmla="*/ 42 h 42"/>
                <a:gd name="T4" fmla="*/ 0 w 166"/>
                <a:gd name="T5" fmla="*/ 28 h 42"/>
                <a:gd name="T6" fmla="*/ 152 w 166"/>
                <a:gd name="T7" fmla="*/ 28 h 42"/>
                <a:gd name="T8" fmla="*/ 152 w 166"/>
                <a:gd name="T9" fmla="*/ 14 h 42"/>
                <a:gd name="T10" fmla="*/ 0 w 166"/>
                <a:gd name="T11" fmla="*/ 14 h 42"/>
                <a:gd name="T12" fmla="*/ 0 w 166"/>
                <a:gd name="T13" fmla="*/ 0 h 42"/>
                <a:gd name="T14" fmla="*/ 166 w 166"/>
                <a:gd name="T15" fmla="*/ 0 h 42"/>
                <a:gd name="T16" fmla="*/ 166 w 166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42">
                  <a:moveTo>
                    <a:pt x="166" y="42"/>
                  </a:moveTo>
                  <a:lnTo>
                    <a:pt x="0" y="42"/>
                  </a:lnTo>
                  <a:lnTo>
                    <a:pt x="0" y="28"/>
                  </a:lnTo>
                  <a:lnTo>
                    <a:pt x="152" y="28"/>
                  </a:lnTo>
                  <a:lnTo>
                    <a:pt x="15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4" name="Freeform 60"/>
            <p:cNvSpPr>
              <a:spLocks/>
            </p:cNvSpPr>
            <p:nvPr/>
          </p:nvSpPr>
          <p:spPr bwMode="auto">
            <a:xfrm>
              <a:off x="9123363" y="6492875"/>
              <a:ext cx="263525" cy="65088"/>
            </a:xfrm>
            <a:custGeom>
              <a:avLst/>
              <a:gdLst>
                <a:gd name="T0" fmla="*/ 166 w 166"/>
                <a:gd name="T1" fmla="*/ 41 h 41"/>
                <a:gd name="T2" fmla="*/ 0 w 166"/>
                <a:gd name="T3" fmla="*/ 41 h 41"/>
                <a:gd name="T4" fmla="*/ 0 w 166"/>
                <a:gd name="T5" fmla="*/ 27 h 41"/>
                <a:gd name="T6" fmla="*/ 152 w 166"/>
                <a:gd name="T7" fmla="*/ 27 h 41"/>
                <a:gd name="T8" fmla="*/ 152 w 166"/>
                <a:gd name="T9" fmla="*/ 13 h 41"/>
                <a:gd name="T10" fmla="*/ 0 w 166"/>
                <a:gd name="T11" fmla="*/ 13 h 41"/>
                <a:gd name="T12" fmla="*/ 0 w 166"/>
                <a:gd name="T13" fmla="*/ 0 h 41"/>
                <a:gd name="T14" fmla="*/ 166 w 166"/>
                <a:gd name="T15" fmla="*/ 0 h 41"/>
                <a:gd name="T16" fmla="*/ 166 w 166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41">
                  <a:moveTo>
                    <a:pt x="166" y="41"/>
                  </a:moveTo>
                  <a:lnTo>
                    <a:pt x="0" y="41"/>
                  </a:lnTo>
                  <a:lnTo>
                    <a:pt x="0" y="27"/>
                  </a:lnTo>
                  <a:lnTo>
                    <a:pt x="152" y="27"/>
                  </a:lnTo>
                  <a:lnTo>
                    <a:pt x="152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13460771" y="10222787"/>
            <a:ext cx="788622" cy="788622"/>
            <a:chOff x="11736388" y="4464050"/>
            <a:chExt cx="350838" cy="350838"/>
          </a:xfrm>
          <a:solidFill>
            <a:schemeClr val="bg2"/>
          </a:solidFill>
        </p:grpSpPr>
        <p:sp>
          <p:nvSpPr>
            <p:cNvPr id="176" name="Rectangle 61"/>
            <p:cNvSpPr>
              <a:spLocks noChangeArrowheads="1"/>
            </p:cNvSpPr>
            <p:nvPr/>
          </p:nvSpPr>
          <p:spPr bwMode="auto">
            <a:xfrm>
              <a:off x="11901488" y="4508500"/>
              <a:ext cx="2222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7" name="Rectangle 62"/>
            <p:cNvSpPr>
              <a:spLocks noChangeArrowheads="1"/>
            </p:cNvSpPr>
            <p:nvPr/>
          </p:nvSpPr>
          <p:spPr bwMode="auto">
            <a:xfrm>
              <a:off x="11999913" y="4629150"/>
              <a:ext cx="4445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8" name="Rectangle 63"/>
            <p:cNvSpPr>
              <a:spLocks noChangeArrowheads="1"/>
            </p:cNvSpPr>
            <p:nvPr/>
          </p:nvSpPr>
          <p:spPr bwMode="auto">
            <a:xfrm>
              <a:off x="11780838" y="4629150"/>
              <a:ext cx="4286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9" name="Freeform 64"/>
            <p:cNvSpPr>
              <a:spLocks/>
            </p:cNvSpPr>
            <p:nvPr/>
          </p:nvSpPr>
          <p:spPr bwMode="auto">
            <a:xfrm>
              <a:off x="11811000" y="4538663"/>
              <a:ext cx="46038" cy="46038"/>
            </a:xfrm>
            <a:custGeom>
              <a:avLst/>
              <a:gdLst>
                <a:gd name="T0" fmla="*/ 20 w 29"/>
                <a:gd name="T1" fmla="*/ 29 h 29"/>
                <a:gd name="T2" fmla="*/ 0 w 29"/>
                <a:gd name="T3" fmla="*/ 10 h 29"/>
                <a:gd name="T4" fmla="*/ 10 w 29"/>
                <a:gd name="T5" fmla="*/ 0 h 29"/>
                <a:gd name="T6" fmla="*/ 29 w 29"/>
                <a:gd name="T7" fmla="*/ 21 h 29"/>
                <a:gd name="T8" fmla="*/ 20 w 29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0" y="29"/>
                  </a:moveTo>
                  <a:lnTo>
                    <a:pt x="0" y="10"/>
                  </a:lnTo>
                  <a:lnTo>
                    <a:pt x="10" y="0"/>
                  </a:lnTo>
                  <a:lnTo>
                    <a:pt x="29" y="21"/>
                  </a:lnTo>
                  <a:lnTo>
                    <a:pt x="2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0" name="Freeform 65"/>
            <p:cNvSpPr>
              <a:spLocks/>
            </p:cNvSpPr>
            <p:nvPr/>
          </p:nvSpPr>
          <p:spPr bwMode="auto">
            <a:xfrm>
              <a:off x="11901488" y="4538663"/>
              <a:ext cx="112713" cy="112713"/>
            </a:xfrm>
            <a:custGeom>
              <a:avLst/>
              <a:gdLst>
                <a:gd name="T0" fmla="*/ 8 w 71"/>
                <a:gd name="T1" fmla="*/ 71 h 71"/>
                <a:gd name="T2" fmla="*/ 0 w 71"/>
                <a:gd name="T3" fmla="*/ 60 h 71"/>
                <a:gd name="T4" fmla="*/ 60 w 71"/>
                <a:gd name="T5" fmla="*/ 0 h 71"/>
                <a:gd name="T6" fmla="*/ 71 w 71"/>
                <a:gd name="T7" fmla="*/ 10 h 71"/>
                <a:gd name="T8" fmla="*/ 8 w 71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71">
                  <a:moveTo>
                    <a:pt x="8" y="71"/>
                  </a:moveTo>
                  <a:lnTo>
                    <a:pt x="0" y="60"/>
                  </a:lnTo>
                  <a:lnTo>
                    <a:pt x="60" y="0"/>
                  </a:lnTo>
                  <a:lnTo>
                    <a:pt x="71" y="10"/>
                  </a:lnTo>
                  <a:lnTo>
                    <a:pt x="8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1" name="Freeform 66"/>
            <p:cNvSpPr>
              <a:spLocks/>
            </p:cNvSpPr>
            <p:nvPr/>
          </p:nvSpPr>
          <p:spPr bwMode="auto">
            <a:xfrm>
              <a:off x="11736388" y="4464050"/>
              <a:ext cx="350838" cy="35083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05 w 128"/>
                <a:gd name="T7" fmla="*/ 15 h 128"/>
                <a:gd name="T8" fmla="*/ 100 w 128"/>
                <a:gd name="T9" fmla="*/ 21 h 128"/>
                <a:gd name="T10" fmla="*/ 64 w 128"/>
                <a:gd name="T11" fmla="*/ 8 h 128"/>
                <a:gd name="T12" fmla="*/ 8 w 128"/>
                <a:gd name="T13" fmla="*/ 64 h 128"/>
                <a:gd name="T14" fmla="*/ 64 w 128"/>
                <a:gd name="T15" fmla="*/ 120 h 128"/>
                <a:gd name="T16" fmla="*/ 120 w 128"/>
                <a:gd name="T17" fmla="*/ 64 h 128"/>
                <a:gd name="T18" fmla="*/ 107 w 128"/>
                <a:gd name="T19" fmla="*/ 28 h 128"/>
                <a:gd name="T20" fmla="*/ 113 w 128"/>
                <a:gd name="T21" fmla="*/ 23 h 128"/>
                <a:gd name="T22" fmla="*/ 128 w 128"/>
                <a:gd name="T23" fmla="*/ 64 h 128"/>
                <a:gd name="T24" fmla="*/ 64 w 128"/>
                <a:gd name="T2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99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79" y="0"/>
                    <a:pt x="94" y="5"/>
                    <a:pt x="105" y="15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90" y="13"/>
                    <a:pt x="77" y="8"/>
                    <a:pt x="64" y="8"/>
                  </a:cubicBez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4"/>
                  </a:cubicBezTo>
                  <a:cubicBezTo>
                    <a:pt x="120" y="51"/>
                    <a:pt x="115" y="38"/>
                    <a:pt x="107" y="28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23" y="34"/>
                    <a:pt x="128" y="49"/>
                    <a:pt x="128" y="64"/>
                  </a:cubicBezTo>
                  <a:cubicBezTo>
                    <a:pt x="128" y="99"/>
                    <a:pt x="99" y="128"/>
                    <a:pt x="64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2" name="Freeform 67"/>
            <p:cNvSpPr>
              <a:spLocks/>
            </p:cNvSpPr>
            <p:nvPr/>
          </p:nvSpPr>
          <p:spPr bwMode="auto">
            <a:xfrm>
              <a:off x="11837988" y="4694238"/>
              <a:ext cx="147638" cy="52388"/>
            </a:xfrm>
            <a:custGeom>
              <a:avLst/>
              <a:gdLst>
                <a:gd name="T0" fmla="*/ 7 w 54"/>
                <a:gd name="T1" fmla="*/ 19 h 19"/>
                <a:gd name="T2" fmla="*/ 0 w 54"/>
                <a:gd name="T3" fmla="*/ 15 h 19"/>
                <a:gd name="T4" fmla="*/ 27 w 54"/>
                <a:gd name="T5" fmla="*/ 0 h 19"/>
                <a:gd name="T6" fmla="*/ 54 w 54"/>
                <a:gd name="T7" fmla="*/ 15 h 19"/>
                <a:gd name="T8" fmla="*/ 47 w 54"/>
                <a:gd name="T9" fmla="*/ 19 h 19"/>
                <a:gd name="T10" fmla="*/ 27 w 54"/>
                <a:gd name="T11" fmla="*/ 8 h 19"/>
                <a:gd name="T12" fmla="*/ 7 w 54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9">
                  <a:moveTo>
                    <a:pt x="7" y="19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6" y="6"/>
                    <a:pt x="16" y="0"/>
                    <a:pt x="27" y="0"/>
                  </a:cubicBezTo>
                  <a:cubicBezTo>
                    <a:pt x="38" y="0"/>
                    <a:pt x="48" y="6"/>
                    <a:pt x="54" y="15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3" y="12"/>
                    <a:pt x="35" y="8"/>
                    <a:pt x="27" y="8"/>
                  </a:cubicBezTo>
                  <a:cubicBezTo>
                    <a:pt x="19" y="8"/>
                    <a:pt x="11" y="12"/>
                    <a:pt x="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4800" kern="1200">
                <a:solidFill>
                  <a:srgbClr val="3F3F3F"/>
                </a:solidFill>
                <a:latin typeface="Open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687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29"/>
          <p:cNvCxnSpPr>
            <a:cxnSpLocks/>
          </p:cNvCxnSpPr>
          <p:nvPr/>
        </p:nvCxnSpPr>
        <p:spPr>
          <a:xfrm>
            <a:off x="13935006" y="6087120"/>
            <a:ext cx="0" cy="7628880"/>
          </a:xfrm>
          <a:prstGeom prst="line">
            <a:avLst/>
          </a:prstGeom>
          <a:ln w="381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12372906" y="6087120"/>
            <a:ext cx="0" cy="7628880"/>
          </a:xfrm>
          <a:prstGeom prst="line">
            <a:avLst/>
          </a:prstGeom>
          <a:ln w="381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3549664" y="0"/>
            <a:ext cx="0" cy="7628880"/>
          </a:xfrm>
          <a:prstGeom prst="line">
            <a:avLst/>
          </a:prstGeom>
          <a:ln w="381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1987564" y="0"/>
            <a:ext cx="0" cy="7628880"/>
          </a:xfrm>
          <a:prstGeom prst="line">
            <a:avLst/>
          </a:prstGeom>
          <a:ln w="381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219200" y="5826557"/>
            <a:ext cx="3088564" cy="3114242"/>
            <a:chOff x="5495926" y="1852613"/>
            <a:chExt cx="1336675" cy="1347788"/>
          </a:xfrm>
          <a:solidFill>
            <a:schemeClr val="accent1"/>
          </a:solidFill>
        </p:grpSpPr>
        <p:sp>
          <p:nvSpPr>
            <p:cNvPr id="7" name="Freeform 12"/>
            <p:cNvSpPr>
              <a:spLocks/>
            </p:cNvSpPr>
            <p:nvPr/>
          </p:nvSpPr>
          <p:spPr bwMode="auto">
            <a:xfrm>
              <a:off x="5724526" y="2089150"/>
              <a:ext cx="877888" cy="874713"/>
            </a:xfrm>
            <a:custGeom>
              <a:avLst/>
              <a:gdLst>
                <a:gd name="T0" fmla="*/ 165 w 428"/>
                <a:gd name="T1" fmla="*/ 27 h 428"/>
                <a:gd name="T2" fmla="*/ 27 w 428"/>
                <a:gd name="T3" fmla="*/ 262 h 428"/>
                <a:gd name="T4" fmla="*/ 263 w 428"/>
                <a:gd name="T5" fmla="*/ 401 h 428"/>
                <a:gd name="T6" fmla="*/ 401 w 428"/>
                <a:gd name="T7" fmla="*/ 165 h 428"/>
                <a:gd name="T8" fmla="*/ 165 w 428"/>
                <a:gd name="T9" fmla="*/ 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8" h="428">
                  <a:moveTo>
                    <a:pt x="165" y="27"/>
                  </a:moveTo>
                  <a:cubicBezTo>
                    <a:pt x="62" y="53"/>
                    <a:pt x="0" y="159"/>
                    <a:pt x="27" y="262"/>
                  </a:cubicBezTo>
                  <a:cubicBezTo>
                    <a:pt x="54" y="366"/>
                    <a:pt x="159" y="428"/>
                    <a:pt x="263" y="401"/>
                  </a:cubicBezTo>
                  <a:cubicBezTo>
                    <a:pt x="366" y="374"/>
                    <a:pt x="428" y="269"/>
                    <a:pt x="401" y="165"/>
                  </a:cubicBezTo>
                  <a:cubicBezTo>
                    <a:pt x="374" y="62"/>
                    <a:pt x="269" y="0"/>
                    <a:pt x="16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" name="Freeform 13"/>
            <p:cNvSpPr>
              <a:spLocks noEditPoints="1"/>
            </p:cNvSpPr>
            <p:nvPr/>
          </p:nvSpPr>
          <p:spPr bwMode="auto">
            <a:xfrm>
              <a:off x="5495926" y="1852613"/>
              <a:ext cx="1336675" cy="1347788"/>
            </a:xfrm>
            <a:custGeom>
              <a:avLst/>
              <a:gdLst>
                <a:gd name="T0" fmla="*/ 287 w 653"/>
                <a:gd name="T1" fmla="*/ 65 h 658"/>
                <a:gd name="T2" fmla="*/ 256 w 653"/>
                <a:gd name="T3" fmla="*/ 6 h 658"/>
                <a:gd name="T4" fmla="*/ 201 w 653"/>
                <a:gd name="T5" fmla="*/ 93 h 658"/>
                <a:gd name="T6" fmla="*/ 164 w 653"/>
                <a:gd name="T7" fmla="*/ 115 h 658"/>
                <a:gd name="T8" fmla="*/ 64 w 653"/>
                <a:gd name="T9" fmla="*/ 129 h 658"/>
                <a:gd name="T10" fmla="*/ 82 w 653"/>
                <a:gd name="T11" fmla="*/ 220 h 658"/>
                <a:gd name="T12" fmla="*/ 17 w 653"/>
                <a:gd name="T13" fmla="*/ 215 h 658"/>
                <a:gd name="T14" fmla="*/ 60 w 653"/>
                <a:gd name="T15" fmla="*/ 308 h 658"/>
                <a:gd name="T16" fmla="*/ 59 w 653"/>
                <a:gd name="T17" fmla="*/ 352 h 658"/>
                <a:gd name="T18" fmla="*/ 19 w 653"/>
                <a:gd name="T19" fmla="*/ 442 h 658"/>
                <a:gd name="T20" fmla="*/ 112 w 653"/>
                <a:gd name="T21" fmla="*/ 487 h 658"/>
                <a:gd name="T22" fmla="*/ 75 w 653"/>
                <a:gd name="T23" fmla="*/ 542 h 658"/>
                <a:gd name="T24" fmla="*/ 177 w 653"/>
                <a:gd name="T25" fmla="*/ 550 h 658"/>
                <a:gd name="T26" fmla="*/ 234 w 653"/>
                <a:gd name="T27" fmla="*/ 581 h 658"/>
                <a:gd name="T28" fmla="*/ 299 w 653"/>
                <a:gd name="T29" fmla="*/ 658 h 658"/>
                <a:gd name="T30" fmla="*/ 324 w 653"/>
                <a:gd name="T31" fmla="*/ 595 h 658"/>
                <a:gd name="T32" fmla="*/ 367 w 653"/>
                <a:gd name="T33" fmla="*/ 594 h 658"/>
                <a:gd name="T34" fmla="*/ 461 w 653"/>
                <a:gd name="T35" fmla="*/ 630 h 658"/>
                <a:gd name="T36" fmla="*/ 452 w 653"/>
                <a:gd name="T37" fmla="*/ 564 h 658"/>
                <a:gd name="T38" fmla="*/ 490 w 653"/>
                <a:gd name="T39" fmla="*/ 542 h 658"/>
                <a:gd name="T40" fmla="*/ 589 w 653"/>
                <a:gd name="T41" fmla="*/ 529 h 658"/>
                <a:gd name="T42" fmla="*/ 549 w 653"/>
                <a:gd name="T43" fmla="*/ 474 h 658"/>
                <a:gd name="T44" fmla="*/ 572 w 653"/>
                <a:gd name="T45" fmla="*/ 438 h 658"/>
                <a:gd name="T46" fmla="*/ 653 w 653"/>
                <a:gd name="T47" fmla="*/ 378 h 658"/>
                <a:gd name="T48" fmla="*/ 591 w 653"/>
                <a:gd name="T49" fmla="*/ 345 h 658"/>
                <a:gd name="T50" fmla="*/ 592 w 653"/>
                <a:gd name="T51" fmla="*/ 297 h 658"/>
                <a:gd name="T52" fmla="*/ 629 w 653"/>
                <a:gd name="T53" fmla="*/ 217 h 658"/>
                <a:gd name="T54" fmla="*/ 567 w 653"/>
                <a:gd name="T55" fmla="*/ 220 h 658"/>
                <a:gd name="T56" fmla="*/ 542 w 653"/>
                <a:gd name="T57" fmla="*/ 170 h 658"/>
                <a:gd name="T58" fmla="*/ 531 w 653"/>
                <a:gd name="T59" fmla="*/ 70 h 658"/>
                <a:gd name="T60" fmla="*/ 476 w 653"/>
                <a:gd name="T61" fmla="*/ 108 h 658"/>
                <a:gd name="T62" fmla="*/ 419 w 653"/>
                <a:gd name="T63" fmla="*/ 77 h 658"/>
                <a:gd name="T64" fmla="*/ 354 w 653"/>
                <a:gd name="T65" fmla="*/ 0 h 658"/>
                <a:gd name="T66" fmla="*/ 540 w 653"/>
                <a:gd name="T67" fmla="*/ 273 h 658"/>
                <a:gd name="T68" fmla="*/ 112 w 653"/>
                <a:gd name="T69" fmla="*/ 384 h 658"/>
                <a:gd name="T70" fmla="*/ 540 w 653"/>
                <a:gd name="T71" fmla="*/ 273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3" h="658">
                  <a:moveTo>
                    <a:pt x="330" y="62"/>
                  </a:moveTo>
                  <a:cubicBezTo>
                    <a:pt x="316" y="62"/>
                    <a:pt x="301" y="63"/>
                    <a:pt x="287" y="65"/>
                  </a:cubicBezTo>
                  <a:cubicBezTo>
                    <a:pt x="287" y="63"/>
                    <a:pt x="287" y="63"/>
                    <a:pt x="287" y="63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193" y="27"/>
                    <a:pt x="193" y="27"/>
                    <a:pt x="193" y="27"/>
                  </a:cubicBezTo>
                  <a:cubicBezTo>
                    <a:pt x="201" y="93"/>
                    <a:pt x="201" y="93"/>
                    <a:pt x="201" y="93"/>
                  </a:cubicBezTo>
                  <a:cubicBezTo>
                    <a:pt x="188" y="100"/>
                    <a:pt x="176" y="108"/>
                    <a:pt x="165" y="116"/>
                  </a:cubicBezTo>
                  <a:cubicBezTo>
                    <a:pt x="164" y="115"/>
                    <a:pt x="164" y="115"/>
                    <a:pt x="164" y="115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64" y="129"/>
                    <a:pt x="64" y="129"/>
                    <a:pt x="64" y="129"/>
                  </a:cubicBezTo>
                  <a:cubicBezTo>
                    <a:pt x="103" y="182"/>
                    <a:pt x="103" y="182"/>
                    <a:pt x="103" y="182"/>
                  </a:cubicBezTo>
                  <a:cubicBezTo>
                    <a:pt x="95" y="194"/>
                    <a:pt x="88" y="207"/>
                    <a:pt x="82" y="220"/>
                  </a:cubicBezTo>
                  <a:cubicBezTo>
                    <a:pt x="81" y="220"/>
                    <a:pt x="81" y="220"/>
                    <a:pt x="81" y="220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60" y="308"/>
                    <a:pt x="60" y="308"/>
                    <a:pt x="60" y="308"/>
                  </a:cubicBezTo>
                  <a:cubicBezTo>
                    <a:pt x="59" y="323"/>
                    <a:pt x="58" y="330"/>
                    <a:pt x="61" y="352"/>
                  </a:cubicBezTo>
                  <a:cubicBezTo>
                    <a:pt x="59" y="352"/>
                    <a:pt x="59" y="352"/>
                    <a:pt x="59" y="352"/>
                  </a:cubicBezTo>
                  <a:cubicBezTo>
                    <a:pt x="2" y="378"/>
                    <a:pt x="2" y="378"/>
                    <a:pt x="2" y="378"/>
                  </a:cubicBezTo>
                  <a:cubicBezTo>
                    <a:pt x="19" y="442"/>
                    <a:pt x="19" y="442"/>
                    <a:pt x="19" y="442"/>
                  </a:cubicBezTo>
                  <a:cubicBezTo>
                    <a:pt x="84" y="438"/>
                    <a:pt x="84" y="438"/>
                    <a:pt x="84" y="438"/>
                  </a:cubicBezTo>
                  <a:cubicBezTo>
                    <a:pt x="92" y="456"/>
                    <a:pt x="101" y="472"/>
                    <a:pt x="112" y="487"/>
                  </a:cubicBezTo>
                  <a:cubicBezTo>
                    <a:pt x="111" y="488"/>
                    <a:pt x="111" y="488"/>
                    <a:pt x="111" y="488"/>
                  </a:cubicBezTo>
                  <a:cubicBezTo>
                    <a:pt x="75" y="542"/>
                    <a:pt x="75" y="542"/>
                    <a:pt x="75" y="542"/>
                  </a:cubicBezTo>
                  <a:cubicBezTo>
                    <a:pt x="122" y="588"/>
                    <a:pt x="122" y="588"/>
                    <a:pt x="122" y="588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95" y="562"/>
                    <a:pt x="214" y="572"/>
                    <a:pt x="235" y="579"/>
                  </a:cubicBezTo>
                  <a:cubicBezTo>
                    <a:pt x="234" y="581"/>
                    <a:pt x="234" y="581"/>
                    <a:pt x="234" y="581"/>
                  </a:cubicBezTo>
                  <a:cubicBezTo>
                    <a:pt x="234" y="645"/>
                    <a:pt x="234" y="645"/>
                    <a:pt x="234" y="645"/>
                  </a:cubicBezTo>
                  <a:cubicBezTo>
                    <a:pt x="299" y="658"/>
                    <a:pt x="299" y="658"/>
                    <a:pt x="299" y="658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38" y="595"/>
                    <a:pt x="352" y="595"/>
                    <a:pt x="366" y="593"/>
                  </a:cubicBezTo>
                  <a:cubicBezTo>
                    <a:pt x="367" y="594"/>
                    <a:pt x="367" y="594"/>
                    <a:pt x="367" y="594"/>
                  </a:cubicBezTo>
                  <a:cubicBezTo>
                    <a:pt x="397" y="651"/>
                    <a:pt x="397" y="651"/>
                    <a:pt x="397" y="651"/>
                  </a:cubicBezTo>
                  <a:cubicBezTo>
                    <a:pt x="461" y="630"/>
                    <a:pt x="461" y="630"/>
                    <a:pt x="461" y="630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65" y="557"/>
                    <a:pt x="477" y="549"/>
                    <a:pt x="488" y="541"/>
                  </a:cubicBezTo>
                  <a:cubicBezTo>
                    <a:pt x="490" y="542"/>
                    <a:pt x="490" y="542"/>
                    <a:pt x="490" y="542"/>
                  </a:cubicBezTo>
                  <a:cubicBezTo>
                    <a:pt x="544" y="577"/>
                    <a:pt x="544" y="577"/>
                    <a:pt x="544" y="577"/>
                  </a:cubicBezTo>
                  <a:cubicBezTo>
                    <a:pt x="589" y="529"/>
                    <a:pt x="589" y="529"/>
                    <a:pt x="589" y="529"/>
                  </a:cubicBezTo>
                  <a:cubicBezTo>
                    <a:pt x="550" y="475"/>
                    <a:pt x="550" y="475"/>
                    <a:pt x="550" y="475"/>
                  </a:cubicBezTo>
                  <a:cubicBezTo>
                    <a:pt x="549" y="474"/>
                    <a:pt x="549" y="474"/>
                    <a:pt x="549" y="474"/>
                  </a:cubicBezTo>
                  <a:cubicBezTo>
                    <a:pt x="557" y="462"/>
                    <a:pt x="564" y="450"/>
                    <a:pt x="570" y="437"/>
                  </a:cubicBezTo>
                  <a:cubicBezTo>
                    <a:pt x="572" y="438"/>
                    <a:pt x="572" y="438"/>
                    <a:pt x="572" y="438"/>
                  </a:cubicBezTo>
                  <a:cubicBezTo>
                    <a:pt x="637" y="442"/>
                    <a:pt x="637" y="442"/>
                    <a:pt x="637" y="442"/>
                  </a:cubicBezTo>
                  <a:cubicBezTo>
                    <a:pt x="653" y="378"/>
                    <a:pt x="653" y="378"/>
                    <a:pt x="653" y="378"/>
                  </a:cubicBezTo>
                  <a:cubicBezTo>
                    <a:pt x="593" y="349"/>
                    <a:pt x="593" y="349"/>
                    <a:pt x="593" y="349"/>
                  </a:cubicBezTo>
                  <a:cubicBezTo>
                    <a:pt x="591" y="345"/>
                    <a:pt x="591" y="345"/>
                    <a:pt x="591" y="345"/>
                  </a:cubicBezTo>
                  <a:cubicBezTo>
                    <a:pt x="592" y="331"/>
                    <a:pt x="592" y="319"/>
                    <a:pt x="589" y="298"/>
                  </a:cubicBezTo>
                  <a:cubicBezTo>
                    <a:pt x="592" y="297"/>
                    <a:pt x="592" y="297"/>
                    <a:pt x="592" y="297"/>
                  </a:cubicBezTo>
                  <a:cubicBezTo>
                    <a:pt x="645" y="281"/>
                    <a:pt x="645" y="281"/>
                    <a:pt x="645" y="281"/>
                  </a:cubicBezTo>
                  <a:cubicBezTo>
                    <a:pt x="629" y="217"/>
                    <a:pt x="629" y="217"/>
                    <a:pt x="629" y="217"/>
                  </a:cubicBezTo>
                  <a:cubicBezTo>
                    <a:pt x="566" y="220"/>
                    <a:pt x="566" y="220"/>
                    <a:pt x="566" y="220"/>
                  </a:cubicBezTo>
                  <a:cubicBezTo>
                    <a:pt x="567" y="220"/>
                    <a:pt x="567" y="220"/>
                    <a:pt x="567" y="220"/>
                  </a:cubicBezTo>
                  <a:cubicBezTo>
                    <a:pt x="559" y="202"/>
                    <a:pt x="551" y="186"/>
                    <a:pt x="540" y="171"/>
                  </a:cubicBezTo>
                  <a:cubicBezTo>
                    <a:pt x="542" y="170"/>
                    <a:pt x="542" y="170"/>
                    <a:pt x="542" y="170"/>
                  </a:cubicBezTo>
                  <a:cubicBezTo>
                    <a:pt x="579" y="116"/>
                    <a:pt x="579" y="116"/>
                    <a:pt x="579" y="116"/>
                  </a:cubicBezTo>
                  <a:cubicBezTo>
                    <a:pt x="531" y="70"/>
                    <a:pt x="531" y="70"/>
                    <a:pt x="531" y="70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58" y="96"/>
                    <a:pt x="439" y="86"/>
                    <a:pt x="419" y="79"/>
                  </a:cubicBezTo>
                  <a:cubicBezTo>
                    <a:pt x="419" y="77"/>
                    <a:pt x="419" y="77"/>
                    <a:pt x="419" y="77"/>
                  </a:cubicBezTo>
                  <a:cubicBezTo>
                    <a:pt x="420" y="12"/>
                    <a:pt x="420" y="12"/>
                    <a:pt x="420" y="12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30" y="62"/>
                    <a:pt x="330" y="62"/>
                    <a:pt x="330" y="62"/>
                  </a:cubicBezTo>
                  <a:close/>
                  <a:moveTo>
                    <a:pt x="540" y="273"/>
                  </a:moveTo>
                  <a:cubicBezTo>
                    <a:pt x="571" y="391"/>
                    <a:pt x="500" y="512"/>
                    <a:pt x="382" y="543"/>
                  </a:cubicBezTo>
                  <a:cubicBezTo>
                    <a:pt x="263" y="574"/>
                    <a:pt x="143" y="503"/>
                    <a:pt x="112" y="384"/>
                  </a:cubicBezTo>
                  <a:cubicBezTo>
                    <a:pt x="81" y="266"/>
                    <a:pt x="152" y="145"/>
                    <a:pt x="270" y="115"/>
                  </a:cubicBezTo>
                  <a:cubicBezTo>
                    <a:pt x="389" y="84"/>
                    <a:pt x="509" y="155"/>
                    <a:pt x="540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5" name="Freeform 5"/>
          <p:cNvSpPr>
            <a:spLocks noEditPoints="1"/>
          </p:cNvSpPr>
          <p:nvPr/>
        </p:nvSpPr>
        <p:spPr bwMode="auto">
          <a:xfrm rot="20856645">
            <a:off x="3999598" y="7663077"/>
            <a:ext cx="1925412" cy="1939194"/>
          </a:xfrm>
          <a:custGeom>
            <a:avLst/>
            <a:gdLst>
              <a:gd name="T0" fmla="*/ 474 w 486"/>
              <a:gd name="T1" fmla="*/ 329 h 489"/>
              <a:gd name="T2" fmla="*/ 441 w 486"/>
              <a:gd name="T3" fmla="*/ 260 h 489"/>
              <a:gd name="T4" fmla="*/ 438 w 486"/>
              <a:gd name="T5" fmla="*/ 222 h 489"/>
              <a:gd name="T6" fmla="*/ 480 w 486"/>
              <a:gd name="T7" fmla="*/ 209 h 489"/>
              <a:gd name="T8" fmla="*/ 422 w 486"/>
              <a:gd name="T9" fmla="*/ 164 h 489"/>
              <a:gd name="T10" fmla="*/ 421 w 486"/>
              <a:gd name="T11" fmla="*/ 164 h 489"/>
              <a:gd name="T12" fmla="*/ 402 w 486"/>
              <a:gd name="T13" fmla="*/ 127 h 489"/>
              <a:gd name="T14" fmla="*/ 431 w 486"/>
              <a:gd name="T15" fmla="*/ 86 h 489"/>
              <a:gd name="T16" fmla="*/ 354 w 486"/>
              <a:gd name="T17" fmla="*/ 80 h 489"/>
              <a:gd name="T18" fmla="*/ 312 w 486"/>
              <a:gd name="T19" fmla="*/ 57 h 489"/>
              <a:gd name="T20" fmla="*/ 263 w 486"/>
              <a:gd name="T21" fmla="*/ 0 h 489"/>
              <a:gd name="T22" fmla="*/ 213 w 486"/>
              <a:gd name="T23" fmla="*/ 48 h 489"/>
              <a:gd name="T24" fmla="*/ 190 w 486"/>
              <a:gd name="T25" fmla="*/ 4 h 489"/>
              <a:gd name="T26" fmla="*/ 149 w 486"/>
              <a:gd name="T27" fmla="*/ 69 h 489"/>
              <a:gd name="T28" fmla="*/ 122 w 486"/>
              <a:gd name="T29" fmla="*/ 86 h 489"/>
              <a:gd name="T30" fmla="*/ 48 w 486"/>
              <a:gd name="T31" fmla="*/ 96 h 489"/>
              <a:gd name="T32" fmla="*/ 61 w 486"/>
              <a:gd name="T33" fmla="*/ 164 h 489"/>
              <a:gd name="T34" fmla="*/ 13 w 486"/>
              <a:gd name="T35" fmla="*/ 160 h 489"/>
              <a:gd name="T36" fmla="*/ 45 w 486"/>
              <a:gd name="T37" fmla="*/ 229 h 489"/>
              <a:gd name="T38" fmla="*/ 44 w 486"/>
              <a:gd name="T39" fmla="*/ 262 h 489"/>
              <a:gd name="T40" fmla="*/ 14 w 486"/>
              <a:gd name="T41" fmla="*/ 329 h 489"/>
              <a:gd name="T42" fmla="*/ 83 w 486"/>
              <a:gd name="T43" fmla="*/ 362 h 489"/>
              <a:gd name="T44" fmla="*/ 56 w 486"/>
              <a:gd name="T45" fmla="*/ 403 h 489"/>
              <a:gd name="T46" fmla="*/ 132 w 486"/>
              <a:gd name="T47" fmla="*/ 409 h 489"/>
              <a:gd name="T48" fmla="*/ 174 w 486"/>
              <a:gd name="T49" fmla="*/ 432 h 489"/>
              <a:gd name="T50" fmla="*/ 222 w 486"/>
              <a:gd name="T51" fmla="*/ 489 h 489"/>
              <a:gd name="T52" fmla="*/ 272 w 486"/>
              <a:gd name="T53" fmla="*/ 441 h 489"/>
              <a:gd name="T54" fmla="*/ 295 w 486"/>
              <a:gd name="T55" fmla="*/ 484 h 489"/>
              <a:gd name="T56" fmla="*/ 336 w 486"/>
              <a:gd name="T57" fmla="*/ 420 h 489"/>
              <a:gd name="T58" fmla="*/ 365 w 486"/>
              <a:gd name="T59" fmla="*/ 403 h 489"/>
              <a:gd name="T60" fmla="*/ 438 w 486"/>
              <a:gd name="T61" fmla="*/ 394 h 489"/>
              <a:gd name="T62" fmla="*/ 408 w 486"/>
              <a:gd name="T63" fmla="*/ 353 h 489"/>
              <a:gd name="T64" fmla="*/ 426 w 486"/>
              <a:gd name="T65" fmla="*/ 326 h 489"/>
              <a:gd name="T66" fmla="*/ 274 w 486"/>
              <a:gd name="T67" fmla="*/ 365 h 489"/>
              <a:gd name="T68" fmla="*/ 122 w 486"/>
              <a:gd name="T69" fmla="*/ 276 h 489"/>
              <a:gd name="T70" fmla="*/ 211 w 486"/>
              <a:gd name="T71" fmla="*/ 124 h 489"/>
              <a:gd name="T72" fmla="*/ 363 w 486"/>
              <a:gd name="T73" fmla="*/ 213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6" h="489">
                <a:moveTo>
                  <a:pt x="426" y="326"/>
                </a:moveTo>
                <a:cubicBezTo>
                  <a:pt x="474" y="329"/>
                  <a:pt x="474" y="329"/>
                  <a:pt x="474" y="329"/>
                </a:cubicBezTo>
                <a:cubicBezTo>
                  <a:pt x="486" y="281"/>
                  <a:pt x="486" y="281"/>
                  <a:pt x="486" y="281"/>
                </a:cubicBezTo>
                <a:cubicBezTo>
                  <a:pt x="441" y="260"/>
                  <a:pt x="441" y="260"/>
                  <a:pt x="441" y="260"/>
                </a:cubicBezTo>
                <a:cubicBezTo>
                  <a:pt x="440" y="257"/>
                  <a:pt x="440" y="257"/>
                  <a:pt x="440" y="257"/>
                </a:cubicBezTo>
                <a:cubicBezTo>
                  <a:pt x="440" y="246"/>
                  <a:pt x="440" y="237"/>
                  <a:pt x="438" y="222"/>
                </a:cubicBezTo>
                <a:cubicBezTo>
                  <a:pt x="440" y="221"/>
                  <a:pt x="440" y="221"/>
                  <a:pt x="440" y="221"/>
                </a:cubicBezTo>
                <a:cubicBezTo>
                  <a:pt x="480" y="209"/>
                  <a:pt x="480" y="209"/>
                  <a:pt x="480" y="209"/>
                </a:cubicBezTo>
                <a:cubicBezTo>
                  <a:pt x="468" y="161"/>
                  <a:pt x="468" y="161"/>
                  <a:pt x="468" y="161"/>
                </a:cubicBezTo>
                <a:cubicBezTo>
                  <a:pt x="433" y="163"/>
                  <a:pt x="424" y="164"/>
                  <a:pt x="422" y="164"/>
                </a:cubicBezTo>
                <a:cubicBezTo>
                  <a:pt x="422" y="164"/>
                  <a:pt x="422" y="164"/>
                  <a:pt x="422" y="164"/>
                </a:cubicBezTo>
                <a:cubicBezTo>
                  <a:pt x="422" y="164"/>
                  <a:pt x="422" y="164"/>
                  <a:pt x="421" y="164"/>
                </a:cubicBezTo>
                <a:cubicBezTo>
                  <a:pt x="421" y="164"/>
                  <a:pt x="421" y="164"/>
                  <a:pt x="422" y="164"/>
                </a:cubicBezTo>
                <a:cubicBezTo>
                  <a:pt x="416" y="150"/>
                  <a:pt x="410" y="138"/>
                  <a:pt x="402" y="127"/>
                </a:cubicBezTo>
                <a:cubicBezTo>
                  <a:pt x="403" y="126"/>
                  <a:pt x="403" y="126"/>
                  <a:pt x="403" y="126"/>
                </a:cubicBezTo>
                <a:cubicBezTo>
                  <a:pt x="431" y="86"/>
                  <a:pt x="431" y="86"/>
                  <a:pt x="431" y="86"/>
                </a:cubicBezTo>
                <a:cubicBezTo>
                  <a:pt x="395" y="52"/>
                  <a:pt x="395" y="52"/>
                  <a:pt x="395" y="52"/>
                </a:cubicBezTo>
                <a:cubicBezTo>
                  <a:pt x="354" y="80"/>
                  <a:pt x="354" y="80"/>
                  <a:pt x="354" y="80"/>
                </a:cubicBezTo>
                <a:cubicBezTo>
                  <a:pt x="341" y="71"/>
                  <a:pt x="327" y="64"/>
                  <a:pt x="312" y="59"/>
                </a:cubicBezTo>
                <a:cubicBezTo>
                  <a:pt x="312" y="57"/>
                  <a:pt x="312" y="57"/>
                  <a:pt x="312" y="57"/>
                </a:cubicBezTo>
                <a:cubicBezTo>
                  <a:pt x="312" y="9"/>
                  <a:pt x="312" y="9"/>
                  <a:pt x="312" y="9"/>
                </a:cubicBezTo>
                <a:cubicBezTo>
                  <a:pt x="263" y="0"/>
                  <a:pt x="263" y="0"/>
                  <a:pt x="263" y="0"/>
                </a:cubicBezTo>
                <a:cubicBezTo>
                  <a:pt x="245" y="46"/>
                  <a:pt x="245" y="46"/>
                  <a:pt x="245" y="46"/>
                </a:cubicBezTo>
                <a:cubicBezTo>
                  <a:pt x="235" y="46"/>
                  <a:pt x="224" y="47"/>
                  <a:pt x="213" y="48"/>
                </a:cubicBezTo>
                <a:cubicBezTo>
                  <a:pt x="213" y="47"/>
                  <a:pt x="213" y="47"/>
                  <a:pt x="213" y="47"/>
                </a:cubicBezTo>
                <a:cubicBezTo>
                  <a:pt x="190" y="4"/>
                  <a:pt x="190" y="4"/>
                  <a:pt x="190" y="4"/>
                </a:cubicBezTo>
                <a:cubicBezTo>
                  <a:pt x="144" y="20"/>
                  <a:pt x="144" y="20"/>
                  <a:pt x="144" y="20"/>
                </a:cubicBezTo>
                <a:cubicBezTo>
                  <a:pt x="149" y="69"/>
                  <a:pt x="149" y="69"/>
                  <a:pt x="149" y="69"/>
                </a:cubicBezTo>
                <a:cubicBezTo>
                  <a:pt x="140" y="74"/>
                  <a:pt x="131" y="80"/>
                  <a:pt x="123" y="86"/>
                </a:cubicBezTo>
                <a:cubicBezTo>
                  <a:pt x="122" y="86"/>
                  <a:pt x="122" y="86"/>
                  <a:pt x="122" y="86"/>
                </a:cubicBezTo>
                <a:cubicBezTo>
                  <a:pt x="82" y="60"/>
                  <a:pt x="82" y="60"/>
                  <a:pt x="82" y="60"/>
                </a:cubicBezTo>
                <a:cubicBezTo>
                  <a:pt x="48" y="96"/>
                  <a:pt x="48" y="96"/>
                  <a:pt x="48" y="96"/>
                </a:cubicBezTo>
                <a:cubicBezTo>
                  <a:pt x="77" y="135"/>
                  <a:pt x="77" y="135"/>
                  <a:pt x="77" y="135"/>
                </a:cubicBezTo>
                <a:cubicBezTo>
                  <a:pt x="71" y="144"/>
                  <a:pt x="65" y="154"/>
                  <a:pt x="61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0" y="208"/>
                  <a:pt x="0" y="208"/>
                  <a:pt x="0" y="208"/>
                </a:cubicBezTo>
                <a:cubicBezTo>
                  <a:pt x="45" y="229"/>
                  <a:pt x="45" y="229"/>
                  <a:pt x="45" y="229"/>
                </a:cubicBezTo>
                <a:cubicBezTo>
                  <a:pt x="44" y="240"/>
                  <a:pt x="43" y="245"/>
                  <a:pt x="45" y="262"/>
                </a:cubicBezTo>
                <a:cubicBezTo>
                  <a:pt x="44" y="262"/>
                  <a:pt x="44" y="262"/>
                  <a:pt x="44" y="262"/>
                </a:cubicBezTo>
                <a:cubicBezTo>
                  <a:pt x="1" y="281"/>
                  <a:pt x="1" y="281"/>
                  <a:pt x="1" y="281"/>
                </a:cubicBezTo>
                <a:cubicBezTo>
                  <a:pt x="14" y="329"/>
                  <a:pt x="14" y="329"/>
                  <a:pt x="14" y="329"/>
                </a:cubicBezTo>
                <a:cubicBezTo>
                  <a:pt x="62" y="326"/>
                  <a:pt x="62" y="326"/>
                  <a:pt x="62" y="326"/>
                </a:cubicBezTo>
                <a:cubicBezTo>
                  <a:pt x="68" y="339"/>
                  <a:pt x="75" y="351"/>
                  <a:pt x="83" y="362"/>
                </a:cubicBezTo>
                <a:cubicBezTo>
                  <a:pt x="82" y="363"/>
                  <a:pt x="82" y="363"/>
                  <a:pt x="82" y="363"/>
                </a:cubicBezTo>
                <a:cubicBezTo>
                  <a:pt x="56" y="403"/>
                  <a:pt x="56" y="403"/>
                  <a:pt x="56" y="403"/>
                </a:cubicBezTo>
                <a:cubicBezTo>
                  <a:pt x="91" y="437"/>
                  <a:pt x="91" y="437"/>
                  <a:pt x="91" y="437"/>
                </a:cubicBezTo>
                <a:cubicBezTo>
                  <a:pt x="132" y="409"/>
                  <a:pt x="132" y="409"/>
                  <a:pt x="132" y="409"/>
                </a:cubicBezTo>
                <a:cubicBezTo>
                  <a:pt x="145" y="418"/>
                  <a:pt x="159" y="425"/>
                  <a:pt x="175" y="431"/>
                </a:cubicBezTo>
                <a:cubicBezTo>
                  <a:pt x="174" y="432"/>
                  <a:pt x="174" y="432"/>
                  <a:pt x="174" y="432"/>
                </a:cubicBezTo>
                <a:cubicBezTo>
                  <a:pt x="174" y="480"/>
                  <a:pt x="174" y="480"/>
                  <a:pt x="174" y="480"/>
                </a:cubicBezTo>
                <a:cubicBezTo>
                  <a:pt x="222" y="489"/>
                  <a:pt x="222" y="489"/>
                  <a:pt x="222" y="489"/>
                </a:cubicBezTo>
                <a:cubicBezTo>
                  <a:pt x="241" y="443"/>
                  <a:pt x="241" y="443"/>
                  <a:pt x="241" y="443"/>
                </a:cubicBezTo>
                <a:cubicBezTo>
                  <a:pt x="251" y="443"/>
                  <a:pt x="262" y="443"/>
                  <a:pt x="272" y="441"/>
                </a:cubicBezTo>
                <a:cubicBezTo>
                  <a:pt x="273" y="442"/>
                  <a:pt x="273" y="442"/>
                  <a:pt x="273" y="442"/>
                </a:cubicBezTo>
                <a:cubicBezTo>
                  <a:pt x="295" y="484"/>
                  <a:pt x="295" y="484"/>
                  <a:pt x="295" y="484"/>
                </a:cubicBezTo>
                <a:cubicBezTo>
                  <a:pt x="343" y="469"/>
                  <a:pt x="343" y="469"/>
                  <a:pt x="343" y="469"/>
                </a:cubicBezTo>
                <a:cubicBezTo>
                  <a:pt x="336" y="420"/>
                  <a:pt x="336" y="420"/>
                  <a:pt x="336" y="420"/>
                </a:cubicBezTo>
                <a:cubicBezTo>
                  <a:pt x="346" y="414"/>
                  <a:pt x="355" y="408"/>
                  <a:pt x="363" y="402"/>
                </a:cubicBezTo>
                <a:cubicBezTo>
                  <a:pt x="365" y="403"/>
                  <a:pt x="365" y="403"/>
                  <a:pt x="365" y="403"/>
                </a:cubicBezTo>
                <a:cubicBezTo>
                  <a:pt x="405" y="429"/>
                  <a:pt x="405" y="429"/>
                  <a:pt x="405" y="429"/>
                </a:cubicBezTo>
                <a:cubicBezTo>
                  <a:pt x="438" y="394"/>
                  <a:pt x="438" y="394"/>
                  <a:pt x="438" y="394"/>
                </a:cubicBezTo>
                <a:cubicBezTo>
                  <a:pt x="409" y="353"/>
                  <a:pt x="409" y="353"/>
                  <a:pt x="409" y="353"/>
                </a:cubicBezTo>
                <a:cubicBezTo>
                  <a:pt x="408" y="353"/>
                  <a:pt x="408" y="353"/>
                  <a:pt x="408" y="353"/>
                </a:cubicBezTo>
                <a:cubicBezTo>
                  <a:pt x="414" y="344"/>
                  <a:pt x="420" y="335"/>
                  <a:pt x="424" y="325"/>
                </a:cubicBezTo>
                <a:cubicBezTo>
                  <a:pt x="426" y="326"/>
                  <a:pt x="426" y="326"/>
                  <a:pt x="426" y="326"/>
                </a:cubicBezTo>
                <a:close/>
                <a:moveTo>
                  <a:pt x="350" y="308"/>
                </a:moveTo>
                <a:cubicBezTo>
                  <a:pt x="333" y="336"/>
                  <a:pt x="306" y="357"/>
                  <a:pt x="274" y="365"/>
                </a:cubicBezTo>
                <a:cubicBezTo>
                  <a:pt x="264" y="368"/>
                  <a:pt x="253" y="369"/>
                  <a:pt x="242" y="369"/>
                </a:cubicBezTo>
                <a:cubicBezTo>
                  <a:pt x="186" y="369"/>
                  <a:pt x="136" y="331"/>
                  <a:pt x="122" y="276"/>
                </a:cubicBezTo>
                <a:cubicBezTo>
                  <a:pt x="113" y="243"/>
                  <a:pt x="118" y="210"/>
                  <a:pt x="135" y="181"/>
                </a:cubicBezTo>
                <a:cubicBezTo>
                  <a:pt x="152" y="153"/>
                  <a:pt x="179" y="132"/>
                  <a:pt x="211" y="124"/>
                </a:cubicBezTo>
                <a:cubicBezTo>
                  <a:pt x="221" y="122"/>
                  <a:pt x="232" y="120"/>
                  <a:pt x="243" y="120"/>
                </a:cubicBezTo>
                <a:cubicBezTo>
                  <a:pt x="299" y="120"/>
                  <a:pt x="349" y="158"/>
                  <a:pt x="363" y="213"/>
                </a:cubicBezTo>
                <a:cubicBezTo>
                  <a:pt x="372" y="245"/>
                  <a:pt x="367" y="279"/>
                  <a:pt x="350" y="308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16" name="Group 15"/>
          <p:cNvGrpSpPr/>
          <p:nvPr/>
        </p:nvGrpSpPr>
        <p:grpSpPr>
          <a:xfrm rot="21079158">
            <a:off x="5480308" y="5724955"/>
            <a:ext cx="3088564" cy="3114242"/>
            <a:chOff x="5495926" y="1852613"/>
            <a:chExt cx="1336675" cy="1347788"/>
          </a:xfrm>
          <a:solidFill>
            <a:schemeClr val="accent2"/>
          </a:solidFill>
        </p:grpSpPr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5724526" y="2089150"/>
              <a:ext cx="877888" cy="874713"/>
            </a:xfrm>
            <a:custGeom>
              <a:avLst/>
              <a:gdLst>
                <a:gd name="T0" fmla="*/ 165 w 428"/>
                <a:gd name="T1" fmla="*/ 27 h 428"/>
                <a:gd name="T2" fmla="*/ 27 w 428"/>
                <a:gd name="T3" fmla="*/ 262 h 428"/>
                <a:gd name="T4" fmla="*/ 263 w 428"/>
                <a:gd name="T5" fmla="*/ 401 h 428"/>
                <a:gd name="T6" fmla="*/ 401 w 428"/>
                <a:gd name="T7" fmla="*/ 165 h 428"/>
                <a:gd name="T8" fmla="*/ 165 w 428"/>
                <a:gd name="T9" fmla="*/ 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8" h="428">
                  <a:moveTo>
                    <a:pt x="165" y="27"/>
                  </a:moveTo>
                  <a:cubicBezTo>
                    <a:pt x="62" y="53"/>
                    <a:pt x="0" y="159"/>
                    <a:pt x="27" y="262"/>
                  </a:cubicBezTo>
                  <a:cubicBezTo>
                    <a:pt x="54" y="366"/>
                    <a:pt x="159" y="428"/>
                    <a:pt x="263" y="401"/>
                  </a:cubicBezTo>
                  <a:cubicBezTo>
                    <a:pt x="366" y="374"/>
                    <a:pt x="428" y="269"/>
                    <a:pt x="401" y="165"/>
                  </a:cubicBezTo>
                  <a:cubicBezTo>
                    <a:pt x="374" y="62"/>
                    <a:pt x="269" y="0"/>
                    <a:pt x="16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5495926" y="1852613"/>
              <a:ext cx="1336675" cy="1347788"/>
            </a:xfrm>
            <a:custGeom>
              <a:avLst/>
              <a:gdLst>
                <a:gd name="T0" fmla="*/ 287 w 653"/>
                <a:gd name="T1" fmla="*/ 65 h 658"/>
                <a:gd name="T2" fmla="*/ 256 w 653"/>
                <a:gd name="T3" fmla="*/ 6 h 658"/>
                <a:gd name="T4" fmla="*/ 201 w 653"/>
                <a:gd name="T5" fmla="*/ 93 h 658"/>
                <a:gd name="T6" fmla="*/ 164 w 653"/>
                <a:gd name="T7" fmla="*/ 115 h 658"/>
                <a:gd name="T8" fmla="*/ 64 w 653"/>
                <a:gd name="T9" fmla="*/ 129 h 658"/>
                <a:gd name="T10" fmla="*/ 82 w 653"/>
                <a:gd name="T11" fmla="*/ 220 h 658"/>
                <a:gd name="T12" fmla="*/ 17 w 653"/>
                <a:gd name="T13" fmla="*/ 215 h 658"/>
                <a:gd name="T14" fmla="*/ 60 w 653"/>
                <a:gd name="T15" fmla="*/ 308 h 658"/>
                <a:gd name="T16" fmla="*/ 59 w 653"/>
                <a:gd name="T17" fmla="*/ 352 h 658"/>
                <a:gd name="T18" fmla="*/ 19 w 653"/>
                <a:gd name="T19" fmla="*/ 442 h 658"/>
                <a:gd name="T20" fmla="*/ 112 w 653"/>
                <a:gd name="T21" fmla="*/ 487 h 658"/>
                <a:gd name="T22" fmla="*/ 75 w 653"/>
                <a:gd name="T23" fmla="*/ 542 h 658"/>
                <a:gd name="T24" fmla="*/ 177 w 653"/>
                <a:gd name="T25" fmla="*/ 550 h 658"/>
                <a:gd name="T26" fmla="*/ 234 w 653"/>
                <a:gd name="T27" fmla="*/ 581 h 658"/>
                <a:gd name="T28" fmla="*/ 299 w 653"/>
                <a:gd name="T29" fmla="*/ 658 h 658"/>
                <a:gd name="T30" fmla="*/ 324 w 653"/>
                <a:gd name="T31" fmla="*/ 595 h 658"/>
                <a:gd name="T32" fmla="*/ 367 w 653"/>
                <a:gd name="T33" fmla="*/ 594 h 658"/>
                <a:gd name="T34" fmla="*/ 461 w 653"/>
                <a:gd name="T35" fmla="*/ 630 h 658"/>
                <a:gd name="T36" fmla="*/ 452 w 653"/>
                <a:gd name="T37" fmla="*/ 564 h 658"/>
                <a:gd name="T38" fmla="*/ 490 w 653"/>
                <a:gd name="T39" fmla="*/ 542 h 658"/>
                <a:gd name="T40" fmla="*/ 589 w 653"/>
                <a:gd name="T41" fmla="*/ 529 h 658"/>
                <a:gd name="T42" fmla="*/ 549 w 653"/>
                <a:gd name="T43" fmla="*/ 474 h 658"/>
                <a:gd name="T44" fmla="*/ 572 w 653"/>
                <a:gd name="T45" fmla="*/ 438 h 658"/>
                <a:gd name="T46" fmla="*/ 653 w 653"/>
                <a:gd name="T47" fmla="*/ 378 h 658"/>
                <a:gd name="T48" fmla="*/ 591 w 653"/>
                <a:gd name="T49" fmla="*/ 345 h 658"/>
                <a:gd name="T50" fmla="*/ 592 w 653"/>
                <a:gd name="T51" fmla="*/ 297 h 658"/>
                <a:gd name="T52" fmla="*/ 629 w 653"/>
                <a:gd name="T53" fmla="*/ 217 h 658"/>
                <a:gd name="T54" fmla="*/ 567 w 653"/>
                <a:gd name="T55" fmla="*/ 220 h 658"/>
                <a:gd name="T56" fmla="*/ 542 w 653"/>
                <a:gd name="T57" fmla="*/ 170 h 658"/>
                <a:gd name="T58" fmla="*/ 531 w 653"/>
                <a:gd name="T59" fmla="*/ 70 h 658"/>
                <a:gd name="T60" fmla="*/ 476 w 653"/>
                <a:gd name="T61" fmla="*/ 108 h 658"/>
                <a:gd name="T62" fmla="*/ 419 w 653"/>
                <a:gd name="T63" fmla="*/ 77 h 658"/>
                <a:gd name="T64" fmla="*/ 354 w 653"/>
                <a:gd name="T65" fmla="*/ 0 h 658"/>
                <a:gd name="T66" fmla="*/ 540 w 653"/>
                <a:gd name="T67" fmla="*/ 273 h 658"/>
                <a:gd name="T68" fmla="*/ 112 w 653"/>
                <a:gd name="T69" fmla="*/ 384 h 658"/>
                <a:gd name="T70" fmla="*/ 540 w 653"/>
                <a:gd name="T71" fmla="*/ 273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3" h="658">
                  <a:moveTo>
                    <a:pt x="330" y="62"/>
                  </a:moveTo>
                  <a:cubicBezTo>
                    <a:pt x="316" y="62"/>
                    <a:pt x="301" y="63"/>
                    <a:pt x="287" y="65"/>
                  </a:cubicBezTo>
                  <a:cubicBezTo>
                    <a:pt x="287" y="63"/>
                    <a:pt x="287" y="63"/>
                    <a:pt x="287" y="63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193" y="27"/>
                    <a:pt x="193" y="27"/>
                    <a:pt x="193" y="27"/>
                  </a:cubicBezTo>
                  <a:cubicBezTo>
                    <a:pt x="201" y="93"/>
                    <a:pt x="201" y="93"/>
                    <a:pt x="201" y="93"/>
                  </a:cubicBezTo>
                  <a:cubicBezTo>
                    <a:pt x="188" y="100"/>
                    <a:pt x="176" y="108"/>
                    <a:pt x="165" y="116"/>
                  </a:cubicBezTo>
                  <a:cubicBezTo>
                    <a:pt x="164" y="115"/>
                    <a:pt x="164" y="115"/>
                    <a:pt x="164" y="115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64" y="129"/>
                    <a:pt x="64" y="129"/>
                    <a:pt x="64" y="129"/>
                  </a:cubicBezTo>
                  <a:cubicBezTo>
                    <a:pt x="103" y="182"/>
                    <a:pt x="103" y="182"/>
                    <a:pt x="103" y="182"/>
                  </a:cubicBezTo>
                  <a:cubicBezTo>
                    <a:pt x="95" y="194"/>
                    <a:pt x="88" y="207"/>
                    <a:pt x="82" y="220"/>
                  </a:cubicBezTo>
                  <a:cubicBezTo>
                    <a:pt x="81" y="220"/>
                    <a:pt x="81" y="220"/>
                    <a:pt x="81" y="220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60" y="308"/>
                    <a:pt x="60" y="308"/>
                    <a:pt x="60" y="308"/>
                  </a:cubicBezTo>
                  <a:cubicBezTo>
                    <a:pt x="59" y="323"/>
                    <a:pt x="58" y="330"/>
                    <a:pt x="61" y="352"/>
                  </a:cubicBezTo>
                  <a:cubicBezTo>
                    <a:pt x="59" y="352"/>
                    <a:pt x="59" y="352"/>
                    <a:pt x="59" y="352"/>
                  </a:cubicBezTo>
                  <a:cubicBezTo>
                    <a:pt x="2" y="378"/>
                    <a:pt x="2" y="378"/>
                    <a:pt x="2" y="378"/>
                  </a:cubicBezTo>
                  <a:cubicBezTo>
                    <a:pt x="19" y="442"/>
                    <a:pt x="19" y="442"/>
                    <a:pt x="19" y="442"/>
                  </a:cubicBezTo>
                  <a:cubicBezTo>
                    <a:pt x="84" y="438"/>
                    <a:pt x="84" y="438"/>
                    <a:pt x="84" y="438"/>
                  </a:cubicBezTo>
                  <a:cubicBezTo>
                    <a:pt x="92" y="456"/>
                    <a:pt x="101" y="472"/>
                    <a:pt x="112" y="487"/>
                  </a:cubicBezTo>
                  <a:cubicBezTo>
                    <a:pt x="111" y="488"/>
                    <a:pt x="111" y="488"/>
                    <a:pt x="111" y="488"/>
                  </a:cubicBezTo>
                  <a:cubicBezTo>
                    <a:pt x="75" y="542"/>
                    <a:pt x="75" y="542"/>
                    <a:pt x="75" y="542"/>
                  </a:cubicBezTo>
                  <a:cubicBezTo>
                    <a:pt x="122" y="588"/>
                    <a:pt x="122" y="588"/>
                    <a:pt x="122" y="588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95" y="562"/>
                    <a:pt x="214" y="572"/>
                    <a:pt x="235" y="579"/>
                  </a:cubicBezTo>
                  <a:cubicBezTo>
                    <a:pt x="234" y="581"/>
                    <a:pt x="234" y="581"/>
                    <a:pt x="234" y="581"/>
                  </a:cubicBezTo>
                  <a:cubicBezTo>
                    <a:pt x="234" y="645"/>
                    <a:pt x="234" y="645"/>
                    <a:pt x="234" y="645"/>
                  </a:cubicBezTo>
                  <a:cubicBezTo>
                    <a:pt x="299" y="658"/>
                    <a:pt x="299" y="658"/>
                    <a:pt x="299" y="658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38" y="595"/>
                    <a:pt x="352" y="595"/>
                    <a:pt x="366" y="593"/>
                  </a:cubicBezTo>
                  <a:cubicBezTo>
                    <a:pt x="367" y="594"/>
                    <a:pt x="367" y="594"/>
                    <a:pt x="367" y="594"/>
                  </a:cubicBezTo>
                  <a:cubicBezTo>
                    <a:pt x="397" y="651"/>
                    <a:pt x="397" y="651"/>
                    <a:pt x="397" y="651"/>
                  </a:cubicBezTo>
                  <a:cubicBezTo>
                    <a:pt x="461" y="630"/>
                    <a:pt x="461" y="630"/>
                    <a:pt x="461" y="630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65" y="557"/>
                    <a:pt x="477" y="549"/>
                    <a:pt x="488" y="541"/>
                  </a:cubicBezTo>
                  <a:cubicBezTo>
                    <a:pt x="490" y="542"/>
                    <a:pt x="490" y="542"/>
                    <a:pt x="490" y="542"/>
                  </a:cubicBezTo>
                  <a:cubicBezTo>
                    <a:pt x="544" y="577"/>
                    <a:pt x="544" y="577"/>
                    <a:pt x="544" y="577"/>
                  </a:cubicBezTo>
                  <a:cubicBezTo>
                    <a:pt x="589" y="529"/>
                    <a:pt x="589" y="529"/>
                    <a:pt x="589" y="529"/>
                  </a:cubicBezTo>
                  <a:cubicBezTo>
                    <a:pt x="550" y="475"/>
                    <a:pt x="550" y="475"/>
                    <a:pt x="550" y="475"/>
                  </a:cubicBezTo>
                  <a:cubicBezTo>
                    <a:pt x="549" y="474"/>
                    <a:pt x="549" y="474"/>
                    <a:pt x="549" y="474"/>
                  </a:cubicBezTo>
                  <a:cubicBezTo>
                    <a:pt x="557" y="462"/>
                    <a:pt x="564" y="450"/>
                    <a:pt x="570" y="437"/>
                  </a:cubicBezTo>
                  <a:cubicBezTo>
                    <a:pt x="572" y="438"/>
                    <a:pt x="572" y="438"/>
                    <a:pt x="572" y="438"/>
                  </a:cubicBezTo>
                  <a:cubicBezTo>
                    <a:pt x="637" y="442"/>
                    <a:pt x="637" y="442"/>
                    <a:pt x="637" y="442"/>
                  </a:cubicBezTo>
                  <a:cubicBezTo>
                    <a:pt x="653" y="378"/>
                    <a:pt x="653" y="378"/>
                    <a:pt x="653" y="378"/>
                  </a:cubicBezTo>
                  <a:cubicBezTo>
                    <a:pt x="593" y="349"/>
                    <a:pt x="593" y="349"/>
                    <a:pt x="593" y="349"/>
                  </a:cubicBezTo>
                  <a:cubicBezTo>
                    <a:pt x="591" y="345"/>
                    <a:pt x="591" y="345"/>
                    <a:pt x="591" y="345"/>
                  </a:cubicBezTo>
                  <a:cubicBezTo>
                    <a:pt x="592" y="331"/>
                    <a:pt x="592" y="319"/>
                    <a:pt x="589" y="298"/>
                  </a:cubicBezTo>
                  <a:cubicBezTo>
                    <a:pt x="592" y="297"/>
                    <a:pt x="592" y="297"/>
                    <a:pt x="592" y="297"/>
                  </a:cubicBezTo>
                  <a:cubicBezTo>
                    <a:pt x="645" y="281"/>
                    <a:pt x="645" y="281"/>
                    <a:pt x="645" y="281"/>
                  </a:cubicBezTo>
                  <a:cubicBezTo>
                    <a:pt x="629" y="217"/>
                    <a:pt x="629" y="217"/>
                    <a:pt x="629" y="217"/>
                  </a:cubicBezTo>
                  <a:cubicBezTo>
                    <a:pt x="566" y="220"/>
                    <a:pt x="566" y="220"/>
                    <a:pt x="566" y="220"/>
                  </a:cubicBezTo>
                  <a:cubicBezTo>
                    <a:pt x="567" y="220"/>
                    <a:pt x="567" y="220"/>
                    <a:pt x="567" y="220"/>
                  </a:cubicBezTo>
                  <a:cubicBezTo>
                    <a:pt x="559" y="202"/>
                    <a:pt x="551" y="186"/>
                    <a:pt x="540" y="171"/>
                  </a:cubicBezTo>
                  <a:cubicBezTo>
                    <a:pt x="542" y="170"/>
                    <a:pt x="542" y="170"/>
                    <a:pt x="542" y="170"/>
                  </a:cubicBezTo>
                  <a:cubicBezTo>
                    <a:pt x="579" y="116"/>
                    <a:pt x="579" y="116"/>
                    <a:pt x="579" y="116"/>
                  </a:cubicBezTo>
                  <a:cubicBezTo>
                    <a:pt x="531" y="70"/>
                    <a:pt x="531" y="70"/>
                    <a:pt x="531" y="70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58" y="96"/>
                    <a:pt x="439" y="86"/>
                    <a:pt x="419" y="79"/>
                  </a:cubicBezTo>
                  <a:cubicBezTo>
                    <a:pt x="419" y="77"/>
                    <a:pt x="419" y="77"/>
                    <a:pt x="419" y="77"/>
                  </a:cubicBezTo>
                  <a:cubicBezTo>
                    <a:pt x="420" y="12"/>
                    <a:pt x="420" y="12"/>
                    <a:pt x="420" y="12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30" y="62"/>
                    <a:pt x="330" y="62"/>
                    <a:pt x="330" y="62"/>
                  </a:cubicBezTo>
                  <a:close/>
                  <a:moveTo>
                    <a:pt x="540" y="273"/>
                  </a:moveTo>
                  <a:cubicBezTo>
                    <a:pt x="571" y="391"/>
                    <a:pt x="500" y="512"/>
                    <a:pt x="382" y="543"/>
                  </a:cubicBezTo>
                  <a:cubicBezTo>
                    <a:pt x="263" y="574"/>
                    <a:pt x="143" y="503"/>
                    <a:pt x="112" y="384"/>
                  </a:cubicBezTo>
                  <a:cubicBezTo>
                    <a:pt x="81" y="266"/>
                    <a:pt x="152" y="145"/>
                    <a:pt x="270" y="115"/>
                  </a:cubicBezTo>
                  <a:cubicBezTo>
                    <a:pt x="389" y="84"/>
                    <a:pt x="509" y="155"/>
                    <a:pt x="540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9" name="Freeform 5"/>
          <p:cNvSpPr>
            <a:spLocks noEditPoints="1"/>
          </p:cNvSpPr>
          <p:nvPr/>
        </p:nvSpPr>
        <p:spPr bwMode="auto">
          <a:xfrm rot="20856645">
            <a:off x="8124172" y="4961881"/>
            <a:ext cx="1925412" cy="1939194"/>
          </a:xfrm>
          <a:custGeom>
            <a:avLst/>
            <a:gdLst>
              <a:gd name="T0" fmla="*/ 474 w 486"/>
              <a:gd name="T1" fmla="*/ 329 h 489"/>
              <a:gd name="T2" fmla="*/ 441 w 486"/>
              <a:gd name="T3" fmla="*/ 260 h 489"/>
              <a:gd name="T4" fmla="*/ 438 w 486"/>
              <a:gd name="T5" fmla="*/ 222 h 489"/>
              <a:gd name="T6" fmla="*/ 480 w 486"/>
              <a:gd name="T7" fmla="*/ 209 h 489"/>
              <a:gd name="T8" fmla="*/ 422 w 486"/>
              <a:gd name="T9" fmla="*/ 164 h 489"/>
              <a:gd name="T10" fmla="*/ 421 w 486"/>
              <a:gd name="T11" fmla="*/ 164 h 489"/>
              <a:gd name="T12" fmla="*/ 402 w 486"/>
              <a:gd name="T13" fmla="*/ 127 h 489"/>
              <a:gd name="T14" fmla="*/ 431 w 486"/>
              <a:gd name="T15" fmla="*/ 86 h 489"/>
              <a:gd name="T16" fmla="*/ 354 w 486"/>
              <a:gd name="T17" fmla="*/ 80 h 489"/>
              <a:gd name="T18" fmla="*/ 312 w 486"/>
              <a:gd name="T19" fmla="*/ 57 h 489"/>
              <a:gd name="T20" fmla="*/ 263 w 486"/>
              <a:gd name="T21" fmla="*/ 0 h 489"/>
              <a:gd name="T22" fmla="*/ 213 w 486"/>
              <a:gd name="T23" fmla="*/ 48 h 489"/>
              <a:gd name="T24" fmla="*/ 190 w 486"/>
              <a:gd name="T25" fmla="*/ 4 h 489"/>
              <a:gd name="T26" fmla="*/ 149 w 486"/>
              <a:gd name="T27" fmla="*/ 69 h 489"/>
              <a:gd name="T28" fmla="*/ 122 w 486"/>
              <a:gd name="T29" fmla="*/ 86 h 489"/>
              <a:gd name="T30" fmla="*/ 48 w 486"/>
              <a:gd name="T31" fmla="*/ 96 h 489"/>
              <a:gd name="T32" fmla="*/ 61 w 486"/>
              <a:gd name="T33" fmla="*/ 164 h 489"/>
              <a:gd name="T34" fmla="*/ 13 w 486"/>
              <a:gd name="T35" fmla="*/ 160 h 489"/>
              <a:gd name="T36" fmla="*/ 45 w 486"/>
              <a:gd name="T37" fmla="*/ 229 h 489"/>
              <a:gd name="T38" fmla="*/ 44 w 486"/>
              <a:gd name="T39" fmla="*/ 262 h 489"/>
              <a:gd name="T40" fmla="*/ 14 w 486"/>
              <a:gd name="T41" fmla="*/ 329 h 489"/>
              <a:gd name="T42" fmla="*/ 83 w 486"/>
              <a:gd name="T43" fmla="*/ 362 h 489"/>
              <a:gd name="T44" fmla="*/ 56 w 486"/>
              <a:gd name="T45" fmla="*/ 403 h 489"/>
              <a:gd name="T46" fmla="*/ 132 w 486"/>
              <a:gd name="T47" fmla="*/ 409 h 489"/>
              <a:gd name="T48" fmla="*/ 174 w 486"/>
              <a:gd name="T49" fmla="*/ 432 h 489"/>
              <a:gd name="T50" fmla="*/ 222 w 486"/>
              <a:gd name="T51" fmla="*/ 489 h 489"/>
              <a:gd name="T52" fmla="*/ 272 w 486"/>
              <a:gd name="T53" fmla="*/ 441 h 489"/>
              <a:gd name="T54" fmla="*/ 295 w 486"/>
              <a:gd name="T55" fmla="*/ 484 h 489"/>
              <a:gd name="T56" fmla="*/ 336 w 486"/>
              <a:gd name="T57" fmla="*/ 420 h 489"/>
              <a:gd name="T58" fmla="*/ 365 w 486"/>
              <a:gd name="T59" fmla="*/ 403 h 489"/>
              <a:gd name="T60" fmla="*/ 438 w 486"/>
              <a:gd name="T61" fmla="*/ 394 h 489"/>
              <a:gd name="T62" fmla="*/ 408 w 486"/>
              <a:gd name="T63" fmla="*/ 353 h 489"/>
              <a:gd name="T64" fmla="*/ 426 w 486"/>
              <a:gd name="T65" fmla="*/ 326 h 489"/>
              <a:gd name="T66" fmla="*/ 274 w 486"/>
              <a:gd name="T67" fmla="*/ 365 h 489"/>
              <a:gd name="T68" fmla="*/ 122 w 486"/>
              <a:gd name="T69" fmla="*/ 276 h 489"/>
              <a:gd name="T70" fmla="*/ 211 w 486"/>
              <a:gd name="T71" fmla="*/ 124 h 489"/>
              <a:gd name="T72" fmla="*/ 363 w 486"/>
              <a:gd name="T73" fmla="*/ 213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6" h="489">
                <a:moveTo>
                  <a:pt x="426" y="326"/>
                </a:moveTo>
                <a:cubicBezTo>
                  <a:pt x="474" y="329"/>
                  <a:pt x="474" y="329"/>
                  <a:pt x="474" y="329"/>
                </a:cubicBezTo>
                <a:cubicBezTo>
                  <a:pt x="486" y="281"/>
                  <a:pt x="486" y="281"/>
                  <a:pt x="486" y="281"/>
                </a:cubicBezTo>
                <a:cubicBezTo>
                  <a:pt x="441" y="260"/>
                  <a:pt x="441" y="260"/>
                  <a:pt x="441" y="260"/>
                </a:cubicBezTo>
                <a:cubicBezTo>
                  <a:pt x="440" y="257"/>
                  <a:pt x="440" y="257"/>
                  <a:pt x="440" y="257"/>
                </a:cubicBezTo>
                <a:cubicBezTo>
                  <a:pt x="440" y="246"/>
                  <a:pt x="440" y="237"/>
                  <a:pt x="438" y="222"/>
                </a:cubicBezTo>
                <a:cubicBezTo>
                  <a:pt x="440" y="221"/>
                  <a:pt x="440" y="221"/>
                  <a:pt x="440" y="221"/>
                </a:cubicBezTo>
                <a:cubicBezTo>
                  <a:pt x="480" y="209"/>
                  <a:pt x="480" y="209"/>
                  <a:pt x="480" y="209"/>
                </a:cubicBezTo>
                <a:cubicBezTo>
                  <a:pt x="468" y="161"/>
                  <a:pt x="468" y="161"/>
                  <a:pt x="468" y="161"/>
                </a:cubicBezTo>
                <a:cubicBezTo>
                  <a:pt x="433" y="163"/>
                  <a:pt x="424" y="164"/>
                  <a:pt x="422" y="164"/>
                </a:cubicBezTo>
                <a:cubicBezTo>
                  <a:pt x="422" y="164"/>
                  <a:pt x="422" y="164"/>
                  <a:pt x="422" y="164"/>
                </a:cubicBezTo>
                <a:cubicBezTo>
                  <a:pt x="422" y="164"/>
                  <a:pt x="422" y="164"/>
                  <a:pt x="421" y="164"/>
                </a:cubicBezTo>
                <a:cubicBezTo>
                  <a:pt x="421" y="164"/>
                  <a:pt x="421" y="164"/>
                  <a:pt x="422" y="164"/>
                </a:cubicBezTo>
                <a:cubicBezTo>
                  <a:pt x="416" y="150"/>
                  <a:pt x="410" y="138"/>
                  <a:pt x="402" y="127"/>
                </a:cubicBezTo>
                <a:cubicBezTo>
                  <a:pt x="403" y="126"/>
                  <a:pt x="403" y="126"/>
                  <a:pt x="403" y="126"/>
                </a:cubicBezTo>
                <a:cubicBezTo>
                  <a:pt x="431" y="86"/>
                  <a:pt x="431" y="86"/>
                  <a:pt x="431" y="86"/>
                </a:cubicBezTo>
                <a:cubicBezTo>
                  <a:pt x="395" y="52"/>
                  <a:pt x="395" y="52"/>
                  <a:pt x="395" y="52"/>
                </a:cubicBezTo>
                <a:cubicBezTo>
                  <a:pt x="354" y="80"/>
                  <a:pt x="354" y="80"/>
                  <a:pt x="354" y="80"/>
                </a:cubicBezTo>
                <a:cubicBezTo>
                  <a:pt x="341" y="71"/>
                  <a:pt x="327" y="64"/>
                  <a:pt x="312" y="59"/>
                </a:cubicBezTo>
                <a:cubicBezTo>
                  <a:pt x="312" y="57"/>
                  <a:pt x="312" y="57"/>
                  <a:pt x="312" y="57"/>
                </a:cubicBezTo>
                <a:cubicBezTo>
                  <a:pt x="312" y="9"/>
                  <a:pt x="312" y="9"/>
                  <a:pt x="312" y="9"/>
                </a:cubicBezTo>
                <a:cubicBezTo>
                  <a:pt x="263" y="0"/>
                  <a:pt x="263" y="0"/>
                  <a:pt x="263" y="0"/>
                </a:cubicBezTo>
                <a:cubicBezTo>
                  <a:pt x="245" y="46"/>
                  <a:pt x="245" y="46"/>
                  <a:pt x="245" y="46"/>
                </a:cubicBezTo>
                <a:cubicBezTo>
                  <a:pt x="235" y="46"/>
                  <a:pt x="224" y="47"/>
                  <a:pt x="213" y="48"/>
                </a:cubicBezTo>
                <a:cubicBezTo>
                  <a:pt x="213" y="47"/>
                  <a:pt x="213" y="47"/>
                  <a:pt x="213" y="47"/>
                </a:cubicBezTo>
                <a:cubicBezTo>
                  <a:pt x="190" y="4"/>
                  <a:pt x="190" y="4"/>
                  <a:pt x="190" y="4"/>
                </a:cubicBezTo>
                <a:cubicBezTo>
                  <a:pt x="144" y="20"/>
                  <a:pt x="144" y="20"/>
                  <a:pt x="144" y="20"/>
                </a:cubicBezTo>
                <a:cubicBezTo>
                  <a:pt x="149" y="69"/>
                  <a:pt x="149" y="69"/>
                  <a:pt x="149" y="69"/>
                </a:cubicBezTo>
                <a:cubicBezTo>
                  <a:pt x="140" y="74"/>
                  <a:pt x="131" y="80"/>
                  <a:pt x="123" y="86"/>
                </a:cubicBezTo>
                <a:cubicBezTo>
                  <a:pt x="122" y="86"/>
                  <a:pt x="122" y="86"/>
                  <a:pt x="122" y="86"/>
                </a:cubicBezTo>
                <a:cubicBezTo>
                  <a:pt x="82" y="60"/>
                  <a:pt x="82" y="60"/>
                  <a:pt x="82" y="60"/>
                </a:cubicBezTo>
                <a:cubicBezTo>
                  <a:pt x="48" y="96"/>
                  <a:pt x="48" y="96"/>
                  <a:pt x="48" y="96"/>
                </a:cubicBezTo>
                <a:cubicBezTo>
                  <a:pt x="77" y="135"/>
                  <a:pt x="77" y="135"/>
                  <a:pt x="77" y="135"/>
                </a:cubicBezTo>
                <a:cubicBezTo>
                  <a:pt x="71" y="144"/>
                  <a:pt x="65" y="154"/>
                  <a:pt x="61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0" y="208"/>
                  <a:pt x="0" y="208"/>
                  <a:pt x="0" y="208"/>
                </a:cubicBezTo>
                <a:cubicBezTo>
                  <a:pt x="45" y="229"/>
                  <a:pt x="45" y="229"/>
                  <a:pt x="45" y="229"/>
                </a:cubicBezTo>
                <a:cubicBezTo>
                  <a:pt x="44" y="240"/>
                  <a:pt x="43" y="245"/>
                  <a:pt x="45" y="262"/>
                </a:cubicBezTo>
                <a:cubicBezTo>
                  <a:pt x="44" y="262"/>
                  <a:pt x="44" y="262"/>
                  <a:pt x="44" y="262"/>
                </a:cubicBezTo>
                <a:cubicBezTo>
                  <a:pt x="1" y="281"/>
                  <a:pt x="1" y="281"/>
                  <a:pt x="1" y="281"/>
                </a:cubicBezTo>
                <a:cubicBezTo>
                  <a:pt x="14" y="329"/>
                  <a:pt x="14" y="329"/>
                  <a:pt x="14" y="329"/>
                </a:cubicBezTo>
                <a:cubicBezTo>
                  <a:pt x="62" y="326"/>
                  <a:pt x="62" y="326"/>
                  <a:pt x="62" y="326"/>
                </a:cubicBezTo>
                <a:cubicBezTo>
                  <a:pt x="68" y="339"/>
                  <a:pt x="75" y="351"/>
                  <a:pt x="83" y="362"/>
                </a:cubicBezTo>
                <a:cubicBezTo>
                  <a:pt x="82" y="363"/>
                  <a:pt x="82" y="363"/>
                  <a:pt x="82" y="363"/>
                </a:cubicBezTo>
                <a:cubicBezTo>
                  <a:pt x="56" y="403"/>
                  <a:pt x="56" y="403"/>
                  <a:pt x="56" y="403"/>
                </a:cubicBezTo>
                <a:cubicBezTo>
                  <a:pt x="91" y="437"/>
                  <a:pt x="91" y="437"/>
                  <a:pt x="91" y="437"/>
                </a:cubicBezTo>
                <a:cubicBezTo>
                  <a:pt x="132" y="409"/>
                  <a:pt x="132" y="409"/>
                  <a:pt x="132" y="409"/>
                </a:cubicBezTo>
                <a:cubicBezTo>
                  <a:pt x="145" y="418"/>
                  <a:pt x="159" y="425"/>
                  <a:pt x="175" y="431"/>
                </a:cubicBezTo>
                <a:cubicBezTo>
                  <a:pt x="174" y="432"/>
                  <a:pt x="174" y="432"/>
                  <a:pt x="174" y="432"/>
                </a:cubicBezTo>
                <a:cubicBezTo>
                  <a:pt x="174" y="480"/>
                  <a:pt x="174" y="480"/>
                  <a:pt x="174" y="480"/>
                </a:cubicBezTo>
                <a:cubicBezTo>
                  <a:pt x="222" y="489"/>
                  <a:pt x="222" y="489"/>
                  <a:pt x="222" y="489"/>
                </a:cubicBezTo>
                <a:cubicBezTo>
                  <a:pt x="241" y="443"/>
                  <a:pt x="241" y="443"/>
                  <a:pt x="241" y="443"/>
                </a:cubicBezTo>
                <a:cubicBezTo>
                  <a:pt x="251" y="443"/>
                  <a:pt x="262" y="443"/>
                  <a:pt x="272" y="441"/>
                </a:cubicBezTo>
                <a:cubicBezTo>
                  <a:pt x="273" y="442"/>
                  <a:pt x="273" y="442"/>
                  <a:pt x="273" y="442"/>
                </a:cubicBezTo>
                <a:cubicBezTo>
                  <a:pt x="295" y="484"/>
                  <a:pt x="295" y="484"/>
                  <a:pt x="295" y="484"/>
                </a:cubicBezTo>
                <a:cubicBezTo>
                  <a:pt x="343" y="469"/>
                  <a:pt x="343" y="469"/>
                  <a:pt x="343" y="469"/>
                </a:cubicBezTo>
                <a:cubicBezTo>
                  <a:pt x="336" y="420"/>
                  <a:pt x="336" y="420"/>
                  <a:pt x="336" y="420"/>
                </a:cubicBezTo>
                <a:cubicBezTo>
                  <a:pt x="346" y="414"/>
                  <a:pt x="355" y="408"/>
                  <a:pt x="363" y="402"/>
                </a:cubicBezTo>
                <a:cubicBezTo>
                  <a:pt x="365" y="403"/>
                  <a:pt x="365" y="403"/>
                  <a:pt x="365" y="403"/>
                </a:cubicBezTo>
                <a:cubicBezTo>
                  <a:pt x="405" y="429"/>
                  <a:pt x="405" y="429"/>
                  <a:pt x="405" y="429"/>
                </a:cubicBezTo>
                <a:cubicBezTo>
                  <a:pt x="438" y="394"/>
                  <a:pt x="438" y="394"/>
                  <a:pt x="438" y="394"/>
                </a:cubicBezTo>
                <a:cubicBezTo>
                  <a:pt x="409" y="353"/>
                  <a:pt x="409" y="353"/>
                  <a:pt x="409" y="353"/>
                </a:cubicBezTo>
                <a:cubicBezTo>
                  <a:pt x="408" y="353"/>
                  <a:pt x="408" y="353"/>
                  <a:pt x="408" y="353"/>
                </a:cubicBezTo>
                <a:cubicBezTo>
                  <a:pt x="414" y="344"/>
                  <a:pt x="420" y="335"/>
                  <a:pt x="424" y="325"/>
                </a:cubicBezTo>
                <a:cubicBezTo>
                  <a:pt x="426" y="326"/>
                  <a:pt x="426" y="326"/>
                  <a:pt x="426" y="326"/>
                </a:cubicBezTo>
                <a:close/>
                <a:moveTo>
                  <a:pt x="350" y="308"/>
                </a:moveTo>
                <a:cubicBezTo>
                  <a:pt x="333" y="336"/>
                  <a:pt x="306" y="357"/>
                  <a:pt x="274" y="365"/>
                </a:cubicBezTo>
                <a:cubicBezTo>
                  <a:pt x="264" y="368"/>
                  <a:pt x="253" y="369"/>
                  <a:pt x="242" y="369"/>
                </a:cubicBezTo>
                <a:cubicBezTo>
                  <a:pt x="186" y="369"/>
                  <a:pt x="136" y="331"/>
                  <a:pt x="122" y="276"/>
                </a:cubicBezTo>
                <a:cubicBezTo>
                  <a:pt x="113" y="243"/>
                  <a:pt x="118" y="210"/>
                  <a:pt x="135" y="181"/>
                </a:cubicBezTo>
                <a:cubicBezTo>
                  <a:pt x="152" y="153"/>
                  <a:pt x="179" y="132"/>
                  <a:pt x="211" y="124"/>
                </a:cubicBezTo>
                <a:cubicBezTo>
                  <a:pt x="221" y="122"/>
                  <a:pt x="232" y="120"/>
                  <a:pt x="243" y="120"/>
                </a:cubicBezTo>
                <a:cubicBezTo>
                  <a:pt x="299" y="120"/>
                  <a:pt x="349" y="158"/>
                  <a:pt x="363" y="213"/>
                </a:cubicBezTo>
                <a:cubicBezTo>
                  <a:pt x="372" y="245"/>
                  <a:pt x="367" y="279"/>
                  <a:pt x="350" y="308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20" name="Group 19"/>
          <p:cNvGrpSpPr/>
          <p:nvPr/>
        </p:nvGrpSpPr>
        <p:grpSpPr>
          <a:xfrm rot="21079158">
            <a:off x="9028918" y="6434355"/>
            <a:ext cx="3088564" cy="3114242"/>
            <a:chOff x="5495926" y="1852613"/>
            <a:chExt cx="1336675" cy="1347788"/>
          </a:xfrm>
          <a:solidFill>
            <a:schemeClr val="accent4"/>
          </a:solidFill>
        </p:grpSpPr>
        <p:sp>
          <p:nvSpPr>
            <p:cNvPr id="21" name="Freeform 12"/>
            <p:cNvSpPr>
              <a:spLocks/>
            </p:cNvSpPr>
            <p:nvPr/>
          </p:nvSpPr>
          <p:spPr bwMode="auto">
            <a:xfrm>
              <a:off x="5724526" y="2089150"/>
              <a:ext cx="877888" cy="874713"/>
            </a:xfrm>
            <a:custGeom>
              <a:avLst/>
              <a:gdLst>
                <a:gd name="T0" fmla="*/ 165 w 428"/>
                <a:gd name="T1" fmla="*/ 27 h 428"/>
                <a:gd name="T2" fmla="*/ 27 w 428"/>
                <a:gd name="T3" fmla="*/ 262 h 428"/>
                <a:gd name="T4" fmla="*/ 263 w 428"/>
                <a:gd name="T5" fmla="*/ 401 h 428"/>
                <a:gd name="T6" fmla="*/ 401 w 428"/>
                <a:gd name="T7" fmla="*/ 165 h 428"/>
                <a:gd name="T8" fmla="*/ 165 w 428"/>
                <a:gd name="T9" fmla="*/ 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8" h="428">
                  <a:moveTo>
                    <a:pt x="165" y="27"/>
                  </a:moveTo>
                  <a:cubicBezTo>
                    <a:pt x="62" y="53"/>
                    <a:pt x="0" y="159"/>
                    <a:pt x="27" y="262"/>
                  </a:cubicBezTo>
                  <a:cubicBezTo>
                    <a:pt x="54" y="366"/>
                    <a:pt x="159" y="428"/>
                    <a:pt x="263" y="401"/>
                  </a:cubicBezTo>
                  <a:cubicBezTo>
                    <a:pt x="366" y="374"/>
                    <a:pt x="428" y="269"/>
                    <a:pt x="401" y="165"/>
                  </a:cubicBezTo>
                  <a:cubicBezTo>
                    <a:pt x="374" y="62"/>
                    <a:pt x="269" y="0"/>
                    <a:pt x="16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/>
          </p:nvSpPr>
          <p:spPr bwMode="auto">
            <a:xfrm>
              <a:off x="5495926" y="1852613"/>
              <a:ext cx="1336675" cy="1347788"/>
            </a:xfrm>
            <a:custGeom>
              <a:avLst/>
              <a:gdLst>
                <a:gd name="T0" fmla="*/ 287 w 653"/>
                <a:gd name="T1" fmla="*/ 65 h 658"/>
                <a:gd name="T2" fmla="*/ 256 w 653"/>
                <a:gd name="T3" fmla="*/ 6 h 658"/>
                <a:gd name="T4" fmla="*/ 201 w 653"/>
                <a:gd name="T5" fmla="*/ 93 h 658"/>
                <a:gd name="T6" fmla="*/ 164 w 653"/>
                <a:gd name="T7" fmla="*/ 115 h 658"/>
                <a:gd name="T8" fmla="*/ 64 w 653"/>
                <a:gd name="T9" fmla="*/ 129 h 658"/>
                <a:gd name="T10" fmla="*/ 82 w 653"/>
                <a:gd name="T11" fmla="*/ 220 h 658"/>
                <a:gd name="T12" fmla="*/ 17 w 653"/>
                <a:gd name="T13" fmla="*/ 215 h 658"/>
                <a:gd name="T14" fmla="*/ 60 w 653"/>
                <a:gd name="T15" fmla="*/ 308 h 658"/>
                <a:gd name="T16" fmla="*/ 59 w 653"/>
                <a:gd name="T17" fmla="*/ 352 h 658"/>
                <a:gd name="T18" fmla="*/ 19 w 653"/>
                <a:gd name="T19" fmla="*/ 442 h 658"/>
                <a:gd name="T20" fmla="*/ 112 w 653"/>
                <a:gd name="T21" fmla="*/ 487 h 658"/>
                <a:gd name="T22" fmla="*/ 75 w 653"/>
                <a:gd name="T23" fmla="*/ 542 h 658"/>
                <a:gd name="T24" fmla="*/ 177 w 653"/>
                <a:gd name="T25" fmla="*/ 550 h 658"/>
                <a:gd name="T26" fmla="*/ 234 w 653"/>
                <a:gd name="T27" fmla="*/ 581 h 658"/>
                <a:gd name="T28" fmla="*/ 299 w 653"/>
                <a:gd name="T29" fmla="*/ 658 h 658"/>
                <a:gd name="T30" fmla="*/ 324 w 653"/>
                <a:gd name="T31" fmla="*/ 595 h 658"/>
                <a:gd name="T32" fmla="*/ 367 w 653"/>
                <a:gd name="T33" fmla="*/ 594 h 658"/>
                <a:gd name="T34" fmla="*/ 461 w 653"/>
                <a:gd name="T35" fmla="*/ 630 h 658"/>
                <a:gd name="T36" fmla="*/ 452 w 653"/>
                <a:gd name="T37" fmla="*/ 564 h 658"/>
                <a:gd name="T38" fmla="*/ 490 w 653"/>
                <a:gd name="T39" fmla="*/ 542 h 658"/>
                <a:gd name="T40" fmla="*/ 589 w 653"/>
                <a:gd name="T41" fmla="*/ 529 h 658"/>
                <a:gd name="T42" fmla="*/ 549 w 653"/>
                <a:gd name="T43" fmla="*/ 474 h 658"/>
                <a:gd name="T44" fmla="*/ 572 w 653"/>
                <a:gd name="T45" fmla="*/ 438 h 658"/>
                <a:gd name="T46" fmla="*/ 653 w 653"/>
                <a:gd name="T47" fmla="*/ 378 h 658"/>
                <a:gd name="T48" fmla="*/ 591 w 653"/>
                <a:gd name="T49" fmla="*/ 345 h 658"/>
                <a:gd name="T50" fmla="*/ 592 w 653"/>
                <a:gd name="T51" fmla="*/ 297 h 658"/>
                <a:gd name="T52" fmla="*/ 629 w 653"/>
                <a:gd name="T53" fmla="*/ 217 h 658"/>
                <a:gd name="T54" fmla="*/ 567 w 653"/>
                <a:gd name="T55" fmla="*/ 220 h 658"/>
                <a:gd name="T56" fmla="*/ 542 w 653"/>
                <a:gd name="T57" fmla="*/ 170 h 658"/>
                <a:gd name="T58" fmla="*/ 531 w 653"/>
                <a:gd name="T59" fmla="*/ 70 h 658"/>
                <a:gd name="T60" fmla="*/ 476 w 653"/>
                <a:gd name="T61" fmla="*/ 108 h 658"/>
                <a:gd name="T62" fmla="*/ 419 w 653"/>
                <a:gd name="T63" fmla="*/ 77 h 658"/>
                <a:gd name="T64" fmla="*/ 354 w 653"/>
                <a:gd name="T65" fmla="*/ 0 h 658"/>
                <a:gd name="T66" fmla="*/ 540 w 653"/>
                <a:gd name="T67" fmla="*/ 273 h 658"/>
                <a:gd name="T68" fmla="*/ 112 w 653"/>
                <a:gd name="T69" fmla="*/ 384 h 658"/>
                <a:gd name="T70" fmla="*/ 540 w 653"/>
                <a:gd name="T71" fmla="*/ 273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3" h="658">
                  <a:moveTo>
                    <a:pt x="330" y="62"/>
                  </a:moveTo>
                  <a:cubicBezTo>
                    <a:pt x="316" y="62"/>
                    <a:pt x="301" y="63"/>
                    <a:pt x="287" y="65"/>
                  </a:cubicBezTo>
                  <a:cubicBezTo>
                    <a:pt x="287" y="63"/>
                    <a:pt x="287" y="63"/>
                    <a:pt x="287" y="63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193" y="27"/>
                    <a:pt x="193" y="27"/>
                    <a:pt x="193" y="27"/>
                  </a:cubicBezTo>
                  <a:cubicBezTo>
                    <a:pt x="201" y="93"/>
                    <a:pt x="201" y="93"/>
                    <a:pt x="201" y="93"/>
                  </a:cubicBezTo>
                  <a:cubicBezTo>
                    <a:pt x="188" y="100"/>
                    <a:pt x="176" y="108"/>
                    <a:pt x="165" y="116"/>
                  </a:cubicBezTo>
                  <a:cubicBezTo>
                    <a:pt x="164" y="115"/>
                    <a:pt x="164" y="115"/>
                    <a:pt x="164" y="115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64" y="129"/>
                    <a:pt x="64" y="129"/>
                    <a:pt x="64" y="129"/>
                  </a:cubicBezTo>
                  <a:cubicBezTo>
                    <a:pt x="103" y="182"/>
                    <a:pt x="103" y="182"/>
                    <a:pt x="103" y="182"/>
                  </a:cubicBezTo>
                  <a:cubicBezTo>
                    <a:pt x="95" y="194"/>
                    <a:pt x="88" y="207"/>
                    <a:pt x="82" y="220"/>
                  </a:cubicBezTo>
                  <a:cubicBezTo>
                    <a:pt x="81" y="220"/>
                    <a:pt x="81" y="220"/>
                    <a:pt x="81" y="220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60" y="308"/>
                    <a:pt x="60" y="308"/>
                    <a:pt x="60" y="308"/>
                  </a:cubicBezTo>
                  <a:cubicBezTo>
                    <a:pt x="59" y="323"/>
                    <a:pt x="58" y="330"/>
                    <a:pt x="61" y="352"/>
                  </a:cubicBezTo>
                  <a:cubicBezTo>
                    <a:pt x="59" y="352"/>
                    <a:pt x="59" y="352"/>
                    <a:pt x="59" y="352"/>
                  </a:cubicBezTo>
                  <a:cubicBezTo>
                    <a:pt x="2" y="378"/>
                    <a:pt x="2" y="378"/>
                    <a:pt x="2" y="378"/>
                  </a:cubicBezTo>
                  <a:cubicBezTo>
                    <a:pt x="19" y="442"/>
                    <a:pt x="19" y="442"/>
                    <a:pt x="19" y="442"/>
                  </a:cubicBezTo>
                  <a:cubicBezTo>
                    <a:pt x="84" y="438"/>
                    <a:pt x="84" y="438"/>
                    <a:pt x="84" y="438"/>
                  </a:cubicBezTo>
                  <a:cubicBezTo>
                    <a:pt x="92" y="456"/>
                    <a:pt x="101" y="472"/>
                    <a:pt x="112" y="487"/>
                  </a:cubicBezTo>
                  <a:cubicBezTo>
                    <a:pt x="111" y="488"/>
                    <a:pt x="111" y="488"/>
                    <a:pt x="111" y="488"/>
                  </a:cubicBezTo>
                  <a:cubicBezTo>
                    <a:pt x="75" y="542"/>
                    <a:pt x="75" y="542"/>
                    <a:pt x="75" y="542"/>
                  </a:cubicBezTo>
                  <a:cubicBezTo>
                    <a:pt x="122" y="588"/>
                    <a:pt x="122" y="588"/>
                    <a:pt x="122" y="588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95" y="562"/>
                    <a:pt x="214" y="572"/>
                    <a:pt x="235" y="579"/>
                  </a:cubicBezTo>
                  <a:cubicBezTo>
                    <a:pt x="234" y="581"/>
                    <a:pt x="234" y="581"/>
                    <a:pt x="234" y="581"/>
                  </a:cubicBezTo>
                  <a:cubicBezTo>
                    <a:pt x="234" y="645"/>
                    <a:pt x="234" y="645"/>
                    <a:pt x="234" y="645"/>
                  </a:cubicBezTo>
                  <a:cubicBezTo>
                    <a:pt x="299" y="658"/>
                    <a:pt x="299" y="658"/>
                    <a:pt x="299" y="658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38" y="595"/>
                    <a:pt x="352" y="595"/>
                    <a:pt x="366" y="593"/>
                  </a:cubicBezTo>
                  <a:cubicBezTo>
                    <a:pt x="367" y="594"/>
                    <a:pt x="367" y="594"/>
                    <a:pt x="367" y="594"/>
                  </a:cubicBezTo>
                  <a:cubicBezTo>
                    <a:pt x="397" y="651"/>
                    <a:pt x="397" y="651"/>
                    <a:pt x="397" y="651"/>
                  </a:cubicBezTo>
                  <a:cubicBezTo>
                    <a:pt x="461" y="630"/>
                    <a:pt x="461" y="630"/>
                    <a:pt x="461" y="630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65" y="557"/>
                    <a:pt x="477" y="549"/>
                    <a:pt x="488" y="541"/>
                  </a:cubicBezTo>
                  <a:cubicBezTo>
                    <a:pt x="490" y="542"/>
                    <a:pt x="490" y="542"/>
                    <a:pt x="490" y="542"/>
                  </a:cubicBezTo>
                  <a:cubicBezTo>
                    <a:pt x="544" y="577"/>
                    <a:pt x="544" y="577"/>
                    <a:pt x="544" y="577"/>
                  </a:cubicBezTo>
                  <a:cubicBezTo>
                    <a:pt x="589" y="529"/>
                    <a:pt x="589" y="529"/>
                    <a:pt x="589" y="529"/>
                  </a:cubicBezTo>
                  <a:cubicBezTo>
                    <a:pt x="550" y="475"/>
                    <a:pt x="550" y="475"/>
                    <a:pt x="550" y="475"/>
                  </a:cubicBezTo>
                  <a:cubicBezTo>
                    <a:pt x="549" y="474"/>
                    <a:pt x="549" y="474"/>
                    <a:pt x="549" y="474"/>
                  </a:cubicBezTo>
                  <a:cubicBezTo>
                    <a:pt x="557" y="462"/>
                    <a:pt x="564" y="450"/>
                    <a:pt x="570" y="437"/>
                  </a:cubicBezTo>
                  <a:cubicBezTo>
                    <a:pt x="572" y="438"/>
                    <a:pt x="572" y="438"/>
                    <a:pt x="572" y="438"/>
                  </a:cubicBezTo>
                  <a:cubicBezTo>
                    <a:pt x="637" y="442"/>
                    <a:pt x="637" y="442"/>
                    <a:pt x="637" y="442"/>
                  </a:cubicBezTo>
                  <a:cubicBezTo>
                    <a:pt x="653" y="378"/>
                    <a:pt x="653" y="378"/>
                    <a:pt x="653" y="378"/>
                  </a:cubicBezTo>
                  <a:cubicBezTo>
                    <a:pt x="593" y="349"/>
                    <a:pt x="593" y="349"/>
                    <a:pt x="593" y="349"/>
                  </a:cubicBezTo>
                  <a:cubicBezTo>
                    <a:pt x="591" y="345"/>
                    <a:pt x="591" y="345"/>
                    <a:pt x="591" y="345"/>
                  </a:cubicBezTo>
                  <a:cubicBezTo>
                    <a:pt x="592" y="331"/>
                    <a:pt x="592" y="319"/>
                    <a:pt x="589" y="298"/>
                  </a:cubicBezTo>
                  <a:cubicBezTo>
                    <a:pt x="592" y="297"/>
                    <a:pt x="592" y="297"/>
                    <a:pt x="592" y="297"/>
                  </a:cubicBezTo>
                  <a:cubicBezTo>
                    <a:pt x="645" y="281"/>
                    <a:pt x="645" y="281"/>
                    <a:pt x="645" y="281"/>
                  </a:cubicBezTo>
                  <a:cubicBezTo>
                    <a:pt x="629" y="217"/>
                    <a:pt x="629" y="217"/>
                    <a:pt x="629" y="217"/>
                  </a:cubicBezTo>
                  <a:cubicBezTo>
                    <a:pt x="566" y="220"/>
                    <a:pt x="566" y="220"/>
                    <a:pt x="566" y="220"/>
                  </a:cubicBezTo>
                  <a:cubicBezTo>
                    <a:pt x="567" y="220"/>
                    <a:pt x="567" y="220"/>
                    <a:pt x="567" y="220"/>
                  </a:cubicBezTo>
                  <a:cubicBezTo>
                    <a:pt x="559" y="202"/>
                    <a:pt x="551" y="186"/>
                    <a:pt x="540" y="171"/>
                  </a:cubicBezTo>
                  <a:cubicBezTo>
                    <a:pt x="542" y="170"/>
                    <a:pt x="542" y="170"/>
                    <a:pt x="542" y="170"/>
                  </a:cubicBezTo>
                  <a:cubicBezTo>
                    <a:pt x="579" y="116"/>
                    <a:pt x="579" y="116"/>
                    <a:pt x="579" y="116"/>
                  </a:cubicBezTo>
                  <a:cubicBezTo>
                    <a:pt x="531" y="70"/>
                    <a:pt x="531" y="70"/>
                    <a:pt x="531" y="70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58" y="96"/>
                    <a:pt x="439" y="86"/>
                    <a:pt x="419" y="79"/>
                  </a:cubicBezTo>
                  <a:cubicBezTo>
                    <a:pt x="419" y="77"/>
                    <a:pt x="419" y="77"/>
                    <a:pt x="419" y="77"/>
                  </a:cubicBezTo>
                  <a:cubicBezTo>
                    <a:pt x="420" y="12"/>
                    <a:pt x="420" y="12"/>
                    <a:pt x="420" y="12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30" y="62"/>
                    <a:pt x="330" y="62"/>
                    <a:pt x="330" y="62"/>
                  </a:cubicBezTo>
                  <a:close/>
                  <a:moveTo>
                    <a:pt x="540" y="273"/>
                  </a:moveTo>
                  <a:cubicBezTo>
                    <a:pt x="571" y="391"/>
                    <a:pt x="500" y="512"/>
                    <a:pt x="382" y="543"/>
                  </a:cubicBezTo>
                  <a:cubicBezTo>
                    <a:pt x="263" y="574"/>
                    <a:pt x="143" y="503"/>
                    <a:pt x="112" y="384"/>
                  </a:cubicBezTo>
                  <a:cubicBezTo>
                    <a:pt x="81" y="266"/>
                    <a:pt x="152" y="145"/>
                    <a:pt x="270" y="115"/>
                  </a:cubicBezTo>
                  <a:cubicBezTo>
                    <a:pt x="389" y="84"/>
                    <a:pt x="509" y="155"/>
                    <a:pt x="540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 rot="21079158">
            <a:off x="11614632" y="4815987"/>
            <a:ext cx="3088564" cy="3114242"/>
            <a:chOff x="5495926" y="1852613"/>
            <a:chExt cx="1336675" cy="1347788"/>
          </a:xfrm>
          <a:solidFill>
            <a:schemeClr val="accent5"/>
          </a:solidFill>
        </p:grpSpPr>
        <p:sp>
          <p:nvSpPr>
            <p:cNvPr id="24" name="Freeform 12"/>
            <p:cNvSpPr>
              <a:spLocks/>
            </p:cNvSpPr>
            <p:nvPr/>
          </p:nvSpPr>
          <p:spPr bwMode="auto">
            <a:xfrm>
              <a:off x="5724526" y="2089150"/>
              <a:ext cx="877888" cy="874713"/>
            </a:xfrm>
            <a:custGeom>
              <a:avLst/>
              <a:gdLst>
                <a:gd name="T0" fmla="*/ 165 w 428"/>
                <a:gd name="T1" fmla="*/ 27 h 428"/>
                <a:gd name="T2" fmla="*/ 27 w 428"/>
                <a:gd name="T3" fmla="*/ 262 h 428"/>
                <a:gd name="T4" fmla="*/ 263 w 428"/>
                <a:gd name="T5" fmla="*/ 401 h 428"/>
                <a:gd name="T6" fmla="*/ 401 w 428"/>
                <a:gd name="T7" fmla="*/ 165 h 428"/>
                <a:gd name="T8" fmla="*/ 165 w 428"/>
                <a:gd name="T9" fmla="*/ 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8" h="428">
                  <a:moveTo>
                    <a:pt x="165" y="27"/>
                  </a:moveTo>
                  <a:cubicBezTo>
                    <a:pt x="62" y="53"/>
                    <a:pt x="0" y="159"/>
                    <a:pt x="27" y="262"/>
                  </a:cubicBezTo>
                  <a:cubicBezTo>
                    <a:pt x="54" y="366"/>
                    <a:pt x="159" y="428"/>
                    <a:pt x="263" y="401"/>
                  </a:cubicBezTo>
                  <a:cubicBezTo>
                    <a:pt x="366" y="374"/>
                    <a:pt x="428" y="269"/>
                    <a:pt x="401" y="165"/>
                  </a:cubicBezTo>
                  <a:cubicBezTo>
                    <a:pt x="374" y="62"/>
                    <a:pt x="269" y="0"/>
                    <a:pt x="16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/>
          </p:nvSpPr>
          <p:spPr bwMode="auto">
            <a:xfrm>
              <a:off x="5495926" y="1852613"/>
              <a:ext cx="1336675" cy="1347788"/>
            </a:xfrm>
            <a:custGeom>
              <a:avLst/>
              <a:gdLst>
                <a:gd name="T0" fmla="*/ 287 w 653"/>
                <a:gd name="T1" fmla="*/ 65 h 658"/>
                <a:gd name="T2" fmla="*/ 256 w 653"/>
                <a:gd name="T3" fmla="*/ 6 h 658"/>
                <a:gd name="T4" fmla="*/ 201 w 653"/>
                <a:gd name="T5" fmla="*/ 93 h 658"/>
                <a:gd name="T6" fmla="*/ 164 w 653"/>
                <a:gd name="T7" fmla="*/ 115 h 658"/>
                <a:gd name="T8" fmla="*/ 64 w 653"/>
                <a:gd name="T9" fmla="*/ 129 h 658"/>
                <a:gd name="T10" fmla="*/ 82 w 653"/>
                <a:gd name="T11" fmla="*/ 220 h 658"/>
                <a:gd name="T12" fmla="*/ 17 w 653"/>
                <a:gd name="T13" fmla="*/ 215 h 658"/>
                <a:gd name="T14" fmla="*/ 60 w 653"/>
                <a:gd name="T15" fmla="*/ 308 h 658"/>
                <a:gd name="T16" fmla="*/ 59 w 653"/>
                <a:gd name="T17" fmla="*/ 352 h 658"/>
                <a:gd name="T18" fmla="*/ 19 w 653"/>
                <a:gd name="T19" fmla="*/ 442 h 658"/>
                <a:gd name="T20" fmla="*/ 112 w 653"/>
                <a:gd name="T21" fmla="*/ 487 h 658"/>
                <a:gd name="T22" fmla="*/ 75 w 653"/>
                <a:gd name="T23" fmla="*/ 542 h 658"/>
                <a:gd name="T24" fmla="*/ 177 w 653"/>
                <a:gd name="T25" fmla="*/ 550 h 658"/>
                <a:gd name="T26" fmla="*/ 234 w 653"/>
                <a:gd name="T27" fmla="*/ 581 h 658"/>
                <a:gd name="T28" fmla="*/ 299 w 653"/>
                <a:gd name="T29" fmla="*/ 658 h 658"/>
                <a:gd name="T30" fmla="*/ 324 w 653"/>
                <a:gd name="T31" fmla="*/ 595 h 658"/>
                <a:gd name="T32" fmla="*/ 367 w 653"/>
                <a:gd name="T33" fmla="*/ 594 h 658"/>
                <a:gd name="T34" fmla="*/ 461 w 653"/>
                <a:gd name="T35" fmla="*/ 630 h 658"/>
                <a:gd name="T36" fmla="*/ 452 w 653"/>
                <a:gd name="T37" fmla="*/ 564 h 658"/>
                <a:gd name="T38" fmla="*/ 490 w 653"/>
                <a:gd name="T39" fmla="*/ 542 h 658"/>
                <a:gd name="T40" fmla="*/ 589 w 653"/>
                <a:gd name="T41" fmla="*/ 529 h 658"/>
                <a:gd name="T42" fmla="*/ 549 w 653"/>
                <a:gd name="T43" fmla="*/ 474 h 658"/>
                <a:gd name="T44" fmla="*/ 572 w 653"/>
                <a:gd name="T45" fmla="*/ 438 h 658"/>
                <a:gd name="T46" fmla="*/ 653 w 653"/>
                <a:gd name="T47" fmla="*/ 378 h 658"/>
                <a:gd name="T48" fmla="*/ 591 w 653"/>
                <a:gd name="T49" fmla="*/ 345 h 658"/>
                <a:gd name="T50" fmla="*/ 592 w 653"/>
                <a:gd name="T51" fmla="*/ 297 h 658"/>
                <a:gd name="T52" fmla="*/ 629 w 653"/>
                <a:gd name="T53" fmla="*/ 217 h 658"/>
                <a:gd name="T54" fmla="*/ 567 w 653"/>
                <a:gd name="T55" fmla="*/ 220 h 658"/>
                <a:gd name="T56" fmla="*/ 542 w 653"/>
                <a:gd name="T57" fmla="*/ 170 h 658"/>
                <a:gd name="T58" fmla="*/ 531 w 653"/>
                <a:gd name="T59" fmla="*/ 70 h 658"/>
                <a:gd name="T60" fmla="*/ 476 w 653"/>
                <a:gd name="T61" fmla="*/ 108 h 658"/>
                <a:gd name="T62" fmla="*/ 419 w 653"/>
                <a:gd name="T63" fmla="*/ 77 h 658"/>
                <a:gd name="T64" fmla="*/ 354 w 653"/>
                <a:gd name="T65" fmla="*/ 0 h 658"/>
                <a:gd name="T66" fmla="*/ 540 w 653"/>
                <a:gd name="T67" fmla="*/ 273 h 658"/>
                <a:gd name="T68" fmla="*/ 112 w 653"/>
                <a:gd name="T69" fmla="*/ 384 h 658"/>
                <a:gd name="T70" fmla="*/ 540 w 653"/>
                <a:gd name="T71" fmla="*/ 273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3" h="658">
                  <a:moveTo>
                    <a:pt x="330" y="62"/>
                  </a:moveTo>
                  <a:cubicBezTo>
                    <a:pt x="316" y="62"/>
                    <a:pt x="301" y="63"/>
                    <a:pt x="287" y="65"/>
                  </a:cubicBezTo>
                  <a:cubicBezTo>
                    <a:pt x="287" y="63"/>
                    <a:pt x="287" y="63"/>
                    <a:pt x="287" y="63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193" y="27"/>
                    <a:pt x="193" y="27"/>
                    <a:pt x="193" y="27"/>
                  </a:cubicBezTo>
                  <a:cubicBezTo>
                    <a:pt x="201" y="93"/>
                    <a:pt x="201" y="93"/>
                    <a:pt x="201" y="93"/>
                  </a:cubicBezTo>
                  <a:cubicBezTo>
                    <a:pt x="188" y="100"/>
                    <a:pt x="176" y="108"/>
                    <a:pt x="165" y="116"/>
                  </a:cubicBezTo>
                  <a:cubicBezTo>
                    <a:pt x="164" y="115"/>
                    <a:pt x="164" y="115"/>
                    <a:pt x="164" y="115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64" y="129"/>
                    <a:pt x="64" y="129"/>
                    <a:pt x="64" y="129"/>
                  </a:cubicBezTo>
                  <a:cubicBezTo>
                    <a:pt x="103" y="182"/>
                    <a:pt x="103" y="182"/>
                    <a:pt x="103" y="182"/>
                  </a:cubicBezTo>
                  <a:cubicBezTo>
                    <a:pt x="95" y="194"/>
                    <a:pt x="88" y="207"/>
                    <a:pt x="82" y="220"/>
                  </a:cubicBezTo>
                  <a:cubicBezTo>
                    <a:pt x="81" y="220"/>
                    <a:pt x="81" y="220"/>
                    <a:pt x="81" y="220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60" y="308"/>
                    <a:pt x="60" y="308"/>
                    <a:pt x="60" y="308"/>
                  </a:cubicBezTo>
                  <a:cubicBezTo>
                    <a:pt x="59" y="323"/>
                    <a:pt x="58" y="330"/>
                    <a:pt x="61" y="352"/>
                  </a:cubicBezTo>
                  <a:cubicBezTo>
                    <a:pt x="59" y="352"/>
                    <a:pt x="59" y="352"/>
                    <a:pt x="59" y="352"/>
                  </a:cubicBezTo>
                  <a:cubicBezTo>
                    <a:pt x="2" y="378"/>
                    <a:pt x="2" y="378"/>
                    <a:pt x="2" y="378"/>
                  </a:cubicBezTo>
                  <a:cubicBezTo>
                    <a:pt x="19" y="442"/>
                    <a:pt x="19" y="442"/>
                    <a:pt x="19" y="442"/>
                  </a:cubicBezTo>
                  <a:cubicBezTo>
                    <a:pt x="84" y="438"/>
                    <a:pt x="84" y="438"/>
                    <a:pt x="84" y="438"/>
                  </a:cubicBezTo>
                  <a:cubicBezTo>
                    <a:pt x="92" y="456"/>
                    <a:pt x="101" y="472"/>
                    <a:pt x="112" y="487"/>
                  </a:cubicBezTo>
                  <a:cubicBezTo>
                    <a:pt x="111" y="488"/>
                    <a:pt x="111" y="488"/>
                    <a:pt x="111" y="488"/>
                  </a:cubicBezTo>
                  <a:cubicBezTo>
                    <a:pt x="75" y="542"/>
                    <a:pt x="75" y="542"/>
                    <a:pt x="75" y="542"/>
                  </a:cubicBezTo>
                  <a:cubicBezTo>
                    <a:pt x="122" y="588"/>
                    <a:pt x="122" y="588"/>
                    <a:pt x="122" y="588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95" y="562"/>
                    <a:pt x="214" y="572"/>
                    <a:pt x="235" y="579"/>
                  </a:cubicBezTo>
                  <a:cubicBezTo>
                    <a:pt x="234" y="581"/>
                    <a:pt x="234" y="581"/>
                    <a:pt x="234" y="581"/>
                  </a:cubicBezTo>
                  <a:cubicBezTo>
                    <a:pt x="234" y="645"/>
                    <a:pt x="234" y="645"/>
                    <a:pt x="234" y="645"/>
                  </a:cubicBezTo>
                  <a:cubicBezTo>
                    <a:pt x="299" y="658"/>
                    <a:pt x="299" y="658"/>
                    <a:pt x="299" y="658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24" y="595"/>
                    <a:pt x="324" y="595"/>
                    <a:pt x="324" y="595"/>
                  </a:cubicBezTo>
                  <a:cubicBezTo>
                    <a:pt x="338" y="595"/>
                    <a:pt x="352" y="595"/>
                    <a:pt x="366" y="593"/>
                  </a:cubicBezTo>
                  <a:cubicBezTo>
                    <a:pt x="367" y="594"/>
                    <a:pt x="367" y="594"/>
                    <a:pt x="367" y="594"/>
                  </a:cubicBezTo>
                  <a:cubicBezTo>
                    <a:pt x="397" y="651"/>
                    <a:pt x="397" y="651"/>
                    <a:pt x="397" y="651"/>
                  </a:cubicBezTo>
                  <a:cubicBezTo>
                    <a:pt x="461" y="630"/>
                    <a:pt x="461" y="630"/>
                    <a:pt x="461" y="630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52" y="564"/>
                    <a:pt x="452" y="564"/>
                    <a:pt x="452" y="564"/>
                  </a:cubicBezTo>
                  <a:cubicBezTo>
                    <a:pt x="465" y="557"/>
                    <a:pt x="477" y="549"/>
                    <a:pt x="488" y="541"/>
                  </a:cubicBezTo>
                  <a:cubicBezTo>
                    <a:pt x="490" y="542"/>
                    <a:pt x="490" y="542"/>
                    <a:pt x="490" y="542"/>
                  </a:cubicBezTo>
                  <a:cubicBezTo>
                    <a:pt x="544" y="577"/>
                    <a:pt x="544" y="577"/>
                    <a:pt x="544" y="577"/>
                  </a:cubicBezTo>
                  <a:cubicBezTo>
                    <a:pt x="589" y="529"/>
                    <a:pt x="589" y="529"/>
                    <a:pt x="589" y="529"/>
                  </a:cubicBezTo>
                  <a:cubicBezTo>
                    <a:pt x="550" y="475"/>
                    <a:pt x="550" y="475"/>
                    <a:pt x="550" y="475"/>
                  </a:cubicBezTo>
                  <a:cubicBezTo>
                    <a:pt x="549" y="474"/>
                    <a:pt x="549" y="474"/>
                    <a:pt x="549" y="474"/>
                  </a:cubicBezTo>
                  <a:cubicBezTo>
                    <a:pt x="557" y="462"/>
                    <a:pt x="564" y="450"/>
                    <a:pt x="570" y="437"/>
                  </a:cubicBezTo>
                  <a:cubicBezTo>
                    <a:pt x="572" y="438"/>
                    <a:pt x="572" y="438"/>
                    <a:pt x="572" y="438"/>
                  </a:cubicBezTo>
                  <a:cubicBezTo>
                    <a:pt x="637" y="442"/>
                    <a:pt x="637" y="442"/>
                    <a:pt x="637" y="442"/>
                  </a:cubicBezTo>
                  <a:cubicBezTo>
                    <a:pt x="653" y="378"/>
                    <a:pt x="653" y="378"/>
                    <a:pt x="653" y="378"/>
                  </a:cubicBezTo>
                  <a:cubicBezTo>
                    <a:pt x="593" y="349"/>
                    <a:pt x="593" y="349"/>
                    <a:pt x="593" y="349"/>
                  </a:cubicBezTo>
                  <a:cubicBezTo>
                    <a:pt x="591" y="345"/>
                    <a:pt x="591" y="345"/>
                    <a:pt x="591" y="345"/>
                  </a:cubicBezTo>
                  <a:cubicBezTo>
                    <a:pt x="592" y="331"/>
                    <a:pt x="592" y="319"/>
                    <a:pt x="589" y="298"/>
                  </a:cubicBezTo>
                  <a:cubicBezTo>
                    <a:pt x="592" y="297"/>
                    <a:pt x="592" y="297"/>
                    <a:pt x="592" y="297"/>
                  </a:cubicBezTo>
                  <a:cubicBezTo>
                    <a:pt x="645" y="281"/>
                    <a:pt x="645" y="281"/>
                    <a:pt x="645" y="281"/>
                  </a:cubicBezTo>
                  <a:cubicBezTo>
                    <a:pt x="629" y="217"/>
                    <a:pt x="629" y="217"/>
                    <a:pt x="629" y="217"/>
                  </a:cubicBezTo>
                  <a:cubicBezTo>
                    <a:pt x="566" y="220"/>
                    <a:pt x="566" y="220"/>
                    <a:pt x="566" y="220"/>
                  </a:cubicBezTo>
                  <a:cubicBezTo>
                    <a:pt x="567" y="220"/>
                    <a:pt x="567" y="220"/>
                    <a:pt x="567" y="220"/>
                  </a:cubicBezTo>
                  <a:cubicBezTo>
                    <a:pt x="559" y="202"/>
                    <a:pt x="551" y="186"/>
                    <a:pt x="540" y="171"/>
                  </a:cubicBezTo>
                  <a:cubicBezTo>
                    <a:pt x="542" y="170"/>
                    <a:pt x="542" y="170"/>
                    <a:pt x="542" y="170"/>
                  </a:cubicBezTo>
                  <a:cubicBezTo>
                    <a:pt x="579" y="116"/>
                    <a:pt x="579" y="116"/>
                    <a:pt x="579" y="116"/>
                  </a:cubicBezTo>
                  <a:cubicBezTo>
                    <a:pt x="531" y="70"/>
                    <a:pt x="531" y="70"/>
                    <a:pt x="531" y="70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76" y="108"/>
                    <a:pt x="476" y="108"/>
                    <a:pt x="476" y="108"/>
                  </a:cubicBezTo>
                  <a:cubicBezTo>
                    <a:pt x="458" y="96"/>
                    <a:pt x="439" y="86"/>
                    <a:pt x="419" y="79"/>
                  </a:cubicBezTo>
                  <a:cubicBezTo>
                    <a:pt x="419" y="77"/>
                    <a:pt x="419" y="77"/>
                    <a:pt x="419" y="77"/>
                  </a:cubicBezTo>
                  <a:cubicBezTo>
                    <a:pt x="420" y="12"/>
                    <a:pt x="420" y="12"/>
                    <a:pt x="420" y="12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30" y="62"/>
                    <a:pt x="330" y="62"/>
                    <a:pt x="330" y="62"/>
                  </a:cubicBezTo>
                  <a:close/>
                  <a:moveTo>
                    <a:pt x="540" y="273"/>
                  </a:moveTo>
                  <a:cubicBezTo>
                    <a:pt x="571" y="391"/>
                    <a:pt x="500" y="512"/>
                    <a:pt x="382" y="543"/>
                  </a:cubicBezTo>
                  <a:cubicBezTo>
                    <a:pt x="263" y="574"/>
                    <a:pt x="143" y="503"/>
                    <a:pt x="112" y="384"/>
                  </a:cubicBezTo>
                  <a:cubicBezTo>
                    <a:pt x="81" y="266"/>
                    <a:pt x="152" y="145"/>
                    <a:pt x="270" y="115"/>
                  </a:cubicBezTo>
                  <a:cubicBezTo>
                    <a:pt x="389" y="84"/>
                    <a:pt x="509" y="155"/>
                    <a:pt x="540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32" name="Arrow: Right 31"/>
          <p:cNvSpPr/>
          <p:nvPr/>
        </p:nvSpPr>
        <p:spPr>
          <a:xfrm>
            <a:off x="15501258" y="5221310"/>
            <a:ext cx="3744684" cy="454252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79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20295540" y="5221310"/>
            <a:ext cx="2412060" cy="3728036"/>
            <a:chOff x="8750300" y="1981200"/>
            <a:chExt cx="1131888" cy="1749426"/>
          </a:xfrm>
          <a:solidFill>
            <a:schemeClr val="accent3"/>
          </a:solidFill>
        </p:grpSpPr>
        <p:sp>
          <p:nvSpPr>
            <p:cNvPr id="63" name="Freeform 39"/>
            <p:cNvSpPr>
              <a:spLocks/>
            </p:cNvSpPr>
            <p:nvPr/>
          </p:nvSpPr>
          <p:spPr bwMode="auto">
            <a:xfrm>
              <a:off x="9072563" y="3576638"/>
              <a:ext cx="488950" cy="63500"/>
            </a:xfrm>
            <a:custGeom>
              <a:avLst/>
              <a:gdLst>
                <a:gd name="T0" fmla="*/ 216 w 231"/>
                <a:gd name="T1" fmla="*/ 30 h 30"/>
                <a:gd name="T2" fmla="*/ 15 w 231"/>
                <a:gd name="T3" fmla="*/ 30 h 30"/>
                <a:gd name="T4" fmla="*/ 0 w 231"/>
                <a:gd name="T5" fmla="*/ 15 h 30"/>
                <a:gd name="T6" fmla="*/ 0 w 231"/>
                <a:gd name="T7" fmla="*/ 15 h 30"/>
                <a:gd name="T8" fmla="*/ 15 w 231"/>
                <a:gd name="T9" fmla="*/ 0 h 30"/>
                <a:gd name="T10" fmla="*/ 216 w 231"/>
                <a:gd name="T11" fmla="*/ 0 h 30"/>
                <a:gd name="T12" fmla="*/ 231 w 231"/>
                <a:gd name="T13" fmla="*/ 15 h 30"/>
                <a:gd name="T14" fmla="*/ 231 w 231"/>
                <a:gd name="T15" fmla="*/ 15 h 30"/>
                <a:gd name="T16" fmla="*/ 216 w 231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30">
                  <a:moveTo>
                    <a:pt x="216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4" y="0"/>
                    <a:pt x="231" y="7"/>
                    <a:pt x="231" y="15"/>
                  </a:cubicBezTo>
                  <a:cubicBezTo>
                    <a:pt x="231" y="15"/>
                    <a:pt x="231" y="15"/>
                    <a:pt x="231" y="15"/>
                  </a:cubicBezTo>
                  <a:cubicBezTo>
                    <a:pt x="231" y="23"/>
                    <a:pt x="224" y="30"/>
                    <a:pt x="216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64" name="Freeform 40"/>
            <p:cNvSpPr>
              <a:spLocks/>
            </p:cNvSpPr>
            <p:nvPr/>
          </p:nvSpPr>
          <p:spPr bwMode="auto">
            <a:xfrm>
              <a:off x="9155113" y="3665538"/>
              <a:ext cx="323850" cy="65088"/>
            </a:xfrm>
            <a:custGeom>
              <a:avLst/>
              <a:gdLst>
                <a:gd name="T0" fmla="*/ 141 w 153"/>
                <a:gd name="T1" fmla="*/ 31 h 31"/>
                <a:gd name="T2" fmla="*/ 12 w 153"/>
                <a:gd name="T3" fmla="*/ 31 h 31"/>
                <a:gd name="T4" fmla="*/ 0 w 153"/>
                <a:gd name="T5" fmla="*/ 19 h 31"/>
                <a:gd name="T6" fmla="*/ 0 w 153"/>
                <a:gd name="T7" fmla="*/ 13 h 31"/>
                <a:gd name="T8" fmla="*/ 12 w 153"/>
                <a:gd name="T9" fmla="*/ 0 h 31"/>
                <a:gd name="T10" fmla="*/ 141 w 153"/>
                <a:gd name="T11" fmla="*/ 0 h 31"/>
                <a:gd name="T12" fmla="*/ 153 w 153"/>
                <a:gd name="T13" fmla="*/ 13 h 31"/>
                <a:gd name="T14" fmla="*/ 153 w 153"/>
                <a:gd name="T15" fmla="*/ 19 h 31"/>
                <a:gd name="T16" fmla="*/ 141 w 153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31">
                  <a:moveTo>
                    <a:pt x="141" y="31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5" y="31"/>
                    <a:pt x="0" y="25"/>
                    <a:pt x="0" y="1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8" y="0"/>
                    <a:pt x="153" y="6"/>
                    <a:pt x="153" y="13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25"/>
                    <a:pt x="148" y="31"/>
                    <a:pt x="141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65" name="Freeform 41"/>
            <p:cNvSpPr>
              <a:spLocks/>
            </p:cNvSpPr>
            <p:nvPr/>
          </p:nvSpPr>
          <p:spPr bwMode="auto">
            <a:xfrm>
              <a:off x="9072563" y="3486150"/>
              <a:ext cx="488950" cy="65088"/>
            </a:xfrm>
            <a:custGeom>
              <a:avLst/>
              <a:gdLst>
                <a:gd name="T0" fmla="*/ 216 w 231"/>
                <a:gd name="T1" fmla="*/ 31 h 31"/>
                <a:gd name="T2" fmla="*/ 15 w 231"/>
                <a:gd name="T3" fmla="*/ 31 h 31"/>
                <a:gd name="T4" fmla="*/ 0 w 231"/>
                <a:gd name="T5" fmla="*/ 15 h 31"/>
                <a:gd name="T6" fmla="*/ 0 w 231"/>
                <a:gd name="T7" fmla="*/ 15 h 31"/>
                <a:gd name="T8" fmla="*/ 15 w 231"/>
                <a:gd name="T9" fmla="*/ 0 h 31"/>
                <a:gd name="T10" fmla="*/ 216 w 231"/>
                <a:gd name="T11" fmla="*/ 0 h 31"/>
                <a:gd name="T12" fmla="*/ 231 w 231"/>
                <a:gd name="T13" fmla="*/ 15 h 31"/>
                <a:gd name="T14" fmla="*/ 231 w 231"/>
                <a:gd name="T15" fmla="*/ 15 h 31"/>
                <a:gd name="T16" fmla="*/ 216 w 231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31">
                  <a:moveTo>
                    <a:pt x="216" y="31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7" y="31"/>
                    <a:pt x="0" y="2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4" y="0"/>
                    <a:pt x="231" y="7"/>
                    <a:pt x="231" y="15"/>
                  </a:cubicBezTo>
                  <a:cubicBezTo>
                    <a:pt x="231" y="15"/>
                    <a:pt x="231" y="15"/>
                    <a:pt x="231" y="15"/>
                  </a:cubicBezTo>
                  <a:cubicBezTo>
                    <a:pt x="231" y="24"/>
                    <a:pt x="224" y="31"/>
                    <a:pt x="216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66" name="Freeform 42"/>
            <p:cNvSpPr>
              <a:spLocks/>
            </p:cNvSpPr>
            <p:nvPr/>
          </p:nvSpPr>
          <p:spPr bwMode="auto">
            <a:xfrm>
              <a:off x="8750300" y="1981200"/>
              <a:ext cx="1131888" cy="1479550"/>
            </a:xfrm>
            <a:custGeom>
              <a:avLst/>
              <a:gdLst>
                <a:gd name="T0" fmla="*/ 382 w 535"/>
                <a:gd name="T1" fmla="*/ 668 h 699"/>
                <a:gd name="T2" fmla="*/ 379 w 535"/>
                <a:gd name="T3" fmla="*/ 668 h 699"/>
                <a:gd name="T4" fmla="*/ 535 w 535"/>
                <a:gd name="T5" fmla="*/ 248 h 699"/>
                <a:gd name="T6" fmla="*/ 268 w 535"/>
                <a:gd name="T7" fmla="*/ 0 h 699"/>
                <a:gd name="T8" fmla="*/ 0 w 535"/>
                <a:gd name="T9" fmla="*/ 248 h 699"/>
                <a:gd name="T10" fmla="*/ 156 w 535"/>
                <a:gd name="T11" fmla="*/ 668 h 699"/>
                <a:gd name="T12" fmla="*/ 154 w 535"/>
                <a:gd name="T13" fmla="*/ 668 h 699"/>
                <a:gd name="T14" fmla="*/ 136 w 535"/>
                <a:gd name="T15" fmla="*/ 684 h 699"/>
                <a:gd name="T16" fmla="*/ 154 w 535"/>
                <a:gd name="T17" fmla="*/ 699 h 699"/>
                <a:gd name="T18" fmla="*/ 382 w 535"/>
                <a:gd name="T19" fmla="*/ 699 h 699"/>
                <a:gd name="T20" fmla="*/ 399 w 535"/>
                <a:gd name="T21" fmla="*/ 684 h 699"/>
                <a:gd name="T22" fmla="*/ 382 w 535"/>
                <a:gd name="T23" fmla="*/ 668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5" h="699">
                  <a:moveTo>
                    <a:pt x="382" y="668"/>
                  </a:moveTo>
                  <a:cubicBezTo>
                    <a:pt x="379" y="668"/>
                    <a:pt x="379" y="668"/>
                    <a:pt x="379" y="668"/>
                  </a:cubicBezTo>
                  <a:cubicBezTo>
                    <a:pt x="379" y="506"/>
                    <a:pt x="535" y="404"/>
                    <a:pt x="535" y="248"/>
                  </a:cubicBezTo>
                  <a:cubicBezTo>
                    <a:pt x="535" y="136"/>
                    <a:pt x="426" y="0"/>
                    <a:pt x="268" y="0"/>
                  </a:cubicBezTo>
                  <a:cubicBezTo>
                    <a:pt x="88" y="0"/>
                    <a:pt x="0" y="136"/>
                    <a:pt x="0" y="248"/>
                  </a:cubicBezTo>
                  <a:cubicBezTo>
                    <a:pt x="0" y="404"/>
                    <a:pt x="156" y="506"/>
                    <a:pt x="156" y="668"/>
                  </a:cubicBezTo>
                  <a:cubicBezTo>
                    <a:pt x="154" y="668"/>
                    <a:pt x="154" y="668"/>
                    <a:pt x="154" y="668"/>
                  </a:cubicBezTo>
                  <a:cubicBezTo>
                    <a:pt x="144" y="668"/>
                    <a:pt x="136" y="675"/>
                    <a:pt x="136" y="684"/>
                  </a:cubicBezTo>
                  <a:cubicBezTo>
                    <a:pt x="136" y="692"/>
                    <a:pt x="144" y="699"/>
                    <a:pt x="154" y="699"/>
                  </a:cubicBezTo>
                  <a:cubicBezTo>
                    <a:pt x="382" y="699"/>
                    <a:pt x="382" y="699"/>
                    <a:pt x="382" y="699"/>
                  </a:cubicBezTo>
                  <a:cubicBezTo>
                    <a:pt x="391" y="699"/>
                    <a:pt x="399" y="692"/>
                    <a:pt x="399" y="684"/>
                  </a:cubicBezTo>
                  <a:cubicBezTo>
                    <a:pt x="399" y="675"/>
                    <a:pt x="391" y="668"/>
                    <a:pt x="382" y="6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19443033" y="4324822"/>
            <a:ext cx="4117078" cy="3714504"/>
            <a:chOff x="8350250" y="1560512"/>
            <a:chExt cx="1931988" cy="1743076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68" name="Freeform 66"/>
            <p:cNvSpPr>
              <a:spLocks/>
            </p:cNvSpPr>
            <p:nvPr/>
          </p:nvSpPr>
          <p:spPr bwMode="auto">
            <a:xfrm>
              <a:off x="9272588" y="1560512"/>
              <a:ext cx="66675" cy="301625"/>
            </a:xfrm>
            <a:custGeom>
              <a:avLst/>
              <a:gdLst>
                <a:gd name="T0" fmla="*/ 15 w 31"/>
                <a:gd name="T1" fmla="*/ 0 h 143"/>
                <a:gd name="T2" fmla="*/ 0 w 31"/>
                <a:gd name="T3" fmla="*/ 17 h 143"/>
                <a:gd name="T4" fmla="*/ 6 w 31"/>
                <a:gd name="T5" fmla="*/ 143 h 143"/>
                <a:gd name="T6" fmla="*/ 21 w 31"/>
                <a:gd name="T7" fmla="*/ 142 h 143"/>
                <a:gd name="T8" fmla="*/ 28 w 31"/>
                <a:gd name="T9" fmla="*/ 143 h 143"/>
                <a:gd name="T10" fmla="*/ 31 w 31"/>
                <a:gd name="T11" fmla="*/ 16 h 143"/>
                <a:gd name="T12" fmla="*/ 31 w 31"/>
                <a:gd name="T13" fmla="*/ 15 h 143"/>
                <a:gd name="T14" fmla="*/ 15 w 31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143">
                  <a:moveTo>
                    <a:pt x="15" y="0"/>
                  </a:moveTo>
                  <a:cubicBezTo>
                    <a:pt x="6" y="1"/>
                    <a:pt x="0" y="8"/>
                    <a:pt x="0" y="17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11" y="143"/>
                    <a:pt x="16" y="142"/>
                    <a:pt x="21" y="142"/>
                  </a:cubicBezTo>
                  <a:cubicBezTo>
                    <a:pt x="23" y="142"/>
                    <a:pt x="26" y="143"/>
                    <a:pt x="28" y="143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5"/>
                    <a:pt x="31" y="15"/>
                  </a:cubicBezTo>
                  <a:cubicBezTo>
                    <a:pt x="31" y="6"/>
                    <a:pt x="24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69" name="Line 43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0" name="Line 44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1" name="Line 45"/>
            <p:cNvSpPr>
              <a:spLocks noChangeShapeType="1"/>
            </p:cNvSpPr>
            <p:nvPr/>
          </p:nvSpPr>
          <p:spPr bwMode="auto">
            <a:xfrm>
              <a:off x="8434388" y="287020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2" name="Line 46"/>
            <p:cNvSpPr>
              <a:spLocks noChangeShapeType="1"/>
            </p:cNvSpPr>
            <p:nvPr/>
          </p:nvSpPr>
          <p:spPr bwMode="auto">
            <a:xfrm>
              <a:off x="8434388" y="287020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3" name="Line 47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4" name="Line 48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5" name="Line 49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6" name="Line 50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7" name="Line 51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8" name="Line 52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9" name="Line 53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0" name="Line 54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1" name="Line 55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2" name="Line 56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3" name="Line 57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4" name="Line 58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5" name="Line 59"/>
            <p:cNvSpPr>
              <a:spLocks noChangeShapeType="1"/>
            </p:cNvSpPr>
            <p:nvPr/>
          </p:nvSpPr>
          <p:spPr bwMode="auto">
            <a:xfrm>
              <a:off x="10045700" y="31337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6" name="Line 60"/>
            <p:cNvSpPr>
              <a:spLocks noChangeShapeType="1"/>
            </p:cNvSpPr>
            <p:nvPr/>
          </p:nvSpPr>
          <p:spPr bwMode="auto">
            <a:xfrm>
              <a:off x="10045700" y="31337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7" name="Line 61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8" name="Line 62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9" name="Line 63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0" name="Line 64"/>
            <p:cNvSpPr>
              <a:spLocks noChangeShapeType="1"/>
            </p:cNvSpPr>
            <p:nvPr/>
          </p:nvSpPr>
          <p:spPr bwMode="auto">
            <a:xfrm>
              <a:off x="9317038" y="25368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1" name="Freeform 65"/>
            <p:cNvSpPr>
              <a:spLocks/>
            </p:cNvSpPr>
            <p:nvPr/>
          </p:nvSpPr>
          <p:spPr bwMode="auto">
            <a:xfrm>
              <a:off x="9518650" y="1608138"/>
              <a:ext cx="147638" cy="298450"/>
            </a:xfrm>
            <a:custGeom>
              <a:avLst/>
              <a:gdLst>
                <a:gd name="T0" fmla="*/ 57 w 70"/>
                <a:gd name="T1" fmla="*/ 3 h 141"/>
                <a:gd name="T2" fmla="*/ 37 w 70"/>
                <a:gd name="T3" fmla="*/ 13 h 141"/>
                <a:gd name="T4" fmla="*/ 0 w 70"/>
                <a:gd name="T5" fmla="*/ 134 h 141"/>
                <a:gd name="T6" fmla="*/ 21 w 70"/>
                <a:gd name="T7" fmla="*/ 141 h 141"/>
                <a:gd name="T8" fmla="*/ 67 w 70"/>
                <a:gd name="T9" fmla="*/ 24 h 141"/>
                <a:gd name="T10" fmla="*/ 67 w 70"/>
                <a:gd name="T11" fmla="*/ 23 h 141"/>
                <a:gd name="T12" fmla="*/ 57 w 70"/>
                <a:gd name="T13" fmla="*/ 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41">
                  <a:moveTo>
                    <a:pt x="57" y="3"/>
                  </a:moveTo>
                  <a:cubicBezTo>
                    <a:pt x="49" y="0"/>
                    <a:pt x="40" y="5"/>
                    <a:pt x="37" y="13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7" y="136"/>
                    <a:pt x="14" y="139"/>
                    <a:pt x="21" y="141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70" y="14"/>
                    <a:pt x="65" y="6"/>
                    <a:pt x="57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2" name="Freeform 67"/>
            <p:cNvSpPr>
              <a:spLocks/>
            </p:cNvSpPr>
            <p:nvPr/>
          </p:nvSpPr>
          <p:spPr bwMode="auto">
            <a:xfrm>
              <a:off x="8947150" y="1617663"/>
              <a:ext cx="153988" cy="295275"/>
            </a:xfrm>
            <a:custGeom>
              <a:avLst/>
              <a:gdLst>
                <a:gd name="T0" fmla="*/ 32 w 73"/>
                <a:gd name="T1" fmla="*/ 12 h 140"/>
                <a:gd name="T2" fmla="*/ 32 w 73"/>
                <a:gd name="T3" fmla="*/ 11 h 140"/>
                <a:gd name="T4" fmla="*/ 11 w 73"/>
                <a:gd name="T5" fmla="*/ 3 h 140"/>
                <a:gd name="T6" fmla="*/ 3 w 73"/>
                <a:gd name="T7" fmla="*/ 23 h 140"/>
                <a:gd name="T8" fmla="*/ 52 w 73"/>
                <a:gd name="T9" fmla="*/ 140 h 140"/>
                <a:gd name="T10" fmla="*/ 73 w 73"/>
                <a:gd name="T11" fmla="*/ 132 h 140"/>
                <a:gd name="T12" fmla="*/ 32 w 73"/>
                <a:gd name="T13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40">
                  <a:moveTo>
                    <a:pt x="32" y="12"/>
                  </a:moveTo>
                  <a:cubicBezTo>
                    <a:pt x="32" y="12"/>
                    <a:pt x="32" y="12"/>
                    <a:pt x="32" y="11"/>
                  </a:cubicBezTo>
                  <a:cubicBezTo>
                    <a:pt x="29" y="3"/>
                    <a:pt x="19" y="0"/>
                    <a:pt x="11" y="3"/>
                  </a:cubicBezTo>
                  <a:cubicBezTo>
                    <a:pt x="3" y="6"/>
                    <a:pt x="0" y="15"/>
                    <a:pt x="3" y="23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8" y="137"/>
                    <a:pt x="66" y="135"/>
                    <a:pt x="73" y="132"/>
                  </a:cubicBezTo>
                  <a:lnTo>
                    <a:pt x="32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3" name="Freeform 68"/>
            <p:cNvSpPr>
              <a:spLocks/>
            </p:cNvSpPr>
            <p:nvPr/>
          </p:nvSpPr>
          <p:spPr bwMode="auto">
            <a:xfrm>
              <a:off x="8666163" y="1784350"/>
              <a:ext cx="228600" cy="255588"/>
            </a:xfrm>
            <a:custGeom>
              <a:avLst/>
              <a:gdLst>
                <a:gd name="T0" fmla="*/ 29 w 108"/>
                <a:gd name="T1" fmla="*/ 8 h 121"/>
                <a:gd name="T2" fmla="*/ 29 w 108"/>
                <a:gd name="T3" fmla="*/ 7 h 121"/>
                <a:gd name="T4" fmla="*/ 7 w 108"/>
                <a:gd name="T5" fmla="*/ 6 h 121"/>
                <a:gd name="T6" fmla="*/ 6 w 108"/>
                <a:gd name="T7" fmla="*/ 28 h 121"/>
                <a:gd name="T8" fmla="*/ 91 w 108"/>
                <a:gd name="T9" fmla="*/ 121 h 121"/>
                <a:gd name="T10" fmla="*/ 108 w 108"/>
                <a:gd name="T11" fmla="*/ 106 h 121"/>
                <a:gd name="T12" fmla="*/ 29 w 108"/>
                <a:gd name="T13" fmla="*/ 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1">
                  <a:moveTo>
                    <a:pt x="29" y="8"/>
                  </a:moveTo>
                  <a:cubicBezTo>
                    <a:pt x="29" y="7"/>
                    <a:pt x="29" y="7"/>
                    <a:pt x="29" y="7"/>
                  </a:cubicBezTo>
                  <a:cubicBezTo>
                    <a:pt x="23" y="0"/>
                    <a:pt x="13" y="0"/>
                    <a:pt x="7" y="6"/>
                  </a:cubicBezTo>
                  <a:cubicBezTo>
                    <a:pt x="0" y="12"/>
                    <a:pt x="0" y="22"/>
                    <a:pt x="6" y="28"/>
                  </a:cubicBezTo>
                  <a:cubicBezTo>
                    <a:pt x="91" y="121"/>
                    <a:pt x="91" y="121"/>
                    <a:pt x="91" y="121"/>
                  </a:cubicBezTo>
                  <a:cubicBezTo>
                    <a:pt x="97" y="116"/>
                    <a:pt x="103" y="111"/>
                    <a:pt x="108" y="106"/>
                  </a:cubicBezTo>
                  <a:lnTo>
                    <a:pt x="29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4" name="Freeform 69"/>
            <p:cNvSpPr>
              <a:spLocks/>
            </p:cNvSpPr>
            <p:nvPr/>
          </p:nvSpPr>
          <p:spPr bwMode="auto">
            <a:xfrm>
              <a:off x="9885363" y="2019300"/>
              <a:ext cx="280988" cy="195263"/>
            </a:xfrm>
            <a:custGeom>
              <a:avLst/>
              <a:gdLst>
                <a:gd name="T0" fmla="*/ 124 w 133"/>
                <a:gd name="T1" fmla="*/ 31 h 92"/>
                <a:gd name="T2" fmla="*/ 128 w 133"/>
                <a:gd name="T3" fmla="*/ 9 h 92"/>
                <a:gd name="T4" fmla="*/ 107 w 133"/>
                <a:gd name="T5" fmla="*/ 4 h 92"/>
                <a:gd name="T6" fmla="*/ 0 w 133"/>
                <a:gd name="T7" fmla="*/ 72 h 92"/>
                <a:gd name="T8" fmla="*/ 12 w 133"/>
                <a:gd name="T9" fmla="*/ 92 h 92"/>
                <a:gd name="T10" fmla="*/ 123 w 133"/>
                <a:gd name="T11" fmla="*/ 31 h 92"/>
                <a:gd name="T12" fmla="*/ 124 w 133"/>
                <a:gd name="T13" fmla="*/ 3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92">
                  <a:moveTo>
                    <a:pt x="124" y="31"/>
                  </a:moveTo>
                  <a:cubicBezTo>
                    <a:pt x="131" y="26"/>
                    <a:pt x="133" y="16"/>
                    <a:pt x="128" y="9"/>
                  </a:cubicBezTo>
                  <a:cubicBezTo>
                    <a:pt x="124" y="2"/>
                    <a:pt x="114" y="0"/>
                    <a:pt x="107" y="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4" y="79"/>
                    <a:pt x="8" y="85"/>
                    <a:pt x="12" y="9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3" y="31"/>
                    <a:pt x="123" y="31"/>
                    <a:pt x="124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5" name="Freeform 70"/>
            <p:cNvSpPr>
              <a:spLocks/>
            </p:cNvSpPr>
            <p:nvPr/>
          </p:nvSpPr>
          <p:spPr bwMode="auto">
            <a:xfrm>
              <a:off x="9975850" y="2325688"/>
              <a:ext cx="304800" cy="109538"/>
            </a:xfrm>
            <a:custGeom>
              <a:avLst/>
              <a:gdLst>
                <a:gd name="T0" fmla="*/ 130 w 144"/>
                <a:gd name="T1" fmla="*/ 33 h 52"/>
                <a:gd name="T2" fmla="*/ 142 w 144"/>
                <a:gd name="T3" fmla="*/ 14 h 52"/>
                <a:gd name="T4" fmla="*/ 123 w 144"/>
                <a:gd name="T5" fmla="*/ 2 h 52"/>
                <a:gd name="T6" fmla="*/ 0 w 144"/>
                <a:gd name="T7" fmla="*/ 30 h 52"/>
                <a:gd name="T8" fmla="*/ 4 w 144"/>
                <a:gd name="T9" fmla="*/ 52 h 52"/>
                <a:gd name="T10" fmla="*/ 129 w 144"/>
                <a:gd name="T11" fmla="*/ 33 h 52"/>
                <a:gd name="T12" fmla="*/ 130 w 144"/>
                <a:gd name="T13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52">
                  <a:moveTo>
                    <a:pt x="130" y="33"/>
                  </a:moveTo>
                  <a:cubicBezTo>
                    <a:pt x="139" y="31"/>
                    <a:pt x="144" y="22"/>
                    <a:pt x="142" y="14"/>
                  </a:cubicBezTo>
                  <a:cubicBezTo>
                    <a:pt x="140" y="5"/>
                    <a:pt x="132" y="0"/>
                    <a:pt x="123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7"/>
                    <a:pt x="3" y="44"/>
                    <a:pt x="4" y="52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30" y="33"/>
                    <a:pt x="130" y="33"/>
                    <a:pt x="130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6" name="Freeform 71"/>
            <p:cNvSpPr>
              <a:spLocks/>
            </p:cNvSpPr>
            <p:nvPr/>
          </p:nvSpPr>
          <p:spPr bwMode="auto">
            <a:xfrm>
              <a:off x="8456613" y="2036763"/>
              <a:ext cx="282575" cy="190500"/>
            </a:xfrm>
            <a:custGeom>
              <a:avLst/>
              <a:gdLst>
                <a:gd name="T0" fmla="*/ 134 w 134"/>
                <a:gd name="T1" fmla="*/ 71 h 90"/>
                <a:gd name="T2" fmla="*/ 26 w 134"/>
                <a:gd name="T3" fmla="*/ 5 h 90"/>
                <a:gd name="T4" fmla="*/ 25 w 134"/>
                <a:gd name="T5" fmla="*/ 4 h 90"/>
                <a:gd name="T6" fmla="*/ 4 w 134"/>
                <a:gd name="T7" fmla="*/ 11 h 90"/>
                <a:gd name="T8" fmla="*/ 11 w 134"/>
                <a:gd name="T9" fmla="*/ 32 h 90"/>
                <a:gd name="T10" fmla="*/ 123 w 134"/>
                <a:gd name="T11" fmla="*/ 90 h 90"/>
                <a:gd name="T12" fmla="*/ 134 w 134"/>
                <a:gd name="T13" fmla="*/ 7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90">
                  <a:moveTo>
                    <a:pt x="134" y="71"/>
                  </a:move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5" y="4"/>
                    <a:pt x="25" y="4"/>
                  </a:cubicBezTo>
                  <a:cubicBezTo>
                    <a:pt x="17" y="0"/>
                    <a:pt x="8" y="3"/>
                    <a:pt x="4" y="11"/>
                  </a:cubicBezTo>
                  <a:cubicBezTo>
                    <a:pt x="0" y="19"/>
                    <a:pt x="3" y="28"/>
                    <a:pt x="11" y="32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7" y="83"/>
                    <a:pt x="130" y="77"/>
                    <a:pt x="134" y="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7" name="Freeform 72"/>
            <p:cNvSpPr>
              <a:spLocks/>
            </p:cNvSpPr>
            <p:nvPr/>
          </p:nvSpPr>
          <p:spPr bwMode="auto">
            <a:xfrm>
              <a:off x="8350250" y="2349500"/>
              <a:ext cx="304800" cy="101600"/>
            </a:xfrm>
            <a:custGeom>
              <a:avLst/>
              <a:gdLst>
                <a:gd name="T0" fmla="*/ 144 w 144"/>
                <a:gd name="T1" fmla="*/ 26 h 48"/>
                <a:gd name="T2" fmla="*/ 20 w 144"/>
                <a:gd name="T3" fmla="*/ 1 h 48"/>
                <a:gd name="T4" fmla="*/ 19 w 144"/>
                <a:gd name="T5" fmla="*/ 1 h 48"/>
                <a:gd name="T6" fmla="*/ 1 w 144"/>
                <a:gd name="T7" fmla="*/ 14 h 48"/>
                <a:gd name="T8" fmla="*/ 15 w 144"/>
                <a:gd name="T9" fmla="*/ 32 h 48"/>
                <a:gd name="T10" fmla="*/ 140 w 144"/>
                <a:gd name="T11" fmla="*/ 48 h 48"/>
                <a:gd name="T12" fmla="*/ 144 w 144"/>
                <a:gd name="T13" fmla="*/ 2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48">
                  <a:moveTo>
                    <a:pt x="144" y="26"/>
                  </a:moveTo>
                  <a:cubicBezTo>
                    <a:pt x="20" y="1"/>
                    <a:pt x="20" y="1"/>
                    <a:pt x="2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0" y="0"/>
                    <a:pt x="2" y="6"/>
                    <a:pt x="1" y="14"/>
                  </a:cubicBezTo>
                  <a:cubicBezTo>
                    <a:pt x="0" y="23"/>
                    <a:pt x="6" y="31"/>
                    <a:pt x="15" y="32"/>
                  </a:cubicBezTo>
                  <a:cubicBezTo>
                    <a:pt x="140" y="48"/>
                    <a:pt x="140" y="48"/>
                    <a:pt x="140" y="48"/>
                  </a:cubicBezTo>
                  <a:cubicBezTo>
                    <a:pt x="141" y="40"/>
                    <a:pt x="142" y="33"/>
                    <a:pt x="144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8" name="Freeform 73"/>
            <p:cNvSpPr>
              <a:spLocks/>
            </p:cNvSpPr>
            <p:nvPr/>
          </p:nvSpPr>
          <p:spPr bwMode="auto">
            <a:xfrm>
              <a:off x="8351838" y="2638425"/>
              <a:ext cx="304800" cy="107950"/>
            </a:xfrm>
            <a:custGeom>
              <a:avLst/>
              <a:gdLst>
                <a:gd name="T0" fmla="*/ 140 w 144"/>
                <a:gd name="T1" fmla="*/ 0 h 51"/>
                <a:gd name="T2" fmla="*/ 15 w 144"/>
                <a:gd name="T3" fmla="*/ 19 h 51"/>
                <a:gd name="T4" fmla="*/ 14 w 144"/>
                <a:gd name="T5" fmla="*/ 19 h 51"/>
                <a:gd name="T6" fmla="*/ 2 w 144"/>
                <a:gd name="T7" fmla="*/ 37 h 51"/>
                <a:gd name="T8" fmla="*/ 21 w 144"/>
                <a:gd name="T9" fmla="*/ 49 h 51"/>
                <a:gd name="T10" fmla="*/ 144 w 144"/>
                <a:gd name="T11" fmla="*/ 22 h 51"/>
                <a:gd name="T12" fmla="*/ 140 w 144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51">
                  <a:moveTo>
                    <a:pt x="140" y="0"/>
                  </a:move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4" y="19"/>
                    <a:pt x="14" y="19"/>
                  </a:cubicBezTo>
                  <a:cubicBezTo>
                    <a:pt x="5" y="21"/>
                    <a:pt x="0" y="29"/>
                    <a:pt x="2" y="37"/>
                  </a:cubicBezTo>
                  <a:cubicBezTo>
                    <a:pt x="4" y="46"/>
                    <a:pt x="12" y="51"/>
                    <a:pt x="21" y="49"/>
                  </a:cubicBezTo>
                  <a:cubicBezTo>
                    <a:pt x="144" y="22"/>
                    <a:pt x="144" y="22"/>
                    <a:pt x="144" y="22"/>
                  </a:cubicBezTo>
                  <a:cubicBezTo>
                    <a:pt x="142" y="14"/>
                    <a:pt x="141" y="7"/>
                    <a:pt x="1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9" name="Freeform 74"/>
            <p:cNvSpPr>
              <a:spLocks/>
            </p:cNvSpPr>
            <p:nvPr/>
          </p:nvSpPr>
          <p:spPr bwMode="auto">
            <a:xfrm>
              <a:off x="8466138" y="2860675"/>
              <a:ext cx="282575" cy="195263"/>
            </a:xfrm>
            <a:custGeom>
              <a:avLst/>
              <a:gdLst>
                <a:gd name="T0" fmla="*/ 121 w 133"/>
                <a:gd name="T1" fmla="*/ 0 h 92"/>
                <a:gd name="T2" fmla="*/ 10 w 133"/>
                <a:gd name="T3" fmla="*/ 60 h 92"/>
                <a:gd name="T4" fmla="*/ 9 w 133"/>
                <a:gd name="T5" fmla="*/ 61 h 92"/>
                <a:gd name="T6" fmla="*/ 5 w 133"/>
                <a:gd name="T7" fmla="*/ 82 h 92"/>
                <a:gd name="T8" fmla="*/ 26 w 133"/>
                <a:gd name="T9" fmla="*/ 87 h 92"/>
                <a:gd name="T10" fmla="*/ 133 w 133"/>
                <a:gd name="T11" fmla="*/ 19 h 92"/>
                <a:gd name="T12" fmla="*/ 121 w 133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92">
                  <a:moveTo>
                    <a:pt x="121" y="0"/>
                  </a:move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10" y="61"/>
                    <a:pt x="9" y="61"/>
                  </a:cubicBezTo>
                  <a:cubicBezTo>
                    <a:pt x="2" y="65"/>
                    <a:pt x="0" y="75"/>
                    <a:pt x="5" y="82"/>
                  </a:cubicBezTo>
                  <a:cubicBezTo>
                    <a:pt x="9" y="90"/>
                    <a:pt x="19" y="92"/>
                    <a:pt x="26" y="87"/>
                  </a:cubicBezTo>
                  <a:cubicBezTo>
                    <a:pt x="133" y="19"/>
                    <a:pt x="133" y="19"/>
                    <a:pt x="133" y="19"/>
                  </a:cubicBezTo>
                  <a:cubicBezTo>
                    <a:pt x="129" y="13"/>
                    <a:pt x="125" y="6"/>
                    <a:pt x="1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0" name="Freeform 75"/>
            <p:cNvSpPr>
              <a:spLocks/>
            </p:cNvSpPr>
            <p:nvPr/>
          </p:nvSpPr>
          <p:spPr bwMode="auto">
            <a:xfrm>
              <a:off x="9726613" y="1770063"/>
              <a:ext cx="225425" cy="260350"/>
            </a:xfrm>
            <a:custGeom>
              <a:avLst/>
              <a:gdLst>
                <a:gd name="T0" fmla="*/ 99 w 107"/>
                <a:gd name="T1" fmla="*/ 5 h 123"/>
                <a:gd name="T2" fmla="*/ 77 w 107"/>
                <a:gd name="T3" fmla="*/ 8 h 123"/>
                <a:gd name="T4" fmla="*/ 0 w 107"/>
                <a:gd name="T5" fmla="*/ 109 h 123"/>
                <a:gd name="T6" fmla="*/ 17 w 107"/>
                <a:gd name="T7" fmla="*/ 123 h 123"/>
                <a:gd name="T8" fmla="*/ 101 w 107"/>
                <a:gd name="T9" fmla="*/ 28 h 123"/>
                <a:gd name="T10" fmla="*/ 102 w 107"/>
                <a:gd name="T11" fmla="*/ 27 h 123"/>
                <a:gd name="T12" fmla="*/ 99 w 107"/>
                <a:gd name="T13" fmla="*/ 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3">
                  <a:moveTo>
                    <a:pt x="99" y="5"/>
                  </a:moveTo>
                  <a:cubicBezTo>
                    <a:pt x="92" y="0"/>
                    <a:pt x="82" y="1"/>
                    <a:pt x="77" y="8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6" y="114"/>
                    <a:pt x="12" y="118"/>
                    <a:pt x="17" y="123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8"/>
                    <a:pt x="102" y="28"/>
                    <a:pt x="102" y="27"/>
                  </a:cubicBezTo>
                  <a:cubicBezTo>
                    <a:pt x="107" y="21"/>
                    <a:pt x="106" y="11"/>
                    <a:pt x="99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1" name="Freeform 76"/>
            <p:cNvSpPr>
              <a:spLocks/>
            </p:cNvSpPr>
            <p:nvPr/>
          </p:nvSpPr>
          <p:spPr bwMode="auto">
            <a:xfrm>
              <a:off x="9980613" y="2622550"/>
              <a:ext cx="301625" cy="103188"/>
            </a:xfrm>
            <a:custGeom>
              <a:avLst/>
              <a:gdLst>
                <a:gd name="T0" fmla="*/ 125 w 143"/>
                <a:gd name="T1" fmla="*/ 48 h 49"/>
                <a:gd name="T2" fmla="*/ 142 w 143"/>
                <a:gd name="T3" fmla="*/ 34 h 49"/>
                <a:gd name="T4" fmla="*/ 129 w 143"/>
                <a:gd name="T5" fmla="*/ 17 h 49"/>
                <a:gd name="T6" fmla="*/ 3 w 143"/>
                <a:gd name="T7" fmla="*/ 0 h 49"/>
                <a:gd name="T8" fmla="*/ 0 w 143"/>
                <a:gd name="T9" fmla="*/ 23 h 49"/>
                <a:gd name="T10" fmla="*/ 124 w 143"/>
                <a:gd name="T11" fmla="*/ 48 h 49"/>
                <a:gd name="T12" fmla="*/ 125 w 143"/>
                <a:gd name="T13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49">
                  <a:moveTo>
                    <a:pt x="125" y="48"/>
                  </a:moveTo>
                  <a:cubicBezTo>
                    <a:pt x="133" y="49"/>
                    <a:pt x="141" y="43"/>
                    <a:pt x="142" y="34"/>
                  </a:cubicBezTo>
                  <a:cubicBezTo>
                    <a:pt x="143" y="26"/>
                    <a:pt x="137" y="18"/>
                    <a:pt x="129" y="1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8"/>
                    <a:pt x="1" y="15"/>
                    <a:pt x="0" y="23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24" y="48"/>
                    <a:pt x="125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2" name="Freeform 77"/>
            <p:cNvSpPr>
              <a:spLocks/>
            </p:cNvSpPr>
            <p:nvPr/>
          </p:nvSpPr>
          <p:spPr bwMode="auto">
            <a:xfrm>
              <a:off x="9893300" y="2846388"/>
              <a:ext cx="284163" cy="190500"/>
            </a:xfrm>
            <a:custGeom>
              <a:avLst/>
              <a:gdLst>
                <a:gd name="T0" fmla="*/ 109 w 134"/>
                <a:gd name="T1" fmla="*/ 86 h 90"/>
                <a:gd name="T2" fmla="*/ 130 w 134"/>
                <a:gd name="T3" fmla="*/ 80 h 90"/>
                <a:gd name="T4" fmla="*/ 123 w 134"/>
                <a:gd name="T5" fmla="*/ 58 h 90"/>
                <a:gd name="T6" fmla="*/ 11 w 134"/>
                <a:gd name="T7" fmla="*/ 0 h 90"/>
                <a:gd name="T8" fmla="*/ 0 w 134"/>
                <a:gd name="T9" fmla="*/ 20 h 90"/>
                <a:gd name="T10" fmla="*/ 108 w 134"/>
                <a:gd name="T11" fmla="*/ 86 h 90"/>
                <a:gd name="T12" fmla="*/ 109 w 134"/>
                <a:gd name="T13" fmla="*/ 8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90">
                  <a:moveTo>
                    <a:pt x="109" y="86"/>
                  </a:moveTo>
                  <a:cubicBezTo>
                    <a:pt x="117" y="90"/>
                    <a:pt x="126" y="87"/>
                    <a:pt x="130" y="80"/>
                  </a:cubicBezTo>
                  <a:cubicBezTo>
                    <a:pt x="134" y="72"/>
                    <a:pt x="131" y="62"/>
                    <a:pt x="123" y="5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7"/>
                    <a:pt x="4" y="13"/>
                    <a:pt x="0" y="20"/>
                  </a:cubicBezTo>
                  <a:cubicBezTo>
                    <a:pt x="108" y="86"/>
                    <a:pt x="108" y="86"/>
                    <a:pt x="108" y="86"/>
                  </a:cubicBezTo>
                  <a:cubicBezTo>
                    <a:pt x="108" y="86"/>
                    <a:pt x="109" y="86"/>
                    <a:pt x="109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3" name="Freeform 78"/>
            <p:cNvSpPr>
              <a:spLocks/>
            </p:cNvSpPr>
            <p:nvPr/>
          </p:nvSpPr>
          <p:spPr bwMode="auto">
            <a:xfrm>
              <a:off x="9739313" y="3032125"/>
              <a:ext cx="228600" cy="257175"/>
            </a:xfrm>
            <a:custGeom>
              <a:avLst/>
              <a:gdLst>
                <a:gd name="T0" fmla="*/ 80 w 108"/>
                <a:gd name="T1" fmla="*/ 115 h 121"/>
                <a:gd name="T2" fmla="*/ 102 w 108"/>
                <a:gd name="T3" fmla="*/ 116 h 121"/>
                <a:gd name="T4" fmla="*/ 103 w 108"/>
                <a:gd name="T5" fmla="*/ 93 h 121"/>
                <a:gd name="T6" fmla="*/ 17 w 108"/>
                <a:gd name="T7" fmla="*/ 0 h 121"/>
                <a:gd name="T8" fmla="*/ 0 w 108"/>
                <a:gd name="T9" fmla="*/ 15 h 121"/>
                <a:gd name="T10" fmla="*/ 79 w 108"/>
                <a:gd name="T11" fmla="*/ 114 h 121"/>
                <a:gd name="T12" fmla="*/ 80 w 108"/>
                <a:gd name="T13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1">
                  <a:moveTo>
                    <a:pt x="80" y="115"/>
                  </a:moveTo>
                  <a:cubicBezTo>
                    <a:pt x="85" y="121"/>
                    <a:pt x="95" y="121"/>
                    <a:pt x="102" y="116"/>
                  </a:cubicBezTo>
                  <a:cubicBezTo>
                    <a:pt x="108" y="110"/>
                    <a:pt x="108" y="100"/>
                    <a:pt x="103" y="9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1" y="5"/>
                    <a:pt x="6" y="10"/>
                    <a:pt x="0" y="15"/>
                  </a:cubicBezTo>
                  <a:cubicBezTo>
                    <a:pt x="79" y="114"/>
                    <a:pt x="79" y="114"/>
                    <a:pt x="79" y="114"/>
                  </a:cubicBezTo>
                  <a:cubicBezTo>
                    <a:pt x="79" y="114"/>
                    <a:pt x="79" y="114"/>
                    <a:pt x="80" y="1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4" name="Freeform 79"/>
            <p:cNvSpPr>
              <a:spLocks/>
            </p:cNvSpPr>
            <p:nvPr/>
          </p:nvSpPr>
          <p:spPr bwMode="auto">
            <a:xfrm>
              <a:off x="8680450" y="3043238"/>
              <a:ext cx="227013" cy="260350"/>
            </a:xfrm>
            <a:custGeom>
              <a:avLst/>
              <a:gdLst>
                <a:gd name="T0" fmla="*/ 90 w 107"/>
                <a:gd name="T1" fmla="*/ 0 h 123"/>
                <a:gd name="T2" fmla="*/ 6 w 107"/>
                <a:gd name="T3" fmla="*/ 95 h 123"/>
                <a:gd name="T4" fmla="*/ 5 w 107"/>
                <a:gd name="T5" fmla="*/ 96 h 123"/>
                <a:gd name="T6" fmla="*/ 8 w 107"/>
                <a:gd name="T7" fmla="*/ 118 h 123"/>
                <a:gd name="T8" fmla="*/ 30 w 107"/>
                <a:gd name="T9" fmla="*/ 115 h 123"/>
                <a:gd name="T10" fmla="*/ 107 w 107"/>
                <a:gd name="T11" fmla="*/ 14 h 123"/>
                <a:gd name="T12" fmla="*/ 90 w 107"/>
                <a:gd name="T1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3">
                  <a:moveTo>
                    <a:pt x="90" y="0"/>
                  </a:moveTo>
                  <a:cubicBezTo>
                    <a:pt x="6" y="95"/>
                    <a:pt x="6" y="95"/>
                    <a:pt x="6" y="95"/>
                  </a:cubicBezTo>
                  <a:cubicBezTo>
                    <a:pt x="6" y="95"/>
                    <a:pt x="6" y="96"/>
                    <a:pt x="5" y="96"/>
                  </a:cubicBezTo>
                  <a:cubicBezTo>
                    <a:pt x="0" y="103"/>
                    <a:pt x="1" y="113"/>
                    <a:pt x="8" y="118"/>
                  </a:cubicBezTo>
                  <a:cubicBezTo>
                    <a:pt x="15" y="123"/>
                    <a:pt x="25" y="122"/>
                    <a:pt x="30" y="115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1" y="10"/>
                    <a:pt x="95" y="5"/>
                    <a:pt x="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1842402" y="9256341"/>
            <a:ext cx="1972143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934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934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561823" y="9793368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866096" y="3712701"/>
            <a:ext cx="1972143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934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934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4585517" y="4249728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9219140" y="9786243"/>
            <a:ext cx="1972143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934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934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7938561" y="10323270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12157852" y="2972133"/>
            <a:ext cx="1972143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934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934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0877273" y="3509160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20881270" y="9339509"/>
            <a:ext cx="1306063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934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Results</a:t>
            </a:r>
            <a:endParaRPr lang="id-ID" sz="2934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9267651" y="9876536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116" name="Freeform 118"/>
          <p:cNvSpPr>
            <a:spLocks noEditPoints="1"/>
          </p:cNvSpPr>
          <p:nvPr/>
        </p:nvSpPr>
        <p:spPr bwMode="auto">
          <a:xfrm>
            <a:off x="2257546" y="7000429"/>
            <a:ext cx="1043316" cy="781626"/>
          </a:xfrm>
          <a:custGeom>
            <a:avLst/>
            <a:gdLst>
              <a:gd name="T0" fmla="*/ 105 w 128"/>
              <a:gd name="T1" fmla="*/ 2 h 96"/>
              <a:gd name="T2" fmla="*/ 28 w 128"/>
              <a:gd name="T3" fmla="*/ 0 h 96"/>
              <a:gd name="T4" fmla="*/ 2 w 128"/>
              <a:gd name="T5" fmla="*/ 23 h 96"/>
              <a:gd name="T6" fmla="*/ 2 w 128"/>
              <a:gd name="T7" fmla="*/ 34 h 96"/>
              <a:gd name="T8" fmla="*/ 64 w 128"/>
              <a:gd name="T9" fmla="*/ 96 h 96"/>
              <a:gd name="T10" fmla="*/ 126 w 128"/>
              <a:gd name="T11" fmla="*/ 34 h 96"/>
              <a:gd name="T12" fmla="*/ 126 w 128"/>
              <a:gd name="T13" fmla="*/ 23 h 96"/>
              <a:gd name="T14" fmla="*/ 55 w 128"/>
              <a:gd name="T15" fmla="*/ 28 h 96"/>
              <a:gd name="T16" fmla="*/ 73 w 128"/>
              <a:gd name="T17" fmla="*/ 28 h 96"/>
              <a:gd name="T18" fmla="*/ 78 w 128"/>
              <a:gd name="T19" fmla="*/ 9 h 96"/>
              <a:gd name="T20" fmla="*/ 76 w 128"/>
              <a:gd name="T21" fmla="*/ 25 h 96"/>
              <a:gd name="T22" fmla="*/ 52 w 128"/>
              <a:gd name="T23" fmla="*/ 25 h 96"/>
              <a:gd name="T24" fmla="*/ 50 w 128"/>
              <a:gd name="T25" fmla="*/ 9 h 96"/>
              <a:gd name="T26" fmla="*/ 52 w 128"/>
              <a:gd name="T27" fmla="*/ 25 h 96"/>
              <a:gd name="T28" fmla="*/ 64 w 128"/>
              <a:gd name="T29" fmla="*/ 82 h 96"/>
              <a:gd name="T30" fmla="*/ 74 w 128"/>
              <a:gd name="T31" fmla="*/ 32 h 96"/>
              <a:gd name="T32" fmla="*/ 98 w 128"/>
              <a:gd name="T33" fmla="*/ 32 h 96"/>
              <a:gd name="T34" fmla="*/ 78 w 128"/>
              <a:gd name="T35" fmla="*/ 32 h 96"/>
              <a:gd name="T36" fmla="*/ 89 w 128"/>
              <a:gd name="T37" fmla="*/ 20 h 96"/>
              <a:gd name="T38" fmla="*/ 79 w 128"/>
              <a:gd name="T39" fmla="*/ 28 h 96"/>
              <a:gd name="T40" fmla="*/ 97 w 128"/>
              <a:gd name="T41" fmla="*/ 8 h 96"/>
              <a:gd name="T42" fmla="*/ 83 w 128"/>
              <a:gd name="T43" fmla="*/ 8 h 96"/>
              <a:gd name="T44" fmla="*/ 55 w 128"/>
              <a:gd name="T45" fmla="*/ 8 h 96"/>
              <a:gd name="T46" fmla="*/ 64 w 128"/>
              <a:gd name="T47" fmla="*/ 15 h 96"/>
              <a:gd name="T48" fmla="*/ 31 w 128"/>
              <a:gd name="T49" fmla="*/ 8 h 96"/>
              <a:gd name="T50" fmla="*/ 39 w 128"/>
              <a:gd name="T51" fmla="*/ 14 h 96"/>
              <a:gd name="T52" fmla="*/ 49 w 128"/>
              <a:gd name="T53" fmla="*/ 28 h 96"/>
              <a:gd name="T54" fmla="*/ 39 w 128"/>
              <a:gd name="T55" fmla="*/ 20 h 96"/>
              <a:gd name="T56" fmla="*/ 60 w 128"/>
              <a:gd name="T57" fmla="*/ 81 h 96"/>
              <a:gd name="T58" fmla="*/ 50 w 128"/>
              <a:gd name="T59" fmla="*/ 32 h 96"/>
              <a:gd name="T60" fmla="*/ 11 w 128"/>
              <a:gd name="T61" fmla="*/ 32 h 96"/>
              <a:gd name="T62" fmla="*/ 51 w 128"/>
              <a:gd name="T63" fmla="*/ 74 h 96"/>
              <a:gd name="T64" fmla="*/ 117 w 128"/>
              <a:gd name="T65" fmla="*/ 32 h 96"/>
              <a:gd name="T66" fmla="*/ 102 w 128"/>
              <a:gd name="T67" fmla="*/ 32 h 96"/>
              <a:gd name="T68" fmla="*/ 92 w 128"/>
              <a:gd name="T69" fmla="*/ 17 h 96"/>
              <a:gd name="T70" fmla="*/ 120 w 128"/>
              <a:gd name="T71" fmla="*/ 28 h 96"/>
              <a:gd name="T72" fmla="*/ 27 w 128"/>
              <a:gd name="T73" fmla="*/ 10 h 96"/>
              <a:gd name="T74" fmla="*/ 25 w 128"/>
              <a:gd name="T75" fmla="*/ 28 h 96"/>
              <a:gd name="T76" fmla="*/ 27 w 128"/>
              <a:gd name="T77" fmla="*/ 1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8" h="96">
                <a:moveTo>
                  <a:pt x="126" y="23"/>
                </a:moveTo>
                <a:cubicBezTo>
                  <a:pt x="105" y="2"/>
                  <a:pt x="105" y="2"/>
                  <a:pt x="105" y="2"/>
                </a:cubicBezTo>
                <a:cubicBezTo>
                  <a:pt x="104" y="1"/>
                  <a:pt x="102" y="0"/>
                  <a:pt x="100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6" y="0"/>
                  <a:pt x="24" y="1"/>
                  <a:pt x="23" y="2"/>
                </a:cubicBezTo>
                <a:cubicBezTo>
                  <a:pt x="2" y="23"/>
                  <a:pt x="2" y="23"/>
                  <a:pt x="2" y="23"/>
                </a:cubicBezTo>
                <a:cubicBezTo>
                  <a:pt x="1" y="24"/>
                  <a:pt x="0" y="26"/>
                  <a:pt x="0" y="28"/>
                </a:cubicBezTo>
                <a:cubicBezTo>
                  <a:pt x="0" y="30"/>
                  <a:pt x="1" y="32"/>
                  <a:pt x="2" y="34"/>
                </a:cubicBezTo>
                <a:cubicBezTo>
                  <a:pt x="58" y="93"/>
                  <a:pt x="58" y="93"/>
                  <a:pt x="58" y="93"/>
                </a:cubicBezTo>
                <a:cubicBezTo>
                  <a:pt x="60" y="95"/>
                  <a:pt x="62" y="96"/>
                  <a:pt x="64" y="96"/>
                </a:cubicBezTo>
                <a:cubicBezTo>
                  <a:pt x="66" y="96"/>
                  <a:pt x="68" y="95"/>
                  <a:pt x="70" y="93"/>
                </a:cubicBezTo>
                <a:cubicBezTo>
                  <a:pt x="126" y="34"/>
                  <a:pt x="126" y="34"/>
                  <a:pt x="126" y="34"/>
                </a:cubicBezTo>
                <a:cubicBezTo>
                  <a:pt x="127" y="32"/>
                  <a:pt x="128" y="30"/>
                  <a:pt x="128" y="28"/>
                </a:cubicBezTo>
                <a:cubicBezTo>
                  <a:pt x="128" y="26"/>
                  <a:pt x="127" y="24"/>
                  <a:pt x="126" y="23"/>
                </a:cubicBezTo>
                <a:close/>
                <a:moveTo>
                  <a:pt x="73" y="28"/>
                </a:moveTo>
                <a:cubicBezTo>
                  <a:pt x="55" y="28"/>
                  <a:pt x="55" y="28"/>
                  <a:pt x="55" y="28"/>
                </a:cubicBezTo>
                <a:cubicBezTo>
                  <a:pt x="64" y="21"/>
                  <a:pt x="64" y="21"/>
                  <a:pt x="64" y="21"/>
                </a:cubicBezTo>
                <a:lnTo>
                  <a:pt x="73" y="28"/>
                </a:lnTo>
                <a:close/>
                <a:moveTo>
                  <a:pt x="67" y="18"/>
                </a:moveTo>
                <a:cubicBezTo>
                  <a:pt x="78" y="9"/>
                  <a:pt x="78" y="9"/>
                  <a:pt x="78" y="9"/>
                </a:cubicBezTo>
                <a:cubicBezTo>
                  <a:pt x="86" y="17"/>
                  <a:pt x="86" y="17"/>
                  <a:pt x="86" y="17"/>
                </a:cubicBezTo>
                <a:cubicBezTo>
                  <a:pt x="76" y="25"/>
                  <a:pt x="76" y="25"/>
                  <a:pt x="76" y="25"/>
                </a:cubicBezTo>
                <a:lnTo>
                  <a:pt x="67" y="18"/>
                </a:lnTo>
                <a:close/>
                <a:moveTo>
                  <a:pt x="52" y="25"/>
                </a:moveTo>
                <a:cubicBezTo>
                  <a:pt x="42" y="17"/>
                  <a:pt x="42" y="17"/>
                  <a:pt x="42" y="17"/>
                </a:cubicBezTo>
                <a:cubicBezTo>
                  <a:pt x="50" y="9"/>
                  <a:pt x="50" y="9"/>
                  <a:pt x="50" y="9"/>
                </a:cubicBezTo>
                <a:cubicBezTo>
                  <a:pt x="61" y="18"/>
                  <a:pt x="61" y="18"/>
                  <a:pt x="61" y="18"/>
                </a:cubicBezTo>
                <a:lnTo>
                  <a:pt x="52" y="25"/>
                </a:lnTo>
                <a:close/>
                <a:moveTo>
                  <a:pt x="74" y="32"/>
                </a:moveTo>
                <a:cubicBezTo>
                  <a:pt x="64" y="82"/>
                  <a:pt x="64" y="82"/>
                  <a:pt x="64" y="82"/>
                </a:cubicBezTo>
                <a:cubicBezTo>
                  <a:pt x="54" y="32"/>
                  <a:pt x="54" y="32"/>
                  <a:pt x="54" y="32"/>
                </a:cubicBezTo>
                <a:lnTo>
                  <a:pt x="74" y="32"/>
                </a:lnTo>
                <a:close/>
                <a:moveTo>
                  <a:pt x="78" y="32"/>
                </a:moveTo>
                <a:cubicBezTo>
                  <a:pt x="98" y="32"/>
                  <a:pt x="98" y="32"/>
                  <a:pt x="98" y="32"/>
                </a:cubicBezTo>
                <a:cubicBezTo>
                  <a:pt x="68" y="81"/>
                  <a:pt x="68" y="81"/>
                  <a:pt x="68" y="81"/>
                </a:cubicBezTo>
                <a:lnTo>
                  <a:pt x="78" y="32"/>
                </a:lnTo>
                <a:close/>
                <a:moveTo>
                  <a:pt x="79" y="28"/>
                </a:moveTo>
                <a:cubicBezTo>
                  <a:pt x="89" y="20"/>
                  <a:pt x="89" y="20"/>
                  <a:pt x="89" y="20"/>
                </a:cubicBezTo>
                <a:cubicBezTo>
                  <a:pt x="97" y="28"/>
                  <a:pt x="97" y="28"/>
                  <a:pt x="97" y="28"/>
                </a:cubicBezTo>
                <a:lnTo>
                  <a:pt x="79" y="28"/>
                </a:lnTo>
                <a:close/>
                <a:moveTo>
                  <a:pt x="83" y="8"/>
                </a:moveTo>
                <a:cubicBezTo>
                  <a:pt x="97" y="8"/>
                  <a:pt x="97" y="8"/>
                  <a:pt x="97" y="8"/>
                </a:cubicBezTo>
                <a:cubicBezTo>
                  <a:pt x="89" y="14"/>
                  <a:pt x="89" y="14"/>
                  <a:pt x="89" y="14"/>
                </a:cubicBezTo>
                <a:lnTo>
                  <a:pt x="83" y="8"/>
                </a:lnTo>
                <a:close/>
                <a:moveTo>
                  <a:pt x="64" y="15"/>
                </a:moveTo>
                <a:cubicBezTo>
                  <a:pt x="55" y="8"/>
                  <a:pt x="55" y="8"/>
                  <a:pt x="55" y="8"/>
                </a:cubicBezTo>
                <a:cubicBezTo>
                  <a:pt x="73" y="8"/>
                  <a:pt x="73" y="8"/>
                  <a:pt x="73" y="8"/>
                </a:cubicBezTo>
                <a:lnTo>
                  <a:pt x="64" y="15"/>
                </a:lnTo>
                <a:close/>
                <a:moveTo>
                  <a:pt x="39" y="14"/>
                </a:moveTo>
                <a:cubicBezTo>
                  <a:pt x="31" y="8"/>
                  <a:pt x="31" y="8"/>
                  <a:pt x="31" y="8"/>
                </a:cubicBezTo>
                <a:cubicBezTo>
                  <a:pt x="45" y="8"/>
                  <a:pt x="45" y="8"/>
                  <a:pt x="45" y="8"/>
                </a:cubicBezTo>
                <a:lnTo>
                  <a:pt x="39" y="14"/>
                </a:lnTo>
                <a:close/>
                <a:moveTo>
                  <a:pt x="39" y="20"/>
                </a:moveTo>
                <a:cubicBezTo>
                  <a:pt x="49" y="28"/>
                  <a:pt x="49" y="28"/>
                  <a:pt x="49" y="28"/>
                </a:cubicBezTo>
                <a:cubicBezTo>
                  <a:pt x="31" y="28"/>
                  <a:pt x="31" y="28"/>
                  <a:pt x="31" y="28"/>
                </a:cubicBezTo>
                <a:lnTo>
                  <a:pt x="39" y="20"/>
                </a:lnTo>
                <a:close/>
                <a:moveTo>
                  <a:pt x="50" y="32"/>
                </a:moveTo>
                <a:cubicBezTo>
                  <a:pt x="60" y="81"/>
                  <a:pt x="60" y="81"/>
                  <a:pt x="60" y="81"/>
                </a:cubicBezTo>
                <a:cubicBezTo>
                  <a:pt x="30" y="32"/>
                  <a:pt x="30" y="32"/>
                  <a:pt x="30" y="32"/>
                </a:cubicBezTo>
                <a:lnTo>
                  <a:pt x="50" y="32"/>
                </a:lnTo>
                <a:close/>
                <a:moveTo>
                  <a:pt x="51" y="74"/>
                </a:moveTo>
                <a:cubicBezTo>
                  <a:pt x="11" y="32"/>
                  <a:pt x="11" y="32"/>
                  <a:pt x="11" y="32"/>
                </a:cubicBezTo>
                <a:cubicBezTo>
                  <a:pt x="26" y="32"/>
                  <a:pt x="26" y="32"/>
                  <a:pt x="26" y="32"/>
                </a:cubicBezTo>
                <a:lnTo>
                  <a:pt x="51" y="74"/>
                </a:lnTo>
                <a:close/>
                <a:moveTo>
                  <a:pt x="102" y="32"/>
                </a:moveTo>
                <a:cubicBezTo>
                  <a:pt x="117" y="32"/>
                  <a:pt x="117" y="32"/>
                  <a:pt x="117" y="32"/>
                </a:cubicBezTo>
                <a:cubicBezTo>
                  <a:pt x="77" y="74"/>
                  <a:pt x="77" y="74"/>
                  <a:pt x="77" y="74"/>
                </a:cubicBezTo>
                <a:lnTo>
                  <a:pt x="102" y="32"/>
                </a:lnTo>
                <a:close/>
                <a:moveTo>
                  <a:pt x="103" y="28"/>
                </a:moveTo>
                <a:cubicBezTo>
                  <a:pt x="92" y="17"/>
                  <a:pt x="92" y="17"/>
                  <a:pt x="92" y="17"/>
                </a:cubicBezTo>
                <a:cubicBezTo>
                  <a:pt x="101" y="10"/>
                  <a:pt x="101" y="10"/>
                  <a:pt x="101" y="10"/>
                </a:cubicBezTo>
                <a:cubicBezTo>
                  <a:pt x="120" y="28"/>
                  <a:pt x="120" y="28"/>
                  <a:pt x="120" y="28"/>
                </a:cubicBezTo>
                <a:lnTo>
                  <a:pt x="103" y="28"/>
                </a:lnTo>
                <a:close/>
                <a:moveTo>
                  <a:pt x="27" y="10"/>
                </a:moveTo>
                <a:cubicBezTo>
                  <a:pt x="36" y="17"/>
                  <a:pt x="36" y="17"/>
                  <a:pt x="36" y="17"/>
                </a:cubicBezTo>
                <a:cubicBezTo>
                  <a:pt x="25" y="28"/>
                  <a:pt x="25" y="28"/>
                  <a:pt x="25" y="28"/>
                </a:cubicBezTo>
                <a:cubicBezTo>
                  <a:pt x="8" y="28"/>
                  <a:pt x="8" y="28"/>
                  <a:pt x="8" y="28"/>
                </a:cubicBezTo>
                <a:lnTo>
                  <a:pt x="27" y="1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id-ID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10057634" y="7407121"/>
            <a:ext cx="1043316" cy="1039870"/>
            <a:chOff x="6146802" y="1144829"/>
            <a:chExt cx="400024" cy="398703"/>
          </a:xfrm>
          <a:solidFill>
            <a:schemeClr val="bg2"/>
          </a:solidFill>
        </p:grpSpPr>
        <p:sp>
          <p:nvSpPr>
            <p:cNvPr id="118" name="Freeform 127"/>
            <p:cNvSpPr>
              <a:spLocks noEditPoints="1"/>
            </p:cNvSpPr>
            <p:nvPr/>
          </p:nvSpPr>
          <p:spPr bwMode="auto">
            <a:xfrm>
              <a:off x="6146802" y="1144829"/>
              <a:ext cx="400024" cy="398703"/>
            </a:xfrm>
            <a:custGeom>
              <a:avLst/>
              <a:gdLst>
                <a:gd name="T0" fmla="*/ 80 w 128"/>
                <a:gd name="T1" fmla="*/ 0 h 128"/>
                <a:gd name="T2" fmla="*/ 32 w 128"/>
                <a:gd name="T3" fmla="*/ 48 h 128"/>
                <a:gd name="T4" fmla="*/ 38 w 128"/>
                <a:gd name="T5" fmla="*/ 70 h 128"/>
                <a:gd name="T6" fmla="*/ 4 w 128"/>
                <a:gd name="T7" fmla="*/ 104 h 128"/>
                <a:gd name="T8" fmla="*/ 4 w 128"/>
                <a:gd name="T9" fmla="*/ 104 h 128"/>
                <a:gd name="T10" fmla="*/ 0 w 128"/>
                <a:gd name="T11" fmla="*/ 114 h 128"/>
                <a:gd name="T12" fmla="*/ 14 w 128"/>
                <a:gd name="T13" fmla="*/ 128 h 128"/>
                <a:gd name="T14" fmla="*/ 24 w 128"/>
                <a:gd name="T15" fmla="*/ 124 h 128"/>
                <a:gd name="T16" fmla="*/ 24 w 128"/>
                <a:gd name="T17" fmla="*/ 124 h 128"/>
                <a:gd name="T18" fmla="*/ 58 w 128"/>
                <a:gd name="T19" fmla="*/ 90 h 128"/>
                <a:gd name="T20" fmla="*/ 80 w 128"/>
                <a:gd name="T21" fmla="*/ 96 h 128"/>
                <a:gd name="T22" fmla="*/ 128 w 128"/>
                <a:gd name="T23" fmla="*/ 48 h 128"/>
                <a:gd name="T24" fmla="*/ 80 w 128"/>
                <a:gd name="T25" fmla="*/ 0 h 128"/>
                <a:gd name="T26" fmla="*/ 19 w 128"/>
                <a:gd name="T27" fmla="*/ 119 h 128"/>
                <a:gd name="T28" fmla="*/ 14 w 128"/>
                <a:gd name="T29" fmla="*/ 121 h 128"/>
                <a:gd name="T30" fmla="*/ 7 w 128"/>
                <a:gd name="T31" fmla="*/ 114 h 128"/>
                <a:gd name="T32" fmla="*/ 9 w 128"/>
                <a:gd name="T33" fmla="*/ 109 h 128"/>
                <a:gd name="T34" fmla="*/ 9 w 128"/>
                <a:gd name="T35" fmla="*/ 109 h 128"/>
                <a:gd name="T36" fmla="*/ 41 w 128"/>
                <a:gd name="T37" fmla="*/ 77 h 128"/>
                <a:gd name="T38" fmla="*/ 51 w 128"/>
                <a:gd name="T39" fmla="*/ 87 h 128"/>
                <a:gd name="T40" fmla="*/ 19 w 128"/>
                <a:gd name="T41" fmla="*/ 119 h 128"/>
                <a:gd name="T42" fmla="*/ 80 w 128"/>
                <a:gd name="T43" fmla="*/ 88 h 128"/>
                <a:gd name="T44" fmla="*/ 40 w 128"/>
                <a:gd name="T45" fmla="*/ 48 h 128"/>
                <a:gd name="T46" fmla="*/ 80 w 128"/>
                <a:gd name="T47" fmla="*/ 8 h 128"/>
                <a:gd name="T48" fmla="*/ 120 w 128"/>
                <a:gd name="T49" fmla="*/ 48 h 128"/>
                <a:gd name="T50" fmla="*/ 80 w 128"/>
                <a:gd name="T51" fmla="*/ 8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128">
                  <a:moveTo>
                    <a:pt x="80" y="0"/>
                  </a:moveTo>
                  <a:cubicBezTo>
                    <a:pt x="53" y="0"/>
                    <a:pt x="32" y="21"/>
                    <a:pt x="32" y="48"/>
                  </a:cubicBezTo>
                  <a:cubicBezTo>
                    <a:pt x="32" y="56"/>
                    <a:pt x="34" y="64"/>
                    <a:pt x="38" y="70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2" y="106"/>
                    <a:pt x="0" y="110"/>
                    <a:pt x="0" y="114"/>
                  </a:cubicBezTo>
                  <a:cubicBezTo>
                    <a:pt x="0" y="122"/>
                    <a:pt x="6" y="128"/>
                    <a:pt x="14" y="128"/>
                  </a:cubicBezTo>
                  <a:cubicBezTo>
                    <a:pt x="18" y="128"/>
                    <a:pt x="22" y="126"/>
                    <a:pt x="24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64" y="94"/>
                    <a:pt x="72" y="96"/>
                    <a:pt x="80" y="96"/>
                  </a:cubicBezTo>
                  <a:cubicBezTo>
                    <a:pt x="107" y="96"/>
                    <a:pt x="128" y="75"/>
                    <a:pt x="128" y="48"/>
                  </a:cubicBezTo>
                  <a:cubicBezTo>
                    <a:pt x="128" y="21"/>
                    <a:pt x="107" y="0"/>
                    <a:pt x="80" y="0"/>
                  </a:cubicBezTo>
                  <a:close/>
                  <a:moveTo>
                    <a:pt x="19" y="119"/>
                  </a:moveTo>
                  <a:cubicBezTo>
                    <a:pt x="18" y="120"/>
                    <a:pt x="16" y="121"/>
                    <a:pt x="14" y="121"/>
                  </a:cubicBezTo>
                  <a:cubicBezTo>
                    <a:pt x="10" y="121"/>
                    <a:pt x="7" y="118"/>
                    <a:pt x="7" y="114"/>
                  </a:cubicBezTo>
                  <a:cubicBezTo>
                    <a:pt x="7" y="112"/>
                    <a:pt x="8" y="110"/>
                    <a:pt x="9" y="109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4" y="80"/>
                    <a:pt x="48" y="84"/>
                    <a:pt x="51" y="87"/>
                  </a:cubicBezTo>
                  <a:lnTo>
                    <a:pt x="19" y="119"/>
                  </a:lnTo>
                  <a:close/>
                  <a:moveTo>
                    <a:pt x="80" y="88"/>
                  </a:moveTo>
                  <a:cubicBezTo>
                    <a:pt x="58" y="88"/>
                    <a:pt x="40" y="70"/>
                    <a:pt x="40" y="48"/>
                  </a:cubicBezTo>
                  <a:cubicBezTo>
                    <a:pt x="40" y="26"/>
                    <a:pt x="58" y="8"/>
                    <a:pt x="80" y="8"/>
                  </a:cubicBezTo>
                  <a:cubicBezTo>
                    <a:pt x="102" y="8"/>
                    <a:pt x="120" y="26"/>
                    <a:pt x="120" y="48"/>
                  </a:cubicBezTo>
                  <a:cubicBezTo>
                    <a:pt x="120" y="70"/>
                    <a:pt x="102" y="88"/>
                    <a:pt x="8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19" name="Freeform 128"/>
            <p:cNvSpPr>
              <a:spLocks/>
            </p:cNvSpPr>
            <p:nvPr/>
          </p:nvSpPr>
          <p:spPr bwMode="auto">
            <a:xfrm>
              <a:off x="6309188" y="1206880"/>
              <a:ext cx="93735" cy="93735"/>
            </a:xfrm>
            <a:custGeom>
              <a:avLst/>
              <a:gdLst>
                <a:gd name="T0" fmla="*/ 28 w 30"/>
                <a:gd name="T1" fmla="*/ 0 h 30"/>
                <a:gd name="T2" fmla="*/ 0 w 30"/>
                <a:gd name="T3" fmla="*/ 28 h 30"/>
                <a:gd name="T4" fmla="*/ 2 w 30"/>
                <a:gd name="T5" fmla="*/ 30 h 30"/>
                <a:gd name="T6" fmla="*/ 4 w 30"/>
                <a:gd name="T7" fmla="*/ 28 h 30"/>
                <a:gd name="T8" fmla="*/ 28 w 30"/>
                <a:gd name="T9" fmla="*/ 4 h 30"/>
                <a:gd name="T10" fmla="*/ 30 w 30"/>
                <a:gd name="T11" fmla="*/ 2 h 30"/>
                <a:gd name="T12" fmla="*/ 28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28" y="0"/>
                  </a:moveTo>
                  <a:cubicBezTo>
                    <a:pt x="13" y="0"/>
                    <a:pt x="0" y="13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3" y="30"/>
                    <a:pt x="4" y="29"/>
                    <a:pt x="4" y="28"/>
                  </a:cubicBezTo>
                  <a:cubicBezTo>
                    <a:pt x="4" y="15"/>
                    <a:pt x="15" y="4"/>
                    <a:pt x="28" y="4"/>
                  </a:cubicBezTo>
                  <a:cubicBezTo>
                    <a:pt x="29" y="4"/>
                    <a:pt x="30" y="3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6547174" y="6675737"/>
            <a:ext cx="1043316" cy="1039870"/>
            <a:chOff x="2437300" y="1144829"/>
            <a:chExt cx="400024" cy="398703"/>
          </a:xfrm>
          <a:solidFill>
            <a:schemeClr val="bg2"/>
          </a:solidFill>
        </p:grpSpPr>
        <p:sp>
          <p:nvSpPr>
            <p:cNvPr id="121" name="Freeform 129"/>
            <p:cNvSpPr>
              <a:spLocks noEditPoints="1"/>
            </p:cNvSpPr>
            <p:nvPr/>
          </p:nvSpPr>
          <p:spPr bwMode="auto">
            <a:xfrm>
              <a:off x="2437300" y="1144829"/>
              <a:ext cx="400024" cy="398703"/>
            </a:xfrm>
            <a:custGeom>
              <a:avLst/>
              <a:gdLst>
                <a:gd name="T0" fmla="*/ 88 w 128"/>
                <a:gd name="T1" fmla="*/ 0 h 128"/>
                <a:gd name="T2" fmla="*/ 48 w 128"/>
                <a:gd name="T3" fmla="*/ 40 h 128"/>
                <a:gd name="T4" fmla="*/ 51 w 128"/>
                <a:gd name="T5" fmla="*/ 55 h 128"/>
                <a:gd name="T6" fmla="*/ 2 w 128"/>
                <a:gd name="T7" fmla="*/ 103 h 128"/>
                <a:gd name="T8" fmla="*/ 0 w 128"/>
                <a:gd name="T9" fmla="*/ 108 h 128"/>
                <a:gd name="T10" fmla="*/ 0 w 128"/>
                <a:gd name="T11" fmla="*/ 120 h 128"/>
                <a:gd name="T12" fmla="*/ 8 w 128"/>
                <a:gd name="T13" fmla="*/ 128 h 128"/>
                <a:gd name="T14" fmla="*/ 20 w 128"/>
                <a:gd name="T15" fmla="*/ 128 h 128"/>
                <a:gd name="T16" fmla="*/ 25 w 128"/>
                <a:gd name="T17" fmla="*/ 126 h 128"/>
                <a:gd name="T18" fmla="*/ 31 w 128"/>
                <a:gd name="T19" fmla="*/ 120 h 128"/>
                <a:gd name="T20" fmla="*/ 40 w 128"/>
                <a:gd name="T21" fmla="*/ 120 h 128"/>
                <a:gd name="T22" fmla="*/ 48 w 128"/>
                <a:gd name="T23" fmla="*/ 112 h 128"/>
                <a:gd name="T24" fmla="*/ 48 w 128"/>
                <a:gd name="T25" fmla="*/ 104 h 128"/>
                <a:gd name="T26" fmla="*/ 56 w 128"/>
                <a:gd name="T27" fmla="*/ 104 h 128"/>
                <a:gd name="T28" fmla="*/ 64 w 128"/>
                <a:gd name="T29" fmla="*/ 96 h 128"/>
                <a:gd name="T30" fmla="*/ 64 w 128"/>
                <a:gd name="T31" fmla="*/ 87 h 128"/>
                <a:gd name="T32" fmla="*/ 73 w 128"/>
                <a:gd name="T33" fmla="*/ 77 h 128"/>
                <a:gd name="T34" fmla="*/ 88 w 128"/>
                <a:gd name="T35" fmla="*/ 80 h 128"/>
                <a:gd name="T36" fmla="*/ 128 w 128"/>
                <a:gd name="T37" fmla="*/ 40 h 128"/>
                <a:gd name="T38" fmla="*/ 88 w 128"/>
                <a:gd name="T39" fmla="*/ 0 h 128"/>
                <a:gd name="T40" fmla="*/ 88 w 128"/>
                <a:gd name="T41" fmla="*/ 72 h 128"/>
                <a:gd name="T42" fmla="*/ 72 w 128"/>
                <a:gd name="T43" fmla="*/ 67 h 128"/>
                <a:gd name="T44" fmla="*/ 70 w 128"/>
                <a:gd name="T45" fmla="*/ 69 h 128"/>
                <a:gd name="T46" fmla="*/ 66 w 128"/>
                <a:gd name="T47" fmla="*/ 73 h 128"/>
                <a:gd name="T48" fmla="*/ 58 w 128"/>
                <a:gd name="T49" fmla="*/ 81 h 128"/>
                <a:gd name="T50" fmla="*/ 56 w 128"/>
                <a:gd name="T51" fmla="*/ 87 h 128"/>
                <a:gd name="T52" fmla="*/ 56 w 128"/>
                <a:gd name="T53" fmla="*/ 96 h 128"/>
                <a:gd name="T54" fmla="*/ 48 w 128"/>
                <a:gd name="T55" fmla="*/ 96 h 128"/>
                <a:gd name="T56" fmla="*/ 40 w 128"/>
                <a:gd name="T57" fmla="*/ 104 h 128"/>
                <a:gd name="T58" fmla="*/ 40 w 128"/>
                <a:gd name="T59" fmla="*/ 112 h 128"/>
                <a:gd name="T60" fmla="*/ 31 w 128"/>
                <a:gd name="T61" fmla="*/ 112 h 128"/>
                <a:gd name="T62" fmla="*/ 25 w 128"/>
                <a:gd name="T63" fmla="*/ 114 h 128"/>
                <a:gd name="T64" fmla="*/ 19 w 128"/>
                <a:gd name="T65" fmla="*/ 120 h 128"/>
                <a:gd name="T66" fmla="*/ 8 w 128"/>
                <a:gd name="T67" fmla="*/ 120 h 128"/>
                <a:gd name="T68" fmla="*/ 8 w 128"/>
                <a:gd name="T69" fmla="*/ 109 h 128"/>
                <a:gd name="T70" fmla="*/ 55 w 128"/>
                <a:gd name="T71" fmla="*/ 62 h 128"/>
                <a:gd name="T72" fmla="*/ 55 w 128"/>
                <a:gd name="T73" fmla="*/ 62 h 128"/>
                <a:gd name="T74" fmla="*/ 61 w 128"/>
                <a:gd name="T75" fmla="*/ 56 h 128"/>
                <a:gd name="T76" fmla="*/ 56 w 128"/>
                <a:gd name="T77" fmla="*/ 40 h 128"/>
                <a:gd name="T78" fmla="*/ 88 w 128"/>
                <a:gd name="T79" fmla="*/ 8 h 128"/>
                <a:gd name="T80" fmla="*/ 120 w 128"/>
                <a:gd name="T81" fmla="*/ 40 h 128"/>
                <a:gd name="T82" fmla="*/ 88 w 128"/>
                <a:gd name="T83" fmla="*/ 7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8" h="128">
                  <a:moveTo>
                    <a:pt x="88" y="0"/>
                  </a:moveTo>
                  <a:cubicBezTo>
                    <a:pt x="66" y="0"/>
                    <a:pt x="48" y="18"/>
                    <a:pt x="48" y="40"/>
                  </a:cubicBezTo>
                  <a:cubicBezTo>
                    <a:pt x="48" y="45"/>
                    <a:pt x="49" y="50"/>
                    <a:pt x="51" y="55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1" y="105"/>
                    <a:pt x="0" y="106"/>
                    <a:pt x="0" y="108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4"/>
                    <a:pt x="4" y="128"/>
                    <a:pt x="8" y="128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28"/>
                    <a:pt x="23" y="127"/>
                    <a:pt x="25" y="12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4" y="120"/>
                    <a:pt x="48" y="116"/>
                    <a:pt x="48" y="112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60" y="104"/>
                    <a:pt x="64" y="100"/>
                    <a:pt x="64" y="96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8" y="79"/>
                    <a:pt x="83" y="80"/>
                    <a:pt x="88" y="80"/>
                  </a:cubicBezTo>
                  <a:cubicBezTo>
                    <a:pt x="110" y="80"/>
                    <a:pt x="128" y="62"/>
                    <a:pt x="128" y="40"/>
                  </a:cubicBezTo>
                  <a:cubicBezTo>
                    <a:pt x="128" y="18"/>
                    <a:pt x="110" y="0"/>
                    <a:pt x="88" y="0"/>
                  </a:cubicBezTo>
                  <a:close/>
                  <a:moveTo>
                    <a:pt x="88" y="72"/>
                  </a:moveTo>
                  <a:cubicBezTo>
                    <a:pt x="82" y="72"/>
                    <a:pt x="77" y="70"/>
                    <a:pt x="72" y="67"/>
                  </a:cubicBezTo>
                  <a:cubicBezTo>
                    <a:pt x="70" y="69"/>
                    <a:pt x="70" y="69"/>
                    <a:pt x="70" y="69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7" y="82"/>
                    <a:pt x="56" y="85"/>
                    <a:pt x="56" y="87"/>
                  </a:cubicBezTo>
                  <a:cubicBezTo>
                    <a:pt x="56" y="96"/>
                    <a:pt x="56" y="96"/>
                    <a:pt x="56" y="9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4" y="96"/>
                    <a:pt x="40" y="100"/>
                    <a:pt x="40" y="104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29" y="112"/>
                    <a:pt x="26" y="113"/>
                    <a:pt x="25" y="114"/>
                  </a:cubicBezTo>
                  <a:cubicBezTo>
                    <a:pt x="19" y="120"/>
                    <a:pt x="19" y="120"/>
                    <a:pt x="19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8" y="51"/>
                    <a:pt x="56" y="46"/>
                    <a:pt x="56" y="40"/>
                  </a:cubicBezTo>
                  <a:cubicBezTo>
                    <a:pt x="56" y="22"/>
                    <a:pt x="70" y="8"/>
                    <a:pt x="88" y="8"/>
                  </a:cubicBezTo>
                  <a:cubicBezTo>
                    <a:pt x="106" y="8"/>
                    <a:pt x="120" y="22"/>
                    <a:pt x="120" y="40"/>
                  </a:cubicBezTo>
                  <a:cubicBezTo>
                    <a:pt x="120" y="58"/>
                    <a:pt x="106" y="72"/>
                    <a:pt x="88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22" name="Freeform 130"/>
            <p:cNvSpPr>
              <a:spLocks noEditPoints="1"/>
            </p:cNvSpPr>
            <p:nvPr/>
          </p:nvSpPr>
          <p:spPr bwMode="auto">
            <a:xfrm>
              <a:off x="2686820" y="1193678"/>
              <a:ext cx="100336" cy="100336"/>
            </a:xfrm>
            <a:custGeom>
              <a:avLst/>
              <a:gdLst>
                <a:gd name="T0" fmla="*/ 31 w 32"/>
                <a:gd name="T1" fmla="*/ 17 h 32"/>
                <a:gd name="T2" fmla="*/ 15 w 32"/>
                <a:gd name="T3" fmla="*/ 1 h 32"/>
                <a:gd name="T4" fmla="*/ 12 w 32"/>
                <a:gd name="T5" fmla="*/ 0 h 32"/>
                <a:gd name="T6" fmla="*/ 0 w 32"/>
                <a:gd name="T7" fmla="*/ 12 h 32"/>
                <a:gd name="T8" fmla="*/ 0 w 32"/>
                <a:gd name="T9" fmla="*/ 13 h 32"/>
                <a:gd name="T10" fmla="*/ 1 w 32"/>
                <a:gd name="T11" fmla="*/ 15 h 32"/>
                <a:gd name="T12" fmla="*/ 17 w 32"/>
                <a:gd name="T13" fmla="*/ 31 h 32"/>
                <a:gd name="T14" fmla="*/ 20 w 32"/>
                <a:gd name="T15" fmla="*/ 32 h 32"/>
                <a:gd name="T16" fmla="*/ 32 w 32"/>
                <a:gd name="T17" fmla="*/ 20 h 32"/>
                <a:gd name="T18" fmla="*/ 32 w 32"/>
                <a:gd name="T19" fmla="*/ 19 h 32"/>
                <a:gd name="T20" fmla="*/ 31 w 32"/>
                <a:gd name="T21" fmla="*/ 17 h 32"/>
                <a:gd name="T22" fmla="*/ 19 w 32"/>
                <a:gd name="T23" fmla="*/ 28 h 32"/>
                <a:gd name="T24" fmla="*/ 4 w 32"/>
                <a:gd name="T25" fmla="*/ 13 h 32"/>
                <a:gd name="T26" fmla="*/ 13 w 32"/>
                <a:gd name="T27" fmla="*/ 4 h 32"/>
                <a:gd name="T28" fmla="*/ 28 w 32"/>
                <a:gd name="T29" fmla="*/ 19 h 32"/>
                <a:gd name="T30" fmla="*/ 19 w 32"/>
                <a:gd name="T31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" h="32">
                  <a:moveTo>
                    <a:pt x="31" y="17"/>
                  </a:moveTo>
                  <a:cubicBezTo>
                    <a:pt x="27" y="11"/>
                    <a:pt x="21" y="5"/>
                    <a:pt x="15" y="1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6" y="2"/>
                    <a:pt x="2" y="6"/>
                    <a:pt x="0" y="12"/>
                  </a:cubicBezTo>
                  <a:cubicBezTo>
                    <a:pt x="0" y="12"/>
                    <a:pt x="0" y="12"/>
                    <a:pt x="0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5" y="21"/>
                    <a:pt x="11" y="27"/>
                    <a:pt x="17" y="31"/>
                  </a:cubicBezTo>
                  <a:cubicBezTo>
                    <a:pt x="18" y="32"/>
                    <a:pt x="19" y="32"/>
                    <a:pt x="20" y="32"/>
                  </a:cubicBezTo>
                  <a:cubicBezTo>
                    <a:pt x="26" y="30"/>
                    <a:pt x="30" y="26"/>
                    <a:pt x="32" y="20"/>
                  </a:cubicBezTo>
                  <a:cubicBezTo>
                    <a:pt x="32" y="20"/>
                    <a:pt x="32" y="20"/>
                    <a:pt x="32" y="19"/>
                  </a:cubicBezTo>
                  <a:cubicBezTo>
                    <a:pt x="32" y="18"/>
                    <a:pt x="32" y="18"/>
                    <a:pt x="31" y="17"/>
                  </a:cubicBezTo>
                  <a:close/>
                  <a:moveTo>
                    <a:pt x="19" y="28"/>
                  </a:moveTo>
                  <a:cubicBezTo>
                    <a:pt x="13" y="24"/>
                    <a:pt x="8" y="19"/>
                    <a:pt x="4" y="13"/>
                  </a:cubicBezTo>
                  <a:cubicBezTo>
                    <a:pt x="6" y="8"/>
                    <a:pt x="8" y="6"/>
                    <a:pt x="13" y="4"/>
                  </a:cubicBezTo>
                  <a:cubicBezTo>
                    <a:pt x="19" y="8"/>
                    <a:pt x="24" y="13"/>
                    <a:pt x="28" y="19"/>
                  </a:cubicBezTo>
                  <a:cubicBezTo>
                    <a:pt x="26" y="24"/>
                    <a:pt x="24" y="26"/>
                    <a:pt x="1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12603473" y="5943514"/>
            <a:ext cx="1067418" cy="812616"/>
            <a:chOff x="2430699" y="394950"/>
            <a:chExt cx="409265" cy="311570"/>
          </a:xfrm>
          <a:solidFill>
            <a:schemeClr val="bg2"/>
          </a:solidFill>
        </p:grpSpPr>
        <p:sp>
          <p:nvSpPr>
            <p:cNvPr id="124" name="Freeform 141"/>
            <p:cNvSpPr>
              <a:spLocks noEditPoints="1"/>
            </p:cNvSpPr>
            <p:nvPr/>
          </p:nvSpPr>
          <p:spPr bwMode="auto">
            <a:xfrm>
              <a:off x="2483507" y="441158"/>
              <a:ext cx="256121" cy="203312"/>
            </a:xfrm>
            <a:custGeom>
              <a:avLst/>
              <a:gdLst>
                <a:gd name="T0" fmla="*/ 74 w 82"/>
                <a:gd name="T1" fmla="*/ 3 h 65"/>
                <a:gd name="T2" fmla="*/ 41 w 82"/>
                <a:gd name="T3" fmla="*/ 0 h 65"/>
                <a:gd name="T4" fmla="*/ 8 w 82"/>
                <a:gd name="T5" fmla="*/ 3 h 65"/>
                <a:gd name="T6" fmla="*/ 5 w 82"/>
                <a:gd name="T7" fmla="*/ 6 h 65"/>
                <a:gd name="T8" fmla="*/ 5 w 82"/>
                <a:gd name="T9" fmla="*/ 59 h 65"/>
                <a:gd name="T10" fmla="*/ 8 w 82"/>
                <a:gd name="T11" fmla="*/ 62 h 65"/>
                <a:gd name="T12" fmla="*/ 41 w 82"/>
                <a:gd name="T13" fmla="*/ 65 h 65"/>
                <a:gd name="T14" fmla="*/ 74 w 82"/>
                <a:gd name="T15" fmla="*/ 62 h 65"/>
                <a:gd name="T16" fmla="*/ 77 w 82"/>
                <a:gd name="T17" fmla="*/ 59 h 65"/>
                <a:gd name="T18" fmla="*/ 77 w 82"/>
                <a:gd name="T19" fmla="*/ 6 h 65"/>
                <a:gd name="T20" fmla="*/ 74 w 82"/>
                <a:gd name="T21" fmla="*/ 3 h 65"/>
                <a:gd name="T22" fmla="*/ 73 w 82"/>
                <a:gd name="T23" fmla="*/ 58 h 65"/>
                <a:gd name="T24" fmla="*/ 9 w 82"/>
                <a:gd name="T25" fmla="*/ 58 h 65"/>
                <a:gd name="T26" fmla="*/ 9 w 82"/>
                <a:gd name="T27" fmla="*/ 7 h 65"/>
                <a:gd name="T28" fmla="*/ 73 w 82"/>
                <a:gd name="T29" fmla="*/ 7 h 65"/>
                <a:gd name="T30" fmla="*/ 73 w 82"/>
                <a:gd name="T31" fmla="*/ 5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65">
                  <a:moveTo>
                    <a:pt x="74" y="3"/>
                  </a:moveTo>
                  <a:cubicBezTo>
                    <a:pt x="63" y="1"/>
                    <a:pt x="52" y="0"/>
                    <a:pt x="41" y="0"/>
                  </a:cubicBezTo>
                  <a:cubicBezTo>
                    <a:pt x="30" y="0"/>
                    <a:pt x="19" y="1"/>
                    <a:pt x="8" y="3"/>
                  </a:cubicBezTo>
                  <a:cubicBezTo>
                    <a:pt x="7" y="4"/>
                    <a:pt x="6" y="5"/>
                    <a:pt x="5" y="6"/>
                  </a:cubicBezTo>
                  <a:cubicBezTo>
                    <a:pt x="0" y="24"/>
                    <a:pt x="0" y="41"/>
                    <a:pt x="5" y="59"/>
                  </a:cubicBezTo>
                  <a:cubicBezTo>
                    <a:pt x="6" y="60"/>
                    <a:pt x="7" y="61"/>
                    <a:pt x="8" y="62"/>
                  </a:cubicBezTo>
                  <a:cubicBezTo>
                    <a:pt x="19" y="64"/>
                    <a:pt x="30" y="65"/>
                    <a:pt x="41" y="65"/>
                  </a:cubicBezTo>
                  <a:cubicBezTo>
                    <a:pt x="52" y="65"/>
                    <a:pt x="63" y="64"/>
                    <a:pt x="74" y="62"/>
                  </a:cubicBezTo>
                  <a:cubicBezTo>
                    <a:pt x="75" y="61"/>
                    <a:pt x="76" y="60"/>
                    <a:pt x="77" y="59"/>
                  </a:cubicBezTo>
                  <a:cubicBezTo>
                    <a:pt x="82" y="41"/>
                    <a:pt x="82" y="24"/>
                    <a:pt x="77" y="6"/>
                  </a:cubicBezTo>
                  <a:cubicBezTo>
                    <a:pt x="76" y="5"/>
                    <a:pt x="75" y="4"/>
                    <a:pt x="74" y="3"/>
                  </a:cubicBezTo>
                  <a:close/>
                  <a:moveTo>
                    <a:pt x="73" y="58"/>
                  </a:moveTo>
                  <a:cubicBezTo>
                    <a:pt x="52" y="62"/>
                    <a:pt x="30" y="62"/>
                    <a:pt x="9" y="58"/>
                  </a:cubicBezTo>
                  <a:cubicBezTo>
                    <a:pt x="4" y="41"/>
                    <a:pt x="4" y="24"/>
                    <a:pt x="9" y="7"/>
                  </a:cubicBezTo>
                  <a:cubicBezTo>
                    <a:pt x="30" y="3"/>
                    <a:pt x="52" y="3"/>
                    <a:pt x="73" y="7"/>
                  </a:cubicBezTo>
                  <a:cubicBezTo>
                    <a:pt x="78" y="24"/>
                    <a:pt x="78" y="41"/>
                    <a:pt x="7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25" name="Freeform 142"/>
            <p:cNvSpPr>
              <a:spLocks noEditPoints="1"/>
            </p:cNvSpPr>
            <p:nvPr/>
          </p:nvSpPr>
          <p:spPr bwMode="auto">
            <a:xfrm>
              <a:off x="2430699" y="394950"/>
              <a:ext cx="409265" cy="311570"/>
            </a:xfrm>
            <a:custGeom>
              <a:avLst/>
              <a:gdLst>
                <a:gd name="T0" fmla="*/ 125 w 131"/>
                <a:gd name="T1" fmla="*/ 9 h 100"/>
                <a:gd name="T2" fmla="*/ 119 w 131"/>
                <a:gd name="T3" fmla="*/ 3 h 100"/>
                <a:gd name="T4" fmla="*/ 66 w 131"/>
                <a:gd name="T5" fmla="*/ 0 h 100"/>
                <a:gd name="T6" fmla="*/ 13 w 131"/>
                <a:gd name="T7" fmla="*/ 3 h 100"/>
                <a:gd name="T8" fmla="*/ 7 w 131"/>
                <a:gd name="T9" fmla="*/ 9 h 100"/>
                <a:gd name="T10" fmla="*/ 7 w 131"/>
                <a:gd name="T11" fmla="*/ 87 h 100"/>
                <a:gd name="T12" fmla="*/ 13 w 131"/>
                <a:gd name="T13" fmla="*/ 93 h 100"/>
                <a:gd name="T14" fmla="*/ 39 w 131"/>
                <a:gd name="T15" fmla="*/ 95 h 100"/>
                <a:gd name="T16" fmla="*/ 38 w 131"/>
                <a:gd name="T17" fmla="*/ 96 h 100"/>
                <a:gd name="T18" fmla="*/ 66 w 131"/>
                <a:gd name="T19" fmla="*/ 100 h 100"/>
                <a:gd name="T20" fmla="*/ 94 w 131"/>
                <a:gd name="T21" fmla="*/ 96 h 100"/>
                <a:gd name="T22" fmla="*/ 93 w 131"/>
                <a:gd name="T23" fmla="*/ 95 h 100"/>
                <a:gd name="T24" fmla="*/ 119 w 131"/>
                <a:gd name="T25" fmla="*/ 93 h 100"/>
                <a:gd name="T26" fmla="*/ 125 w 131"/>
                <a:gd name="T27" fmla="*/ 87 h 100"/>
                <a:gd name="T28" fmla="*/ 125 w 131"/>
                <a:gd name="T29" fmla="*/ 9 h 100"/>
                <a:gd name="T30" fmla="*/ 118 w 131"/>
                <a:gd name="T31" fmla="*/ 85 h 100"/>
                <a:gd name="T32" fmla="*/ 14 w 131"/>
                <a:gd name="T33" fmla="*/ 85 h 100"/>
                <a:gd name="T34" fmla="*/ 14 w 131"/>
                <a:gd name="T35" fmla="*/ 11 h 100"/>
                <a:gd name="T36" fmla="*/ 118 w 131"/>
                <a:gd name="T37" fmla="*/ 11 h 100"/>
                <a:gd name="T38" fmla="*/ 118 w 131"/>
                <a:gd name="T39" fmla="*/ 8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100">
                  <a:moveTo>
                    <a:pt x="125" y="9"/>
                  </a:moveTo>
                  <a:cubicBezTo>
                    <a:pt x="125" y="6"/>
                    <a:pt x="122" y="4"/>
                    <a:pt x="119" y="3"/>
                  </a:cubicBezTo>
                  <a:cubicBezTo>
                    <a:pt x="101" y="1"/>
                    <a:pt x="83" y="0"/>
                    <a:pt x="66" y="0"/>
                  </a:cubicBezTo>
                  <a:cubicBezTo>
                    <a:pt x="49" y="0"/>
                    <a:pt x="31" y="1"/>
                    <a:pt x="13" y="3"/>
                  </a:cubicBezTo>
                  <a:cubicBezTo>
                    <a:pt x="10" y="4"/>
                    <a:pt x="7" y="6"/>
                    <a:pt x="7" y="9"/>
                  </a:cubicBezTo>
                  <a:cubicBezTo>
                    <a:pt x="0" y="35"/>
                    <a:pt x="0" y="61"/>
                    <a:pt x="7" y="87"/>
                  </a:cubicBezTo>
                  <a:cubicBezTo>
                    <a:pt x="7" y="90"/>
                    <a:pt x="10" y="92"/>
                    <a:pt x="13" y="93"/>
                  </a:cubicBezTo>
                  <a:cubicBezTo>
                    <a:pt x="22" y="94"/>
                    <a:pt x="30" y="95"/>
                    <a:pt x="39" y="95"/>
                  </a:cubicBezTo>
                  <a:cubicBezTo>
                    <a:pt x="38" y="95"/>
                    <a:pt x="38" y="96"/>
                    <a:pt x="38" y="96"/>
                  </a:cubicBezTo>
                  <a:cubicBezTo>
                    <a:pt x="38" y="98"/>
                    <a:pt x="51" y="100"/>
                    <a:pt x="66" y="100"/>
                  </a:cubicBezTo>
                  <a:cubicBezTo>
                    <a:pt x="81" y="100"/>
                    <a:pt x="94" y="98"/>
                    <a:pt x="94" y="96"/>
                  </a:cubicBezTo>
                  <a:cubicBezTo>
                    <a:pt x="94" y="96"/>
                    <a:pt x="94" y="95"/>
                    <a:pt x="93" y="95"/>
                  </a:cubicBezTo>
                  <a:cubicBezTo>
                    <a:pt x="102" y="95"/>
                    <a:pt x="110" y="94"/>
                    <a:pt x="119" y="93"/>
                  </a:cubicBezTo>
                  <a:cubicBezTo>
                    <a:pt x="122" y="92"/>
                    <a:pt x="125" y="90"/>
                    <a:pt x="125" y="87"/>
                  </a:cubicBezTo>
                  <a:cubicBezTo>
                    <a:pt x="131" y="61"/>
                    <a:pt x="131" y="35"/>
                    <a:pt x="125" y="9"/>
                  </a:cubicBezTo>
                  <a:close/>
                  <a:moveTo>
                    <a:pt x="118" y="85"/>
                  </a:moveTo>
                  <a:cubicBezTo>
                    <a:pt x="83" y="89"/>
                    <a:pt x="49" y="89"/>
                    <a:pt x="14" y="85"/>
                  </a:cubicBezTo>
                  <a:cubicBezTo>
                    <a:pt x="9" y="60"/>
                    <a:pt x="9" y="36"/>
                    <a:pt x="14" y="11"/>
                  </a:cubicBezTo>
                  <a:cubicBezTo>
                    <a:pt x="49" y="7"/>
                    <a:pt x="83" y="7"/>
                    <a:pt x="118" y="11"/>
                  </a:cubicBezTo>
                  <a:cubicBezTo>
                    <a:pt x="123" y="36"/>
                    <a:pt x="123" y="60"/>
                    <a:pt x="118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26" name="Freeform 143"/>
            <p:cNvSpPr>
              <a:spLocks noEditPoints="1"/>
            </p:cNvSpPr>
            <p:nvPr/>
          </p:nvSpPr>
          <p:spPr bwMode="auto">
            <a:xfrm>
              <a:off x="2748869" y="457000"/>
              <a:ext cx="38287" cy="38287"/>
            </a:xfrm>
            <a:custGeom>
              <a:avLst/>
              <a:gdLst>
                <a:gd name="T0" fmla="*/ 6 w 12"/>
                <a:gd name="T1" fmla="*/ 12 h 12"/>
                <a:gd name="T2" fmla="*/ 12 w 12"/>
                <a:gd name="T3" fmla="*/ 6 h 12"/>
                <a:gd name="T4" fmla="*/ 6 w 12"/>
                <a:gd name="T5" fmla="*/ 0 h 12"/>
                <a:gd name="T6" fmla="*/ 0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8 w 12"/>
                <a:gd name="T13" fmla="*/ 6 h 12"/>
                <a:gd name="T14" fmla="*/ 6 w 12"/>
                <a:gd name="T15" fmla="*/ 8 h 12"/>
                <a:gd name="T16" fmla="*/ 4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lose/>
                  <a:moveTo>
                    <a:pt x="6" y="4"/>
                  </a:move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27" name="Freeform 144"/>
            <p:cNvSpPr>
              <a:spLocks/>
            </p:cNvSpPr>
            <p:nvPr/>
          </p:nvSpPr>
          <p:spPr bwMode="auto">
            <a:xfrm>
              <a:off x="2736988" y="619386"/>
              <a:ext cx="50168" cy="13202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0 w 16"/>
                <a:gd name="T5" fmla="*/ 2 h 4"/>
                <a:gd name="T6" fmla="*/ 2 w 16"/>
                <a:gd name="T7" fmla="*/ 4 h 4"/>
                <a:gd name="T8" fmla="*/ 14 w 16"/>
                <a:gd name="T9" fmla="*/ 4 h 4"/>
                <a:gd name="T10" fmla="*/ 16 w 16"/>
                <a:gd name="T11" fmla="*/ 2 h 4"/>
                <a:gd name="T12" fmla="*/ 14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28" name="Freeform 145"/>
            <p:cNvSpPr>
              <a:spLocks/>
            </p:cNvSpPr>
            <p:nvPr/>
          </p:nvSpPr>
          <p:spPr bwMode="auto">
            <a:xfrm>
              <a:off x="2748869" y="582420"/>
              <a:ext cx="50168" cy="11882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0 w 16"/>
                <a:gd name="T5" fmla="*/ 2 h 4"/>
                <a:gd name="T6" fmla="*/ 2 w 16"/>
                <a:gd name="T7" fmla="*/ 4 h 4"/>
                <a:gd name="T8" fmla="*/ 14 w 16"/>
                <a:gd name="T9" fmla="*/ 4 h 4"/>
                <a:gd name="T10" fmla="*/ 16 w 16"/>
                <a:gd name="T11" fmla="*/ 2 h 4"/>
                <a:gd name="T12" fmla="*/ 14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29" name="Freeform 146"/>
            <p:cNvSpPr>
              <a:spLocks/>
            </p:cNvSpPr>
            <p:nvPr/>
          </p:nvSpPr>
          <p:spPr bwMode="auto">
            <a:xfrm>
              <a:off x="2748869" y="544134"/>
              <a:ext cx="50168" cy="13202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0 w 16"/>
                <a:gd name="T5" fmla="*/ 2 h 4"/>
                <a:gd name="T6" fmla="*/ 2 w 16"/>
                <a:gd name="T7" fmla="*/ 4 h 4"/>
                <a:gd name="T8" fmla="*/ 14 w 16"/>
                <a:gd name="T9" fmla="*/ 4 h 4"/>
                <a:gd name="T10" fmla="*/ 16 w 16"/>
                <a:gd name="T11" fmla="*/ 2 h 4"/>
                <a:gd name="T12" fmla="*/ 14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30" name="Freeform 147"/>
            <p:cNvSpPr>
              <a:spLocks/>
            </p:cNvSpPr>
            <p:nvPr/>
          </p:nvSpPr>
          <p:spPr bwMode="auto">
            <a:xfrm>
              <a:off x="2537636" y="491326"/>
              <a:ext cx="73932" cy="52808"/>
            </a:xfrm>
            <a:custGeom>
              <a:avLst/>
              <a:gdLst>
                <a:gd name="T0" fmla="*/ 22 w 24"/>
                <a:gd name="T1" fmla="*/ 0 h 17"/>
                <a:gd name="T2" fmla="*/ 4 w 24"/>
                <a:gd name="T3" fmla="*/ 2 h 17"/>
                <a:gd name="T4" fmla="*/ 1 w 24"/>
                <a:gd name="T5" fmla="*/ 4 h 17"/>
                <a:gd name="T6" fmla="*/ 0 w 24"/>
                <a:gd name="T7" fmla="*/ 15 h 17"/>
                <a:gd name="T8" fmla="*/ 2 w 24"/>
                <a:gd name="T9" fmla="*/ 17 h 17"/>
                <a:gd name="T10" fmla="*/ 4 w 24"/>
                <a:gd name="T11" fmla="*/ 15 h 17"/>
                <a:gd name="T12" fmla="*/ 5 w 24"/>
                <a:gd name="T13" fmla="*/ 7 h 17"/>
                <a:gd name="T14" fmla="*/ 7 w 24"/>
                <a:gd name="T15" fmla="*/ 5 h 17"/>
                <a:gd name="T16" fmla="*/ 22 w 24"/>
                <a:gd name="T17" fmla="*/ 4 h 17"/>
                <a:gd name="T18" fmla="*/ 24 w 24"/>
                <a:gd name="T19" fmla="*/ 2 h 17"/>
                <a:gd name="T20" fmla="*/ 22 w 24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17">
                  <a:moveTo>
                    <a:pt x="22" y="0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1" y="3"/>
                    <a:pt x="1" y="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3" y="17"/>
                    <a:pt x="4" y="16"/>
                    <a:pt x="4" y="15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252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1219199" y="2771547"/>
            <a:ext cx="5257802" cy="6374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>
          <a:xfrm>
            <a:off x="14692460" y="11469420"/>
            <a:ext cx="5891044" cy="70976"/>
          </a:xfrm>
          <a:prstGeom prst="line">
            <a:avLst/>
          </a:prstGeom>
          <a:ln w="508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15051495" y="8432298"/>
            <a:ext cx="5952846" cy="527900"/>
          </a:xfrm>
          <a:prstGeom prst="line">
            <a:avLst/>
          </a:prstGeom>
          <a:ln w="508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cxnSpLocks/>
          </p:cNvCxnSpPr>
          <p:nvPr/>
        </p:nvCxnSpPr>
        <p:spPr>
          <a:xfrm>
            <a:off x="9788046" y="11399576"/>
            <a:ext cx="5891044" cy="70976"/>
          </a:xfrm>
          <a:prstGeom prst="line">
            <a:avLst/>
          </a:prstGeom>
          <a:ln w="508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10147081" y="7996702"/>
            <a:ext cx="5952846" cy="527900"/>
          </a:xfrm>
          <a:prstGeom prst="line">
            <a:avLst/>
          </a:prstGeom>
          <a:ln w="508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4403166" y="11419176"/>
            <a:ext cx="5891044" cy="70976"/>
          </a:xfrm>
          <a:prstGeom prst="line">
            <a:avLst/>
          </a:prstGeom>
          <a:ln w="508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4341365" y="7307552"/>
            <a:ext cx="5952846" cy="527900"/>
          </a:xfrm>
          <a:prstGeom prst="line">
            <a:avLst/>
          </a:prstGeom>
          <a:ln w="508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335313" y="6378576"/>
            <a:ext cx="6012106" cy="6016624"/>
            <a:chOff x="5427663" y="2528888"/>
            <a:chExt cx="2111375" cy="2112962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5427663" y="2528888"/>
              <a:ext cx="2111375" cy="2112962"/>
            </a:xfrm>
            <a:custGeom>
              <a:avLst/>
              <a:gdLst>
                <a:gd name="T0" fmla="*/ 48 w 662"/>
                <a:gd name="T1" fmla="*/ 407 h 662"/>
                <a:gd name="T2" fmla="*/ 31 w 662"/>
                <a:gd name="T3" fmla="*/ 469 h 662"/>
                <a:gd name="T4" fmla="*/ 89 w 662"/>
                <a:gd name="T5" fmla="*/ 495 h 662"/>
                <a:gd name="T6" fmla="*/ 93 w 662"/>
                <a:gd name="T7" fmla="*/ 557 h 662"/>
                <a:gd name="T8" fmla="*/ 155 w 662"/>
                <a:gd name="T9" fmla="*/ 564 h 662"/>
                <a:gd name="T10" fmla="*/ 182 w 662"/>
                <a:gd name="T11" fmla="*/ 624 h 662"/>
                <a:gd name="T12" fmla="*/ 239 w 662"/>
                <a:gd name="T13" fmla="*/ 610 h 662"/>
                <a:gd name="T14" fmla="*/ 282 w 662"/>
                <a:gd name="T15" fmla="*/ 657 h 662"/>
                <a:gd name="T16" fmla="*/ 334 w 662"/>
                <a:gd name="T17" fmla="*/ 626 h 662"/>
                <a:gd name="T18" fmla="*/ 389 w 662"/>
                <a:gd name="T19" fmla="*/ 657 h 662"/>
                <a:gd name="T20" fmla="*/ 427 w 662"/>
                <a:gd name="T21" fmla="*/ 610 h 662"/>
                <a:gd name="T22" fmla="*/ 492 w 662"/>
                <a:gd name="T23" fmla="*/ 622 h 662"/>
                <a:gd name="T24" fmla="*/ 513 w 662"/>
                <a:gd name="T25" fmla="*/ 564 h 662"/>
                <a:gd name="T26" fmla="*/ 575 w 662"/>
                <a:gd name="T27" fmla="*/ 555 h 662"/>
                <a:gd name="T28" fmla="*/ 580 w 662"/>
                <a:gd name="T29" fmla="*/ 493 h 662"/>
                <a:gd name="T30" fmla="*/ 635 w 662"/>
                <a:gd name="T31" fmla="*/ 464 h 662"/>
                <a:gd name="T32" fmla="*/ 618 w 662"/>
                <a:gd name="T33" fmla="*/ 405 h 662"/>
                <a:gd name="T34" fmla="*/ 659 w 662"/>
                <a:gd name="T35" fmla="*/ 357 h 662"/>
                <a:gd name="T36" fmla="*/ 628 w 662"/>
                <a:gd name="T37" fmla="*/ 307 h 662"/>
                <a:gd name="T38" fmla="*/ 652 w 662"/>
                <a:gd name="T39" fmla="*/ 252 h 662"/>
                <a:gd name="T40" fmla="*/ 604 w 662"/>
                <a:gd name="T41" fmla="*/ 216 h 662"/>
                <a:gd name="T42" fmla="*/ 609 w 662"/>
                <a:gd name="T43" fmla="*/ 152 h 662"/>
                <a:gd name="T44" fmla="*/ 551 w 662"/>
                <a:gd name="T45" fmla="*/ 133 h 662"/>
                <a:gd name="T46" fmla="*/ 535 w 662"/>
                <a:gd name="T47" fmla="*/ 73 h 662"/>
                <a:gd name="T48" fmla="*/ 475 w 662"/>
                <a:gd name="T49" fmla="*/ 73 h 662"/>
                <a:gd name="T50" fmla="*/ 437 w 662"/>
                <a:gd name="T51" fmla="*/ 23 h 662"/>
                <a:gd name="T52" fmla="*/ 382 w 662"/>
                <a:gd name="T53" fmla="*/ 42 h 662"/>
                <a:gd name="T54" fmla="*/ 325 w 662"/>
                <a:gd name="T55" fmla="*/ 6 h 662"/>
                <a:gd name="T56" fmla="*/ 279 w 662"/>
                <a:gd name="T57" fmla="*/ 42 h 662"/>
                <a:gd name="T58" fmla="*/ 220 w 662"/>
                <a:gd name="T59" fmla="*/ 23 h 662"/>
                <a:gd name="T60" fmla="*/ 189 w 662"/>
                <a:gd name="T61" fmla="*/ 75 h 662"/>
                <a:gd name="T62" fmla="*/ 127 w 662"/>
                <a:gd name="T63" fmla="*/ 78 h 662"/>
                <a:gd name="T64" fmla="*/ 129 w 662"/>
                <a:gd name="T65" fmla="*/ 121 h 662"/>
                <a:gd name="T66" fmla="*/ 89 w 662"/>
                <a:gd name="T67" fmla="*/ 116 h 662"/>
                <a:gd name="T68" fmla="*/ 81 w 662"/>
                <a:gd name="T69" fmla="*/ 176 h 662"/>
                <a:gd name="T70" fmla="*/ 29 w 662"/>
                <a:gd name="T71" fmla="*/ 207 h 662"/>
                <a:gd name="T72" fmla="*/ 46 w 662"/>
                <a:gd name="T73" fmla="*/ 266 h 662"/>
                <a:gd name="T74" fmla="*/ 5 w 662"/>
                <a:gd name="T75" fmla="*/ 312 h 662"/>
                <a:gd name="T76" fmla="*/ 39 w 662"/>
                <a:gd name="T77" fmla="*/ 3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2" h="662">
                  <a:moveTo>
                    <a:pt x="39" y="362"/>
                  </a:moveTo>
                  <a:cubicBezTo>
                    <a:pt x="43" y="375"/>
                    <a:pt x="45" y="392"/>
                    <a:pt x="48" y="407"/>
                  </a:cubicBezTo>
                  <a:cubicBezTo>
                    <a:pt x="39" y="412"/>
                    <a:pt x="28" y="415"/>
                    <a:pt x="15" y="417"/>
                  </a:cubicBezTo>
                  <a:cubicBezTo>
                    <a:pt x="18" y="436"/>
                    <a:pt x="27" y="451"/>
                    <a:pt x="31" y="469"/>
                  </a:cubicBezTo>
                  <a:cubicBezTo>
                    <a:pt x="45" y="466"/>
                    <a:pt x="55" y="460"/>
                    <a:pt x="65" y="455"/>
                  </a:cubicBezTo>
                  <a:cubicBezTo>
                    <a:pt x="74" y="467"/>
                    <a:pt x="79" y="484"/>
                    <a:pt x="89" y="495"/>
                  </a:cubicBezTo>
                  <a:cubicBezTo>
                    <a:pt x="80" y="502"/>
                    <a:pt x="70" y="509"/>
                    <a:pt x="60" y="514"/>
                  </a:cubicBezTo>
                  <a:cubicBezTo>
                    <a:pt x="68" y="532"/>
                    <a:pt x="79" y="546"/>
                    <a:pt x="93" y="557"/>
                  </a:cubicBezTo>
                  <a:cubicBezTo>
                    <a:pt x="106" y="554"/>
                    <a:pt x="109" y="541"/>
                    <a:pt x="120" y="536"/>
                  </a:cubicBezTo>
                  <a:cubicBezTo>
                    <a:pt x="132" y="545"/>
                    <a:pt x="140" y="558"/>
                    <a:pt x="155" y="564"/>
                  </a:cubicBezTo>
                  <a:cubicBezTo>
                    <a:pt x="150" y="576"/>
                    <a:pt x="138" y="582"/>
                    <a:pt x="134" y="595"/>
                  </a:cubicBezTo>
                  <a:cubicBezTo>
                    <a:pt x="149" y="605"/>
                    <a:pt x="163" y="617"/>
                    <a:pt x="182" y="624"/>
                  </a:cubicBezTo>
                  <a:cubicBezTo>
                    <a:pt x="185" y="612"/>
                    <a:pt x="191" y="604"/>
                    <a:pt x="196" y="593"/>
                  </a:cubicBezTo>
                  <a:cubicBezTo>
                    <a:pt x="212" y="597"/>
                    <a:pt x="222" y="607"/>
                    <a:pt x="239" y="610"/>
                  </a:cubicBezTo>
                  <a:cubicBezTo>
                    <a:pt x="238" y="624"/>
                    <a:pt x="230" y="631"/>
                    <a:pt x="229" y="645"/>
                  </a:cubicBezTo>
                  <a:cubicBezTo>
                    <a:pt x="246" y="650"/>
                    <a:pt x="262" y="656"/>
                    <a:pt x="282" y="657"/>
                  </a:cubicBezTo>
                  <a:cubicBezTo>
                    <a:pt x="285" y="648"/>
                    <a:pt x="286" y="636"/>
                    <a:pt x="287" y="624"/>
                  </a:cubicBezTo>
                  <a:cubicBezTo>
                    <a:pt x="305" y="622"/>
                    <a:pt x="316" y="628"/>
                    <a:pt x="334" y="626"/>
                  </a:cubicBezTo>
                  <a:cubicBezTo>
                    <a:pt x="335" y="638"/>
                    <a:pt x="332" y="654"/>
                    <a:pt x="337" y="662"/>
                  </a:cubicBezTo>
                  <a:cubicBezTo>
                    <a:pt x="356" y="662"/>
                    <a:pt x="371" y="658"/>
                    <a:pt x="389" y="657"/>
                  </a:cubicBezTo>
                  <a:cubicBezTo>
                    <a:pt x="390" y="644"/>
                    <a:pt x="386" y="635"/>
                    <a:pt x="384" y="624"/>
                  </a:cubicBezTo>
                  <a:cubicBezTo>
                    <a:pt x="396" y="616"/>
                    <a:pt x="417" y="618"/>
                    <a:pt x="427" y="610"/>
                  </a:cubicBezTo>
                  <a:cubicBezTo>
                    <a:pt x="436" y="618"/>
                    <a:pt x="436" y="633"/>
                    <a:pt x="442" y="643"/>
                  </a:cubicBezTo>
                  <a:cubicBezTo>
                    <a:pt x="460" y="637"/>
                    <a:pt x="475" y="629"/>
                    <a:pt x="492" y="622"/>
                  </a:cubicBezTo>
                  <a:cubicBezTo>
                    <a:pt x="489" y="610"/>
                    <a:pt x="481" y="604"/>
                    <a:pt x="477" y="593"/>
                  </a:cubicBezTo>
                  <a:cubicBezTo>
                    <a:pt x="485" y="579"/>
                    <a:pt x="504" y="577"/>
                    <a:pt x="513" y="564"/>
                  </a:cubicBezTo>
                  <a:cubicBezTo>
                    <a:pt x="522" y="571"/>
                    <a:pt x="529" y="581"/>
                    <a:pt x="535" y="591"/>
                  </a:cubicBezTo>
                  <a:cubicBezTo>
                    <a:pt x="550" y="580"/>
                    <a:pt x="564" y="569"/>
                    <a:pt x="575" y="555"/>
                  </a:cubicBezTo>
                  <a:cubicBezTo>
                    <a:pt x="570" y="544"/>
                    <a:pt x="559" y="539"/>
                    <a:pt x="551" y="531"/>
                  </a:cubicBezTo>
                  <a:cubicBezTo>
                    <a:pt x="561" y="519"/>
                    <a:pt x="572" y="507"/>
                    <a:pt x="580" y="493"/>
                  </a:cubicBezTo>
                  <a:cubicBezTo>
                    <a:pt x="590" y="498"/>
                    <a:pt x="597" y="507"/>
                    <a:pt x="611" y="510"/>
                  </a:cubicBezTo>
                  <a:cubicBezTo>
                    <a:pt x="619" y="494"/>
                    <a:pt x="628" y="480"/>
                    <a:pt x="635" y="464"/>
                  </a:cubicBezTo>
                  <a:cubicBezTo>
                    <a:pt x="627" y="457"/>
                    <a:pt x="615" y="454"/>
                    <a:pt x="604" y="450"/>
                  </a:cubicBezTo>
                  <a:cubicBezTo>
                    <a:pt x="610" y="436"/>
                    <a:pt x="616" y="422"/>
                    <a:pt x="618" y="405"/>
                  </a:cubicBezTo>
                  <a:cubicBezTo>
                    <a:pt x="631" y="406"/>
                    <a:pt x="639" y="411"/>
                    <a:pt x="652" y="412"/>
                  </a:cubicBezTo>
                  <a:cubicBezTo>
                    <a:pt x="656" y="397"/>
                    <a:pt x="662" y="371"/>
                    <a:pt x="659" y="357"/>
                  </a:cubicBezTo>
                  <a:cubicBezTo>
                    <a:pt x="648" y="357"/>
                    <a:pt x="635" y="358"/>
                    <a:pt x="628" y="354"/>
                  </a:cubicBezTo>
                  <a:cubicBezTo>
                    <a:pt x="628" y="339"/>
                    <a:pt x="628" y="323"/>
                    <a:pt x="628" y="307"/>
                  </a:cubicBezTo>
                  <a:cubicBezTo>
                    <a:pt x="641" y="308"/>
                    <a:pt x="650" y="305"/>
                    <a:pt x="661" y="304"/>
                  </a:cubicBezTo>
                  <a:cubicBezTo>
                    <a:pt x="657" y="288"/>
                    <a:pt x="656" y="268"/>
                    <a:pt x="652" y="252"/>
                  </a:cubicBezTo>
                  <a:cubicBezTo>
                    <a:pt x="638" y="251"/>
                    <a:pt x="633" y="257"/>
                    <a:pt x="621" y="257"/>
                  </a:cubicBezTo>
                  <a:cubicBezTo>
                    <a:pt x="613" y="245"/>
                    <a:pt x="613" y="226"/>
                    <a:pt x="604" y="216"/>
                  </a:cubicBezTo>
                  <a:cubicBezTo>
                    <a:pt x="610" y="208"/>
                    <a:pt x="622" y="206"/>
                    <a:pt x="632" y="202"/>
                  </a:cubicBezTo>
                  <a:cubicBezTo>
                    <a:pt x="629" y="181"/>
                    <a:pt x="615" y="170"/>
                    <a:pt x="609" y="152"/>
                  </a:cubicBezTo>
                  <a:cubicBezTo>
                    <a:pt x="598" y="157"/>
                    <a:pt x="591" y="164"/>
                    <a:pt x="580" y="168"/>
                  </a:cubicBezTo>
                  <a:cubicBezTo>
                    <a:pt x="571" y="156"/>
                    <a:pt x="562" y="144"/>
                    <a:pt x="551" y="133"/>
                  </a:cubicBezTo>
                  <a:cubicBezTo>
                    <a:pt x="556" y="123"/>
                    <a:pt x="567" y="120"/>
                    <a:pt x="573" y="111"/>
                  </a:cubicBezTo>
                  <a:cubicBezTo>
                    <a:pt x="564" y="94"/>
                    <a:pt x="546" y="87"/>
                    <a:pt x="535" y="73"/>
                  </a:cubicBezTo>
                  <a:cubicBezTo>
                    <a:pt x="526" y="79"/>
                    <a:pt x="522" y="89"/>
                    <a:pt x="516" y="97"/>
                  </a:cubicBezTo>
                  <a:cubicBezTo>
                    <a:pt x="500" y="91"/>
                    <a:pt x="490" y="79"/>
                    <a:pt x="475" y="73"/>
                  </a:cubicBezTo>
                  <a:cubicBezTo>
                    <a:pt x="479" y="63"/>
                    <a:pt x="482" y="53"/>
                    <a:pt x="489" y="47"/>
                  </a:cubicBezTo>
                  <a:cubicBezTo>
                    <a:pt x="476" y="35"/>
                    <a:pt x="458" y="28"/>
                    <a:pt x="437" y="23"/>
                  </a:cubicBezTo>
                  <a:cubicBezTo>
                    <a:pt x="437" y="35"/>
                    <a:pt x="430" y="40"/>
                    <a:pt x="430" y="52"/>
                  </a:cubicBezTo>
                  <a:cubicBezTo>
                    <a:pt x="412" y="51"/>
                    <a:pt x="401" y="42"/>
                    <a:pt x="382" y="42"/>
                  </a:cubicBezTo>
                  <a:cubicBezTo>
                    <a:pt x="382" y="30"/>
                    <a:pt x="386" y="21"/>
                    <a:pt x="387" y="9"/>
                  </a:cubicBezTo>
                  <a:cubicBezTo>
                    <a:pt x="367" y="8"/>
                    <a:pt x="343" y="0"/>
                    <a:pt x="325" y="6"/>
                  </a:cubicBezTo>
                  <a:cubicBezTo>
                    <a:pt x="325" y="16"/>
                    <a:pt x="325" y="25"/>
                    <a:pt x="325" y="35"/>
                  </a:cubicBezTo>
                  <a:cubicBezTo>
                    <a:pt x="312" y="40"/>
                    <a:pt x="293" y="39"/>
                    <a:pt x="279" y="42"/>
                  </a:cubicBezTo>
                  <a:cubicBezTo>
                    <a:pt x="275" y="34"/>
                    <a:pt x="275" y="21"/>
                    <a:pt x="272" y="11"/>
                  </a:cubicBezTo>
                  <a:cubicBezTo>
                    <a:pt x="251" y="11"/>
                    <a:pt x="238" y="20"/>
                    <a:pt x="220" y="23"/>
                  </a:cubicBezTo>
                  <a:cubicBezTo>
                    <a:pt x="221" y="35"/>
                    <a:pt x="226" y="44"/>
                    <a:pt x="229" y="54"/>
                  </a:cubicBezTo>
                  <a:cubicBezTo>
                    <a:pt x="218" y="64"/>
                    <a:pt x="201" y="66"/>
                    <a:pt x="189" y="75"/>
                  </a:cubicBezTo>
                  <a:cubicBezTo>
                    <a:pt x="181" y="68"/>
                    <a:pt x="176" y="58"/>
                    <a:pt x="172" y="47"/>
                  </a:cubicBezTo>
                  <a:cubicBezTo>
                    <a:pt x="155" y="55"/>
                    <a:pt x="139" y="65"/>
                    <a:pt x="127" y="78"/>
                  </a:cubicBezTo>
                  <a:cubicBezTo>
                    <a:pt x="131" y="89"/>
                    <a:pt x="140" y="95"/>
                    <a:pt x="146" y="104"/>
                  </a:cubicBezTo>
                  <a:cubicBezTo>
                    <a:pt x="138" y="110"/>
                    <a:pt x="136" y="115"/>
                    <a:pt x="129" y="121"/>
                  </a:cubicBezTo>
                  <a:cubicBezTo>
                    <a:pt x="128" y="122"/>
                    <a:pt x="115" y="137"/>
                    <a:pt x="113" y="137"/>
                  </a:cubicBezTo>
                  <a:cubicBezTo>
                    <a:pt x="103" y="138"/>
                    <a:pt x="96" y="116"/>
                    <a:pt x="89" y="116"/>
                  </a:cubicBezTo>
                  <a:cubicBezTo>
                    <a:pt x="77" y="116"/>
                    <a:pt x="63" y="147"/>
                    <a:pt x="55" y="157"/>
                  </a:cubicBezTo>
                  <a:cubicBezTo>
                    <a:pt x="60" y="167"/>
                    <a:pt x="72" y="170"/>
                    <a:pt x="81" y="176"/>
                  </a:cubicBezTo>
                  <a:cubicBezTo>
                    <a:pt x="77" y="192"/>
                    <a:pt x="66" y="201"/>
                    <a:pt x="62" y="219"/>
                  </a:cubicBezTo>
                  <a:cubicBezTo>
                    <a:pt x="49" y="216"/>
                    <a:pt x="42" y="209"/>
                    <a:pt x="29" y="207"/>
                  </a:cubicBezTo>
                  <a:cubicBezTo>
                    <a:pt x="22" y="223"/>
                    <a:pt x="16" y="239"/>
                    <a:pt x="12" y="259"/>
                  </a:cubicBezTo>
                  <a:cubicBezTo>
                    <a:pt x="24" y="261"/>
                    <a:pt x="35" y="264"/>
                    <a:pt x="46" y="266"/>
                  </a:cubicBezTo>
                  <a:cubicBezTo>
                    <a:pt x="45" y="281"/>
                    <a:pt x="39" y="291"/>
                    <a:pt x="41" y="309"/>
                  </a:cubicBezTo>
                  <a:cubicBezTo>
                    <a:pt x="33" y="314"/>
                    <a:pt x="17" y="311"/>
                    <a:pt x="5" y="312"/>
                  </a:cubicBezTo>
                  <a:cubicBezTo>
                    <a:pt x="0" y="327"/>
                    <a:pt x="4" y="351"/>
                    <a:pt x="5" y="366"/>
                  </a:cubicBezTo>
                  <a:cubicBezTo>
                    <a:pt x="14" y="363"/>
                    <a:pt x="30" y="366"/>
                    <a:pt x="39" y="36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9" name="Oval 6"/>
            <p:cNvSpPr>
              <a:spLocks noChangeArrowheads="1"/>
            </p:cNvSpPr>
            <p:nvPr/>
          </p:nvSpPr>
          <p:spPr bwMode="auto">
            <a:xfrm>
              <a:off x="5827713" y="2928938"/>
              <a:ext cx="1311275" cy="131286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" name="Oval 7"/>
            <p:cNvSpPr>
              <a:spLocks noChangeArrowheads="1"/>
            </p:cNvSpPr>
            <p:nvPr/>
          </p:nvSpPr>
          <p:spPr bwMode="auto">
            <a:xfrm>
              <a:off x="6028980" y="3135390"/>
              <a:ext cx="908741" cy="89995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3" name="Freeform 5"/>
          <p:cNvSpPr>
            <a:spLocks/>
          </p:cNvSpPr>
          <p:nvPr/>
        </p:nvSpPr>
        <p:spPr bwMode="auto">
          <a:xfrm rot="679757">
            <a:off x="7492568" y="7082375"/>
            <a:ext cx="5309028" cy="5313018"/>
          </a:xfrm>
          <a:custGeom>
            <a:avLst/>
            <a:gdLst>
              <a:gd name="T0" fmla="*/ 48 w 662"/>
              <a:gd name="T1" fmla="*/ 407 h 662"/>
              <a:gd name="T2" fmla="*/ 31 w 662"/>
              <a:gd name="T3" fmla="*/ 469 h 662"/>
              <a:gd name="T4" fmla="*/ 89 w 662"/>
              <a:gd name="T5" fmla="*/ 495 h 662"/>
              <a:gd name="T6" fmla="*/ 93 w 662"/>
              <a:gd name="T7" fmla="*/ 557 h 662"/>
              <a:gd name="T8" fmla="*/ 155 w 662"/>
              <a:gd name="T9" fmla="*/ 564 h 662"/>
              <a:gd name="T10" fmla="*/ 182 w 662"/>
              <a:gd name="T11" fmla="*/ 624 h 662"/>
              <a:gd name="T12" fmla="*/ 239 w 662"/>
              <a:gd name="T13" fmla="*/ 610 h 662"/>
              <a:gd name="T14" fmla="*/ 282 w 662"/>
              <a:gd name="T15" fmla="*/ 657 h 662"/>
              <a:gd name="T16" fmla="*/ 334 w 662"/>
              <a:gd name="T17" fmla="*/ 626 h 662"/>
              <a:gd name="T18" fmla="*/ 389 w 662"/>
              <a:gd name="T19" fmla="*/ 657 h 662"/>
              <a:gd name="T20" fmla="*/ 427 w 662"/>
              <a:gd name="T21" fmla="*/ 610 h 662"/>
              <a:gd name="T22" fmla="*/ 492 w 662"/>
              <a:gd name="T23" fmla="*/ 622 h 662"/>
              <a:gd name="T24" fmla="*/ 513 w 662"/>
              <a:gd name="T25" fmla="*/ 564 h 662"/>
              <a:gd name="T26" fmla="*/ 575 w 662"/>
              <a:gd name="T27" fmla="*/ 555 h 662"/>
              <a:gd name="T28" fmla="*/ 580 w 662"/>
              <a:gd name="T29" fmla="*/ 493 h 662"/>
              <a:gd name="T30" fmla="*/ 635 w 662"/>
              <a:gd name="T31" fmla="*/ 464 h 662"/>
              <a:gd name="T32" fmla="*/ 618 w 662"/>
              <a:gd name="T33" fmla="*/ 405 h 662"/>
              <a:gd name="T34" fmla="*/ 659 w 662"/>
              <a:gd name="T35" fmla="*/ 357 h 662"/>
              <a:gd name="T36" fmla="*/ 628 w 662"/>
              <a:gd name="T37" fmla="*/ 307 h 662"/>
              <a:gd name="T38" fmla="*/ 652 w 662"/>
              <a:gd name="T39" fmla="*/ 252 h 662"/>
              <a:gd name="T40" fmla="*/ 604 w 662"/>
              <a:gd name="T41" fmla="*/ 216 h 662"/>
              <a:gd name="T42" fmla="*/ 609 w 662"/>
              <a:gd name="T43" fmla="*/ 152 h 662"/>
              <a:gd name="T44" fmla="*/ 551 w 662"/>
              <a:gd name="T45" fmla="*/ 133 h 662"/>
              <a:gd name="T46" fmla="*/ 535 w 662"/>
              <a:gd name="T47" fmla="*/ 73 h 662"/>
              <a:gd name="T48" fmla="*/ 475 w 662"/>
              <a:gd name="T49" fmla="*/ 73 h 662"/>
              <a:gd name="T50" fmla="*/ 437 w 662"/>
              <a:gd name="T51" fmla="*/ 23 h 662"/>
              <a:gd name="T52" fmla="*/ 382 w 662"/>
              <a:gd name="T53" fmla="*/ 42 h 662"/>
              <a:gd name="T54" fmla="*/ 325 w 662"/>
              <a:gd name="T55" fmla="*/ 6 h 662"/>
              <a:gd name="T56" fmla="*/ 279 w 662"/>
              <a:gd name="T57" fmla="*/ 42 h 662"/>
              <a:gd name="T58" fmla="*/ 220 w 662"/>
              <a:gd name="T59" fmla="*/ 23 h 662"/>
              <a:gd name="T60" fmla="*/ 189 w 662"/>
              <a:gd name="T61" fmla="*/ 75 h 662"/>
              <a:gd name="T62" fmla="*/ 127 w 662"/>
              <a:gd name="T63" fmla="*/ 78 h 662"/>
              <a:gd name="T64" fmla="*/ 129 w 662"/>
              <a:gd name="T65" fmla="*/ 121 h 662"/>
              <a:gd name="T66" fmla="*/ 89 w 662"/>
              <a:gd name="T67" fmla="*/ 116 h 662"/>
              <a:gd name="T68" fmla="*/ 81 w 662"/>
              <a:gd name="T69" fmla="*/ 176 h 662"/>
              <a:gd name="T70" fmla="*/ 29 w 662"/>
              <a:gd name="T71" fmla="*/ 207 h 662"/>
              <a:gd name="T72" fmla="*/ 46 w 662"/>
              <a:gd name="T73" fmla="*/ 266 h 662"/>
              <a:gd name="T74" fmla="*/ 5 w 662"/>
              <a:gd name="T75" fmla="*/ 312 h 662"/>
              <a:gd name="T76" fmla="*/ 39 w 662"/>
              <a:gd name="T77" fmla="*/ 362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62" h="662">
                <a:moveTo>
                  <a:pt x="39" y="362"/>
                </a:moveTo>
                <a:cubicBezTo>
                  <a:pt x="43" y="375"/>
                  <a:pt x="45" y="392"/>
                  <a:pt x="48" y="407"/>
                </a:cubicBezTo>
                <a:cubicBezTo>
                  <a:pt x="39" y="412"/>
                  <a:pt x="28" y="415"/>
                  <a:pt x="15" y="417"/>
                </a:cubicBezTo>
                <a:cubicBezTo>
                  <a:pt x="18" y="436"/>
                  <a:pt x="27" y="451"/>
                  <a:pt x="31" y="469"/>
                </a:cubicBezTo>
                <a:cubicBezTo>
                  <a:pt x="45" y="466"/>
                  <a:pt x="55" y="460"/>
                  <a:pt x="65" y="455"/>
                </a:cubicBezTo>
                <a:cubicBezTo>
                  <a:pt x="74" y="467"/>
                  <a:pt x="79" y="484"/>
                  <a:pt x="89" y="495"/>
                </a:cubicBezTo>
                <a:cubicBezTo>
                  <a:pt x="80" y="502"/>
                  <a:pt x="70" y="509"/>
                  <a:pt x="60" y="514"/>
                </a:cubicBezTo>
                <a:cubicBezTo>
                  <a:pt x="68" y="532"/>
                  <a:pt x="79" y="546"/>
                  <a:pt x="93" y="557"/>
                </a:cubicBezTo>
                <a:cubicBezTo>
                  <a:pt x="106" y="554"/>
                  <a:pt x="109" y="541"/>
                  <a:pt x="120" y="536"/>
                </a:cubicBezTo>
                <a:cubicBezTo>
                  <a:pt x="132" y="545"/>
                  <a:pt x="140" y="558"/>
                  <a:pt x="155" y="564"/>
                </a:cubicBezTo>
                <a:cubicBezTo>
                  <a:pt x="150" y="576"/>
                  <a:pt x="138" y="582"/>
                  <a:pt x="134" y="595"/>
                </a:cubicBezTo>
                <a:cubicBezTo>
                  <a:pt x="149" y="605"/>
                  <a:pt x="163" y="617"/>
                  <a:pt x="182" y="624"/>
                </a:cubicBezTo>
                <a:cubicBezTo>
                  <a:pt x="185" y="612"/>
                  <a:pt x="191" y="604"/>
                  <a:pt x="196" y="593"/>
                </a:cubicBezTo>
                <a:cubicBezTo>
                  <a:pt x="212" y="597"/>
                  <a:pt x="222" y="607"/>
                  <a:pt x="239" y="610"/>
                </a:cubicBezTo>
                <a:cubicBezTo>
                  <a:pt x="238" y="624"/>
                  <a:pt x="230" y="631"/>
                  <a:pt x="229" y="645"/>
                </a:cubicBezTo>
                <a:cubicBezTo>
                  <a:pt x="246" y="650"/>
                  <a:pt x="262" y="656"/>
                  <a:pt x="282" y="657"/>
                </a:cubicBezTo>
                <a:cubicBezTo>
                  <a:pt x="285" y="648"/>
                  <a:pt x="286" y="636"/>
                  <a:pt x="287" y="624"/>
                </a:cubicBezTo>
                <a:cubicBezTo>
                  <a:pt x="305" y="622"/>
                  <a:pt x="316" y="628"/>
                  <a:pt x="334" y="626"/>
                </a:cubicBezTo>
                <a:cubicBezTo>
                  <a:pt x="335" y="638"/>
                  <a:pt x="332" y="654"/>
                  <a:pt x="337" y="662"/>
                </a:cubicBezTo>
                <a:cubicBezTo>
                  <a:pt x="356" y="662"/>
                  <a:pt x="371" y="658"/>
                  <a:pt x="389" y="657"/>
                </a:cubicBezTo>
                <a:cubicBezTo>
                  <a:pt x="390" y="644"/>
                  <a:pt x="386" y="635"/>
                  <a:pt x="384" y="624"/>
                </a:cubicBezTo>
                <a:cubicBezTo>
                  <a:pt x="396" y="616"/>
                  <a:pt x="417" y="618"/>
                  <a:pt x="427" y="610"/>
                </a:cubicBezTo>
                <a:cubicBezTo>
                  <a:pt x="436" y="618"/>
                  <a:pt x="436" y="633"/>
                  <a:pt x="442" y="643"/>
                </a:cubicBezTo>
                <a:cubicBezTo>
                  <a:pt x="460" y="637"/>
                  <a:pt x="475" y="629"/>
                  <a:pt x="492" y="622"/>
                </a:cubicBezTo>
                <a:cubicBezTo>
                  <a:pt x="489" y="610"/>
                  <a:pt x="481" y="604"/>
                  <a:pt x="477" y="593"/>
                </a:cubicBezTo>
                <a:cubicBezTo>
                  <a:pt x="485" y="579"/>
                  <a:pt x="504" y="577"/>
                  <a:pt x="513" y="564"/>
                </a:cubicBezTo>
                <a:cubicBezTo>
                  <a:pt x="522" y="571"/>
                  <a:pt x="529" y="581"/>
                  <a:pt x="535" y="591"/>
                </a:cubicBezTo>
                <a:cubicBezTo>
                  <a:pt x="550" y="580"/>
                  <a:pt x="564" y="569"/>
                  <a:pt x="575" y="555"/>
                </a:cubicBezTo>
                <a:cubicBezTo>
                  <a:pt x="570" y="544"/>
                  <a:pt x="559" y="539"/>
                  <a:pt x="551" y="531"/>
                </a:cubicBezTo>
                <a:cubicBezTo>
                  <a:pt x="561" y="519"/>
                  <a:pt x="572" y="507"/>
                  <a:pt x="580" y="493"/>
                </a:cubicBezTo>
                <a:cubicBezTo>
                  <a:pt x="590" y="498"/>
                  <a:pt x="597" y="507"/>
                  <a:pt x="611" y="510"/>
                </a:cubicBezTo>
                <a:cubicBezTo>
                  <a:pt x="619" y="494"/>
                  <a:pt x="628" y="480"/>
                  <a:pt x="635" y="464"/>
                </a:cubicBezTo>
                <a:cubicBezTo>
                  <a:pt x="627" y="457"/>
                  <a:pt x="615" y="454"/>
                  <a:pt x="604" y="450"/>
                </a:cubicBezTo>
                <a:cubicBezTo>
                  <a:pt x="610" y="436"/>
                  <a:pt x="616" y="422"/>
                  <a:pt x="618" y="405"/>
                </a:cubicBezTo>
                <a:cubicBezTo>
                  <a:pt x="631" y="406"/>
                  <a:pt x="639" y="411"/>
                  <a:pt x="652" y="412"/>
                </a:cubicBezTo>
                <a:cubicBezTo>
                  <a:pt x="656" y="397"/>
                  <a:pt x="662" y="371"/>
                  <a:pt x="659" y="357"/>
                </a:cubicBezTo>
                <a:cubicBezTo>
                  <a:pt x="648" y="357"/>
                  <a:pt x="635" y="358"/>
                  <a:pt x="628" y="354"/>
                </a:cubicBezTo>
                <a:cubicBezTo>
                  <a:pt x="628" y="339"/>
                  <a:pt x="628" y="323"/>
                  <a:pt x="628" y="307"/>
                </a:cubicBezTo>
                <a:cubicBezTo>
                  <a:pt x="641" y="308"/>
                  <a:pt x="650" y="305"/>
                  <a:pt x="661" y="304"/>
                </a:cubicBezTo>
                <a:cubicBezTo>
                  <a:pt x="657" y="288"/>
                  <a:pt x="656" y="268"/>
                  <a:pt x="652" y="252"/>
                </a:cubicBezTo>
                <a:cubicBezTo>
                  <a:pt x="638" y="251"/>
                  <a:pt x="633" y="257"/>
                  <a:pt x="621" y="257"/>
                </a:cubicBezTo>
                <a:cubicBezTo>
                  <a:pt x="613" y="245"/>
                  <a:pt x="613" y="226"/>
                  <a:pt x="604" y="216"/>
                </a:cubicBezTo>
                <a:cubicBezTo>
                  <a:pt x="610" y="208"/>
                  <a:pt x="622" y="206"/>
                  <a:pt x="632" y="202"/>
                </a:cubicBezTo>
                <a:cubicBezTo>
                  <a:pt x="629" y="181"/>
                  <a:pt x="615" y="170"/>
                  <a:pt x="609" y="152"/>
                </a:cubicBezTo>
                <a:cubicBezTo>
                  <a:pt x="598" y="157"/>
                  <a:pt x="591" y="164"/>
                  <a:pt x="580" y="168"/>
                </a:cubicBezTo>
                <a:cubicBezTo>
                  <a:pt x="571" y="156"/>
                  <a:pt x="562" y="144"/>
                  <a:pt x="551" y="133"/>
                </a:cubicBezTo>
                <a:cubicBezTo>
                  <a:pt x="556" y="123"/>
                  <a:pt x="567" y="120"/>
                  <a:pt x="573" y="111"/>
                </a:cubicBezTo>
                <a:cubicBezTo>
                  <a:pt x="564" y="94"/>
                  <a:pt x="546" y="87"/>
                  <a:pt x="535" y="73"/>
                </a:cubicBezTo>
                <a:cubicBezTo>
                  <a:pt x="526" y="79"/>
                  <a:pt x="522" y="89"/>
                  <a:pt x="516" y="97"/>
                </a:cubicBezTo>
                <a:cubicBezTo>
                  <a:pt x="500" y="91"/>
                  <a:pt x="490" y="79"/>
                  <a:pt x="475" y="73"/>
                </a:cubicBezTo>
                <a:cubicBezTo>
                  <a:pt x="479" y="63"/>
                  <a:pt x="482" y="53"/>
                  <a:pt x="489" y="47"/>
                </a:cubicBezTo>
                <a:cubicBezTo>
                  <a:pt x="476" y="35"/>
                  <a:pt x="458" y="28"/>
                  <a:pt x="437" y="23"/>
                </a:cubicBezTo>
                <a:cubicBezTo>
                  <a:pt x="437" y="35"/>
                  <a:pt x="430" y="40"/>
                  <a:pt x="430" y="52"/>
                </a:cubicBezTo>
                <a:cubicBezTo>
                  <a:pt x="412" y="51"/>
                  <a:pt x="401" y="42"/>
                  <a:pt x="382" y="42"/>
                </a:cubicBezTo>
                <a:cubicBezTo>
                  <a:pt x="382" y="30"/>
                  <a:pt x="386" y="21"/>
                  <a:pt x="387" y="9"/>
                </a:cubicBezTo>
                <a:cubicBezTo>
                  <a:pt x="367" y="8"/>
                  <a:pt x="343" y="0"/>
                  <a:pt x="325" y="6"/>
                </a:cubicBezTo>
                <a:cubicBezTo>
                  <a:pt x="325" y="16"/>
                  <a:pt x="325" y="25"/>
                  <a:pt x="325" y="35"/>
                </a:cubicBezTo>
                <a:cubicBezTo>
                  <a:pt x="312" y="40"/>
                  <a:pt x="293" y="39"/>
                  <a:pt x="279" y="42"/>
                </a:cubicBezTo>
                <a:cubicBezTo>
                  <a:pt x="275" y="34"/>
                  <a:pt x="275" y="21"/>
                  <a:pt x="272" y="11"/>
                </a:cubicBezTo>
                <a:cubicBezTo>
                  <a:pt x="251" y="11"/>
                  <a:pt x="238" y="20"/>
                  <a:pt x="220" y="23"/>
                </a:cubicBezTo>
                <a:cubicBezTo>
                  <a:pt x="221" y="35"/>
                  <a:pt x="226" y="44"/>
                  <a:pt x="229" y="54"/>
                </a:cubicBezTo>
                <a:cubicBezTo>
                  <a:pt x="218" y="64"/>
                  <a:pt x="201" y="66"/>
                  <a:pt x="189" y="75"/>
                </a:cubicBezTo>
                <a:cubicBezTo>
                  <a:pt x="181" y="68"/>
                  <a:pt x="176" y="58"/>
                  <a:pt x="172" y="47"/>
                </a:cubicBezTo>
                <a:cubicBezTo>
                  <a:pt x="155" y="55"/>
                  <a:pt x="139" y="65"/>
                  <a:pt x="127" y="78"/>
                </a:cubicBezTo>
                <a:cubicBezTo>
                  <a:pt x="131" y="89"/>
                  <a:pt x="140" y="95"/>
                  <a:pt x="146" y="104"/>
                </a:cubicBezTo>
                <a:cubicBezTo>
                  <a:pt x="138" y="110"/>
                  <a:pt x="136" y="115"/>
                  <a:pt x="129" y="121"/>
                </a:cubicBezTo>
                <a:cubicBezTo>
                  <a:pt x="128" y="122"/>
                  <a:pt x="115" y="137"/>
                  <a:pt x="113" y="137"/>
                </a:cubicBezTo>
                <a:cubicBezTo>
                  <a:pt x="103" y="138"/>
                  <a:pt x="96" y="116"/>
                  <a:pt x="89" y="116"/>
                </a:cubicBezTo>
                <a:cubicBezTo>
                  <a:pt x="77" y="116"/>
                  <a:pt x="63" y="147"/>
                  <a:pt x="55" y="157"/>
                </a:cubicBezTo>
                <a:cubicBezTo>
                  <a:pt x="60" y="167"/>
                  <a:pt x="72" y="170"/>
                  <a:pt x="81" y="176"/>
                </a:cubicBezTo>
                <a:cubicBezTo>
                  <a:pt x="77" y="192"/>
                  <a:pt x="66" y="201"/>
                  <a:pt x="62" y="219"/>
                </a:cubicBezTo>
                <a:cubicBezTo>
                  <a:pt x="49" y="216"/>
                  <a:pt x="42" y="209"/>
                  <a:pt x="29" y="207"/>
                </a:cubicBezTo>
                <a:cubicBezTo>
                  <a:pt x="22" y="223"/>
                  <a:pt x="16" y="239"/>
                  <a:pt x="12" y="259"/>
                </a:cubicBezTo>
                <a:cubicBezTo>
                  <a:pt x="24" y="261"/>
                  <a:pt x="35" y="264"/>
                  <a:pt x="46" y="266"/>
                </a:cubicBezTo>
                <a:cubicBezTo>
                  <a:pt x="45" y="281"/>
                  <a:pt x="39" y="291"/>
                  <a:pt x="41" y="309"/>
                </a:cubicBezTo>
                <a:cubicBezTo>
                  <a:pt x="33" y="314"/>
                  <a:pt x="17" y="311"/>
                  <a:pt x="5" y="312"/>
                </a:cubicBezTo>
                <a:cubicBezTo>
                  <a:pt x="0" y="327"/>
                  <a:pt x="4" y="351"/>
                  <a:pt x="5" y="366"/>
                </a:cubicBezTo>
                <a:cubicBezTo>
                  <a:pt x="14" y="363"/>
                  <a:pt x="30" y="366"/>
                  <a:pt x="39" y="36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4" name="Oval 6"/>
          <p:cNvSpPr>
            <a:spLocks noChangeArrowheads="1"/>
          </p:cNvSpPr>
          <p:nvPr/>
        </p:nvSpPr>
        <p:spPr bwMode="auto">
          <a:xfrm rot="679757">
            <a:off x="8498491" y="8088296"/>
            <a:ext cx="3297186" cy="330117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5" name="Oval 7"/>
          <p:cNvSpPr>
            <a:spLocks noChangeArrowheads="1"/>
          </p:cNvSpPr>
          <p:nvPr/>
        </p:nvSpPr>
        <p:spPr bwMode="auto">
          <a:xfrm rot="679757">
            <a:off x="9004573" y="8607417"/>
            <a:ext cx="2285018" cy="226293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7" name="Freeform 5"/>
          <p:cNvSpPr>
            <a:spLocks/>
          </p:cNvSpPr>
          <p:nvPr/>
        </p:nvSpPr>
        <p:spPr bwMode="auto">
          <a:xfrm rot="738618">
            <a:off x="12961356" y="7613925"/>
            <a:ext cx="4754340" cy="4757914"/>
          </a:xfrm>
          <a:custGeom>
            <a:avLst/>
            <a:gdLst>
              <a:gd name="T0" fmla="*/ 48 w 662"/>
              <a:gd name="T1" fmla="*/ 407 h 662"/>
              <a:gd name="T2" fmla="*/ 31 w 662"/>
              <a:gd name="T3" fmla="*/ 469 h 662"/>
              <a:gd name="T4" fmla="*/ 89 w 662"/>
              <a:gd name="T5" fmla="*/ 495 h 662"/>
              <a:gd name="T6" fmla="*/ 93 w 662"/>
              <a:gd name="T7" fmla="*/ 557 h 662"/>
              <a:gd name="T8" fmla="*/ 155 w 662"/>
              <a:gd name="T9" fmla="*/ 564 h 662"/>
              <a:gd name="T10" fmla="*/ 182 w 662"/>
              <a:gd name="T11" fmla="*/ 624 h 662"/>
              <a:gd name="T12" fmla="*/ 239 w 662"/>
              <a:gd name="T13" fmla="*/ 610 h 662"/>
              <a:gd name="T14" fmla="*/ 282 w 662"/>
              <a:gd name="T15" fmla="*/ 657 h 662"/>
              <a:gd name="T16" fmla="*/ 334 w 662"/>
              <a:gd name="T17" fmla="*/ 626 h 662"/>
              <a:gd name="T18" fmla="*/ 389 w 662"/>
              <a:gd name="T19" fmla="*/ 657 h 662"/>
              <a:gd name="T20" fmla="*/ 427 w 662"/>
              <a:gd name="T21" fmla="*/ 610 h 662"/>
              <a:gd name="T22" fmla="*/ 492 w 662"/>
              <a:gd name="T23" fmla="*/ 622 h 662"/>
              <a:gd name="T24" fmla="*/ 513 w 662"/>
              <a:gd name="T25" fmla="*/ 564 h 662"/>
              <a:gd name="T26" fmla="*/ 575 w 662"/>
              <a:gd name="T27" fmla="*/ 555 h 662"/>
              <a:gd name="T28" fmla="*/ 580 w 662"/>
              <a:gd name="T29" fmla="*/ 493 h 662"/>
              <a:gd name="T30" fmla="*/ 635 w 662"/>
              <a:gd name="T31" fmla="*/ 464 h 662"/>
              <a:gd name="T32" fmla="*/ 618 w 662"/>
              <a:gd name="T33" fmla="*/ 405 h 662"/>
              <a:gd name="T34" fmla="*/ 659 w 662"/>
              <a:gd name="T35" fmla="*/ 357 h 662"/>
              <a:gd name="T36" fmla="*/ 628 w 662"/>
              <a:gd name="T37" fmla="*/ 307 h 662"/>
              <a:gd name="T38" fmla="*/ 652 w 662"/>
              <a:gd name="T39" fmla="*/ 252 h 662"/>
              <a:gd name="T40" fmla="*/ 604 w 662"/>
              <a:gd name="T41" fmla="*/ 216 h 662"/>
              <a:gd name="T42" fmla="*/ 609 w 662"/>
              <a:gd name="T43" fmla="*/ 152 h 662"/>
              <a:gd name="T44" fmla="*/ 551 w 662"/>
              <a:gd name="T45" fmla="*/ 133 h 662"/>
              <a:gd name="T46" fmla="*/ 535 w 662"/>
              <a:gd name="T47" fmla="*/ 73 h 662"/>
              <a:gd name="T48" fmla="*/ 475 w 662"/>
              <a:gd name="T49" fmla="*/ 73 h 662"/>
              <a:gd name="T50" fmla="*/ 437 w 662"/>
              <a:gd name="T51" fmla="*/ 23 h 662"/>
              <a:gd name="T52" fmla="*/ 382 w 662"/>
              <a:gd name="T53" fmla="*/ 42 h 662"/>
              <a:gd name="T54" fmla="*/ 325 w 662"/>
              <a:gd name="T55" fmla="*/ 6 h 662"/>
              <a:gd name="T56" fmla="*/ 279 w 662"/>
              <a:gd name="T57" fmla="*/ 42 h 662"/>
              <a:gd name="T58" fmla="*/ 220 w 662"/>
              <a:gd name="T59" fmla="*/ 23 h 662"/>
              <a:gd name="T60" fmla="*/ 189 w 662"/>
              <a:gd name="T61" fmla="*/ 75 h 662"/>
              <a:gd name="T62" fmla="*/ 127 w 662"/>
              <a:gd name="T63" fmla="*/ 78 h 662"/>
              <a:gd name="T64" fmla="*/ 129 w 662"/>
              <a:gd name="T65" fmla="*/ 121 h 662"/>
              <a:gd name="T66" fmla="*/ 89 w 662"/>
              <a:gd name="T67" fmla="*/ 116 h 662"/>
              <a:gd name="T68" fmla="*/ 81 w 662"/>
              <a:gd name="T69" fmla="*/ 176 h 662"/>
              <a:gd name="T70" fmla="*/ 29 w 662"/>
              <a:gd name="T71" fmla="*/ 207 h 662"/>
              <a:gd name="T72" fmla="*/ 46 w 662"/>
              <a:gd name="T73" fmla="*/ 266 h 662"/>
              <a:gd name="T74" fmla="*/ 5 w 662"/>
              <a:gd name="T75" fmla="*/ 312 h 662"/>
              <a:gd name="T76" fmla="*/ 39 w 662"/>
              <a:gd name="T77" fmla="*/ 362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62" h="662">
                <a:moveTo>
                  <a:pt x="39" y="362"/>
                </a:moveTo>
                <a:cubicBezTo>
                  <a:pt x="43" y="375"/>
                  <a:pt x="45" y="392"/>
                  <a:pt x="48" y="407"/>
                </a:cubicBezTo>
                <a:cubicBezTo>
                  <a:pt x="39" y="412"/>
                  <a:pt x="28" y="415"/>
                  <a:pt x="15" y="417"/>
                </a:cubicBezTo>
                <a:cubicBezTo>
                  <a:pt x="18" y="436"/>
                  <a:pt x="27" y="451"/>
                  <a:pt x="31" y="469"/>
                </a:cubicBezTo>
                <a:cubicBezTo>
                  <a:pt x="45" y="466"/>
                  <a:pt x="55" y="460"/>
                  <a:pt x="65" y="455"/>
                </a:cubicBezTo>
                <a:cubicBezTo>
                  <a:pt x="74" y="467"/>
                  <a:pt x="79" y="484"/>
                  <a:pt x="89" y="495"/>
                </a:cubicBezTo>
                <a:cubicBezTo>
                  <a:pt x="80" y="502"/>
                  <a:pt x="70" y="509"/>
                  <a:pt x="60" y="514"/>
                </a:cubicBezTo>
                <a:cubicBezTo>
                  <a:pt x="68" y="532"/>
                  <a:pt x="79" y="546"/>
                  <a:pt x="93" y="557"/>
                </a:cubicBezTo>
                <a:cubicBezTo>
                  <a:pt x="106" y="554"/>
                  <a:pt x="109" y="541"/>
                  <a:pt x="120" y="536"/>
                </a:cubicBezTo>
                <a:cubicBezTo>
                  <a:pt x="132" y="545"/>
                  <a:pt x="140" y="558"/>
                  <a:pt x="155" y="564"/>
                </a:cubicBezTo>
                <a:cubicBezTo>
                  <a:pt x="150" y="576"/>
                  <a:pt x="138" y="582"/>
                  <a:pt x="134" y="595"/>
                </a:cubicBezTo>
                <a:cubicBezTo>
                  <a:pt x="149" y="605"/>
                  <a:pt x="163" y="617"/>
                  <a:pt x="182" y="624"/>
                </a:cubicBezTo>
                <a:cubicBezTo>
                  <a:pt x="185" y="612"/>
                  <a:pt x="191" y="604"/>
                  <a:pt x="196" y="593"/>
                </a:cubicBezTo>
                <a:cubicBezTo>
                  <a:pt x="212" y="597"/>
                  <a:pt x="222" y="607"/>
                  <a:pt x="239" y="610"/>
                </a:cubicBezTo>
                <a:cubicBezTo>
                  <a:pt x="238" y="624"/>
                  <a:pt x="230" y="631"/>
                  <a:pt x="229" y="645"/>
                </a:cubicBezTo>
                <a:cubicBezTo>
                  <a:pt x="246" y="650"/>
                  <a:pt x="262" y="656"/>
                  <a:pt x="282" y="657"/>
                </a:cubicBezTo>
                <a:cubicBezTo>
                  <a:pt x="285" y="648"/>
                  <a:pt x="286" y="636"/>
                  <a:pt x="287" y="624"/>
                </a:cubicBezTo>
                <a:cubicBezTo>
                  <a:pt x="305" y="622"/>
                  <a:pt x="316" y="628"/>
                  <a:pt x="334" y="626"/>
                </a:cubicBezTo>
                <a:cubicBezTo>
                  <a:pt x="335" y="638"/>
                  <a:pt x="332" y="654"/>
                  <a:pt x="337" y="662"/>
                </a:cubicBezTo>
                <a:cubicBezTo>
                  <a:pt x="356" y="662"/>
                  <a:pt x="371" y="658"/>
                  <a:pt x="389" y="657"/>
                </a:cubicBezTo>
                <a:cubicBezTo>
                  <a:pt x="390" y="644"/>
                  <a:pt x="386" y="635"/>
                  <a:pt x="384" y="624"/>
                </a:cubicBezTo>
                <a:cubicBezTo>
                  <a:pt x="396" y="616"/>
                  <a:pt x="417" y="618"/>
                  <a:pt x="427" y="610"/>
                </a:cubicBezTo>
                <a:cubicBezTo>
                  <a:pt x="436" y="618"/>
                  <a:pt x="436" y="633"/>
                  <a:pt x="442" y="643"/>
                </a:cubicBezTo>
                <a:cubicBezTo>
                  <a:pt x="460" y="637"/>
                  <a:pt x="475" y="629"/>
                  <a:pt x="492" y="622"/>
                </a:cubicBezTo>
                <a:cubicBezTo>
                  <a:pt x="489" y="610"/>
                  <a:pt x="481" y="604"/>
                  <a:pt x="477" y="593"/>
                </a:cubicBezTo>
                <a:cubicBezTo>
                  <a:pt x="485" y="579"/>
                  <a:pt x="504" y="577"/>
                  <a:pt x="513" y="564"/>
                </a:cubicBezTo>
                <a:cubicBezTo>
                  <a:pt x="522" y="571"/>
                  <a:pt x="529" y="581"/>
                  <a:pt x="535" y="591"/>
                </a:cubicBezTo>
                <a:cubicBezTo>
                  <a:pt x="550" y="580"/>
                  <a:pt x="564" y="569"/>
                  <a:pt x="575" y="555"/>
                </a:cubicBezTo>
                <a:cubicBezTo>
                  <a:pt x="570" y="544"/>
                  <a:pt x="559" y="539"/>
                  <a:pt x="551" y="531"/>
                </a:cubicBezTo>
                <a:cubicBezTo>
                  <a:pt x="561" y="519"/>
                  <a:pt x="572" y="507"/>
                  <a:pt x="580" y="493"/>
                </a:cubicBezTo>
                <a:cubicBezTo>
                  <a:pt x="590" y="498"/>
                  <a:pt x="597" y="507"/>
                  <a:pt x="611" y="510"/>
                </a:cubicBezTo>
                <a:cubicBezTo>
                  <a:pt x="619" y="494"/>
                  <a:pt x="628" y="480"/>
                  <a:pt x="635" y="464"/>
                </a:cubicBezTo>
                <a:cubicBezTo>
                  <a:pt x="627" y="457"/>
                  <a:pt x="615" y="454"/>
                  <a:pt x="604" y="450"/>
                </a:cubicBezTo>
                <a:cubicBezTo>
                  <a:pt x="610" y="436"/>
                  <a:pt x="616" y="422"/>
                  <a:pt x="618" y="405"/>
                </a:cubicBezTo>
                <a:cubicBezTo>
                  <a:pt x="631" y="406"/>
                  <a:pt x="639" y="411"/>
                  <a:pt x="652" y="412"/>
                </a:cubicBezTo>
                <a:cubicBezTo>
                  <a:pt x="656" y="397"/>
                  <a:pt x="662" y="371"/>
                  <a:pt x="659" y="357"/>
                </a:cubicBezTo>
                <a:cubicBezTo>
                  <a:pt x="648" y="357"/>
                  <a:pt x="635" y="358"/>
                  <a:pt x="628" y="354"/>
                </a:cubicBezTo>
                <a:cubicBezTo>
                  <a:pt x="628" y="339"/>
                  <a:pt x="628" y="323"/>
                  <a:pt x="628" y="307"/>
                </a:cubicBezTo>
                <a:cubicBezTo>
                  <a:pt x="641" y="308"/>
                  <a:pt x="650" y="305"/>
                  <a:pt x="661" y="304"/>
                </a:cubicBezTo>
                <a:cubicBezTo>
                  <a:pt x="657" y="288"/>
                  <a:pt x="656" y="268"/>
                  <a:pt x="652" y="252"/>
                </a:cubicBezTo>
                <a:cubicBezTo>
                  <a:pt x="638" y="251"/>
                  <a:pt x="633" y="257"/>
                  <a:pt x="621" y="257"/>
                </a:cubicBezTo>
                <a:cubicBezTo>
                  <a:pt x="613" y="245"/>
                  <a:pt x="613" y="226"/>
                  <a:pt x="604" y="216"/>
                </a:cubicBezTo>
                <a:cubicBezTo>
                  <a:pt x="610" y="208"/>
                  <a:pt x="622" y="206"/>
                  <a:pt x="632" y="202"/>
                </a:cubicBezTo>
                <a:cubicBezTo>
                  <a:pt x="629" y="181"/>
                  <a:pt x="615" y="170"/>
                  <a:pt x="609" y="152"/>
                </a:cubicBezTo>
                <a:cubicBezTo>
                  <a:pt x="598" y="157"/>
                  <a:pt x="591" y="164"/>
                  <a:pt x="580" y="168"/>
                </a:cubicBezTo>
                <a:cubicBezTo>
                  <a:pt x="571" y="156"/>
                  <a:pt x="562" y="144"/>
                  <a:pt x="551" y="133"/>
                </a:cubicBezTo>
                <a:cubicBezTo>
                  <a:pt x="556" y="123"/>
                  <a:pt x="567" y="120"/>
                  <a:pt x="573" y="111"/>
                </a:cubicBezTo>
                <a:cubicBezTo>
                  <a:pt x="564" y="94"/>
                  <a:pt x="546" y="87"/>
                  <a:pt x="535" y="73"/>
                </a:cubicBezTo>
                <a:cubicBezTo>
                  <a:pt x="526" y="79"/>
                  <a:pt x="522" y="89"/>
                  <a:pt x="516" y="97"/>
                </a:cubicBezTo>
                <a:cubicBezTo>
                  <a:pt x="500" y="91"/>
                  <a:pt x="490" y="79"/>
                  <a:pt x="475" y="73"/>
                </a:cubicBezTo>
                <a:cubicBezTo>
                  <a:pt x="479" y="63"/>
                  <a:pt x="482" y="53"/>
                  <a:pt x="489" y="47"/>
                </a:cubicBezTo>
                <a:cubicBezTo>
                  <a:pt x="476" y="35"/>
                  <a:pt x="458" y="28"/>
                  <a:pt x="437" y="23"/>
                </a:cubicBezTo>
                <a:cubicBezTo>
                  <a:pt x="437" y="35"/>
                  <a:pt x="430" y="40"/>
                  <a:pt x="430" y="52"/>
                </a:cubicBezTo>
                <a:cubicBezTo>
                  <a:pt x="412" y="51"/>
                  <a:pt x="401" y="42"/>
                  <a:pt x="382" y="42"/>
                </a:cubicBezTo>
                <a:cubicBezTo>
                  <a:pt x="382" y="30"/>
                  <a:pt x="386" y="21"/>
                  <a:pt x="387" y="9"/>
                </a:cubicBezTo>
                <a:cubicBezTo>
                  <a:pt x="367" y="8"/>
                  <a:pt x="343" y="0"/>
                  <a:pt x="325" y="6"/>
                </a:cubicBezTo>
                <a:cubicBezTo>
                  <a:pt x="325" y="16"/>
                  <a:pt x="325" y="25"/>
                  <a:pt x="325" y="35"/>
                </a:cubicBezTo>
                <a:cubicBezTo>
                  <a:pt x="312" y="40"/>
                  <a:pt x="293" y="39"/>
                  <a:pt x="279" y="42"/>
                </a:cubicBezTo>
                <a:cubicBezTo>
                  <a:pt x="275" y="34"/>
                  <a:pt x="275" y="21"/>
                  <a:pt x="272" y="11"/>
                </a:cubicBezTo>
                <a:cubicBezTo>
                  <a:pt x="251" y="11"/>
                  <a:pt x="238" y="20"/>
                  <a:pt x="220" y="23"/>
                </a:cubicBezTo>
                <a:cubicBezTo>
                  <a:pt x="221" y="35"/>
                  <a:pt x="226" y="44"/>
                  <a:pt x="229" y="54"/>
                </a:cubicBezTo>
                <a:cubicBezTo>
                  <a:pt x="218" y="64"/>
                  <a:pt x="201" y="66"/>
                  <a:pt x="189" y="75"/>
                </a:cubicBezTo>
                <a:cubicBezTo>
                  <a:pt x="181" y="68"/>
                  <a:pt x="176" y="58"/>
                  <a:pt x="172" y="47"/>
                </a:cubicBezTo>
                <a:cubicBezTo>
                  <a:pt x="155" y="55"/>
                  <a:pt x="139" y="65"/>
                  <a:pt x="127" y="78"/>
                </a:cubicBezTo>
                <a:cubicBezTo>
                  <a:pt x="131" y="89"/>
                  <a:pt x="140" y="95"/>
                  <a:pt x="146" y="104"/>
                </a:cubicBezTo>
                <a:cubicBezTo>
                  <a:pt x="138" y="110"/>
                  <a:pt x="136" y="115"/>
                  <a:pt x="129" y="121"/>
                </a:cubicBezTo>
                <a:cubicBezTo>
                  <a:pt x="128" y="122"/>
                  <a:pt x="115" y="137"/>
                  <a:pt x="113" y="137"/>
                </a:cubicBezTo>
                <a:cubicBezTo>
                  <a:pt x="103" y="138"/>
                  <a:pt x="96" y="116"/>
                  <a:pt x="89" y="116"/>
                </a:cubicBezTo>
                <a:cubicBezTo>
                  <a:pt x="77" y="116"/>
                  <a:pt x="63" y="147"/>
                  <a:pt x="55" y="157"/>
                </a:cubicBezTo>
                <a:cubicBezTo>
                  <a:pt x="60" y="167"/>
                  <a:pt x="72" y="170"/>
                  <a:pt x="81" y="176"/>
                </a:cubicBezTo>
                <a:cubicBezTo>
                  <a:pt x="77" y="192"/>
                  <a:pt x="66" y="201"/>
                  <a:pt x="62" y="219"/>
                </a:cubicBezTo>
                <a:cubicBezTo>
                  <a:pt x="49" y="216"/>
                  <a:pt x="42" y="209"/>
                  <a:pt x="29" y="207"/>
                </a:cubicBezTo>
                <a:cubicBezTo>
                  <a:pt x="22" y="223"/>
                  <a:pt x="16" y="239"/>
                  <a:pt x="12" y="259"/>
                </a:cubicBezTo>
                <a:cubicBezTo>
                  <a:pt x="24" y="261"/>
                  <a:pt x="35" y="264"/>
                  <a:pt x="46" y="266"/>
                </a:cubicBezTo>
                <a:cubicBezTo>
                  <a:pt x="45" y="281"/>
                  <a:pt x="39" y="291"/>
                  <a:pt x="41" y="309"/>
                </a:cubicBezTo>
                <a:cubicBezTo>
                  <a:pt x="33" y="314"/>
                  <a:pt x="17" y="311"/>
                  <a:pt x="5" y="312"/>
                </a:cubicBezTo>
                <a:cubicBezTo>
                  <a:pt x="0" y="327"/>
                  <a:pt x="4" y="351"/>
                  <a:pt x="5" y="366"/>
                </a:cubicBezTo>
                <a:cubicBezTo>
                  <a:pt x="14" y="363"/>
                  <a:pt x="30" y="366"/>
                  <a:pt x="39" y="36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8" name="Oval 6"/>
          <p:cNvSpPr>
            <a:spLocks noChangeArrowheads="1"/>
          </p:cNvSpPr>
          <p:nvPr/>
        </p:nvSpPr>
        <p:spPr bwMode="auto">
          <a:xfrm rot="738618">
            <a:off x="13862178" y="8514747"/>
            <a:ext cx="2952696" cy="295627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9" name="Oval 7"/>
          <p:cNvSpPr>
            <a:spLocks noChangeArrowheads="1"/>
          </p:cNvSpPr>
          <p:nvPr/>
        </p:nvSpPr>
        <p:spPr bwMode="auto">
          <a:xfrm rot="738618">
            <a:off x="14315386" y="8979631"/>
            <a:ext cx="2046280" cy="20265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1" name="Freeform 5"/>
          <p:cNvSpPr>
            <a:spLocks/>
          </p:cNvSpPr>
          <p:nvPr/>
        </p:nvSpPr>
        <p:spPr bwMode="auto">
          <a:xfrm rot="912447">
            <a:off x="17885866" y="8272518"/>
            <a:ext cx="4054788" cy="4057836"/>
          </a:xfrm>
          <a:custGeom>
            <a:avLst/>
            <a:gdLst>
              <a:gd name="T0" fmla="*/ 48 w 662"/>
              <a:gd name="T1" fmla="*/ 407 h 662"/>
              <a:gd name="T2" fmla="*/ 31 w 662"/>
              <a:gd name="T3" fmla="*/ 469 h 662"/>
              <a:gd name="T4" fmla="*/ 89 w 662"/>
              <a:gd name="T5" fmla="*/ 495 h 662"/>
              <a:gd name="T6" fmla="*/ 93 w 662"/>
              <a:gd name="T7" fmla="*/ 557 h 662"/>
              <a:gd name="T8" fmla="*/ 155 w 662"/>
              <a:gd name="T9" fmla="*/ 564 h 662"/>
              <a:gd name="T10" fmla="*/ 182 w 662"/>
              <a:gd name="T11" fmla="*/ 624 h 662"/>
              <a:gd name="T12" fmla="*/ 239 w 662"/>
              <a:gd name="T13" fmla="*/ 610 h 662"/>
              <a:gd name="T14" fmla="*/ 282 w 662"/>
              <a:gd name="T15" fmla="*/ 657 h 662"/>
              <a:gd name="T16" fmla="*/ 334 w 662"/>
              <a:gd name="T17" fmla="*/ 626 h 662"/>
              <a:gd name="T18" fmla="*/ 389 w 662"/>
              <a:gd name="T19" fmla="*/ 657 h 662"/>
              <a:gd name="T20" fmla="*/ 427 w 662"/>
              <a:gd name="T21" fmla="*/ 610 h 662"/>
              <a:gd name="T22" fmla="*/ 492 w 662"/>
              <a:gd name="T23" fmla="*/ 622 h 662"/>
              <a:gd name="T24" fmla="*/ 513 w 662"/>
              <a:gd name="T25" fmla="*/ 564 h 662"/>
              <a:gd name="T26" fmla="*/ 575 w 662"/>
              <a:gd name="T27" fmla="*/ 555 h 662"/>
              <a:gd name="T28" fmla="*/ 580 w 662"/>
              <a:gd name="T29" fmla="*/ 493 h 662"/>
              <a:gd name="T30" fmla="*/ 635 w 662"/>
              <a:gd name="T31" fmla="*/ 464 h 662"/>
              <a:gd name="T32" fmla="*/ 618 w 662"/>
              <a:gd name="T33" fmla="*/ 405 h 662"/>
              <a:gd name="T34" fmla="*/ 659 w 662"/>
              <a:gd name="T35" fmla="*/ 357 h 662"/>
              <a:gd name="T36" fmla="*/ 628 w 662"/>
              <a:gd name="T37" fmla="*/ 307 h 662"/>
              <a:gd name="T38" fmla="*/ 652 w 662"/>
              <a:gd name="T39" fmla="*/ 252 h 662"/>
              <a:gd name="T40" fmla="*/ 604 w 662"/>
              <a:gd name="T41" fmla="*/ 216 h 662"/>
              <a:gd name="T42" fmla="*/ 609 w 662"/>
              <a:gd name="T43" fmla="*/ 152 h 662"/>
              <a:gd name="T44" fmla="*/ 551 w 662"/>
              <a:gd name="T45" fmla="*/ 133 h 662"/>
              <a:gd name="T46" fmla="*/ 535 w 662"/>
              <a:gd name="T47" fmla="*/ 73 h 662"/>
              <a:gd name="T48" fmla="*/ 475 w 662"/>
              <a:gd name="T49" fmla="*/ 73 h 662"/>
              <a:gd name="T50" fmla="*/ 437 w 662"/>
              <a:gd name="T51" fmla="*/ 23 h 662"/>
              <a:gd name="T52" fmla="*/ 382 w 662"/>
              <a:gd name="T53" fmla="*/ 42 h 662"/>
              <a:gd name="T54" fmla="*/ 325 w 662"/>
              <a:gd name="T55" fmla="*/ 6 h 662"/>
              <a:gd name="T56" fmla="*/ 279 w 662"/>
              <a:gd name="T57" fmla="*/ 42 h 662"/>
              <a:gd name="T58" fmla="*/ 220 w 662"/>
              <a:gd name="T59" fmla="*/ 23 h 662"/>
              <a:gd name="T60" fmla="*/ 189 w 662"/>
              <a:gd name="T61" fmla="*/ 75 h 662"/>
              <a:gd name="T62" fmla="*/ 127 w 662"/>
              <a:gd name="T63" fmla="*/ 78 h 662"/>
              <a:gd name="T64" fmla="*/ 129 w 662"/>
              <a:gd name="T65" fmla="*/ 121 h 662"/>
              <a:gd name="T66" fmla="*/ 89 w 662"/>
              <a:gd name="T67" fmla="*/ 116 h 662"/>
              <a:gd name="T68" fmla="*/ 81 w 662"/>
              <a:gd name="T69" fmla="*/ 176 h 662"/>
              <a:gd name="T70" fmla="*/ 29 w 662"/>
              <a:gd name="T71" fmla="*/ 207 h 662"/>
              <a:gd name="T72" fmla="*/ 46 w 662"/>
              <a:gd name="T73" fmla="*/ 266 h 662"/>
              <a:gd name="T74" fmla="*/ 5 w 662"/>
              <a:gd name="T75" fmla="*/ 312 h 662"/>
              <a:gd name="T76" fmla="*/ 39 w 662"/>
              <a:gd name="T77" fmla="*/ 362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62" h="662">
                <a:moveTo>
                  <a:pt x="39" y="362"/>
                </a:moveTo>
                <a:cubicBezTo>
                  <a:pt x="43" y="375"/>
                  <a:pt x="45" y="392"/>
                  <a:pt x="48" y="407"/>
                </a:cubicBezTo>
                <a:cubicBezTo>
                  <a:pt x="39" y="412"/>
                  <a:pt x="28" y="415"/>
                  <a:pt x="15" y="417"/>
                </a:cubicBezTo>
                <a:cubicBezTo>
                  <a:pt x="18" y="436"/>
                  <a:pt x="27" y="451"/>
                  <a:pt x="31" y="469"/>
                </a:cubicBezTo>
                <a:cubicBezTo>
                  <a:pt x="45" y="466"/>
                  <a:pt x="55" y="460"/>
                  <a:pt x="65" y="455"/>
                </a:cubicBezTo>
                <a:cubicBezTo>
                  <a:pt x="74" y="467"/>
                  <a:pt x="79" y="484"/>
                  <a:pt x="89" y="495"/>
                </a:cubicBezTo>
                <a:cubicBezTo>
                  <a:pt x="80" y="502"/>
                  <a:pt x="70" y="509"/>
                  <a:pt x="60" y="514"/>
                </a:cubicBezTo>
                <a:cubicBezTo>
                  <a:pt x="68" y="532"/>
                  <a:pt x="79" y="546"/>
                  <a:pt x="93" y="557"/>
                </a:cubicBezTo>
                <a:cubicBezTo>
                  <a:pt x="106" y="554"/>
                  <a:pt x="109" y="541"/>
                  <a:pt x="120" y="536"/>
                </a:cubicBezTo>
                <a:cubicBezTo>
                  <a:pt x="132" y="545"/>
                  <a:pt x="140" y="558"/>
                  <a:pt x="155" y="564"/>
                </a:cubicBezTo>
                <a:cubicBezTo>
                  <a:pt x="150" y="576"/>
                  <a:pt x="138" y="582"/>
                  <a:pt x="134" y="595"/>
                </a:cubicBezTo>
                <a:cubicBezTo>
                  <a:pt x="149" y="605"/>
                  <a:pt x="163" y="617"/>
                  <a:pt x="182" y="624"/>
                </a:cubicBezTo>
                <a:cubicBezTo>
                  <a:pt x="185" y="612"/>
                  <a:pt x="191" y="604"/>
                  <a:pt x="196" y="593"/>
                </a:cubicBezTo>
                <a:cubicBezTo>
                  <a:pt x="212" y="597"/>
                  <a:pt x="222" y="607"/>
                  <a:pt x="239" y="610"/>
                </a:cubicBezTo>
                <a:cubicBezTo>
                  <a:pt x="238" y="624"/>
                  <a:pt x="230" y="631"/>
                  <a:pt x="229" y="645"/>
                </a:cubicBezTo>
                <a:cubicBezTo>
                  <a:pt x="246" y="650"/>
                  <a:pt x="262" y="656"/>
                  <a:pt x="282" y="657"/>
                </a:cubicBezTo>
                <a:cubicBezTo>
                  <a:pt x="285" y="648"/>
                  <a:pt x="286" y="636"/>
                  <a:pt x="287" y="624"/>
                </a:cubicBezTo>
                <a:cubicBezTo>
                  <a:pt x="305" y="622"/>
                  <a:pt x="316" y="628"/>
                  <a:pt x="334" y="626"/>
                </a:cubicBezTo>
                <a:cubicBezTo>
                  <a:pt x="335" y="638"/>
                  <a:pt x="332" y="654"/>
                  <a:pt x="337" y="662"/>
                </a:cubicBezTo>
                <a:cubicBezTo>
                  <a:pt x="356" y="662"/>
                  <a:pt x="371" y="658"/>
                  <a:pt x="389" y="657"/>
                </a:cubicBezTo>
                <a:cubicBezTo>
                  <a:pt x="390" y="644"/>
                  <a:pt x="386" y="635"/>
                  <a:pt x="384" y="624"/>
                </a:cubicBezTo>
                <a:cubicBezTo>
                  <a:pt x="396" y="616"/>
                  <a:pt x="417" y="618"/>
                  <a:pt x="427" y="610"/>
                </a:cubicBezTo>
                <a:cubicBezTo>
                  <a:pt x="436" y="618"/>
                  <a:pt x="436" y="633"/>
                  <a:pt x="442" y="643"/>
                </a:cubicBezTo>
                <a:cubicBezTo>
                  <a:pt x="460" y="637"/>
                  <a:pt x="475" y="629"/>
                  <a:pt x="492" y="622"/>
                </a:cubicBezTo>
                <a:cubicBezTo>
                  <a:pt x="489" y="610"/>
                  <a:pt x="481" y="604"/>
                  <a:pt x="477" y="593"/>
                </a:cubicBezTo>
                <a:cubicBezTo>
                  <a:pt x="485" y="579"/>
                  <a:pt x="504" y="577"/>
                  <a:pt x="513" y="564"/>
                </a:cubicBezTo>
                <a:cubicBezTo>
                  <a:pt x="522" y="571"/>
                  <a:pt x="529" y="581"/>
                  <a:pt x="535" y="591"/>
                </a:cubicBezTo>
                <a:cubicBezTo>
                  <a:pt x="550" y="580"/>
                  <a:pt x="564" y="569"/>
                  <a:pt x="575" y="555"/>
                </a:cubicBezTo>
                <a:cubicBezTo>
                  <a:pt x="570" y="544"/>
                  <a:pt x="559" y="539"/>
                  <a:pt x="551" y="531"/>
                </a:cubicBezTo>
                <a:cubicBezTo>
                  <a:pt x="561" y="519"/>
                  <a:pt x="572" y="507"/>
                  <a:pt x="580" y="493"/>
                </a:cubicBezTo>
                <a:cubicBezTo>
                  <a:pt x="590" y="498"/>
                  <a:pt x="597" y="507"/>
                  <a:pt x="611" y="510"/>
                </a:cubicBezTo>
                <a:cubicBezTo>
                  <a:pt x="619" y="494"/>
                  <a:pt x="628" y="480"/>
                  <a:pt x="635" y="464"/>
                </a:cubicBezTo>
                <a:cubicBezTo>
                  <a:pt x="627" y="457"/>
                  <a:pt x="615" y="454"/>
                  <a:pt x="604" y="450"/>
                </a:cubicBezTo>
                <a:cubicBezTo>
                  <a:pt x="610" y="436"/>
                  <a:pt x="616" y="422"/>
                  <a:pt x="618" y="405"/>
                </a:cubicBezTo>
                <a:cubicBezTo>
                  <a:pt x="631" y="406"/>
                  <a:pt x="639" y="411"/>
                  <a:pt x="652" y="412"/>
                </a:cubicBezTo>
                <a:cubicBezTo>
                  <a:pt x="656" y="397"/>
                  <a:pt x="662" y="371"/>
                  <a:pt x="659" y="357"/>
                </a:cubicBezTo>
                <a:cubicBezTo>
                  <a:pt x="648" y="357"/>
                  <a:pt x="635" y="358"/>
                  <a:pt x="628" y="354"/>
                </a:cubicBezTo>
                <a:cubicBezTo>
                  <a:pt x="628" y="339"/>
                  <a:pt x="628" y="323"/>
                  <a:pt x="628" y="307"/>
                </a:cubicBezTo>
                <a:cubicBezTo>
                  <a:pt x="641" y="308"/>
                  <a:pt x="650" y="305"/>
                  <a:pt x="661" y="304"/>
                </a:cubicBezTo>
                <a:cubicBezTo>
                  <a:pt x="657" y="288"/>
                  <a:pt x="656" y="268"/>
                  <a:pt x="652" y="252"/>
                </a:cubicBezTo>
                <a:cubicBezTo>
                  <a:pt x="638" y="251"/>
                  <a:pt x="633" y="257"/>
                  <a:pt x="621" y="257"/>
                </a:cubicBezTo>
                <a:cubicBezTo>
                  <a:pt x="613" y="245"/>
                  <a:pt x="613" y="226"/>
                  <a:pt x="604" y="216"/>
                </a:cubicBezTo>
                <a:cubicBezTo>
                  <a:pt x="610" y="208"/>
                  <a:pt x="622" y="206"/>
                  <a:pt x="632" y="202"/>
                </a:cubicBezTo>
                <a:cubicBezTo>
                  <a:pt x="629" y="181"/>
                  <a:pt x="615" y="170"/>
                  <a:pt x="609" y="152"/>
                </a:cubicBezTo>
                <a:cubicBezTo>
                  <a:pt x="598" y="157"/>
                  <a:pt x="591" y="164"/>
                  <a:pt x="580" y="168"/>
                </a:cubicBezTo>
                <a:cubicBezTo>
                  <a:pt x="571" y="156"/>
                  <a:pt x="562" y="144"/>
                  <a:pt x="551" y="133"/>
                </a:cubicBezTo>
                <a:cubicBezTo>
                  <a:pt x="556" y="123"/>
                  <a:pt x="567" y="120"/>
                  <a:pt x="573" y="111"/>
                </a:cubicBezTo>
                <a:cubicBezTo>
                  <a:pt x="564" y="94"/>
                  <a:pt x="546" y="87"/>
                  <a:pt x="535" y="73"/>
                </a:cubicBezTo>
                <a:cubicBezTo>
                  <a:pt x="526" y="79"/>
                  <a:pt x="522" y="89"/>
                  <a:pt x="516" y="97"/>
                </a:cubicBezTo>
                <a:cubicBezTo>
                  <a:pt x="500" y="91"/>
                  <a:pt x="490" y="79"/>
                  <a:pt x="475" y="73"/>
                </a:cubicBezTo>
                <a:cubicBezTo>
                  <a:pt x="479" y="63"/>
                  <a:pt x="482" y="53"/>
                  <a:pt x="489" y="47"/>
                </a:cubicBezTo>
                <a:cubicBezTo>
                  <a:pt x="476" y="35"/>
                  <a:pt x="458" y="28"/>
                  <a:pt x="437" y="23"/>
                </a:cubicBezTo>
                <a:cubicBezTo>
                  <a:pt x="437" y="35"/>
                  <a:pt x="430" y="40"/>
                  <a:pt x="430" y="52"/>
                </a:cubicBezTo>
                <a:cubicBezTo>
                  <a:pt x="412" y="51"/>
                  <a:pt x="401" y="42"/>
                  <a:pt x="382" y="42"/>
                </a:cubicBezTo>
                <a:cubicBezTo>
                  <a:pt x="382" y="30"/>
                  <a:pt x="386" y="21"/>
                  <a:pt x="387" y="9"/>
                </a:cubicBezTo>
                <a:cubicBezTo>
                  <a:pt x="367" y="8"/>
                  <a:pt x="343" y="0"/>
                  <a:pt x="325" y="6"/>
                </a:cubicBezTo>
                <a:cubicBezTo>
                  <a:pt x="325" y="16"/>
                  <a:pt x="325" y="25"/>
                  <a:pt x="325" y="35"/>
                </a:cubicBezTo>
                <a:cubicBezTo>
                  <a:pt x="312" y="40"/>
                  <a:pt x="293" y="39"/>
                  <a:pt x="279" y="42"/>
                </a:cubicBezTo>
                <a:cubicBezTo>
                  <a:pt x="275" y="34"/>
                  <a:pt x="275" y="21"/>
                  <a:pt x="272" y="11"/>
                </a:cubicBezTo>
                <a:cubicBezTo>
                  <a:pt x="251" y="11"/>
                  <a:pt x="238" y="20"/>
                  <a:pt x="220" y="23"/>
                </a:cubicBezTo>
                <a:cubicBezTo>
                  <a:pt x="221" y="35"/>
                  <a:pt x="226" y="44"/>
                  <a:pt x="229" y="54"/>
                </a:cubicBezTo>
                <a:cubicBezTo>
                  <a:pt x="218" y="64"/>
                  <a:pt x="201" y="66"/>
                  <a:pt x="189" y="75"/>
                </a:cubicBezTo>
                <a:cubicBezTo>
                  <a:pt x="181" y="68"/>
                  <a:pt x="176" y="58"/>
                  <a:pt x="172" y="47"/>
                </a:cubicBezTo>
                <a:cubicBezTo>
                  <a:pt x="155" y="55"/>
                  <a:pt x="139" y="65"/>
                  <a:pt x="127" y="78"/>
                </a:cubicBezTo>
                <a:cubicBezTo>
                  <a:pt x="131" y="89"/>
                  <a:pt x="140" y="95"/>
                  <a:pt x="146" y="104"/>
                </a:cubicBezTo>
                <a:cubicBezTo>
                  <a:pt x="138" y="110"/>
                  <a:pt x="136" y="115"/>
                  <a:pt x="129" y="121"/>
                </a:cubicBezTo>
                <a:cubicBezTo>
                  <a:pt x="128" y="122"/>
                  <a:pt x="115" y="137"/>
                  <a:pt x="113" y="137"/>
                </a:cubicBezTo>
                <a:cubicBezTo>
                  <a:pt x="103" y="138"/>
                  <a:pt x="96" y="116"/>
                  <a:pt x="89" y="116"/>
                </a:cubicBezTo>
                <a:cubicBezTo>
                  <a:pt x="77" y="116"/>
                  <a:pt x="63" y="147"/>
                  <a:pt x="55" y="157"/>
                </a:cubicBezTo>
                <a:cubicBezTo>
                  <a:pt x="60" y="167"/>
                  <a:pt x="72" y="170"/>
                  <a:pt x="81" y="176"/>
                </a:cubicBezTo>
                <a:cubicBezTo>
                  <a:pt x="77" y="192"/>
                  <a:pt x="66" y="201"/>
                  <a:pt x="62" y="219"/>
                </a:cubicBezTo>
                <a:cubicBezTo>
                  <a:pt x="49" y="216"/>
                  <a:pt x="42" y="209"/>
                  <a:pt x="29" y="207"/>
                </a:cubicBezTo>
                <a:cubicBezTo>
                  <a:pt x="22" y="223"/>
                  <a:pt x="16" y="239"/>
                  <a:pt x="12" y="259"/>
                </a:cubicBezTo>
                <a:cubicBezTo>
                  <a:pt x="24" y="261"/>
                  <a:pt x="35" y="264"/>
                  <a:pt x="46" y="266"/>
                </a:cubicBezTo>
                <a:cubicBezTo>
                  <a:pt x="45" y="281"/>
                  <a:pt x="39" y="291"/>
                  <a:pt x="41" y="309"/>
                </a:cubicBezTo>
                <a:cubicBezTo>
                  <a:pt x="33" y="314"/>
                  <a:pt x="17" y="311"/>
                  <a:pt x="5" y="312"/>
                </a:cubicBezTo>
                <a:cubicBezTo>
                  <a:pt x="0" y="327"/>
                  <a:pt x="4" y="351"/>
                  <a:pt x="5" y="366"/>
                </a:cubicBezTo>
                <a:cubicBezTo>
                  <a:pt x="14" y="363"/>
                  <a:pt x="30" y="366"/>
                  <a:pt x="39" y="36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2" name="Oval 6"/>
          <p:cNvSpPr>
            <a:spLocks noChangeArrowheads="1"/>
          </p:cNvSpPr>
          <p:nvPr/>
        </p:nvSpPr>
        <p:spPr bwMode="auto">
          <a:xfrm rot="912447">
            <a:off x="18654142" y="9040794"/>
            <a:ext cx="2518236" cy="2521284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3" name="Oval 7"/>
          <p:cNvSpPr>
            <a:spLocks noChangeArrowheads="1"/>
          </p:cNvSpPr>
          <p:nvPr/>
        </p:nvSpPr>
        <p:spPr bwMode="auto">
          <a:xfrm rot="912447">
            <a:off x="19040665" y="9437274"/>
            <a:ext cx="1745190" cy="17283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150291" y="3611644"/>
            <a:ext cx="532671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174554" y="2782488"/>
            <a:ext cx="1890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FFFFF"/>
                </a:solidFill>
                <a:latin typeface="Poppins"/>
              </a:rPr>
              <a:t>Descrip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626809" y="2783723"/>
            <a:ext cx="5257802" cy="6374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557901" y="3623820"/>
            <a:ext cx="532671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582164" y="2794664"/>
            <a:ext cx="1890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FFFFF"/>
                </a:solidFill>
                <a:latin typeface="Poppins"/>
              </a:rPr>
              <a:t>Descrip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3358372" y="2783141"/>
            <a:ext cx="4602372" cy="6374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13289464" y="3623238"/>
            <a:ext cx="449802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3313726" y="2794082"/>
            <a:ext cx="1890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FFFFF"/>
                </a:solidFill>
                <a:latin typeface="Poppins"/>
              </a:rPr>
              <a:t>Descriptio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8422324" y="2783141"/>
            <a:ext cx="4602372" cy="6374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8353416" y="3623238"/>
            <a:ext cx="449802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8377678" y="2794082"/>
            <a:ext cx="1890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FFFFF"/>
                </a:solidFill>
                <a:latin typeface="Poppins"/>
              </a:rPr>
              <a:t>Description</a:t>
            </a:r>
          </a:p>
        </p:txBody>
      </p:sp>
      <p:sp>
        <p:nvSpPr>
          <p:cNvPr id="47" name="Freeform 22"/>
          <p:cNvSpPr>
            <a:spLocks noEditPoints="1"/>
          </p:cNvSpPr>
          <p:nvPr/>
        </p:nvSpPr>
        <p:spPr bwMode="auto">
          <a:xfrm>
            <a:off x="9531317" y="9134593"/>
            <a:ext cx="1231154" cy="1030254"/>
          </a:xfrm>
          <a:custGeom>
            <a:avLst/>
            <a:gdLst>
              <a:gd name="T0" fmla="*/ 138 w 202"/>
              <a:gd name="T1" fmla="*/ 143 h 169"/>
              <a:gd name="T2" fmla="*/ 142 w 202"/>
              <a:gd name="T3" fmla="*/ 154 h 169"/>
              <a:gd name="T4" fmla="*/ 126 w 202"/>
              <a:gd name="T5" fmla="*/ 154 h 169"/>
              <a:gd name="T6" fmla="*/ 97 w 202"/>
              <a:gd name="T7" fmla="*/ 149 h 169"/>
              <a:gd name="T8" fmla="*/ 86 w 202"/>
              <a:gd name="T9" fmla="*/ 151 h 169"/>
              <a:gd name="T10" fmla="*/ 71 w 202"/>
              <a:gd name="T11" fmla="*/ 147 h 169"/>
              <a:gd name="T12" fmla="*/ 60 w 202"/>
              <a:gd name="T13" fmla="*/ 147 h 169"/>
              <a:gd name="T14" fmla="*/ 60 w 202"/>
              <a:gd name="T15" fmla="*/ 73 h 169"/>
              <a:gd name="T16" fmla="*/ 80 w 202"/>
              <a:gd name="T17" fmla="*/ 70 h 169"/>
              <a:gd name="T18" fmla="*/ 101 w 202"/>
              <a:gd name="T19" fmla="*/ 48 h 169"/>
              <a:gd name="T20" fmla="*/ 122 w 202"/>
              <a:gd name="T21" fmla="*/ 21 h 169"/>
              <a:gd name="T22" fmla="*/ 133 w 202"/>
              <a:gd name="T23" fmla="*/ 4 h 169"/>
              <a:gd name="T24" fmla="*/ 144 w 202"/>
              <a:gd name="T25" fmla="*/ 29 h 169"/>
              <a:gd name="T26" fmla="*/ 132 w 202"/>
              <a:gd name="T27" fmla="*/ 67 h 169"/>
              <a:gd name="T28" fmla="*/ 131 w 202"/>
              <a:gd name="T29" fmla="*/ 92 h 169"/>
              <a:gd name="T30" fmla="*/ 123 w 202"/>
              <a:gd name="T31" fmla="*/ 113 h 169"/>
              <a:gd name="T32" fmla="*/ 135 w 202"/>
              <a:gd name="T33" fmla="*/ 98 h 169"/>
              <a:gd name="T34" fmla="*/ 141 w 202"/>
              <a:gd name="T35" fmla="*/ 71 h 169"/>
              <a:gd name="T36" fmla="*/ 145 w 202"/>
              <a:gd name="T37" fmla="*/ 67 h 169"/>
              <a:gd name="T38" fmla="*/ 142 w 202"/>
              <a:gd name="T39" fmla="*/ 77 h 169"/>
              <a:gd name="T40" fmla="*/ 148 w 202"/>
              <a:gd name="T41" fmla="*/ 90 h 169"/>
              <a:gd name="T42" fmla="*/ 146 w 202"/>
              <a:gd name="T43" fmla="*/ 99 h 169"/>
              <a:gd name="T44" fmla="*/ 148 w 202"/>
              <a:gd name="T45" fmla="*/ 108 h 169"/>
              <a:gd name="T46" fmla="*/ 142 w 202"/>
              <a:gd name="T47" fmla="*/ 121 h 169"/>
              <a:gd name="T48" fmla="*/ 144 w 202"/>
              <a:gd name="T49" fmla="*/ 129 h 169"/>
              <a:gd name="T50" fmla="*/ 138 w 202"/>
              <a:gd name="T51" fmla="*/ 143 h 169"/>
              <a:gd name="T52" fmla="*/ 202 w 202"/>
              <a:gd name="T53" fmla="*/ 99 h 169"/>
              <a:gd name="T54" fmla="*/ 190 w 202"/>
              <a:gd name="T55" fmla="*/ 88 h 169"/>
              <a:gd name="T56" fmla="*/ 185 w 202"/>
              <a:gd name="T57" fmla="*/ 88 h 169"/>
              <a:gd name="T58" fmla="*/ 194 w 202"/>
              <a:gd name="T59" fmla="*/ 77 h 169"/>
              <a:gd name="T60" fmla="*/ 182 w 202"/>
              <a:gd name="T61" fmla="*/ 66 h 169"/>
              <a:gd name="T62" fmla="*/ 159 w 202"/>
              <a:gd name="T63" fmla="*/ 66 h 169"/>
              <a:gd name="T64" fmla="*/ 148 w 202"/>
              <a:gd name="T65" fmla="*/ 77 h 169"/>
              <a:gd name="T66" fmla="*/ 160 w 202"/>
              <a:gd name="T67" fmla="*/ 88 h 169"/>
              <a:gd name="T68" fmla="*/ 161 w 202"/>
              <a:gd name="T69" fmla="*/ 88 h 169"/>
              <a:gd name="T70" fmla="*/ 152 w 202"/>
              <a:gd name="T71" fmla="*/ 99 h 169"/>
              <a:gd name="T72" fmla="*/ 161 w 202"/>
              <a:gd name="T73" fmla="*/ 110 h 169"/>
              <a:gd name="T74" fmla="*/ 160 w 202"/>
              <a:gd name="T75" fmla="*/ 110 h 169"/>
              <a:gd name="T76" fmla="*/ 148 w 202"/>
              <a:gd name="T77" fmla="*/ 121 h 169"/>
              <a:gd name="T78" fmla="*/ 157 w 202"/>
              <a:gd name="T79" fmla="*/ 132 h 169"/>
              <a:gd name="T80" fmla="*/ 156 w 202"/>
              <a:gd name="T81" fmla="*/ 132 h 169"/>
              <a:gd name="T82" fmla="*/ 144 w 202"/>
              <a:gd name="T83" fmla="*/ 143 h 169"/>
              <a:gd name="T84" fmla="*/ 156 w 202"/>
              <a:gd name="T85" fmla="*/ 154 h 169"/>
              <a:gd name="T86" fmla="*/ 167 w 202"/>
              <a:gd name="T87" fmla="*/ 154 h 169"/>
              <a:gd name="T88" fmla="*/ 179 w 202"/>
              <a:gd name="T89" fmla="*/ 154 h 169"/>
              <a:gd name="T90" fmla="*/ 191 w 202"/>
              <a:gd name="T91" fmla="*/ 143 h 169"/>
              <a:gd name="T92" fmla="*/ 181 w 202"/>
              <a:gd name="T93" fmla="*/ 132 h 169"/>
              <a:gd name="T94" fmla="*/ 186 w 202"/>
              <a:gd name="T95" fmla="*/ 132 h 169"/>
              <a:gd name="T96" fmla="*/ 198 w 202"/>
              <a:gd name="T97" fmla="*/ 121 h 169"/>
              <a:gd name="T98" fmla="*/ 189 w 202"/>
              <a:gd name="T99" fmla="*/ 110 h 169"/>
              <a:gd name="T100" fmla="*/ 190 w 202"/>
              <a:gd name="T101" fmla="*/ 110 h 169"/>
              <a:gd name="T102" fmla="*/ 202 w 202"/>
              <a:gd name="T103" fmla="*/ 99 h 169"/>
              <a:gd name="T104" fmla="*/ 0 w 202"/>
              <a:gd name="T105" fmla="*/ 67 h 169"/>
              <a:gd name="T106" fmla="*/ 53 w 202"/>
              <a:gd name="T107" fmla="*/ 67 h 169"/>
              <a:gd name="T108" fmla="*/ 53 w 202"/>
              <a:gd name="T109" fmla="*/ 169 h 169"/>
              <a:gd name="T110" fmla="*/ 0 w 202"/>
              <a:gd name="T111" fmla="*/ 169 h 169"/>
              <a:gd name="T112" fmla="*/ 0 w 202"/>
              <a:gd name="T113" fmla="*/ 67 h 169"/>
              <a:gd name="T114" fmla="*/ 32 w 202"/>
              <a:gd name="T115" fmla="*/ 153 h 169"/>
              <a:gd name="T116" fmla="*/ 38 w 202"/>
              <a:gd name="T117" fmla="*/ 159 h 169"/>
              <a:gd name="T118" fmla="*/ 45 w 202"/>
              <a:gd name="T119" fmla="*/ 153 h 169"/>
              <a:gd name="T120" fmla="*/ 38 w 202"/>
              <a:gd name="T121" fmla="*/ 146 h 169"/>
              <a:gd name="T122" fmla="*/ 32 w 202"/>
              <a:gd name="T123" fmla="*/ 15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02" h="169">
                <a:moveTo>
                  <a:pt x="138" y="143"/>
                </a:moveTo>
                <a:cubicBezTo>
                  <a:pt x="138" y="147"/>
                  <a:pt x="139" y="151"/>
                  <a:pt x="142" y="154"/>
                </a:cubicBezTo>
                <a:cubicBezTo>
                  <a:pt x="126" y="154"/>
                  <a:pt x="126" y="154"/>
                  <a:pt x="126" y="154"/>
                </a:cubicBezTo>
                <a:cubicBezTo>
                  <a:pt x="119" y="154"/>
                  <a:pt x="102" y="149"/>
                  <a:pt x="97" y="149"/>
                </a:cubicBezTo>
                <a:cubicBezTo>
                  <a:pt x="92" y="149"/>
                  <a:pt x="90" y="151"/>
                  <a:pt x="86" y="151"/>
                </a:cubicBezTo>
                <a:cubicBezTo>
                  <a:pt x="82" y="151"/>
                  <a:pt x="75" y="147"/>
                  <a:pt x="71" y="147"/>
                </a:cubicBezTo>
                <a:cubicBezTo>
                  <a:pt x="60" y="147"/>
                  <a:pt x="60" y="147"/>
                  <a:pt x="60" y="147"/>
                </a:cubicBezTo>
                <a:cubicBezTo>
                  <a:pt x="60" y="73"/>
                  <a:pt x="60" y="73"/>
                  <a:pt x="60" y="73"/>
                </a:cubicBezTo>
                <a:cubicBezTo>
                  <a:pt x="64" y="74"/>
                  <a:pt x="73" y="75"/>
                  <a:pt x="80" y="70"/>
                </a:cubicBezTo>
                <a:cubicBezTo>
                  <a:pt x="89" y="64"/>
                  <a:pt x="97" y="55"/>
                  <a:pt x="101" y="48"/>
                </a:cubicBezTo>
                <a:cubicBezTo>
                  <a:pt x="106" y="42"/>
                  <a:pt x="116" y="36"/>
                  <a:pt x="122" y="21"/>
                </a:cubicBezTo>
                <a:cubicBezTo>
                  <a:pt x="125" y="15"/>
                  <a:pt x="123" y="0"/>
                  <a:pt x="133" y="4"/>
                </a:cubicBezTo>
                <a:cubicBezTo>
                  <a:pt x="144" y="7"/>
                  <a:pt x="144" y="18"/>
                  <a:pt x="144" y="29"/>
                </a:cubicBezTo>
                <a:cubicBezTo>
                  <a:pt x="143" y="41"/>
                  <a:pt x="132" y="63"/>
                  <a:pt x="132" y="67"/>
                </a:cubicBezTo>
                <a:cubicBezTo>
                  <a:pt x="130" y="77"/>
                  <a:pt x="131" y="83"/>
                  <a:pt x="131" y="92"/>
                </a:cubicBezTo>
                <a:cubicBezTo>
                  <a:pt x="130" y="104"/>
                  <a:pt x="123" y="113"/>
                  <a:pt x="123" y="113"/>
                </a:cubicBezTo>
                <a:cubicBezTo>
                  <a:pt x="123" y="113"/>
                  <a:pt x="133" y="107"/>
                  <a:pt x="135" y="98"/>
                </a:cubicBezTo>
                <a:cubicBezTo>
                  <a:pt x="137" y="89"/>
                  <a:pt x="135" y="80"/>
                  <a:pt x="141" y="71"/>
                </a:cubicBezTo>
                <a:cubicBezTo>
                  <a:pt x="142" y="69"/>
                  <a:pt x="143" y="68"/>
                  <a:pt x="145" y="67"/>
                </a:cubicBezTo>
                <a:cubicBezTo>
                  <a:pt x="143" y="69"/>
                  <a:pt x="142" y="73"/>
                  <a:pt x="142" y="77"/>
                </a:cubicBezTo>
                <a:cubicBezTo>
                  <a:pt x="142" y="82"/>
                  <a:pt x="144" y="87"/>
                  <a:pt x="148" y="90"/>
                </a:cubicBezTo>
                <a:cubicBezTo>
                  <a:pt x="147" y="93"/>
                  <a:pt x="146" y="96"/>
                  <a:pt x="146" y="99"/>
                </a:cubicBezTo>
                <a:cubicBezTo>
                  <a:pt x="146" y="102"/>
                  <a:pt x="147" y="105"/>
                  <a:pt x="148" y="108"/>
                </a:cubicBezTo>
                <a:cubicBezTo>
                  <a:pt x="144" y="111"/>
                  <a:pt x="142" y="115"/>
                  <a:pt x="142" y="121"/>
                </a:cubicBezTo>
                <a:cubicBezTo>
                  <a:pt x="142" y="124"/>
                  <a:pt x="143" y="127"/>
                  <a:pt x="144" y="129"/>
                </a:cubicBezTo>
                <a:cubicBezTo>
                  <a:pt x="140" y="133"/>
                  <a:pt x="138" y="137"/>
                  <a:pt x="138" y="143"/>
                </a:cubicBezTo>
                <a:moveTo>
                  <a:pt x="202" y="99"/>
                </a:moveTo>
                <a:cubicBezTo>
                  <a:pt x="202" y="93"/>
                  <a:pt x="197" y="88"/>
                  <a:pt x="190" y="88"/>
                </a:cubicBezTo>
                <a:cubicBezTo>
                  <a:pt x="185" y="88"/>
                  <a:pt x="185" y="88"/>
                  <a:pt x="185" y="88"/>
                </a:cubicBezTo>
                <a:cubicBezTo>
                  <a:pt x="190" y="87"/>
                  <a:pt x="194" y="82"/>
                  <a:pt x="194" y="77"/>
                </a:cubicBezTo>
                <a:cubicBezTo>
                  <a:pt x="194" y="71"/>
                  <a:pt x="189" y="66"/>
                  <a:pt x="182" y="66"/>
                </a:cubicBezTo>
                <a:cubicBezTo>
                  <a:pt x="159" y="66"/>
                  <a:pt x="159" y="66"/>
                  <a:pt x="159" y="66"/>
                </a:cubicBezTo>
                <a:cubicBezTo>
                  <a:pt x="152" y="66"/>
                  <a:pt x="148" y="71"/>
                  <a:pt x="148" y="77"/>
                </a:cubicBezTo>
                <a:cubicBezTo>
                  <a:pt x="148" y="83"/>
                  <a:pt x="153" y="88"/>
                  <a:pt x="160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56" y="89"/>
                  <a:pt x="152" y="94"/>
                  <a:pt x="152" y="99"/>
                </a:cubicBezTo>
                <a:cubicBezTo>
                  <a:pt x="152" y="104"/>
                  <a:pt x="156" y="109"/>
                  <a:pt x="161" y="110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53" y="110"/>
                  <a:pt x="148" y="115"/>
                  <a:pt x="148" y="121"/>
                </a:cubicBezTo>
                <a:cubicBezTo>
                  <a:pt x="148" y="126"/>
                  <a:pt x="152" y="130"/>
                  <a:pt x="157" y="132"/>
                </a:cubicBezTo>
                <a:cubicBezTo>
                  <a:pt x="156" y="132"/>
                  <a:pt x="156" y="132"/>
                  <a:pt x="156" y="132"/>
                </a:cubicBezTo>
                <a:cubicBezTo>
                  <a:pt x="149" y="132"/>
                  <a:pt x="144" y="137"/>
                  <a:pt x="144" y="143"/>
                </a:cubicBezTo>
                <a:cubicBezTo>
                  <a:pt x="144" y="149"/>
                  <a:pt x="149" y="154"/>
                  <a:pt x="156" y="154"/>
                </a:cubicBezTo>
                <a:cubicBezTo>
                  <a:pt x="167" y="154"/>
                  <a:pt x="167" y="154"/>
                  <a:pt x="167" y="154"/>
                </a:cubicBezTo>
                <a:cubicBezTo>
                  <a:pt x="179" y="154"/>
                  <a:pt x="179" y="154"/>
                  <a:pt x="179" y="154"/>
                </a:cubicBezTo>
                <a:cubicBezTo>
                  <a:pt x="185" y="154"/>
                  <a:pt x="191" y="149"/>
                  <a:pt x="191" y="143"/>
                </a:cubicBezTo>
                <a:cubicBezTo>
                  <a:pt x="191" y="137"/>
                  <a:pt x="187" y="133"/>
                  <a:pt x="181" y="132"/>
                </a:cubicBezTo>
                <a:cubicBezTo>
                  <a:pt x="186" y="132"/>
                  <a:pt x="186" y="132"/>
                  <a:pt x="186" y="132"/>
                </a:cubicBezTo>
                <a:cubicBezTo>
                  <a:pt x="193" y="132"/>
                  <a:pt x="198" y="127"/>
                  <a:pt x="198" y="121"/>
                </a:cubicBezTo>
                <a:cubicBezTo>
                  <a:pt x="198" y="115"/>
                  <a:pt x="194" y="111"/>
                  <a:pt x="189" y="110"/>
                </a:cubicBezTo>
                <a:cubicBezTo>
                  <a:pt x="190" y="110"/>
                  <a:pt x="190" y="110"/>
                  <a:pt x="190" y="110"/>
                </a:cubicBezTo>
                <a:cubicBezTo>
                  <a:pt x="197" y="110"/>
                  <a:pt x="202" y="105"/>
                  <a:pt x="202" y="99"/>
                </a:cubicBezTo>
                <a:moveTo>
                  <a:pt x="0" y="67"/>
                </a:moveTo>
                <a:cubicBezTo>
                  <a:pt x="53" y="67"/>
                  <a:pt x="53" y="67"/>
                  <a:pt x="53" y="67"/>
                </a:cubicBezTo>
                <a:cubicBezTo>
                  <a:pt x="53" y="169"/>
                  <a:pt x="53" y="169"/>
                  <a:pt x="53" y="169"/>
                </a:cubicBezTo>
                <a:cubicBezTo>
                  <a:pt x="0" y="169"/>
                  <a:pt x="0" y="169"/>
                  <a:pt x="0" y="169"/>
                </a:cubicBezTo>
                <a:lnTo>
                  <a:pt x="0" y="67"/>
                </a:lnTo>
                <a:close/>
                <a:moveTo>
                  <a:pt x="32" y="153"/>
                </a:moveTo>
                <a:cubicBezTo>
                  <a:pt x="32" y="156"/>
                  <a:pt x="35" y="159"/>
                  <a:pt x="38" y="159"/>
                </a:cubicBezTo>
                <a:cubicBezTo>
                  <a:pt x="42" y="159"/>
                  <a:pt x="45" y="156"/>
                  <a:pt x="45" y="153"/>
                </a:cubicBezTo>
                <a:cubicBezTo>
                  <a:pt x="45" y="149"/>
                  <a:pt x="42" y="146"/>
                  <a:pt x="38" y="146"/>
                </a:cubicBezTo>
                <a:cubicBezTo>
                  <a:pt x="35" y="146"/>
                  <a:pt x="32" y="149"/>
                  <a:pt x="32" y="153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8" name="Freeform 41"/>
          <p:cNvSpPr>
            <a:spLocks noEditPoints="1"/>
          </p:cNvSpPr>
          <p:nvPr/>
        </p:nvSpPr>
        <p:spPr bwMode="auto">
          <a:xfrm>
            <a:off x="3956008" y="8857362"/>
            <a:ext cx="901472" cy="1166764"/>
          </a:xfrm>
          <a:custGeom>
            <a:avLst/>
            <a:gdLst>
              <a:gd name="T0" fmla="*/ 130 w 148"/>
              <a:gd name="T1" fmla="*/ 112 h 191"/>
              <a:gd name="T2" fmla="*/ 148 w 148"/>
              <a:gd name="T3" fmla="*/ 67 h 191"/>
              <a:gd name="T4" fmla="*/ 82 w 148"/>
              <a:gd name="T5" fmla="*/ 0 h 191"/>
              <a:gd name="T6" fmla="*/ 45 w 148"/>
              <a:gd name="T7" fmla="*/ 12 h 191"/>
              <a:gd name="T8" fmla="*/ 44 w 148"/>
              <a:gd name="T9" fmla="*/ 12 h 191"/>
              <a:gd name="T10" fmla="*/ 43 w 148"/>
              <a:gd name="T11" fmla="*/ 13 h 191"/>
              <a:gd name="T12" fmla="*/ 28 w 148"/>
              <a:gd name="T13" fmla="*/ 28 h 191"/>
              <a:gd name="T14" fmla="*/ 17 w 148"/>
              <a:gd name="T15" fmla="*/ 53 h 191"/>
              <a:gd name="T16" fmla="*/ 20 w 148"/>
              <a:gd name="T17" fmla="*/ 74 h 191"/>
              <a:gd name="T18" fmla="*/ 2 w 148"/>
              <a:gd name="T19" fmla="*/ 101 h 191"/>
              <a:gd name="T20" fmla="*/ 7 w 148"/>
              <a:gd name="T21" fmla="*/ 110 h 191"/>
              <a:gd name="T22" fmla="*/ 18 w 148"/>
              <a:gd name="T23" fmla="*/ 110 h 191"/>
              <a:gd name="T24" fmla="*/ 19 w 148"/>
              <a:gd name="T25" fmla="*/ 118 h 191"/>
              <a:gd name="T26" fmla="*/ 22 w 148"/>
              <a:gd name="T27" fmla="*/ 122 h 191"/>
              <a:gd name="T28" fmla="*/ 20 w 148"/>
              <a:gd name="T29" fmla="*/ 129 h 191"/>
              <a:gd name="T30" fmla="*/ 25 w 148"/>
              <a:gd name="T31" fmla="*/ 133 h 191"/>
              <a:gd name="T32" fmla="*/ 35 w 148"/>
              <a:gd name="T33" fmla="*/ 152 h 191"/>
              <a:gd name="T34" fmla="*/ 44 w 148"/>
              <a:gd name="T35" fmla="*/ 151 h 191"/>
              <a:gd name="T36" fmla="*/ 51 w 148"/>
              <a:gd name="T37" fmla="*/ 150 h 191"/>
              <a:gd name="T38" fmla="*/ 60 w 148"/>
              <a:gd name="T39" fmla="*/ 159 h 191"/>
              <a:gd name="T40" fmla="*/ 58 w 148"/>
              <a:gd name="T41" fmla="*/ 171 h 191"/>
              <a:gd name="T42" fmla="*/ 49 w 148"/>
              <a:gd name="T43" fmla="*/ 191 h 191"/>
              <a:gd name="T44" fmla="*/ 89 w 148"/>
              <a:gd name="T45" fmla="*/ 171 h 191"/>
              <a:gd name="T46" fmla="*/ 131 w 148"/>
              <a:gd name="T47" fmla="*/ 163 h 191"/>
              <a:gd name="T48" fmla="*/ 130 w 148"/>
              <a:gd name="T49" fmla="*/ 112 h 191"/>
              <a:gd name="T50" fmla="*/ 104 w 148"/>
              <a:gd name="T51" fmla="*/ 76 h 191"/>
              <a:gd name="T52" fmla="*/ 101 w 148"/>
              <a:gd name="T53" fmla="*/ 72 h 191"/>
              <a:gd name="T54" fmla="*/ 70 w 148"/>
              <a:gd name="T55" fmla="*/ 114 h 191"/>
              <a:gd name="T56" fmla="*/ 76 w 148"/>
              <a:gd name="T57" fmla="*/ 78 h 191"/>
              <a:gd name="T58" fmla="*/ 63 w 148"/>
              <a:gd name="T59" fmla="*/ 78 h 191"/>
              <a:gd name="T60" fmla="*/ 68 w 148"/>
              <a:gd name="T61" fmla="*/ 59 h 191"/>
              <a:gd name="T62" fmla="*/ 62 w 148"/>
              <a:gd name="T63" fmla="*/ 59 h 191"/>
              <a:gd name="T64" fmla="*/ 49 w 148"/>
              <a:gd name="T65" fmla="*/ 22 h 191"/>
              <a:gd name="T66" fmla="*/ 49 w 148"/>
              <a:gd name="T67" fmla="*/ 21 h 191"/>
              <a:gd name="T68" fmla="*/ 49 w 148"/>
              <a:gd name="T69" fmla="*/ 21 h 191"/>
              <a:gd name="T70" fmla="*/ 49 w 148"/>
              <a:gd name="T71" fmla="*/ 21 h 191"/>
              <a:gd name="T72" fmla="*/ 50 w 148"/>
              <a:gd name="T73" fmla="*/ 21 h 191"/>
              <a:gd name="T74" fmla="*/ 82 w 148"/>
              <a:gd name="T75" fmla="*/ 11 h 191"/>
              <a:gd name="T76" fmla="*/ 135 w 148"/>
              <a:gd name="T77" fmla="*/ 48 h 191"/>
              <a:gd name="T78" fmla="*/ 135 w 148"/>
              <a:gd name="T79" fmla="*/ 70 h 191"/>
              <a:gd name="T80" fmla="*/ 104 w 148"/>
              <a:gd name="T81" fmla="*/ 76 h 191"/>
              <a:gd name="T82" fmla="*/ 90 w 148"/>
              <a:gd name="T83" fmla="*/ 61 h 191"/>
              <a:gd name="T84" fmla="*/ 103 w 148"/>
              <a:gd name="T85" fmla="*/ 61 h 191"/>
              <a:gd name="T86" fmla="*/ 75 w 148"/>
              <a:gd name="T87" fmla="*/ 102 h 191"/>
              <a:gd name="T88" fmla="*/ 81 w 148"/>
              <a:gd name="T89" fmla="*/ 74 h 191"/>
              <a:gd name="T90" fmla="*/ 68 w 148"/>
              <a:gd name="T91" fmla="*/ 74 h 191"/>
              <a:gd name="T92" fmla="*/ 76 w 148"/>
              <a:gd name="T93" fmla="*/ 40 h 191"/>
              <a:gd name="T94" fmla="*/ 97 w 148"/>
              <a:gd name="T95" fmla="*/ 40 h 191"/>
              <a:gd name="T96" fmla="*/ 90 w 148"/>
              <a:gd name="T97" fmla="*/ 6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8" h="191">
                <a:moveTo>
                  <a:pt x="130" y="112"/>
                </a:moveTo>
                <a:cubicBezTo>
                  <a:pt x="142" y="92"/>
                  <a:pt x="148" y="84"/>
                  <a:pt x="148" y="67"/>
                </a:cubicBezTo>
                <a:cubicBezTo>
                  <a:pt x="148" y="30"/>
                  <a:pt x="118" y="0"/>
                  <a:pt x="82" y="0"/>
                </a:cubicBezTo>
                <a:cubicBezTo>
                  <a:pt x="68" y="0"/>
                  <a:pt x="55" y="5"/>
                  <a:pt x="45" y="12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12"/>
                  <a:pt x="44" y="12"/>
                  <a:pt x="43" y="13"/>
                </a:cubicBezTo>
                <a:cubicBezTo>
                  <a:pt x="37" y="17"/>
                  <a:pt x="32" y="22"/>
                  <a:pt x="28" y="28"/>
                </a:cubicBezTo>
                <a:cubicBezTo>
                  <a:pt x="23" y="35"/>
                  <a:pt x="19" y="44"/>
                  <a:pt x="17" y="53"/>
                </a:cubicBezTo>
                <a:cubicBezTo>
                  <a:pt x="14" y="68"/>
                  <a:pt x="20" y="68"/>
                  <a:pt x="20" y="74"/>
                </a:cubicBezTo>
                <a:cubicBezTo>
                  <a:pt x="20" y="79"/>
                  <a:pt x="11" y="89"/>
                  <a:pt x="2" y="101"/>
                </a:cubicBezTo>
                <a:cubicBezTo>
                  <a:pt x="0" y="104"/>
                  <a:pt x="1" y="110"/>
                  <a:pt x="7" y="110"/>
                </a:cubicBezTo>
                <a:cubicBezTo>
                  <a:pt x="18" y="110"/>
                  <a:pt x="18" y="110"/>
                  <a:pt x="18" y="110"/>
                </a:cubicBezTo>
                <a:cubicBezTo>
                  <a:pt x="25" y="110"/>
                  <a:pt x="20" y="117"/>
                  <a:pt x="19" y="118"/>
                </a:cubicBezTo>
                <a:cubicBezTo>
                  <a:pt x="19" y="119"/>
                  <a:pt x="22" y="122"/>
                  <a:pt x="22" y="122"/>
                </a:cubicBezTo>
                <a:cubicBezTo>
                  <a:pt x="22" y="122"/>
                  <a:pt x="18" y="126"/>
                  <a:pt x="20" y="129"/>
                </a:cubicBezTo>
                <a:cubicBezTo>
                  <a:pt x="20" y="130"/>
                  <a:pt x="26" y="129"/>
                  <a:pt x="25" y="133"/>
                </a:cubicBezTo>
                <a:cubicBezTo>
                  <a:pt x="21" y="150"/>
                  <a:pt x="30" y="152"/>
                  <a:pt x="35" y="152"/>
                </a:cubicBezTo>
                <a:cubicBezTo>
                  <a:pt x="38" y="152"/>
                  <a:pt x="41" y="152"/>
                  <a:pt x="44" y="151"/>
                </a:cubicBezTo>
                <a:cubicBezTo>
                  <a:pt x="46" y="150"/>
                  <a:pt x="49" y="150"/>
                  <a:pt x="51" y="150"/>
                </a:cubicBezTo>
                <a:cubicBezTo>
                  <a:pt x="57" y="150"/>
                  <a:pt x="61" y="153"/>
                  <a:pt x="60" y="159"/>
                </a:cubicBezTo>
                <a:cubicBezTo>
                  <a:pt x="58" y="164"/>
                  <a:pt x="58" y="167"/>
                  <a:pt x="58" y="171"/>
                </a:cubicBezTo>
                <a:cubicBezTo>
                  <a:pt x="57" y="175"/>
                  <a:pt x="49" y="191"/>
                  <a:pt x="49" y="191"/>
                </a:cubicBezTo>
                <a:cubicBezTo>
                  <a:pt x="49" y="191"/>
                  <a:pt x="62" y="182"/>
                  <a:pt x="89" y="171"/>
                </a:cubicBezTo>
                <a:cubicBezTo>
                  <a:pt x="115" y="159"/>
                  <a:pt x="131" y="163"/>
                  <a:pt x="131" y="163"/>
                </a:cubicBezTo>
                <a:cubicBezTo>
                  <a:pt x="131" y="163"/>
                  <a:pt x="118" y="132"/>
                  <a:pt x="130" y="112"/>
                </a:cubicBezTo>
                <a:close/>
                <a:moveTo>
                  <a:pt x="104" y="76"/>
                </a:moveTo>
                <a:cubicBezTo>
                  <a:pt x="103" y="75"/>
                  <a:pt x="102" y="73"/>
                  <a:pt x="101" y="72"/>
                </a:cubicBezTo>
                <a:cubicBezTo>
                  <a:pt x="70" y="114"/>
                  <a:pt x="70" y="114"/>
                  <a:pt x="70" y="114"/>
                </a:cubicBezTo>
                <a:cubicBezTo>
                  <a:pt x="76" y="78"/>
                  <a:pt x="76" y="78"/>
                  <a:pt x="76" y="78"/>
                </a:cubicBezTo>
                <a:cubicBezTo>
                  <a:pt x="63" y="78"/>
                  <a:pt x="63" y="78"/>
                  <a:pt x="63" y="78"/>
                </a:cubicBezTo>
                <a:cubicBezTo>
                  <a:pt x="68" y="59"/>
                  <a:pt x="68" y="59"/>
                  <a:pt x="68" y="59"/>
                </a:cubicBezTo>
                <a:cubicBezTo>
                  <a:pt x="66" y="59"/>
                  <a:pt x="64" y="59"/>
                  <a:pt x="62" y="59"/>
                </a:cubicBezTo>
                <a:cubicBezTo>
                  <a:pt x="37" y="62"/>
                  <a:pt x="30" y="36"/>
                  <a:pt x="49" y="22"/>
                </a:cubicBezTo>
                <a:cubicBezTo>
                  <a:pt x="49" y="21"/>
                  <a:pt x="49" y="21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50" y="21"/>
                  <a:pt x="50" y="21"/>
                  <a:pt x="50" y="21"/>
                </a:cubicBezTo>
                <a:cubicBezTo>
                  <a:pt x="59" y="14"/>
                  <a:pt x="70" y="11"/>
                  <a:pt x="82" y="11"/>
                </a:cubicBezTo>
                <a:cubicBezTo>
                  <a:pt x="106" y="11"/>
                  <a:pt x="127" y="26"/>
                  <a:pt x="135" y="48"/>
                </a:cubicBezTo>
                <a:cubicBezTo>
                  <a:pt x="138" y="57"/>
                  <a:pt x="138" y="63"/>
                  <a:pt x="135" y="70"/>
                </a:cubicBezTo>
                <a:cubicBezTo>
                  <a:pt x="130" y="82"/>
                  <a:pt x="108" y="83"/>
                  <a:pt x="104" y="76"/>
                </a:cubicBezTo>
                <a:close/>
                <a:moveTo>
                  <a:pt x="90" y="61"/>
                </a:moveTo>
                <a:cubicBezTo>
                  <a:pt x="103" y="61"/>
                  <a:pt x="103" y="61"/>
                  <a:pt x="103" y="61"/>
                </a:cubicBezTo>
                <a:cubicBezTo>
                  <a:pt x="75" y="102"/>
                  <a:pt x="75" y="102"/>
                  <a:pt x="75" y="102"/>
                </a:cubicBezTo>
                <a:cubicBezTo>
                  <a:pt x="81" y="74"/>
                  <a:pt x="81" y="74"/>
                  <a:pt x="81" y="74"/>
                </a:cubicBezTo>
                <a:cubicBezTo>
                  <a:pt x="68" y="74"/>
                  <a:pt x="68" y="74"/>
                  <a:pt x="68" y="74"/>
                </a:cubicBezTo>
                <a:cubicBezTo>
                  <a:pt x="76" y="40"/>
                  <a:pt x="76" y="40"/>
                  <a:pt x="76" y="40"/>
                </a:cubicBezTo>
                <a:cubicBezTo>
                  <a:pt x="97" y="40"/>
                  <a:pt x="97" y="40"/>
                  <a:pt x="97" y="40"/>
                </a:cubicBezTo>
                <a:lnTo>
                  <a:pt x="90" y="6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9" name="Freeform 54"/>
          <p:cNvSpPr>
            <a:spLocks noEditPoints="1"/>
          </p:cNvSpPr>
          <p:nvPr/>
        </p:nvSpPr>
        <p:spPr bwMode="auto">
          <a:xfrm>
            <a:off x="14903244" y="9384216"/>
            <a:ext cx="870564" cy="1135856"/>
          </a:xfrm>
          <a:custGeom>
            <a:avLst/>
            <a:gdLst>
              <a:gd name="T0" fmla="*/ 108 w 143"/>
              <a:gd name="T1" fmla="*/ 72 h 186"/>
              <a:gd name="T2" fmla="*/ 100 w 143"/>
              <a:gd name="T3" fmla="*/ 96 h 186"/>
              <a:gd name="T4" fmla="*/ 92 w 143"/>
              <a:gd name="T5" fmla="*/ 71 h 186"/>
              <a:gd name="T6" fmla="*/ 88 w 143"/>
              <a:gd name="T7" fmla="*/ 65 h 186"/>
              <a:gd name="T8" fmla="*/ 86 w 143"/>
              <a:gd name="T9" fmla="*/ 76 h 186"/>
              <a:gd name="T10" fmla="*/ 70 w 143"/>
              <a:gd name="T11" fmla="*/ 76 h 186"/>
              <a:gd name="T12" fmla="*/ 73 w 143"/>
              <a:gd name="T13" fmla="*/ 60 h 186"/>
              <a:gd name="T14" fmla="*/ 45 w 143"/>
              <a:gd name="T15" fmla="*/ 60 h 186"/>
              <a:gd name="T16" fmla="*/ 0 w 143"/>
              <a:gd name="T17" fmla="*/ 143 h 186"/>
              <a:gd name="T18" fmla="*/ 28 w 143"/>
              <a:gd name="T19" fmla="*/ 186 h 186"/>
              <a:gd name="T20" fmla="*/ 143 w 143"/>
              <a:gd name="T21" fmla="*/ 158 h 186"/>
              <a:gd name="T22" fmla="*/ 133 w 143"/>
              <a:gd name="T23" fmla="*/ 105 h 186"/>
              <a:gd name="T24" fmla="*/ 78 w 143"/>
              <a:gd name="T25" fmla="*/ 171 h 186"/>
              <a:gd name="T26" fmla="*/ 65 w 143"/>
              <a:gd name="T27" fmla="*/ 162 h 186"/>
              <a:gd name="T28" fmla="*/ 52 w 143"/>
              <a:gd name="T29" fmla="*/ 156 h 186"/>
              <a:gd name="T30" fmla="*/ 60 w 143"/>
              <a:gd name="T31" fmla="*/ 146 h 186"/>
              <a:gd name="T32" fmla="*/ 77 w 143"/>
              <a:gd name="T33" fmla="*/ 145 h 186"/>
              <a:gd name="T34" fmla="*/ 53 w 143"/>
              <a:gd name="T35" fmla="*/ 120 h 186"/>
              <a:gd name="T36" fmla="*/ 66 w 143"/>
              <a:gd name="T37" fmla="*/ 94 h 186"/>
              <a:gd name="T38" fmla="*/ 78 w 143"/>
              <a:gd name="T39" fmla="*/ 103 h 186"/>
              <a:gd name="T40" fmla="*/ 90 w 143"/>
              <a:gd name="T41" fmla="*/ 107 h 186"/>
              <a:gd name="T42" fmla="*/ 82 w 143"/>
              <a:gd name="T43" fmla="*/ 118 h 186"/>
              <a:gd name="T44" fmla="*/ 68 w 143"/>
              <a:gd name="T45" fmla="*/ 119 h 186"/>
              <a:gd name="T46" fmla="*/ 91 w 143"/>
              <a:gd name="T47" fmla="*/ 144 h 186"/>
              <a:gd name="T48" fmla="*/ 45 w 143"/>
              <a:gd name="T49" fmla="*/ 42 h 186"/>
              <a:gd name="T50" fmla="*/ 50 w 143"/>
              <a:gd name="T51" fmla="*/ 9 h 186"/>
              <a:gd name="T52" fmla="*/ 93 w 143"/>
              <a:gd name="T53" fmla="*/ 9 h 186"/>
              <a:gd name="T54" fmla="*/ 98 w 143"/>
              <a:gd name="T55" fmla="*/ 42 h 186"/>
              <a:gd name="T56" fmla="*/ 100 w 143"/>
              <a:gd name="T57" fmla="*/ 56 h 186"/>
              <a:gd name="T58" fmla="*/ 104 w 143"/>
              <a:gd name="T59" fmla="*/ 71 h 186"/>
              <a:gd name="T60" fmla="*/ 100 w 143"/>
              <a:gd name="T61" fmla="*/ 92 h 186"/>
              <a:gd name="T62" fmla="*/ 96 w 143"/>
              <a:gd name="T63" fmla="*/ 71 h 186"/>
              <a:gd name="T64" fmla="*/ 88 w 143"/>
              <a:gd name="T65" fmla="*/ 61 h 186"/>
              <a:gd name="T66" fmla="*/ 82 w 143"/>
              <a:gd name="T67" fmla="*/ 71 h 186"/>
              <a:gd name="T68" fmla="*/ 78 w 143"/>
              <a:gd name="T69" fmla="*/ 80 h 186"/>
              <a:gd name="T70" fmla="*/ 74 w 143"/>
              <a:gd name="T71" fmla="*/ 71 h 186"/>
              <a:gd name="T72" fmla="*/ 44 w 143"/>
              <a:gd name="T73" fmla="*/ 56 h 186"/>
              <a:gd name="T74" fmla="*/ 44 w 143"/>
              <a:gd name="T75" fmla="*/ 48 h 186"/>
              <a:gd name="T76" fmla="*/ 88 w 143"/>
              <a:gd name="T77" fmla="*/ 45 h 186"/>
              <a:gd name="T78" fmla="*/ 100 w 143"/>
              <a:gd name="T79" fmla="*/ 48 h 186"/>
              <a:gd name="T80" fmla="*/ 100 w 143"/>
              <a:gd name="T81" fmla="*/ 56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3" h="186">
                <a:moveTo>
                  <a:pt x="133" y="105"/>
                </a:moveTo>
                <a:cubicBezTo>
                  <a:pt x="108" y="72"/>
                  <a:pt x="108" y="72"/>
                  <a:pt x="108" y="72"/>
                </a:cubicBezTo>
                <a:cubicBezTo>
                  <a:pt x="108" y="88"/>
                  <a:pt x="108" y="88"/>
                  <a:pt x="108" y="88"/>
                </a:cubicBezTo>
                <a:cubicBezTo>
                  <a:pt x="108" y="92"/>
                  <a:pt x="104" y="96"/>
                  <a:pt x="100" y="96"/>
                </a:cubicBezTo>
                <a:cubicBezTo>
                  <a:pt x="95" y="96"/>
                  <a:pt x="92" y="92"/>
                  <a:pt x="92" y="88"/>
                </a:cubicBezTo>
                <a:cubicBezTo>
                  <a:pt x="92" y="71"/>
                  <a:pt x="92" y="71"/>
                  <a:pt x="92" y="71"/>
                </a:cubicBezTo>
                <a:cubicBezTo>
                  <a:pt x="92" y="70"/>
                  <a:pt x="91" y="67"/>
                  <a:pt x="90" y="64"/>
                </a:cubicBezTo>
                <a:cubicBezTo>
                  <a:pt x="89" y="65"/>
                  <a:pt x="89" y="65"/>
                  <a:pt x="88" y="65"/>
                </a:cubicBezTo>
                <a:cubicBezTo>
                  <a:pt x="87" y="67"/>
                  <a:pt x="86" y="70"/>
                  <a:pt x="86" y="71"/>
                </a:cubicBezTo>
                <a:cubicBezTo>
                  <a:pt x="86" y="76"/>
                  <a:pt x="86" y="76"/>
                  <a:pt x="86" y="76"/>
                </a:cubicBezTo>
                <a:cubicBezTo>
                  <a:pt x="86" y="81"/>
                  <a:pt x="83" y="84"/>
                  <a:pt x="78" y="84"/>
                </a:cubicBezTo>
                <a:cubicBezTo>
                  <a:pt x="74" y="84"/>
                  <a:pt x="70" y="81"/>
                  <a:pt x="70" y="76"/>
                </a:cubicBezTo>
                <a:cubicBezTo>
                  <a:pt x="70" y="71"/>
                  <a:pt x="70" y="71"/>
                  <a:pt x="70" y="71"/>
                </a:cubicBezTo>
                <a:cubicBezTo>
                  <a:pt x="70" y="68"/>
                  <a:pt x="71" y="64"/>
                  <a:pt x="73" y="60"/>
                </a:cubicBezTo>
                <a:cubicBezTo>
                  <a:pt x="65" y="60"/>
                  <a:pt x="65" y="60"/>
                  <a:pt x="65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10" y="105"/>
                  <a:pt x="10" y="105"/>
                  <a:pt x="10" y="105"/>
                </a:cubicBezTo>
                <a:cubicBezTo>
                  <a:pt x="4" y="115"/>
                  <a:pt x="0" y="132"/>
                  <a:pt x="0" y="143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69"/>
                  <a:pt x="17" y="186"/>
                  <a:pt x="28" y="186"/>
                </a:cubicBezTo>
                <a:cubicBezTo>
                  <a:pt x="115" y="186"/>
                  <a:pt x="115" y="186"/>
                  <a:pt x="115" y="186"/>
                </a:cubicBezTo>
                <a:cubicBezTo>
                  <a:pt x="126" y="186"/>
                  <a:pt x="143" y="169"/>
                  <a:pt x="143" y="158"/>
                </a:cubicBezTo>
                <a:cubicBezTo>
                  <a:pt x="143" y="143"/>
                  <a:pt x="143" y="143"/>
                  <a:pt x="143" y="143"/>
                </a:cubicBezTo>
                <a:cubicBezTo>
                  <a:pt x="143" y="132"/>
                  <a:pt x="139" y="115"/>
                  <a:pt x="133" y="105"/>
                </a:cubicBezTo>
                <a:close/>
                <a:moveTo>
                  <a:pt x="78" y="161"/>
                </a:moveTo>
                <a:cubicBezTo>
                  <a:pt x="78" y="171"/>
                  <a:pt x="78" y="171"/>
                  <a:pt x="78" y="171"/>
                </a:cubicBezTo>
                <a:cubicBezTo>
                  <a:pt x="65" y="171"/>
                  <a:pt x="65" y="171"/>
                  <a:pt x="65" y="171"/>
                </a:cubicBezTo>
                <a:cubicBezTo>
                  <a:pt x="65" y="162"/>
                  <a:pt x="65" y="162"/>
                  <a:pt x="65" y="162"/>
                </a:cubicBezTo>
                <a:cubicBezTo>
                  <a:pt x="61" y="161"/>
                  <a:pt x="57" y="160"/>
                  <a:pt x="54" y="158"/>
                </a:cubicBezTo>
                <a:cubicBezTo>
                  <a:pt x="52" y="156"/>
                  <a:pt x="52" y="156"/>
                  <a:pt x="52" y="156"/>
                </a:cubicBezTo>
                <a:cubicBezTo>
                  <a:pt x="56" y="144"/>
                  <a:pt x="56" y="144"/>
                  <a:pt x="56" y="144"/>
                </a:cubicBezTo>
                <a:cubicBezTo>
                  <a:pt x="60" y="146"/>
                  <a:pt x="60" y="146"/>
                  <a:pt x="60" y="146"/>
                </a:cubicBezTo>
                <a:cubicBezTo>
                  <a:pt x="63" y="148"/>
                  <a:pt x="67" y="149"/>
                  <a:pt x="70" y="149"/>
                </a:cubicBezTo>
                <a:cubicBezTo>
                  <a:pt x="74" y="149"/>
                  <a:pt x="77" y="147"/>
                  <a:pt x="77" y="145"/>
                </a:cubicBezTo>
                <a:cubicBezTo>
                  <a:pt x="77" y="143"/>
                  <a:pt x="76" y="141"/>
                  <a:pt x="69" y="138"/>
                </a:cubicBezTo>
                <a:cubicBezTo>
                  <a:pt x="61" y="135"/>
                  <a:pt x="53" y="130"/>
                  <a:pt x="53" y="120"/>
                </a:cubicBezTo>
                <a:cubicBezTo>
                  <a:pt x="53" y="112"/>
                  <a:pt x="58" y="106"/>
                  <a:pt x="66" y="103"/>
                </a:cubicBezTo>
                <a:cubicBezTo>
                  <a:pt x="66" y="94"/>
                  <a:pt x="66" y="94"/>
                  <a:pt x="66" y="94"/>
                </a:cubicBezTo>
                <a:cubicBezTo>
                  <a:pt x="78" y="94"/>
                  <a:pt x="78" y="94"/>
                  <a:pt x="78" y="94"/>
                </a:cubicBezTo>
                <a:cubicBezTo>
                  <a:pt x="78" y="103"/>
                  <a:pt x="78" y="103"/>
                  <a:pt x="78" y="103"/>
                </a:cubicBezTo>
                <a:cubicBezTo>
                  <a:pt x="82" y="103"/>
                  <a:pt x="85" y="104"/>
                  <a:pt x="88" y="106"/>
                </a:cubicBezTo>
                <a:cubicBezTo>
                  <a:pt x="90" y="107"/>
                  <a:pt x="90" y="107"/>
                  <a:pt x="90" y="107"/>
                </a:cubicBezTo>
                <a:cubicBezTo>
                  <a:pt x="86" y="120"/>
                  <a:pt x="86" y="120"/>
                  <a:pt x="86" y="120"/>
                </a:cubicBezTo>
                <a:cubicBezTo>
                  <a:pt x="82" y="118"/>
                  <a:pt x="82" y="118"/>
                  <a:pt x="82" y="118"/>
                </a:cubicBezTo>
                <a:cubicBezTo>
                  <a:pt x="81" y="117"/>
                  <a:pt x="78" y="115"/>
                  <a:pt x="73" y="115"/>
                </a:cubicBezTo>
                <a:cubicBezTo>
                  <a:pt x="70" y="115"/>
                  <a:pt x="68" y="117"/>
                  <a:pt x="68" y="119"/>
                </a:cubicBezTo>
                <a:cubicBezTo>
                  <a:pt x="68" y="121"/>
                  <a:pt x="68" y="122"/>
                  <a:pt x="76" y="125"/>
                </a:cubicBezTo>
                <a:cubicBezTo>
                  <a:pt x="83" y="128"/>
                  <a:pt x="91" y="133"/>
                  <a:pt x="91" y="144"/>
                </a:cubicBezTo>
                <a:cubicBezTo>
                  <a:pt x="91" y="152"/>
                  <a:pt x="86" y="159"/>
                  <a:pt x="78" y="161"/>
                </a:cubicBezTo>
                <a:close/>
                <a:moveTo>
                  <a:pt x="45" y="42"/>
                </a:moveTo>
                <a:cubicBezTo>
                  <a:pt x="32" y="0"/>
                  <a:pt x="32" y="0"/>
                  <a:pt x="32" y="0"/>
                </a:cubicBezTo>
                <a:cubicBezTo>
                  <a:pt x="40" y="2"/>
                  <a:pt x="41" y="9"/>
                  <a:pt x="50" y="9"/>
                </a:cubicBezTo>
                <a:cubicBezTo>
                  <a:pt x="61" y="9"/>
                  <a:pt x="61" y="0"/>
                  <a:pt x="72" y="0"/>
                </a:cubicBezTo>
                <a:cubicBezTo>
                  <a:pt x="82" y="0"/>
                  <a:pt x="82" y="9"/>
                  <a:pt x="93" y="9"/>
                </a:cubicBezTo>
                <a:cubicBezTo>
                  <a:pt x="102" y="9"/>
                  <a:pt x="103" y="2"/>
                  <a:pt x="111" y="0"/>
                </a:cubicBezTo>
                <a:cubicBezTo>
                  <a:pt x="98" y="42"/>
                  <a:pt x="98" y="42"/>
                  <a:pt x="98" y="42"/>
                </a:cubicBezTo>
                <a:lnTo>
                  <a:pt x="45" y="42"/>
                </a:lnTo>
                <a:close/>
                <a:moveTo>
                  <a:pt x="100" y="56"/>
                </a:moveTo>
                <a:cubicBezTo>
                  <a:pt x="99" y="56"/>
                  <a:pt x="99" y="56"/>
                  <a:pt x="99" y="56"/>
                </a:cubicBezTo>
                <a:cubicBezTo>
                  <a:pt x="101" y="60"/>
                  <a:pt x="104" y="66"/>
                  <a:pt x="104" y="71"/>
                </a:cubicBezTo>
                <a:cubicBezTo>
                  <a:pt x="104" y="88"/>
                  <a:pt x="104" y="88"/>
                  <a:pt x="104" y="88"/>
                </a:cubicBezTo>
                <a:cubicBezTo>
                  <a:pt x="104" y="90"/>
                  <a:pt x="102" y="92"/>
                  <a:pt x="100" y="92"/>
                </a:cubicBezTo>
                <a:cubicBezTo>
                  <a:pt x="97" y="92"/>
                  <a:pt x="96" y="90"/>
                  <a:pt x="96" y="88"/>
                </a:cubicBezTo>
                <a:cubicBezTo>
                  <a:pt x="96" y="71"/>
                  <a:pt x="96" y="71"/>
                  <a:pt x="96" y="71"/>
                </a:cubicBezTo>
                <a:cubicBezTo>
                  <a:pt x="96" y="68"/>
                  <a:pt x="94" y="63"/>
                  <a:pt x="92" y="60"/>
                </a:cubicBezTo>
                <a:cubicBezTo>
                  <a:pt x="91" y="60"/>
                  <a:pt x="89" y="61"/>
                  <a:pt x="88" y="61"/>
                </a:cubicBezTo>
                <a:cubicBezTo>
                  <a:pt x="87" y="61"/>
                  <a:pt x="86" y="60"/>
                  <a:pt x="86" y="60"/>
                </a:cubicBezTo>
                <a:cubicBezTo>
                  <a:pt x="84" y="64"/>
                  <a:pt x="82" y="68"/>
                  <a:pt x="82" y="71"/>
                </a:cubicBezTo>
                <a:cubicBezTo>
                  <a:pt x="82" y="76"/>
                  <a:pt x="82" y="76"/>
                  <a:pt x="82" y="76"/>
                </a:cubicBezTo>
                <a:cubicBezTo>
                  <a:pt x="82" y="79"/>
                  <a:pt x="80" y="80"/>
                  <a:pt x="78" y="80"/>
                </a:cubicBezTo>
                <a:cubicBezTo>
                  <a:pt x="76" y="80"/>
                  <a:pt x="74" y="79"/>
                  <a:pt x="74" y="76"/>
                </a:cubicBezTo>
                <a:cubicBezTo>
                  <a:pt x="74" y="71"/>
                  <a:pt x="74" y="71"/>
                  <a:pt x="74" y="71"/>
                </a:cubicBezTo>
                <a:cubicBezTo>
                  <a:pt x="74" y="66"/>
                  <a:pt x="77" y="60"/>
                  <a:pt x="79" y="56"/>
                </a:cubicBezTo>
                <a:cubicBezTo>
                  <a:pt x="44" y="56"/>
                  <a:pt x="44" y="56"/>
                  <a:pt x="44" y="56"/>
                </a:cubicBezTo>
                <a:cubicBezTo>
                  <a:pt x="41" y="56"/>
                  <a:pt x="40" y="54"/>
                  <a:pt x="40" y="52"/>
                </a:cubicBezTo>
                <a:cubicBezTo>
                  <a:pt x="40" y="49"/>
                  <a:pt x="41" y="48"/>
                  <a:pt x="44" y="48"/>
                </a:cubicBezTo>
                <a:cubicBezTo>
                  <a:pt x="82" y="48"/>
                  <a:pt x="82" y="48"/>
                  <a:pt x="82" y="48"/>
                </a:cubicBezTo>
                <a:cubicBezTo>
                  <a:pt x="83" y="46"/>
                  <a:pt x="85" y="45"/>
                  <a:pt x="88" y="45"/>
                </a:cubicBezTo>
                <a:cubicBezTo>
                  <a:pt x="90" y="45"/>
                  <a:pt x="92" y="46"/>
                  <a:pt x="94" y="48"/>
                </a:cubicBezTo>
                <a:cubicBezTo>
                  <a:pt x="100" y="48"/>
                  <a:pt x="100" y="48"/>
                  <a:pt x="100" y="48"/>
                </a:cubicBezTo>
                <a:cubicBezTo>
                  <a:pt x="102" y="48"/>
                  <a:pt x="104" y="49"/>
                  <a:pt x="104" y="52"/>
                </a:cubicBezTo>
                <a:cubicBezTo>
                  <a:pt x="104" y="54"/>
                  <a:pt x="102" y="56"/>
                  <a:pt x="100" y="5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0" name="Freeform 66"/>
          <p:cNvSpPr>
            <a:spLocks noEditPoints="1"/>
          </p:cNvSpPr>
          <p:nvPr/>
        </p:nvSpPr>
        <p:spPr bwMode="auto">
          <a:xfrm>
            <a:off x="19542318" y="9840483"/>
            <a:ext cx="764036" cy="806590"/>
          </a:xfrm>
          <a:custGeom>
            <a:avLst/>
            <a:gdLst>
              <a:gd name="T0" fmla="*/ 0 w 395"/>
              <a:gd name="T1" fmla="*/ 303 h 417"/>
              <a:gd name="T2" fmla="*/ 86 w 395"/>
              <a:gd name="T3" fmla="*/ 303 h 417"/>
              <a:gd name="T4" fmla="*/ 86 w 395"/>
              <a:gd name="T5" fmla="*/ 417 h 417"/>
              <a:gd name="T6" fmla="*/ 0 w 395"/>
              <a:gd name="T7" fmla="*/ 417 h 417"/>
              <a:gd name="T8" fmla="*/ 0 w 395"/>
              <a:gd name="T9" fmla="*/ 303 h 417"/>
              <a:gd name="T10" fmla="*/ 156 w 395"/>
              <a:gd name="T11" fmla="*/ 417 h 417"/>
              <a:gd name="T12" fmla="*/ 241 w 395"/>
              <a:gd name="T13" fmla="*/ 417 h 417"/>
              <a:gd name="T14" fmla="*/ 241 w 395"/>
              <a:gd name="T15" fmla="*/ 247 h 417"/>
              <a:gd name="T16" fmla="*/ 156 w 395"/>
              <a:gd name="T17" fmla="*/ 247 h 417"/>
              <a:gd name="T18" fmla="*/ 156 w 395"/>
              <a:gd name="T19" fmla="*/ 417 h 417"/>
              <a:gd name="T20" fmla="*/ 310 w 395"/>
              <a:gd name="T21" fmla="*/ 152 h 417"/>
              <a:gd name="T22" fmla="*/ 310 w 395"/>
              <a:gd name="T23" fmla="*/ 417 h 417"/>
              <a:gd name="T24" fmla="*/ 395 w 395"/>
              <a:gd name="T25" fmla="*/ 417 h 417"/>
              <a:gd name="T26" fmla="*/ 395 w 395"/>
              <a:gd name="T27" fmla="*/ 152 h 417"/>
              <a:gd name="T28" fmla="*/ 310 w 395"/>
              <a:gd name="T29" fmla="*/ 152 h 417"/>
              <a:gd name="T30" fmla="*/ 319 w 395"/>
              <a:gd name="T31" fmla="*/ 62 h 417"/>
              <a:gd name="T32" fmla="*/ 338 w 395"/>
              <a:gd name="T33" fmla="*/ 83 h 417"/>
              <a:gd name="T34" fmla="*/ 360 w 395"/>
              <a:gd name="T35" fmla="*/ 0 h 417"/>
              <a:gd name="T36" fmla="*/ 279 w 395"/>
              <a:gd name="T37" fmla="*/ 22 h 417"/>
              <a:gd name="T38" fmla="*/ 298 w 395"/>
              <a:gd name="T39" fmla="*/ 43 h 417"/>
              <a:gd name="T40" fmla="*/ 190 w 395"/>
              <a:gd name="T41" fmla="*/ 152 h 417"/>
              <a:gd name="T42" fmla="*/ 119 w 395"/>
              <a:gd name="T43" fmla="*/ 83 h 417"/>
              <a:gd name="T44" fmla="*/ 12 w 395"/>
              <a:gd name="T45" fmla="*/ 190 h 417"/>
              <a:gd name="T46" fmla="*/ 34 w 395"/>
              <a:gd name="T47" fmla="*/ 209 h 417"/>
              <a:gd name="T48" fmla="*/ 119 w 395"/>
              <a:gd name="T49" fmla="*/ 123 h 417"/>
              <a:gd name="T50" fmla="*/ 190 w 395"/>
              <a:gd name="T51" fmla="*/ 192 h 417"/>
              <a:gd name="T52" fmla="*/ 319 w 395"/>
              <a:gd name="T53" fmla="*/ 62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95" h="417">
                <a:moveTo>
                  <a:pt x="0" y="303"/>
                </a:moveTo>
                <a:lnTo>
                  <a:pt x="86" y="303"/>
                </a:lnTo>
                <a:lnTo>
                  <a:pt x="86" y="417"/>
                </a:lnTo>
                <a:lnTo>
                  <a:pt x="0" y="417"/>
                </a:lnTo>
                <a:lnTo>
                  <a:pt x="0" y="303"/>
                </a:lnTo>
                <a:close/>
                <a:moveTo>
                  <a:pt x="156" y="417"/>
                </a:moveTo>
                <a:lnTo>
                  <a:pt x="241" y="417"/>
                </a:lnTo>
                <a:lnTo>
                  <a:pt x="241" y="247"/>
                </a:lnTo>
                <a:lnTo>
                  <a:pt x="156" y="247"/>
                </a:lnTo>
                <a:lnTo>
                  <a:pt x="156" y="417"/>
                </a:lnTo>
                <a:close/>
                <a:moveTo>
                  <a:pt x="310" y="152"/>
                </a:moveTo>
                <a:lnTo>
                  <a:pt x="310" y="417"/>
                </a:lnTo>
                <a:lnTo>
                  <a:pt x="395" y="417"/>
                </a:lnTo>
                <a:lnTo>
                  <a:pt x="395" y="152"/>
                </a:lnTo>
                <a:lnTo>
                  <a:pt x="310" y="152"/>
                </a:lnTo>
                <a:close/>
                <a:moveTo>
                  <a:pt x="319" y="62"/>
                </a:moveTo>
                <a:lnTo>
                  <a:pt x="338" y="83"/>
                </a:lnTo>
                <a:lnTo>
                  <a:pt x="360" y="0"/>
                </a:lnTo>
                <a:lnTo>
                  <a:pt x="279" y="22"/>
                </a:lnTo>
                <a:lnTo>
                  <a:pt x="298" y="43"/>
                </a:lnTo>
                <a:lnTo>
                  <a:pt x="190" y="152"/>
                </a:lnTo>
                <a:lnTo>
                  <a:pt x="119" y="83"/>
                </a:lnTo>
                <a:lnTo>
                  <a:pt x="12" y="190"/>
                </a:lnTo>
                <a:lnTo>
                  <a:pt x="34" y="209"/>
                </a:lnTo>
                <a:lnTo>
                  <a:pt x="119" y="123"/>
                </a:lnTo>
                <a:lnTo>
                  <a:pt x="190" y="192"/>
                </a:lnTo>
                <a:lnTo>
                  <a:pt x="319" y="6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81921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 rot="18900000">
            <a:off x="8676070" y="7277210"/>
            <a:ext cx="2595684" cy="5442796"/>
          </a:xfrm>
          <a:custGeom>
            <a:avLst/>
            <a:gdLst>
              <a:gd name="T0" fmla="*/ 133 w 541"/>
              <a:gd name="T1" fmla="*/ 717 h 1134"/>
              <a:gd name="T2" fmla="*/ 4 w 541"/>
              <a:gd name="T3" fmla="*/ 772 h 1134"/>
              <a:gd name="T4" fmla="*/ 140 w 541"/>
              <a:gd name="T5" fmla="*/ 1090 h 1134"/>
              <a:gd name="T6" fmla="*/ 268 w 541"/>
              <a:gd name="T7" fmla="*/ 1035 h 1134"/>
              <a:gd name="T8" fmla="*/ 352 w 541"/>
              <a:gd name="T9" fmla="*/ 1134 h 1134"/>
              <a:gd name="T10" fmla="*/ 541 w 541"/>
              <a:gd name="T11" fmla="*/ 947 h 1134"/>
              <a:gd name="T12" fmla="*/ 428 w 541"/>
              <a:gd name="T13" fmla="*/ 779 h 1134"/>
              <a:gd name="T14" fmla="*/ 541 w 541"/>
              <a:gd name="T15" fmla="*/ 188 h 1134"/>
              <a:gd name="T16" fmla="*/ 352 w 541"/>
              <a:gd name="T17" fmla="*/ 0 h 1134"/>
              <a:gd name="T18" fmla="*/ 259 w 541"/>
              <a:gd name="T19" fmla="*/ 114 h 1134"/>
              <a:gd name="T20" fmla="*/ 129 w 541"/>
              <a:gd name="T21" fmla="*/ 62 h 1134"/>
              <a:gd name="T22" fmla="*/ 0 w 541"/>
              <a:gd name="T23" fmla="*/ 382 h 1134"/>
              <a:gd name="T24" fmla="*/ 130 w 541"/>
              <a:gd name="T25" fmla="*/ 434 h 1134"/>
              <a:gd name="T26" fmla="*/ 133 w 541"/>
              <a:gd name="T27" fmla="*/ 717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" h="1134">
                <a:moveTo>
                  <a:pt x="133" y="717"/>
                </a:moveTo>
                <a:cubicBezTo>
                  <a:pt x="4" y="772"/>
                  <a:pt x="4" y="772"/>
                  <a:pt x="4" y="772"/>
                </a:cubicBezTo>
                <a:cubicBezTo>
                  <a:pt x="140" y="1090"/>
                  <a:pt x="140" y="1090"/>
                  <a:pt x="140" y="1090"/>
                </a:cubicBezTo>
                <a:cubicBezTo>
                  <a:pt x="268" y="1035"/>
                  <a:pt x="268" y="1035"/>
                  <a:pt x="268" y="1035"/>
                </a:cubicBezTo>
                <a:cubicBezTo>
                  <a:pt x="294" y="1070"/>
                  <a:pt x="322" y="1104"/>
                  <a:pt x="352" y="1134"/>
                </a:cubicBezTo>
                <a:cubicBezTo>
                  <a:pt x="541" y="947"/>
                  <a:pt x="541" y="947"/>
                  <a:pt x="541" y="947"/>
                </a:cubicBezTo>
                <a:cubicBezTo>
                  <a:pt x="494" y="900"/>
                  <a:pt x="455" y="843"/>
                  <a:pt x="428" y="779"/>
                </a:cubicBezTo>
                <a:cubicBezTo>
                  <a:pt x="339" y="572"/>
                  <a:pt x="391" y="339"/>
                  <a:pt x="541" y="188"/>
                </a:cubicBezTo>
                <a:cubicBezTo>
                  <a:pt x="352" y="0"/>
                  <a:pt x="352" y="0"/>
                  <a:pt x="352" y="0"/>
                </a:cubicBezTo>
                <a:cubicBezTo>
                  <a:pt x="318" y="35"/>
                  <a:pt x="286" y="73"/>
                  <a:pt x="259" y="114"/>
                </a:cubicBezTo>
                <a:cubicBezTo>
                  <a:pt x="129" y="62"/>
                  <a:pt x="129" y="62"/>
                  <a:pt x="129" y="62"/>
                </a:cubicBezTo>
                <a:cubicBezTo>
                  <a:pt x="0" y="382"/>
                  <a:pt x="0" y="382"/>
                  <a:pt x="0" y="382"/>
                </a:cubicBezTo>
                <a:cubicBezTo>
                  <a:pt x="130" y="434"/>
                  <a:pt x="130" y="434"/>
                  <a:pt x="130" y="434"/>
                </a:cubicBezTo>
                <a:cubicBezTo>
                  <a:pt x="114" y="528"/>
                  <a:pt x="115" y="623"/>
                  <a:pt x="133" y="717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 rot="18900000">
            <a:off x="13108862" y="2844420"/>
            <a:ext cx="2595684" cy="5442796"/>
          </a:xfrm>
          <a:custGeom>
            <a:avLst/>
            <a:gdLst>
              <a:gd name="T0" fmla="*/ 189 w 541"/>
              <a:gd name="T1" fmla="*/ 1134 h 1134"/>
              <a:gd name="T2" fmla="*/ 282 w 541"/>
              <a:gd name="T3" fmla="*/ 1021 h 1134"/>
              <a:gd name="T4" fmla="*/ 412 w 541"/>
              <a:gd name="T5" fmla="*/ 1073 h 1134"/>
              <a:gd name="T6" fmla="*/ 541 w 541"/>
              <a:gd name="T7" fmla="*/ 752 h 1134"/>
              <a:gd name="T8" fmla="*/ 411 w 541"/>
              <a:gd name="T9" fmla="*/ 700 h 1134"/>
              <a:gd name="T10" fmla="*/ 408 w 541"/>
              <a:gd name="T11" fmla="*/ 418 h 1134"/>
              <a:gd name="T12" fmla="*/ 537 w 541"/>
              <a:gd name="T13" fmla="*/ 363 h 1134"/>
              <a:gd name="T14" fmla="*/ 401 w 541"/>
              <a:gd name="T15" fmla="*/ 45 h 1134"/>
              <a:gd name="T16" fmla="*/ 273 w 541"/>
              <a:gd name="T17" fmla="*/ 100 h 1134"/>
              <a:gd name="T18" fmla="*/ 189 w 541"/>
              <a:gd name="T19" fmla="*/ 0 h 1134"/>
              <a:gd name="T20" fmla="*/ 1 w 541"/>
              <a:gd name="T21" fmla="*/ 187 h 1134"/>
              <a:gd name="T22" fmla="*/ 114 w 541"/>
              <a:gd name="T23" fmla="*/ 356 h 1134"/>
              <a:gd name="T24" fmla="*/ 0 w 541"/>
              <a:gd name="T25" fmla="*/ 947 h 1134"/>
              <a:gd name="T26" fmla="*/ 189 w 541"/>
              <a:gd name="T27" fmla="*/ 1134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" h="1134">
                <a:moveTo>
                  <a:pt x="189" y="1134"/>
                </a:moveTo>
                <a:cubicBezTo>
                  <a:pt x="224" y="1100"/>
                  <a:pt x="255" y="1062"/>
                  <a:pt x="282" y="1021"/>
                </a:cubicBezTo>
                <a:cubicBezTo>
                  <a:pt x="412" y="1073"/>
                  <a:pt x="412" y="1073"/>
                  <a:pt x="412" y="1073"/>
                </a:cubicBezTo>
                <a:cubicBezTo>
                  <a:pt x="541" y="752"/>
                  <a:pt x="541" y="752"/>
                  <a:pt x="541" y="752"/>
                </a:cubicBezTo>
                <a:cubicBezTo>
                  <a:pt x="411" y="700"/>
                  <a:pt x="411" y="700"/>
                  <a:pt x="411" y="700"/>
                </a:cubicBezTo>
                <a:cubicBezTo>
                  <a:pt x="427" y="606"/>
                  <a:pt x="426" y="512"/>
                  <a:pt x="408" y="418"/>
                </a:cubicBezTo>
                <a:cubicBezTo>
                  <a:pt x="537" y="363"/>
                  <a:pt x="537" y="363"/>
                  <a:pt x="537" y="363"/>
                </a:cubicBezTo>
                <a:cubicBezTo>
                  <a:pt x="401" y="45"/>
                  <a:pt x="401" y="45"/>
                  <a:pt x="401" y="45"/>
                </a:cubicBezTo>
                <a:cubicBezTo>
                  <a:pt x="273" y="100"/>
                  <a:pt x="273" y="100"/>
                  <a:pt x="273" y="100"/>
                </a:cubicBezTo>
                <a:cubicBezTo>
                  <a:pt x="247" y="64"/>
                  <a:pt x="220" y="31"/>
                  <a:pt x="189" y="0"/>
                </a:cubicBezTo>
                <a:cubicBezTo>
                  <a:pt x="1" y="187"/>
                  <a:pt x="1" y="187"/>
                  <a:pt x="1" y="187"/>
                </a:cubicBezTo>
                <a:cubicBezTo>
                  <a:pt x="48" y="235"/>
                  <a:pt x="86" y="292"/>
                  <a:pt x="114" y="356"/>
                </a:cubicBezTo>
                <a:cubicBezTo>
                  <a:pt x="202" y="563"/>
                  <a:pt x="150" y="796"/>
                  <a:pt x="0" y="947"/>
                </a:cubicBezTo>
                <a:lnTo>
                  <a:pt x="189" y="1134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 rot="18900000">
            <a:off x="13342415" y="3076400"/>
            <a:ext cx="2145510" cy="4968676"/>
          </a:xfrm>
          <a:custGeom>
            <a:avLst/>
            <a:gdLst>
              <a:gd name="T0" fmla="*/ 139 w 447"/>
              <a:gd name="T1" fmla="*/ 1035 h 1035"/>
              <a:gd name="T2" fmla="*/ 205 w 447"/>
              <a:gd name="T3" fmla="*/ 952 h 1035"/>
              <a:gd name="T4" fmla="*/ 220 w 447"/>
              <a:gd name="T5" fmla="*/ 929 h 1035"/>
              <a:gd name="T6" fmla="*/ 344 w 447"/>
              <a:gd name="T7" fmla="*/ 978 h 1035"/>
              <a:gd name="T8" fmla="*/ 447 w 447"/>
              <a:gd name="T9" fmla="*/ 722 h 1035"/>
              <a:gd name="T10" fmla="*/ 324 w 447"/>
              <a:gd name="T11" fmla="*/ 672 h 1035"/>
              <a:gd name="T12" fmla="*/ 328 w 447"/>
              <a:gd name="T13" fmla="*/ 645 h 1035"/>
              <a:gd name="T14" fmla="*/ 325 w 447"/>
              <a:gd name="T15" fmla="*/ 374 h 1035"/>
              <a:gd name="T16" fmla="*/ 320 w 447"/>
              <a:gd name="T17" fmla="*/ 347 h 1035"/>
              <a:gd name="T18" fmla="*/ 442 w 447"/>
              <a:gd name="T19" fmla="*/ 295 h 1035"/>
              <a:gd name="T20" fmla="*/ 334 w 447"/>
              <a:gd name="T21" fmla="*/ 40 h 1035"/>
              <a:gd name="T22" fmla="*/ 212 w 447"/>
              <a:gd name="T23" fmla="*/ 93 h 1035"/>
              <a:gd name="T24" fmla="*/ 196 w 447"/>
              <a:gd name="T25" fmla="*/ 70 h 1035"/>
              <a:gd name="T26" fmla="*/ 139 w 447"/>
              <a:gd name="T27" fmla="*/ 0 h 1035"/>
              <a:gd name="T28" fmla="*/ 0 w 447"/>
              <a:gd name="T29" fmla="*/ 138 h 1035"/>
              <a:gd name="T30" fmla="*/ 96 w 447"/>
              <a:gd name="T31" fmla="*/ 292 h 1035"/>
              <a:gd name="T32" fmla="*/ 0 w 447"/>
              <a:gd name="T33" fmla="*/ 896 h 1035"/>
              <a:gd name="T34" fmla="*/ 139 w 447"/>
              <a:gd name="T35" fmla="*/ 1035 h 1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47" h="1035">
                <a:moveTo>
                  <a:pt x="139" y="1035"/>
                </a:moveTo>
                <a:cubicBezTo>
                  <a:pt x="163" y="1009"/>
                  <a:pt x="185" y="981"/>
                  <a:pt x="205" y="952"/>
                </a:cubicBezTo>
                <a:cubicBezTo>
                  <a:pt x="220" y="929"/>
                  <a:pt x="220" y="929"/>
                  <a:pt x="220" y="929"/>
                </a:cubicBezTo>
                <a:cubicBezTo>
                  <a:pt x="344" y="978"/>
                  <a:pt x="344" y="978"/>
                  <a:pt x="344" y="978"/>
                </a:cubicBezTo>
                <a:cubicBezTo>
                  <a:pt x="447" y="722"/>
                  <a:pt x="447" y="722"/>
                  <a:pt x="447" y="722"/>
                </a:cubicBezTo>
                <a:cubicBezTo>
                  <a:pt x="324" y="672"/>
                  <a:pt x="324" y="672"/>
                  <a:pt x="324" y="672"/>
                </a:cubicBezTo>
                <a:cubicBezTo>
                  <a:pt x="328" y="645"/>
                  <a:pt x="328" y="645"/>
                  <a:pt x="328" y="645"/>
                </a:cubicBezTo>
                <a:cubicBezTo>
                  <a:pt x="343" y="555"/>
                  <a:pt x="342" y="464"/>
                  <a:pt x="325" y="374"/>
                </a:cubicBezTo>
                <a:cubicBezTo>
                  <a:pt x="320" y="347"/>
                  <a:pt x="320" y="347"/>
                  <a:pt x="320" y="347"/>
                </a:cubicBezTo>
                <a:cubicBezTo>
                  <a:pt x="442" y="295"/>
                  <a:pt x="442" y="295"/>
                  <a:pt x="442" y="295"/>
                </a:cubicBezTo>
                <a:cubicBezTo>
                  <a:pt x="334" y="40"/>
                  <a:pt x="334" y="40"/>
                  <a:pt x="334" y="40"/>
                </a:cubicBezTo>
                <a:cubicBezTo>
                  <a:pt x="212" y="93"/>
                  <a:pt x="212" y="93"/>
                  <a:pt x="212" y="93"/>
                </a:cubicBezTo>
                <a:cubicBezTo>
                  <a:pt x="196" y="70"/>
                  <a:pt x="196" y="70"/>
                  <a:pt x="196" y="70"/>
                </a:cubicBezTo>
                <a:cubicBezTo>
                  <a:pt x="178" y="45"/>
                  <a:pt x="159" y="22"/>
                  <a:pt x="139" y="0"/>
                </a:cubicBezTo>
                <a:cubicBezTo>
                  <a:pt x="0" y="138"/>
                  <a:pt x="0" y="138"/>
                  <a:pt x="0" y="138"/>
                </a:cubicBezTo>
                <a:cubicBezTo>
                  <a:pt x="40" y="184"/>
                  <a:pt x="72" y="236"/>
                  <a:pt x="96" y="292"/>
                </a:cubicBezTo>
                <a:cubicBezTo>
                  <a:pt x="183" y="496"/>
                  <a:pt x="144" y="731"/>
                  <a:pt x="0" y="896"/>
                </a:cubicBezTo>
                <a:lnTo>
                  <a:pt x="139" y="103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 rot="18900000">
            <a:off x="7236540" y="4266367"/>
            <a:ext cx="5488292" cy="2612446"/>
          </a:xfrm>
          <a:custGeom>
            <a:avLst/>
            <a:gdLst>
              <a:gd name="T0" fmla="*/ 1144 w 1144"/>
              <a:gd name="T1" fmla="*/ 356 h 544"/>
              <a:gd name="T2" fmla="*/ 1026 w 1144"/>
              <a:gd name="T3" fmla="*/ 258 h 544"/>
              <a:gd name="T4" fmla="*/ 1078 w 1144"/>
              <a:gd name="T5" fmla="*/ 129 h 544"/>
              <a:gd name="T6" fmla="*/ 757 w 1144"/>
              <a:gd name="T7" fmla="*/ 0 h 544"/>
              <a:gd name="T8" fmla="*/ 705 w 1144"/>
              <a:gd name="T9" fmla="*/ 129 h 544"/>
              <a:gd name="T10" fmla="*/ 422 w 1144"/>
              <a:gd name="T11" fmla="*/ 132 h 544"/>
              <a:gd name="T12" fmla="*/ 368 w 1144"/>
              <a:gd name="T13" fmla="*/ 4 h 544"/>
              <a:gd name="T14" fmla="*/ 50 w 1144"/>
              <a:gd name="T15" fmla="*/ 139 h 544"/>
              <a:gd name="T16" fmla="*/ 105 w 1144"/>
              <a:gd name="T17" fmla="*/ 268 h 544"/>
              <a:gd name="T18" fmla="*/ 0 w 1144"/>
              <a:gd name="T19" fmla="*/ 356 h 544"/>
              <a:gd name="T20" fmla="*/ 189 w 1144"/>
              <a:gd name="T21" fmla="*/ 544 h 544"/>
              <a:gd name="T22" fmla="*/ 360 w 1144"/>
              <a:gd name="T23" fmla="*/ 427 h 544"/>
              <a:gd name="T24" fmla="*/ 360 w 1144"/>
              <a:gd name="T25" fmla="*/ 427 h 544"/>
              <a:gd name="T26" fmla="*/ 572 w 1144"/>
              <a:gd name="T27" fmla="*/ 383 h 544"/>
              <a:gd name="T28" fmla="*/ 956 w 1144"/>
              <a:gd name="T29" fmla="*/ 543 h 544"/>
              <a:gd name="T30" fmla="*/ 1144 w 1144"/>
              <a:gd name="T31" fmla="*/ 356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44" h="544">
                <a:moveTo>
                  <a:pt x="1144" y="356"/>
                </a:moveTo>
                <a:cubicBezTo>
                  <a:pt x="1108" y="320"/>
                  <a:pt x="1069" y="287"/>
                  <a:pt x="1026" y="258"/>
                </a:cubicBezTo>
                <a:cubicBezTo>
                  <a:pt x="1078" y="129"/>
                  <a:pt x="1078" y="129"/>
                  <a:pt x="1078" y="129"/>
                </a:cubicBezTo>
                <a:cubicBezTo>
                  <a:pt x="757" y="0"/>
                  <a:pt x="757" y="0"/>
                  <a:pt x="757" y="0"/>
                </a:cubicBezTo>
                <a:cubicBezTo>
                  <a:pt x="705" y="129"/>
                  <a:pt x="705" y="129"/>
                  <a:pt x="705" y="129"/>
                </a:cubicBezTo>
                <a:cubicBezTo>
                  <a:pt x="612" y="113"/>
                  <a:pt x="516" y="114"/>
                  <a:pt x="422" y="132"/>
                </a:cubicBezTo>
                <a:cubicBezTo>
                  <a:pt x="368" y="4"/>
                  <a:pt x="368" y="4"/>
                  <a:pt x="368" y="4"/>
                </a:cubicBezTo>
                <a:cubicBezTo>
                  <a:pt x="50" y="139"/>
                  <a:pt x="50" y="139"/>
                  <a:pt x="50" y="139"/>
                </a:cubicBezTo>
                <a:cubicBezTo>
                  <a:pt x="105" y="268"/>
                  <a:pt x="105" y="268"/>
                  <a:pt x="105" y="268"/>
                </a:cubicBezTo>
                <a:cubicBezTo>
                  <a:pt x="67" y="294"/>
                  <a:pt x="32" y="324"/>
                  <a:pt x="0" y="356"/>
                </a:cubicBezTo>
                <a:cubicBezTo>
                  <a:pt x="189" y="544"/>
                  <a:pt x="189" y="544"/>
                  <a:pt x="189" y="544"/>
                </a:cubicBezTo>
                <a:cubicBezTo>
                  <a:pt x="236" y="495"/>
                  <a:pt x="294" y="455"/>
                  <a:pt x="360" y="427"/>
                </a:cubicBezTo>
                <a:cubicBezTo>
                  <a:pt x="360" y="427"/>
                  <a:pt x="360" y="427"/>
                  <a:pt x="360" y="427"/>
                </a:cubicBezTo>
                <a:cubicBezTo>
                  <a:pt x="428" y="398"/>
                  <a:pt x="499" y="383"/>
                  <a:pt x="572" y="383"/>
                </a:cubicBezTo>
                <a:cubicBezTo>
                  <a:pt x="719" y="383"/>
                  <a:pt x="856" y="443"/>
                  <a:pt x="956" y="543"/>
                </a:cubicBezTo>
                <a:lnTo>
                  <a:pt x="1144" y="35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rot="18900000">
            <a:off x="11659170" y="8688999"/>
            <a:ext cx="5488292" cy="2612446"/>
          </a:xfrm>
          <a:custGeom>
            <a:avLst/>
            <a:gdLst>
              <a:gd name="T0" fmla="*/ 0 w 1144"/>
              <a:gd name="T1" fmla="*/ 187 h 544"/>
              <a:gd name="T2" fmla="*/ 118 w 1144"/>
              <a:gd name="T3" fmla="*/ 286 h 544"/>
              <a:gd name="T4" fmla="*/ 66 w 1144"/>
              <a:gd name="T5" fmla="*/ 415 h 544"/>
              <a:gd name="T6" fmla="*/ 387 w 1144"/>
              <a:gd name="T7" fmla="*/ 544 h 544"/>
              <a:gd name="T8" fmla="*/ 439 w 1144"/>
              <a:gd name="T9" fmla="*/ 415 h 544"/>
              <a:gd name="T10" fmla="*/ 722 w 1144"/>
              <a:gd name="T11" fmla="*/ 412 h 544"/>
              <a:gd name="T12" fmla="*/ 776 w 1144"/>
              <a:gd name="T13" fmla="*/ 540 h 544"/>
              <a:gd name="T14" fmla="*/ 1094 w 1144"/>
              <a:gd name="T15" fmla="*/ 404 h 544"/>
              <a:gd name="T16" fmla="*/ 1040 w 1144"/>
              <a:gd name="T17" fmla="*/ 276 h 544"/>
              <a:gd name="T18" fmla="*/ 1144 w 1144"/>
              <a:gd name="T19" fmla="*/ 187 h 544"/>
              <a:gd name="T20" fmla="*/ 955 w 1144"/>
              <a:gd name="T21" fmla="*/ 0 h 544"/>
              <a:gd name="T22" fmla="*/ 784 w 1144"/>
              <a:gd name="T23" fmla="*/ 117 h 544"/>
              <a:gd name="T24" fmla="*/ 572 w 1144"/>
              <a:gd name="T25" fmla="*/ 160 h 544"/>
              <a:gd name="T26" fmla="*/ 189 w 1144"/>
              <a:gd name="T27" fmla="*/ 0 h 544"/>
              <a:gd name="T28" fmla="*/ 0 w 1144"/>
              <a:gd name="T29" fmla="*/ 187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44" h="544">
                <a:moveTo>
                  <a:pt x="0" y="187"/>
                </a:moveTo>
                <a:cubicBezTo>
                  <a:pt x="36" y="224"/>
                  <a:pt x="75" y="256"/>
                  <a:pt x="118" y="286"/>
                </a:cubicBezTo>
                <a:cubicBezTo>
                  <a:pt x="66" y="415"/>
                  <a:pt x="66" y="415"/>
                  <a:pt x="66" y="415"/>
                </a:cubicBezTo>
                <a:cubicBezTo>
                  <a:pt x="387" y="544"/>
                  <a:pt x="387" y="544"/>
                  <a:pt x="387" y="544"/>
                </a:cubicBezTo>
                <a:cubicBezTo>
                  <a:pt x="439" y="415"/>
                  <a:pt x="439" y="415"/>
                  <a:pt x="439" y="415"/>
                </a:cubicBezTo>
                <a:cubicBezTo>
                  <a:pt x="532" y="430"/>
                  <a:pt x="629" y="429"/>
                  <a:pt x="722" y="412"/>
                </a:cubicBezTo>
                <a:cubicBezTo>
                  <a:pt x="776" y="540"/>
                  <a:pt x="776" y="540"/>
                  <a:pt x="776" y="540"/>
                </a:cubicBezTo>
                <a:cubicBezTo>
                  <a:pt x="1094" y="404"/>
                  <a:pt x="1094" y="404"/>
                  <a:pt x="1094" y="404"/>
                </a:cubicBezTo>
                <a:cubicBezTo>
                  <a:pt x="1040" y="276"/>
                  <a:pt x="1040" y="276"/>
                  <a:pt x="1040" y="276"/>
                </a:cubicBezTo>
                <a:cubicBezTo>
                  <a:pt x="1077" y="249"/>
                  <a:pt x="1112" y="220"/>
                  <a:pt x="1144" y="187"/>
                </a:cubicBezTo>
                <a:cubicBezTo>
                  <a:pt x="955" y="0"/>
                  <a:pt x="955" y="0"/>
                  <a:pt x="955" y="0"/>
                </a:cubicBezTo>
                <a:cubicBezTo>
                  <a:pt x="908" y="49"/>
                  <a:pt x="850" y="89"/>
                  <a:pt x="784" y="117"/>
                </a:cubicBezTo>
                <a:cubicBezTo>
                  <a:pt x="716" y="146"/>
                  <a:pt x="645" y="160"/>
                  <a:pt x="572" y="160"/>
                </a:cubicBezTo>
                <a:cubicBezTo>
                  <a:pt x="425" y="160"/>
                  <a:pt x="288" y="101"/>
                  <a:pt x="189" y="0"/>
                </a:cubicBezTo>
                <a:lnTo>
                  <a:pt x="0" y="187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rot="18900000">
            <a:off x="11934569" y="8933473"/>
            <a:ext cx="4966282" cy="2145510"/>
          </a:xfrm>
          <a:custGeom>
            <a:avLst/>
            <a:gdLst>
              <a:gd name="T0" fmla="*/ 0 w 1035"/>
              <a:gd name="T1" fmla="*/ 140 h 447"/>
              <a:gd name="T2" fmla="*/ 83 w 1035"/>
              <a:gd name="T3" fmla="*/ 205 h 447"/>
              <a:gd name="T4" fmla="*/ 106 w 1035"/>
              <a:gd name="T5" fmla="*/ 221 h 447"/>
              <a:gd name="T6" fmla="*/ 56 w 1035"/>
              <a:gd name="T7" fmla="*/ 344 h 447"/>
              <a:gd name="T8" fmla="*/ 313 w 1035"/>
              <a:gd name="T9" fmla="*/ 447 h 447"/>
              <a:gd name="T10" fmla="*/ 362 w 1035"/>
              <a:gd name="T11" fmla="*/ 324 h 447"/>
              <a:gd name="T12" fmla="*/ 390 w 1035"/>
              <a:gd name="T13" fmla="*/ 329 h 447"/>
              <a:gd name="T14" fmla="*/ 660 w 1035"/>
              <a:gd name="T15" fmla="*/ 326 h 447"/>
              <a:gd name="T16" fmla="*/ 687 w 1035"/>
              <a:gd name="T17" fmla="*/ 320 h 447"/>
              <a:gd name="T18" fmla="*/ 740 w 1035"/>
              <a:gd name="T19" fmla="*/ 443 h 447"/>
              <a:gd name="T20" fmla="*/ 994 w 1035"/>
              <a:gd name="T21" fmla="*/ 334 h 447"/>
              <a:gd name="T22" fmla="*/ 942 w 1035"/>
              <a:gd name="T23" fmla="*/ 212 h 447"/>
              <a:gd name="T24" fmla="*/ 965 w 1035"/>
              <a:gd name="T25" fmla="*/ 196 h 447"/>
              <a:gd name="T26" fmla="*/ 1035 w 1035"/>
              <a:gd name="T27" fmla="*/ 140 h 447"/>
              <a:gd name="T28" fmla="*/ 896 w 1035"/>
              <a:gd name="T29" fmla="*/ 0 h 447"/>
              <a:gd name="T30" fmla="*/ 742 w 1035"/>
              <a:gd name="T31" fmla="*/ 97 h 447"/>
              <a:gd name="T32" fmla="*/ 138 w 1035"/>
              <a:gd name="T33" fmla="*/ 0 h 447"/>
              <a:gd name="T34" fmla="*/ 0 w 1035"/>
              <a:gd name="T35" fmla="*/ 140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35" h="447">
                <a:moveTo>
                  <a:pt x="0" y="140"/>
                </a:moveTo>
                <a:cubicBezTo>
                  <a:pt x="26" y="163"/>
                  <a:pt x="54" y="185"/>
                  <a:pt x="83" y="205"/>
                </a:cubicBezTo>
                <a:cubicBezTo>
                  <a:pt x="106" y="221"/>
                  <a:pt x="106" y="221"/>
                  <a:pt x="106" y="221"/>
                </a:cubicBezTo>
                <a:cubicBezTo>
                  <a:pt x="56" y="344"/>
                  <a:pt x="56" y="344"/>
                  <a:pt x="56" y="344"/>
                </a:cubicBezTo>
                <a:cubicBezTo>
                  <a:pt x="313" y="447"/>
                  <a:pt x="313" y="447"/>
                  <a:pt x="313" y="447"/>
                </a:cubicBezTo>
                <a:cubicBezTo>
                  <a:pt x="362" y="324"/>
                  <a:pt x="362" y="324"/>
                  <a:pt x="362" y="324"/>
                </a:cubicBezTo>
                <a:cubicBezTo>
                  <a:pt x="390" y="329"/>
                  <a:pt x="390" y="329"/>
                  <a:pt x="390" y="329"/>
                </a:cubicBezTo>
                <a:cubicBezTo>
                  <a:pt x="480" y="344"/>
                  <a:pt x="571" y="343"/>
                  <a:pt x="660" y="326"/>
                </a:cubicBezTo>
                <a:cubicBezTo>
                  <a:pt x="687" y="320"/>
                  <a:pt x="687" y="320"/>
                  <a:pt x="687" y="320"/>
                </a:cubicBezTo>
                <a:cubicBezTo>
                  <a:pt x="740" y="443"/>
                  <a:pt x="740" y="443"/>
                  <a:pt x="740" y="443"/>
                </a:cubicBezTo>
                <a:cubicBezTo>
                  <a:pt x="994" y="334"/>
                  <a:pt x="994" y="334"/>
                  <a:pt x="994" y="334"/>
                </a:cubicBezTo>
                <a:cubicBezTo>
                  <a:pt x="942" y="212"/>
                  <a:pt x="942" y="212"/>
                  <a:pt x="942" y="212"/>
                </a:cubicBezTo>
                <a:cubicBezTo>
                  <a:pt x="965" y="196"/>
                  <a:pt x="965" y="196"/>
                  <a:pt x="965" y="196"/>
                </a:cubicBezTo>
                <a:cubicBezTo>
                  <a:pt x="989" y="179"/>
                  <a:pt x="1012" y="160"/>
                  <a:pt x="1035" y="140"/>
                </a:cubicBezTo>
                <a:cubicBezTo>
                  <a:pt x="896" y="0"/>
                  <a:pt x="896" y="0"/>
                  <a:pt x="896" y="0"/>
                </a:cubicBezTo>
                <a:cubicBezTo>
                  <a:pt x="850" y="40"/>
                  <a:pt x="798" y="73"/>
                  <a:pt x="742" y="97"/>
                </a:cubicBezTo>
                <a:cubicBezTo>
                  <a:pt x="539" y="184"/>
                  <a:pt x="303" y="144"/>
                  <a:pt x="138" y="0"/>
                </a:cubicBezTo>
                <a:lnTo>
                  <a:pt x="0" y="1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 rot="18900000">
            <a:off x="8895376" y="7521042"/>
            <a:ext cx="2150300" cy="4968676"/>
          </a:xfrm>
          <a:custGeom>
            <a:avLst/>
            <a:gdLst>
              <a:gd name="T0" fmla="*/ 308 w 448"/>
              <a:gd name="T1" fmla="*/ 0 h 1035"/>
              <a:gd name="T2" fmla="*/ 242 w 448"/>
              <a:gd name="T3" fmla="*/ 83 h 1035"/>
              <a:gd name="T4" fmla="*/ 227 w 448"/>
              <a:gd name="T5" fmla="*/ 106 h 1035"/>
              <a:gd name="T6" fmla="*/ 103 w 448"/>
              <a:gd name="T7" fmla="*/ 56 h 1035"/>
              <a:gd name="T8" fmla="*/ 0 w 448"/>
              <a:gd name="T9" fmla="*/ 313 h 1035"/>
              <a:gd name="T10" fmla="*/ 123 w 448"/>
              <a:gd name="T11" fmla="*/ 363 h 1035"/>
              <a:gd name="T12" fmla="*/ 119 w 448"/>
              <a:gd name="T13" fmla="*/ 390 h 1035"/>
              <a:gd name="T14" fmla="*/ 122 w 448"/>
              <a:gd name="T15" fmla="*/ 660 h 1035"/>
              <a:gd name="T16" fmla="*/ 127 w 448"/>
              <a:gd name="T17" fmla="*/ 688 h 1035"/>
              <a:gd name="T18" fmla="*/ 5 w 448"/>
              <a:gd name="T19" fmla="*/ 740 h 1035"/>
              <a:gd name="T20" fmla="*/ 113 w 448"/>
              <a:gd name="T21" fmla="*/ 994 h 1035"/>
              <a:gd name="T22" fmla="*/ 235 w 448"/>
              <a:gd name="T23" fmla="*/ 942 h 1035"/>
              <a:gd name="T24" fmla="*/ 252 w 448"/>
              <a:gd name="T25" fmla="*/ 965 h 1035"/>
              <a:gd name="T26" fmla="*/ 308 w 448"/>
              <a:gd name="T27" fmla="*/ 1035 h 1035"/>
              <a:gd name="T28" fmla="*/ 447 w 448"/>
              <a:gd name="T29" fmla="*/ 896 h 1035"/>
              <a:gd name="T30" fmla="*/ 351 w 448"/>
              <a:gd name="T31" fmla="*/ 743 h 1035"/>
              <a:gd name="T32" fmla="*/ 448 w 448"/>
              <a:gd name="T33" fmla="*/ 138 h 1035"/>
              <a:gd name="T34" fmla="*/ 308 w 448"/>
              <a:gd name="T35" fmla="*/ 0 h 1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48" h="1035">
                <a:moveTo>
                  <a:pt x="308" y="0"/>
                </a:moveTo>
                <a:cubicBezTo>
                  <a:pt x="284" y="26"/>
                  <a:pt x="262" y="54"/>
                  <a:pt x="242" y="83"/>
                </a:cubicBezTo>
                <a:cubicBezTo>
                  <a:pt x="227" y="106"/>
                  <a:pt x="227" y="106"/>
                  <a:pt x="227" y="106"/>
                </a:cubicBezTo>
                <a:cubicBezTo>
                  <a:pt x="103" y="56"/>
                  <a:pt x="103" y="56"/>
                  <a:pt x="103" y="56"/>
                </a:cubicBezTo>
                <a:cubicBezTo>
                  <a:pt x="0" y="313"/>
                  <a:pt x="0" y="313"/>
                  <a:pt x="0" y="313"/>
                </a:cubicBezTo>
                <a:cubicBezTo>
                  <a:pt x="123" y="363"/>
                  <a:pt x="123" y="363"/>
                  <a:pt x="123" y="363"/>
                </a:cubicBezTo>
                <a:cubicBezTo>
                  <a:pt x="119" y="390"/>
                  <a:pt x="119" y="390"/>
                  <a:pt x="119" y="390"/>
                </a:cubicBezTo>
                <a:cubicBezTo>
                  <a:pt x="104" y="480"/>
                  <a:pt x="105" y="571"/>
                  <a:pt x="122" y="660"/>
                </a:cubicBezTo>
                <a:cubicBezTo>
                  <a:pt x="127" y="688"/>
                  <a:pt x="127" y="688"/>
                  <a:pt x="127" y="688"/>
                </a:cubicBezTo>
                <a:cubicBezTo>
                  <a:pt x="5" y="740"/>
                  <a:pt x="5" y="740"/>
                  <a:pt x="5" y="740"/>
                </a:cubicBezTo>
                <a:cubicBezTo>
                  <a:pt x="113" y="994"/>
                  <a:pt x="113" y="994"/>
                  <a:pt x="113" y="994"/>
                </a:cubicBezTo>
                <a:cubicBezTo>
                  <a:pt x="235" y="942"/>
                  <a:pt x="235" y="942"/>
                  <a:pt x="235" y="942"/>
                </a:cubicBezTo>
                <a:cubicBezTo>
                  <a:pt x="252" y="965"/>
                  <a:pt x="252" y="965"/>
                  <a:pt x="252" y="965"/>
                </a:cubicBezTo>
                <a:cubicBezTo>
                  <a:pt x="269" y="989"/>
                  <a:pt x="288" y="1013"/>
                  <a:pt x="308" y="1035"/>
                </a:cubicBezTo>
                <a:cubicBezTo>
                  <a:pt x="447" y="896"/>
                  <a:pt x="447" y="896"/>
                  <a:pt x="447" y="896"/>
                </a:cubicBezTo>
                <a:cubicBezTo>
                  <a:pt x="407" y="851"/>
                  <a:pt x="375" y="799"/>
                  <a:pt x="351" y="743"/>
                </a:cubicBezTo>
                <a:cubicBezTo>
                  <a:pt x="264" y="539"/>
                  <a:pt x="303" y="303"/>
                  <a:pt x="448" y="138"/>
                </a:cubicBezTo>
                <a:lnTo>
                  <a:pt x="30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 rot="18900000">
            <a:off x="7486539" y="4485443"/>
            <a:ext cx="4966282" cy="2145510"/>
          </a:xfrm>
          <a:custGeom>
            <a:avLst/>
            <a:gdLst>
              <a:gd name="T0" fmla="*/ 1035 w 1035"/>
              <a:gd name="T1" fmla="*/ 307 h 447"/>
              <a:gd name="T2" fmla="*/ 951 w 1035"/>
              <a:gd name="T3" fmla="*/ 242 h 447"/>
              <a:gd name="T4" fmla="*/ 928 w 1035"/>
              <a:gd name="T5" fmla="*/ 226 h 447"/>
              <a:gd name="T6" fmla="*/ 978 w 1035"/>
              <a:gd name="T7" fmla="*/ 103 h 447"/>
              <a:gd name="T8" fmla="*/ 721 w 1035"/>
              <a:gd name="T9" fmla="*/ 0 h 447"/>
              <a:gd name="T10" fmla="*/ 672 w 1035"/>
              <a:gd name="T11" fmla="*/ 123 h 447"/>
              <a:gd name="T12" fmla="*/ 644 w 1035"/>
              <a:gd name="T13" fmla="*/ 118 h 447"/>
              <a:gd name="T14" fmla="*/ 374 w 1035"/>
              <a:gd name="T15" fmla="*/ 121 h 447"/>
              <a:gd name="T16" fmla="*/ 347 w 1035"/>
              <a:gd name="T17" fmla="*/ 126 h 447"/>
              <a:gd name="T18" fmla="*/ 294 w 1035"/>
              <a:gd name="T19" fmla="*/ 4 h 447"/>
              <a:gd name="T20" fmla="*/ 40 w 1035"/>
              <a:gd name="T21" fmla="*/ 112 h 447"/>
              <a:gd name="T22" fmla="*/ 92 w 1035"/>
              <a:gd name="T23" fmla="*/ 235 h 447"/>
              <a:gd name="T24" fmla="*/ 70 w 1035"/>
              <a:gd name="T25" fmla="*/ 251 h 447"/>
              <a:gd name="T26" fmla="*/ 0 w 1035"/>
              <a:gd name="T27" fmla="*/ 307 h 447"/>
              <a:gd name="T28" fmla="*/ 138 w 1035"/>
              <a:gd name="T29" fmla="*/ 447 h 447"/>
              <a:gd name="T30" fmla="*/ 292 w 1035"/>
              <a:gd name="T31" fmla="*/ 350 h 447"/>
              <a:gd name="T32" fmla="*/ 896 w 1035"/>
              <a:gd name="T33" fmla="*/ 447 h 447"/>
              <a:gd name="T34" fmla="*/ 1035 w 1035"/>
              <a:gd name="T35" fmla="*/ 307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35" h="447">
                <a:moveTo>
                  <a:pt x="1035" y="307"/>
                </a:moveTo>
                <a:cubicBezTo>
                  <a:pt x="1008" y="283"/>
                  <a:pt x="981" y="261"/>
                  <a:pt x="951" y="242"/>
                </a:cubicBezTo>
                <a:cubicBezTo>
                  <a:pt x="928" y="226"/>
                  <a:pt x="928" y="226"/>
                  <a:pt x="928" y="226"/>
                </a:cubicBezTo>
                <a:cubicBezTo>
                  <a:pt x="978" y="103"/>
                  <a:pt x="978" y="103"/>
                  <a:pt x="978" y="103"/>
                </a:cubicBezTo>
                <a:cubicBezTo>
                  <a:pt x="721" y="0"/>
                  <a:pt x="721" y="0"/>
                  <a:pt x="721" y="0"/>
                </a:cubicBezTo>
                <a:cubicBezTo>
                  <a:pt x="672" y="123"/>
                  <a:pt x="672" y="123"/>
                  <a:pt x="672" y="123"/>
                </a:cubicBezTo>
                <a:cubicBezTo>
                  <a:pt x="644" y="118"/>
                  <a:pt x="644" y="118"/>
                  <a:pt x="644" y="118"/>
                </a:cubicBezTo>
                <a:cubicBezTo>
                  <a:pt x="554" y="103"/>
                  <a:pt x="464" y="104"/>
                  <a:pt x="374" y="121"/>
                </a:cubicBezTo>
                <a:cubicBezTo>
                  <a:pt x="347" y="126"/>
                  <a:pt x="347" y="126"/>
                  <a:pt x="347" y="126"/>
                </a:cubicBezTo>
                <a:cubicBezTo>
                  <a:pt x="294" y="4"/>
                  <a:pt x="294" y="4"/>
                  <a:pt x="294" y="4"/>
                </a:cubicBezTo>
                <a:cubicBezTo>
                  <a:pt x="40" y="112"/>
                  <a:pt x="40" y="112"/>
                  <a:pt x="40" y="112"/>
                </a:cubicBezTo>
                <a:cubicBezTo>
                  <a:pt x="92" y="235"/>
                  <a:pt x="92" y="235"/>
                  <a:pt x="92" y="235"/>
                </a:cubicBezTo>
                <a:cubicBezTo>
                  <a:pt x="70" y="251"/>
                  <a:pt x="70" y="251"/>
                  <a:pt x="70" y="251"/>
                </a:cubicBezTo>
                <a:cubicBezTo>
                  <a:pt x="45" y="268"/>
                  <a:pt x="22" y="287"/>
                  <a:pt x="0" y="307"/>
                </a:cubicBezTo>
                <a:cubicBezTo>
                  <a:pt x="138" y="447"/>
                  <a:pt x="138" y="447"/>
                  <a:pt x="138" y="447"/>
                </a:cubicBezTo>
                <a:cubicBezTo>
                  <a:pt x="184" y="407"/>
                  <a:pt x="236" y="374"/>
                  <a:pt x="292" y="350"/>
                </a:cubicBezTo>
                <a:cubicBezTo>
                  <a:pt x="496" y="263"/>
                  <a:pt x="731" y="302"/>
                  <a:pt x="896" y="447"/>
                </a:cubicBezTo>
                <a:lnTo>
                  <a:pt x="1035" y="30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11238203" y="6181206"/>
            <a:ext cx="1621766" cy="1494024"/>
            <a:chOff x="3175" y="0"/>
            <a:chExt cx="2317750" cy="2135188"/>
          </a:xfrm>
          <a:solidFill>
            <a:schemeClr val="tx1">
              <a:lumMod val="75000"/>
            </a:schemeClr>
          </a:solidFill>
        </p:grpSpPr>
        <p:sp>
          <p:nvSpPr>
            <p:cNvPr id="18" name="Oval 16"/>
            <p:cNvSpPr>
              <a:spLocks noChangeArrowheads="1"/>
            </p:cNvSpPr>
            <p:nvPr/>
          </p:nvSpPr>
          <p:spPr bwMode="auto">
            <a:xfrm>
              <a:off x="1331913" y="0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30175" y="430213"/>
              <a:ext cx="2190750" cy="1704975"/>
            </a:xfrm>
            <a:custGeom>
              <a:avLst/>
              <a:gdLst>
                <a:gd name="T0" fmla="*/ 1107 w 1380"/>
                <a:gd name="T1" fmla="*/ 220 h 1074"/>
                <a:gd name="T2" fmla="*/ 954 w 1380"/>
                <a:gd name="T3" fmla="*/ 101 h 1074"/>
                <a:gd name="T4" fmla="*/ 697 w 1380"/>
                <a:gd name="T5" fmla="*/ 0 h 1074"/>
                <a:gd name="T6" fmla="*/ 378 w 1380"/>
                <a:gd name="T7" fmla="*/ 0 h 1074"/>
                <a:gd name="T8" fmla="*/ 225 w 1380"/>
                <a:gd name="T9" fmla="*/ 344 h 1074"/>
                <a:gd name="T10" fmla="*/ 185 w 1380"/>
                <a:gd name="T11" fmla="*/ 328 h 1074"/>
                <a:gd name="T12" fmla="*/ 169 w 1380"/>
                <a:gd name="T13" fmla="*/ 366 h 1074"/>
                <a:gd name="T14" fmla="*/ 163 w 1380"/>
                <a:gd name="T15" fmla="*/ 382 h 1074"/>
                <a:gd name="T16" fmla="*/ 157 w 1380"/>
                <a:gd name="T17" fmla="*/ 397 h 1074"/>
                <a:gd name="T18" fmla="*/ 109 w 1380"/>
                <a:gd name="T19" fmla="*/ 376 h 1074"/>
                <a:gd name="T20" fmla="*/ 0 w 1380"/>
                <a:gd name="T21" fmla="*/ 638 h 1074"/>
                <a:gd name="T22" fmla="*/ 255 w 1380"/>
                <a:gd name="T23" fmla="*/ 744 h 1074"/>
                <a:gd name="T24" fmla="*/ 275 w 1380"/>
                <a:gd name="T25" fmla="*/ 754 h 1074"/>
                <a:gd name="T26" fmla="*/ 279 w 1380"/>
                <a:gd name="T27" fmla="*/ 742 h 1074"/>
                <a:gd name="T28" fmla="*/ 384 w 1380"/>
                <a:gd name="T29" fmla="*/ 491 h 1074"/>
                <a:gd name="T30" fmla="*/ 338 w 1380"/>
                <a:gd name="T31" fmla="*/ 473 h 1074"/>
                <a:gd name="T32" fmla="*/ 346 w 1380"/>
                <a:gd name="T33" fmla="*/ 457 h 1074"/>
                <a:gd name="T34" fmla="*/ 352 w 1380"/>
                <a:gd name="T35" fmla="*/ 443 h 1074"/>
                <a:gd name="T36" fmla="*/ 368 w 1380"/>
                <a:gd name="T37" fmla="*/ 405 h 1074"/>
                <a:gd name="T38" fmla="*/ 326 w 1380"/>
                <a:gd name="T39" fmla="*/ 387 h 1074"/>
                <a:gd name="T40" fmla="*/ 448 w 1380"/>
                <a:gd name="T41" fmla="*/ 109 h 1074"/>
                <a:gd name="T42" fmla="*/ 659 w 1380"/>
                <a:gd name="T43" fmla="*/ 109 h 1074"/>
                <a:gd name="T44" fmla="*/ 512 w 1380"/>
                <a:gd name="T45" fmla="*/ 509 h 1074"/>
                <a:gd name="T46" fmla="*/ 478 w 1380"/>
                <a:gd name="T47" fmla="*/ 728 h 1074"/>
                <a:gd name="T48" fmla="*/ 414 w 1380"/>
                <a:gd name="T49" fmla="*/ 732 h 1074"/>
                <a:gd name="T50" fmla="*/ 386 w 1380"/>
                <a:gd name="T51" fmla="*/ 801 h 1074"/>
                <a:gd name="T52" fmla="*/ 374 w 1380"/>
                <a:gd name="T53" fmla="*/ 829 h 1074"/>
                <a:gd name="T54" fmla="*/ 344 w 1380"/>
                <a:gd name="T55" fmla="*/ 817 h 1074"/>
                <a:gd name="T56" fmla="*/ 185 w 1380"/>
                <a:gd name="T57" fmla="*/ 750 h 1074"/>
                <a:gd name="T58" fmla="*/ 159 w 1380"/>
                <a:gd name="T59" fmla="*/ 752 h 1074"/>
                <a:gd name="T60" fmla="*/ 171 w 1380"/>
                <a:gd name="T61" fmla="*/ 895 h 1074"/>
                <a:gd name="T62" fmla="*/ 601 w 1380"/>
                <a:gd name="T63" fmla="*/ 863 h 1074"/>
                <a:gd name="T64" fmla="*/ 645 w 1380"/>
                <a:gd name="T65" fmla="*/ 602 h 1074"/>
                <a:gd name="T66" fmla="*/ 655 w 1380"/>
                <a:gd name="T67" fmla="*/ 610 h 1074"/>
                <a:gd name="T68" fmla="*/ 826 w 1380"/>
                <a:gd name="T69" fmla="*/ 736 h 1074"/>
                <a:gd name="T70" fmla="*/ 842 w 1380"/>
                <a:gd name="T71" fmla="*/ 1074 h 1074"/>
                <a:gd name="T72" fmla="*/ 986 w 1380"/>
                <a:gd name="T73" fmla="*/ 1066 h 1074"/>
                <a:gd name="T74" fmla="*/ 966 w 1380"/>
                <a:gd name="T75" fmla="*/ 660 h 1074"/>
                <a:gd name="T76" fmla="*/ 757 w 1380"/>
                <a:gd name="T77" fmla="*/ 505 h 1074"/>
                <a:gd name="T78" fmla="*/ 906 w 1380"/>
                <a:gd name="T79" fmla="*/ 200 h 1074"/>
                <a:gd name="T80" fmla="*/ 1111 w 1380"/>
                <a:gd name="T81" fmla="*/ 358 h 1074"/>
                <a:gd name="T82" fmla="*/ 1380 w 1380"/>
                <a:gd name="T83" fmla="*/ 125 h 1074"/>
                <a:gd name="T84" fmla="*/ 1310 w 1380"/>
                <a:gd name="T85" fmla="*/ 43 h 1074"/>
                <a:gd name="T86" fmla="*/ 1107 w 1380"/>
                <a:gd name="T87" fmla="*/ 220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80" h="1074">
                  <a:moveTo>
                    <a:pt x="1107" y="220"/>
                  </a:moveTo>
                  <a:lnTo>
                    <a:pt x="954" y="101"/>
                  </a:lnTo>
                  <a:lnTo>
                    <a:pt x="697" y="0"/>
                  </a:lnTo>
                  <a:lnTo>
                    <a:pt x="378" y="0"/>
                  </a:lnTo>
                  <a:lnTo>
                    <a:pt x="225" y="344"/>
                  </a:lnTo>
                  <a:lnTo>
                    <a:pt x="185" y="328"/>
                  </a:lnTo>
                  <a:lnTo>
                    <a:pt x="169" y="366"/>
                  </a:lnTo>
                  <a:lnTo>
                    <a:pt x="163" y="382"/>
                  </a:lnTo>
                  <a:lnTo>
                    <a:pt x="157" y="397"/>
                  </a:lnTo>
                  <a:lnTo>
                    <a:pt x="109" y="376"/>
                  </a:lnTo>
                  <a:lnTo>
                    <a:pt x="0" y="638"/>
                  </a:lnTo>
                  <a:lnTo>
                    <a:pt x="255" y="744"/>
                  </a:lnTo>
                  <a:lnTo>
                    <a:pt x="275" y="754"/>
                  </a:lnTo>
                  <a:lnTo>
                    <a:pt x="279" y="742"/>
                  </a:lnTo>
                  <a:lnTo>
                    <a:pt x="384" y="491"/>
                  </a:lnTo>
                  <a:lnTo>
                    <a:pt x="338" y="473"/>
                  </a:lnTo>
                  <a:lnTo>
                    <a:pt x="346" y="457"/>
                  </a:lnTo>
                  <a:lnTo>
                    <a:pt x="352" y="443"/>
                  </a:lnTo>
                  <a:lnTo>
                    <a:pt x="368" y="405"/>
                  </a:lnTo>
                  <a:lnTo>
                    <a:pt x="326" y="387"/>
                  </a:lnTo>
                  <a:lnTo>
                    <a:pt x="448" y="109"/>
                  </a:lnTo>
                  <a:lnTo>
                    <a:pt x="659" y="109"/>
                  </a:lnTo>
                  <a:lnTo>
                    <a:pt x="512" y="509"/>
                  </a:lnTo>
                  <a:lnTo>
                    <a:pt x="478" y="728"/>
                  </a:lnTo>
                  <a:lnTo>
                    <a:pt x="414" y="732"/>
                  </a:lnTo>
                  <a:lnTo>
                    <a:pt x="386" y="801"/>
                  </a:lnTo>
                  <a:lnTo>
                    <a:pt x="374" y="829"/>
                  </a:lnTo>
                  <a:lnTo>
                    <a:pt x="344" y="817"/>
                  </a:lnTo>
                  <a:lnTo>
                    <a:pt x="185" y="750"/>
                  </a:lnTo>
                  <a:lnTo>
                    <a:pt x="159" y="752"/>
                  </a:lnTo>
                  <a:lnTo>
                    <a:pt x="171" y="895"/>
                  </a:lnTo>
                  <a:lnTo>
                    <a:pt x="601" y="863"/>
                  </a:lnTo>
                  <a:lnTo>
                    <a:pt x="645" y="602"/>
                  </a:lnTo>
                  <a:lnTo>
                    <a:pt x="655" y="610"/>
                  </a:lnTo>
                  <a:lnTo>
                    <a:pt x="826" y="736"/>
                  </a:lnTo>
                  <a:lnTo>
                    <a:pt x="842" y="1074"/>
                  </a:lnTo>
                  <a:lnTo>
                    <a:pt x="986" y="1066"/>
                  </a:lnTo>
                  <a:lnTo>
                    <a:pt x="966" y="660"/>
                  </a:lnTo>
                  <a:lnTo>
                    <a:pt x="757" y="505"/>
                  </a:lnTo>
                  <a:lnTo>
                    <a:pt x="906" y="200"/>
                  </a:lnTo>
                  <a:lnTo>
                    <a:pt x="1111" y="358"/>
                  </a:lnTo>
                  <a:lnTo>
                    <a:pt x="1380" y="125"/>
                  </a:lnTo>
                  <a:lnTo>
                    <a:pt x="1310" y="43"/>
                  </a:lnTo>
                  <a:lnTo>
                    <a:pt x="110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3175" y="973138"/>
              <a:ext cx="242888" cy="447675"/>
            </a:xfrm>
            <a:custGeom>
              <a:avLst/>
              <a:gdLst>
                <a:gd name="T0" fmla="*/ 0 w 153"/>
                <a:gd name="T1" fmla="*/ 264 h 282"/>
                <a:gd name="T2" fmla="*/ 108 w 153"/>
                <a:gd name="T3" fmla="*/ 0 h 282"/>
                <a:gd name="T4" fmla="*/ 153 w 153"/>
                <a:gd name="T5" fmla="*/ 18 h 282"/>
                <a:gd name="T6" fmla="*/ 44 w 153"/>
                <a:gd name="T7" fmla="*/ 282 h 282"/>
                <a:gd name="T8" fmla="*/ 0 w 153"/>
                <a:gd name="T9" fmla="*/ 26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282">
                  <a:moveTo>
                    <a:pt x="0" y="264"/>
                  </a:moveTo>
                  <a:lnTo>
                    <a:pt x="108" y="0"/>
                  </a:lnTo>
                  <a:lnTo>
                    <a:pt x="153" y="18"/>
                  </a:lnTo>
                  <a:lnTo>
                    <a:pt x="44" y="282"/>
                  </a:lnTo>
                  <a:lnTo>
                    <a:pt x="0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625475" y="1235075"/>
              <a:ext cx="244475" cy="447675"/>
            </a:xfrm>
            <a:custGeom>
              <a:avLst/>
              <a:gdLst>
                <a:gd name="T0" fmla="*/ 66 w 154"/>
                <a:gd name="T1" fmla="*/ 229 h 282"/>
                <a:gd name="T2" fmla="*/ 154 w 154"/>
                <a:gd name="T3" fmla="*/ 18 h 282"/>
                <a:gd name="T4" fmla="*/ 110 w 154"/>
                <a:gd name="T5" fmla="*/ 0 h 282"/>
                <a:gd name="T6" fmla="*/ 12 w 154"/>
                <a:gd name="T7" fmla="*/ 233 h 282"/>
                <a:gd name="T8" fmla="*/ 0 w 154"/>
                <a:gd name="T9" fmla="*/ 262 h 282"/>
                <a:gd name="T10" fmla="*/ 46 w 154"/>
                <a:gd name="T11" fmla="*/ 282 h 282"/>
                <a:gd name="T12" fmla="*/ 66 w 154"/>
                <a:gd name="T13" fmla="*/ 229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282">
                  <a:moveTo>
                    <a:pt x="66" y="229"/>
                  </a:moveTo>
                  <a:lnTo>
                    <a:pt x="154" y="18"/>
                  </a:lnTo>
                  <a:lnTo>
                    <a:pt x="110" y="0"/>
                  </a:lnTo>
                  <a:lnTo>
                    <a:pt x="12" y="233"/>
                  </a:lnTo>
                  <a:lnTo>
                    <a:pt x="0" y="262"/>
                  </a:lnTo>
                  <a:lnTo>
                    <a:pt x="46" y="282"/>
                  </a:lnTo>
                  <a:lnTo>
                    <a:pt x="66" y="2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11222711" y="7851418"/>
            <a:ext cx="18904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901289" y="8337646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25" name="Title 1"/>
          <p:cNvSpPr txBox="1"/>
          <p:nvPr/>
        </p:nvSpPr>
        <p:spPr>
          <a:xfrm>
            <a:off x="16991963" y="3671126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26" name="Details 1"/>
          <p:cNvSpPr txBox="1"/>
          <p:nvPr/>
        </p:nvSpPr>
        <p:spPr>
          <a:xfrm>
            <a:off x="16991963" y="4117105"/>
            <a:ext cx="5734714" cy="2249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27" name="Title 1"/>
          <p:cNvSpPr txBox="1"/>
          <p:nvPr/>
        </p:nvSpPr>
        <p:spPr>
          <a:xfrm>
            <a:off x="2100447" y="3746586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28" name="Details 1"/>
          <p:cNvSpPr txBox="1"/>
          <p:nvPr/>
        </p:nvSpPr>
        <p:spPr>
          <a:xfrm>
            <a:off x="1617231" y="4192565"/>
            <a:ext cx="5734714" cy="2249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29" name="Title 1"/>
          <p:cNvSpPr txBox="1"/>
          <p:nvPr/>
        </p:nvSpPr>
        <p:spPr>
          <a:xfrm>
            <a:off x="16991963" y="8816938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30" name="Details 1"/>
          <p:cNvSpPr txBox="1"/>
          <p:nvPr/>
        </p:nvSpPr>
        <p:spPr>
          <a:xfrm>
            <a:off x="16991963" y="9262917"/>
            <a:ext cx="5734714" cy="2249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31" name="Title 1"/>
          <p:cNvSpPr txBox="1"/>
          <p:nvPr/>
        </p:nvSpPr>
        <p:spPr>
          <a:xfrm>
            <a:off x="2100447" y="8758152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32" name="Details 1"/>
          <p:cNvSpPr txBox="1"/>
          <p:nvPr/>
        </p:nvSpPr>
        <p:spPr>
          <a:xfrm>
            <a:off x="1617231" y="9204131"/>
            <a:ext cx="5734714" cy="2249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33" name="Title 1"/>
          <p:cNvSpPr txBox="1"/>
          <p:nvPr/>
        </p:nvSpPr>
        <p:spPr>
          <a:xfrm>
            <a:off x="8178329" y="6092091"/>
            <a:ext cx="1005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/>
            <a:r>
              <a:rPr lang="en-US" sz="3600" b="1" kern="1200" dirty="0">
                <a:solidFill>
                  <a:srgbClr val="FFFFFF"/>
                </a:solidFill>
                <a:latin typeface="Poppins"/>
              </a:rPr>
              <a:t>01</a:t>
            </a:r>
            <a:endParaRPr lang="id-ID" sz="3600" b="1" kern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4" name="Title 1"/>
          <p:cNvSpPr txBox="1"/>
          <p:nvPr/>
        </p:nvSpPr>
        <p:spPr>
          <a:xfrm>
            <a:off x="12948067" y="4188819"/>
            <a:ext cx="1005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/>
            <a:r>
              <a:rPr lang="en-US" sz="3600" b="1" kern="1200" dirty="0">
                <a:solidFill>
                  <a:srgbClr val="FFFFFF"/>
                </a:solidFill>
                <a:latin typeface="Poppins"/>
              </a:rPr>
              <a:t>02</a:t>
            </a:r>
            <a:endParaRPr lang="id-ID" sz="3600" b="1" kern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5" name="Title 1"/>
          <p:cNvSpPr txBox="1"/>
          <p:nvPr/>
        </p:nvSpPr>
        <p:spPr>
          <a:xfrm>
            <a:off x="14886265" y="8773105"/>
            <a:ext cx="1005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/>
            <a:r>
              <a:rPr lang="en-US" sz="3600" b="1" kern="1200" dirty="0">
                <a:solidFill>
                  <a:srgbClr val="FFFFFF"/>
                </a:solidFill>
                <a:latin typeface="Poppins"/>
              </a:rPr>
              <a:t>03</a:t>
            </a:r>
            <a:endParaRPr lang="id-ID" sz="3600" b="1" kern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6" name="Title 1"/>
          <p:cNvSpPr txBox="1"/>
          <p:nvPr/>
        </p:nvSpPr>
        <p:spPr>
          <a:xfrm>
            <a:off x="10284665" y="10820629"/>
            <a:ext cx="1005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828800" rtl="0"/>
            <a:r>
              <a:rPr lang="en-US" sz="3600" b="1" kern="1200" dirty="0">
                <a:solidFill>
                  <a:srgbClr val="FFFFFF"/>
                </a:solidFill>
                <a:latin typeface="Poppins"/>
              </a:rPr>
              <a:t>04</a:t>
            </a:r>
            <a:endParaRPr lang="id-ID" sz="3600" b="1" kern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7" name="Freeform 31"/>
          <p:cNvSpPr>
            <a:spLocks noEditPoints="1"/>
          </p:cNvSpPr>
          <p:nvPr/>
        </p:nvSpPr>
        <p:spPr bwMode="auto">
          <a:xfrm>
            <a:off x="10350499" y="4049090"/>
            <a:ext cx="658070" cy="588980"/>
          </a:xfrm>
          <a:custGeom>
            <a:avLst/>
            <a:gdLst>
              <a:gd name="T0" fmla="*/ 24 w 161"/>
              <a:gd name="T1" fmla="*/ 91 h 144"/>
              <a:gd name="T2" fmla="*/ 65 w 161"/>
              <a:gd name="T3" fmla="*/ 91 h 144"/>
              <a:gd name="T4" fmla="*/ 65 w 161"/>
              <a:gd name="T5" fmla="*/ 105 h 144"/>
              <a:gd name="T6" fmla="*/ 61 w 161"/>
              <a:gd name="T7" fmla="*/ 105 h 144"/>
              <a:gd name="T8" fmla="*/ 60 w 161"/>
              <a:gd name="T9" fmla="*/ 110 h 144"/>
              <a:gd name="T10" fmla="*/ 59 w 161"/>
              <a:gd name="T11" fmla="*/ 112 h 144"/>
              <a:gd name="T12" fmla="*/ 60 w 161"/>
              <a:gd name="T13" fmla="*/ 114 h 144"/>
              <a:gd name="T14" fmla="*/ 61 w 161"/>
              <a:gd name="T15" fmla="*/ 118 h 144"/>
              <a:gd name="T16" fmla="*/ 60 w 161"/>
              <a:gd name="T17" fmla="*/ 123 h 144"/>
              <a:gd name="T18" fmla="*/ 59 w 161"/>
              <a:gd name="T19" fmla="*/ 125 h 144"/>
              <a:gd name="T20" fmla="*/ 60 w 161"/>
              <a:gd name="T21" fmla="*/ 127 h 144"/>
              <a:gd name="T22" fmla="*/ 61 w 161"/>
              <a:gd name="T23" fmla="*/ 131 h 144"/>
              <a:gd name="T24" fmla="*/ 60 w 161"/>
              <a:gd name="T25" fmla="*/ 136 h 144"/>
              <a:gd name="T26" fmla="*/ 59 w 161"/>
              <a:gd name="T27" fmla="*/ 138 h 144"/>
              <a:gd name="T28" fmla="*/ 60 w 161"/>
              <a:gd name="T29" fmla="*/ 140 h 144"/>
              <a:gd name="T30" fmla="*/ 61 w 161"/>
              <a:gd name="T31" fmla="*/ 144 h 144"/>
              <a:gd name="T32" fmla="*/ 31 w 161"/>
              <a:gd name="T33" fmla="*/ 144 h 144"/>
              <a:gd name="T34" fmla="*/ 31 w 161"/>
              <a:gd name="T35" fmla="*/ 105 h 144"/>
              <a:gd name="T36" fmla="*/ 24 w 161"/>
              <a:gd name="T37" fmla="*/ 105 h 144"/>
              <a:gd name="T38" fmla="*/ 24 w 161"/>
              <a:gd name="T39" fmla="*/ 91 h 144"/>
              <a:gd name="T40" fmla="*/ 7 w 161"/>
              <a:gd name="T41" fmla="*/ 39 h 144"/>
              <a:gd name="T42" fmla="*/ 0 w 161"/>
              <a:gd name="T43" fmla="*/ 46 h 144"/>
              <a:gd name="T44" fmla="*/ 0 w 161"/>
              <a:gd name="T45" fmla="*/ 76 h 144"/>
              <a:gd name="T46" fmla="*/ 7 w 161"/>
              <a:gd name="T47" fmla="*/ 82 h 144"/>
              <a:gd name="T48" fmla="*/ 15 w 161"/>
              <a:gd name="T49" fmla="*/ 82 h 144"/>
              <a:gd name="T50" fmla="*/ 15 w 161"/>
              <a:gd name="T51" fmla="*/ 39 h 144"/>
              <a:gd name="T52" fmla="*/ 7 w 161"/>
              <a:gd name="T53" fmla="*/ 39 h 144"/>
              <a:gd name="T54" fmla="*/ 75 w 161"/>
              <a:gd name="T55" fmla="*/ 37 h 144"/>
              <a:gd name="T56" fmla="*/ 75 w 161"/>
              <a:gd name="T57" fmla="*/ 85 h 144"/>
              <a:gd name="T58" fmla="*/ 20 w 161"/>
              <a:gd name="T59" fmla="*/ 85 h 144"/>
              <a:gd name="T60" fmla="*/ 20 w 161"/>
              <a:gd name="T61" fmla="*/ 37 h 144"/>
              <a:gd name="T62" fmla="*/ 75 w 161"/>
              <a:gd name="T63" fmla="*/ 37 h 144"/>
              <a:gd name="T64" fmla="*/ 55 w 161"/>
              <a:gd name="T65" fmla="*/ 44 h 144"/>
              <a:gd name="T66" fmla="*/ 33 w 161"/>
              <a:gd name="T67" fmla="*/ 44 h 144"/>
              <a:gd name="T68" fmla="*/ 33 w 161"/>
              <a:gd name="T69" fmla="*/ 51 h 144"/>
              <a:gd name="T70" fmla="*/ 55 w 161"/>
              <a:gd name="T71" fmla="*/ 51 h 144"/>
              <a:gd name="T72" fmla="*/ 55 w 161"/>
              <a:gd name="T73" fmla="*/ 44 h 144"/>
              <a:gd name="T74" fmla="*/ 152 w 161"/>
              <a:gd name="T75" fmla="*/ 0 h 144"/>
              <a:gd name="T76" fmla="*/ 152 w 161"/>
              <a:gd name="T77" fmla="*/ 122 h 144"/>
              <a:gd name="T78" fmla="*/ 161 w 161"/>
              <a:gd name="T79" fmla="*/ 122 h 144"/>
              <a:gd name="T80" fmla="*/ 161 w 161"/>
              <a:gd name="T81" fmla="*/ 0 h 144"/>
              <a:gd name="T82" fmla="*/ 152 w 161"/>
              <a:gd name="T83" fmla="*/ 0 h 144"/>
              <a:gd name="T84" fmla="*/ 79 w 161"/>
              <a:gd name="T85" fmla="*/ 37 h 144"/>
              <a:gd name="T86" fmla="*/ 79 w 161"/>
              <a:gd name="T87" fmla="*/ 85 h 144"/>
              <a:gd name="T88" fmla="*/ 145 w 161"/>
              <a:gd name="T89" fmla="*/ 122 h 144"/>
              <a:gd name="T90" fmla="*/ 145 w 161"/>
              <a:gd name="T91" fmla="*/ 0 h 144"/>
              <a:gd name="T92" fmla="*/ 79 w 161"/>
              <a:gd name="T93" fmla="*/ 3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1" h="144">
                <a:moveTo>
                  <a:pt x="24" y="91"/>
                </a:moveTo>
                <a:cubicBezTo>
                  <a:pt x="65" y="91"/>
                  <a:pt x="65" y="91"/>
                  <a:pt x="65" y="91"/>
                </a:cubicBezTo>
                <a:cubicBezTo>
                  <a:pt x="65" y="105"/>
                  <a:pt x="65" y="105"/>
                  <a:pt x="65" y="105"/>
                </a:cubicBezTo>
                <a:cubicBezTo>
                  <a:pt x="61" y="105"/>
                  <a:pt x="61" y="105"/>
                  <a:pt x="61" y="105"/>
                </a:cubicBezTo>
                <a:cubicBezTo>
                  <a:pt x="61" y="108"/>
                  <a:pt x="60" y="109"/>
                  <a:pt x="60" y="110"/>
                </a:cubicBezTo>
                <a:cubicBezTo>
                  <a:pt x="59" y="110"/>
                  <a:pt x="59" y="111"/>
                  <a:pt x="59" y="112"/>
                </a:cubicBezTo>
                <a:cubicBezTo>
                  <a:pt x="59" y="113"/>
                  <a:pt x="59" y="113"/>
                  <a:pt x="60" y="114"/>
                </a:cubicBezTo>
                <a:cubicBezTo>
                  <a:pt x="60" y="115"/>
                  <a:pt x="61" y="116"/>
                  <a:pt x="61" y="118"/>
                </a:cubicBezTo>
                <a:cubicBezTo>
                  <a:pt x="61" y="121"/>
                  <a:pt x="60" y="122"/>
                  <a:pt x="60" y="123"/>
                </a:cubicBezTo>
                <a:cubicBezTo>
                  <a:pt x="59" y="123"/>
                  <a:pt x="59" y="124"/>
                  <a:pt x="59" y="125"/>
                </a:cubicBezTo>
                <a:cubicBezTo>
                  <a:pt x="59" y="126"/>
                  <a:pt x="59" y="126"/>
                  <a:pt x="60" y="127"/>
                </a:cubicBezTo>
                <a:cubicBezTo>
                  <a:pt x="60" y="128"/>
                  <a:pt x="61" y="129"/>
                  <a:pt x="61" y="131"/>
                </a:cubicBezTo>
                <a:cubicBezTo>
                  <a:pt x="61" y="134"/>
                  <a:pt x="60" y="135"/>
                  <a:pt x="60" y="136"/>
                </a:cubicBezTo>
                <a:cubicBezTo>
                  <a:pt x="59" y="136"/>
                  <a:pt x="59" y="137"/>
                  <a:pt x="59" y="138"/>
                </a:cubicBezTo>
                <a:cubicBezTo>
                  <a:pt x="59" y="139"/>
                  <a:pt x="59" y="139"/>
                  <a:pt x="60" y="140"/>
                </a:cubicBezTo>
                <a:cubicBezTo>
                  <a:pt x="60" y="141"/>
                  <a:pt x="61" y="142"/>
                  <a:pt x="61" y="144"/>
                </a:cubicBezTo>
                <a:cubicBezTo>
                  <a:pt x="31" y="144"/>
                  <a:pt x="31" y="144"/>
                  <a:pt x="31" y="144"/>
                </a:cubicBezTo>
                <a:cubicBezTo>
                  <a:pt x="31" y="105"/>
                  <a:pt x="31" y="105"/>
                  <a:pt x="31" y="105"/>
                </a:cubicBezTo>
                <a:cubicBezTo>
                  <a:pt x="24" y="105"/>
                  <a:pt x="24" y="105"/>
                  <a:pt x="24" y="105"/>
                </a:cubicBezTo>
                <a:lnTo>
                  <a:pt x="24" y="91"/>
                </a:lnTo>
                <a:close/>
                <a:moveTo>
                  <a:pt x="7" y="39"/>
                </a:moveTo>
                <a:cubicBezTo>
                  <a:pt x="3" y="39"/>
                  <a:pt x="0" y="43"/>
                  <a:pt x="0" y="46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9"/>
                  <a:pt x="3" y="82"/>
                  <a:pt x="7" y="82"/>
                </a:cubicBezTo>
                <a:cubicBezTo>
                  <a:pt x="15" y="82"/>
                  <a:pt x="15" y="82"/>
                  <a:pt x="15" y="82"/>
                </a:cubicBezTo>
                <a:cubicBezTo>
                  <a:pt x="15" y="39"/>
                  <a:pt x="15" y="39"/>
                  <a:pt x="15" y="39"/>
                </a:cubicBezTo>
                <a:lnTo>
                  <a:pt x="7" y="39"/>
                </a:lnTo>
                <a:close/>
                <a:moveTo>
                  <a:pt x="75" y="37"/>
                </a:moveTo>
                <a:cubicBezTo>
                  <a:pt x="75" y="85"/>
                  <a:pt x="75" y="85"/>
                  <a:pt x="75" y="85"/>
                </a:cubicBezTo>
                <a:cubicBezTo>
                  <a:pt x="20" y="85"/>
                  <a:pt x="20" y="85"/>
                  <a:pt x="20" y="85"/>
                </a:cubicBezTo>
                <a:cubicBezTo>
                  <a:pt x="20" y="37"/>
                  <a:pt x="20" y="37"/>
                  <a:pt x="20" y="37"/>
                </a:cubicBezTo>
                <a:lnTo>
                  <a:pt x="75" y="37"/>
                </a:lnTo>
                <a:close/>
                <a:moveTo>
                  <a:pt x="55" y="44"/>
                </a:moveTo>
                <a:cubicBezTo>
                  <a:pt x="33" y="44"/>
                  <a:pt x="33" y="44"/>
                  <a:pt x="33" y="44"/>
                </a:cubicBezTo>
                <a:cubicBezTo>
                  <a:pt x="33" y="51"/>
                  <a:pt x="33" y="51"/>
                  <a:pt x="33" y="51"/>
                </a:cubicBezTo>
                <a:cubicBezTo>
                  <a:pt x="55" y="51"/>
                  <a:pt x="55" y="51"/>
                  <a:pt x="55" y="51"/>
                </a:cubicBezTo>
                <a:lnTo>
                  <a:pt x="55" y="44"/>
                </a:lnTo>
                <a:close/>
                <a:moveTo>
                  <a:pt x="152" y="0"/>
                </a:moveTo>
                <a:cubicBezTo>
                  <a:pt x="152" y="122"/>
                  <a:pt x="152" y="122"/>
                  <a:pt x="152" y="122"/>
                </a:cubicBezTo>
                <a:cubicBezTo>
                  <a:pt x="161" y="122"/>
                  <a:pt x="161" y="122"/>
                  <a:pt x="161" y="122"/>
                </a:cubicBezTo>
                <a:cubicBezTo>
                  <a:pt x="161" y="0"/>
                  <a:pt x="161" y="0"/>
                  <a:pt x="161" y="0"/>
                </a:cubicBezTo>
                <a:lnTo>
                  <a:pt x="152" y="0"/>
                </a:lnTo>
                <a:close/>
                <a:moveTo>
                  <a:pt x="79" y="37"/>
                </a:moveTo>
                <a:cubicBezTo>
                  <a:pt x="79" y="85"/>
                  <a:pt x="79" y="85"/>
                  <a:pt x="79" y="85"/>
                </a:cubicBezTo>
                <a:cubicBezTo>
                  <a:pt x="145" y="122"/>
                  <a:pt x="145" y="122"/>
                  <a:pt x="145" y="122"/>
                </a:cubicBezTo>
                <a:cubicBezTo>
                  <a:pt x="145" y="0"/>
                  <a:pt x="145" y="0"/>
                  <a:pt x="145" y="0"/>
                </a:cubicBezTo>
                <a:lnTo>
                  <a:pt x="79" y="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8" name="Freeform 52"/>
          <p:cNvSpPr>
            <a:spLocks noEditPoints="1"/>
          </p:cNvSpPr>
          <p:nvPr/>
        </p:nvSpPr>
        <p:spPr bwMode="auto">
          <a:xfrm>
            <a:off x="8452850" y="8887741"/>
            <a:ext cx="575580" cy="719858"/>
          </a:xfrm>
          <a:custGeom>
            <a:avLst/>
            <a:gdLst>
              <a:gd name="T0" fmla="*/ 154 w 159"/>
              <a:gd name="T1" fmla="*/ 18 h 198"/>
              <a:gd name="T2" fmla="*/ 141 w 159"/>
              <a:gd name="T3" fmla="*/ 19 h 198"/>
              <a:gd name="T4" fmla="*/ 82 w 159"/>
              <a:gd name="T5" fmla="*/ 2 h 198"/>
              <a:gd name="T6" fmla="*/ 79 w 159"/>
              <a:gd name="T7" fmla="*/ 0 h 198"/>
              <a:gd name="T8" fmla="*/ 77 w 159"/>
              <a:gd name="T9" fmla="*/ 2 h 198"/>
              <a:gd name="T10" fmla="*/ 18 w 159"/>
              <a:gd name="T11" fmla="*/ 19 h 198"/>
              <a:gd name="T12" fmla="*/ 4 w 159"/>
              <a:gd name="T13" fmla="*/ 18 h 198"/>
              <a:gd name="T14" fmla="*/ 0 w 159"/>
              <a:gd name="T15" fmla="*/ 18 h 198"/>
              <a:gd name="T16" fmla="*/ 0 w 159"/>
              <a:gd name="T17" fmla="*/ 129 h 198"/>
              <a:gd name="T18" fmla="*/ 52 w 159"/>
              <a:gd name="T19" fmla="*/ 180 h 198"/>
              <a:gd name="T20" fmla="*/ 76 w 159"/>
              <a:gd name="T21" fmla="*/ 195 h 198"/>
              <a:gd name="T22" fmla="*/ 79 w 159"/>
              <a:gd name="T23" fmla="*/ 198 h 198"/>
              <a:gd name="T24" fmla="*/ 82 w 159"/>
              <a:gd name="T25" fmla="*/ 195 h 198"/>
              <a:gd name="T26" fmla="*/ 106 w 159"/>
              <a:gd name="T27" fmla="*/ 180 h 198"/>
              <a:gd name="T28" fmla="*/ 159 w 159"/>
              <a:gd name="T29" fmla="*/ 129 h 198"/>
              <a:gd name="T30" fmla="*/ 159 w 159"/>
              <a:gd name="T31" fmla="*/ 18 h 198"/>
              <a:gd name="T32" fmla="*/ 154 w 159"/>
              <a:gd name="T33" fmla="*/ 18 h 198"/>
              <a:gd name="T34" fmla="*/ 149 w 159"/>
              <a:gd name="T35" fmla="*/ 129 h 198"/>
              <a:gd name="T36" fmla="*/ 103 w 159"/>
              <a:gd name="T37" fmla="*/ 170 h 198"/>
              <a:gd name="T38" fmla="*/ 79 w 159"/>
              <a:gd name="T39" fmla="*/ 184 h 198"/>
              <a:gd name="T40" fmla="*/ 56 w 159"/>
              <a:gd name="T41" fmla="*/ 170 h 198"/>
              <a:gd name="T42" fmla="*/ 10 w 159"/>
              <a:gd name="T43" fmla="*/ 129 h 198"/>
              <a:gd name="T44" fmla="*/ 10 w 159"/>
              <a:gd name="T45" fmla="*/ 29 h 198"/>
              <a:gd name="T46" fmla="*/ 79 w 159"/>
              <a:gd name="T47" fmla="*/ 13 h 198"/>
              <a:gd name="T48" fmla="*/ 149 w 159"/>
              <a:gd name="T49" fmla="*/ 29 h 198"/>
              <a:gd name="T50" fmla="*/ 149 w 159"/>
              <a:gd name="T51" fmla="*/ 129 h 198"/>
              <a:gd name="T52" fmla="*/ 79 w 159"/>
              <a:gd name="T53" fmla="*/ 20 h 198"/>
              <a:gd name="T54" fmla="*/ 143 w 159"/>
              <a:gd name="T55" fmla="*/ 35 h 198"/>
              <a:gd name="T56" fmla="*/ 143 w 159"/>
              <a:gd name="T57" fmla="*/ 129 h 198"/>
              <a:gd name="T58" fmla="*/ 101 w 159"/>
              <a:gd name="T59" fmla="*/ 165 h 198"/>
              <a:gd name="T60" fmla="*/ 79 w 159"/>
              <a:gd name="T61" fmla="*/ 176 h 198"/>
              <a:gd name="T62" fmla="*/ 79 w 159"/>
              <a:gd name="T63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9" h="198">
                <a:moveTo>
                  <a:pt x="154" y="18"/>
                </a:moveTo>
                <a:cubicBezTo>
                  <a:pt x="150" y="19"/>
                  <a:pt x="145" y="19"/>
                  <a:pt x="141" y="19"/>
                </a:cubicBezTo>
                <a:cubicBezTo>
                  <a:pt x="117" y="19"/>
                  <a:pt x="95" y="13"/>
                  <a:pt x="82" y="2"/>
                </a:cubicBezTo>
                <a:cubicBezTo>
                  <a:pt x="79" y="0"/>
                  <a:pt x="79" y="0"/>
                  <a:pt x="79" y="0"/>
                </a:cubicBezTo>
                <a:cubicBezTo>
                  <a:pt x="77" y="2"/>
                  <a:pt x="77" y="2"/>
                  <a:pt x="77" y="2"/>
                </a:cubicBezTo>
                <a:cubicBezTo>
                  <a:pt x="63" y="13"/>
                  <a:pt x="41" y="19"/>
                  <a:pt x="18" y="19"/>
                </a:cubicBezTo>
                <a:cubicBezTo>
                  <a:pt x="13" y="19"/>
                  <a:pt x="9" y="19"/>
                  <a:pt x="4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61"/>
                  <a:pt x="29" y="171"/>
                  <a:pt x="52" y="180"/>
                </a:cubicBezTo>
                <a:cubicBezTo>
                  <a:pt x="68" y="185"/>
                  <a:pt x="76" y="194"/>
                  <a:pt x="76" y="195"/>
                </a:cubicBezTo>
                <a:cubicBezTo>
                  <a:pt x="79" y="198"/>
                  <a:pt x="79" y="198"/>
                  <a:pt x="79" y="198"/>
                </a:cubicBezTo>
                <a:cubicBezTo>
                  <a:pt x="82" y="195"/>
                  <a:pt x="82" y="195"/>
                  <a:pt x="82" y="195"/>
                </a:cubicBezTo>
                <a:cubicBezTo>
                  <a:pt x="83" y="194"/>
                  <a:pt x="91" y="186"/>
                  <a:pt x="106" y="180"/>
                </a:cubicBezTo>
                <a:cubicBezTo>
                  <a:pt x="130" y="171"/>
                  <a:pt x="159" y="161"/>
                  <a:pt x="159" y="129"/>
                </a:cubicBezTo>
                <a:cubicBezTo>
                  <a:pt x="159" y="18"/>
                  <a:pt x="159" y="18"/>
                  <a:pt x="159" y="18"/>
                </a:cubicBezTo>
                <a:lnTo>
                  <a:pt x="154" y="18"/>
                </a:lnTo>
                <a:close/>
                <a:moveTo>
                  <a:pt x="149" y="129"/>
                </a:moveTo>
                <a:cubicBezTo>
                  <a:pt x="149" y="152"/>
                  <a:pt x="130" y="161"/>
                  <a:pt x="103" y="170"/>
                </a:cubicBezTo>
                <a:cubicBezTo>
                  <a:pt x="92" y="175"/>
                  <a:pt x="84" y="180"/>
                  <a:pt x="79" y="184"/>
                </a:cubicBezTo>
                <a:cubicBezTo>
                  <a:pt x="75" y="180"/>
                  <a:pt x="67" y="175"/>
                  <a:pt x="56" y="170"/>
                </a:cubicBezTo>
                <a:cubicBezTo>
                  <a:pt x="29" y="161"/>
                  <a:pt x="10" y="152"/>
                  <a:pt x="10" y="129"/>
                </a:cubicBezTo>
                <a:cubicBezTo>
                  <a:pt x="10" y="29"/>
                  <a:pt x="10" y="29"/>
                  <a:pt x="10" y="29"/>
                </a:cubicBezTo>
                <a:cubicBezTo>
                  <a:pt x="37" y="30"/>
                  <a:pt x="62" y="24"/>
                  <a:pt x="79" y="13"/>
                </a:cubicBezTo>
                <a:cubicBezTo>
                  <a:pt x="96" y="24"/>
                  <a:pt x="122" y="30"/>
                  <a:pt x="149" y="29"/>
                </a:cubicBezTo>
                <a:lnTo>
                  <a:pt x="149" y="129"/>
                </a:lnTo>
                <a:close/>
                <a:moveTo>
                  <a:pt x="79" y="20"/>
                </a:moveTo>
                <a:cubicBezTo>
                  <a:pt x="96" y="30"/>
                  <a:pt x="119" y="35"/>
                  <a:pt x="143" y="35"/>
                </a:cubicBezTo>
                <a:cubicBezTo>
                  <a:pt x="143" y="129"/>
                  <a:pt x="143" y="129"/>
                  <a:pt x="143" y="129"/>
                </a:cubicBezTo>
                <a:cubicBezTo>
                  <a:pt x="143" y="147"/>
                  <a:pt x="130" y="154"/>
                  <a:pt x="101" y="165"/>
                </a:cubicBezTo>
                <a:cubicBezTo>
                  <a:pt x="92" y="168"/>
                  <a:pt x="84" y="173"/>
                  <a:pt x="79" y="176"/>
                </a:cubicBezTo>
                <a:lnTo>
                  <a:pt x="79" y="2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9" name="Freeform 55"/>
          <p:cNvSpPr>
            <a:spLocks noEditPoints="1"/>
          </p:cNvSpPr>
          <p:nvPr/>
        </p:nvSpPr>
        <p:spPr bwMode="auto">
          <a:xfrm>
            <a:off x="13437835" y="10922823"/>
            <a:ext cx="600182" cy="551270"/>
          </a:xfrm>
          <a:custGeom>
            <a:avLst/>
            <a:gdLst>
              <a:gd name="T0" fmla="*/ 153 w 192"/>
              <a:gd name="T1" fmla="*/ 6 h 176"/>
              <a:gd name="T2" fmla="*/ 151 w 192"/>
              <a:gd name="T3" fmla="*/ 3 h 176"/>
              <a:gd name="T4" fmla="*/ 147 w 192"/>
              <a:gd name="T5" fmla="*/ 0 h 176"/>
              <a:gd name="T6" fmla="*/ 44 w 192"/>
              <a:gd name="T7" fmla="*/ 0 h 176"/>
              <a:gd name="T8" fmla="*/ 41 w 192"/>
              <a:gd name="T9" fmla="*/ 6 h 176"/>
              <a:gd name="T10" fmla="*/ 39 w 192"/>
              <a:gd name="T11" fmla="*/ 12 h 176"/>
              <a:gd name="T12" fmla="*/ 0 w 192"/>
              <a:gd name="T13" fmla="*/ 53 h 176"/>
              <a:gd name="T14" fmla="*/ 66 w 192"/>
              <a:gd name="T15" fmla="*/ 100 h 176"/>
              <a:gd name="T16" fmla="*/ 89 w 192"/>
              <a:gd name="T17" fmla="*/ 118 h 176"/>
              <a:gd name="T18" fmla="*/ 86 w 192"/>
              <a:gd name="T19" fmla="*/ 129 h 176"/>
              <a:gd name="T20" fmla="*/ 89 w 192"/>
              <a:gd name="T21" fmla="*/ 132 h 176"/>
              <a:gd name="T22" fmla="*/ 70 w 192"/>
              <a:gd name="T23" fmla="*/ 166 h 176"/>
              <a:gd name="T24" fmla="*/ 58 w 192"/>
              <a:gd name="T25" fmla="*/ 167 h 176"/>
              <a:gd name="T26" fmla="*/ 55 w 192"/>
              <a:gd name="T27" fmla="*/ 168 h 176"/>
              <a:gd name="T28" fmla="*/ 53 w 192"/>
              <a:gd name="T29" fmla="*/ 175 h 176"/>
              <a:gd name="T30" fmla="*/ 137 w 192"/>
              <a:gd name="T31" fmla="*/ 176 h 176"/>
              <a:gd name="T32" fmla="*/ 138 w 192"/>
              <a:gd name="T33" fmla="*/ 170 h 176"/>
              <a:gd name="T34" fmla="*/ 134 w 192"/>
              <a:gd name="T35" fmla="*/ 168 h 176"/>
              <a:gd name="T36" fmla="*/ 132 w 192"/>
              <a:gd name="T37" fmla="*/ 166 h 176"/>
              <a:gd name="T38" fmla="*/ 103 w 192"/>
              <a:gd name="T39" fmla="*/ 145 h 176"/>
              <a:gd name="T40" fmla="*/ 103 w 192"/>
              <a:gd name="T41" fmla="*/ 132 h 176"/>
              <a:gd name="T42" fmla="*/ 106 w 192"/>
              <a:gd name="T43" fmla="*/ 121 h 176"/>
              <a:gd name="T44" fmla="*/ 103 w 192"/>
              <a:gd name="T45" fmla="*/ 118 h 176"/>
              <a:gd name="T46" fmla="*/ 147 w 192"/>
              <a:gd name="T47" fmla="*/ 96 h 176"/>
              <a:gd name="T48" fmla="*/ 192 w 192"/>
              <a:gd name="T49" fmla="*/ 12 h 176"/>
              <a:gd name="T50" fmla="*/ 48 w 192"/>
              <a:gd name="T51" fmla="*/ 85 h 176"/>
              <a:gd name="T52" fmla="*/ 11 w 192"/>
              <a:gd name="T53" fmla="*/ 53 h 176"/>
              <a:gd name="T54" fmla="*/ 41 w 192"/>
              <a:gd name="T55" fmla="*/ 23 h 176"/>
              <a:gd name="T56" fmla="*/ 52 w 192"/>
              <a:gd name="T57" fmla="*/ 87 h 176"/>
              <a:gd name="T58" fmla="*/ 181 w 192"/>
              <a:gd name="T59" fmla="*/ 53 h 176"/>
              <a:gd name="T60" fmla="*/ 144 w 192"/>
              <a:gd name="T61" fmla="*/ 85 h 176"/>
              <a:gd name="T62" fmla="*/ 151 w 192"/>
              <a:gd name="T63" fmla="*/ 58 h 176"/>
              <a:gd name="T64" fmla="*/ 181 w 192"/>
              <a:gd name="T65" fmla="*/ 23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2" h="176">
                <a:moveTo>
                  <a:pt x="153" y="12"/>
                </a:moveTo>
                <a:cubicBezTo>
                  <a:pt x="153" y="6"/>
                  <a:pt x="153" y="6"/>
                  <a:pt x="153" y="6"/>
                </a:cubicBezTo>
                <a:cubicBezTo>
                  <a:pt x="151" y="6"/>
                  <a:pt x="151" y="6"/>
                  <a:pt x="151" y="6"/>
                </a:cubicBezTo>
                <a:cubicBezTo>
                  <a:pt x="151" y="3"/>
                  <a:pt x="151" y="3"/>
                  <a:pt x="151" y="3"/>
                </a:cubicBezTo>
                <a:cubicBezTo>
                  <a:pt x="151" y="1"/>
                  <a:pt x="150" y="0"/>
                  <a:pt x="148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2" y="0"/>
                  <a:pt x="41" y="1"/>
                  <a:pt x="41" y="3"/>
                </a:cubicBezTo>
                <a:cubicBezTo>
                  <a:pt x="41" y="6"/>
                  <a:pt x="41" y="6"/>
                  <a:pt x="41" y="6"/>
                </a:cubicBezTo>
                <a:cubicBezTo>
                  <a:pt x="39" y="6"/>
                  <a:pt x="39" y="6"/>
                  <a:pt x="39" y="6"/>
                </a:cubicBezTo>
                <a:cubicBezTo>
                  <a:pt x="39" y="12"/>
                  <a:pt x="39" y="12"/>
                  <a:pt x="39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2"/>
                  <a:pt x="0" y="43"/>
                  <a:pt x="0" y="53"/>
                </a:cubicBezTo>
                <a:cubicBezTo>
                  <a:pt x="0" y="73"/>
                  <a:pt x="26" y="91"/>
                  <a:pt x="45" y="96"/>
                </a:cubicBezTo>
                <a:cubicBezTo>
                  <a:pt x="53" y="98"/>
                  <a:pt x="60" y="99"/>
                  <a:pt x="66" y="100"/>
                </a:cubicBezTo>
                <a:cubicBezTo>
                  <a:pt x="77" y="108"/>
                  <a:pt x="87" y="114"/>
                  <a:pt x="89" y="118"/>
                </a:cubicBezTo>
                <a:cubicBezTo>
                  <a:pt x="89" y="118"/>
                  <a:pt x="89" y="118"/>
                  <a:pt x="89" y="118"/>
                </a:cubicBezTo>
                <a:cubicBezTo>
                  <a:pt x="87" y="118"/>
                  <a:pt x="86" y="120"/>
                  <a:pt x="86" y="121"/>
                </a:cubicBezTo>
                <a:cubicBezTo>
                  <a:pt x="86" y="129"/>
                  <a:pt x="86" y="129"/>
                  <a:pt x="86" y="129"/>
                </a:cubicBezTo>
                <a:cubicBezTo>
                  <a:pt x="86" y="130"/>
                  <a:pt x="87" y="132"/>
                  <a:pt x="89" y="132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9" y="137"/>
                  <a:pt x="89" y="142"/>
                  <a:pt x="89" y="145"/>
                </a:cubicBezTo>
                <a:cubicBezTo>
                  <a:pt x="89" y="157"/>
                  <a:pt x="79" y="166"/>
                  <a:pt x="70" y="166"/>
                </a:cubicBezTo>
                <a:cubicBezTo>
                  <a:pt x="67" y="166"/>
                  <a:pt x="62" y="166"/>
                  <a:pt x="60" y="166"/>
                </a:cubicBezTo>
                <a:cubicBezTo>
                  <a:pt x="58" y="166"/>
                  <a:pt x="58" y="166"/>
                  <a:pt x="58" y="167"/>
                </a:cubicBezTo>
                <a:cubicBezTo>
                  <a:pt x="58" y="168"/>
                  <a:pt x="58" y="168"/>
                  <a:pt x="58" y="168"/>
                </a:cubicBezTo>
                <a:cubicBezTo>
                  <a:pt x="55" y="168"/>
                  <a:pt x="55" y="168"/>
                  <a:pt x="55" y="168"/>
                </a:cubicBezTo>
                <a:cubicBezTo>
                  <a:pt x="54" y="168"/>
                  <a:pt x="53" y="169"/>
                  <a:pt x="53" y="170"/>
                </a:cubicBezTo>
                <a:cubicBezTo>
                  <a:pt x="53" y="171"/>
                  <a:pt x="53" y="175"/>
                  <a:pt x="53" y="175"/>
                </a:cubicBezTo>
                <a:cubicBezTo>
                  <a:pt x="53" y="175"/>
                  <a:pt x="54" y="176"/>
                  <a:pt x="55" y="176"/>
                </a:cubicBezTo>
                <a:cubicBezTo>
                  <a:pt x="137" y="176"/>
                  <a:pt x="137" y="176"/>
                  <a:pt x="137" y="176"/>
                </a:cubicBezTo>
                <a:cubicBezTo>
                  <a:pt x="138" y="176"/>
                  <a:pt x="138" y="175"/>
                  <a:pt x="138" y="175"/>
                </a:cubicBezTo>
                <a:cubicBezTo>
                  <a:pt x="138" y="174"/>
                  <a:pt x="138" y="170"/>
                  <a:pt x="138" y="170"/>
                </a:cubicBezTo>
                <a:cubicBezTo>
                  <a:pt x="138" y="169"/>
                  <a:pt x="138" y="168"/>
                  <a:pt x="137" y="168"/>
                </a:cubicBezTo>
                <a:cubicBezTo>
                  <a:pt x="134" y="168"/>
                  <a:pt x="134" y="168"/>
                  <a:pt x="134" y="168"/>
                </a:cubicBezTo>
                <a:cubicBezTo>
                  <a:pt x="134" y="168"/>
                  <a:pt x="134" y="168"/>
                  <a:pt x="134" y="167"/>
                </a:cubicBezTo>
                <a:cubicBezTo>
                  <a:pt x="134" y="166"/>
                  <a:pt x="134" y="166"/>
                  <a:pt x="132" y="166"/>
                </a:cubicBezTo>
                <a:cubicBezTo>
                  <a:pt x="130" y="166"/>
                  <a:pt x="125" y="166"/>
                  <a:pt x="122" y="166"/>
                </a:cubicBezTo>
                <a:cubicBezTo>
                  <a:pt x="113" y="166"/>
                  <a:pt x="103" y="157"/>
                  <a:pt x="103" y="145"/>
                </a:cubicBezTo>
                <a:cubicBezTo>
                  <a:pt x="103" y="142"/>
                  <a:pt x="103" y="137"/>
                  <a:pt x="103" y="132"/>
                </a:cubicBezTo>
                <a:cubicBezTo>
                  <a:pt x="103" y="132"/>
                  <a:pt x="103" y="132"/>
                  <a:pt x="103" y="132"/>
                </a:cubicBezTo>
                <a:cubicBezTo>
                  <a:pt x="105" y="132"/>
                  <a:pt x="106" y="130"/>
                  <a:pt x="106" y="129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06" y="120"/>
                  <a:pt x="105" y="118"/>
                  <a:pt x="103" y="118"/>
                </a:cubicBezTo>
                <a:cubicBezTo>
                  <a:pt x="103" y="118"/>
                  <a:pt x="103" y="118"/>
                  <a:pt x="103" y="118"/>
                </a:cubicBezTo>
                <a:cubicBezTo>
                  <a:pt x="105" y="114"/>
                  <a:pt x="115" y="108"/>
                  <a:pt x="126" y="100"/>
                </a:cubicBezTo>
                <a:cubicBezTo>
                  <a:pt x="132" y="99"/>
                  <a:pt x="139" y="98"/>
                  <a:pt x="147" y="96"/>
                </a:cubicBezTo>
                <a:cubicBezTo>
                  <a:pt x="166" y="91"/>
                  <a:pt x="192" y="73"/>
                  <a:pt x="192" y="53"/>
                </a:cubicBezTo>
                <a:cubicBezTo>
                  <a:pt x="192" y="43"/>
                  <a:pt x="192" y="12"/>
                  <a:pt x="192" y="12"/>
                </a:cubicBezTo>
                <a:lnTo>
                  <a:pt x="153" y="12"/>
                </a:lnTo>
                <a:close/>
                <a:moveTo>
                  <a:pt x="48" y="85"/>
                </a:moveTo>
                <a:cubicBezTo>
                  <a:pt x="40" y="83"/>
                  <a:pt x="30" y="78"/>
                  <a:pt x="22" y="72"/>
                </a:cubicBezTo>
                <a:cubicBezTo>
                  <a:pt x="15" y="66"/>
                  <a:pt x="11" y="59"/>
                  <a:pt x="11" y="5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cubicBezTo>
                  <a:pt x="41" y="32"/>
                  <a:pt x="41" y="47"/>
                  <a:pt x="41" y="58"/>
                </a:cubicBezTo>
                <a:cubicBezTo>
                  <a:pt x="41" y="69"/>
                  <a:pt x="46" y="79"/>
                  <a:pt x="52" y="87"/>
                </a:cubicBezTo>
                <a:cubicBezTo>
                  <a:pt x="51" y="86"/>
                  <a:pt x="50" y="86"/>
                  <a:pt x="48" y="85"/>
                </a:cubicBezTo>
                <a:close/>
                <a:moveTo>
                  <a:pt x="181" y="53"/>
                </a:moveTo>
                <a:cubicBezTo>
                  <a:pt x="181" y="59"/>
                  <a:pt x="177" y="66"/>
                  <a:pt x="169" y="72"/>
                </a:cubicBezTo>
                <a:cubicBezTo>
                  <a:pt x="162" y="78"/>
                  <a:pt x="152" y="83"/>
                  <a:pt x="144" y="85"/>
                </a:cubicBezTo>
                <a:cubicBezTo>
                  <a:pt x="142" y="86"/>
                  <a:pt x="141" y="86"/>
                  <a:pt x="139" y="87"/>
                </a:cubicBezTo>
                <a:cubicBezTo>
                  <a:pt x="146" y="79"/>
                  <a:pt x="151" y="69"/>
                  <a:pt x="151" y="58"/>
                </a:cubicBezTo>
                <a:cubicBezTo>
                  <a:pt x="151" y="47"/>
                  <a:pt x="151" y="32"/>
                  <a:pt x="151" y="23"/>
                </a:cubicBezTo>
                <a:cubicBezTo>
                  <a:pt x="181" y="23"/>
                  <a:pt x="181" y="23"/>
                  <a:pt x="181" y="23"/>
                </a:cubicBezTo>
                <a:lnTo>
                  <a:pt x="181" y="5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0" name="Freeform 65"/>
          <p:cNvSpPr>
            <a:spLocks noEditPoints="1"/>
          </p:cNvSpPr>
          <p:nvPr/>
        </p:nvSpPr>
        <p:spPr bwMode="auto">
          <a:xfrm>
            <a:off x="15160836" y="6073880"/>
            <a:ext cx="611436" cy="609708"/>
          </a:xfrm>
          <a:custGeom>
            <a:avLst/>
            <a:gdLst>
              <a:gd name="T0" fmla="*/ 131 w 150"/>
              <a:gd name="T1" fmla="*/ 19 h 149"/>
              <a:gd name="T2" fmla="*/ 62 w 150"/>
              <a:gd name="T3" fmla="*/ 19 h 149"/>
              <a:gd name="T4" fmla="*/ 49 w 150"/>
              <a:gd name="T5" fmla="*/ 65 h 149"/>
              <a:gd name="T6" fmla="*/ 36 w 150"/>
              <a:gd name="T7" fmla="*/ 78 h 149"/>
              <a:gd name="T8" fmla="*/ 40 w 150"/>
              <a:gd name="T9" fmla="*/ 81 h 149"/>
              <a:gd name="T10" fmla="*/ 37 w 150"/>
              <a:gd name="T11" fmla="*/ 84 h 149"/>
              <a:gd name="T12" fmla="*/ 41 w 150"/>
              <a:gd name="T13" fmla="*/ 88 h 149"/>
              <a:gd name="T14" fmla="*/ 34 w 150"/>
              <a:gd name="T15" fmla="*/ 95 h 149"/>
              <a:gd name="T16" fmla="*/ 30 w 150"/>
              <a:gd name="T17" fmla="*/ 91 h 149"/>
              <a:gd name="T18" fmla="*/ 16 w 150"/>
              <a:gd name="T19" fmla="*/ 105 h 149"/>
              <a:gd name="T20" fmla="*/ 20 w 150"/>
              <a:gd name="T21" fmla="*/ 109 h 149"/>
              <a:gd name="T22" fmla="*/ 13 w 150"/>
              <a:gd name="T23" fmla="*/ 116 h 149"/>
              <a:gd name="T24" fmla="*/ 9 w 150"/>
              <a:gd name="T25" fmla="*/ 112 h 149"/>
              <a:gd name="T26" fmla="*/ 2 w 150"/>
              <a:gd name="T27" fmla="*/ 119 h 149"/>
              <a:gd name="T28" fmla="*/ 0 w 150"/>
              <a:gd name="T29" fmla="*/ 143 h 149"/>
              <a:gd name="T30" fmla="*/ 6 w 150"/>
              <a:gd name="T31" fmla="*/ 149 h 149"/>
              <a:gd name="T32" fmla="*/ 30 w 150"/>
              <a:gd name="T33" fmla="*/ 147 h 149"/>
              <a:gd name="T34" fmla="*/ 44 w 150"/>
              <a:gd name="T35" fmla="*/ 133 h 149"/>
              <a:gd name="T36" fmla="*/ 40 w 150"/>
              <a:gd name="T37" fmla="*/ 129 h 149"/>
              <a:gd name="T38" fmla="*/ 54 w 150"/>
              <a:gd name="T39" fmla="*/ 115 h 149"/>
              <a:gd name="T40" fmla="*/ 58 w 150"/>
              <a:gd name="T41" fmla="*/ 119 h 149"/>
              <a:gd name="T42" fmla="*/ 68 w 150"/>
              <a:gd name="T43" fmla="*/ 109 h 149"/>
              <a:gd name="T44" fmla="*/ 71 w 150"/>
              <a:gd name="T45" fmla="*/ 113 h 149"/>
              <a:gd name="T46" fmla="*/ 84 w 150"/>
              <a:gd name="T47" fmla="*/ 100 h 149"/>
              <a:gd name="T48" fmla="*/ 131 w 150"/>
              <a:gd name="T49" fmla="*/ 87 h 149"/>
              <a:gd name="T50" fmla="*/ 131 w 150"/>
              <a:gd name="T51" fmla="*/ 19 h 149"/>
              <a:gd name="T52" fmla="*/ 17 w 150"/>
              <a:gd name="T53" fmla="*/ 134 h 149"/>
              <a:gd name="T54" fmla="*/ 15 w 150"/>
              <a:gd name="T55" fmla="*/ 132 h 149"/>
              <a:gd name="T56" fmla="*/ 53 w 150"/>
              <a:gd name="T57" fmla="*/ 94 h 149"/>
              <a:gd name="T58" fmla="*/ 55 w 150"/>
              <a:gd name="T59" fmla="*/ 97 h 149"/>
              <a:gd name="T60" fmla="*/ 17 w 150"/>
              <a:gd name="T61" fmla="*/ 134 h 149"/>
              <a:gd name="T62" fmla="*/ 117 w 150"/>
              <a:gd name="T63" fmla="*/ 48 h 149"/>
              <a:gd name="T64" fmla="*/ 101 w 150"/>
              <a:gd name="T65" fmla="*/ 48 h 149"/>
              <a:gd name="T66" fmla="*/ 101 w 150"/>
              <a:gd name="T67" fmla="*/ 32 h 149"/>
              <a:gd name="T68" fmla="*/ 117 w 150"/>
              <a:gd name="T69" fmla="*/ 32 h 149"/>
              <a:gd name="T70" fmla="*/ 117 w 150"/>
              <a:gd name="T71" fmla="*/ 48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0" h="149">
                <a:moveTo>
                  <a:pt x="131" y="19"/>
                </a:moveTo>
                <a:cubicBezTo>
                  <a:pt x="112" y="0"/>
                  <a:pt x="81" y="0"/>
                  <a:pt x="62" y="19"/>
                </a:cubicBezTo>
                <a:cubicBezTo>
                  <a:pt x="49" y="31"/>
                  <a:pt x="45" y="49"/>
                  <a:pt x="49" y="65"/>
                </a:cubicBezTo>
                <a:cubicBezTo>
                  <a:pt x="36" y="78"/>
                  <a:pt x="36" y="78"/>
                  <a:pt x="36" y="78"/>
                </a:cubicBezTo>
                <a:cubicBezTo>
                  <a:pt x="40" y="81"/>
                  <a:pt x="40" y="81"/>
                  <a:pt x="40" y="81"/>
                </a:cubicBezTo>
                <a:cubicBezTo>
                  <a:pt x="37" y="84"/>
                  <a:pt x="37" y="84"/>
                  <a:pt x="37" y="84"/>
                </a:cubicBezTo>
                <a:cubicBezTo>
                  <a:pt x="41" y="88"/>
                  <a:pt x="41" y="88"/>
                  <a:pt x="41" y="88"/>
                </a:cubicBezTo>
                <a:cubicBezTo>
                  <a:pt x="34" y="95"/>
                  <a:pt x="34" y="95"/>
                  <a:pt x="34" y="95"/>
                </a:cubicBezTo>
                <a:cubicBezTo>
                  <a:pt x="30" y="91"/>
                  <a:pt x="30" y="91"/>
                  <a:pt x="30" y="91"/>
                </a:cubicBezTo>
                <a:cubicBezTo>
                  <a:pt x="16" y="105"/>
                  <a:pt x="16" y="105"/>
                  <a:pt x="16" y="105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3" y="116"/>
                  <a:pt x="13" y="116"/>
                  <a:pt x="13" y="116"/>
                </a:cubicBezTo>
                <a:cubicBezTo>
                  <a:pt x="9" y="112"/>
                  <a:pt x="9" y="112"/>
                  <a:pt x="9" y="112"/>
                </a:cubicBezTo>
                <a:cubicBezTo>
                  <a:pt x="2" y="119"/>
                  <a:pt x="2" y="119"/>
                  <a:pt x="2" y="119"/>
                </a:cubicBezTo>
                <a:cubicBezTo>
                  <a:pt x="0" y="143"/>
                  <a:pt x="0" y="143"/>
                  <a:pt x="0" y="143"/>
                </a:cubicBezTo>
                <a:cubicBezTo>
                  <a:pt x="6" y="149"/>
                  <a:pt x="6" y="149"/>
                  <a:pt x="6" y="149"/>
                </a:cubicBezTo>
                <a:cubicBezTo>
                  <a:pt x="30" y="147"/>
                  <a:pt x="30" y="147"/>
                  <a:pt x="30" y="147"/>
                </a:cubicBezTo>
                <a:cubicBezTo>
                  <a:pt x="44" y="133"/>
                  <a:pt x="44" y="133"/>
                  <a:pt x="44" y="133"/>
                </a:cubicBezTo>
                <a:cubicBezTo>
                  <a:pt x="40" y="129"/>
                  <a:pt x="40" y="129"/>
                  <a:pt x="40" y="129"/>
                </a:cubicBezTo>
                <a:cubicBezTo>
                  <a:pt x="54" y="115"/>
                  <a:pt x="54" y="115"/>
                  <a:pt x="54" y="115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68" y="109"/>
                  <a:pt x="68" y="109"/>
                  <a:pt x="68" y="109"/>
                </a:cubicBezTo>
                <a:cubicBezTo>
                  <a:pt x="71" y="113"/>
                  <a:pt x="71" y="113"/>
                  <a:pt x="71" y="113"/>
                </a:cubicBezTo>
                <a:cubicBezTo>
                  <a:pt x="84" y="100"/>
                  <a:pt x="84" y="100"/>
                  <a:pt x="84" y="100"/>
                </a:cubicBezTo>
                <a:cubicBezTo>
                  <a:pt x="101" y="104"/>
                  <a:pt x="118" y="100"/>
                  <a:pt x="131" y="87"/>
                </a:cubicBezTo>
                <a:cubicBezTo>
                  <a:pt x="150" y="68"/>
                  <a:pt x="150" y="38"/>
                  <a:pt x="131" y="19"/>
                </a:cubicBezTo>
                <a:close/>
                <a:moveTo>
                  <a:pt x="17" y="134"/>
                </a:moveTo>
                <a:cubicBezTo>
                  <a:pt x="15" y="132"/>
                  <a:pt x="15" y="132"/>
                  <a:pt x="15" y="132"/>
                </a:cubicBezTo>
                <a:cubicBezTo>
                  <a:pt x="53" y="94"/>
                  <a:pt x="53" y="94"/>
                  <a:pt x="53" y="94"/>
                </a:cubicBezTo>
                <a:cubicBezTo>
                  <a:pt x="55" y="97"/>
                  <a:pt x="55" y="97"/>
                  <a:pt x="55" y="97"/>
                </a:cubicBezTo>
                <a:lnTo>
                  <a:pt x="17" y="134"/>
                </a:lnTo>
                <a:close/>
                <a:moveTo>
                  <a:pt x="117" y="48"/>
                </a:moveTo>
                <a:cubicBezTo>
                  <a:pt x="112" y="53"/>
                  <a:pt x="105" y="53"/>
                  <a:pt x="101" y="48"/>
                </a:cubicBezTo>
                <a:cubicBezTo>
                  <a:pt x="97" y="44"/>
                  <a:pt x="97" y="37"/>
                  <a:pt x="101" y="32"/>
                </a:cubicBezTo>
                <a:cubicBezTo>
                  <a:pt x="105" y="28"/>
                  <a:pt x="112" y="28"/>
                  <a:pt x="117" y="32"/>
                </a:cubicBezTo>
                <a:cubicBezTo>
                  <a:pt x="121" y="37"/>
                  <a:pt x="121" y="44"/>
                  <a:pt x="117" y="4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50967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reeform 15"/>
          <p:cNvSpPr>
            <a:spLocks/>
          </p:cNvSpPr>
          <p:nvPr/>
        </p:nvSpPr>
        <p:spPr bwMode="auto">
          <a:xfrm>
            <a:off x="8566148" y="9105901"/>
            <a:ext cx="3594100" cy="3219450"/>
          </a:xfrm>
          <a:custGeom>
            <a:avLst/>
            <a:gdLst>
              <a:gd name="T0" fmla="*/ 860 w 860"/>
              <a:gd name="T1" fmla="*/ 305 h 770"/>
              <a:gd name="T2" fmla="*/ 422 w 860"/>
              <a:gd name="T3" fmla="*/ 121 h 770"/>
              <a:gd name="T4" fmla="*/ 328 w 860"/>
              <a:gd name="T5" fmla="*/ 0 h 770"/>
              <a:gd name="T6" fmla="*/ 65 w 860"/>
              <a:gd name="T7" fmla="*/ 152 h 770"/>
              <a:gd name="T8" fmla="*/ 87 w 860"/>
              <a:gd name="T9" fmla="*/ 188 h 770"/>
              <a:gd name="T10" fmla="*/ 0 w 860"/>
              <a:gd name="T11" fmla="*/ 361 h 770"/>
              <a:gd name="T12" fmla="*/ 93 w 860"/>
              <a:gd name="T13" fmla="*/ 454 h 770"/>
              <a:gd name="T14" fmla="*/ 185 w 860"/>
              <a:gd name="T15" fmla="*/ 546 h 770"/>
              <a:gd name="T16" fmla="*/ 359 w 860"/>
              <a:gd name="T17" fmla="*/ 459 h 770"/>
              <a:gd name="T18" fmla="*/ 447 w 860"/>
              <a:gd name="T19" fmla="*/ 509 h 770"/>
              <a:gd name="T20" fmla="*/ 459 w 860"/>
              <a:gd name="T21" fmla="*/ 703 h 770"/>
              <a:gd name="T22" fmla="*/ 712 w 860"/>
              <a:gd name="T23" fmla="*/ 770 h 770"/>
              <a:gd name="T24" fmla="*/ 819 w 860"/>
              <a:gd name="T25" fmla="*/ 608 h 770"/>
              <a:gd name="T26" fmla="*/ 860 w 860"/>
              <a:gd name="T27" fmla="*/ 609 h 770"/>
              <a:gd name="T28" fmla="*/ 860 w 860"/>
              <a:gd name="T29" fmla="*/ 305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60" h="770">
                <a:moveTo>
                  <a:pt x="860" y="305"/>
                </a:moveTo>
                <a:cubicBezTo>
                  <a:pt x="701" y="303"/>
                  <a:pt x="544" y="241"/>
                  <a:pt x="422" y="121"/>
                </a:cubicBezTo>
                <a:cubicBezTo>
                  <a:pt x="385" y="84"/>
                  <a:pt x="354" y="43"/>
                  <a:pt x="328" y="0"/>
                </a:cubicBezTo>
                <a:cubicBezTo>
                  <a:pt x="65" y="152"/>
                  <a:pt x="65" y="152"/>
                  <a:pt x="65" y="152"/>
                </a:cubicBezTo>
                <a:cubicBezTo>
                  <a:pt x="72" y="164"/>
                  <a:pt x="79" y="176"/>
                  <a:pt x="87" y="188"/>
                </a:cubicBezTo>
                <a:cubicBezTo>
                  <a:pt x="0" y="361"/>
                  <a:pt x="0" y="361"/>
                  <a:pt x="0" y="361"/>
                </a:cubicBezTo>
                <a:cubicBezTo>
                  <a:pt x="93" y="454"/>
                  <a:pt x="93" y="454"/>
                  <a:pt x="93" y="454"/>
                </a:cubicBezTo>
                <a:cubicBezTo>
                  <a:pt x="185" y="546"/>
                  <a:pt x="185" y="546"/>
                  <a:pt x="185" y="546"/>
                </a:cubicBezTo>
                <a:cubicBezTo>
                  <a:pt x="359" y="459"/>
                  <a:pt x="359" y="459"/>
                  <a:pt x="359" y="459"/>
                </a:cubicBezTo>
                <a:cubicBezTo>
                  <a:pt x="388" y="477"/>
                  <a:pt x="417" y="494"/>
                  <a:pt x="447" y="509"/>
                </a:cubicBezTo>
                <a:cubicBezTo>
                  <a:pt x="459" y="703"/>
                  <a:pt x="459" y="703"/>
                  <a:pt x="459" y="703"/>
                </a:cubicBezTo>
                <a:cubicBezTo>
                  <a:pt x="712" y="770"/>
                  <a:pt x="712" y="770"/>
                  <a:pt x="712" y="770"/>
                </a:cubicBezTo>
                <a:cubicBezTo>
                  <a:pt x="819" y="608"/>
                  <a:pt x="819" y="608"/>
                  <a:pt x="819" y="608"/>
                </a:cubicBezTo>
                <a:cubicBezTo>
                  <a:pt x="833" y="609"/>
                  <a:pt x="846" y="609"/>
                  <a:pt x="860" y="609"/>
                </a:cubicBezTo>
                <a:lnTo>
                  <a:pt x="860" y="30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2" name="Freeform 16"/>
          <p:cNvSpPr>
            <a:spLocks noEditPoints="1"/>
          </p:cNvSpPr>
          <p:nvPr/>
        </p:nvSpPr>
        <p:spPr bwMode="auto">
          <a:xfrm>
            <a:off x="9604374" y="5162550"/>
            <a:ext cx="5168900" cy="5172076"/>
          </a:xfrm>
          <a:custGeom>
            <a:avLst/>
            <a:gdLst>
              <a:gd name="T0" fmla="*/ 619 w 1237"/>
              <a:gd name="T1" fmla="*/ 0 h 1237"/>
              <a:gd name="T2" fmla="*/ 0 w 1237"/>
              <a:gd name="T3" fmla="*/ 618 h 1237"/>
              <a:gd name="T4" fmla="*/ 619 w 1237"/>
              <a:gd name="T5" fmla="*/ 1237 h 1237"/>
              <a:gd name="T6" fmla="*/ 1237 w 1237"/>
              <a:gd name="T7" fmla="*/ 618 h 1237"/>
              <a:gd name="T8" fmla="*/ 619 w 1237"/>
              <a:gd name="T9" fmla="*/ 0 h 1237"/>
              <a:gd name="T10" fmla="*/ 619 w 1237"/>
              <a:gd name="T11" fmla="*/ 1149 h 1237"/>
              <a:gd name="T12" fmla="*/ 88 w 1237"/>
              <a:gd name="T13" fmla="*/ 618 h 1237"/>
              <a:gd name="T14" fmla="*/ 619 w 1237"/>
              <a:gd name="T15" fmla="*/ 88 h 1237"/>
              <a:gd name="T16" fmla="*/ 1149 w 1237"/>
              <a:gd name="T17" fmla="*/ 618 h 1237"/>
              <a:gd name="T18" fmla="*/ 619 w 1237"/>
              <a:gd name="T19" fmla="*/ 1149 h 1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37" h="1237">
                <a:moveTo>
                  <a:pt x="619" y="0"/>
                </a:moveTo>
                <a:cubicBezTo>
                  <a:pt x="277" y="0"/>
                  <a:pt x="0" y="277"/>
                  <a:pt x="0" y="618"/>
                </a:cubicBezTo>
                <a:cubicBezTo>
                  <a:pt x="0" y="960"/>
                  <a:pt x="277" y="1237"/>
                  <a:pt x="619" y="1237"/>
                </a:cubicBezTo>
                <a:cubicBezTo>
                  <a:pt x="960" y="1237"/>
                  <a:pt x="1237" y="960"/>
                  <a:pt x="1237" y="618"/>
                </a:cubicBezTo>
                <a:cubicBezTo>
                  <a:pt x="1237" y="277"/>
                  <a:pt x="960" y="0"/>
                  <a:pt x="619" y="0"/>
                </a:cubicBezTo>
                <a:close/>
                <a:moveTo>
                  <a:pt x="619" y="1149"/>
                </a:moveTo>
                <a:cubicBezTo>
                  <a:pt x="326" y="1149"/>
                  <a:pt x="88" y="911"/>
                  <a:pt x="88" y="618"/>
                </a:cubicBezTo>
                <a:cubicBezTo>
                  <a:pt x="88" y="325"/>
                  <a:pt x="326" y="88"/>
                  <a:pt x="619" y="88"/>
                </a:cubicBezTo>
                <a:cubicBezTo>
                  <a:pt x="912" y="88"/>
                  <a:pt x="1149" y="325"/>
                  <a:pt x="1149" y="618"/>
                </a:cubicBezTo>
                <a:cubicBezTo>
                  <a:pt x="1149" y="911"/>
                  <a:pt x="912" y="1149"/>
                  <a:pt x="619" y="1149"/>
                </a:cubicBez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3" name="Freeform 17"/>
          <p:cNvSpPr>
            <a:spLocks/>
          </p:cNvSpPr>
          <p:nvPr/>
        </p:nvSpPr>
        <p:spPr bwMode="auto">
          <a:xfrm>
            <a:off x="11566525" y="9051927"/>
            <a:ext cx="4260850" cy="3273426"/>
          </a:xfrm>
          <a:custGeom>
            <a:avLst/>
            <a:gdLst>
              <a:gd name="T0" fmla="*/ 933 w 1020"/>
              <a:gd name="T1" fmla="*/ 197 h 783"/>
              <a:gd name="T2" fmla="*/ 961 w 1020"/>
              <a:gd name="T3" fmla="*/ 149 h 783"/>
              <a:gd name="T4" fmla="*/ 697 w 1020"/>
              <a:gd name="T5" fmla="*/ 0 h 783"/>
              <a:gd name="T6" fmla="*/ 597 w 1020"/>
              <a:gd name="T7" fmla="*/ 132 h 783"/>
              <a:gd name="T8" fmla="*/ 158 w 1020"/>
              <a:gd name="T9" fmla="*/ 317 h 783"/>
              <a:gd name="T10" fmla="*/ 158 w 1020"/>
              <a:gd name="T11" fmla="*/ 424 h 783"/>
              <a:gd name="T12" fmla="*/ 104 w 1020"/>
              <a:gd name="T13" fmla="*/ 423 h 783"/>
              <a:gd name="T14" fmla="*/ 104 w 1020"/>
              <a:gd name="T15" fmla="*/ 387 h 783"/>
              <a:gd name="T16" fmla="*/ 0 w 1020"/>
              <a:gd name="T17" fmla="*/ 462 h 783"/>
              <a:gd name="T18" fmla="*/ 103 w 1020"/>
              <a:gd name="T19" fmla="*/ 537 h 783"/>
              <a:gd name="T20" fmla="*/ 103 w 1020"/>
              <a:gd name="T21" fmla="*/ 501 h 783"/>
              <a:gd name="T22" fmla="*/ 158 w 1020"/>
              <a:gd name="T23" fmla="*/ 501 h 783"/>
              <a:gd name="T24" fmla="*/ 158 w 1020"/>
              <a:gd name="T25" fmla="*/ 622 h 783"/>
              <a:gd name="T26" fmla="*/ 202 w 1020"/>
              <a:gd name="T27" fmla="*/ 620 h 783"/>
              <a:gd name="T28" fmla="*/ 310 w 1020"/>
              <a:gd name="T29" fmla="*/ 783 h 783"/>
              <a:gd name="T30" fmla="*/ 562 w 1020"/>
              <a:gd name="T31" fmla="*/ 714 h 783"/>
              <a:gd name="T32" fmla="*/ 573 w 1020"/>
              <a:gd name="T33" fmla="*/ 520 h 783"/>
              <a:gd name="T34" fmla="*/ 662 w 1020"/>
              <a:gd name="T35" fmla="*/ 469 h 783"/>
              <a:gd name="T36" fmla="*/ 836 w 1020"/>
              <a:gd name="T37" fmla="*/ 556 h 783"/>
              <a:gd name="T38" fmla="*/ 1020 w 1020"/>
              <a:gd name="T39" fmla="*/ 371 h 783"/>
              <a:gd name="T40" fmla="*/ 933 w 1020"/>
              <a:gd name="T41" fmla="*/ 197 h 7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20" h="783">
                <a:moveTo>
                  <a:pt x="933" y="197"/>
                </a:moveTo>
                <a:cubicBezTo>
                  <a:pt x="934" y="196"/>
                  <a:pt x="947" y="173"/>
                  <a:pt x="961" y="149"/>
                </a:cubicBezTo>
                <a:cubicBezTo>
                  <a:pt x="697" y="0"/>
                  <a:pt x="697" y="0"/>
                  <a:pt x="697" y="0"/>
                </a:cubicBezTo>
                <a:cubicBezTo>
                  <a:pt x="670" y="47"/>
                  <a:pt x="637" y="92"/>
                  <a:pt x="597" y="132"/>
                </a:cubicBezTo>
                <a:cubicBezTo>
                  <a:pt x="475" y="254"/>
                  <a:pt x="317" y="315"/>
                  <a:pt x="158" y="317"/>
                </a:cubicBezTo>
                <a:cubicBezTo>
                  <a:pt x="158" y="424"/>
                  <a:pt x="158" y="424"/>
                  <a:pt x="158" y="424"/>
                </a:cubicBezTo>
                <a:cubicBezTo>
                  <a:pt x="104" y="423"/>
                  <a:pt x="104" y="423"/>
                  <a:pt x="104" y="423"/>
                </a:cubicBezTo>
                <a:cubicBezTo>
                  <a:pt x="104" y="387"/>
                  <a:pt x="104" y="387"/>
                  <a:pt x="104" y="387"/>
                </a:cubicBezTo>
                <a:cubicBezTo>
                  <a:pt x="0" y="462"/>
                  <a:pt x="0" y="462"/>
                  <a:pt x="0" y="462"/>
                </a:cubicBezTo>
                <a:cubicBezTo>
                  <a:pt x="103" y="537"/>
                  <a:pt x="103" y="537"/>
                  <a:pt x="103" y="537"/>
                </a:cubicBezTo>
                <a:cubicBezTo>
                  <a:pt x="103" y="501"/>
                  <a:pt x="103" y="501"/>
                  <a:pt x="103" y="501"/>
                </a:cubicBezTo>
                <a:cubicBezTo>
                  <a:pt x="158" y="501"/>
                  <a:pt x="158" y="501"/>
                  <a:pt x="158" y="501"/>
                </a:cubicBezTo>
                <a:cubicBezTo>
                  <a:pt x="158" y="622"/>
                  <a:pt x="158" y="622"/>
                  <a:pt x="158" y="622"/>
                </a:cubicBezTo>
                <a:cubicBezTo>
                  <a:pt x="172" y="622"/>
                  <a:pt x="187" y="621"/>
                  <a:pt x="202" y="620"/>
                </a:cubicBezTo>
                <a:cubicBezTo>
                  <a:pt x="310" y="783"/>
                  <a:pt x="310" y="783"/>
                  <a:pt x="310" y="783"/>
                </a:cubicBezTo>
                <a:cubicBezTo>
                  <a:pt x="562" y="714"/>
                  <a:pt x="562" y="714"/>
                  <a:pt x="562" y="714"/>
                </a:cubicBezTo>
                <a:cubicBezTo>
                  <a:pt x="573" y="520"/>
                  <a:pt x="573" y="520"/>
                  <a:pt x="573" y="520"/>
                </a:cubicBezTo>
                <a:cubicBezTo>
                  <a:pt x="603" y="505"/>
                  <a:pt x="633" y="488"/>
                  <a:pt x="662" y="469"/>
                </a:cubicBezTo>
                <a:cubicBezTo>
                  <a:pt x="836" y="556"/>
                  <a:pt x="836" y="556"/>
                  <a:pt x="836" y="556"/>
                </a:cubicBezTo>
                <a:cubicBezTo>
                  <a:pt x="1020" y="371"/>
                  <a:pt x="1020" y="371"/>
                  <a:pt x="1020" y="371"/>
                </a:cubicBezTo>
                <a:lnTo>
                  <a:pt x="933" y="19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4" name="Freeform 18"/>
          <p:cNvSpPr>
            <a:spLocks/>
          </p:cNvSpPr>
          <p:nvPr/>
        </p:nvSpPr>
        <p:spPr bwMode="auto">
          <a:xfrm>
            <a:off x="14490700" y="5829300"/>
            <a:ext cx="2276476" cy="4064000"/>
          </a:xfrm>
          <a:custGeom>
            <a:avLst/>
            <a:gdLst>
              <a:gd name="T0" fmla="*/ 382 w 545"/>
              <a:gd name="T1" fmla="*/ 507 h 971"/>
              <a:gd name="T2" fmla="*/ 381 w 545"/>
              <a:gd name="T3" fmla="*/ 407 h 971"/>
              <a:gd name="T4" fmla="*/ 544 w 545"/>
              <a:gd name="T5" fmla="*/ 298 h 971"/>
              <a:gd name="T6" fmla="*/ 476 w 545"/>
              <a:gd name="T7" fmla="*/ 46 h 971"/>
              <a:gd name="T8" fmla="*/ 281 w 545"/>
              <a:gd name="T9" fmla="*/ 35 h 971"/>
              <a:gd name="T10" fmla="*/ 263 w 545"/>
              <a:gd name="T11" fmla="*/ 0 h 971"/>
              <a:gd name="T12" fmla="*/ 0 w 545"/>
              <a:gd name="T13" fmla="*/ 153 h 971"/>
              <a:gd name="T14" fmla="*/ 5 w 545"/>
              <a:gd name="T15" fmla="*/ 756 h 971"/>
              <a:gd name="T16" fmla="*/ 100 w 545"/>
              <a:gd name="T17" fmla="*/ 810 h 971"/>
              <a:gd name="T18" fmla="*/ 63 w 545"/>
              <a:gd name="T19" fmla="*/ 863 h 971"/>
              <a:gd name="T20" fmla="*/ 33 w 545"/>
              <a:gd name="T21" fmla="*/ 843 h 971"/>
              <a:gd name="T22" fmla="*/ 35 w 545"/>
              <a:gd name="T23" fmla="*/ 971 h 971"/>
              <a:gd name="T24" fmla="*/ 156 w 545"/>
              <a:gd name="T25" fmla="*/ 928 h 971"/>
              <a:gd name="T26" fmla="*/ 126 w 545"/>
              <a:gd name="T27" fmla="*/ 907 h 971"/>
              <a:gd name="T28" fmla="*/ 168 w 545"/>
              <a:gd name="T29" fmla="*/ 848 h 971"/>
              <a:gd name="T30" fmla="*/ 269 w 545"/>
              <a:gd name="T31" fmla="*/ 905 h 971"/>
              <a:gd name="T32" fmla="*/ 283 w 545"/>
              <a:gd name="T33" fmla="*/ 879 h 971"/>
              <a:gd name="T34" fmla="*/ 477 w 545"/>
              <a:gd name="T35" fmla="*/ 867 h 971"/>
              <a:gd name="T36" fmla="*/ 545 w 545"/>
              <a:gd name="T37" fmla="*/ 614 h 971"/>
              <a:gd name="T38" fmla="*/ 382 w 545"/>
              <a:gd name="T39" fmla="*/ 507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45" h="971">
                <a:moveTo>
                  <a:pt x="382" y="507"/>
                </a:moveTo>
                <a:cubicBezTo>
                  <a:pt x="383" y="473"/>
                  <a:pt x="383" y="440"/>
                  <a:pt x="381" y="407"/>
                </a:cubicBezTo>
                <a:cubicBezTo>
                  <a:pt x="544" y="298"/>
                  <a:pt x="544" y="298"/>
                  <a:pt x="544" y="298"/>
                </a:cubicBezTo>
                <a:cubicBezTo>
                  <a:pt x="476" y="46"/>
                  <a:pt x="476" y="46"/>
                  <a:pt x="476" y="46"/>
                </a:cubicBezTo>
                <a:cubicBezTo>
                  <a:pt x="281" y="35"/>
                  <a:pt x="281" y="35"/>
                  <a:pt x="281" y="35"/>
                </a:cubicBezTo>
                <a:cubicBezTo>
                  <a:pt x="275" y="23"/>
                  <a:pt x="269" y="12"/>
                  <a:pt x="263" y="0"/>
                </a:cubicBezTo>
                <a:cubicBezTo>
                  <a:pt x="0" y="153"/>
                  <a:pt x="0" y="153"/>
                  <a:pt x="0" y="153"/>
                </a:cubicBezTo>
                <a:cubicBezTo>
                  <a:pt x="104" y="339"/>
                  <a:pt x="106" y="568"/>
                  <a:pt x="5" y="756"/>
                </a:cubicBezTo>
                <a:cubicBezTo>
                  <a:pt x="100" y="810"/>
                  <a:pt x="100" y="810"/>
                  <a:pt x="100" y="810"/>
                </a:cubicBezTo>
                <a:cubicBezTo>
                  <a:pt x="63" y="863"/>
                  <a:pt x="63" y="863"/>
                  <a:pt x="63" y="863"/>
                </a:cubicBezTo>
                <a:cubicBezTo>
                  <a:pt x="33" y="843"/>
                  <a:pt x="33" y="843"/>
                  <a:pt x="33" y="843"/>
                </a:cubicBezTo>
                <a:cubicBezTo>
                  <a:pt x="35" y="971"/>
                  <a:pt x="35" y="971"/>
                  <a:pt x="35" y="971"/>
                </a:cubicBezTo>
                <a:cubicBezTo>
                  <a:pt x="156" y="928"/>
                  <a:pt x="156" y="928"/>
                  <a:pt x="156" y="928"/>
                </a:cubicBezTo>
                <a:cubicBezTo>
                  <a:pt x="126" y="907"/>
                  <a:pt x="126" y="907"/>
                  <a:pt x="126" y="907"/>
                </a:cubicBezTo>
                <a:cubicBezTo>
                  <a:pt x="168" y="848"/>
                  <a:pt x="168" y="848"/>
                  <a:pt x="168" y="848"/>
                </a:cubicBezTo>
                <a:cubicBezTo>
                  <a:pt x="269" y="905"/>
                  <a:pt x="269" y="905"/>
                  <a:pt x="269" y="905"/>
                </a:cubicBezTo>
                <a:cubicBezTo>
                  <a:pt x="274" y="895"/>
                  <a:pt x="279" y="886"/>
                  <a:pt x="283" y="879"/>
                </a:cubicBezTo>
                <a:cubicBezTo>
                  <a:pt x="477" y="867"/>
                  <a:pt x="477" y="867"/>
                  <a:pt x="477" y="867"/>
                </a:cubicBezTo>
                <a:cubicBezTo>
                  <a:pt x="545" y="614"/>
                  <a:pt x="545" y="614"/>
                  <a:pt x="545" y="614"/>
                </a:cubicBezTo>
                <a:lnTo>
                  <a:pt x="382" y="50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5" name="Freeform 19"/>
          <p:cNvSpPr>
            <a:spLocks/>
          </p:cNvSpPr>
          <p:nvPr/>
        </p:nvSpPr>
        <p:spPr bwMode="auto">
          <a:xfrm>
            <a:off x="12226925" y="3165476"/>
            <a:ext cx="3587750" cy="3467100"/>
          </a:xfrm>
          <a:custGeom>
            <a:avLst/>
            <a:gdLst>
              <a:gd name="T0" fmla="*/ 772 w 859"/>
              <a:gd name="T1" fmla="*/ 584 h 829"/>
              <a:gd name="T2" fmla="*/ 859 w 859"/>
              <a:gd name="T3" fmla="*/ 410 h 829"/>
              <a:gd name="T4" fmla="*/ 683 w 859"/>
              <a:gd name="T5" fmla="*/ 235 h 829"/>
              <a:gd name="T6" fmla="*/ 500 w 859"/>
              <a:gd name="T7" fmla="*/ 312 h 829"/>
              <a:gd name="T8" fmla="*/ 412 w 859"/>
              <a:gd name="T9" fmla="*/ 262 h 829"/>
              <a:gd name="T10" fmla="*/ 400 w 859"/>
              <a:gd name="T11" fmla="*/ 68 h 829"/>
              <a:gd name="T12" fmla="*/ 147 w 859"/>
              <a:gd name="T13" fmla="*/ 0 h 829"/>
              <a:gd name="T14" fmla="*/ 40 w 859"/>
              <a:gd name="T15" fmla="*/ 164 h 829"/>
              <a:gd name="T16" fmla="*/ 0 w 859"/>
              <a:gd name="T17" fmla="*/ 162 h 829"/>
              <a:gd name="T18" fmla="*/ 0 w 859"/>
              <a:gd name="T19" fmla="*/ 466 h 829"/>
              <a:gd name="T20" fmla="*/ 435 w 859"/>
              <a:gd name="T21" fmla="*/ 650 h 829"/>
              <a:gd name="T22" fmla="*/ 534 w 859"/>
              <a:gd name="T23" fmla="*/ 776 h 829"/>
              <a:gd name="T24" fmla="*/ 633 w 859"/>
              <a:gd name="T25" fmla="*/ 718 h 829"/>
              <a:gd name="T26" fmla="*/ 661 w 859"/>
              <a:gd name="T27" fmla="*/ 762 h 829"/>
              <a:gd name="T28" fmla="*/ 630 w 859"/>
              <a:gd name="T29" fmla="*/ 781 h 829"/>
              <a:gd name="T30" fmla="*/ 749 w 859"/>
              <a:gd name="T31" fmla="*/ 829 h 829"/>
              <a:gd name="T32" fmla="*/ 756 w 859"/>
              <a:gd name="T33" fmla="*/ 702 h 829"/>
              <a:gd name="T34" fmla="*/ 726 w 859"/>
              <a:gd name="T35" fmla="*/ 721 h 829"/>
              <a:gd name="T36" fmla="*/ 700 w 859"/>
              <a:gd name="T37" fmla="*/ 680 h 829"/>
              <a:gd name="T38" fmla="*/ 797 w 859"/>
              <a:gd name="T39" fmla="*/ 623 h 829"/>
              <a:gd name="T40" fmla="*/ 772 w 859"/>
              <a:gd name="T41" fmla="*/ 584 h 8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59" h="829">
                <a:moveTo>
                  <a:pt x="772" y="584"/>
                </a:moveTo>
                <a:cubicBezTo>
                  <a:pt x="859" y="410"/>
                  <a:pt x="859" y="410"/>
                  <a:pt x="859" y="410"/>
                </a:cubicBezTo>
                <a:cubicBezTo>
                  <a:pt x="683" y="235"/>
                  <a:pt x="683" y="235"/>
                  <a:pt x="683" y="235"/>
                </a:cubicBezTo>
                <a:cubicBezTo>
                  <a:pt x="500" y="312"/>
                  <a:pt x="500" y="312"/>
                  <a:pt x="500" y="312"/>
                </a:cubicBezTo>
                <a:cubicBezTo>
                  <a:pt x="471" y="294"/>
                  <a:pt x="442" y="277"/>
                  <a:pt x="412" y="262"/>
                </a:cubicBezTo>
                <a:cubicBezTo>
                  <a:pt x="400" y="68"/>
                  <a:pt x="400" y="68"/>
                  <a:pt x="400" y="68"/>
                </a:cubicBezTo>
                <a:cubicBezTo>
                  <a:pt x="147" y="0"/>
                  <a:pt x="147" y="0"/>
                  <a:pt x="147" y="0"/>
                </a:cubicBezTo>
                <a:cubicBezTo>
                  <a:pt x="40" y="164"/>
                  <a:pt x="40" y="164"/>
                  <a:pt x="40" y="164"/>
                </a:cubicBezTo>
                <a:cubicBezTo>
                  <a:pt x="26" y="163"/>
                  <a:pt x="13" y="162"/>
                  <a:pt x="0" y="162"/>
                </a:cubicBezTo>
                <a:cubicBezTo>
                  <a:pt x="0" y="466"/>
                  <a:pt x="0" y="466"/>
                  <a:pt x="0" y="466"/>
                </a:cubicBezTo>
                <a:cubicBezTo>
                  <a:pt x="158" y="468"/>
                  <a:pt x="315" y="529"/>
                  <a:pt x="435" y="650"/>
                </a:cubicBezTo>
                <a:cubicBezTo>
                  <a:pt x="474" y="688"/>
                  <a:pt x="507" y="731"/>
                  <a:pt x="534" y="776"/>
                </a:cubicBezTo>
                <a:cubicBezTo>
                  <a:pt x="633" y="718"/>
                  <a:pt x="633" y="718"/>
                  <a:pt x="633" y="718"/>
                </a:cubicBezTo>
                <a:cubicBezTo>
                  <a:pt x="661" y="762"/>
                  <a:pt x="661" y="762"/>
                  <a:pt x="661" y="762"/>
                </a:cubicBezTo>
                <a:cubicBezTo>
                  <a:pt x="630" y="781"/>
                  <a:pt x="630" y="781"/>
                  <a:pt x="630" y="781"/>
                </a:cubicBezTo>
                <a:cubicBezTo>
                  <a:pt x="749" y="829"/>
                  <a:pt x="749" y="829"/>
                  <a:pt x="749" y="829"/>
                </a:cubicBezTo>
                <a:cubicBezTo>
                  <a:pt x="756" y="702"/>
                  <a:pt x="756" y="702"/>
                  <a:pt x="756" y="702"/>
                </a:cubicBezTo>
                <a:cubicBezTo>
                  <a:pt x="726" y="721"/>
                  <a:pt x="726" y="721"/>
                  <a:pt x="726" y="721"/>
                </a:cubicBezTo>
                <a:cubicBezTo>
                  <a:pt x="700" y="680"/>
                  <a:pt x="700" y="680"/>
                  <a:pt x="700" y="680"/>
                </a:cubicBezTo>
                <a:cubicBezTo>
                  <a:pt x="797" y="623"/>
                  <a:pt x="797" y="623"/>
                  <a:pt x="797" y="623"/>
                </a:cubicBezTo>
                <a:cubicBezTo>
                  <a:pt x="789" y="610"/>
                  <a:pt x="781" y="597"/>
                  <a:pt x="772" y="5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6" name="Freeform 20"/>
          <p:cNvSpPr>
            <a:spLocks/>
          </p:cNvSpPr>
          <p:nvPr/>
        </p:nvSpPr>
        <p:spPr bwMode="auto">
          <a:xfrm>
            <a:off x="8553448" y="3171827"/>
            <a:ext cx="4254500" cy="3232150"/>
          </a:xfrm>
          <a:custGeom>
            <a:avLst/>
            <a:gdLst>
              <a:gd name="T0" fmla="*/ 914 w 1018"/>
              <a:gd name="T1" fmla="*/ 248 h 773"/>
              <a:gd name="T2" fmla="*/ 914 w 1018"/>
              <a:gd name="T3" fmla="*/ 284 h 773"/>
              <a:gd name="T4" fmla="*/ 863 w 1018"/>
              <a:gd name="T5" fmla="*/ 284 h 773"/>
              <a:gd name="T6" fmla="*/ 863 w 1018"/>
              <a:gd name="T7" fmla="*/ 161 h 773"/>
              <a:gd name="T8" fmla="*/ 818 w 1018"/>
              <a:gd name="T9" fmla="*/ 163 h 773"/>
              <a:gd name="T10" fmla="*/ 710 w 1018"/>
              <a:gd name="T11" fmla="*/ 0 h 773"/>
              <a:gd name="T12" fmla="*/ 458 w 1018"/>
              <a:gd name="T13" fmla="*/ 69 h 773"/>
              <a:gd name="T14" fmla="*/ 447 w 1018"/>
              <a:gd name="T15" fmla="*/ 263 h 773"/>
              <a:gd name="T16" fmla="*/ 359 w 1018"/>
              <a:gd name="T17" fmla="*/ 314 h 773"/>
              <a:gd name="T18" fmla="*/ 184 w 1018"/>
              <a:gd name="T19" fmla="*/ 227 h 773"/>
              <a:gd name="T20" fmla="*/ 92 w 1018"/>
              <a:gd name="T21" fmla="*/ 320 h 773"/>
              <a:gd name="T22" fmla="*/ 0 w 1018"/>
              <a:gd name="T23" fmla="*/ 412 h 773"/>
              <a:gd name="T24" fmla="*/ 88 w 1018"/>
              <a:gd name="T25" fmla="*/ 586 h 773"/>
              <a:gd name="T26" fmla="*/ 65 w 1018"/>
              <a:gd name="T27" fmla="*/ 623 h 773"/>
              <a:gd name="T28" fmla="*/ 330 w 1018"/>
              <a:gd name="T29" fmla="*/ 773 h 773"/>
              <a:gd name="T30" fmla="*/ 425 w 1018"/>
              <a:gd name="T31" fmla="*/ 650 h 773"/>
              <a:gd name="T32" fmla="*/ 863 w 1018"/>
              <a:gd name="T33" fmla="*/ 465 h 773"/>
              <a:gd name="T34" fmla="*/ 863 w 1018"/>
              <a:gd name="T35" fmla="*/ 362 h 773"/>
              <a:gd name="T36" fmla="*/ 914 w 1018"/>
              <a:gd name="T37" fmla="*/ 362 h 773"/>
              <a:gd name="T38" fmla="*/ 914 w 1018"/>
              <a:gd name="T39" fmla="*/ 398 h 773"/>
              <a:gd name="T40" fmla="*/ 1018 w 1018"/>
              <a:gd name="T41" fmla="*/ 323 h 773"/>
              <a:gd name="T42" fmla="*/ 914 w 1018"/>
              <a:gd name="T43" fmla="*/ 248 h 7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18" h="773">
                <a:moveTo>
                  <a:pt x="914" y="248"/>
                </a:moveTo>
                <a:cubicBezTo>
                  <a:pt x="914" y="284"/>
                  <a:pt x="914" y="284"/>
                  <a:pt x="914" y="284"/>
                </a:cubicBezTo>
                <a:cubicBezTo>
                  <a:pt x="863" y="284"/>
                  <a:pt x="863" y="284"/>
                  <a:pt x="863" y="284"/>
                </a:cubicBezTo>
                <a:cubicBezTo>
                  <a:pt x="863" y="161"/>
                  <a:pt x="863" y="161"/>
                  <a:pt x="863" y="161"/>
                </a:cubicBezTo>
                <a:cubicBezTo>
                  <a:pt x="848" y="161"/>
                  <a:pt x="833" y="162"/>
                  <a:pt x="818" y="163"/>
                </a:cubicBezTo>
                <a:cubicBezTo>
                  <a:pt x="710" y="0"/>
                  <a:pt x="710" y="0"/>
                  <a:pt x="710" y="0"/>
                </a:cubicBezTo>
                <a:cubicBezTo>
                  <a:pt x="458" y="69"/>
                  <a:pt x="458" y="69"/>
                  <a:pt x="458" y="69"/>
                </a:cubicBezTo>
                <a:cubicBezTo>
                  <a:pt x="447" y="263"/>
                  <a:pt x="447" y="263"/>
                  <a:pt x="447" y="263"/>
                </a:cubicBezTo>
                <a:cubicBezTo>
                  <a:pt x="416" y="278"/>
                  <a:pt x="387" y="295"/>
                  <a:pt x="359" y="314"/>
                </a:cubicBezTo>
                <a:cubicBezTo>
                  <a:pt x="184" y="227"/>
                  <a:pt x="184" y="227"/>
                  <a:pt x="184" y="227"/>
                </a:cubicBezTo>
                <a:cubicBezTo>
                  <a:pt x="92" y="320"/>
                  <a:pt x="92" y="320"/>
                  <a:pt x="92" y="320"/>
                </a:cubicBezTo>
                <a:cubicBezTo>
                  <a:pt x="0" y="412"/>
                  <a:pt x="0" y="412"/>
                  <a:pt x="0" y="412"/>
                </a:cubicBezTo>
                <a:cubicBezTo>
                  <a:pt x="88" y="586"/>
                  <a:pt x="88" y="586"/>
                  <a:pt x="88" y="586"/>
                </a:cubicBezTo>
                <a:cubicBezTo>
                  <a:pt x="80" y="598"/>
                  <a:pt x="72" y="611"/>
                  <a:pt x="65" y="623"/>
                </a:cubicBezTo>
                <a:cubicBezTo>
                  <a:pt x="330" y="773"/>
                  <a:pt x="330" y="773"/>
                  <a:pt x="330" y="773"/>
                </a:cubicBezTo>
                <a:cubicBezTo>
                  <a:pt x="356" y="729"/>
                  <a:pt x="388" y="688"/>
                  <a:pt x="425" y="650"/>
                </a:cubicBezTo>
                <a:cubicBezTo>
                  <a:pt x="546" y="529"/>
                  <a:pt x="704" y="467"/>
                  <a:pt x="863" y="465"/>
                </a:cubicBezTo>
                <a:cubicBezTo>
                  <a:pt x="863" y="362"/>
                  <a:pt x="863" y="362"/>
                  <a:pt x="863" y="362"/>
                </a:cubicBezTo>
                <a:cubicBezTo>
                  <a:pt x="914" y="362"/>
                  <a:pt x="914" y="362"/>
                  <a:pt x="914" y="362"/>
                </a:cubicBezTo>
                <a:cubicBezTo>
                  <a:pt x="914" y="398"/>
                  <a:pt x="914" y="398"/>
                  <a:pt x="914" y="398"/>
                </a:cubicBezTo>
                <a:cubicBezTo>
                  <a:pt x="1018" y="323"/>
                  <a:pt x="1018" y="323"/>
                  <a:pt x="1018" y="323"/>
                </a:cubicBezTo>
                <a:lnTo>
                  <a:pt x="914" y="24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7" name="Freeform 21"/>
          <p:cNvSpPr>
            <a:spLocks/>
          </p:cNvSpPr>
          <p:nvPr/>
        </p:nvSpPr>
        <p:spPr bwMode="auto">
          <a:xfrm>
            <a:off x="7616824" y="5521327"/>
            <a:ext cx="2286000" cy="4162426"/>
          </a:xfrm>
          <a:custGeom>
            <a:avLst/>
            <a:gdLst>
              <a:gd name="T0" fmla="*/ 546 w 547"/>
              <a:gd name="T1" fmla="*/ 225 h 995"/>
              <a:gd name="T2" fmla="*/ 431 w 547"/>
              <a:gd name="T3" fmla="*/ 160 h 995"/>
              <a:gd name="T4" fmla="*/ 459 w 547"/>
              <a:gd name="T5" fmla="*/ 110 h 995"/>
              <a:gd name="T6" fmla="*/ 490 w 547"/>
              <a:gd name="T7" fmla="*/ 128 h 995"/>
              <a:gd name="T8" fmla="*/ 476 w 547"/>
              <a:gd name="T9" fmla="*/ 0 h 995"/>
              <a:gd name="T10" fmla="*/ 360 w 547"/>
              <a:gd name="T11" fmla="*/ 54 h 995"/>
              <a:gd name="T12" fmla="*/ 392 w 547"/>
              <a:gd name="T13" fmla="*/ 72 h 995"/>
              <a:gd name="T14" fmla="*/ 363 w 547"/>
              <a:gd name="T15" fmla="*/ 122 h 995"/>
              <a:gd name="T16" fmla="*/ 281 w 547"/>
              <a:gd name="T17" fmla="*/ 75 h 995"/>
              <a:gd name="T18" fmla="*/ 261 w 547"/>
              <a:gd name="T19" fmla="*/ 112 h 995"/>
              <a:gd name="T20" fmla="*/ 67 w 547"/>
              <a:gd name="T21" fmla="*/ 124 h 995"/>
              <a:gd name="T22" fmla="*/ 0 w 547"/>
              <a:gd name="T23" fmla="*/ 377 h 995"/>
              <a:gd name="T24" fmla="*/ 162 w 547"/>
              <a:gd name="T25" fmla="*/ 484 h 995"/>
              <a:gd name="T26" fmla="*/ 163 w 547"/>
              <a:gd name="T27" fmla="*/ 585 h 995"/>
              <a:gd name="T28" fmla="*/ 0 w 547"/>
              <a:gd name="T29" fmla="*/ 692 h 995"/>
              <a:gd name="T30" fmla="*/ 68 w 547"/>
              <a:gd name="T31" fmla="*/ 945 h 995"/>
              <a:gd name="T32" fmla="*/ 263 w 547"/>
              <a:gd name="T33" fmla="*/ 957 h 995"/>
              <a:gd name="T34" fmla="*/ 284 w 547"/>
              <a:gd name="T35" fmla="*/ 995 h 995"/>
              <a:gd name="T36" fmla="*/ 547 w 547"/>
              <a:gd name="T37" fmla="*/ 844 h 995"/>
              <a:gd name="T38" fmla="*/ 546 w 547"/>
              <a:gd name="T39" fmla="*/ 225 h 9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47" h="995">
                <a:moveTo>
                  <a:pt x="546" y="225"/>
                </a:moveTo>
                <a:cubicBezTo>
                  <a:pt x="431" y="160"/>
                  <a:pt x="431" y="160"/>
                  <a:pt x="431" y="160"/>
                </a:cubicBezTo>
                <a:cubicBezTo>
                  <a:pt x="459" y="110"/>
                  <a:pt x="459" y="110"/>
                  <a:pt x="459" y="110"/>
                </a:cubicBezTo>
                <a:cubicBezTo>
                  <a:pt x="490" y="128"/>
                  <a:pt x="490" y="128"/>
                  <a:pt x="490" y="128"/>
                </a:cubicBezTo>
                <a:cubicBezTo>
                  <a:pt x="476" y="0"/>
                  <a:pt x="476" y="0"/>
                  <a:pt x="476" y="0"/>
                </a:cubicBezTo>
                <a:cubicBezTo>
                  <a:pt x="360" y="54"/>
                  <a:pt x="360" y="54"/>
                  <a:pt x="360" y="54"/>
                </a:cubicBezTo>
                <a:cubicBezTo>
                  <a:pt x="392" y="72"/>
                  <a:pt x="392" y="72"/>
                  <a:pt x="392" y="72"/>
                </a:cubicBezTo>
                <a:cubicBezTo>
                  <a:pt x="363" y="122"/>
                  <a:pt x="363" y="122"/>
                  <a:pt x="363" y="122"/>
                </a:cubicBezTo>
                <a:cubicBezTo>
                  <a:pt x="281" y="75"/>
                  <a:pt x="281" y="75"/>
                  <a:pt x="281" y="75"/>
                </a:cubicBezTo>
                <a:cubicBezTo>
                  <a:pt x="274" y="87"/>
                  <a:pt x="267" y="100"/>
                  <a:pt x="261" y="112"/>
                </a:cubicBezTo>
                <a:cubicBezTo>
                  <a:pt x="67" y="124"/>
                  <a:pt x="67" y="124"/>
                  <a:pt x="67" y="124"/>
                </a:cubicBezTo>
                <a:cubicBezTo>
                  <a:pt x="0" y="377"/>
                  <a:pt x="0" y="377"/>
                  <a:pt x="0" y="377"/>
                </a:cubicBezTo>
                <a:cubicBezTo>
                  <a:pt x="162" y="484"/>
                  <a:pt x="162" y="484"/>
                  <a:pt x="162" y="484"/>
                </a:cubicBezTo>
                <a:cubicBezTo>
                  <a:pt x="161" y="517"/>
                  <a:pt x="161" y="552"/>
                  <a:pt x="163" y="585"/>
                </a:cubicBezTo>
                <a:cubicBezTo>
                  <a:pt x="0" y="692"/>
                  <a:pt x="0" y="692"/>
                  <a:pt x="0" y="692"/>
                </a:cubicBezTo>
                <a:cubicBezTo>
                  <a:pt x="68" y="945"/>
                  <a:pt x="68" y="945"/>
                  <a:pt x="68" y="945"/>
                </a:cubicBezTo>
                <a:cubicBezTo>
                  <a:pt x="263" y="957"/>
                  <a:pt x="263" y="957"/>
                  <a:pt x="263" y="957"/>
                </a:cubicBezTo>
                <a:cubicBezTo>
                  <a:pt x="270" y="970"/>
                  <a:pt x="277" y="983"/>
                  <a:pt x="284" y="995"/>
                </a:cubicBezTo>
                <a:cubicBezTo>
                  <a:pt x="547" y="844"/>
                  <a:pt x="547" y="844"/>
                  <a:pt x="547" y="844"/>
                </a:cubicBezTo>
                <a:cubicBezTo>
                  <a:pt x="438" y="653"/>
                  <a:pt x="438" y="417"/>
                  <a:pt x="546" y="22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8" name="Freeform 22"/>
          <p:cNvSpPr>
            <a:spLocks/>
          </p:cNvSpPr>
          <p:nvPr/>
        </p:nvSpPr>
        <p:spPr bwMode="auto">
          <a:xfrm>
            <a:off x="9020174" y="8842377"/>
            <a:ext cx="688976" cy="958850"/>
          </a:xfrm>
          <a:custGeom>
            <a:avLst/>
            <a:gdLst>
              <a:gd name="T0" fmla="*/ 171 w 217"/>
              <a:gd name="T1" fmla="*/ 71 h 302"/>
              <a:gd name="T2" fmla="*/ 19 w 217"/>
              <a:gd name="T3" fmla="*/ 0 h 302"/>
              <a:gd name="T4" fmla="*/ 0 w 217"/>
              <a:gd name="T5" fmla="*/ 167 h 302"/>
              <a:gd name="T6" fmla="*/ 41 w 217"/>
              <a:gd name="T7" fmla="*/ 145 h 302"/>
              <a:gd name="T8" fmla="*/ 129 w 217"/>
              <a:gd name="T9" fmla="*/ 302 h 302"/>
              <a:gd name="T10" fmla="*/ 217 w 217"/>
              <a:gd name="T11" fmla="*/ 252 h 302"/>
              <a:gd name="T12" fmla="*/ 131 w 217"/>
              <a:gd name="T13" fmla="*/ 95 h 302"/>
              <a:gd name="T14" fmla="*/ 171 w 217"/>
              <a:gd name="T15" fmla="*/ 71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7" h="302">
                <a:moveTo>
                  <a:pt x="171" y="71"/>
                </a:moveTo>
                <a:lnTo>
                  <a:pt x="19" y="0"/>
                </a:lnTo>
                <a:lnTo>
                  <a:pt x="0" y="167"/>
                </a:lnTo>
                <a:lnTo>
                  <a:pt x="41" y="145"/>
                </a:lnTo>
                <a:lnTo>
                  <a:pt x="129" y="302"/>
                </a:lnTo>
                <a:lnTo>
                  <a:pt x="217" y="252"/>
                </a:lnTo>
                <a:lnTo>
                  <a:pt x="131" y="95"/>
                </a:lnTo>
                <a:lnTo>
                  <a:pt x="171" y="7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X STAGES GEAR DIAGRAM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222711" y="7639668"/>
            <a:ext cx="18904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901289" y="8125896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1445877" y="6121885"/>
            <a:ext cx="1492250" cy="1274462"/>
            <a:chOff x="2670175" y="5141913"/>
            <a:chExt cx="881063" cy="752475"/>
          </a:xfrm>
          <a:solidFill>
            <a:schemeClr val="tx1">
              <a:lumMod val="75000"/>
            </a:schemeClr>
          </a:solidFill>
        </p:grpSpPr>
        <p:sp>
          <p:nvSpPr>
            <p:cNvPr id="16" name="Freeform 58"/>
            <p:cNvSpPr>
              <a:spLocks noEditPoints="1"/>
            </p:cNvSpPr>
            <p:nvPr/>
          </p:nvSpPr>
          <p:spPr bwMode="auto">
            <a:xfrm>
              <a:off x="3109913" y="5472113"/>
              <a:ext cx="28575" cy="30163"/>
            </a:xfrm>
            <a:custGeom>
              <a:avLst/>
              <a:gdLst>
                <a:gd name="T0" fmla="*/ 11 w 13"/>
                <a:gd name="T1" fmla="*/ 3 h 13"/>
                <a:gd name="T2" fmla="*/ 13 w 13"/>
                <a:gd name="T3" fmla="*/ 0 h 13"/>
                <a:gd name="T4" fmla="*/ 0 w 13"/>
                <a:gd name="T5" fmla="*/ 13 h 13"/>
                <a:gd name="T6" fmla="*/ 8 w 13"/>
                <a:gd name="T7" fmla="*/ 12 h 13"/>
                <a:gd name="T8" fmla="*/ 11 w 13"/>
                <a:gd name="T9" fmla="*/ 3 h 13"/>
                <a:gd name="T10" fmla="*/ 11 w 13"/>
                <a:gd name="T11" fmla="*/ 3 h 13"/>
                <a:gd name="T12" fmla="*/ 11 w 13"/>
                <a:gd name="T1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3">
                  <a:moveTo>
                    <a:pt x="11" y="3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3" y="13"/>
                    <a:pt x="6" y="12"/>
                    <a:pt x="8" y="12"/>
                  </a:cubicBezTo>
                  <a:cubicBezTo>
                    <a:pt x="8" y="9"/>
                    <a:pt x="9" y="6"/>
                    <a:pt x="11" y="3"/>
                  </a:cubicBezTo>
                  <a:close/>
                  <a:moveTo>
                    <a:pt x="11" y="3"/>
                  </a:moveTo>
                  <a:cubicBezTo>
                    <a:pt x="11" y="3"/>
                    <a:pt x="11" y="3"/>
                    <a:pt x="11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" name="Freeform 59"/>
            <p:cNvSpPr>
              <a:spLocks noEditPoints="1"/>
            </p:cNvSpPr>
            <p:nvPr/>
          </p:nvSpPr>
          <p:spPr bwMode="auto">
            <a:xfrm>
              <a:off x="3014663" y="5141913"/>
              <a:ext cx="190500" cy="360363"/>
            </a:xfrm>
            <a:custGeom>
              <a:avLst/>
              <a:gdLst>
                <a:gd name="T0" fmla="*/ 45 w 83"/>
                <a:gd name="T1" fmla="*/ 94 h 157"/>
                <a:gd name="T2" fmla="*/ 60 w 83"/>
                <a:gd name="T3" fmla="*/ 133 h 157"/>
                <a:gd name="T4" fmla="*/ 82 w 83"/>
                <a:gd name="T5" fmla="*/ 96 h 157"/>
                <a:gd name="T6" fmla="*/ 83 w 83"/>
                <a:gd name="T7" fmla="*/ 93 h 157"/>
                <a:gd name="T8" fmla="*/ 59 w 83"/>
                <a:gd name="T9" fmla="*/ 82 h 157"/>
                <a:gd name="T10" fmla="*/ 82 w 83"/>
                <a:gd name="T11" fmla="*/ 40 h 157"/>
                <a:gd name="T12" fmla="*/ 41 w 83"/>
                <a:gd name="T13" fmla="*/ 0 h 157"/>
                <a:gd name="T14" fmla="*/ 1 w 83"/>
                <a:gd name="T15" fmla="*/ 40 h 157"/>
                <a:gd name="T16" fmla="*/ 23 w 83"/>
                <a:gd name="T17" fmla="*/ 82 h 157"/>
                <a:gd name="T18" fmla="*/ 2 w 83"/>
                <a:gd name="T19" fmla="*/ 91 h 157"/>
                <a:gd name="T20" fmla="*/ 3 w 83"/>
                <a:gd name="T21" fmla="*/ 98 h 157"/>
                <a:gd name="T22" fmla="*/ 0 w 83"/>
                <a:gd name="T23" fmla="*/ 108 h 157"/>
                <a:gd name="T24" fmla="*/ 3 w 83"/>
                <a:gd name="T25" fmla="*/ 118 h 157"/>
                <a:gd name="T26" fmla="*/ 0 w 83"/>
                <a:gd name="T27" fmla="*/ 128 h 157"/>
                <a:gd name="T28" fmla="*/ 3 w 83"/>
                <a:gd name="T29" fmla="*/ 138 h 157"/>
                <a:gd name="T30" fmla="*/ 0 w 83"/>
                <a:gd name="T31" fmla="*/ 148 h 157"/>
                <a:gd name="T32" fmla="*/ 2 w 83"/>
                <a:gd name="T33" fmla="*/ 154 h 157"/>
                <a:gd name="T34" fmla="*/ 41 w 83"/>
                <a:gd name="T35" fmla="*/ 157 h 157"/>
                <a:gd name="T36" fmla="*/ 21 w 83"/>
                <a:gd name="T37" fmla="*/ 136 h 157"/>
                <a:gd name="T38" fmla="*/ 38 w 83"/>
                <a:gd name="T39" fmla="*/ 94 h 157"/>
                <a:gd name="T40" fmla="*/ 38 w 83"/>
                <a:gd name="T41" fmla="*/ 94 h 157"/>
                <a:gd name="T42" fmla="*/ 31 w 83"/>
                <a:gd name="T43" fmla="*/ 86 h 157"/>
                <a:gd name="T44" fmla="*/ 41 w 83"/>
                <a:gd name="T45" fmla="*/ 88 h 157"/>
                <a:gd name="T46" fmla="*/ 51 w 83"/>
                <a:gd name="T47" fmla="*/ 86 h 157"/>
                <a:gd name="T48" fmla="*/ 45 w 83"/>
                <a:gd name="T49" fmla="*/ 94 h 157"/>
                <a:gd name="T50" fmla="*/ 45 w 83"/>
                <a:gd name="T51" fmla="*/ 94 h 157"/>
                <a:gd name="T52" fmla="*/ 45 w 83"/>
                <a:gd name="T53" fmla="*/ 94 h 157"/>
                <a:gd name="T54" fmla="*/ 45 w 83"/>
                <a:gd name="T55" fmla="*/ 9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157">
                  <a:moveTo>
                    <a:pt x="45" y="94"/>
                  </a:moveTo>
                  <a:cubicBezTo>
                    <a:pt x="60" y="133"/>
                    <a:pt x="60" y="133"/>
                    <a:pt x="60" y="133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95"/>
                    <a:pt x="83" y="94"/>
                    <a:pt x="83" y="93"/>
                  </a:cubicBezTo>
                  <a:cubicBezTo>
                    <a:pt x="76" y="89"/>
                    <a:pt x="68" y="85"/>
                    <a:pt x="59" y="82"/>
                  </a:cubicBezTo>
                  <a:cubicBezTo>
                    <a:pt x="73" y="74"/>
                    <a:pt x="82" y="56"/>
                    <a:pt x="82" y="40"/>
                  </a:cubicBezTo>
                  <a:cubicBezTo>
                    <a:pt x="82" y="18"/>
                    <a:pt x="64" y="0"/>
                    <a:pt x="41" y="0"/>
                  </a:cubicBezTo>
                  <a:cubicBezTo>
                    <a:pt x="19" y="0"/>
                    <a:pt x="1" y="18"/>
                    <a:pt x="1" y="40"/>
                  </a:cubicBezTo>
                  <a:cubicBezTo>
                    <a:pt x="1" y="56"/>
                    <a:pt x="10" y="74"/>
                    <a:pt x="23" y="82"/>
                  </a:cubicBezTo>
                  <a:cubicBezTo>
                    <a:pt x="15" y="84"/>
                    <a:pt x="8" y="88"/>
                    <a:pt x="2" y="91"/>
                  </a:cubicBezTo>
                  <a:cubicBezTo>
                    <a:pt x="2" y="94"/>
                    <a:pt x="3" y="96"/>
                    <a:pt x="3" y="98"/>
                  </a:cubicBezTo>
                  <a:cubicBezTo>
                    <a:pt x="3" y="102"/>
                    <a:pt x="2" y="105"/>
                    <a:pt x="0" y="108"/>
                  </a:cubicBezTo>
                  <a:cubicBezTo>
                    <a:pt x="2" y="111"/>
                    <a:pt x="3" y="114"/>
                    <a:pt x="3" y="118"/>
                  </a:cubicBezTo>
                  <a:cubicBezTo>
                    <a:pt x="3" y="122"/>
                    <a:pt x="2" y="125"/>
                    <a:pt x="0" y="128"/>
                  </a:cubicBezTo>
                  <a:cubicBezTo>
                    <a:pt x="2" y="131"/>
                    <a:pt x="3" y="134"/>
                    <a:pt x="3" y="138"/>
                  </a:cubicBezTo>
                  <a:cubicBezTo>
                    <a:pt x="3" y="141"/>
                    <a:pt x="2" y="145"/>
                    <a:pt x="0" y="148"/>
                  </a:cubicBezTo>
                  <a:cubicBezTo>
                    <a:pt x="1" y="150"/>
                    <a:pt x="2" y="152"/>
                    <a:pt x="2" y="154"/>
                  </a:cubicBezTo>
                  <a:cubicBezTo>
                    <a:pt x="14" y="156"/>
                    <a:pt x="28" y="157"/>
                    <a:pt x="41" y="157"/>
                  </a:cubicBezTo>
                  <a:cubicBezTo>
                    <a:pt x="21" y="136"/>
                    <a:pt x="21" y="136"/>
                    <a:pt x="21" y="136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4" y="88"/>
                    <a:pt x="38" y="88"/>
                    <a:pt x="41" y="88"/>
                  </a:cubicBezTo>
                  <a:cubicBezTo>
                    <a:pt x="45" y="88"/>
                    <a:pt x="48" y="88"/>
                    <a:pt x="51" y="86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5" y="94"/>
                    <a:pt x="45" y="94"/>
                    <a:pt x="45" y="94"/>
                  </a:cubicBezTo>
                  <a:close/>
                  <a:moveTo>
                    <a:pt x="45" y="94"/>
                  </a:moveTo>
                  <a:cubicBezTo>
                    <a:pt x="45" y="94"/>
                    <a:pt x="45" y="94"/>
                    <a:pt x="45" y="9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" name="Freeform 60"/>
            <p:cNvSpPr>
              <a:spLocks noEditPoints="1"/>
            </p:cNvSpPr>
            <p:nvPr/>
          </p:nvSpPr>
          <p:spPr bwMode="auto">
            <a:xfrm>
              <a:off x="2817813" y="5348288"/>
              <a:ext cx="171450" cy="39688"/>
            </a:xfrm>
            <a:custGeom>
              <a:avLst/>
              <a:gdLst>
                <a:gd name="T0" fmla="*/ 8 w 75"/>
                <a:gd name="T1" fmla="*/ 17 h 17"/>
                <a:gd name="T2" fmla="*/ 68 w 75"/>
                <a:gd name="T3" fmla="*/ 17 h 17"/>
                <a:gd name="T4" fmla="*/ 75 w 75"/>
                <a:gd name="T5" fmla="*/ 9 h 17"/>
                <a:gd name="T6" fmla="*/ 75 w 75"/>
                <a:gd name="T7" fmla="*/ 8 h 17"/>
                <a:gd name="T8" fmla="*/ 68 w 75"/>
                <a:gd name="T9" fmla="*/ 0 h 17"/>
                <a:gd name="T10" fmla="*/ 8 w 75"/>
                <a:gd name="T11" fmla="*/ 0 h 17"/>
                <a:gd name="T12" fmla="*/ 0 w 75"/>
                <a:gd name="T13" fmla="*/ 8 h 17"/>
                <a:gd name="T14" fmla="*/ 0 w 75"/>
                <a:gd name="T15" fmla="*/ 9 h 17"/>
                <a:gd name="T16" fmla="*/ 8 w 75"/>
                <a:gd name="T17" fmla="*/ 17 h 17"/>
                <a:gd name="T18" fmla="*/ 8 w 75"/>
                <a:gd name="T19" fmla="*/ 17 h 17"/>
                <a:gd name="T20" fmla="*/ 8 w 75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7">
                  <a:moveTo>
                    <a:pt x="8" y="17"/>
                  </a:moveTo>
                  <a:cubicBezTo>
                    <a:pt x="68" y="17"/>
                    <a:pt x="68" y="17"/>
                    <a:pt x="68" y="17"/>
                  </a:cubicBezTo>
                  <a:cubicBezTo>
                    <a:pt x="72" y="17"/>
                    <a:pt x="75" y="13"/>
                    <a:pt x="75" y="9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4"/>
                    <a:pt x="72" y="0"/>
                    <a:pt x="6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lose/>
                  <a:moveTo>
                    <a:pt x="8" y="17"/>
                  </a:moveTo>
                  <a:cubicBezTo>
                    <a:pt x="8" y="17"/>
                    <a:pt x="8" y="17"/>
                    <a:pt x="8" y="1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9" name="Freeform 61"/>
            <p:cNvSpPr>
              <a:spLocks noEditPoints="1"/>
            </p:cNvSpPr>
            <p:nvPr/>
          </p:nvSpPr>
          <p:spPr bwMode="auto">
            <a:xfrm>
              <a:off x="2817813" y="5394325"/>
              <a:ext cx="171450" cy="39688"/>
            </a:xfrm>
            <a:custGeom>
              <a:avLst/>
              <a:gdLst>
                <a:gd name="T0" fmla="*/ 8 w 75"/>
                <a:gd name="T1" fmla="*/ 17 h 17"/>
                <a:gd name="T2" fmla="*/ 68 w 75"/>
                <a:gd name="T3" fmla="*/ 17 h 17"/>
                <a:gd name="T4" fmla="*/ 75 w 75"/>
                <a:gd name="T5" fmla="*/ 9 h 17"/>
                <a:gd name="T6" fmla="*/ 75 w 75"/>
                <a:gd name="T7" fmla="*/ 8 h 17"/>
                <a:gd name="T8" fmla="*/ 68 w 75"/>
                <a:gd name="T9" fmla="*/ 0 h 17"/>
                <a:gd name="T10" fmla="*/ 8 w 75"/>
                <a:gd name="T11" fmla="*/ 0 h 17"/>
                <a:gd name="T12" fmla="*/ 0 w 75"/>
                <a:gd name="T13" fmla="*/ 8 h 17"/>
                <a:gd name="T14" fmla="*/ 0 w 75"/>
                <a:gd name="T15" fmla="*/ 9 h 17"/>
                <a:gd name="T16" fmla="*/ 8 w 75"/>
                <a:gd name="T17" fmla="*/ 17 h 17"/>
                <a:gd name="T18" fmla="*/ 8 w 75"/>
                <a:gd name="T19" fmla="*/ 17 h 17"/>
                <a:gd name="T20" fmla="*/ 8 w 75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7">
                  <a:moveTo>
                    <a:pt x="8" y="17"/>
                  </a:moveTo>
                  <a:cubicBezTo>
                    <a:pt x="68" y="17"/>
                    <a:pt x="68" y="17"/>
                    <a:pt x="68" y="17"/>
                  </a:cubicBezTo>
                  <a:cubicBezTo>
                    <a:pt x="72" y="17"/>
                    <a:pt x="75" y="13"/>
                    <a:pt x="75" y="9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4"/>
                    <a:pt x="72" y="0"/>
                    <a:pt x="6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lose/>
                  <a:moveTo>
                    <a:pt x="8" y="17"/>
                  </a:moveTo>
                  <a:cubicBezTo>
                    <a:pt x="8" y="17"/>
                    <a:pt x="8" y="17"/>
                    <a:pt x="8" y="1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0" name="Freeform 62"/>
            <p:cNvSpPr>
              <a:spLocks noEditPoints="1"/>
            </p:cNvSpPr>
            <p:nvPr/>
          </p:nvSpPr>
          <p:spPr bwMode="auto">
            <a:xfrm>
              <a:off x="2817813" y="5440363"/>
              <a:ext cx="171450" cy="36513"/>
            </a:xfrm>
            <a:custGeom>
              <a:avLst/>
              <a:gdLst>
                <a:gd name="T0" fmla="*/ 8 w 75"/>
                <a:gd name="T1" fmla="*/ 16 h 16"/>
                <a:gd name="T2" fmla="*/ 68 w 75"/>
                <a:gd name="T3" fmla="*/ 16 h 16"/>
                <a:gd name="T4" fmla="*/ 75 w 75"/>
                <a:gd name="T5" fmla="*/ 9 h 16"/>
                <a:gd name="T6" fmla="*/ 75 w 75"/>
                <a:gd name="T7" fmla="*/ 8 h 16"/>
                <a:gd name="T8" fmla="*/ 68 w 75"/>
                <a:gd name="T9" fmla="*/ 0 h 16"/>
                <a:gd name="T10" fmla="*/ 8 w 75"/>
                <a:gd name="T11" fmla="*/ 0 h 16"/>
                <a:gd name="T12" fmla="*/ 0 w 75"/>
                <a:gd name="T13" fmla="*/ 8 h 16"/>
                <a:gd name="T14" fmla="*/ 0 w 75"/>
                <a:gd name="T15" fmla="*/ 9 h 16"/>
                <a:gd name="T16" fmla="*/ 8 w 75"/>
                <a:gd name="T17" fmla="*/ 16 h 16"/>
                <a:gd name="T18" fmla="*/ 8 w 75"/>
                <a:gd name="T19" fmla="*/ 16 h 16"/>
                <a:gd name="T20" fmla="*/ 8 w 75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6">
                  <a:moveTo>
                    <a:pt x="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72" y="16"/>
                    <a:pt x="75" y="13"/>
                    <a:pt x="75" y="9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3"/>
                    <a:pt x="72" y="0"/>
                    <a:pt x="6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4" y="16"/>
                    <a:pt x="8" y="16"/>
                  </a:cubicBezTo>
                  <a:close/>
                  <a:moveTo>
                    <a:pt x="8" y="16"/>
                  </a:moveTo>
                  <a:cubicBezTo>
                    <a:pt x="8" y="16"/>
                    <a:pt x="8" y="16"/>
                    <a:pt x="8" y="16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1" name="Freeform 63"/>
            <p:cNvSpPr>
              <a:spLocks noEditPoints="1"/>
            </p:cNvSpPr>
            <p:nvPr/>
          </p:nvSpPr>
          <p:spPr bwMode="auto">
            <a:xfrm>
              <a:off x="2817813" y="5486400"/>
              <a:ext cx="171450" cy="36513"/>
            </a:xfrm>
            <a:custGeom>
              <a:avLst/>
              <a:gdLst>
                <a:gd name="T0" fmla="*/ 8 w 75"/>
                <a:gd name="T1" fmla="*/ 16 h 16"/>
                <a:gd name="T2" fmla="*/ 68 w 75"/>
                <a:gd name="T3" fmla="*/ 16 h 16"/>
                <a:gd name="T4" fmla="*/ 75 w 75"/>
                <a:gd name="T5" fmla="*/ 8 h 16"/>
                <a:gd name="T6" fmla="*/ 75 w 75"/>
                <a:gd name="T7" fmla="*/ 7 h 16"/>
                <a:gd name="T8" fmla="*/ 68 w 75"/>
                <a:gd name="T9" fmla="*/ 0 h 16"/>
                <a:gd name="T10" fmla="*/ 8 w 75"/>
                <a:gd name="T11" fmla="*/ 0 h 16"/>
                <a:gd name="T12" fmla="*/ 0 w 75"/>
                <a:gd name="T13" fmla="*/ 7 h 16"/>
                <a:gd name="T14" fmla="*/ 0 w 75"/>
                <a:gd name="T15" fmla="*/ 8 h 16"/>
                <a:gd name="T16" fmla="*/ 8 w 75"/>
                <a:gd name="T17" fmla="*/ 16 h 16"/>
                <a:gd name="T18" fmla="*/ 8 w 75"/>
                <a:gd name="T19" fmla="*/ 16 h 16"/>
                <a:gd name="T20" fmla="*/ 8 w 75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6">
                  <a:moveTo>
                    <a:pt x="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72" y="16"/>
                    <a:pt x="75" y="13"/>
                    <a:pt x="75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3"/>
                    <a:pt x="72" y="0"/>
                    <a:pt x="6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lose/>
                  <a:moveTo>
                    <a:pt x="8" y="16"/>
                  </a:moveTo>
                  <a:cubicBezTo>
                    <a:pt x="8" y="16"/>
                    <a:pt x="8" y="16"/>
                    <a:pt x="8" y="16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2" name="Freeform 64"/>
            <p:cNvSpPr>
              <a:spLocks noEditPoints="1"/>
            </p:cNvSpPr>
            <p:nvPr/>
          </p:nvSpPr>
          <p:spPr bwMode="auto">
            <a:xfrm>
              <a:off x="3155950" y="5364163"/>
              <a:ext cx="111125" cy="161925"/>
            </a:xfrm>
            <a:custGeom>
              <a:avLst/>
              <a:gdLst>
                <a:gd name="T0" fmla="*/ 32 w 49"/>
                <a:gd name="T1" fmla="*/ 5 h 70"/>
                <a:gd name="T2" fmla="*/ 2 w 49"/>
                <a:gd name="T3" fmla="*/ 57 h 70"/>
                <a:gd name="T4" fmla="*/ 5 w 49"/>
                <a:gd name="T5" fmla="*/ 68 h 70"/>
                <a:gd name="T6" fmla="*/ 6 w 49"/>
                <a:gd name="T7" fmla="*/ 68 h 70"/>
                <a:gd name="T8" fmla="*/ 17 w 49"/>
                <a:gd name="T9" fmla="*/ 65 h 70"/>
                <a:gd name="T10" fmla="*/ 47 w 49"/>
                <a:gd name="T11" fmla="*/ 14 h 70"/>
                <a:gd name="T12" fmla="*/ 44 w 49"/>
                <a:gd name="T13" fmla="*/ 3 h 70"/>
                <a:gd name="T14" fmla="*/ 43 w 49"/>
                <a:gd name="T15" fmla="*/ 2 h 70"/>
                <a:gd name="T16" fmla="*/ 32 w 49"/>
                <a:gd name="T17" fmla="*/ 5 h 70"/>
                <a:gd name="T18" fmla="*/ 32 w 49"/>
                <a:gd name="T19" fmla="*/ 5 h 70"/>
                <a:gd name="T20" fmla="*/ 32 w 49"/>
                <a:gd name="T21" fmla="*/ 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70">
                  <a:moveTo>
                    <a:pt x="32" y="5"/>
                  </a:moveTo>
                  <a:cubicBezTo>
                    <a:pt x="2" y="57"/>
                    <a:pt x="2" y="57"/>
                    <a:pt x="2" y="57"/>
                  </a:cubicBezTo>
                  <a:cubicBezTo>
                    <a:pt x="0" y="61"/>
                    <a:pt x="2" y="66"/>
                    <a:pt x="5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10" y="70"/>
                    <a:pt x="15" y="69"/>
                    <a:pt x="17" y="6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9" y="10"/>
                    <a:pt x="47" y="5"/>
                    <a:pt x="44" y="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39" y="0"/>
                    <a:pt x="34" y="2"/>
                    <a:pt x="32" y="5"/>
                  </a:cubicBezTo>
                  <a:close/>
                  <a:moveTo>
                    <a:pt x="32" y="5"/>
                  </a:moveTo>
                  <a:cubicBezTo>
                    <a:pt x="32" y="5"/>
                    <a:pt x="32" y="5"/>
                    <a:pt x="32" y="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3" name="Freeform 65"/>
            <p:cNvSpPr>
              <a:spLocks noEditPoints="1"/>
            </p:cNvSpPr>
            <p:nvPr/>
          </p:nvSpPr>
          <p:spPr bwMode="auto">
            <a:xfrm>
              <a:off x="3260725" y="5394325"/>
              <a:ext cx="173038" cy="39688"/>
            </a:xfrm>
            <a:custGeom>
              <a:avLst/>
              <a:gdLst>
                <a:gd name="T0" fmla="*/ 0 w 75"/>
                <a:gd name="T1" fmla="*/ 9 h 17"/>
                <a:gd name="T2" fmla="*/ 7 w 75"/>
                <a:gd name="T3" fmla="*/ 17 h 17"/>
                <a:gd name="T4" fmla="*/ 67 w 75"/>
                <a:gd name="T5" fmla="*/ 17 h 17"/>
                <a:gd name="T6" fmla="*/ 75 w 75"/>
                <a:gd name="T7" fmla="*/ 9 h 17"/>
                <a:gd name="T8" fmla="*/ 75 w 75"/>
                <a:gd name="T9" fmla="*/ 8 h 17"/>
                <a:gd name="T10" fmla="*/ 67 w 75"/>
                <a:gd name="T11" fmla="*/ 0 h 17"/>
                <a:gd name="T12" fmla="*/ 7 w 75"/>
                <a:gd name="T13" fmla="*/ 0 h 17"/>
                <a:gd name="T14" fmla="*/ 0 w 75"/>
                <a:gd name="T15" fmla="*/ 8 h 17"/>
                <a:gd name="T16" fmla="*/ 0 w 75"/>
                <a:gd name="T17" fmla="*/ 9 h 17"/>
                <a:gd name="T18" fmla="*/ 0 w 75"/>
                <a:gd name="T19" fmla="*/ 9 h 17"/>
                <a:gd name="T20" fmla="*/ 0 w 75"/>
                <a:gd name="T2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7">
                  <a:moveTo>
                    <a:pt x="0" y="9"/>
                  </a:moveTo>
                  <a:cubicBezTo>
                    <a:pt x="0" y="13"/>
                    <a:pt x="3" y="17"/>
                    <a:pt x="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71" y="17"/>
                    <a:pt x="75" y="13"/>
                    <a:pt x="75" y="9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4"/>
                    <a:pt x="71" y="0"/>
                    <a:pt x="6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lnTo>
                    <a:pt x="0" y="9"/>
                  </a:lnTo>
                  <a:close/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4" name="Freeform 66"/>
            <p:cNvSpPr>
              <a:spLocks noEditPoints="1"/>
            </p:cNvSpPr>
            <p:nvPr/>
          </p:nvSpPr>
          <p:spPr bwMode="auto">
            <a:xfrm>
              <a:off x="3260725" y="5440363"/>
              <a:ext cx="173038" cy="36513"/>
            </a:xfrm>
            <a:custGeom>
              <a:avLst/>
              <a:gdLst>
                <a:gd name="T0" fmla="*/ 75 w 75"/>
                <a:gd name="T1" fmla="*/ 8 h 16"/>
                <a:gd name="T2" fmla="*/ 67 w 75"/>
                <a:gd name="T3" fmla="*/ 0 h 16"/>
                <a:gd name="T4" fmla="*/ 7 w 75"/>
                <a:gd name="T5" fmla="*/ 0 h 16"/>
                <a:gd name="T6" fmla="*/ 0 w 75"/>
                <a:gd name="T7" fmla="*/ 8 h 16"/>
                <a:gd name="T8" fmla="*/ 0 w 75"/>
                <a:gd name="T9" fmla="*/ 9 h 16"/>
                <a:gd name="T10" fmla="*/ 7 w 75"/>
                <a:gd name="T11" fmla="*/ 16 h 16"/>
                <a:gd name="T12" fmla="*/ 67 w 75"/>
                <a:gd name="T13" fmla="*/ 16 h 16"/>
                <a:gd name="T14" fmla="*/ 75 w 75"/>
                <a:gd name="T15" fmla="*/ 9 h 16"/>
                <a:gd name="T16" fmla="*/ 75 w 75"/>
                <a:gd name="T17" fmla="*/ 8 h 16"/>
                <a:gd name="T18" fmla="*/ 75 w 75"/>
                <a:gd name="T19" fmla="*/ 8 h 16"/>
                <a:gd name="T20" fmla="*/ 75 w 75"/>
                <a:gd name="T2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6">
                  <a:moveTo>
                    <a:pt x="75" y="8"/>
                  </a:moveTo>
                  <a:cubicBezTo>
                    <a:pt x="75" y="3"/>
                    <a:pt x="71" y="0"/>
                    <a:pt x="6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3" y="16"/>
                    <a:pt x="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71" y="16"/>
                    <a:pt x="75" y="13"/>
                    <a:pt x="75" y="9"/>
                  </a:cubicBezTo>
                  <a:lnTo>
                    <a:pt x="75" y="8"/>
                  </a:lnTo>
                  <a:close/>
                  <a:moveTo>
                    <a:pt x="75" y="8"/>
                  </a:moveTo>
                  <a:cubicBezTo>
                    <a:pt x="75" y="8"/>
                    <a:pt x="75" y="8"/>
                    <a:pt x="75" y="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5" name="Freeform 67"/>
            <p:cNvSpPr>
              <a:spLocks noEditPoints="1"/>
            </p:cNvSpPr>
            <p:nvPr/>
          </p:nvSpPr>
          <p:spPr bwMode="auto">
            <a:xfrm>
              <a:off x="3260725" y="5486400"/>
              <a:ext cx="173038" cy="36513"/>
            </a:xfrm>
            <a:custGeom>
              <a:avLst/>
              <a:gdLst>
                <a:gd name="T0" fmla="*/ 67 w 75"/>
                <a:gd name="T1" fmla="*/ 0 h 16"/>
                <a:gd name="T2" fmla="*/ 7 w 75"/>
                <a:gd name="T3" fmla="*/ 0 h 16"/>
                <a:gd name="T4" fmla="*/ 0 w 75"/>
                <a:gd name="T5" fmla="*/ 7 h 16"/>
                <a:gd name="T6" fmla="*/ 0 w 75"/>
                <a:gd name="T7" fmla="*/ 8 h 16"/>
                <a:gd name="T8" fmla="*/ 7 w 75"/>
                <a:gd name="T9" fmla="*/ 16 h 16"/>
                <a:gd name="T10" fmla="*/ 67 w 75"/>
                <a:gd name="T11" fmla="*/ 16 h 16"/>
                <a:gd name="T12" fmla="*/ 75 w 75"/>
                <a:gd name="T13" fmla="*/ 8 h 16"/>
                <a:gd name="T14" fmla="*/ 75 w 75"/>
                <a:gd name="T15" fmla="*/ 7 h 16"/>
                <a:gd name="T16" fmla="*/ 67 w 75"/>
                <a:gd name="T17" fmla="*/ 0 h 16"/>
                <a:gd name="T18" fmla="*/ 67 w 75"/>
                <a:gd name="T19" fmla="*/ 0 h 16"/>
                <a:gd name="T20" fmla="*/ 67 w 75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6">
                  <a:moveTo>
                    <a:pt x="6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3"/>
                    <a:pt x="3" y="16"/>
                    <a:pt x="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71" y="16"/>
                    <a:pt x="75" y="13"/>
                    <a:pt x="75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3"/>
                    <a:pt x="71" y="0"/>
                    <a:pt x="67" y="0"/>
                  </a:cubicBezTo>
                  <a:close/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6" name="Freeform 68"/>
            <p:cNvSpPr>
              <a:spLocks noEditPoints="1"/>
            </p:cNvSpPr>
            <p:nvPr/>
          </p:nvSpPr>
          <p:spPr bwMode="auto">
            <a:xfrm>
              <a:off x="2670175" y="5511800"/>
              <a:ext cx="881063" cy="382588"/>
            </a:xfrm>
            <a:custGeom>
              <a:avLst/>
              <a:gdLst>
                <a:gd name="T0" fmla="*/ 555 w 555"/>
                <a:gd name="T1" fmla="*/ 58 h 241"/>
                <a:gd name="T2" fmla="*/ 555 w 555"/>
                <a:gd name="T3" fmla="*/ 33 h 241"/>
                <a:gd name="T4" fmla="*/ 502 w 555"/>
                <a:gd name="T5" fmla="*/ 0 h 241"/>
                <a:gd name="T6" fmla="*/ 539 w 555"/>
                <a:gd name="T7" fmla="*/ 33 h 241"/>
                <a:gd name="T8" fmla="*/ 16 w 555"/>
                <a:gd name="T9" fmla="*/ 33 h 241"/>
                <a:gd name="T10" fmla="*/ 52 w 555"/>
                <a:gd name="T11" fmla="*/ 0 h 241"/>
                <a:gd name="T12" fmla="*/ 0 w 555"/>
                <a:gd name="T13" fmla="*/ 33 h 241"/>
                <a:gd name="T14" fmla="*/ 0 w 555"/>
                <a:gd name="T15" fmla="*/ 58 h 241"/>
                <a:gd name="T16" fmla="*/ 52 w 555"/>
                <a:gd name="T17" fmla="*/ 58 h 241"/>
                <a:gd name="T18" fmla="*/ 52 w 555"/>
                <a:gd name="T19" fmla="*/ 212 h 241"/>
                <a:gd name="T20" fmla="*/ 39 w 555"/>
                <a:gd name="T21" fmla="*/ 212 h 241"/>
                <a:gd name="T22" fmla="*/ 39 w 555"/>
                <a:gd name="T23" fmla="*/ 226 h 241"/>
                <a:gd name="T24" fmla="*/ 20 w 555"/>
                <a:gd name="T25" fmla="*/ 226 h 241"/>
                <a:gd name="T26" fmla="*/ 20 w 555"/>
                <a:gd name="T27" fmla="*/ 241 h 241"/>
                <a:gd name="T28" fmla="*/ 534 w 555"/>
                <a:gd name="T29" fmla="*/ 241 h 241"/>
                <a:gd name="T30" fmla="*/ 534 w 555"/>
                <a:gd name="T31" fmla="*/ 226 h 241"/>
                <a:gd name="T32" fmla="*/ 515 w 555"/>
                <a:gd name="T33" fmla="*/ 226 h 241"/>
                <a:gd name="T34" fmla="*/ 515 w 555"/>
                <a:gd name="T35" fmla="*/ 212 h 241"/>
                <a:gd name="T36" fmla="*/ 502 w 555"/>
                <a:gd name="T37" fmla="*/ 212 h 241"/>
                <a:gd name="T38" fmla="*/ 502 w 555"/>
                <a:gd name="T39" fmla="*/ 58 h 241"/>
                <a:gd name="T40" fmla="*/ 555 w 555"/>
                <a:gd name="T41" fmla="*/ 58 h 241"/>
                <a:gd name="T42" fmla="*/ 555 w 555"/>
                <a:gd name="T43" fmla="*/ 58 h 241"/>
                <a:gd name="T44" fmla="*/ 555 w 555"/>
                <a:gd name="T45" fmla="*/ 5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5" h="241">
                  <a:moveTo>
                    <a:pt x="555" y="58"/>
                  </a:moveTo>
                  <a:lnTo>
                    <a:pt x="555" y="33"/>
                  </a:lnTo>
                  <a:lnTo>
                    <a:pt x="502" y="0"/>
                  </a:lnTo>
                  <a:lnTo>
                    <a:pt x="539" y="33"/>
                  </a:lnTo>
                  <a:lnTo>
                    <a:pt x="16" y="33"/>
                  </a:lnTo>
                  <a:lnTo>
                    <a:pt x="52" y="0"/>
                  </a:lnTo>
                  <a:lnTo>
                    <a:pt x="0" y="33"/>
                  </a:lnTo>
                  <a:lnTo>
                    <a:pt x="0" y="58"/>
                  </a:lnTo>
                  <a:lnTo>
                    <a:pt x="52" y="58"/>
                  </a:lnTo>
                  <a:lnTo>
                    <a:pt x="52" y="212"/>
                  </a:lnTo>
                  <a:lnTo>
                    <a:pt x="39" y="212"/>
                  </a:lnTo>
                  <a:lnTo>
                    <a:pt x="39" y="226"/>
                  </a:lnTo>
                  <a:lnTo>
                    <a:pt x="20" y="226"/>
                  </a:lnTo>
                  <a:lnTo>
                    <a:pt x="20" y="241"/>
                  </a:lnTo>
                  <a:lnTo>
                    <a:pt x="534" y="241"/>
                  </a:lnTo>
                  <a:lnTo>
                    <a:pt x="534" y="226"/>
                  </a:lnTo>
                  <a:lnTo>
                    <a:pt x="515" y="226"/>
                  </a:lnTo>
                  <a:lnTo>
                    <a:pt x="515" y="212"/>
                  </a:lnTo>
                  <a:lnTo>
                    <a:pt x="502" y="212"/>
                  </a:lnTo>
                  <a:lnTo>
                    <a:pt x="502" y="58"/>
                  </a:lnTo>
                  <a:lnTo>
                    <a:pt x="555" y="58"/>
                  </a:lnTo>
                  <a:close/>
                  <a:moveTo>
                    <a:pt x="555" y="58"/>
                  </a:moveTo>
                  <a:lnTo>
                    <a:pt x="555" y="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7" name="Freeform 69"/>
            <p:cNvSpPr>
              <a:spLocks noEditPoints="1"/>
            </p:cNvSpPr>
            <p:nvPr/>
          </p:nvSpPr>
          <p:spPr bwMode="auto">
            <a:xfrm>
              <a:off x="2670175" y="5511800"/>
              <a:ext cx="881063" cy="382588"/>
            </a:xfrm>
            <a:custGeom>
              <a:avLst/>
              <a:gdLst>
                <a:gd name="T0" fmla="*/ 555 w 555"/>
                <a:gd name="T1" fmla="*/ 58 h 241"/>
                <a:gd name="T2" fmla="*/ 555 w 555"/>
                <a:gd name="T3" fmla="*/ 33 h 241"/>
                <a:gd name="T4" fmla="*/ 502 w 555"/>
                <a:gd name="T5" fmla="*/ 0 h 241"/>
                <a:gd name="T6" fmla="*/ 539 w 555"/>
                <a:gd name="T7" fmla="*/ 33 h 241"/>
                <a:gd name="T8" fmla="*/ 16 w 555"/>
                <a:gd name="T9" fmla="*/ 33 h 241"/>
                <a:gd name="T10" fmla="*/ 52 w 555"/>
                <a:gd name="T11" fmla="*/ 0 h 241"/>
                <a:gd name="T12" fmla="*/ 0 w 555"/>
                <a:gd name="T13" fmla="*/ 33 h 241"/>
                <a:gd name="T14" fmla="*/ 0 w 555"/>
                <a:gd name="T15" fmla="*/ 58 h 241"/>
                <a:gd name="T16" fmla="*/ 52 w 555"/>
                <a:gd name="T17" fmla="*/ 58 h 241"/>
                <a:gd name="T18" fmla="*/ 52 w 555"/>
                <a:gd name="T19" fmla="*/ 212 h 241"/>
                <a:gd name="T20" fmla="*/ 39 w 555"/>
                <a:gd name="T21" fmla="*/ 212 h 241"/>
                <a:gd name="T22" fmla="*/ 39 w 555"/>
                <a:gd name="T23" fmla="*/ 226 h 241"/>
                <a:gd name="T24" fmla="*/ 20 w 555"/>
                <a:gd name="T25" fmla="*/ 226 h 241"/>
                <a:gd name="T26" fmla="*/ 20 w 555"/>
                <a:gd name="T27" fmla="*/ 241 h 241"/>
                <a:gd name="T28" fmla="*/ 534 w 555"/>
                <a:gd name="T29" fmla="*/ 241 h 241"/>
                <a:gd name="T30" fmla="*/ 534 w 555"/>
                <a:gd name="T31" fmla="*/ 226 h 241"/>
                <a:gd name="T32" fmla="*/ 515 w 555"/>
                <a:gd name="T33" fmla="*/ 226 h 241"/>
                <a:gd name="T34" fmla="*/ 515 w 555"/>
                <a:gd name="T35" fmla="*/ 212 h 241"/>
                <a:gd name="T36" fmla="*/ 502 w 555"/>
                <a:gd name="T37" fmla="*/ 212 h 241"/>
                <a:gd name="T38" fmla="*/ 502 w 555"/>
                <a:gd name="T39" fmla="*/ 58 h 241"/>
                <a:gd name="T40" fmla="*/ 555 w 555"/>
                <a:gd name="T41" fmla="*/ 58 h 241"/>
                <a:gd name="T42" fmla="*/ 555 w 555"/>
                <a:gd name="T43" fmla="*/ 58 h 241"/>
                <a:gd name="T44" fmla="*/ 555 w 555"/>
                <a:gd name="T45" fmla="*/ 5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5" h="241">
                  <a:moveTo>
                    <a:pt x="555" y="58"/>
                  </a:moveTo>
                  <a:lnTo>
                    <a:pt x="555" y="33"/>
                  </a:lnTo>
                  <a:lnTo>
                    <a:pt x="502" y="0"/>
                  </a:lnTo>
                  <a:lnTo>
                    <a:pt x="539" y="33"/>
                  </a:lnTo>
                  <a:lnTo>
                    <a:pt x="16" y="33"/>
                  </a:lnTo>
                  <a:lnTo>
                    <a:pt x="52" y="0"/>
                  </a:lnTo>
                  <a:lnTo>
                    <a:pt x="0" y="33"/>
                  </a:lnTo>
                  <a:lnTo>
                    <a:pt x="0" y="58"/>
                  </a:lnTo>
                  <a:lnTo>
                    <a:pt x="52" y="58"/>
                  </a:lnTo>
                  <a:lnTo>
                    <a:pt x="52" y="212"/>
                  </a:lnTo>
                  <a:lnTo>
                    <a:pt x="39" y="212"/>
                  </a:lnTo>
                  <a:lnTo>
                    <a:pt x="39" y="226"/>
                  </a:lnTo>
                  <a:lnTo>
                    <a:pt x="20" y="226"/>
                  </a:lnTo>
                  <a:lnTo>
                    <a:pt x="20" y="241"/>
                  </a:lnTo>
                  <a:lnTo>
                    <a:pt x="534" y="241"/>
                  </a:lnTo>
                  <a:lnTo>
                    <a:pt x="534" y="226"/>
                  </a:lnTo>
                  <a:lnTo>
                    <a:pt x="515" y="226"/>
                  </a:lnTo>
                  <a:lnTo>
                    <a:pt x="515" y="212"/>
                  </a:lnTo>
                  <a:lnTo>
                    <a:pt x="502" y="212"/>
                  </a:lnTo>
                  <a:lnTo>
                    <a:pt x="502" y="58"/>
                  </a:lnTo>
                  <a:lnTo>
                    <a:pt x="555" y="58"/>
                  </a:lnTo>
                  <a:moveTo>
                    <a:pt x="555" y="58"/>
                  </a:moveTo>
                  <a:lnTo>
                    <a:pt x="555" y="5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6674672" y="3134700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993161" y="3536978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6013825" y="3134700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6013828" y="3536978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391924" y="6550318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710413" y="6952596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7371887" y="6550318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7371890" y="6952596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303440" y="10151830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621929" y="10554108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6150783" y="10151830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6150786" y="10554108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40" name="Freeform 6"/>
          <p:cNvSpPr>
            <a:spLocks noEditPoints="1"/>
          </p:cNvSpPr>
          <p:nvPr/>
        </p:nvSpPr>
        <p:spPr bwMode="auto">
          <a:xfrm>
            <a:off x="10173709" y="4681643"/>
            <a:ext cx="674258" cy="638770"/>
          </a:xfrm>
          <a:custGeom>
            <a:avLst/>
            <a:gdLst>
              <a:gd name="T0" fmla="*/ 182 w 201"/>
              <a:gd name="T1" fmla="*/ 45 h 190"/>
              <a:gd name="T2" fmla="*/ 185 w 201"/>
              <a:gd name="T3" fmla="*/ 33 h 190"/>
              <a:gd name="T4" fmla="*/ 174 w 201"/>
              <a:gd name="T5" fmla="*/ 24 h 190"/>
              <a:gd name="T6" fmla="*/ 172 w 201"/>
              <a:gd name="T7" fmla="*/ 19 h 190"/>
              <a:gd name="T8" fmla="*/ 156 w 201"/>
              <a:gd name="T9" fmla="*/ 14 h 190"/>
              <a:gd name="T10" fmla="*/ 101 w 201"/>
              <a:gd name="T11" fmla="*/ 0 h 190"/>
              <a:gd name="T12" fmla="*/ 47 w 201"/>
              <a:gd name="T13" fmla="*/ 12 h 190"/>
              <a:gd name="T14" fmla="*/ 31 w 201"/>
              <a:gd name="T15" fmla="*/ 17 h 190"/>
              <a:gd name="T16" fmla="*/ 29 w 201"/>
              <a:gd name="T17" fmla="*/ 22 h 190"/>
              <a:gd name="T18" fmla="*/ 18 w 201"/>
              <a:gd name="T19" fmla="*/ 31 h 190"/>
              <a:gd name="T20" fmla="*/ 21 w 201"/>
              <a:gd name="T21" fmla="*/ 43 h 190"/>
              <a:gd name="T22" fmla="*/ 20 w 201"/>
              <a:gd name="T23" fmla="*/ 151 h 190"/>
              <a:gd name="T24" fmla="*/ 24 w 201"/>
              <a:gd name="T25" fmla="*/ 167 h 190"/>
              <a:gd name="T26" fmla="*/ 30 w 201"/>
              <a:gd name="T27" fmla="*/ 169 h 190"/>
              <a:gd name="T28" fmla="*/ 32 w 201"/>
              <a:gd name="T29" fmla="*/ 174 h 190"/>
              <a:gd name="T30" fmla="*/ 43 w 201"/>
              <a:gd name="T31" fmla="*/ 181 h 190"/>
              <a:gd name="T32" fmla="*/ 51 w 201"/>
              <a:gd name="T33" fmla="*/ 176 h 190"/>
              <a:gd name="T34" fmla="*/ 153 w 201"/>
              <a:gd name="T35" fmla="*/ 175 h 190"/>
              <a:gd name="T36" fmla="*/ 160 w 201"/>
              <a:gd name="T37" fmla="*/ 179 h 190"/>
              <a:gd name="T38" fmla="*/ 171 w 201"/>
              <a:gd name="T39" fmla="*/ 172 h 190"/>
              <a:gd name="T40" fmla="*/ 173 w 201"/>
              <a:gd name="T41" fmla="*/ 167 h 190"/>
              <a:gd name="T42" fmla="*/ 179 w 201"/>
              <a:gd name="T43" fmla="*/ 165 h 190"/>
              <a:gd name="T44" fmla="*/ 184 w 201"/>
              <a:gd name="T45" fmla="*/ 149 h 190"/>
              <a:gd name="T46" fmla="*/ 188 w 201"/>
              <a:gd name="T47" fmla="*/ 95 h 190"/>
              <a:gd name="T48" fmla="*/ 161 w 201"/>
              <a:gd name="T49" fmla="*/ 126 h 190"/>
              <a:gd name="T50" fmla="*/ 176 w 201"/>
              <a:gd name="T51" fmla="*/ 51 h 190"/>
              <a:gd name="T52" fmla="*/ 82 w 201"/>
              <a:gd name="T53" fmla="*/ 142 h 190"/>
              <a:gd name="T54" fmla="*/ 72 w 201"/>
              <a:gd name="T55" fmla="*/ 134 h 190"/>
              <a:gd name="T56" fmla="*/ 64 w 201"/>
              <a:gd name="T57" fmla="*/ 127 h 190"/>
              <a:gd name="T58" fmla="*/ 56 w 201"/>
              <a:gd name="T59" fmla="*/ 116 h 190"/>
              <a:gd name="T60" fmla="*/ 47 w 201"/>
              <a:gd name="T61" fmla="*/ 123 h 190"/>
              <a:gd name="T62" fmla="*/ 51 w 201"/>
              <a:gd name="T63" fmla="*/ 73 h 190"/>
              <a:gd name="T64" fmla="*/ 58 w 201"/>
              <a:gd name="T65" fmla="*/ 71 h 190"/>
              <a:gd name="T66" fmla="*/ 64 w 201"/>
              <a:gd name="T67" fmla="*/ 58 h 190"/>
              <a:gd name="T68" fmla="*/ 70 w 201"/>
              <a:gd name="T69" fmla="*/ 57 h 190"/>
              <a:gd name="T70" fmla="*/ 81 w 201"/>
              <a:gd name="T71" fmla="*/ 48 h 190"/>
              <a:gd name="T72" fmla="*/ 75 w 201"/>
              <a:gd name="T73" fmla="*/ 41 h 190"/>
              <a:gd name="T74" fmla="*/ 128 w 201"/>
              <a:gd name="T75" fmla="*/ 42 h 190"/>
              <a:gd name="T76" fmla="*/ 122 w 201"/>
              <a:gd name="T77" fmla="*/ 51 h 190"/>
              <a:gd name="T78" fmla="*/ 133 w 201"/>
              <a:gd name="T79" fmla="*/ 59 h 190"/>
              <a:gd name="T80" fmla="*/ 139 w 201"/>
              <a:gd name="T81" fmla="*/ 60 h 190"/>
              <a:gd name="T82" fmla="*/ 144 w 201"/>
              <a:gd name="T83" fmla="*/ 73 h 190"/>
              <a:gd name="T84" fmla="*/ 152 w 201"/>
              <a:gd name="T85" fmla="*/ 75 h 190"/>
              <a:gd name="T86" fmla="*/ 155 w 201"/>
              <a:gd name="T87" fmla="*/ 120 h 190"/>
              <a:gd name="T88" fmla="*/ 148 w 201"/>
              <a:gd name="T89" fmla="*/ 115 h 190"/>
              <a:gd name="T90" fmla="*/ 139 w 201"/>
              <a:gd name="T91" fmla="*/ 125 h 190"/>
              <a:gd name="T92" fmla="*/ 132 w 201"/>
              <a:gd name="T93" fmla="*/ 132 h 190"/>
              <a:gd name="T94" fmla="*/ 122 w 201"/>
              <a:gd name="T95" fmla="*/ 141 h 190"/>
              <a:gd name="T96" fmla="*/ 127 w 201"/>
              <a:gd name="T97" fmla="*/ 149 h 190"/>
              <a:gd name="T98" fmla="*/ 77 w 201"/>
              <a:gd name="T99" fmla="*/ 150 h 190"/>
              <a:gd name="T100" fmla="*/ 82 w 201"/>
              <a:gd name="T101" fmla="*/ 142 h 190"/>
              <a:gd name="T102" fmla="*/ 148 w 201"/>
              <a:gd name="T103" fmla="*/ 22 h 190"/>
              <a:gd name="T104" fmla="*/ 101 w 201"/>
              <a:gd name="T105" fmla="*/ 27 h 190"/>
              <a:gd name="T106" fmla="*/ 55 w 201"/>
              <a:gd name="T107" fmla="*/ 21 h 190"/>
              <a:gd name="T108" fmla="*/ 14 w 201"/>
              <a:gd name="T109" fmla="*/ 95 h 190"/>
              <a:gd name="T110" fmla="*/ 41 w 201"/>
              <a:gd name="T111" fmla="*/ 63 h 190"/>
              <a:gd name="T112" fmla="*/ 28 w 201"/>
              <a:gd name="T113" fmla="*/ 143 h 190"/>
              <a:gd name="T114" fmla="*/ 101 w 201"/>
              <a:gd name="T115" fmla="*/ 182 h 190"/>
              <a:gd name="T116" fmla="*/ 71 w 201"/>
              <a:gd name="T117" fmla="*/ 156 h 190"/>
              <a:gd name="T118" fmla="*/ 133 w 201"/>
              <a:gd name="T119" fmla="*/ 155 h 190"/>
              <a:gd name="T120" fmla="*/ 101 w 201"/>
              <a:gd name="T121" fmla="*/ 182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1" h="190">
                <a:moveTo>
                  <a:pt x="181" y="146"/>
                </a:moveTo>
                <a:cubicBezTo>
                  <a:pt x="201" y="115"/>
                  <a:pt x="201" y="76"/>
                  <a:pt x="182" y="45"/>
                </a:cubicBezTo>
                <a:cubicBezTo>
                  <a:pt x="185" y="42"/>
                  <a:pt x="185" y="42"/>
                  <a:pt x="185" y="42"/>
                </a:cubicBezTo>
                <a:cubicBezTo>
                  <a:pt x="187" y="40"/>
                  <a:pt x="187" y="36"/>
                  <a:pt x="185" y="33"/>
                </a:cubicBezTo>
                <a:cubicBezTo>
                  <a:pt x="180" y="26"/>
                  <a:pt x="180" y="26"/>
                  <a:pt x="180" y="26"/>
                </a:cubicBezTo>
                <a:cubicBezTo>
                  <a:pt x="178" y="25"/>
                  <a:pt x="176" y="24"/>
                  <a:pt x="174" y="24"/>
                </a:cubicBezTo>
                <a:cubicBezTo>
                  <a:pt x="174" y="24"/>
                  <a:pt x="174" y="23"/>
                  <a:pt x="174" y="23"/>
                </a:cubicBezTo>
                <a:cubicBezTo>
                  <a:pt x="174" y="21"/>
                  <a:pt x="174" y="20"/>
                  <a:pt x="172" y="19"/>
                </a:cubicBezTo>
                <a:cubicBezTo>
                  <a:pt x="165" y="13"/>
                  <a:pt x="165" y="13"/>
                  <a:pt x="165" y="13"/>
                </a:cubicBezTo>
                <a:cubicBezTo>
                  <a:pt x="163" y="11"/>
                  <a:pt x="159" y="12"/>
                  <a:pt x="156" y="14"/>
                </a:cubicBezTo>
                <a:cubicBezTo>
                  <a:pt x="154" y="16"/>
                  <a:pt x="154" y="16"/>
                  <a:pt x="154" y="16"/>
                </a:cubicBezTo>
                <a:cubicBezTo>
                  <a:pt x="138" y="5"/>
                  <a:pt x="119" y="0"/>
                  <a:pt x="101" y="0"/>
                </a:cubicBezTo>
                <a:cubicBezTo>
                  <a:pt x="83" y="0"/>
                  <a:pt x="65" y="5"/>
                  <a:pt x="50" y="15"/>
                </a:cubicBezTo>
                <a:cubicBezTo>
                  <a:pt x="47" y="12"/>
                  <a:pt x="47" y="12"/>
                  <a:pt x="47" y="12"/>
                </a:cubicBezTo>
                <a:cubicBezTo>
                  <a:pt x="45" y="10"/>
                  <a:pt x="40" y="9"/>
                  <a:pt x="38" y="11"/>
                </a:cubicBezTo>
                <a:cubicBezTo>
                  <a:pt x="31" y="17"/>
                  <a:pt x="31" y="17"/>
                  <a:pt x="31" y="17"/>
                </a:cubicBezTo>
                <a:cubicBezTo>
                  <a:pt x="30" y="18"/>
                  <a:pt x="29" y="19"/>
                  <a:pt x="29" y="21"/>
                </a:cubicBezTo>
                <a:cubicBezTo>
                  <a:pt x="29" y="22"/>
                  <a:pt x="29" y="22"/>
                  <a:pt x="29" y="22"/>
                </a:cubicBezTo>
                <a:cubicBezTo>
                  <a:pt x="27" y="22"/>
                  <a:pt x="25" y="23"/>
                  <a:pt x="23" y="24"/>
                </a:cubicBezTo>
                <a:cubicBezTo>
                  <a:pt x="18" y="31"/>
                  <a:pt x="18" y="31"/>
                  <a:pt x="18" y="31"/>
                </a:cubicBezTo>
                <a:cubicBezTo>
                  <a:pt x="16" y="34"/>
                  <a:pt x="16" y="38"/>
                  <a:pt x="18" y="40"/>
                </a:cubicBezTo>
                <a:cubicBezTo>
                  <a:pt x="21" y="43"/>
                  <a:pt x="21" y="43"/>
                  <a:pt x="21" y="43"/>
                </a:cubicBezTo>
                <a:cubicBezTo>
                  <a:pt x="0" y="75"/>
                  <a:pt x="0" y="117"/>
                  <a:pt x="22" y="148"/>
                </a:cubicBezTo>
                <a:cubicBezTo>
                  <a:pt x="20" y="151"/>
                  <a:pt x="20" y="151"/>
                  <a:pt x="20" y="151"/>
                </a:cubicBezTo>
                <a:cubicBezTo>
                  <a:pt x="17" y="153"/>
                  <a:pt x="17" y="157"/>
                  <a:pt x="19" y="160"/>
                </a:cubicBezTo>
                <a:cubicBezTo>
                  <a:pt x="24" y="167"/>
                  <a:pt x="24" y="167"/>
                  <a:pt x="24" y="167"/>
                </a:cubicBezTo>
                <a:cubicBezTo>
                  <a:pt x="26" y="168"/>
                  <a:pt x="27" y="169"/>
                  <a:pt x="29" y="169"/>
                </a:cubicBezTo>
                <a:cubicBezTo>
                  <a:pt x="29" y="169"/>
                  <a:pt x="30" y="169"/>
                  <a:pt x="30" y="169"/>
                </a:cubicBezTo>
                <a:cubicBezTo>
                  <a:pt x="30" y="169"/>
                  <a:pt x="30" y="169"/>
                  <a:pt x="30" y="170"/>
                </a:cubicBezTo>
                <a:cubicBezTo>
                  <a:pt x="30" y="171"/>
                  <a:pt x="31" y="173"/>
                  <a:pt x="32" y="174"/>
                </a:cubicBezTo>
                <a:cubicBezTo>
                  <a:pt x="39" y="180"/>
                  <a:pt x="39" y="180"/>
                  <a:pt x="39" y="180"/>
                </a:cubicBezTo>
                <a:cubicBezTo>
                  <a:pt x="40" y="180"/>
                  <a:pt x="41" y="181"/>
                  <a:pt x="43" y="181"/>
                </a:cubicBezTo>
                <a:cubicBezTo>
                  <a:pt x="45" y="181"/>
                  <a:pt x="47" y="180"/>
                  <a:pt x="48" y="179"/>
                </a:cubicBezTo>
                <a:cubicBezTo>
                  <a:pt x="51" y="176"/>
                  <a:pt x="51" y="176"/>
                  <a:pt x="51" y="176"/>
                </a:cubicBezTo>
                <a:cubicBezTo>
                  <a:pt x="66" y="185"/>
                  <a:pt x="83" y="190"/>
                  <a:pt x="101" y="190"/>
                </a:cubicBezTo>
                <a:cubicBezTo>
                  <a:pt x="119" y="190"/>
                  <a:pt x="137" y="185"/>
                  <a:pt x="153" y="175"/>
                </a:cubicBezTo>
                <a:cubicBezTo>
                  <a:pt x="155" y="177"/>
                  <a:pt x="155" y="177"/>
                  <a:pt x="155" y="177"/>
                </a:cubicBezTo>
                <a:cubicBezTo>
                  <a:pt x="157" y="179"/>
                  <a:pt x="159" y="179"/>
                  <a:pt x="160" y="179"/>
                </a:cubicBezTo>
                <a:cubicBezTo>
                  <a:pt x="162" y="179"/>
                  <a:pt x="163" y="179"/>
                  <a:pt x="165" y="178"/>
                </a:cubicBezTo>
                <a:cubicBezTo>
                  <a:pt x="171" y="172"/>
                  <a:pt x="171" y="172"/>
                  <a:pt x="171" y="172"/>
                </a:cubicBezTo>
                <a:cubicBezTo>
                  <a:pt x="173" y="171"/>
                  <a:pt x="173" y="170"/>
                  <a:pt x="173" y="168"/>
                </a:cubicBezTo>
                <a:cubicBezTo>
                  <a:pt x="173" y="168"/>
                  <a:pt x="173" y="167"/>
                  <a:pt x="173" y="167"/>
                </a:cubicBezTo>
                <a:cubicBezTo>
                  <a:pt x="174" y="167"/>
                  <a:pt x="174" y="167"/>
                  <a:pt x="174" y="167"/>
                </a:cubicBezTo>
                <a:cubicBezTo>
                  <a:pt x="176" y="167"/>
                  <a:pt x="178" y="166"/>
                  <a:pt x="179" y="165"/>
                </a:cubicBezTo>
                <a:cubicBezTo>
                  <a:pt x="185" y="158"/>
                  <a:pt x="185" y="158"/>
                  <a:pt x="185" y="158"/>
                </a:cubicBezTo>
                <a:cubicBezTo>
                  <a:pt x="187" y="155"/>
                  <a:pt x="186" y="151"/>
                  <a:pt x="184" y="149"/>
                </a:cubicBezTo>
                <a:lnTo>
                  <a:pt x="181" y="146"/>
                </a:lnTo>
                <a:close/>
                <a:moveTo>
                  <a:pt x="188" y="95"/>
                </a:moveTo>
                <a:cubicBezTo>
                  <a:pt x="188" y="111"/>
                  <a:pt x="183" y="127"/>
                  <a:pt x="175" y="140"/>
                </a:cubicBezTo>
                <a:cubicBezTo>
                  <a:pt x="161" y="126"/>
                  <a:pt x="161" y="126"/>
                  <a:pt x="161" y="126"/>
                </a:cubicBezTo>
                <a:cubicBezTo>
                  <a:pt x="171" y="107"/>
                  <a:pt x="171" y="84"/>
                  <a:pt x="162" y="65"/>
                </a:cubicBezTo>
                <a:cubicBezTo>
                  <a:pt x="176" y="51"/>
                  <a:pt x="176" y="51"/>
                  <a:pt x="176" y="51"/>
                </a:cubicBezTo>
                <a:cubicBezTo>
                  <a:pt x="184" y="64"/>
                  <a:pt x="188" y="79"/>
                  <a:pt x="188" y="95"/>
                </a:cubicBezTo>
                <a:close/>
                <a:moveTo>
                  <a:pt x="82" y="142"/>
                </a:moveTo>
                <a:cubicBezTo>
                  <a:pt x="82" y="141"/>
                  <a:pt x="81" y="140"/>
                  <a:pt x="79" y="139"/>
                </a:cubicBezTo>
                <a:cubicBezTo>
                  <a:pt x="72" y="134"/>
                  <a:pt x="72" y="134"/>
                  <a:pt x="72" y="134"/>
                </a:cubicBezTo>
                <a:cubicBezTo>
                  <a:pt x="70" y="133"/>
                  <a:pt x="67" y="133"/>
                  <a:pt x="65" y="133"/>
                </a:cubicBezTo>
                <a:cubicBezTo>
                  <a:pt x="66" y="131"/>
                  <a:pt x="66" y="129"/>
                  <a:pt x="64" y="127"/>
                </a:cubicBezTo>
                <a:cubicBezTo>
                  <a:pt x="60" y="119"/>
                  <a:pt x="60" y="119"/>
                  <a:pt x="60" y="119"/>
                </a:cubicBezTo>
                <a:cubicBezTo>
                  <a:pt x="59" y="117"/>
                  <a:pt x="57" y="116"/>
                  <a:pt x="56" y="116"/>
                </a:cubicBezTo>
                <a:cubicBezTo>
                  <a:pt x="54" y="116"/>
                  <a:pt x="53" y="117"/>
                  <a:pt x="52" y="118"/>
                </a:cubicBezTo>
                <a:cubicBezTo>
                  <a:pt x="47" y="123"/>
                  <a:pt x="47" y="123"/>
                  <a:pt x="47" y="123"/>
                </a:cubicBezTo>
                <a:cubicBezTo>
                  <a:pt x="39" y="106"/>
                  <a:pt x="38" y="86"/>
                  <a:pt x="47" y="69"/>
                </a:cubicBezTo>
                <a:cubicBezTo>
                  <a:pt x="51" y="73"/>
                  <a:pt x="51" y="73"/>
                  <a:pt x="51" y="73"/>
                </a:cubicBezTo>
                <a:cubicBezTo>
                  <a:pt x="52" y="74"/>
                  <a:pt x="53" y="74"/>
                  <a:pt x="54" y="74"/>
                </a:cubicBezTo>
                <a:cubicBezTo>
                  <a:pt x="56" y="74"/>
                  <a:pt x="57" y="73"/>
                  <a:pt x="58" y="71"/>
                </a:cubicBezTo>
                <a:cubicBezTo>
                  <a:pt x="63" y="64"/>
                  <a:pt x="63" y="64"/>
                  <a:pt x="63" y="64"/>
                </a:cubicBezTo>
                <a:cubicBezTo>
                  <a:pt x="65" y="62"/>
                  <a:pt x="65" y="60"/>
                  <a:pt x="64" y="58"/>
                </a:cubicBezTo>
                <a:cubicBezTo>
                  <a:pt x="65" y="58"/>
                  <a:pt x="66" y="58"/>
                  <a:pt x="66" y="58"/>
                </a:cubicBezTo>
                <a:cubicBezTo>
                  <a:pt x="68" y="58"/>
                  <a:pt x="69" y="58"/>
                  <a:pt x="70" y="57"/>
                </a:cubicBezTo>
                <a:cubicBezTo>
                  <a:pt x="78" y="52"/>
                  <a:pt x="78" y="52"/>
                  <a:pt x="78" y="52"/>
                </a:cubicBezTo>
                <a:cubicBezTo>
                  <a:pt x="79" y="51"/>
                  <a:pt x="80" y="50"/>
                  <a:pt x="81" y="48"/>
                </a:cubicBezTo>
                <a:cubicBezTo>
                  <a:pt x="81" y="47"/>
                  <a:pt x="80" y="45"/>
                  <a:pt x="79" y="44"/>
                </a:cubicBezTo>
                <a:cubicBezTo>
                  <a:pt x="75" y="41"/>
                  <a:pt x="75" y="41"/>
                  <a:pt x="75" y="41"/>
                </a:cubicBezTo>
                <a:cubicBezTo>
                  <a:pt x="83" y="37"/>
                  <a:pt x="92" y="35"/>
                  <a:pt x="101" y="35"/>
                </a:cubicBezTo>
                <a:cubicBezTo>
                  <a:pt x="110" y="35"/>
                  <a:pt x="120" y="37"/>
                  <a:pt x="128" y="42"/>
                </a:cubicBezTo>
                <a:cubicBezTo>
                  <a:pt x="124" y="46"/>
                  <a:pt x="124" y="46"/>
                  <a:pt x="124" y="46"/>
                </a:cubicBezTo>
                <a:cubicBezTo>
                  <a:pt x="122" y="48"/>
                  <a:pt x="122" y="49"/>
                  <a:pt x="122" y="51"/>
                </a:cubicBezTo>
                <a:cubicBezTo>
                  <a:pt x="122" y="52"/>
                  <a:pt x="123" y="53"/>
                  <a:pt x="125" y="54"/>
                </a:cubicBezTo>
                <a:cubicBezTo>
                  <a:pt x="133" y="59"/>
                  <a:pt x="133" y="59"/>
                  <a:pt x="133" y="59"/>
                </a:cubicBezTo>
                <a:cubicBezTo>
                  <a:pt x="134" y="60"/>
                  <a:pt x="135" y="60"/>
                  <a:pt x="137" y="60"/>
                </a:cubicBezTo>
                <a:cubicBezTo>
                  <a:pt x="137" y="60"/>
                  <a:pt x="138" y="60"/>
                  <a:pt x="139" y="60"/>
                </a:cubicBezTo>
                <a:cubicBezTo>
                  <a:pt x="138" y="62"/>
                  <a:pt x="138" y="64"/>
                  <a:pt x="140" y="66"/>
                </a:cubicBezTo>
                <a:cubicBezTo>
                  <a:pt x="144" y="73"/>
                  <a:pt x="144" y="73"/>
                  <a:pt x="144" y="73"/>
                </a:cubicBezTo>
                <a:cubicBezTo>
                  <a:pt x="145" y="75"/>
                  <a:pt x="147" y="76"/>
                  <a:pt x="149" y="76"/>
                </a:cubicBezTo>
                <a:cubicBezTo>
                  <a:pt x="150" y="76"/>
                  <a:pt x="151" y="76"/>
                  <a:pt x="152" y="75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63" y="87"/>
                  <a:pt x="162" y="105"/>
                  <a:pt x="155" y="120"/>
                </a:cubicBezTo>
                <a:cubicBezTo>
                  <a:pt x="152" y="117"/>
                  <a:pt x="152" y="117"/>
                  <a:pt x="152" y="117"/>
                </a:cubicBezTo>
                <a:cubicBezTo>
                  <a:pt x="151" y="116"/>
                  <a:pt x="149" y="115"/>
                  <a:pt x="148" y="115"/>
                </a:cubicBezTo>
                <a:cubicBezTo>
                  <a:pt x="146" y="115"/>
                  <a:pt x="145" y="116"/>
                  <a:pt x="144" y="118"/>
                </a:cubicBezTo>
                <a:cubicBezTo>
                  <a:pt x="139" y="125"/>
                  <a:pt x="139" y="125"/>
                  <a:pt x="139" y="125"/>
                </a:cubicBezTo>
                <a:cubicBezTo>
                  <a:pt x="138" y="127"/>
                  <a:pt x="137" y="129"/>
                  <a:pt x="138" y="131"/>
                </a:cubicBezTo>
                <a:cubicBezTo>
                  <a:pt x="136" y="131"/>
                  <a:pt x="134" y="131"/>
                  <a:pt x="132" y="132"/>
                </a:cubicBezTo>
                <a:cubicBezTo>
                  <a:pt x="124" y="137"/>
                  <a:pt x="124" y="137"/>
                  <a:pt x="124" y="137"/>
                </a:cubicBezTo>
                <a:cubicBezTo>
                  <a:pt x="123" y="138"/>
                  <a:pt x="122" y="139"/>
                  <a:pt x="122" y="141"/>
                </a:cubicBezTo>
                <a:cubicBezTo>
                  <a:pt x="122" y="142"/>
                  <a:pt x="122" y="144"/>
                  <a:pt x="123" y="145"/>
                </a:cubicBezTo>
                <a:cubicBezTo>
                  <a:pt x="127" y="149"/>
                  <a:pt x="127" y="149"/>
                  <a:pt x="127" y="149"/>
                </a:cubicBezTo>
                <a:cubicBezTo>
                  <a:pt x="119" y="153"/>
                  <a:pt x="110" y="155"/>
                  <a:pt x="101" y="155"/>
                </a:cubicBezTo>
                <a:cubicBezTo>
                  <a:pt x="93" y="155"/>
                  <a:pt x="84" y="153"/>
                  <a:pt x="77" y="150"/>
                </a:cubicBezTo>
                <a:cubicBezTo>
                  <a:pt x="80" y="146"/>
                  <a:pt x="80" y="146"/>
                  <a:pt x="80" y="146"/>
                </a:cubicBezTo>
                <a:cubicBezTo>
                  <a:pt x="82" y="145"/>
                  <a:pt x="82" y="144"/>
                  <a:pt x="82" y="142"/>
                </a:cubicBezTo>
                <a:close/>
                <a:moveTo>
                  <a:pt x="101" y="8"/>
                </a:moveTo>
                <a:cubicBezTo>
                  <a:pt x="118" y="8"/>
                  <a:pt x="134" y="13"/>
                  <a:pt x="148" y="22"/>
                </a:cubicBezTo>
                <a:cubicBezTo>
                  <a:pt x="134" y="36"/>
                  <a:pt x="134" y="36"/>
                  <a:pt x="134" y="36"/>
                </a:cubicBezTo>
                <a:cubicBezTo>
                  <a:pt x="124" y="30"/>
                  <a:pt x="113" y="27"/>
                  <a:pt x="101" y="27"/>
                </a:cubicBezTo>
                <a:cubicBezTo>
                  <a:pt x="90" y="27"/>
                  <a:pt x="79" y="30"/>
                  <a:pt x="69" y="35"/>
                </a:cubicBezTo>
                <a:cubicBezTo>
                  <a:pt x="55" y="21"/>
                  <a:pt x="55" y="21"/>
                  <a:pt x="55" y="21"/>
                </a:cubicBezTo>
                <a:cubicBezTo>
                  <a:pt x="69" y="12"/>
                  <a:pt x="84" y="8"/>
                  <a:pt x="101" y="8"/>
                </a:cubicBezTo>
                <a:close/>
                <a:moveTo>
                  <a:pt x="14" y="95"/>
                </a:moveTo>
                <a:cubicBezTo>
                  <a:pt x="14" y="78"/>
                  <a:pt x="18" y="62"/>
                  <a:pt x="27" y="49"/>
                </a:cubicBezTo>
                <a:cubicBezTo>
                  <a:pt x="41" y="63"/>
                  <a:pt x="41" y="63"/>
                  <a:pt x="41" y="63"/>
                </a:cubicBezTo>
                <a:cubicBezTo>
                  <a:pt x="30" y="83"/>
                  <a:pt x="30" y="108"/>
                  <a:pt x="42" y="129"/>
                </a:cubicBezTo>
                <a:cubicBezTo>
                  <a:pt x="28" y="143"/>
                  <a:pt x="28" y="143"/>
                  <a:pt x="28" y="143"/>
                </a:cubicBezTo>
                <a:cubicBezTo>
                  <a:pt x="18" y="129"/>
                  <a:pt x="14" y="112"/>
                  <a:pt x="14" y="95"/>
                </a:cubicBezTo>
                <a:close/>
                <a:moveTo>
                  <a:pt x="101" y="182"/>
                </a:moveTo>
                <a:cubicBezTo>
                  <a:pt x="85" y="182"/>
                  <a:pt x="70" y="178"/>
                  <a:pt x="57" y="170"/>
                </a:cubicBezTo>
                <a:cubicBezTo>
                  <a:pt x="71" y="156"/>
                  <a:pt x="71" y="156"/>
                  <a:pt x="71" y="156"/>
                </a:cubicBezTo>
                <a:cubicBezTo>
                  <a:pt x="80" y="161"/>
                  <a:pt x="90" y="163"/>
                  <a:pt x="101" y="163"/>
                </a:cubicBezTo>
                <a:cubicBezTo>
                  <a:pt x="112" y="163"/>
                  <a:pt x="123" y="160"/>
                  <a:pt x="133" y="155"/>
                </a:cubicBezTo>
                <a:cubicBezTo>
                  <a:pt x="147" y="169"/>
                  <a:pt x="147" y="169"/>
                  <a:pt x="147" y="169"/>
                </a:cubicBezTo>
                <a:cubicBezTo>
                  <a:pt x="133" y="178"/>
                  <a:pt x="117" y="182"/>
                  <a:pt x="101" y="18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1" name="Freeform 18"/>
          <p:cNvSpPr>
            <a:spLocks noEditPoints="1"/>
          </p:cNvSpPr>
          <p:nvPr/>
        </p:nvSpPr>
        <p:spPr bwMode="auto">
          <a:xfrm>
            <a:off x="13577248" y="4744068"/>
            <a:ext cx="647288" cy="557860"/>
          </a:xfrm>
          <a:custGeom>
            <a:avLst/>
            <a:gdLst>
              <a:gd name="T0" fmla="*/ 97 w 193"/>
              <a:gd name="T1" fmla="*/ 82 h 166"/>
              <a:gd name="T2" fmla="*/ 113 w 193"/>
              <a:gd name="T3" fmla="*/ 91 h 166"/>
              <a:gd name="T4" fmla="*/ 193 w 193"/>
              <a:gd name="T5" fmla="*/ 61 h 166"/>
              <a:gd name="T6" fmla="*/ 193 w 193"/>
              <a:gd name="T7" fmla="*/ 27 h 166"/>
              <a:gd name="T8" fmla="*/ 179 w 193"/>
              <a:gd name="T9" fmla="*/ 27 h 166"/>
              <a:gd name="T10" fmla="*/ 179 w 193"/>
              <a:gd name="T11" fmla="*/ 25 h 166"/>
              <a:gd name="T12" fmla="*/ 158 w 193"/>
              <a:gd name="T13" fmla="*/ 25 h 166"/>
              <a:gd name="T14" fmla="*/ 158 w 193"/>
              <a:gd name="T15" fmla="*/ 27 h 166"/>
              <a:gd name="T16" fmla="*/ 140 w 193"/>
              <a:gd name="T17" fmla="*/ 27 h 166"/>
              <a:gd name="T18" fmla="*/ 140 w 193"/>
              <a:gd name="T19" fmla="*/ 14 h 166"/>
              <a:gd name="T20" fmla="*/ 128 w 193"/>
              <a:gd name="T21" fmla="*/ 2 h 166"/>
              <a:gd name="T22" fmla="*/ 119 w 193"/>
              <a:gd name="T23" fmla="*/ 2 h 166"/>
              <a:gd name="T24" fmla="*/ 119 w 193"/>
              <a:gd name="T25" fmla="*/ 0 h 166"/>
              <a:gd name="T26" fmla="*/ 74 w 193"/>
              <a:gd name="T27" fmla="*/ 0 h 166"/>
              <a:gd name="T28" fmla="*/ 74 w 193"/>
              <a:gd name="T29" fmla="*/ 2 h 166"/>
              <a:gd name="T30" fmla="*/ 65 w 193"/>
              <a:gd name="T31" fmla="*/ 2 h 166"/>
              <a:gd name="T32" fmla="*/ 53 w 193"/>
              <a:gd name="T33" fmla="*/ 14 h 166"/>
              <a:gd name="T34" fmla="*/ 53 w 193"/>
              <a:gd name="T35" fmla="*/ 27 h 166"/>
              <a:gd name="T36" fmla="*/ 35 w 193"/>
              <a:gd name="T37" fmla="*/ 27 h 166"/>
              <a:gd name="T38" fmla="*/ 35 w 193"/>
              <a:gd name="T39" fmla="*/ 25 h 166"/>
              <a:gd name="T40" fmla="*/ 14 w 193"/>
              <a:gd name="T41" fmla="*/ 25 h 166"/>
              <a:gd name="T42" fmla="*/ 14 w 193"/>
              <a:gd name="T43" fmla="*/ 27 h 166"/>
              <a:gd name="T44" fmla="*/ 0 w 193"/>
              <a:gd name="T45" fmla="*/ 27 h 166"/>
              <a:gd name="T46" fmla="*/ 0 w 193"/>
              <a:gd name="T47" fmla="*/ 61 h 166"/>
              <a:gd name="T48" fmla="*/ 81 w 193"/>
              <a:gd name="T49" fmla="*/ 91 h 166"/>
              <a:gd name="T50" fmla="*/ 97 w 193"/>
              <a:gd name="T51" fmla="*/ 82 h 166"/>
              <a:gd name="T52" fmla="*/ 61 w 193"/>
              <a:gd name="T53" fmla="*/ 14 h 166"/>
              <a:gd name="T54" fmla="*/ 65 w 193"/>
              <a:gd name="T55" fmla="*/ 10 h 166"/>
              <a:gd name="T56" fmla="*/ 74 w 193"/>
              <a:gd name="T57" fmla="*/ 10 h 166"/>
              <a:gd name="T58" fmla="*/ 74 w 193"/>
              <a:gd name="T59" fmla="*/ 12 h 166"/>
              <a:gd name="T60" fmla="*/ 119 w 193"/>
              <a:gd name="T61" fmla="*/ 12 h 166"/>
              <a:gd name="T62" fmla="*/ 119 w 193"/>
              <a:gd name="T63" fmla="*/ 10 h 166"/>
              <a:gd name="T64" fmla="*/ 128 w 193"/>
              <a:gd name="T65" fmla="*/ 10 h 166"/>
              <a:gd name="T66" fmla="*/ 132 w 193"/>
              <a:gd name="T67" fmla="*/ 14 h 166"/>
              <a:gd name="T68" fmla="*/ 132 w 193"/>
              <a:gd name="T69" fmla="*/ 27 h 166"/>
              <a:gd name="T70" fmla="*/ 61 w 193"/>
              <a:gd name="T71" fmla="*/ 27 h 166"/>
              <a:gd name="T72" fmla="*/ 61 w 193"/>
              <a:gd name="T73" fmla="*/ 14 h 166"/>
              <a:gd name="T74" fmla="*/ 193 w 193"/>
              <a:gd name="T75" fmla="*/ 70 h 166"/>
              <a:gd name="T76" fmla="*/ 193 w 193"/>
              <a:gd name="T77" fmla="*/ 166 h 166"/>
              <a:gd name="T78" fmla="*/ 0 w 193"/>
              <a:gd name="T79" fmla="*/ 166 h 166"/>
              <a:gd name="T80" fmla="*/ 0 w 193"/>
              <a:gd name="T81" fmla="*/ 70 h 166"/>
              <a:gd name="T82" fmla="*/ 78 w 193"/>
              <a:gd name="T83" fmla="*/ 101 h 166"/>
              <a:gd name="T84" fmla="*/ 97 w 193"/>
              <a:gd name="T85" fmla="*/ 120 h 166"/>
              <a:gd name="T86" fmla="*/ 116 w 193"/>
              <a:gd name="T87" fmla="*/ 101 h 166"/>
              <a:gd name="T88" fmla="*/ 193 w 193"/>
              <a:gd name="T89" fmla="*/ 70 h 166"/>
              <a:gd name="T90" fmla="*/ 110 w 193"/>
              <a:gd name="T91" fmla="*/ 101 h 166"/>
              <a:gd name="T92" fmla="*/ 97 w 193"/>
              <a:gd name="T93" fmla="*/ 115 h 166"/>
              <a:gd name="T94" fmla="*/ 83 w 193"/>
              <a:gd name="T95" fmla="*/ 101 h 166"/>
              <a:gd name="T96" fmla="*/ 97 w 193"/>
              <a:gd name="T97" fmla="*/ 88 h 166"/>
              <a:gd name="T98" fmla="*/ 110 w 193"/>
              <a:gd name="T99" fmla="*/ 10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3" h="166">
                <a:moveTo>
                  <a:pt x="97" y="82"/>
                </a:moveTo>
                <a:cubicBezTo>
                  <a:pt x="103" y="82"/>
                  <a:pt x="109" y="86"/>
                  <a:pt x="113" y="91"/>
                </a:cubicBezTo>
                <a:cubicBezTo>
                  <a:pt x="193" y="61"/>
                  <a:pt x="193" y="61"/>
                  <a:pt x="193" y="61"/>
                </a:cubicBezTo>
                <a:cubicBezTo>
                  <a:pt x="193" y="27"/>
                  <a:pt x="193" y="27"/>
                  <a:pt x="193" y="27"/>
                </a:cubicBezTo>
                <a:cubicBezTo>
                  <a:pt x="179" y="27"/>
                  <a:pt x="179" y="27"/>
                  <a:pt x="179" y="27"/>
                </a:cubicBezTo>
                <a:cubicBezTo>
                  <a:pt x="179" y="25"/>
                  <a:pt x="179" y="25"/>
                  <a:pt x="179" y="25"/>
                </a:cubicBezTo>
                <a:cubicBezTo>
                  <a:pt x="158" y="25"/>
                  <a:pt x="158" y="25"/>
                  <a:pt x="158" y="25"/>
                </a:cubicBezTo>
                <a:cubicBezTo>
                  <a:pt x="158" y="27"/>
                  <a:pt x="158" y="27"/>
                  <a:pt x="158" y="27"/>
                </a:cubicBezTo>
                <a:cubicBezTo>
                  <a:pt x="140" y="27"/>
                  <a:pt x="140" y="27"/>
                  <a:pt x="140" y="27"/>
                </a:cubicBezTo>
                <a:cubicBezTo>
                  <a:pt x="140" y="14"/>
                  <a:pt x="140" y="14"/>
                  <a:pt x="140" y="14"/>
                </a:cubicBezTo>
                <a:cubicBezTo>
                  <a:pt x="140" y="7"/>
                  <a:pt x="135" y="2"/>
                  <a:pt x="128" y="2"/>
                </a:cubicBezTo>
                <a:cubicBezTo>
                  <a:pt x="119" y="2"/>
                  <a:pt x="119" y="2"/>
                  <a:pt x="119" y="2"/>
                </a:cubicBezTo>
                <a:cubicBezTo>
                  <a:pt x="119" y="0"/>
                  <a:pt x="119" y="0"/>
                  <a:pt x="119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4" y="2"/>
                  <a:pt x="74" y="2"/>
                  <a:pt x="74" y="2"/>
                </a:cubicBezTo>
                <a:cubicBezTo>
                  <a:pt x="65" y="2"/>
                  <a:pt x="65" y="2"/>
                  <a:pt x="65" y="2"/>
                </a:cubicBezTo>
                <a:cubicBezTo>
                  <a:pt x="58" y="2"/>
                  <a:pt x="53" y="7"/>
                  <a:pt x="53" y="14"/>
                </a:cubicBezTo>
                <a:cubicBezTo>
                  <a:pt x="53" y="27"/>
                  <a:pt x="53" y="27"/>
                  <a:pt x="53" y="27"/>
                </a:cubicBezTo>
                <a:cubicBezTo>
                  <a:pt x="35" y="27"/>
                  <a:pt x="35" y="27"/>
                  <a:pt x="35" y="27"/>
                </a:cubicBezTo>
                <a:cubicBezTo>
                  <a:pt x="35" y="25"/>
                  <a:pt x="35" y="25"/>
                  <a:pt x="35" y="25"/>
                </a:cubicBezTo>
                <a:cubicBezTo>
                  <a:pt x="14" y="25"/>
                  <a:pt x="14" y="25"/>
                  <a:pt x="14" y="25"/>
                </a:cubicBezTo>
                <a:cubicBezTo>
                  <a:pt x="14" y="27"/>
                  <a:pt x="14" y="27"/>
                  <a:pt x="14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61"/>
                  <a:pt x="0" y="61"/>
                  <a:pt x="0" y="61"/>
                </a:cubicBezTo>
                <a:cubicBezTo>
                  <a:pt x="81" y="91"/>
                  <a:pt x="81" y="91"/>
                  <a:pt x="81" y="91"/>
                </a:cubicBezTo>
                <a:cubicBezTo>
                  <a:pt x="84" y="86"/>
                  <a:pt x="90" y="82"/>
                  <a:pt x="97" y="82"/>
                </a:cubicBezTo>
                <a:moveTo>
                  <a:pt x="61" y="14"/>
                </a:moveTo>
                <a:cubicBezTo>
                  <a:pt x="61" y="11"/>
                  <a:pt x="63" y="10"/>
                  <a:pt x="65" y="10"/>
                </a:cubicBezTo>
                <a:cubicBezTo>
                  <a:pt x="74" y="10"/>
                  <a:pt x="74" y="10"/>
                  <a:pt x="74" y="10"/>
                </a:cubicBezTo>
                <a:cubicBezTo>
                  <a:pt x="74" y="12"/>
                  <a:pt x="74" y="12"/>
                  <a:pt x="74" y="12"/>
                </a:cubicBezTo>
                <a:cubicBezTo>
                  <a:pt x="119" y="12"/>
                  <a:pt x="119" y="12"/>
                  <a:pt x="119" y="12"/>
                </a:cubicBezTo>
                <a:cubicBezTo>
                  <a:pt x="119" y="10"/>
                  <a:pt x="119" y="10"/>
                  <a:pt x="119" y="10"/>
                </a:cubicBezTo>
                <a:cubicBezTo>
                  <a:pt x="128" y="10"/>
                  <a:pt x="128" y="10"/>
                  <a:pt x="128" y="10"/>
                </a:cubicBezTo>
                <a:cubicBezTo>
                  <a:pt x="130" y="10"/>
                  <a:pt x="132" y="11"/>
                  <a:pt x="132" y="14"/>
                </a:cubicBezTo>
                <a:cubicBezTo>
                  <a:pt x="132" y="27"/>
                  <a:pt x="132" y="27"/>
                  <a:pt x="132" y="27"/>
                </a:cubicBezTo>
                <a:cubicBezTo>
                  <a:pt x="61" y="27"/>
                  <a:pt x="61" y="27"/>
                  <a:pt x="61" y="27"/>
                </a:cubicBezTo>
                <a:lnTo>
                  <a:pt x="61" y="14"/>
                </a:lnTo>
                <a:close/>
                <a:moveTo>
                  <a:pt x="193" y="70"/>
                </a:moveTo>
                <a:cubicBezTo>
                  <a:pt x="193" y="166"/>
                  <a:pt x="193" y="166"/>
                  <a:pt x="193" y="166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70"/>
                  <a:pt x="0" y="70"/>
                  <a:pt x="0" y="70"/>
                </a:cubicBezTo>
                <a:cubicBezTo>
                  <a:pt x="78" y="101"/>
                  <a:pt x="78" y="101"/>
                  <a:pt x="78" y="101"/>
                </a:cubicBezTo>
                <a:cubicBezTo>
                  <a:pt x="78" y="112"/>
                  <a:pt x="86" y="120"/>
                  <a:pt x="97" y="120"/>
                </a:cubicBezTo>
                <a:cubicBezTo>
                  <a:pt x="107" y="120"/>
                  <a:pt x="116" y="112"/>
                  <a:pt x="116" y="101"/>
                </a:cubicBezTo>
                <a:lnTo>
                  <a:pt x="193" y="70"/>
                </a:lnTo>
                <a:close/>
                <a:moveTo>
                  <a:pt x="110" y="101"/>
                </a:moveTo>
                <a:cubicBezTo>
                  <a:pt x="110" y="109"/>
                  <a:pt x="104" y="115"/>
                  <a:pt x="97" y="115"/>
                </a:cubicBezTo>
                <a:cubicBezTo>
                  <a:pt x="89" y="115"/>
                  <a:pt x="83" y="109"/>
                  <a:pt x="83" y="101"/>
                </a:cubicBezTo>
                <a:cubicBezTo>
                  <a:pt x="83" y="94"/>
                  <a:pt x="89" y="88"/>
                  <a:pt x="97" y="88"/>
                </a:cubicBezTo>
                <a:cubicBezTo>
                  <a:pt x="104" y="88"/>
                  <a:pt x="110" y="94"/>
                  <a:pt x="110" y="101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2" name="Freeform 26"/>
          <p:cNvSpPr>
            <a:spLocks/>
          </p:cNvSpPr>
          <p:nvPr/>
        </p:nvSpPr>
        <p:spPr bwMode="auto">
          <a:xfrm>
            <a:off x="10239378" y="10218437"/>
            <a:ext cx="657224" cy="628834"/>
          </a:xfrm>
          <a:custGeom>
            <a:avLst/>
            <a:gdLst>
              <a:gd name="T0" fmla="*/ 90 w 196"/>
              <a:gd name="T1" fmla="*/ 9 h 187"/>
              <a:gd name="T2" fmla="*/ 105 w 196"/>
              <a:gd name="T3" fmla="*/ 9 h 187"/>
              <a:gd name="T4" fmla="*/ 122 w 196"/>
              <a:gd name="T5" fmla="*/ 43 h 187"/>
              <a:gd name="T6" fmla="*/ 147 w 196"/>
              <a:gd name="T7" fmla="*/ 61 h 187"/>
              <a:gd name="T8" fmla="*/ 184 w 196"/>
              <a:gd name="T9" fmla="*/ 66 h 187"/>
              <a:gd name="T10" fmla="*/ 189 w 196"/>
              <a:gd name="T11" fmla="*/ 81 h 187"/>
              <a:gd name="T12" fmla="*/ 162 w 196"/>
              <a:gd name="T13" fmla="*/ 107 h 187"/>
              <a:gd name="T14" fmla="*/ 152 w 196"/>
              <a:gd name="T15" fmla="*/ 136 h 187"/>
              <a:gd name="T16" fmla="*/ 159 w 196"/>
              <a:gd name="T17" fmla="*/ 173 h 187"/>
              <a:gd name="T18" fmla="*/ 146 w 196"/>
              <a:gd name="T19" fmla="*/ 182 h 187"/>
              <a:gd name="T20" fmla="*/ 113 w 196"/>
              <a:gd name="T21" fmla="*/ 165 h 187"/>
              <a:gd name="T22" fmla="*/ 82 w 196"/>
              <a:gd name="T23" fmla="*/ 165 h 187"/>
              <a:gd name="T24" fmla="*/ 49 w 196"/>
              <a:gd name="T25" fmla="*/ 182 h 187"/>
              <a:gd name="T26" fmla="*/ 36 w 196"/>
              <a:gd name="T27" fmla="*/ 173 h 187"/>
              <a:gd name="T28" fmla="*/ 43 w 196"/>
              <a:gd name="T29" fmla="*/ 136 h 187"/>
              <a:gd name="T30" fmla="*/ 33 w 196"/>
              <a:gd name="T31" fmla="*/ 107 h 187"/>
              <a:gd name="T32" fmla="*/ 6 w 196"/>
              <a:gd name="T33" fmla="*/ 81 h 187"/>
              <a:gd name="T34" fmla="*/ 11 w 196"/>
              <a:gd name="T35" fmla="*/ 66 h 187"/>
              <a:gd name="T36" fmla="*/ 48 w 196"/>
              <a:gd name="T37" fmla="*/ 61 h 187"/>
              <a:gd name="T38" fmla="*/ 73 w 196"/>
              <a:gd name="T39" fmla="*/ 43 h 187"/>
              <a:gd name="T40" fmla="*/ 90 w 196"/>
              <a:gd name="T41" fmla="*/ 9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96" h="187">
                <a:moveTo>
                  <a:pt x="90" y="9"/>
                </a:moveTo>
                <a:cubicBezTo>
                  <a:pt x="94" y="0"/>
                  <a:pt x="101" y="0"/>
                  <a:pt x="105" y="9"/>
                </a:cubicBezTo>
                <a:cubicBezTo>
                  <a:pt x="122" y="43"/>
                  <a:pt x="122" y="43"/>
                  <a:pt x="122" y="43"/>
                </a:cubicBezTo>
                <a:cubicBezTo>
                  <a:pt x="126" y="51"/>
                  <a:pt x="137" y="59"/>
                  <a:pt x="147" y="61"/>
                </a:cubicBezTo>
                <a:cubicBezTo>
                  <a:pt x="184" y="66"/>
                  <a:pt x="184" y="66"/>
                  <a:pt x="184" y="66"/>
                </a:cubicBezTo>
                <a:cubicBezTo>
                  <a:pt x="193" y="67"/>
                  <a:pt x="196" y="74"/>
                  <a:pt x="189" y="81"/>
                </a:cubicBezTo>
                <a:cubicBezTo>
                  <a:pt x="162" y="107"/>
                  <a:pt x="162" y="107"/>
                  <a:pt x="162" y="107"/>
                </a:cubicBezTo>
                <a:cubicBezTo>
                  <a:pt x="155" y="114"/>
                  <a:pt x="151" y="127"/>
                  <a:pt x="152" y="136"/>
                </a:cubicBezTo>
                <a:cubicBezTo>
                  <a:pt x="159" y="173"/>
                  <a:pt x="159" y="173"/>
                  <a:pt x="159" y="173"/>
                </a:cubicBezTo>
                <a:cubicBezTo>
                  <a:pt x="160" y="183"/>
                  <a:pt x="155" y="187"/>
                  <a:pt x="146" y="182"/>
                </a:cubicBezTo>
                <a:cubicBezTo>
                  <a:pt x="113" y="165"/>
                  <a:pt x="113" y="165"/>
                  <a:pt x="113" y="165"/>
                </a:cubicBezTo>
                <a:cubicBezTo>
                  <a:pt x="105" y="160"/>
                  <a:pt x="91" y="160"/>
                  <a:pt x="82" y="165"/>
                </a:cubicBezTo>
                <a:cubicBezTo>
                  <a:pt x="49" y="182"/>
                  <a:pt x="49" y="182"/>
                  <a:pt x="49" y="182"/>
                </a:cubicBezTo>
                <a:cubicBezTo>
                  <a:pt x="40" y="187"/>
                  <a:pt x="35" y="183"/>
                  <a:pt x="36" y="173"/>
                </a:cubicBezTo>
                <a:cubicBezTo>
                  <a:pt x="43" y="136"/>
                  <a:pt x="43" y="136"/>
                  <a:pt x="43" y="136"/>
                </a:cubicBezTo>
                <a:cubicBezTo>
                  <a:pt x="44" y="127"/>
                  <a:pt x="40" y="114"/>
                  <a:pt x="33" y="107"/>
                </a:cubicBezTo>
                <a:cubicBezTo>
                  <a:pt x="6" y="81"/>
                  <a:pt x="6" y="81"/>
                  <a:pt x="6" y="81"/>
                </a:cubicBezTo>
                <a:cubicBezTo>
                  <a:pt x="0" y="74"/>
                  <a:pt x="2" y="67"/>
                  <a:pt x="11" y="66"/>
                </a:cubicBezTo>
                <a:cubicBezTo>
                  <a:pt x="48" y="61"/>
                  <a:pt x="48" y="61"/>
                  <a:pt x="48" y="61"/>
                </a:cubicBezTo>
                <a:cubicBezTo>
                  <a:pt x="58" y="59"/>
                  <a:pt x="69" y="51"/>
                  <a:pt x="73" y="43"/>
                </a:cubicBezTo>
                <a:lnTo>
                  <a:pt x="90" y="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3" name="Freeform 39"/>
          <p:cNvSpPr>
            <a:spLocks/>
          </p:cNvSpPr>
          <p:nvPr/>
        </p:nvSpPr>
        <p:spPr bwMode="auto">
          <a:xfrm>
            <a:off x="15227636" y="7537883"/>
            <a:ext cx="457076" cy="675678"/>
          </a:xfrm>
          <a:custGeom>
            <a:avLst/>
            <a:gdLst>
              <a:gd name="T0" fmla="*/ 128 w 136"/>
              <a:gd name="T1" fmla="*/ 185 h 201"/>
              <a:gd name="T2" fmla="*/ 117 w 136"/>
              <a:gd name="T3" fmla="*/ 177 h 201"/>
              <a:gd name="T4" fmla="*/ 117 w 136"/>
              <a:gd name="T5" fmla="*/ 155 h 201"/>
              <a:gd name="T6" fmla="*/ 126 w 136"/>
              <a:gd name="T7" fmla="*/ 150 h 201"/>
              <a:gd name="T8" fmla="*/ 110 w 136"/>
              <a:gd name="T9" fmla="*/ 142 h 201"/>
              <a:gd name="T10" fmla="*/ 111 w 136"/>
              <a:gd name="T11" fmla="*/ 103 h 201"/>
              <a:gd name="T12" fmla="*/ 112 w 136"/>
              <a:gd name="T13" fmla="*/ 91 h 201"/>
              <a:gd name="T14" fmla="*/ 42 w 136"/>
              <a:gd name="T15" fmla="*/ 6 h 201"/>
              <a:gd name="T16" fmla="*/ 9 w 136"/>
              <a:gd name="T17" fmla="*/ 22 h 201"/>
              <a:gd name="T18" fmla="*/ 8 w 136"/>
              <a:gd name="T19" fmla="*/ 33 h 201"/>
              <a:gd name="T20" fmla="*/ 22 w 136"/>
              <a:gd name="T21" fmla="*/ 30 h 201"/>
              <a:gd name="T22" fmla="*/ 22 w 136"/>
              <a:gd name="T23" fmla="*/ 30 h 201"/>
              <a:gd name="T24" fmla="*/ 10 w 136"/>
              <a:gd name="T25" fmla="*/ 55 h 201"/>
              <a:gd name="T26" fmla="*/ 3 w 136"/>
              <a:gd name="T27" fmla="*/ 78 h 201"/>
              <a:gd name="T28" fmla="*/ 19 w 136"/>
              <a:gd name="T29" fmla="*/ 84 h 201"/>
              <a:gd name="T30" fmla="*/ 33 w 136"/>
              <a:gd name="T31" fmla="*/ 69 h 201"/>
              <a:gd name="T32" fmla="*/ 44 w 136"/>
              <a:gd name="T33" fmla="*/ 90 h 201"/>
              <a:gd name="T34" fmla="*/ 20 w 136"/>
              <a:gd name="T35" fmla="*/ 124 h 201"/>
              <a:gd name="T36" fmla="*/ 23 w 136"/>
              <a:gd name="T37" fmla="*/ 135 h 201"/>
              <a:gd name="T38" fmla="*/ 25 w 136"/>
              <a:gd name="T39" fmla="*/ 137 h 201"/>
              <a:gd name="T40" fmla="*/ 27 w 136"/>
              <a:gd name="T41" fmla="*/ 139 h 201"/>
              <a:gd name="T42" fmla="*/ 29 w 136"/>
              <a:gd name="T43" fmla="*/ 141 h 201"/>
              <a:gd name="T44" fmla="*/ 30 w 136"/>
              <a:gd name="T45" fmla="*/ 142 h 201"/>
              <a:gd name="T46" fmla="*/ 23 w 136"/>
              <a:gd name="T47" fmla="*/ 142 h 201"/>
              <a:gd name="T48" fmla="*/ 11 w 136"/>
              <a:gd name="T49" fmla="*/ 150 h 201"/>
              <a:gd name="T50" fmla="*/ 13 w 136"/>
              <a:gd name="T51" fmla="*/ 154 h 201"/>
              <a:gd name="T52" fmla="*/ 16 w 136"/>
              <a:gd name="T53" fmla="*/ 155 h 201"/>
              <a:gd name="T54" fmla="*/ 20 w 136"/>
              <a:gd name="T55" fmla="*/ 155 h 201"/>
              <a:gd name="T56" fmla="*/ 20 w 136"/>
              <a:gd name="T57" fmla="*/ 177 h 201"/>
              <a:gd name="T58" fmla="*/ 20 w 136"/>
              <a:gd name="T59" fmla="*/ 177 h 201"/>
              <a:gd name="T60" fmla="*/ 9 w 136"/>
              <a:gd name="T61" fmla="*/ 187 h 201"/>
              <a:gd name="T62" fmla="*/ 7 w 136"/>
              <a:gd name="T63" fmla="*/ 189 h 201"/>
              <a:gd name="T64" fmla="*/ 6 w 136"/>
              <a:gd name="T65" fmla="*/ 190 h 201"/>
              <a:gd name="T66" fmla="*/ 5 w 136"/>
              <a:gd name="T67" fmla="*/ 190 h 201"/>
              <a:gd name="T68" fmla="*/ 4 w 136"/>
              <a:gd name="T69" fmla="*/ 191 h 201"/>
              <a:gd name="T70" fmla="*/ 4 w 136"/>
              <a:gd name="T71" fmla="*/ 191 h 201"/>
              <a:gd name="T72" fmla="*/ 3 w 136"/>
              <a:gd name="T73" fmla="*/ 193 h 201"/>
              <a:gd name="T74" fmla="*/ 2 w 136"/>
              <a:gd name="T75" fmla="*/ 193 h 201"/>
              <a:gd name="T76" fmla="*/ 2 w 136"/>
              <a:gd name="T77" fmla="*/ 194 h 201"/>
              <a:gd name="T78" fmla="*/ 2 w 136"/>
              <a:gd name="T79" fmla="*/ 195 h 201"/>
              <a:gd name="T80" fmla="*/ 2 w 136"/>
              <a:gd name="T81" fmla="*/ 197 h 201"/>
              <a:gd name="T82" fmla="*/ 2 w 136"/>
              <a:gd name="T83" fmla="*/ 198 h 201"/>
              <a:gd name="T84" fmla="*/ 2 w 136"/>
              <a:gd name="T85" fmla="*/ 199 h 201"/>
              <a:gd name="T86" fmla="*/ 3 w 136"/>
              <a:gd name="T87" fmla="*/ 200 h 201"/>
              <a:gd name="T88" fmla="*/ 6 w 136"/>
              <a:gd name="T89" fmla="*/ 201 h 201"/>
              <a:gd name="T90" fmla="*/ 52 w 136"/>
              <a:gd name="T91" fmla="*/ 201 h 201"/>
              <a:gd name="T92" fmla="*/ 136 w 136"/>
              <a:gd name="T93" fmla="*/ 196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6" h="201">
                <a:moveTo>
                  <a:pt x="128" y="188"/>
                </a:moveTo>
                <a:cubicBezTo>
                  <a:pt x="128" y="187"/>
                  <a:pt x="128" y="187"/>
                  <a:pt x="128" y="185"/>
                </a:cubicBezTo>
                <a:cubicBezTo>
                  <a:pt x="128" y="182"/>
                  <a:pt x="124" y="177"/>
                  <a:pt x="117" y="177"/>
                </a:cubicBezTo>
                <a:cubicBezTo>
                  <a:pt x="117" y="177"/>
                  <a:pt x="117" y="177"/>
                  <a:pt x="117" y="177"/>
                </a:cubicBezTo>
                <a:cubicBezTo>
                  <a:pt x="115" y="174"/>
                  <a:pt x="111" y="170"/>
                  <a:pt x="111" y="165"/>
                </a:cubicBezTo>
                <a:cubicBezTo>
                  <a:pt x="111" y="161"/>
                  <a:pt x="115" y="157"/>
                  <a:pt x="117" y="155"/>
                </a:cubicBezTo>
                <a:cubicBezTo>
                  <a:pt x="120" y="155"/>
                  <a:pt x="121" y="155"/>
                  <a:pt x="122" y="155"/>
                </a:cubicBezTo>
                <a:cubicBezTo>
                  <a:pt x="123" y="155"/>
                  <a:pt x="126" y="154"/>
                  <a:pt x="126" y="150"/>
                </a:cubicBezTo>
                <a:cubicBezTo>
                  <a:pt x="126" y="147"/>
                  <a:pt x="122" y="142"/>
                  <a:pt x="114" y="142"/>
                </a:cubicBezTo>
                <a:cubicBezTo>
                  <a:pt x="113" y="142"/>
                  <a:pt x="112" y="142"/>
                  <a:pt x="110" y="142"/>
                </a:cubicBezTo>
                <a:cubicBezTo>
                  <a:pt x="123" y="132"/>
                  <a:pt x="123" y="132"/>
                  <a:pt x="123" y="132"/>
                </a:cubicBezTo>
                <a:cubicBezTo>
                  <a:pt x="123" y="132"/>
                  <a:pt x="111" y="115"/>
                  <a:pt x="111" y="103"/>
                </a:cubicBezTo>
                <a:cubicBezTo>
                  <a:pt x="111" y="103"/>
                  <a:pt x="111" y="103"/>
                  <a:pt x="111" y="102"/>
                </a:cubicBezTo>
                <a:cubicBezTo>
                  <a:pt x="111" y="99"/>
                  <a:pt x="111" y="95"/>
                  <a:pt x="112" y="91"/>
                </a:cubicBezTo>
                <a:cubicBezTo>
                  <a:pt x="112" y="79"/>
                  <a:pt x="113" y="53"/>
                  <a:pt x="102" y="33"/>
                </a:cubicBezTo>
                <a:cubicBezTo>
                  <a:pt x="91" y="12"/>
                  <a:pt x="69" y="0"/>
                  <a:pt x="42" y="6"/>
                </a:cubicBezTo>
                <a:cubicBezTo>
                  <a:pt x="30" y="9"/>
                  <a:pt x="21" y="16"/>
                  <a:pt x="16" y="22"/>
                </a:cubicBezTo>
                <a:cubicBezTo>
                  <a:pt x="9" y="22"/>
                  <a:pt x="9" y="22"/>
                  <a:pt x="9" y="22"/>
                </a:cubicBezTo>
                <a:cubicBezTo>
                  <a:pt x="11" y="23"/>
                  <a:pt x="12" y="24"/>
                  <a:pt x="13" y="25"/>
                </a:cubicBezTo>
                <a:cubicBezTo>
                  <a:pt x="9" y="29"/>
                  <a:pt x="8" y="33"/>
                  <a:pt x="8" y="33"/>
                </a:cubicBezTo>
                <a:cubicBezTo>
                  <a:pt x="20" y="33"/>
                  <a:pt x="20" y="33"/>
                  <a:pt x="20" y="33"/>
                </a:cubicBezTo>
                <a:cubicBezTo>
                  <a:pt x="22" y="31"/>
                  <a:pt x="22" y="30"/>
                  <a:pt x="22" y="30"/>
                </a:cubicBezTo>
                <a:cubicBezTo>
                  <a:pt x="21" y="29"/>
                  <a:pt x="20" y="29"/>
                  <a:pt x="19" y="28"/>
                </a:cubicBezTo>
                <a:cubicBezTo>
                  <a:pt x="22" y="30"/>
                  <a:pt x="22" y="30"/>
                  <a:pt x="22" y="30"/>
                </a:cubicBezTo>
                <a:cubicBezTo>
                  <a:pt x="22" y="30"/>
                  <a:pt x="13" y="43"/>
                  <a:pt x="12" y="44"/>
                </a:cubicBezTo>
                <a:cubicBezTo>
                  <a:pt x="12" y="45"/>
                  <a:pt x="12" y="52"/>
                  <a:pt x="10" y="55"/>
                </a:cubicBezTo>
                <a:cubicBezTo>
                  <a:pt x="9" y="57"/>
                  <a:pt x="2" y="69"/>
                  <a:pt x="1" y="70"/>
                </a:cubicBezTo>
                <a:cubicBezTo>
                  <a:pt x="0" y="71"/>
                  <a:pt x="2" y="75"/>
                  <a:pt x="3" y="78"/>
                </a:cubicBezTo>
                <a:cubicBezTo>
                  <a:pt x="5" y="81"/>
                  <a:pt x="7" y="82"/>
                  <a:pt x="9" y="82"/>
                </a:cubicBezTo>
                <a:cubicBezTo>
                  <a:pt x="12" y="83"/>
                  <a:pt x="18" y="84"/>
                  <a:pt x="19" y="84"/>
                </a:cubicBezTo>
                <a:cubicBezTo>
                  <a:pt x="20" y="85"/>
                  <a:pt x="24" y="83"/>
                  <a:pt x="25" y="82"/>
                </a:cubicBezTo>
                <a:cubicBezTo>
                  <a:pt x="26" y="81"/>
                  <a:pt x="29" y="72"/>
                  <a:pt x="33" y="69"/>
                </a:cubicBezTo>
                <a:cubicBezTo>
                  <a:pt x="37" y="66"/>
                  <a:pt x="43" y="65"/>
                  <a:pt x="47" y="64"/>
                </a:cubicBezTo>
                <a:cubicBezTo>
                  <a:pt x="48" y="68"/>
                  <a:pt x="49" y="82"/>
                  <a:pt x="44" y="90"/>
                </a:cubicBezTo>
                <a:cubicBezTo>
                  <a:pt x="36" y="103"/>
                  <a:pt x="23" y="117"/>
                  <a:pt x="20" y="123"/>
                </a:cubicBezTo>
                <a:cubicBezTo>
                  <a:pt x="20" y="123"/>
                  <a:pt x="20" y="123"/>
                  <a:pt x="20" y="124"/>
                </a:cubicBezTo>
                <a:cubicBezTo>
                  <a:pt x="17" y="129"/>
                  <a:pt x="18" y="133"/>
                  <a:pt x="18" y="133"/>
                </a:cubicBezTo>
                <a:cubicBezTo>
                  <a:pt x="18" y="133"/>
                  <a:pt x="21" y="134"/>
                  <a:pt x="23" y="135"/>
                </a:cubicBezTo>
                <a:cubicBezTo>
                  <a:pt x="24" y="136"/>
                  <a:pt x="25" y="136"/>
                  <a:pt x="25" y="137"/>
                </a:cubicBezTo>
                <a:cubicBezTo>
                  <a:pt x="25" y="137"/>
                  <a:pt x="25" y="137"/>
                  <a:pt x="25" y="137"/>
                </a:cubicBezTo>
                <a:cubicBezTo>
                  <a:pt x="26" y="137"/>
                  <a:pt x="27" y="138"/>
                  <a:pt x="27" y="139"/>
                </a:cubicBezTo>
                <a:cubicBezTo>
                  <a:pt x="27" y="139"/>
                  <a:pt x="27" y="139"/>
                  <a:pt x="27" y="139"/>
                </a:cubicBezTo>
                <a:cubicBezTo>
                  <a:pt x="28" y="139"/>
                  <a:pt x="28" y="140"/>
                  <a:pt x="28" y="140"/>
                </a:cubicBezTo>
                <a:cubicBezTo>
                  <a:pt x="29" y="140"/>
                  <a:pt x="29" y="140"/>
                  <a:pt x="29" y="141"/>
                </a:cubicBezTo>
                <a:cubicBezTo>
                  <a:pt x="29" y="141"/>
                  <a:pt x="29" y="142"/>
                  <a:pt x="30" y="142"/>
                </a:cubicBezTo>
                <a:cubicBezTo>
                  <a:pt x="30" y="142"/>
                  <a:pt x="30" y="142"/>
                  <a:pt x="30" y="142"/>
                </a:cubicBezTo>
                <a:cubicBezTo>
                  <a:pt x="27" y="142"/>
                  <a:pt x="25" y="142"/>
                  <a:pt x="24" y="142"/>
                </a:cubicBezTo>
                <a:cubicBezTo>
                  <a:pt x="23" y="142"/>
                  <a:pt x="23" y="142"/>
                  <a:pt x="23" y="142"/>
                </a:cubicBezTo>
                <a:cubicBezTo>
                  <a:pt x="20" y="142"/>
                  <a:pt x="17" y="143"/>
                  <a:pt x="15" y="145"/>
                </a:cubicBezTo>
                <a:cubicBezTo>
                  <a:pt x="12" y="146"/>
                  <a:pt x="11" y="149"/>
                  <a:pt x="11" y="150"/>
                </a:cubicBezTo>
                <a:cubicBezTo>
                  <a:pt x="11" y="152"/>
                  <a:pt x="12" y="154"/>
                  <a:pt x="13" y="154"/>
                </a:cubicBezTo>
                <a:cubicBezTo>
                  <a:pt x="13" y="154"/>
                  <a:pt x="13" y="154"/>
                  <a:pt x="13" y="154"/>
                </a:cubicBezTo>
                <a:cubicBezTo>
                  <a:pt x="14" y="155"/>
                  <a:pt x="15" y="155"/>
                  <a:pt x="16" y="155"/>
                </a:cubicBezTo>
                <a:cubicBezTo>
                  <a:pt x="16" y="155"/>
                  <a:pt x="16" y="155"/>
                  <a:pt x="16" y="155"/>
                </a:cubicBezTo>
                <a:cubicBezTo>
                  <a:pt x="16" y="155"/>
                  <a:pt x="16" y="155"/>
                  <a:pt x="16" y="155"/>
                </a:cubicBezTo>
                <a:cubicBezTo>
                  <a:pt x="16" y="155"/>
                  <a:pt x="18" y="155"/>
                  <a:pt x="20" y="155"/>
                </a:cubicBezTo>
                <a:cubicBezTo>
                  <a:pt x="23" y="157"/>
                  <a:pt x="26" y="161"/>
                  <a:pt x="26" y="165"/>
                </a:cubicBezTo>
                <a:cubicBezTo>
                  <a:pt x="26" y="170"/>
                  <a:pt x="23" y="174"/>
                  <a:pt x="20" y="177"/>
                </a:cubicBezTo>
                <a:cubicBezTo>
                  <a:pt x="20" y="177"/>
                  <a:pt x="20" y="177"/>
                  <a:pt x="20" y="177"/>
                </a:cubicBezTo>
                <a:cubicBezTo>
                  <a:pt x="20" y="177"/>
                  <a:pt x="20" y="177"/>
                  <a:pt x="20" y="177"/>
                </a:cubicBezTo>
                <a:cubicBezTo>
                  <a:pt x="14" y="177"/>
                  <a:pt x="9" y="182"/>
                  <a:pt x="9" y="185"/>
                </a:cubicBezTo>
                <a:cubicBezTo>
                  <a:pt x="9" y="186"/>
                  <a:pt x="9" y="187"/>
                  <a:pt x="9" y="187"/>
                </a:cubicBezTo>
                <a:cubicBezTo>
                  <a:pt x="10" y="187"/>
                  <a:pt x="10" y="188"/>
                  <a:pt x="10" y="188"/>
                </a:cubicBezTo>
                <a:cubicBezTo>
                  <a:pt x="9" y="188"/>
                  <a:pt x="8" y="189"/>
                  <a:pt x="7" y="189"/>
                </a:cubicBezTo>
                <a:cubicBezTo>
                  <a:pt x="6" y="189"/>
                  <a:pt x="6" y="189"/>
                  <a:pt x="6" y="189"/>
                </a:cubicBezTo>
                <a:cubicBezTo>
                  <a:pt x="6" y="190"/>
                  <a:pt x="6" y="190"/>
                  <a:pt x="6" y="190"/>
                </a:cubicBezTo>
                <a:cubicBezTo>
                  <a:pt x="6" y="190"/>
                  <a:pt x="6" y="190"/>
                  <a:pt x="6" y="190"/>
                </a:cubicBezTo>
                <a:cubicBezTo>
                  <a:pt x="6" y="190"/>
                  <a:pt x="5" y="190"/>
                  <a:pt x="5" y="190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0"/>
                  <a:pt x="5" y="191"/>
                  <a:pt x="4" y="191"/>
                </a:cubicBezTo>
                <a:cubicBezTo>
                  <a:pt x="4" y="191"/>
                  <a:pt x="4" y="191"/>
                  <a:pt x="4" y="191"/>
                </a:cubicBezTo>
                <a:cubicBezTo>
                  <a:pt x="4" y="191"/>
                  <a:pt x="4" y="191"/>
                  <a:pt x="4" y="191"/>
                </a:cubicBezTo>
                <a:cubicBezTo>
                  <a:pt x="3" y="192"/>
                  <a:pt x="3" y="192"/>
                  <a:pt x="3" y="192"/>
                </a:cubicBezTo>
                <a:cubicBezTo>
                  <a:pt x="3" y="192"/>
                  <a:pt x="3" y="192"/>
                  <a:pt x="3" y="193"/>
                </a:cubicBezTo>
                <a:cubicBezTo>
                  <a:pt x="3" y="193"/>
                  <a:pt x="3" y="193"/>
                  <a:pt x="2" y="193"/>
                </a:cubicBezTo>
                <a:cubicBezTo>
                  <a:pt x="2" y="193"/>
                  <a:pt x="2" y="193"/>
                  <a:pt x="2" y="193"/>
                </a:cubicBezTo>
                <a:cubicBezTo>
                  <a:pt x="2" y="193"/>
                  <a:pt x="2" y="194"/>
                  <a:pt x="2" y="194"/>
                </a:cubicBezTo>
                <a:cubicBezTo>
                  <a:pt x="2" y="194"/>
                  <a:pt x="2" y="194"/>
                  <a:pt x="2" y="194"/>
                </a:cubicBezTo>
                <a:cubicBezTo>
                  <a:pt x="2" y="194"/>
                  <a:pt x="2" y="194"/>
                  <a:pt x="2" y="195"/>
                </a:cubicBezTo>
                <a:cubicBezTo>
                  <a:pt x="2" y="195"/>
                  <a:pt x="2" y="195"/>
                  <a:pt x="2" y="195"/>
                </a:cubicBezTo>
                <a:cubicBezTo>
                  <a:pt x="1" y="195"/>
                  <a:pt x="1" y="196"/>
                  <a:pt x="1" y="196"/>
                </a:cubicBezTo>
                <a:cubicBezTo>
                  <a:pt x="1" y="196"/>
                  <a:pt x="2" y="197"/>
                  <a:pt x="2" y="197"/>
                </a:cubicBezTo>
                <a:cubicBezTo>
                  <a:pt x="2" y="197"/>
                  <a:pt x="2" y="198"/>
                  <a:pt x="2" y="198"/>
                </a:cubicBezTo>
                <a:cubicBezTo>
                  <a:pt x="2" y="198"/>
                  <a:pt x="2" y="198"/>
                  <a:pt x="2" y="198"/>
                </a:cubicBezTo>
                <a:cubicBezTo>
                  <a:pt x="2" y="198"/>
                  <a:pt x="2" y="198"/>
                  <a:pt x="2" y="199"/>
                </a:cubicBezTo>
                <a:cubicBezTo>
                  <a:pt x="2" y="199"/>
                  <a:pt x="2" y="199"/>
                  <a:pt x="2" y="199"/>
                </a:cubicBezTo>
                <a:cubicBezTo>
                  <a:pt x="3" y="199"/>
                  <a:pt x="3" y="199"/>
                  <a:pt x="3" y="200"/>
                </a:cubicBezTo>
                <a:cubicBezTo>
                  <a:pt x="3" y="200"/>
                  <a:pt x="3" y="200"/>
                  <a:pt x="3" y="200"/>
                </a:cubicBezTo>
                <a:cubicBezTo>
                  <a:pt x="3" y="200"/>
                  <a:pt x="3" y="200"/>
                  <a:pt x="3" y="200"/>
                </a:cubicBezTo>
                <a:cubicBezTo>
                  <a:pt x="4" y="201"/>
                  <a:pt x="5" y="201"/>
                  <a:pt x="6" y="201"/>
                </a:cubicBezTo>
                <a:cubicBezTo>
                  <a:pt x="6" y="201"/>
                  <a:pt x="6" y="201"/>
                  <a:pt x="6" y="201"/>
                </a:cubicBezTo>
                <a:cubicBezTo>
                  <a:pt x="7" y="201"/>
                  <a:pt x="28" y="201"/>
                  <a:pt x="52" y="201"/>
                </a:cubicBezTo>
                <a:cubicBezTo>
                  <a:pt x="87" y="201"/>
                  <a:pt x="130" y="201"/>
                  <a:pt x="131" y="201"/>
                </a:cubicBezTo>
                <a:cubicBezTo>
                  <a:pt x="133" y="201"/>
                  <a:pt x="136" y="200"/>
                  <a:pt x="136" y="196"/>
                </a:cubicBezTo>
                <a:cubicBezTo>
                  <a:pt x="136" y="193"/>
                  <a:pt x="133" y="189"/>
                  <a:pt x="128" y="18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Freeform 50"/>
          <p:cNvSpPr>
            <a:spLocks noEditPoints="1"/>
          </p:cNvSpPr>
          <p:nvPr/>
        </p:nvSpPr>
        <p:spPr bwMode="auto">
          <a:xfrm>
            <a:off x="8613972" y="7487443"/>
            <a:ext cx="627416" cy="611802"/>
          </a:xfrm>
          <a:custGeom>
            <a:avLst/>
            <a:gdLst>
              <a:gd name="T0" fmla="*/ 64 w 187"/>
              <a:gd name="T1" fmla="*/ 82 h 182"/>
              <a:gd name="T2" fmla="*/ 74 w 187"/>
              <a:gd name="T3" fmla="*/ 92 h 182"/>
              <a:gd name="T4" fmla="*/ 59 w 187"/>
              <a:gd name="T5" fmla="*/ 99 h 182"/>
              <a:gd name="T6" fmla="*/ 47 w 187"/>
              <a:gd name="T7" fmla="*/ 95 h 182"/>
              <a:gd name="T8" fmla="*/ 7 w 187"/>
              <a:gd name="T9" fmla="*/ 54 h 182"/>
              <a:gd name="T10" fmla="*/ 9 w 187"/>
              <a:gd name="T11" fmla="*/ 27 h 182"/>
              <a:gd name="T12" fmla="*/ 30 w 187"/>
              <a:gd name="T13" fmla="*/ 7 h 182"/>
              <a:gd name="T14" fmla="*/ 46 w 187"/>
              <a:gd name="T15" fmla="*/ 0 h 182"/>
              <a:gd name="T16" fmla="*/ 57 w 187"/>
              <a:gd name="T17" fmla="*/ 4 h 182"/>
              <a:gd name="T18" fmla="*/ 97 w 187"/>
              <a:gd name="T19" fmla="*/ 44 h 182"/>
              <a:gd name="T20" fmla="*/ 95 w 187"/>
              <a:gd name="T21" fmla="*/ 72 h 182"/>
              <a:gd name="T22" fmla="*/ 85 w 187"/>
              <a:gd name="T23" fmla="*/ 61 h 182"/>
              <a:gd name="T24" fmla="*/ 87 w 187"/>
              <a:gd name="T25" fmla="*/ 55 h 182"/>
              <a:gd name="T26" fmla="*/ 47 w 187"/>
              <a:gd name="T27" fmla="*/ 14 h 182"/>
              <a:gd name="T28" fmla="*/ 46 w 187"/>
              <a:gd name="T29" fmla="*/ 14 h 182"/>
              <a:gd name="T30" fmla="*/ 40 w 187"/>
              <a:gd name="T31" fmla="*/ 17 h 182"/>
              <a:gd name="T32" fmla="*/ 20 w 187"/>
              <a:gd name="T33" fmla="*/ 37 h 182"/>
              <a:gd name="T34" fmla="*/ 17 w 187"/>
              <a:gd name="T35" fmla="*/ 44 h 182"/>
              <a:gd name="T36" fmla="*/ 58 w 187"/>
              <a:gd name="T37" fmla="*/ 84 h 182"/>
              <a:gd name="T38" fmla="*/ 64 w 187"/>
              <a:gd name="T39" fmla="*/ 82 h 182"/>
              <a:gd name="T40" fmla="*/ 180 w 187"/>
              <a:gd name="T41" fmla="*/ 127 h 182"/>
              <a:gd name="T42" fmla="*/ 140 w 187"/>
              <a:gd name="T43" fmla="*/ 87 h 182"/>
              <a:gd name="T44" fmla="*/ 128 w 187"/>
              <a:gd name="T45" fmla="*/ 82 h 182"/>
              <a:gd name="T46" fmla="*/ 113 w 187"/>
              <a:gd name="T47" fmla="*/ 89 h 182"/>
              <a:gd name="T48" fmla="*/ 123 w 187"/>
              <a:gd name="T49" fmla="*/ 100 h 182"/>
              <a:gd name="T50" fmla="*/ 128 w 187"/>
              <a:gd name="T51" fmla="*/ 97 h 182"/>
              <a:gd name="T52" fmla="*/ 129 w 187"/>
              <a:gd name="T53" fmla="*/ 97 h 182"/>
              <a:gd name="T54" fmla="*/ 170 w 187"/>
              <a:gd name="T55" fmla="*/ 138 h 182"/>
              <a:gd name="T56" fmla="*/ 167 w 187"/>
              <a:gd name="T57" fmla="*/ 144 h 182"/>
              <a:gd name="T58" fmla="*/ 147 w 187"/>
              <a:gd name="T59" fmla="*/ 165 h 182"/>
              <a:gd name="T60" fmla="*/ 140 w 187"/>
              <a:gd name="T61" fmla="*/ 167 h 182"/>
              <a:gd name="T62" fmla="*/ 100 w 187"/>
              <a:gd name="T63" fmla="*/ 127 h 182"/>
              <a:gd name="T64" fmla="*/ 102 w 187"/>
              <a:gd name="T65" fmla="*/ 120 h 182"/>
              <a:gd name="T66" fmla="*/ 92 w 187"/>
              <a:gd name="T67" fmla="*/ 110 h 182"/>
              <a:gd name="T68" fmla="*/ 90 w 187"/>
              <a:gd name="T69" fmla="*/ 137 h 182"/>
              <a:gd name="T70" fmla="*/ 130 w 187"/>
              <a:gd name="T71" fmla="*/ 177 h 182"/>
              <a:gd name="T72" fmla="*/ 141 w 187"/>
              <a:gd name="T73" fmla="*/ 182 h 182"/>
              <a:gd name="T74" fmla="*/ 141 w 187"/>
              <a:gd name="T75" fmla="*/ 182 h 182"/>
              <a:gd name="T76" fmla="*/ 157 w 187"/>
              <a:gd name="T77" fmla="*/ 175 h 182"/>
              <a:gd name="T78" fmla="*/ 178 w 187"/>
              <a:gd name="T79" fmla="*/ 155 h 182"/>
              <a:gd name="T80" fmla="*/ 180 w 187"/>
              <a:gd name="T81" fmla="*/ 127 h 182"/>
              <a:gd name="T82" fmla="*/ 60 w 187"/>
              <a:gd name="T83" fmla="*/ 57 h 182"/>
              <a:gd name="T84" fmla="*/ 60 w 187"/>
              <a:gd name="T85" fmla="*/ 70 h 182"/>
              <a:gd name="T86" fmla="*/ 114 w 187"/>
              <a:gd name="T87" fmla="*/ 124 h 182"/>
              <a:gd name="T88" fmla="*/ 121 w 187"/>
              <a:gd name="T89" fmla="*/ 127 h 182"/>
              <a:gd name="T90" fmla="*/ 127 w 187"/>
              <a:gd name="T91" fmla="*/ 124 h 182"/>
              <a:gd name="T92" fmla="*/ 127 w 187"/>
              <a:gd name="T93" fmla="*/ 112 h 182"/>
              <a:gd name="T94" fmla="*/ 73 w 187"/>
              <a:gd name="T95" fmla="*/ 57 h 182"/>
              <a:gd name="T96" fmla="*/ 60 w 187"/>
              <a:gd name="T97" fmla="*/ 57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7" h="182">
                <a:moveTo>
                  <a:pt x="64" y="82"/>
                </a:moveTo>
                <a:cubicBezTo>
                  <a:pt x="74" y="92"/>
                  <a:pt x="74" y="92"/>
                  <a:pt x="74" y="92"/>
                </a:cubicBezTo>
                <a:cubicBezTo>
                  <a:pt x="70" y="97"/>
                  <a:pt x="64" y="99"/>
                  <a:pt x="59" y="99"/>
                </a:cubicBezTo>
                <a:cubicBezTo>
                  <a:pt x="54" y="99"/>
                  <a:pt x="50" y="98"/>
                  <a:pt x="47" y="95"/>
                </a:cubicBezTo>
                <a:cubicBezTo>
                  <a:pt x="7" y="54"/>
                  <a:pt x="7" y="54"/>
                  <a:pt x="7" y="54"/>
                </a:cubicBezTo>
                <a:cubicBezTo>
                  <a:pt x="0" y="47"/>
                  <a:pt x="1" y="35"/>
                  <a:pt x="9" y="27"/>
                </a:cubicBezTo>
                <a:cubicBezTo>
                  <a:pt x="30" y="7"/>
                  <a:pt x="30" y="7"/>
                  <a:pt x="30" y="7"/>
                </a:cubicBezTo>
                <a:cubicBezTo>
                  <a:pt x="34" y="2"/>
                  <a:pt x="40" y="0"/>
                  <a:pt x="46" y="0"/>
                </a:cubicBezTo>
                <a:cubicBezTo>
                  <a:pt x="50" y="0"/>
                  <a:pt x="54" y="1"/>
                  <a:pt x="57" y="4"/>
                </a:cubicBezTo>
                <a:cubicBezTo>
                  <a:pt x="97" y="44"/>
                  <a:pt x="97" y="44"/>
                  <a:pt x="97" y="44"/>
                </a:cubicBezTo>
                <a:cubicBezTo>
                  <a:pt x="104" y="51"/>
                  <a:pt x="103" y="63"/>
                  <a:pt x="95" y="72"/>
                </a:cubicBezTo>
                <a:cubicBezTo>
                  <a:pt x="85" y="61"/>
                  <a:pt x="85" y="61"/>
                  <a:pt x="85" y="61"/>
                </a:cubicBezTo>
                <a:cubicBezTo>
                  <a:pt x="87" y="58"/>
                  <a:pt x="87" y="55"/>
                  <a:pt x="87" y="55"/>
                </a:cubicBezTo>
                <a:cubicBezTo>
                  <a:pt x="47" y="14"/>
                  <a:pt x="47" y="14"/>
                  <a:pt x="47" y="14"/>
                </a:cubicBezTo>
                <a:cubicBezTo>
                  <a:pt x="47" y="14"/>
                  <a:pt x="46" y="14"/>
                  <a:pt x="46" y="14"/>
                </a:cubicBezTo>
                <a:cubicBezTo>
                  <a:pt x="44" y="14"/>
                  <a:pt x="42" y="15"/>
                  <a:pt x="40" y="17"/>
                </a:cubicBezTo>
                <a:cubicBezTo>
                  <a:pt x="20" y="37"/>
                  <a:pt x="20" y="37"/>
                  <a:pt x="20" y="37"/>
                </a:cubicBezTo>
                <a:cubicBezTo>
                  <a:pt x="17" y="40"/>
                  <a:pt x="17" y="43"/>
                  <a:pt x="17" y="44"/>
                </a:cubicBezTo>
                <a:cubicBezTo>
                  <a:pt x="58" y="84"/>
                  <a:pt x="58" y="84"/>
                  <a:pt x="58" y="84"/>
                </a:cubicBezTo>
                <a:cubicBezTo>
                  <a:pt x="58" y="85"/>
                  <a:pt x="61" y="85"/>
                  <a:pt x="64" y="82"/>
                </a:cubicBezTo>
                <a:close/>
                <a:moveTo>
                  <a:pt x="180" y="127"/>
                </a:moveTo>
                <a:cubicBezTo>
                  <a:pt x="140" y="87"/>
                  <a:pt x="140" y="87"/>
                  <a:pt x="140" y="87"/>
                </a:cubicBezTo>
                <a:cubicBezTo>
                  <a:pt x="137" y="84"/>
                  <a:pt x="133" y="82"/>
                  <a:pt x="128" y="82"/>
                </a:cubicBezTo>
                <a:cubicBezTo>
                  <a:pt x="123" y="82"/>
                  <a:pt x="117" y="85"/>
                  <a:pt x="113" y="89"/>
                </a:cubicBezTo>
                <a:cubicBezTo>
                  <a:pt x="123" y="100"/>
                  <a:pt x="123" y="100"/>
                  <a:pt x="123" y="100"/>
                </a:cubicBezTo>
                <a:cubicBezTo>
                  <a:pt x="125" y="98"/>
                  <a:pt x="127" y="97"/>
                  <a:pt x="128" y="97"/>
                </a:cubicBezTo>
                <a:cubicBezTo>
                  <a:pt x="129" y="97"/>
                  <a:pt x="129" y="97"/>
                  <a:pt x="129" y="97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70" y="138"/>
                  <a:pt x="170" y="141"/>
                  <a:pt x="167" y="144"/>
                </a:cubicBezTo>
                <a:cubicBezTo>
                  <a:pt x="147" y="165"/>
                  <a:pt x="147" y="165"/>
                  <a:pt x="147" y="165"/>
                </a:cubicBezTo>
                <a:cubicBezTo>
                  <a:pt x="144" y="167"/>
                  <a:pt x="141" y="167"/>
                  <a:pt x="140" y="167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100" y="126"/>
                  <a:pt x="100" y="123"/>
                  <a:pt x="102" y="120"/>
                </a:cubicBezTo>
                <a:cubicBezTo>
                  <a:pt x="92" y="110"/>
                  <a:pt x="92" y="110"/>
                  <a:pt x="92" y="110"/>
                </a:cubicBezTo>
                <a:cubicBezTo>
                  <a:pt x="84" y="118"/>
                  <a:pt x="83" y="130"/>
                  <a:pt x="90" y="137"/>
                </a:cubicBezTo>
                <a:cubicBezTo>
                  <a:pt x="130" y="177"/>
                  <a:pt x="130" y="177"/>
                  <a:pt x="130" y="177"/>
                </a:cubicBezTo>
                <a:cubicBezTo>
                  <a:pt x="133" y="180"/>
                  <a:pt x="137" y="182"/>
                  <a:pt x="141" y="182"/>
                </a:cubicBezTo>
                <a:cubicBezTo>
                  <a:pt x="141" y="182"/>
                  <a:pt x="141" y="182"/>
                  <a:pt x="141" y="182"/>
                </a:cubicBezTo>
                <a:cubicBezTo>
                  <a:pt x="147" y="182"/>
                  <a:pt x="153" y="179"/>
                  <a:pt x="157" y="175"/>
                </a:cubicBezTo>
                <a:cubicBezTo>
                  <a:pt x="178" y="155"/>
                  <a:pt x="178" y="155"/>
                  <a:pt x="178" y="155"/>
                </a:cubicBezTo>
                <a:cubicBezTo>
                  <a:pt x="186" y="146"/>
                  <a:pt x="187" y="134"/>
                  <a:pt x="180" y="127"/>
                </a:cubicBezTo>
                <a:close/>
                <a:moveTo>
                  <a:pt x="60" y="57"/>
                </a:moveTo>
                <a:cubicBezTo>
                  <a:pt x="56" y="61"/>
                  <a:pt x="56" y="66"/>
                  <a:pt x="60" y="70"/>
                </a:cubicBezTo>
                <a:cubicBezTo>
                  <a:pt x="114" y="124"/>
                  <a:pt x="114" y="124"/>
                  <a:pt x="114" y="124"/>
                </a:cubicBezTo>
                <a:cubicBezTo>
                  <a:pt x="116" y="126"/>
                  <a:pt x="118" y="127"/>
                  <a:pt x="121" y="127"/>
                </a:cubicBezTo>
                <a:cubicBezTo>
                  <a:pt x="123" y="127"/>
                  <a:pt x="125" y="126"/>
                  <a:pt x="127" y="124"/>
                </a:cubicBezTo>
                <a:cubicBezTo>
                  <a:pt x="131" y="121"/>
                  <a:pt x="131" y="115"/>
                  <a:pt x="127" y="112"/>
                </a:cubicBezTo>
                <a:cubicBezTo>
                  <a:pt x="73" y="57"/>
                  <a:pt x="73" y="57"/>
                  <a:pt x="73" y="57"/>
                </a:cubicBezTo>
                <a:cubicBezTo>
                  <a:pt x="69" y="53"/>
                  <a:pt x="63" y="53"/>
                  <a:pt x="60" y="5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6" name="Freeform 56"/>
          <p:cNvSpPr>
            <a:spLocks noEditPoints="1"/>
          </p:cNvSpPr>
          <p:nvPr/>
        </p:nvSpPr>
        <p:spPr bwMode="auto">
          <a:xfrm>
            <a:off x="13717778" y="10218437"/>
            <a:ext cx="366228" cy="643030"/>
          </a:xfrm>
          <a:custGeom>
            <a:avLst/>
            <a:gdLst>
              <a:gd name="T0" fmla="*/ 109 w 109"/>
              <a:gd name="T1" fmla="*/ 186 h 191"/>
              <a:gd name="T2" fmla="*/ 104 w 109"/>
              <a:gd name="T3" fmla="*/ 191 h 191"/>
              <a:gd name="T4" fmla="*/ 6 w 109"/>
              <a:gd name="T5" fmla="*/ 191 h 191"/>
              <a:gd name="T6" fmla="*/ 0 w 109"/>
              <a:gd name="T7" fmla="*/ 186 h 191"/>
              <a:gd name="T8" fmla="*/ 6 w 109"/>
              <a:gd name="T9" fmla="*/ 180 h 191"/>
              <a:gd name="T10" fmla="*/ 104 w 109"/>
              <a:gd name="T11" fmla="*/ 180 h 191"/>
              <a:gd name="T12" fmla="*/ 109 w 109"/>
              <a:gd name="T13" fmla="*/ 186 h 191"/>
              <a:gd name="T14" fmla="*/ 6 w 109"/>
              <a:gd name="T15" fmla="*/ 12 h 191"/>
              <a:gd name="T16" fmla="*/ 104 w 109"/>
              <a:gd name="T17" fmla="*/ 12 h 191"/>
              <a:gd name="T18" fmla="*/ 109 w 109"/>
              <a:gd name="T19" fmla="*/ 6 h 191"/>
              <a:gd name="T20" fmla="*/ 104 w 109"/>
              <a:gd name="T21" fmla="*/ 0 h 191"/>
              <a:gd name="T22" fmla="*/ 6 w 109"/>
              <a:gd name="T23" fmla="*/ 0 h 191"/>
              <a:gd name="T24" fmla="*/ 0 w 109"/>
              <a:gd name="T25" fmla="*/ 6 h 191"/>
              <a:gd name="T26" fmla="*/ 6 w 109"/>
              <a:gd name="T27" fmla="*/ 12 h 191"/>
              <a:gd name="T28" fmla="*/ 68 w 109"/>
              <a:gd name="T29" fmla="*/ 94 h 191"/>
              <a:gd name="T30" fmla="*/ 68 w 109"/>
              <a:gd name="T31" fmla="*/ 97 h 191"/>
              <a:gd name="T32" fmla="*/ 96 w 109"/>
              <a:gd name="T33" fmla="*/ 120 h 191"/>
              <a:gd name="T34" fmla="*/ 103 w 109"/>
              <a:gd name="T35" fmla="*/ 134 h 191"/>
              <a:gd name="T36" fmla="*/ 103 w 109"/>
              <a:gd name="T37" fmla="*/ 175 h 191"/>
              <a:gd name="T38" fmla="*/ 7 w 109"/>
              <a:gd name="T39" fmla="*/ 175 h 191"/>
              <a:gd name="T40" fmla="*/ 7 w 109"/>
              <a:gd name="T41" fmla="*/ 134 h 191"/>
              <a:gd name="T42" fmla="*/ 14 w 109"/>
              <a:gd name="T43" fmla="*/ 120 h 191"/>
              <a:gd name="T44" fmla="*/ 42 w 109"/>
              <a:gd name="T45" fmla="*/ 97 h 191"/>
              <a:gd name="T46" fmla="*/ 42 w 109"/>
              <a:gd name="T47" fmla="*/ 94 h 191"/>
              <a:gd name="T48" fmla="*/ 14 w 109"/>
              <a:gd name="T49" fmla="*/ 72 h 191"/>
              <a:gd name="T50" fmla="*/ 7 w 109"/>
              <a:gd name="T51" fmla="*/ 57 h 191"/>
              <a:gd name="T52" fmla="*/ 7 w 109"/>
              <a:gd name="T53" fmla="*/ 16 h 191"/>
              <a:gd name="T54" fmla="*/ 103 w 109"/>
              <a:gd name="T55" fmla="*/ 16 h 191"/>
              <a:gd name="T56" fmla="*/ 103 w 109"/>
              <a:gd name="T57" fmla="*/ 57 h 191"/>
              <a:gd name="T58" fmla="*/ 96 w 109"/>
              <a:gd name="T59" fmla="*/ 72 h 191"/>
              <a:gd name="T60" fmla="*/ 68 w 109"/>
              <a:gd name="T61" fmla="*/ 94 h 191"/>
              <a:gd name="T62" fmla="*/ 60 w 109"/>
              <a:gd name="T63" fmla="*/ 101 h 191"/>
              <a:gd name="T64" fmla="*/ 60 w 109"/>
              <a:gd name="T65" fmla="*/ 91 h 191"/>
              <a:gd name="T66" fmla="*/ 91 w 109"/>
              <a:gd name="T67" fmla="*/ 66 h 191"/>
              <a:gd name="T68" fmla="*/ 95 w 109"/>
              <a:gd name="T69" fmla="*/ 57 h 191"/>
              <a:gd name="T70" fmla="*/ 95 w 109"/>
              <a:gd name="T71" fmla="*/ 24 h 191"/>
              <a:gd name="T72" fmla="*/ 14 w 109"/>
              <a:gd name="T73" fmla="*/ 24 h 191"/>
              <a:gd name="T74" fmla="*/ 14 w 109"/>
              <a:gd name="T75" fmla="*/ 57 h 191"/>
              <a:gd name="T76" fmla="*/ 19 w 109"/>
              <a:gd name="T77" fmla="*/ 66 h 191"/>
              <a:gd name="T78" fmla="*/ 50 w 109"/>
              <a:gd name="T79" fmla="*/ 91 h 191"/>
              <a:gd name="T80" fmla="*/ 50 w 109"/>
              <a:gd name="T81" fmla="*/ 101 h 191"/>
              <a:gd name="T82" fmla="*/ 19 w 109"/>
              <a:gd name="T83" fmla="*/ 126 h 191"/>
              <a:gd name="T84" fmla="*/ 14 w 109"/>
              <a:gd name="T85" fmla="*/ 134 h 191"/>
              <a:gd name="T86" fmla="*/ 14 w 109"/>
              <a:gd name="T87" fmla="*/ 168 h 191"/>
              <a:gd name="T88" fmla="*/ 95 w 109"/>
              <a:gd name="T89" fmla="*/ 168 h 191"/>
              <a:gd name="T90" fmla="*/ 95 w 109"/>
              <a:gd name="T91" fmla="*/ 134 h 191"/>
              <a:gd name="T92" fmla="*/ 91 w 109"/>
              <a:gd name="T93" fmla="*/ 126 h 191"/>
              <a:gd name="T94" fmla="*/ 60 w 109"/>
              <a:gd name="T95" fmla="*/ 101 h 191"/>
              <a:gd name="T96" fmla="*/ 88 w 109"/>
              <a:gd name="T97" fmla="*/ 62 h 191"/>
              <a:gd name="T98" fmla="*/ 91 w 109"/>
              <a:gd name="T99" fmla="*/ 57 h 191"/>
              <a:gd name="T100" fmla="*/ 19 w 109"/>
              <a:gd name="T101" fmla="*/ 57 h 191"/>
              <a:gd name="T102" fmla="*/ 22 w 109"/>
              <a:gd name="T103" fmla="*/ 62 h 191"/>
              <a:gd name="T104" fmla="*/ 54 w 109"/>
              <a:gd name="T105" fmla="*/ 88 h 191"/>
              <a:gd name="T106" fmla="*/ 54 w 109"/>
              <a:gd name="T107" fmla="*/ 129 h 191"/>
              <a:gd name="T108" fmla="*/ 22 w 109"/>
              <a:gd name="T109" fmla="*/ 155 h 191"/>
              <a:gd name="T110" fmla="*/ 19 w 109"/>
              <a:gd name="T111" fmla="*/ 160 h 191"/>
              <a:gd name="T112" fmla="*/ 19 w 109"/>
              <a:gd name="T113" fmla="*/ 163 h 191"/>
              <a:gd name="T114" fmla="*/ 91 w 109"/>
              <a:gd name="T115" fmla="*/ 163 h 191"/>
              <a:gd name="T116" fmla="*/ 91 w 109"/>
              <a:gd name="T117" fmla="*/ 160 h 191"/>
              <a:gd name="T118" fmla="*/ 88 w 109"/>
              <a:gd name="T119" fmla="*/ 155 h 191"/>
              <a:gd name="T120" fmla="*/ 56 w 109"/>
              <a:gd name="T121" fmla="*/ 129 h 191"/>
              <a:gd name="T122" fmla="*/ 56 w 109"/>
              <a:gd name="T123" fmla="*/ 88 h 191"/>
              <a:gd name="T124" fmla="*/ 88 w 109"/>
              <a:gd name="T125" fmla="*/ 62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9" h="191">
                <a:moveTo>
                  <a:pt x="109" y="186"/>
                </a:moveTo>
                <a:cubicBezTo>
                  <a:pt x="109" y="189"/>
                  <a:pt x="107" y="191"/>
                  <a:pt x="104" y="191"/>
                </a:cubicBezTo>
                <a:cubicBezTo>
                  <a:pt x="6" y="191"/>
                  <a:pt x="6" y="191"/>
                  <a:pt x="6" y="191"/>
                </a:cubicBezTo>
                <a:cubicBezTo>
                  <a:pt x="3" y="191"/>
                  <a:pt x="0" y="189"/>
                  <a:pt x="0" y="186"/>
                </a:cubicBezTo>
                <a:cubicBezTo>
                  <a:pt x="0" y="182"/>
                  <a:pt x="3" y="180"/>
                  <a:pt x="6" y="180"/>
                </a:cubicBezTo>
                <a:cubicBezTo>
                  <a:pt x="104" y="180"/>
                  <a:pt x="104" y="180"/>
                  <a:pt x="104" y="180"/>
                </a:cubicBezTo>
                <a:cubicBezTo>
                  <a:pt x="107" y="180"/>
                  <a:pt x="109" y="182"/>
                  <a:pt x="109" y="186"/>
                </a:cubicBezTo>
                <a:close/>
                <a:moveTo>
                  <a:pt x="6" y="12"/>
                </a:moveTo>
                <a:cubicBezTo>
                  <a:pt x="104" y="12"/>
                  <a:pt x="104" y="12"/>
                  <a:pt x="104" y="12"/>
                </a:cubicBezTo>
                <a:cubicBezTo>
                  <a:pt x="107" y="12"/>
                  <a:pt x="109" y="9"/>
                  <a:pt x="109" y="6"/>
                </a:cubicBezTo>
                <a:cubicBezTo>
                  <a:pt x="109" y="3"/>
                  <a:pt x="107" y="0"/>
                  <a:pt x="104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9"/>
                  <a:pt x="3" y="12"/>
                  <a:pt x="6" y="12"/>
                </a:cubicBezTo>
                <a:close/>
                <a:moveTo>
                  <a:pt x="68" y="94"/>
                </a:moveTo>
                <a:cubicBezTo>
                  <a:pt x="68" y="97"/>
                  <a:pt x="68" y="97"/>
                  <a:pt x="68" y="97"/>
                </a:cubicBezTo>
                <a:cubicBezTo>
                  <a:pt x="96" y="120"/>
                  <a:pt x="96" y="120"/>
                  <a:pt x="96" y="120"/>
                </a:cubicBezTo>
                <a:cubicBezTo>
                  <a:pt x="100" y="123"/>
                  <a:pt x="103" y="129"/>
                  <a:pt x="103" y="134"/>
                </a:cubicBezTo>
                <a:cubicBezTo>
                  <a:pt x="103" y="175"/>
                  <a:pt x="103" y="175"/>
                  <a:pt x="103" y="175"/>
                </a:cubicBezTo>
                <a:cubicBezTo>
                  <a:pt x="7" y="175"/>
                  <a:pt x="7" y="175"/>
                  <a:pt x="7" y="175"/>
                </a:cubicBezTo>
                <a:cubicBezTo>
                  <a:pt x="7" y="134"/>
                  <a:pt x="7" y="134"/>
                  <a:pt x="7" y="134"/>
                </a:cubicBezTo>
                <a:cubicBezTo>
                  <a:pt x="7" y="129"/>
                  <a:pt x="10" y="123"/>
                  <a:pt x="14" y="120"/>
                </a:cubicBezTo>
                <a:cubicBezTo>
                  <a:pt x="42" y="97"/>
                  <a:pt x="42" y="97"/>
                  <a:pt x="42" y="97"/>
                </a:cubicBezTo>
                <a:cubicBezTo>
                  <a:pt x="42" y="94"/>
                  <a:pt x="42" y="94"/>
                  <a:pt x="42" y="94"/>
                </a:cubicBezTo>
                <a:cubicBezTo>
                  <a:pt x="14" y="72"/>
                  <a:pt x="14" y="72"/>
                  <a:pt x="14" y="72"/>
                </a:cubicBezTo>
                <a:cubicBezTo>
                  <a:pt x="10" y="69"/>
                  <a:pt x="7" y="62"/>
                  <a:pt x="7" y="57"/>
                </a:cubicBezTo>
                <a:cubicBezTo>
                  <a:pt x="7" y="16"/>
                  <a:pt x="7" y="16"/>
                  <a:pt x="7" y="16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3" y="57"/>
                  <a:pt x="103" y="57"/>
                  <a:pt x="103" y="57"/>
                </a:cubicBezTo>
                <a:cubicBezTo>
                  <a:pt x="103" y="62"/>
                  <a:pt x="100" y="69"/>
                  <a:pt x="96" y="72"/>
                </a:cubicBezTo>
                <a:lnTo>
                  <a:pt x="68" y="94"/>
                </a:lnTo>
                <a:close/>
                <a:moveTo>
                  <a:pt x="60" y="101"/>
                </a:moveTo>
                <a:cubicBezTo>
                  <a:pt x="60" y="91"/>
                  <a:pt x="60" y="91"/>
                  <a:pt x="60" y="91"/>
                </a:cubicBezTo>
                <a:cubicBezTo>
                  <a:pt x="91" y="66"/>
                  <a:pt x="91" y="66"/>
                  <a:pt x="91" y="66"/>
                </a:cubicBezTo>
                <a:cubicBezTo>
                  <a:pt x="93" y="64"/>
                  <a:pt x="95" y="60"/>
                  <a:pt x="95" y="57"/>
                </a:cubicBezTo>
                <a:cubicBezTo>
                  <a:pt x="95" y="24"/>
                  <a:pt x="95" y="24"/>
                  <a:pt x="95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4" y="57"/>
                  <a:pt x="14" y="57"/>
                  <a:pt x="14" y="57"/>
                </a:cubicBezTo>
                <a:cubicBezTo>
                  <a:pt x="14" y="60"/>
                  <a:pt x="16" y="64"/>
                  <a:pt x="19" y="66"/>
                </a:cubicBezTo>
                <a:cubicBezTo>
                  <a:pt x="50" y="91"/>
                  <a:pt x="50" y="91"/>
                  <a:pt x="50" y="91"/>
                </a:cubicBezTo>
                <a:cubicBezTo>
                  <a:pt x="50" y="101"/>
                  <a:pt x="50" y="101"/>
                  <a:pt x="50" y="101"/>
                </a:cubicBezTo>
                <a:cubicBezTo>
                  <a:pt x="19" y="126"/>
                  <a:pt x="19" y="126"/>
                  <a:pt x="19" y="126"/>
                </a:cubicBezTo>
                <a:cubicBezTo>
                  <a:pt x="16" y="128"/>
                  <a:pt x="14" y="132"/>
                  <a:pt x="14" y="134"/>
                </a:cubicBezTo>
                <a:cubicBezTo>
                  <a:pt x="14" y="168"/>
                  <a:pt x="14" y="168"/>
                  <a:pt x="14" y="168"/>
                </a:cubicBezTo>
                <a:cubicBezTo>
                  <a:pt x="95" y="168"/>
                  <a:pt x="95" y="168"/>
                  <a:pt x="95" y="168"/>
                </a:cubicBezTo>
                <a:cubicBezTo>
                  <a:pt x="95" y="134"/>
                  <a:pt x="95" y="134"/>
                  <a:pt x="95" y="134"/>
                </a:cubicBezTo>
                <a:cubicBezTo>
                  <a:pt x="95" y="132"/>
                  <a:pt x="93" y="128"/>
                  <a:pt x="91" y="126"/>
                </a:cubicBezTo>
                <a:lnTo>
                  <a:pt x="60" y="101"/>
                </a:lnTo>
                <a:close/>
                <a:moveTo>
                  <a:pt x="88" y="62"/>
                </a:moveTo>
                <a:cubicBezTo>
                  <a:pt x="89" y="61"/>
                  <a:pt x="91" y="58"/>
                  <a:pt x="91" y="57"/>
                </a:cubicBezTo>
                <a:cubicBezTo>
                  <a:pt x="19" y="57"/>
                  <a:pt x="19" y="57"/>
                  <a:pt x="19" y="57"/>
                </a:cubicBezTo>
                <a:cubicBezTo>
                  <a:pt x="19" y="58"/>
                  <a:pt x="21" y="61"/>
                  <a:pt x="22" y="62"/>
                </a:cubicBezTo>
                <a:cubicBezTo>
                  <a:pt x="54" y="88"/>
                  <a:pt x="54" y="88"/>
                  <a:pt x="54" y="88"/>
                </a:cubicBezTo>
                <a:cubicBezTo>
                  <a:pt x="54" y="129"/>
                  <a:pt x="54" y="129"/>
                  <a:pt x="54" y="129"/>
                </a:cubicBezTo>
                <a:cubicBezTo>
                  <a:pt x="22" y="155"/>
                  <a:pt x="22" y="155"/>
                  <a:pt x="22" y="155"/>
                </a:cubicBezTo>
                <a:cubicBezTo>
                  <a:pt x="21" y="156"/>
                  <a:pt x="19" y="158"/>
                  <a:pt x="19" y="160"/>
                </a:cubicBezTo>
                <a:cubicBezTo>
                  <a:pt x="19" y="163"/>
                  <a:pt x="19" y="163"/>
                  <a:pt x="19" y="163"/>
                </a:cubicBezTo>
                <a:cubicBezTo>
                  <a:pt x="91" y="163"/>
                  <a:pt x="91" y="163"/>
                  <a:pt x="91" y="163"/>
                </a:cubicBezTo>
                <a:cubicBezTo>
                  <a:pt x="91" y="160"/>
                  <a:pt x="91" y="160"/>
                  <a:pt x="91" y="160"/>
                </a:cubicBezTo>
                <a:cubicBezTo>
                  <a:pt x="91" y="158"/>
                  <a:pt x="89" y="156"/>
                  <a:pt x="88" y="155"/>
                </a:cubicBezTo>
                <a:cubicBezTo>
                  <a:pt x="56" y="129"/>
                  <a:pt x="56" y="129"/>
                  <a:pt x="56" y="129"/>
                </a:cubicBezTo>
                <a:cubicBezTo>
                  <a:pt x="56" y="88"/>
                  <a:pt x="56" y="88"/>
                  <a:pt x="56" y="88"/>
                </a:cubicBezTo>
                <a:lnTo>
                  <a:pt x="88" y="6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62521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6678508" y="10033685"/>
            <a:ext cx="5067688" cy="889570"/>
          </a:xfrm>
          <a:custGeom>
            <a:avLst/>
            <a:gdLst>
              <a:gd name="T0" fmla="*/ 1660 w 1954"/>
              <a:gd name="T1" fmla="*/ 343 h 343"/>
              <a:gd name="T2" fmla="*/ 1808 w 1954"/>
              <a:gd name="T3" fmla="*/ 257 h 343"/>
              <a:gd name="T4" fmla="*/ 1954 w 1954"/>
              <a:gd name="T5" fmla="*/ 172 h 343"/>
              <a:gd name="T6" fmla="*/ 1808 w 1954"/>
              <a:gd name="T7" fmla="*/ 86 h 343"/>
              <a:gd name="T8" fmla="*/ 1660 w 1954"/>
              <a:gd name="T9" fmla="*/ 0 h 343"/>
              <a:gd name="T10" fmla="*/ 1660 w 1954"/>
              <a:gd name="T11" fmla="*/ 96 h 343"/>
              <a:gd name="T12" fmla="*/ 0 w 1954"/>
              <a:gd name="T13" fmla="*/ 96 h 343"/>
              <a:gd name="T14" fmla="*/ 0 w 1954"/>
              <a:gd name="T15" fmla="*/ 247 h 343"/>
              <a:gd name="T16" fmla="*/ 1660 w 1954"/>
              <a:gd name="T17" fmla="*/ 247 h 343"/>
              <a:gd name="T18" fmla="*/ 1660 w 1954"/>
              <a:gd name="T19" fmla="*/ 343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54" h="343">
                <a:moveTo>
                  <a:pt x="1660" y="343"/>
                </a:moveTo>
                <a:lnTo>
                  <a:pt x="1808" y="257"/>
                </a:lnTo>
                <a:lnTo>
                  <a:pt x="1954" y="172"/>
                </a:lnTo>
                <a:lnTo>
                  <a:pt x="1808" y="86"/>
                </a:lnTo>
                <a:lnTo>
                  <a:pt x="1660" y="0"/>
                </a:lnTo>
                <a:lnTo>
                  <a:pt x="1660" y="96"/>
                </a:lnTo>
                <a:lnTo>
                  <a:pt x="0" y="96"/>
                </a:lnTo>
                <a:lnTo>
                  <a:pt x="0" y="247"/>
                </a:lnTo>
                <a:lnTo>
                  <a:pt x="1660" y="247"/>
                </a:lnTo>
                <a:lnTo>
                  <a:pt x="1660" y="343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4492709" y="10235978"/>
            <a:ext cx="2022926" cy="484984"/>
          </a:xfrm>
          <a:custGeom>
            <a:avLst/>
            <a:gdLst>
              <a:gd name="T0" fmla="*/ 618 w 780"/>
              <a:gd name="T1" fmla="*/ 187 h 187"/>
              <a:gd name="T2" fmla="*/ 698 w 780"/>
              <a:gd name="T3" fmla="*/ 141 h 187"/>
              <a:gd name="T4" fmla="*/ 780 w 780"/>
              <a:gd name="T5" fmla="*/ 94 h 187"/>
              <a:gd name="T6" fmla="*/ 698 w 780"/>
              <a:gd name="T7" fmla="*/ 46 h 187"/>
              <a:gd name="T8" fmla="*/ 618 w 780"/>
              <a:gd name="T9" fmla="*/ 0 h 187"/>
              <a:gd name="T10" fmla="*/ 618 w 780"/>
              <a:gd name="T11" fmla="*/ 52 h 187"/>
              <a:gd name="T12" fmla="*/ 0 w 780"/>
              <a:gd name="T13" fmla="*/ 52 h 187"/>
              <a:gd name="T14" fmla="*/ 0 w 780"/>
              <a:gd name="T15" fmla="*/ 135 h 187"/>
              <a:gd name="T16" fmla="*/ 618 w 780"/>
              <a:gd name="T17" fmla="*/ 135 h 187"/>
              <a:gd name="T18" fmla="*/ 618 w 780"/>
              <a:gd name="T19" fmla="*/ 187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0" h="187">
                <a:moveTo>
                  <a:pt x="618" y="187"/>
                </a:moveTo>
                <a:lnTo>
                  <a:pt x="698" y="141"/>
                </a:lnTo>
                <a:lnTo>
                  <a:pt x="780" y="94"/>
                </a:lnTo>
                <a:lnTo>
                  <a:pt x="698" y="46"/>
                </a:lnTo>
                <a:lnTo>
                  <a:pt x="618" y="0"/>
                </a:lnTo>
                <a:lnTo>
                  <a:pt x="618" y="52"/>
                </a:lnTo>
                <a:lnTo>
                  <a:pt x="0" y="52"/>
                </a:lnTo>
                <a:lnTo>
                  <a:pt x="0" y="135"/>
                </a:lnTo>
                <a:lnTo>
                  <a:pt x="618" y="135"/>
                </a:lnTo>
                <a:lnTo>
                  <a:pt x="618" y="187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1219201" y="5204599"/>
            <a:ext cx="6623786" cy="4631982"/>
            <a:chOff x="609600" y="1992699"/>
            <a:chExt cx="3311893" cy="2315991"/>
          </a:xfrm>
        </p:grpSpPr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56283" y="4172531"/>
              <a:ext cx="500545" cy="136159"/>
            </a:xfrm>
            <a:custGeom>
              <a:avLst/>
              <a:gdLst>
                <a:gd name="T0" fmla="*/ 186 w 193"/>
                <a:gd name="T1" fmla="*/ 52 h 52"/>
                <a:gd name="T2" fmla="*/ 66 w 193"/>
                <a:gd name="T3" fmla="*/ 52 h 52"/>
                <a:gd name="T4" fmla="*/ 66 w 193"/>
                <a:gd name="T5" fmla="*/ 46 h 52"/>
                <a:gd name="T6" fmla="*/ 31 w 193"/>
                <a:gd name="T7" fmla="*/ 46 h 52"/>
                <a:gd name="T8" fmla="*/ 31 w 193"/>
                <a:gd name="T9" fmla="*/ 52 h 52"/>
                <a:gd name="T10" fmla="*/ 0 w 193"/>
                <a:gd name="T11" fmla="*/ 52 h 52"/>
                <a:gd name="T12" fmla="*/ 0 w 193"/>
                <a:gd name="T13" fmla="*/ 0 h 52"/>
                <a:gd name="T14" fmla="*/ 79 w 193"/>
                <a:gd name="T15" fmla="*/ 3 h 52"/>
                <a:gd name="T16" fmla="*/ 187 w 193"/>
                <a:gd name="T17" fmla="*/ 37 h 52"/>
                <a:gd name="T18" fmla="*/ 186 w 193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52">
                  <a:moveTo>
                    <a:pt x="186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9" y="3"/>
                    <a:pt x="119" y="30"/>
                    <a:pt x="187" y="37"/>
                  </a:cubicBezTo>
                  <a:cubicBezTo>
                    <a:pt x="193" y="38"/>
                    <a:pt x="186" y="52"/>
                    <a:pt x="186" y="52"/>
                  </a:cubicBez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1582161" y="4172531"/>
              <a:ext cx="499248" cy="136159"/>
            </a:xfrm>
            <a:custGeom>
              <a:avLst/>
              <a:gdLst>
                <a:gd name="T0" fmla="*/ 185 w 192"/>
                <a:gd name="T1" fmla="*/ 52 h 52"/>
                <a:gd name="T2" fmla="*/ 65 w 192"/>
                <a:gd name="T3" fmla="*/ 52 h 52"/>
                <a:gd name="T4" fmla="*/ 65 w 192"/>
                <a:gd name="T5" fmla="*/ 46 h 52"/>
                <a:gd name="T6" fmla="*/ 30 w 192"/>
                <a:gd name="T7" fmla="*/ 46 h 52"/>
                <a:gd name="T8" fmla="*/ 30 w 192"/>
                <a:gd name="T9" fmla="*/ 52 h 52"/>
                <a:gd name="T10" fmla="*/ 0 w 192"/>
                <a:gd name="T11" fmla="*/ 52 h 52"/>
                <a:gd name="T12" fmla="*/ 0 w 192"/>
                <a:gd name="T13" fmla="*/ 0 h 52"/>
                <a:gd name="T14" fmla="*/ 78 w 192"/>
                <a:gd name="T15" fmla="*/ 3 h 52"/>
                <a:gd name="T16" fmla="*/ 186 w 192"/>
                <a:gd name="T17" fmla="*/ 37 h 52"/>
                <a:gd name="T18" fmla="*/ 185 w 19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52">
                  <a:moveTo>
                    <a:pt x="185" y="52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3"/>
                    <a:pt x="118" y="30"/>
                    <a:pt x="186" y="37"/>
                  </a:cubicBezTo>
                  <a:cubicBezTo>
                    <a:pt x="192" y="38"/>
                    <a:pt x="185" y="52"/>
                    <a:pt x="185" y="52"/>
                  </a:cubicBez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3682891" y="2305215"/>
              <a:ext cx="238602" cy="274910"/>
            </a:xfrm>
            <a:custGeom>
              <a:avLst/>
              <a:gdLst>
                <a:gd name="T0" fmla="*/ 0 w 184"/>
                <a:gd name="T1" fmla="*/ 206 h 212"/>
                <a:gd name="T2" fmla="*/ 70 w 184"/>
                <a:gd name="T3" fmla="*/ 212 h 212"/>
                <a:gd name="T4" fmla="*/ 184 w 184"/>
                <a:gd name="T5" fmla="*/ 0 h 212"/>
                <a:gd name="T6" fmla="*/ 150 w 184"/>
                <a:gd name="T7" fmla="*/ 0 h 212"/>
                <a:gd name="T8" fmla="*/ 32 w 184"/>
                <a:gd name="T9" fmla="*/ 144 h 212"/>
                <a:gd name="T10" fmla="*/ 0 w 184"/>
                <a:gd name="T11" fmla="*/ 20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212">
                  <a:moveTo>
                    <a:pt x="0" y="206"/>
                  </a:moveTo>
                  <a:lnTo>
                    <a:pt x="70" y="212"/>
                  </a:lnTo>
                  <a:lnTo>
                    <a:pt x="184" y="0"/>
                  </a:lnTo>
                  <a:lnTo>
                    <a:pt x="150" y="0"/>
                  </a:lnTo>
                  <a:lnTo>
                    <a:pt x="32" y="144"/>
                  </a:lnTo>
                  <a:lnTo>
                    <a:pt x="0" y="206"/>
                  </a:lnTo>
                  <a:close/>
                </a:path>
              </a:pathLst>
            </a:custGeom>
            <a:solidFill>
              <a:srgbClr val="D7BCA5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524896" y="2018634"/>
              <a:ext cx="534260" cy="465533"/>
            </a:xfrm>
            <a:custGeom>
              <a:avLst/>
              <a:gdLst>
                <a:gd name="T0" fmla="*/ 0 w 412"/>
                <a:gd name="T1" fmla="*/ 315 h 359"/>
                <a:gd name="T2" fmla="*/ 86 w 412"/>
                <a:gd name="T3" fmla="*/ 227 h 359"/>
                <a:gd name="T4" fmla="*/ 212 w 412"/>
                <a:gd name="T5" fmla="*/ 0 h 359"/>
                <a:gd name="T6" fmla="*/ 360 w 412"/>
                <a:gd name="T7" fmla="*/ 26 h 359"/>
                <a:gd name="T8" fmla="*/ 412 w 412"/>
                <a:gd name="T9" fmla="*/ 168 h 359"/>
                <a:gd name="T10" fmla="*/ 362 w 412"/>
                <a:gd name="T11" fmla="*/ 221 h 359"/>
                <a:gd name="T12" fmla="*/ 356 w 412"/>
                <a:gd name="T13" fmla="*/ 291 h 359"/>
                <a:gd name="T14" fmla="*/ 310 w 412"/>
                <a:gd name="T15" fmla="*/ 281 h 359"/>
                <a:gd name="T16" fmla="*/ 254 w 412"/>
                <a:gd name="T17" fmla="*/ 335 h 359"/>
                <a:gd name="T18" fmla="*/ 194 w 412"/>
                <a:gd name="T19" fmla="*/ 323 h 359"/>
                <a:gd name="T20" fmla="*/ 154 w 412"/>
                <a:gd name="T21" fmla="*/ 359 h 359"/>
                <a:gd name="T22" fmla="*/ 0 w 412"/>
                <a:gd name="T23" fmla="*/ 31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359">
                  <a:moveTo>
                    <a:pt x="0" y="315"/>
                  </a:moveTo>
                  <a:lnTo>
                    <a:pt x="86" y="227"/>
                  </a:lnTo>
                  <a:lnTo>
                    <a:pt x="212" y="0"/>
                  </a:lnTo>
                  <a:lnTo>
                    <a:pt x="360" y="26"/>
                  </a:lnTo>
                  <a:lnTo>
                    <a:pt x="412" y="168"/>
                  </a:lnTo>
                  <a:lnTo>
                    <a:pt x="362" y="221"/>
                  </a:lnTo>
                  <a:lnTo>
                    <a:pt x="356" y="291"/>
                  </a:lnTo>
                  <a:lnTo>
                    <a:pt x="310" y="281"/>
                  </a:lnTo>
                  <a:lnTo>
                    <a:pt x="254" y="335"/>
                  </a:lnTo>
                  <a:lnTo>
                    <a:pt x="194" y="323"/>
                  </a:lnTo>
                  <a:lnTo>
                    <a:pt x="154" y="359"/>
                  </a:lnTo>
                  <a:lnTo>
                    <a:pt x="0" y="315"/>
                  </a:lnTo>
                  <a:close/>
                </a:path>
              </a:pathLst>
            </a:custGeom>
            <a:solidFill>
              <a:srgbClr val="D7BCA5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2605295" y="1992699"/>
              <a:ext cx="542040" cy="328077"/>
            </a:xfrm>
            <a:custGeom>
              <a:avLst/>
              <a:gdLst>
                <a:gd name="T0" fmla="*/ 18 w 209"/>
                <a:gd name="T1" fmla="*/ 126 h 126"/>
                <a:gd name="T2" fmla="*/ 0 w 209"/>
                <a:gd name="T3" fmla="*/ 122 h 126"/>
                <a:gd name="T4" fmla="*/ 29 w 209"/>
                <a:gd name="T5" fmla="*/ 35 h 126"/>
                <a:gd name="T6" fmla="*/ 94 w 209"/>
                <a:gd name="T7" fmla="*/ 1 h 126"/>
                <a:gd name="T8" fmla="*/ 191 w 209"/>
                <a:gd name="T9" fmla="*/ 44 h 126"/>
                <a:gd name="T10" fmla="*/ 181 w 209"/>
                <a:gd name="T11" fmla="*/ 102 h 126"/>
                <a:gd name="T12" fmla="*/ 127 w 209"/>
                <a:gd name="T13" fmla="*/ 76 h 126"/>
                <a:gd name="T14" fmla="*/ 82 w 209"/>
                <a:gd name="T15" fmla="*/ 88 h 126"/>
                <a:gd name="T16" fmla="*/ 66 w 209"/>
                <a:gd name="T17" fmla="*/ 66 h 126"/>
                <a:gd name="T18" fmla="*/ 50 w 209"/>
                <a:gd name="T19" fmla="*/ 84 h 126"/>
                <a:gd name="T20" fmla="*/ 55 w 209"/>
                <a:gd name="T21" fmla="*/ 93 h 126"/>
                <a:gd name="T22" fmla="*/ 18 w 209"/>
                <a:gd name="T2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9" h="126">
                  <a:moveTo>
                    <a:pt x="18" y="126"/>
                  </a:move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17" y="55"/>
                    <a:pt x="29" y="35"/>
                  </a:cubicBezTo>
                  <a:cubicBezTo>
                    <a:pt x="48" y="0"/>
                    <a:pt x="94" y="1"/>
                    <a:pt x="94" y="1"/>
                  </a:cubicBezTo>
                  <a:cubicBezTo>
                    <a:pt x="94" y="1"/>
                    <a:pt x="162" y="11"/>
                    <a:pt x="191" y="44"/>
                  </a:cubicBezTo>
                  <a:cubicBezTo>
                    <a:pt x="209" y="66"/>
                    <a:pt x="181" y="102"/>
                    <a:pt x="181" y="102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2" y="88"/>
                    <a:pt x="75" y="66"/>
                    <a:pt x="66" y="66"/>
                  </a:cubicBezTo>
                  <a:cubicBezTo>
                    <a:pt x="62" y="66"/>
                    <a:pt x="49" y="76"/>
                    <a:pt x="50" y="84"/>
                  </a:cubicBezTo>
                  <a:cubicBezTo>
                    <a:pt x="50" y="86"/>
                    <a:pt x="55" y="93"/>
                    <a:pt x="55" y="93"/>
                  </a:cubicBezTo>
                  <a:lnTo>
                    <a:pt x="18" y="126"/>
                  </a:lnTo>
                  <a:close/>
                </a:path>
              </a:pathLst>
            </a:custGeom>
            <a:solidFill>
              <a:srgbClr val="302B28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609600" y="3228499"/>
              <a:ext cx="1502931" cy="998495"/>
            </a:xfrm>
            <a:custGeom>
              <a:avLst/>
              <a:gdLst>
                <a:gd name="T0" fmla="*/ 579 w 579"/>
                <a:gd name="T1" fmla="*/ 132 h 384"/>
                <a:gd name="T2" fmla="*/ 573 w 579"/>
                <a:gd name="T3" fmla="*/ 109 h 384"/>
                <a:gd name="T4" fmla="*/ 128 w 579"/>
                <a:gd name="T5" fmla="*/ 381 h 384"/>
                <a:gd name="T6" fmla="*/ 100 w 579"/>
                <a:gd name="T7" fmla="*/ 384 h 384"/>
                <a:gd name="T8" fmla="*/ 18 w 579"/>
                <a:gd name="T9" fmla="*/ 360 h 384"/>
                <a:gd name="T10" fmla="*/ 549 w 579"/>
                <a:gd name="T11" fmla="*/ 0 h 384"/>
                <a:gd name="T12" fmla="*/ 579 w 579"/>
                <a:gd name="T13" fmla="*/ 13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9" h="384">
                  <a:moveTo>
                    <a:pt x="579" y="132"/>
                  </a:moveTo>
                  <a:cubicBezTo>
                    <a:pt x="573" y="109"/>
                    <a:pt x="573" y="109"/>
                    <a:pt x="573" y="109"/>
                  </a:cubicBezTo>
                  <a:cubicBezTo>
                    <a:pt x="128" y="381"/>
                    <a:pt x="128" y="381"/>
                    <a:pt x="128" y="381"/>
                  </a:cubicBezTo>
                  <a:cubicBezTo>
                    <a:pt x="128" y="381"/>
                    <a:pt x="127" y="384"/>
                    <a:pt x="100" y="384"/>
                  </a:cubicBezTo>
                  <a:cubicBezTo>
                    <a:pt x="59" y="384"/>
                    <a:pt x="0" y="373"/>
                    <a:pt x="18" y="360"/>
                  </a:cubicBezTo>
                  <a:cubicBezTo>
                    <a:pt x="350" y="139"/>
                    <a:pt x="495" y="39"/>
                    <a:pt x="549" y="0"/>
                  </a:cubicBezTo>
                  <a:lnTo>
                    <a:pt x="579" y="132"/>
                  </a:lnTo>
                  <a:close/>
                </a:path>
              </a:pathLst>
            </a:custGeom>
            <a:solidFill>
              <a:schemeClr val="bg2">
                <a:lumMod val="6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483608" y="3176629"/>
              <a:ext cx="1002386" cy="1055552"/>
            </a:xfrm>
            <a:custGeom>
              <a:avLst/>
              <a:gdLst>
                <a:gd name="T0" fmla="*/ 386 w 386"/>
                <a:gd name="T1" fmla="*/ 242 h 406"/>
                <a:gd name="T2" fmla="*/ 140 w 386"/>
                <a:gd name="T3" fmla="*/ 397 h 406"/>
                <a:gd name="T4" fmla="*/ 12 w 386"/>
                <a:gd name="T5" fmla="*/ 389 h 406"/>
                <a:gd name="T6" fmla="*/ 260 w 386"/>
                <a:gd name="T7" fmla="*/ 230 h 406"/>
                <a:gd name="T8" fmla="*/ 242 w 386"/>
                <a:gd name="T9" fmla="*/ 152 h 406"/>
                <a:gd name="T10" fmla="*/ 212 w 386"/>
                <a:gd name="T11" fmla="*/ 20 h 406"/>
                <a:gd name="T12" fmla="*/ 241 w 386"/>
                <a:gd name="T13" fmla="*/ 0 h 406"/>
                <a:gd name="T14" fmla="*/ 352 w 386"/>
                <a:gd name="T15" fmla="*/ 0 h 406"/>
                <a:gd name="T16" fmla="*/ 386 w 386"/>
                <a:gd name="T17" fmla="*/ 242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6" h="406">
                  <a:moveTo>
                    <a:pt x="386" y="242"/>
                  </a:moveTo>
                  <a:cubicBezTo>
                    <a:pt x="140" y="397"/>
                    <a:pt x="140" y="397"/>
                    <a:pt x="140" y="397"/>
                  </a:cubicBezTo>
                  <a:cubicBezTo>
                    <a:pt x="104" y="406"/>
                    <a:pt x="0" y="405"/>
                    <a:pt x="12" y="389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12" y="20"/>
                    <a:pt x="212" y="20"/>
                    <a:pt x="212" y="20"/>
                  </a:cubicBezTo>
                  <a:cubicBezTo>
                    <a:pt x="233" y="5"/>
                    <a:pt x="241" y="0"/>
                    <a:pt x="241" y="0"/>
                  </a:cubicBezTo>
                  <a:cubicBezTo>
                    <a:pt x="352" y="0"/>
                    <a:pt x="352" y="0"/>
                    <a:pt x="352" y="0"/>
                  </a:cubicBezTo>
                  <a:lnTo>
                    <a:pt x="386" y="242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514522" y="2370052"/>
              <a:ext cx="254162" cy="67431"/>
            </a:xfrm>
            <a:custGeom>
              <a:avLst/>
              <a:gdLst>
                <a:gd name="T0" fmla="*/ 0 w 196"/>
                <a:gd name="T1" fmla="*/ 52 h 52"/>
                <a:gd name="T2" fmla="*/ 46 w 196"/>
                <a:gd name="T3" fmla="*/ 0 h 52"/>
                <a:gd name="T4" fmla="*/ 196 w 196"/>
                <a:gd name="T5" fmla="*/ 52 h 52"/>
                <a:gd name="T6" fmla="*/ 0 w 196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6" h="52">
                  <a:moveTo>
                    <a:pt x="0" y="52"/>
                  </a:moveTo>
                  <a:lnTo>
                    <a:pt x="46" y="0"/>
                  </a:lnTo>
                  <a:lnTo>
                    <a:pt x="196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bg2">
                <a:lumMod val="8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2797213" y="2148309"/>
              <a:ext cx="111520" cy="111520"/>
            </a:xfrm>
            <a:custGeom>
              <a:avLst/>
              <a:gdLst>
                <a:gd name="T0" fmla="*/ 22 w 86"/>
                <a:gd name="T1" fmla="*/ 86 h 86"/>
                <a:gd name="T2" fmla="*/ 0 w 86"/>
                <a:gd name="T3" fmla="*/ 64 h 86"/>
                <a:gd name="T4" fmla="*/ 66 w 86"/>
                <a:gd name="T5" fmla="*/ 0 h 86"/>
                <a:gd name="T6" fmla="*/ 86 w 86"/>
                <a:gd name="T7" fmla="*/ 22 h 86"/>
                <a:gd name="T8" fmla="*/ 22 w 86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6">
                  <a:moveTo>
                    <a:pt x="22" y="86"/>
                  </a:moveTo>
                  <a:lnTo>
                    <a:pt x="0" y="64"/>
                  </a:lnTo>
                  <a:lnTo>
                    <a:pt x="66" y="0"/>
                  </a:lnTo>
                  <a:lnTo>
                    <a:pt x="86" y="22"/>
                  </a:lnTo>
                  <a:lnTo>
                    <a:pt x="22" y="86"/>
                  </a:lnTo>
                  <a:close/>
                </a:path>
              </a:pathLst>
            </a:custGeom>
            <a:solidFill>
              <a:srgbClr val="302B28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853181" y="2424515"/>
              <a:ext cx="1910109" cy="1042585"/>
            </a:xfrm>
            <a:custGeom>
              <a:avLst/>
              <a:gdLst>
                <a:gd name="T0" fmla="*/ 0 w 1473"/>
                <a:gd name="T1" fmla="*/ 708 h 804"/>
                <a:gd name="T2" fmla="*/ 400 w 1473"/>
                <a:gd name="T3" fmla="*/ 0 h 804"/>
                <a:gd name="T4" fmla="*/ 1473 w 1473"/>
                <a:gd name="T5" fmla="*/ 12 h 804"/>
                <a:gd name="T6" fmla="*/ 1415 w 1473"/>
                <a:gd name="T7" fmla="*/ 136 h 804"/>
                <a:gd name="T8" fmla="*/ 736 w 1473"/>
                <a:gd name="T9" fmla="*/ 243 h 804"/>
                <a:gd name="T10" fmla="*/ 452 w 1473"/>
                <a:gd name="T11" fmla="*/ 804 h 804"/>
                <a:gd name="T12" fmla="*/ 0 w 1473"/>
                <a:gd name="T13" fmla="*/ 708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3" h="804">
                  <a:moveTo>
                    <a:pt x="0" y="708"/>
                  </a:moveTo>
                  <a:lnTo>
                    <a:pt x="400" y="0"/>
                  </a:lnTo>
                  <a:lnTo>
                    <a:pt x="1473" y="12"/>
                  </a:lnTo>
                  <a:lnTo>
                    <a:pt x="1415" y="136"/>
                  </a:lnTo>
                  <a:lnTo>
                    <a:pt x="736" y="243"/>
                  </a:lnTo>
                  <a:lnTo>
                    <a:pt x="452" y="804"/>
                  </a:lnTo>
                  <a:lnTo>
                    <a:pt x="0" y="70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19" name="Oval 18"/>
          <p:cNvSpPr>
            <a:spLocks noChangeArrowheads="1"/>
          </p:cNvSpPr>
          <p:nvPr/>
        </p:nvSpPr>
        <p:spPr bwMode="auto">
          <a:xfrm>
            <a:off x="17044709" y="10401960"/>
            <a:ext cx="150422" cy="153016"/>
          </a:xfrm>
          <a:prstGeom prst="ellipse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0" name="Oval 19"/>
          <p:cNvSpPr>
            <a:spLocks noChangeArrowheads="1"/>
          </p:cNvSpPr>
          <p:nvPr/>
        </p:nvSpPr>
        <p:spPr bwMode="auto">
          <a:xfrm>
            <a:off x="17555625" y="10401960"/>
            <a:ext cx="155610" cy="153016"/>
          </a:xfrm>
          <a:prstGeom prst="ellipse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1" name="Oval 20"/>
          <p:cNvSpPr>
            <a:spLocks noChangeArrowheads="1"/>
          </p:cNvSpPr>
          <p:nvPr/>
        </p:nvSpPr>
        <p:spPr bwMode="auto">
          <a:xfrm>
            <a:off x="18063951" y="10401960"/>
            <a:ext cx="155610" cy="153016"/>
          </a:xfrm>
          <a:prstGeom prst="ellipse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2" name="Oval 21"/>
          <p:cNvSpPr>
            <a:spLocks noChangeArrowheads="1"/>
          </p:cNvSpPr>
          <p:nvPr/>
        </p:nvSpPr>
        <p:spPr bwMode="auto">
          <a:xfrm>
            <a:off x="18577463" y="10401960"/>
            <a:ext cx="150422" cy="153016"/>
          </a:xfrm>
          <a:prstGeom prst="ellipse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3" name="Oval 22"/>
          <p:cNvSpPr>
            <a:spLocks noChangeArrowheads="1"/>
          </p:cNvSpPr>
          <p:nvPr/>
        </p:nvSpPr>
        <p:spPr bwMode="auto">
          <a:xfrm>
            <a:off x="19085787" y="10401960"/>
            <a:ext cx="155610" cy="153016"/>
          </a:xfrm>
          <a:prstGeom prst="ellipse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4" name="Oval 23"/>
          <p:cNvSpPr>
            <a:spLocks noChangeArrowheads="1"/>
          </p:cNvSpPr>
          <p:nvPr/>
        </p:nvSpPr>
        <p:spPr bwMode="auto">
          <a:xfrm>
            <a:off x="19594113" y="10401960"/>
            <a:ext cx="155610" cy="153016"/>
          </a:xfrm>
          <a:prstGeom prst="ellipse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11792880" y="4595127"/>
            <a:ext cx="10646296" cy="884382"/>
            <a:chOff x="5896440" y="2741437"/>
            <a:chExt cx="5323148" cy="442191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9488430" y="2741437"/>
              <a:ext cx="1731158" cy="442191"/>
            </a:xfrm>
            <a:custGeom>
              <a:avLst/>
              <a:gdLst>
                <a:gd name="T0" fmla="*/ 1039 w 1335"/>
                <a:gd name="T1" fmla="*/ 341 h 341"/>
                <a:gd name="T2" fmla="*/ 1187 w 1335"/>
                <a:gd name="T3" fmla="*/ 255 h 341"/>
                <a:gd name="T4" fmla="*/ 1335 w 1335"/>
                <a:gd name="T5" fmla="*/ 170 h 341"/>
                <a:gd name="T6" fmla="*/ 1187 w 1335"/>
                <a:gd name="T7" fmla="*/ 84 h 341"/>
                <a:gd name="T8" fmla="*/ 1039 w 1335"/>
                <a:gd name="T9" fmla="*/ 0 h 341"/>
                <a:gd name="T10" fmla="*/ 1039 w 1335"/>
                <a:gd name="T11" fmla="*/ 96 h 341"/>
                <a:gd name="T12" fmla="*/ 0 w 1335"/>
                <a:gd name="T13" fmla="*/ 96 h 341"/>
                <a:gd name="T14" fmla="*/ 0 w 1335"/>
                <a:gd name="T15" fmla="*/ 245 h 341"/>
                <a:gd name="T16" fmla="*/ 1039 w 1335"/>
                <a:gd name="T17" fmla="*/ 245 h 341"/>
                <a:gd name="T18" fmla="*/ 1039 w 1335"/>
                <a:gd name="T19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5" h="341">
                  <a:moveTo>
                    <a:pt x="1039" y="341"/>
                  </a:moveTo>
                  <a:lnTo>
                    <a:pt x="1187" y="255"/>
                  </a:lnTo>
                  <a:lnTo>
                    <a:pt x="1335" y="170"/>
                  </a:lnTo>
                  <a:lnTo>
                    <a:pt x="1187" y="84"/>
                  </a:lnTo>
                  <a:lnTo>
                    <a:pt x="1039" y="0"/>
                  </a:lnTo>
                  <a:lnTo>
                    <a:pt x="1039" y="96"/>
                  </a:lnTo>
                  <a:lnTo>
                    <a:pt x="0" y="96"/>
                  </a:lnTo>
                  <a:lnTo>
                    <a:pt x="0" y="245"/>
                  </a:lnTo>
                  <a:lnTo>
                    <a:pt x="1039" y="245"/>
                  </a:lnTo>
                  <a:lnTo>
                    <a:pt x="1039" y="3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5" name="Oval 24"/>
            <p:cNvSpPr>
              <a:spLocks noChangeArrowheads="1"/>
            </p:cNvSpPr>
            <p:nvPr/>
          </p:nvSpPr>
          <p:spPr bwMode="auto">
            <a:xfrm>
              <a:off x="5896440" y="2922982"/>
              <a:ext cx="77805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6" name="Oval 25"/>
            <p:cNvSpPr>
              <a:spLocks noChangeArrowheads="1"/>
            </p:cNvSpPr>
            <p:nvPr/>
          </p:nvSpPr>
          <p:spPr bwMode="auto">
            <a:xfrm>
              <a:off x="6150602" y="2922982"/>
              <a:ext cx="77805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407358" y="2922982"/>
              <a:ext cx="75211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8" name="Oval 27"/>
            <p:cNvSpPr>
              <a:spLocks noChangeArrowheads="1"/>
            </p:cNvSpPr>
            <p:nvPr/>
          </p:nvSpPr>
          <p:spPr bwMode="auto">
            <a:xfrm>
              <a:off x="6661521" y="2922982"/>
              <a:ext cx="75211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>
              <a:off x="8410833" y="2922982"/>
              <a:ext cx="77805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8667589" y="2922982"/>
              <a:ext cx="75211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8923048" y="2922982"/>
              <a:ext cx="77805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>
              <a:off x="9177211" y="2922982"/>
              <a:ext cx="77805" cy="7910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33" name="Oval 32"/>
          <p:cNvSpPr>
            <a:spLocks noChangeArrowheads="1"/>
          </p:cNvSpPr>
          <p:nvPr/>
        </p:nvSpPr>
        <p:spPr bwMode="auto">
          <a:xfrm>
            <a:off x="20615949" y="8456840"/>
            <a:ext cx="1849162" cy="185175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4" name="Freeform 33"/>
          <p:cNvSpPr>
            <a:spLocks noEditPoints="1"/>
          </p:cNvSpPr>
          <p:nvPr/>
        </p:nvSpPr>
        <p:spPr bwMode="auto">
          <a:xfrm>
            <a:off x="20003884" y="7842182"/>
            <a:ext cx="3073292" cy="3081072"/>
          </a:xfrm>
          <a:custGeom>
            <a:avLst/>
            <a:gdLst>
              <a:gd name="T0" fmla="*/ 273 w 592"/>
              <a:gd name="T1" fmla="*/ 568 h 592"/>
              <a:gd name="T2" fmla="*/ 351 w 592"/>
              <a:gd name="T3" fmla="*/ 564 h 592"/>
              <a:gd name="T4" fmla="*/ 406 w 592"/>
              <a:gd name="T5" fmla="*/ 572 h 592"/>
              <a:gd name="T6" fmla="*/ 420 w 592"/>
              <a:gd name="T7" fmla="*/ 526 h 592"/>
              <a:gd name="T8" fmla="*/ 488 w 592"/>
              <a:gd name="T9" fmla="*/ 508 h 592"/>
              <a:gd name="T10" fmla="*/ 530 w 592"/>
              <a:gd name="T11" fmla="*/ 462 h 592"/>
              <a:gd name="T12" fmla="*/ 539 w 592"/>
              <a:gd name="T13" fmla="*/ 392 h 592"/>
              <a:gd name="T14" fmla="*/ 584 w 592"/>
              <a:gd name="T15" fmla="*/ 373 h 592"/>
              <a:gd name="T16" fmla="*/ 569 w 592"/>
              <a:gd name="T17" fmla="*/ 319 h 592"/>
              <a:gd name="T18" fmla="*/ 564 w 592"/>
              <a:gd name="T19" fmla="*/ 241 h 592"/>
              <a:gd name="T20" fmla="*/ 573 w 592"/>
              <a:gd name="T21" fmla="*/ 186 h 592"/>
              <a:gd name="T22" fmla="*/ 526 w 592"/>
              <a:gd name="T23" fmla="*/ 172 h 592"/>
              <a:gd name="T24" fmla="*/ 509 w 592"/>
              <a:gd name="T25" fmla="*/ 104 h 592"/>
              <a:gd name="T26" fmla="*/ 462 w 592"/>
              <a:gd name="T27" fmla="*/ 63 h 592"/>
              <a:gd name="T28" fmla="*/ 393 w 592"/>
              <a:gd name="T29" fmla="*/ 53 h 592"/>
              <a:gd name="T30" fmla="*/ 374 w 592"/>
              <a:gd name="T31" fmla="*/ 9 h 592"/>
              <a:gd name="T32" fmla="*/ 320 w 592"/>
              <a:gd name="T33" fmla="*/ 24 h 592"/>
              <a:gd name="T34" fmla="*/ 241 w 592"/>
              <a:gd name="T35" fmla="*/ 28 h 592"/>
              <a:gd name="T36" fmla="*/ 186 w 592"/>
              <a:gd name="T37" fmla="*/ 19 h 592"/>
              <a:gd name="T38" fmla="*/ 172 w 592"/>
              <a:gd name="T39" fmla="*/ 66 h 592"/>
              <a:gd name="T40" fmla="*/ 104 w 592"/>
              <a:gd name="T41" fmla="*/ 84 h 592"/>
              <a:gd name="T42" fmla="*/ 63 w 592"/>
              <a:gd name="T43" fmla="*/ 130 h 592"/>
              <a:gd name="T44" fmla="*/ 54 w 592"/>
              <a:gd name="T45" fmla="*/ 199 h 592"/>
              <a:gd name="T46" fmla="*/ 9 w 592"/>
              <a:gd name="T47" fmla="*/ 219 h 592"/>
              <a:gd name="T48" fmla="*/ 24 w 592"/>
              <a:gd name="T49" fmla="*/ 272 h 592"/>
              <a:gd name="T50" fmla="*/ 29 w 592"/>
              <a:gd name="T51" fmla="*/ 351 h 592"/>
              <a:gd name="T52" fmla="*/ 20 w 592"/>
              <a:gd name="T53" fmla="*/ 406 h 592"/>
              <a:gd name="T54" fmla="*/ 67 w 592"/>
              <a:gd name="T55" fmla="*/ 420 h 592"/>
              <a:gd name="T56" fmla="*/ 84 w 592"/>
              <a:gd name="T57" fmla="*/ 488 h 592"/>
              <a:gd name="T58" fmla="*/ 130 w 592"/>
              <a:gd name="T59" fmla="*/ 529 h 592"/>
              <a:gd name="T60" fmla="*/ 200 w 592"/>
              <a:gd name="T61" fmla="*/ 539 h 592"/>
              <a:gd name="T62" fmla="*/ 219 w 592"/>
              <a:gd name="T63" fmla="*/ 583 h 592"/>
              <a:gd name="T64" fmla="*/ 212 w 592"/>
              <a:gd name="T65" fmla="*/ 506 h 592"/>
              <a:gd name="T66" fmla="*/ 136 w 592"/>
              <a:gd name="T67" fmla="*/ 454 h 592"/>
              <a:gd name="T68" fmla="*/ 87 w 592"/>
              <a:gd name="T69" fmla="*/ 380 h 592"/>
              <a:gd name="T70" fmla="*/ 70 w 592"/>
              <a:gd name="T71" fmla="*/ 290 h 592"/>
              <a:gd name="T72" fmla="*/ 86 w 592"/>
              <a:gd name="T73" fmla="*/ 211 h 592"/>
              <a:gd name="T74" fmla="*/ 138 w 592"/>
              <a:gd name="T75" fmla="*/ 135 h 592"/>
              <a:gd name="T76" fmla="*/ 212 w 592"/>
              <a:gd name="T77" fmla="*/ 87 h 592"/>
              <a:gd name="T78" fmla="*/ 302 w 592"/>
              <a:gd name="T79" fmla="*/ 69 h 592"/>
              <a:gd name="T80" fmla="*/ 381 w 592"/>
              <a:gd name="T81" fmla="*/ 85 h 592"/>
              <a:gd name="T82" fmla="*/ 457 w 592"/>
              <a:gd name="T83" fmla="*/ 137 h 592"/>
              <a:gd name="T84" fmla="*/ 505 w 592"/>
              <a:gd name="T85" fmla="*/ 211 h 592"/>
              <a:gd name="T86" fmla="*/ 523 w 592"/>
              <a:gd name="T87" fmla="*/ 302 h 592"/>
              <a:gd name="T88" fmla="*/ 507 w 592"/>
              <a:gd name="T89" fmla="*/ 380 h 592"/>
              <a:gd name="T90" fmla="*/ 455 w 592"/>
              <a:gd name="T91" fmla="*/ 456 h 592"/>
              <a:gd name="T92" fmla="*/ 381 w 592"/>
              <a:gd name="T93" fmla="*/ 505 h 592"/>
              <a:gd name="T94" fmla="*/ 290 w 592"/>
              <a:gd name="T95" fmla="*/ 523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92" h="592">
                <a:moveTo>
                  <a:pt x="253" y="590"/>
                </a:moveTo>
                <a:cubicBezTo>
                  <a:pt x="260" y="592"/>
                  <a:pt x="267" y="588"/>
                  <a:pt x="269" y="581"/>
                </a:cubicBezTo>
                <a:cubicBezTo>
                  <a:pt x="273" y="568"/>
                  <a:pt x="273" y="568"/>
                  <a:pt x="273" y="568"/>
                </a:cubicBezTo>
                <a:cubicBezTo>
                  <a:pt x="275" y="562"/>
                  <a:pt x="282" y="557"/>
                  <a:pt x="289" y="557"/>
                </a:cubicBezTo>
                <a:cubicBezTo>
                  <a:pt x="304" y="557"/>
                  <a:pt x="319" y="557"/>
                  <a:pt x="334" y="554"/>
                </a:cubicBezTo>
                <a:cubicBezTo>
                  <a:pt x="341" y="553"/>
                  <a:pt x="348" y="557"/>
                  <a:pt x="351" y="564"/>
                </a:cubicBezTo>
                <a:cubicBezTo>
                  <a:pt x="356" y="576"/>
                  <a:pt x="356" y="576"/>
                  <a:pt x="356" y="576"/>
                </a:cubicBezTo>
                <a:cubicBezTo>
                  <a:pt x="359" y="582"/>
                  <a:pt x="367" y="586"/>
                  <a:pt x="373" y="583"/>
                </a:cubicBezTo>
                <a:cubicBezTo>
                  <a:pt x="406" y="572"/>
                  <a:pt x="406" y="572"/>
                  <a:pt x="406" y="572"/>
                </a:cubicBezTo>
                <a:cubicBezTo>
                  <a:pt x="413" y="570"/>
                  <a:pt x="417" y="563"/>
                  <a:pt x="415" y="556"/>
                </a:cubicBezTo>
                <a:cubicBezTo>
                  <a:pt x="412" y="543"/>
                  <a:pt x="412" y="543"/>
                  <a:pt x="412" y="543"/>
                </a:cubicBezTo>
                <a:cubicBezTo>
                  <a:pt x="410" y="537"/>
                  <a:pt x="414" y="529"/>
                  <a:pt x="420" y="526"/>
                </a:cubicBezTo>
                <a:cubicBezTo>
                  <a:pt x="434" y="518"/>
                  <a:pt x="446" y="510"/>
                  <a:pt x="458" y="501"/>
                </a:cubicBezTo>
                <a:cubicBezTo>
                  <a:pt x="464" y="497"/>
                  <a:pt x="472" y="496"/>
                  <a:pt x="478" y="500"/>
                </a:cubicBezTo>
                <a:cubicBezTo>
                  <a:pt x="488" y="508"/>
                  <a:pt x="488" y="508"/>
                  <a:pt x="488" y="508"/>
                </a:cubicBezTo>
                <a:cubicBezTo>
                  <a:pt x="494" y="512"/>
                  <a:pt x="502" y="512"/>
                  <a:pt x="507" y="506"/>
                </a:cubicBezTo>
                <a:cubicBezTo>
                  <a:pt x="530" y="480"/>
                  <a:pt x="530" y="480"/>
                  <a:pt x="530" y="480"/>
                </a:cubicBezTo>
                <a:cubicBezTo>
                  <a:pt x="534" y="475"/>
                  <a:pt x="534" y="467"/>
                  <a:pt x="530" y="462"/>
                </a:cubicBezTo>
                <a:cubicBezTo>
                  <a:pt x="520" y="452"/>
                  <a:pt x="520" y="452"/>
                  <a:pt x="520" y="452"/>
                </a:cubicBezTo>
                <a:cubicBezTo>
                  <a:pt x="516" y="447"/>
                  <a:pt x="515" y="439"/>
                  <a:pt x="519" y="433"/>
                </a:cubicBezTo>
                <a:cubicBezTo>
                  <a:pt x="526" y="420"/>
                  <a:pt x="533" y="407"/>
                  <a:pt x="539" y="392"/>
                </a:cubicBezTo>
                <a:cubicBezTo>
                  <a:pt x="541" y="386"/>
                  <a:pt x="549" y="381"/>
                  <a:pt x="556" y="382"/>
                </a:cubicBezTo>
                <a:cubicBezTo>
                  <a:pt x="569" y="384"/>
                  <a:pt x="569" y="384"/>
                  <a:pt x="569" y="384"/>
                </a:cubicBezTo>
                <a:cubicBezTo>
                  <a:pt x="576" y="385"/>
                  <a:pt x="582" y="380"/>
                  <a:pt x="584" y="373"/>
                </a:cubicBezTo>
                <a:cubicBezTo>
                  <a:pt x="591" y="339"/>
                  <a:pt x="591" y="339"/>
                  <a:pt x="591" y="339"/>
                </a:cubicBezTo>
                <a:cubicBezTo>
                  <a:pt x="592" y="332"/>
                  <a:pt x="588" y="325"/>
                  <a:pt x="581" y="323"/>
                </a:cubicBezTo>
                <a:cubicBezTo>
                  <a:pt x="569" y="319"/>
                  <a:pt x="569" y="319"/>
                  <a:pt x="569" y="319"/>
                </a:cubicBezTo>
                <a:cubicBezTo>
                  <a:pt x="562" y="317"/>
                  <a:pt x="557" y="310"/>
                  <a:pt x="557" y="303"/>
                </a:cubicBezTo>
                <a:cubicBezTo>
                  <a:pt x="558" y="288"/>
                  <a:pt x="557" y="273"/>
                  <a:pt x="555" y="258"/>
                </a:cubicBezTo>
                <a:cubicBezTo>
                  <a:pt x="554" y="251"/>
                  <a:pt x="558" y="244"/>
                  <a:pt x="564" y="241"/>
                </a:cubicBezTo>
                <a:cubicBezTo>
                  <a:pt x="576" y="236"/>
                  <a:pt x="576" y="236"/>
                  <a:pt x="576" y="236"/>
                </a:cubicBezTo>
                <a:cubicBezTo>
                  <a:pt x="583" y="233"/>
                  <a:pt x="586" y="226"/>
                  <a:pt x="584" y="219"/>
                </a:cubicBezTo>
                <a:cubicBezTo>
                  <a:pt x="573" y="186"/>
                  <a:pt x="573" y="186"/>
                  <a:pt x="573" y="186"/>
                </a:cubicBezTo>
                <a:cubicBezTo>
                  <a:pt x="571" y="179"/>
                  <a:pt x="563" y="175"/>
                  <a:pt x="557" y="177"/>
                </a:cubicBezTo>
                <a:cubicBezTo>
                  <a:pt x="544" y="180"/>
                  <a:pt x="544" y="180"/>
                  <a:pt x="544" y="180"/>
                </a:cubicBezTo>
                <a:cubicBezTo>
                  <a:pt x="537" y="182"/>
                  <a:pt x="529" y="178"/>
                  <a:pt x="526" y="172"/>
                </a:cubicBezTo>
                <a:cubicBezTo>
                  <a:pt x="519" y="159"/>
                  <a:pt x="510" y="146"/>
                  <a:pt x="501" y="134"/>
                </a:cubicBezTo>
                <a:cubicBezTo>
                  <a:pt x="497" y="129"/>
                  <a:pt x="497" y="120"/>
                  <a:pt x="501" y="115"/>
                </a:cubicBezTo>
                <a:cubicBezTo>
                  <a:pt x="509" y="104"/>
                  <a:pt x="509" y="104"/>
                  <a:pt x="509" y="104"/>
                </a:cubicBezTo>
                <a:cubicBezTo>
                  <a:pt x="513" y="98"/>
                  <a:pt x="512" y="90"/>
                  <a:pt x="507" y="86"/>
                </a:cubicBezTo>
                <a:cubicBezTo>
                  <a:pt x="481" y="62"/>
                  <a:pt x="481" y="62"/>
                  <a:pt x="481" y="62"/>
                </a:cubicBezTo>
                <a:cubicBezTo>
                  <a:pt x="476" y="58"/>
                  <a:pt x="467" y="58"/>
                  <a:pt x="462" y="63"/>
                </a:cubicBezTo>
                <a:cubicBezTo>
                  <a:pt x="453" y="72"/>
                  <a:pt x="453" y="72"/>
                  <a:pt x="453" y="72"/>
                </a:cubicBezTo>
                <a:cubicBezTo>
                  <a:pt x="448" y="77"/>
                  <a:pt x="439" y="77"/>
                  <a:pt x="433" y="74"/>
                </a:cubicBezTo>
                <a:cubicBezTo>
                  <a:pt x="421" y="66"/>
                  <a:pt x="407" y="59"/>
                  <a:pt x="393" y="53"/>
                </a:cubicBezTo>
                <a:cubicBezTo>
                  <a:pt x="386" y="51"/>
                  <a:pt x="382" y="43"/>
                  <a:pt x="383" y="37"/>
                </a:cubicBezTo>
                <a:cubicBezTo>
                  <a:pt x="384" y="23"/>
                  <a:pt x="384" y="23"/>
                  <a:pt x="384" y="23"/>
                </a:cubicBezTo>
                <a:cubicBezTo>
                  <a:pt x="385" y="17"/>
                  <a:pt x="380" y="10"/>
                  <a:pt x="374" y="9"/>
                </a:cubicBezTo>
                <a:cubicBezTo>
                  <a:pt x="339" y="1"/>
                  <a:pt x="339" y="1"/>
                  <a:pt x="339" y="1"/>
                </a:cubicBezTo>
                <a:cubicBezTo>
                  <a:pt x="333" y="0"/>
                  <a:pt x="326" y="4"/>
                  <a:pt x="324" y="11"/>
                </a:cubicBezTo>
                <a:cubicBezTo>
                  <a:pt x="320" y="24"/>
                  <a:pt x="320" y="24"/>
                  <a:pt x="320" y="24"/>
                </a:cubicBezTo>
                <a:cubicBezTo>
                  <a:pt x="318" y="30"/>
                  <a:pt x="311" y="35"/>
                  <a:pt x="304" y="35"/>
                </a:cubicBezTo>
                <a:cubicBezTo>
                  <a:pt x="288" y="34"/>
                  <a:pt x="273" y="35"/>
                  <a:pt x="259" y="38"/>
                </a:cubicBezTo>
                <a:cubicBezTo>
                  <a:pt x="252" y="39"/>
                  <a:pt x="244" y="35"/>
                  <a:pt x="241" y="28"/>
                </a:cubicBezTo>
                <a:cubicBezTo>
                  <a:pt x="236" y="16"/>
                  <a:pt x="236" y="16"/>
                  <a:pt x="236" y="16"/>
                </a:cubicBezTo>
                <a:cubicBezTo>
                  <a:pt x="233" y="10"/>
                  <a:pt x="226" y="6"/>
                  <a:pt x="219" y="8"/>
                </a:cubicBezTo>
                <a:cubicBezTo>
                  <a:pt x="186" y="19"/>
                  <a:pt x="186" y="19"/>
                  <a:pt x="186" y="19"/>
                </a:cubicBezTo>
                <a:cubicBezTo>
                  <a:pt x="180" y="22"/>
                  <a:pt x="176" y="29"/>
                  <a:pt x="177" y="35"/>
                </a:cubicBezTo>
                <a:cubicBezTo>
                  <a:pt x="180" y="48"/>
                  <a:pt x="180" y="48"/>
                  <a:pt x="180" y="48"/>
                </a:cubicBezTo>
                <a:cubicBezTo>
                  <a:pt x="182" y="55"/>
                  <a:pt x="178" y="63"/>
                  <a:pt x="172" y="66"/>
                </a:cubicBezTo>
                <a:cubicBezTo>
                  <a:pt x="159" y="73"/>
                  <a:pt x="146" y="82"/>
                  <a:pt x="134" y="91"/>
                </a:cubicBezTo>
                <a:cubicBezTo>
                  <a:pt x="129" y="95"/>
                  <a:pt x="120" y="96"/>
                  <a:pt x="115" y="92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99" y="79"/>
                  <a:pt x="91" y="80"/>
                  <a:pt x="86" y="85"/>
                </a:cubicBezTo>
                <a:cubicBezTo>
                  <a:pt x="63" y="111"/>
                  <a:pt x="63" y="111"/>
                  <a:pt x="63" y="111"/>
                </a:cubicBezTo>
                <a:cubicBezTo>
                  <a:pt x="58" y="117"/>
                  <a:pt x="58" y="125"/>
                  <a:pt x="63" y="130"/>
                </a:cubicBezTo>
                <a:cubicBezTo>
                  <a:pt x="72" y="139"/>
                  <a:pt x="72" y="139"/>
                  <a:pt x="72" y="139"/>
                </a:cubicBezTo>
                <a:cubicBezTo>
                  <a:pt x="77" y="144"/>
                  <a:pt x="78" y="153"/>
                  <a:pt x="74" y="159"/>
                </a:cubicBezTo>
                <a:cubicBezTo>
                  <a:pt x="66" y="172"/>
                  <a:pt x="59" y="185"/>
                  <a:pt x="54" y="199"/>
                </a:cubicBezTo>
                <a:cubicBezTo>
                  <a:pt x="51" y="206"/>
                  <a:pt x="44" y="210"/>
                  <a:pt x="37" y="210"/>
                </a:cubicBezTo>
                <a:cubicBezTo>
                  <a:pt x="24" y="208"/>
                  <a:pt x="24" y="208"/>
                  <a:pt x="24" y="208"/>
                </a:cubicBezTo>
                <a:cubicBezTo>
                  <a:pt x="17" y="207"/>
                  <a:pt x="10" y="212"/>
                  <a:pt x="9" y="219"/>
                </a:cubicBezTo>
                <a:cubicBezTo>
                  <a:pt x="2" y="253"/>
                  <a:pt x="2" y="253"/>
                  <a:pt x="2" y="253"/>
                </a:cubicBezTo>
                <a:cubicBezTo>
                  <a:pt x="0" y="260"/>
                  <a:pt x="5" y="267"/>
                  <a:pt x="11" y="269"/>
                </a:cubicBezTo>
                <a:cubicBezTo>
                  <a:pt x="24" y="272"/>
                  <a:pt x="24" y="272"/>
                  <a:pt x="24" y="272"/>
                </a:cubicBezTo>
                <a:cubicBezTo>
                  <a:pt x="31" y="274"/>
                  <a:pt x="35" y="282"/>
                  <a:pt x="35" y="288"/>
                </a:cubicBezTo>
                <a:cubicBezTo>
                  <a:pt x="35" y="304"/>
                  <a:pt x="36" y="319"/>
                  <a:pt x="38" y="334"/>
                </a:cubicBezTo>
                <a:cubicBezTo>
                  <a:pt x="39" y="340"/>
                  <a:pt x="35" y="348"/>
                  <a:pt x="29" y="351"/>
                </a:cubicBezTo>
                <a:cubicBezTo>
                  <a:pt x="16" y="356"/>
                  <a:pt x="16" y="356"/>
                  <a:pt x="16" y="356"/>
                </a:cubicBezTo>
                <a:cubicBezTo>
                  <a:pt x="10" y="359"/>
                  <a:pt x="7" y="366"/>
                  <a:pt x="9" y="373"/>
                </a:cubicBezTo>
                <a:cubicBezTo>
                  <a:pt x="20" y="406"/>
                  <a:pt x="20" y="406"/>
                  <a:pt x="20" y="406"/>
                </a:cubicBezTo>
                <a:cubicBezTo>
                  <a:pt x="22" y="412"/>
                  <a:pt x="29" y="416"/>
                  <a:pt x="36" y="415"/>
                </a:cubicBezTo>
                <a:cubicBezTo>
                  <a:pt x="49" y="412"/>
                  <a:pt x="49" y="412"/>
                  <a:pt x="49" y="412"/>
                </a:cubicBezTo>
                <a:cubicBezTo>
                  <a:pt x="55" y="410"/>
                  <a:pt x="63" y="414"/>
                  <a:pt x="67" y="420"/>
                </a:cubicBezTo>
                <a:cubicBezTo>
                  <a:pt x="74" y="433"/>
                  <a:pt x="82" y="446"/>
                  <a:pt x="91" y="458"/>
                </a:cubicBezTo>
                <a:cubicBezTo>
                  <a:pt x="96" y="463"/>
                  <a:pt x="96" y="472"/>
                  <a:pt x="92" y="477"/>
                </a:cubicBezTo>
                <a:cubicBezTo>
                  <a:pt x="84" y="488"/>
                  <a:pt x="84" y="488"/>
                  <a:pt x="84" y="488"/>
                </a:cubicBezTo>
                <a:cubicBezTo>
                  <a:pt x="80" y="494"/>
                  <a:pt x="81" y="502"/>
                  <a:pt x="86" y="506"/>
                </a:cubicBezTo>
                <a:cubicBezTo>
                  <a:pt x="112" y="529"/>
                  <a:pt x="112" y="529"/>
                  <a:pt x="112" y="529"/>
                </a:cubicBezTo>
                <a:cubicBezTo>
                  <a:pt x="117" y="534"/>
                  <a:pt x="125" y="534"/>
                  <a:pt x="130" y="529"/>
                </a:cubicBezTo>
                <a:cubicBezTo>
                  <a:pt x="140" y="520"/>
                  <a:pt x="140" y="520"/>
                  <a:pt x="140" y="520"/>
                </a:cubicBezTo>
                <a:cubicBezTo>
                  <a:pt x="145" y="515"/>
                  <a:pt x="153" y="515"/>
                  <a:pt x="159" y="518"/>
                </a:cubicBezTo>
                <a:cubicBezTo>
                  <a:pt x="172" y="526"/>
                  <a:pt x="186" y="533"/>
                  <a:pt x="200" y="539"/>
                </a:cubicBezTo>
                <a:cubicBezTo>
                  <a:pt x="206" y="541"/>
                  <a:pt x="211" y="548"/>
                  <a:pt x="210" y="555"/>
                </a:cubicBezTo>
                <a:cubicBezTo>
                  <a:pt x="208" y="568"/>
                  <a:pt x="208" y="568"/>
                  <a:pt x="208" y="568"/>
                </a:cubicBezTo>
                <a:cubicBezTo>
                  <a:pt x="208" y="575"/>
                  <a:pt x="212" y="582"/>
                  <a:pt x="219" y="583"/>
                </a:cubicBezTo>
                <a:lnTo>
                  <a:pt x="253" y="590"/>
                </a:lnTo>
                <a:close/>
                <a:moveTo>
                  <a:pt x="236" y="513"/>
                </a:moveTo>
                <a:cubicBezTo>
                  <a:pt x="229" y="512"/>
                  <a:pt x="218" y="509"/>
                  <a:pt x="212" y="506"/>
                </a:cubicBezTo>
                <a:cubicBezTo>
                  <a:pt x="200" y="502"/>
                  <a:pt x="188" y="496"/>
                  <a:pt x="178" y="489"/>
                </a:cubicBezTo>
                <a:cubicBezTo>
                  <a:pt x="172" y="486"/>
                  <a:pt x="163" y="479"/>
                  <a:pt x="158" y="474"/>
                </a:cubicBezTo>
                <a:cubicBezTo>
                  <a:pt x="136" y="454"/>
                  <a:pt x="136" y="454"/>
                  <a:pt x="136" y="454"/>
                </a:cubicBezTo>
                <a:cubicBezTo>
                  <a:pt x="131" y="450"/>
                  <a:pt x="123" y="442"/>
                  <a:pt x="119" y="437"/>
                </a:cubicBezTo>
                <a:cubicBezTo>
                  <a:pt x="110" y="426"/>
                  <a:pt x="103" y="415"/>
                  <a:pt x="97" y="403"/>
                </a:cubicBezTo>
                <a:cubicBezTo>
                  <a:pt x="93" y="397"/>
                  <a:pt x="89" y="387"/>
                  <a:pt x="87" y="380"/>
                </a:cubicBezTo>
                <a:cubicBezTo>
                  <a:pt x="78" y="352"/>
                  <a:pt x="78" y="352"/>
                  <a:pt x="78" y="352"/>
                </a:cubicBezTo>
                <a:cubicBezTo>
                  <a:pt x="76" y="346"/>
                  <a:pt x="73" y="335"/>
                  <a:pt x="72" y="328"/>
                </a:cubicBezTo>
                <a:cubicBezTo>
                  <a:pt x="70" y="316"/>
                  <a:pt x="69" y="303"/>
                  <a:pt x="70" y="290"/>
                </a:cubicBezTo>
                <a:cubicBezTo>
                  <a:pt x="70" y="283"/>
                  <a:pt x="71" y="272"/>
                  <a:pt x="73" y="266"/>
                </a:cubicBezTo>
                <a:cubicBezTo>
                  <a:pt x="79" y="235"/>
                  <a:pt x="79" y="235"/>
                  <a:pt x="79" y="235"/>
                </a:cubicBezTo>
                <a:cubicBezTo>
                  <a:pt x="80" y="228"/>
                  <a:pt x="83" y="218"/>
                  <a:pt x="86" y="211"/>
                </a:cubicBezTo>
                <a:cubicBezTo>
                  <a:pt x="91" y="199"/>
                  <a:pt x="96" y="188"/>
                  <a:pt x="103" y="177"/>
                </a:cubicBezTo>
                <a:cubicBezTo>
                  <a:pt x="107" y="172"/>
                  <a:pt x="113" y="163"/>
                  <a:pt x="118" y="158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42" y="130"/>
                  <a:pt x="150" y="122"/>
                  <a:pt x="156" y="118"/>
                </a:cubicBezTo>
                <a:cubicBezTo>
                  <a:pt x="166" y="110"/>
                  <a:pt x="177" y="103"/>
                  <a:pt x="189" y="96"/>
                </a:cubicBezTo>
                <a:cubicBezTo>
                  <a:pt x="195" y="93"/>
                  <a:pt x="205" y="89"/>
                  <a:pt x="212" y="87"/>
                </a:cubicBezTo>
                <a:cubicBezTo>
                  <a:pt x="240" y="78"/>
                  <a:pt x="240" y="78"/>
                  <a:pt x="240" y="78"/>
                </a:cubicBezTo>
                <a:cubicBezTo>
                  <a:pt x="246" y="75"/>
                  <a:pt x="257" y="72"/>
                  <a:pt x="264" y="71"/>
                </a:cubicBezTo>
                <a:cubicBezTo>
                  <a:pt x="276" y="70"/>
                  <a:pt x="289" y="69"/>
                  <a:pt x="302" y="69"/>
                </a:cubicBezTo>
                <a:cubicBezTo>
                  <a:pt x="309" y="69"/>
                  <a:pt x="320" y="71"/>
                  <a:pt x="327" y="72"/>
                </a:cubicBezTo>
                <a:cubicBezTo>
                  <a:pt x="357" y="79"/>
                  <a:pt x="357" y="79"/>
                  <a:pt x="357" y="79"/>
                </a:cubicBezTo>
                <a:cubicBezTo>
                  <a:pt x="364" y="80"/>
                  <a:pt x="374" y="83"/>
                  <a:pt x="381" y="85"/>
                </a:cubicBezTo>
                <a:cubicBezTo>
                  <a:pt x="393" y="90"/>
                  <a:pt x="404" y="96"/>
                  <a:pt x="415" y="103"/>
                </a:cubicBezTo>
                <a:cubicBezTo>
                  <a:pt x="421" y="106"/>
                  <a:pt x="429" y="113"/>
                  <a:pt x="434" y="118"/>
                </a:cubicBezTo>
                <a:cubicBezTo>
                  <a:pt x="457" y="137"/>
                  <a:pt x="457" y="137"/>
                  <a:pt x="457" y="137"/>
                </a:cubicBezTo>
                <a:cubicBezTo>
                  <a:pt x="462" y="142"/>
                  <a:pt x="470" y="150"/>
                  <a:pt x="474" y="155"/>
                </a:cubicBezTo>
                <a:cubicBezTo>
                  <a:pt x="482" y="166"/>
                  <a:pt x="490" y="177"/>
                  <a:pt x="496" y="188"/>
                </a:cubicBezTo>
                <a:cubicBezTo>
                  <a:pt x="499" y="194"/>
                  <a:pt x="503" y="205"/>
                  <a:pt x="505" y="211"/>
                </a:cubicBezTo>
                <a:cubicBezTo>
                  <a:pt x="515" y="240"/>
                  <a:pt x="515" y="240"/>
                  <a:pt x="515" y="240"/>
                </a:cubicBezTo>
                <a:cubicBezTo>
                  <a:pt x="517" y="246"/>
                  <a:pt x="520" y="257"/>
                  <a:pt x="521" y="264"/>
                </a:cubicBezTo>
                <a:cubicBezTo>
                  <a:pt x="523" y="276"/>
                  <a:pt x="523" y="289"/>
                  <a:pt x="523" y="302"/>
                </a:cubicBezTo>
                <a:cubicBezTo>
                  <a:pt x="523" y="309"/>
                  <a:pt x="521" y="320"/>
                  <a:pt x="520" y="326"/>
                </a:cubicBezTo>
                <a:cubicBezTo>
                  <a:pt x="514" y="356"/>
                  <a:pt x="514" y="356"/>
                  <a:pt x="514" y="356"/>
                </a:cubicBezTo>
                <a:cubicBezTo>
                  <a:pt x="512" y="363"/>
                  <a:pt x="509" y="374"/>
                  <a:pt x="507" y="380"/>
                </a:cubicBezTo>
                <a:cubicBezTo>
                  <a:pt x="502" y="392"/>
                  <a:pt x="496" y="404"/>
                  <a:pt x="490" y="414"/>
                </a:cubicBezTo>
                <a:cubicBezTo>
                  <a:pt x="486" y="420"/>
                  <a:pt x="479" y="429"/>
                  <a:pt x="475" y="434"/>
                </a:cubicBezTo>
                <a:cubicBezTo>
                  <a:pt x="455" y="456"/>
                  <a:pt x="455" y="456"/>
                  <a:pt x="455" y="456"/>
                </a:cubicBezTo>
                <a:cubicBezTo>
                  <a:pt x="450" y="462"/>
                  <a:pt x="442" y="469"/>
                  <a:pt x="437" y="474"/>
                </a:cubicBezTo>
                <a:cubicBezTo>
                  <a:pt x="427" y="482"/>
                  <a:pt x="415" y="489"/>
                  <a:pt x="404" y="495"/>
                </a:cubicBezTo>
                <a:cubicBezTo>
                  <a:pt x="398" y="499"/>
                  <a:pt x="387" y="503"/>
                  <a:pt x="381" y="505"/>
                </a:cubicBezTo>
                <a:cubicBezTo>
                  <a:pt x="353" y="514"/>
                  <a:pt x="353" y="514"/>
                  <a:pt x="353" y="514"/>
                </a:cubicBezTo>
                <a:cubicBezTo>
                  <a:pt x="346" y="516"/>
                  <a:pt x="335" y="519"/>
                  <a:pt x="329" y="520"/>
                </a:cubicBezTo>
                <a:cubicBezTo>
                  <a:pt x="316" y="522"/>
                  <a:pt x="303" y="523"/>
                  <a:pt x="290" y="523"/>
                </a:cubicBezTo>
                <a:cubicBezTo>
                  <a:pt x="283" y="522"/>
                  <a:pt x="272" y="521"/>
                  <a:pt x="266" y="519"/>
                </a:cubicBezTo>
                <a:lnTo>
                  <a:pt x="236" y="51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Freeform 35"/>
          <p:cNvSpPr>
            <a:spLocks noEditPoints="1"/>
          </p:cNvSpPr>
          <p:nvPr/>
        </p:nvSpPr>
        <p:spPr bwMode="auto">
          <a:xfrm>
            <a:off x="17980958" y="5645492"/>
            <a:ext cx="3003268" cy="3013640"/>
          </a:xfrm>
          <a:custGeom>
            <a:avLst/>
            <a:gdLst>
              <a:gd name="T0" fmla="*/ 377 w 579"/>
              <a:gd name="T1" fmla="*/ 566 h 579"/>
              <a:gd name="T2" fmla="*/ 383 w 579"/>
              <a:gd name="T3" fmla="*/ 523 h 579"/>
              <a:gd name="T4" fmla="*/ 455 w 579"/>
              <a:gd name="T5" fmla="*/ 464 h 579"/>
              <a:gd name="T6" fmla="*/ 499 w 579"/>
              <a:gd name="T7" fmla="*/ 475 h 579"/>
              <a:gd name="T8" fmla="*/ 547 w 579"/>
              <a:gd name="T9" fmla="*/ 423 h 579"/>
              <a:gd name="T10" fmla="*/ 521 w 579"/>
              <a:gd name="T11" fmla="*/ 388 h 579"/>
              <a:gd name="T12" fmla="*/ 530 w 579"/>
              <a:gd name="T13" fmla="*/ 296 h 579"/>
              <a:gd name="T14" fmla="*/ 569 w 579"/>
              <a:gd name="T15" fmla="*/ 272 h 579"/>
              <a:gd name="T16" fmla="*/ 566 w 579"/>
              <a:gd name="T17" fmla="*/ 202 h 579"/>
              <a:gd name="T18" fmla="*/ 523 w 579"/>
              <a:gd name="T19" fmla="*/ 196 h 579"/>
              <a:gd name="T20" fmla="*/ 464 w 579"/>
              <a:gd name="T21" fmla="*/ 124 h 579"/>
              <a:gd name="T22" fmla="*/ 475 w 579"/>
              <a:gd name="T23" fmla="*/ 80 h 579"/>
              <a:gd name="T24" fmla="*/ 423 w 579"/>
              <a:gd name="T25" fmla="*/ 32 h 579"/>
              <a:gd name="T26" fmla="*/ 388 w 579"/>
              <a:gd name="T27" fmla="*/ 58 h 579"/>
              <a:gd name="T28" fmla="*/ 296 w 579"/>
              <a:gd name="T29" fmla="*/ 49 h 579"/>
              <a:gd name="T30" fmla="*/ 272 w 579"/>
              <a:gd name="T31" fmla="*/ 10 h 579"/>
              <a:gd name="T32" fmla="*/ 202 w 579"/>
              <a:gd name="T33" fmla="*/ 13 h 579"/>
              <a:gd name="T34" fmla="*/ 196 w 579"/>
              <a:gd name="T35" fmla="*/ 56 h 579"/>
              <a:gd name="T36" fmla="*/ 124 w 579"/>
              <a:gd name="T37" fmla="*/ 115 h 579"/>
              <a:gd name="T38" fmla="*/ 80 w 579"/>
              <a:gd name="T39" fmla="*/ 104 h 579"/>
              <a:gd name="T40" fmla="*/ 32 w 579"/>
              <a:gd name="T41" fmla="*/ 156 h 579"/>
              <a:gd name="T42" fmla="*/ 58 w 579"/>
              <a:gd name="T43" fmla="*/ 190 h 579"/>
              <a:gd name="T44" fmla="*/ 49 w 579"/>
              <a:gd name="T45" fmla="*/ 283 h 579"/>
              <a:gd name="T46" fmla="*/ 10 w 579"/>
              <a:gd name="T47" fmla="*/ 306 h 579"/>
              <a:gd name="T48" fmla="*/ 13 w 579"/>
              <a:gd name="T49" fmla="*/ 377 h 579"/>
              <a:gd name="T50" fmla="*/ 56 w 579"/>
              <a:gd name="T51" fmla="*/ 383 h 579"/>
              <a:gd name="T52" fmla="*/ 115 w 579"/>
              <a:gd name="T53" fmla="*/ 455 h 579"/>
              <a:gd name="T54" fmla="*/ 104 w 579"/>
              <a:gd name="T55" fmla="*/ 499 h 579"/>
              <a:gd name="T56" fmla="*/ 156 w 579"/>
              <a:gd name="T57" fmla="*/ 547 h 579"/>
              <a:gd name="T58" fmla="*/ 191 w 579"/>
              <a:gd name="T59" fmla="*/ 521 h 579"/>
              <a:gd name="T60" fmla="*/ 283 w 579"/>
              <a:gd name="T61" fmla="*/ 530 h 579"/>
              <a:gd name="T62" fmla="*/ 307 w 579"/>
              <a:gd name="T63" fmla="*/ 569 h 579"/>
              <a:gd name="T64" fmla="*/ 252 w 579"/>
              <a:gd name="T65" fmla="*/ 109 h 579"/>
              <a:gd name="T66" fmla="*/ 327 w 579"/>
              <a:gd name="T67" fmla="*/ 469 h 579"/>
              <a:gd name="T68" fmla="*/ 252 w 579"/>
              <a:gd name="T69" fmla="*/ 109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79" h="579">
                <a:moveTo>
                  <a:pt x="321" y="578"/>
                </a:moveTo>
                <a:cubicBezTo>
                  <a:pt x="377" y="566"/>
                  <a:pt x="377" y="566"/>
                  <a:pt x="377" y="566"/>
                </a:cubicBezTo>
                <a:cubicBezTo>
                  <a:pt x="383" y="565"/>
                  <a:pt x="387" y="558"/>
                  <a:pt x="387" y="552"/>
                </a:cubicBezTo>
                <a:cubicBezTo>
                  <a:pt x="383" y="523"/>
                  <a:pt x="383" y="523"/>
                  <a:pt x="383" y="523"/>
                </a:cubicBezTo>
                <a:cubicBezTo>
                  <a:pt x="382" y="517"/>
                  <a:pt x="386" y="509"/>
                  <a:pt x="392" y="507"/>
                </a:cubicBezTo>
                <a:cubicBezTo>
                  <a:pt x="416" y="496"/>
                  <a:pt x="437" y="481"/>
                  <a:pt x="455" y="464"/>
                </a:cubicBezTo>
                <a:cubicBezTo>
                  <a:pt x="460" y="459"/>
                  <a:pt x="468" y="458"/>
                  <a:pt x="473" y="461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05" y="478"/>
                  <a:pt x="512" y="476"/>
                  <a:pt x="516" y="471"/>
                </a:cubicBezTo>
                <a:cubicBezTo>
                  <a:pt x="547" y="423"/>
                  <a:pt x="547" y="423"/>
                  <a:pt x="547" y="423"/>
                </a:cubicBezTo>
                <a:cubicBezTo>
                  <a:pt x="550" y="418"/>
                  <a:pt x="549" y="410"/>
                  <a:pt x="544" y="406"/>
                </a:cubicBezTo>
                <a:cubicBezTo>
                  <a:pt x="521" y="388"/>
                  <a:pt x="521" y="388"/>
                  <a:pt x="521" y="388"/>
                </a:cubicBezTo>
                <a:cubicBezTo>
                  <a:pt x="516" y="384"/>
                  <a:pt x="514" y="376"/>
                  <a:pt x="516" y="371"/>
                </a:cubicBezTo>
                <a:cubicBezTo>
                  <a:pt x="524" y="347"/>
                  <a:pt x="529" y="322"/>
                  <a:pt x="530" y="296"/>
                </a:cubicBezTo>
                <a:cubicBezTo>
                  <a:pt x="530" y="289"/>
                  <a:pt x="535" y="283"/>
                  <a:pt x="541" y="281"/>
                </a:cubicBezTo>
                <a:cubicBezTo>
                  <a:pt x="569" y="272"/>
                  <a:pt x="569" y="272"/>
                  <a:pt x="569" y="272"/>
                </a:cubicBezTo>
                <a:cubicBezTo>
                  <a:pt x="575" y="270"/>
                  <a:pt x="579" y="264"/>
                  <a:pt x="578" y="258"/>
                </a:cubicBezTo>
                <a:cubicBezTo>
                  <a:pt x="566" y="202"/>
                  <a:pt x="566" y="202"/>
                  <a:pt x="566" y="202"/>
                </a:cubicBezTo>
                <a:cubicBezTo>
                  <a:pt x="565" y="196"/>
                  <a:pt x="559" y="191"/>
                  <a:pt x="552" y="192"/>
                </a:cubicBezTo>
                <a:cubicBezTo>
                  <a:pt x="523" y="196"/>
                  <a:pt x="523" y="196"/>
                  <a:pt x="523" y="196"/>
                </a:cubicBezTo>
                <a:cubicBezTo>
                  <a:pt x="517" y="197"/>
                  <a:pt x="510" y="192"/>
                  <a:pt x="507" y="187"/>
                </a:cubicBezTo>
                <a:cubicBezTo>
                  <a:pt x="496" y="163"/>
                  <a:pt x="481" y="142"/>
                  <a:pt x="464" y="124"/>
                </a:cubicBezTo>
                <a:cubicBezTo>
                  <a:pt x="459" y="119"/>
                  <a:pt x="458" y="111"/>
                  <a:pt x="461" y="106"/>
                </a:cubicBezTo>
                <a:cubicBezTo>
                  <a:pt x="475" y="80"/>
                  <a:pt x="475" y="80"/>
                  <a:pt x="475" y="80"/>
                </a:cubicBezTo>
                <a:cubicBezTo>
                  <a:pt x="478" y="74"/>
                  <a:pt x="476" y="67"/>
                  <a:pt x="471" y="63"/>
                </a:cubicBezTo>
                <a:cubicBezTo>
                  <a:pt x="423" y="32"/>
                  <a:pt x="423" y="32"/>
                  <a:pt x="423" y="32"/>
                </a:cubicBezTo>
                <a:cubicBezTo>
                  <a:pt x="418" y="29"/>
                  <a:pt x="410" y="30"/>
                  <a:pt x="407" y="35"/>
                </a:cubicBezTo>
                <a:cubicBezTo>
                  <a:pt x="388" y="58"/>
                  <a:pt x="388" y="58"/>
                  <a:pt x="388" y="58"/>
                </a:cubicBezTo>
                <a:cubicBezTo>
                  <a:pt x="384" y="63"/>
                  <a:pt x="377" y="65"/>
                  <a:pt x="371" y="63"/>
                </a:cubicBezTo>
                <a:cubicBezTo>
                  <a:pt x="347" y="54"/>
                  <a:pt x="322" y="50"/>
                  <a:pt x="296" y="49"/>
                </a:cubicBezTo>
                <a:cubicBezTo>
                  <a:pt x="289" y="49"/>
                  <a:pt x="283" y="44"/>
                  <a:pt x="281" y="38"/>
                </a:cubicBezTo>
                <a:cubicBezTo>
                  <a:pt x="272" y="10"/>
                  <a:pt x="272" y="10"/>
                  <a:pt x="272" y="10"/>
                </a:cubicBezTo>
                <a:cubicBezTo>
                  <a:pt x="271" y="4"/>
                  <a:pt x="264" y="0"/>
                  <a:pt x="258" y="1"/>
                </a:cubicBezTo>
                <a:cubicBezTo>
                  <a:pt x="202" y="13"/>
                  <a:pt x="202" y="13"/>
                  <a:pt x="202" y="13"/>
                </a:cubicBezTo>
                <a:cubicBezTo>
                  <a:pt x="196" y="14"/>
                  <a:pt x="191" y="20"/>
                  <a:pt x="192" y="27"/>
                </a:cubicBezTo>
                <a:cubicBezTo>
                  <a:pt x="196" y="56"/>
                  <a:pt x="196" y="56"/>
                  <a:pt x="196" y="56"/>
                </a:cubicBezTo>
                <a:cubicBezTo>
                  <a:pt x="197" y="62"/>
                  <a:pt x="193" y="69"/>
                  <a:pt x="187" y="72"/>
                </a:cubicBezTo>
                <a:cubicBezTo>
                  <a:pt x="163" y="83"/>
                  <a:pt x="142" y="98"/>
                  <a:pt x="124" y="115"/>
                </a:cubicBezTo>
                <a:cubicBezTo>
                  <a:pt x="119" y="119"/>
                  <a:pt x="111" y="121"/>
                  <a:pt x="106" y="118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74" y="101"/>
                  <a:pt x="67" y="103"/>
                  <a:pt x="63" y="108"/>
                </a:cubicBezTo>
                <a:cubicBezTo>
                  <a:pt x="32" y="156"/>
                  <a:pt x="32" y="156"/>
                  <a:pt x="32" y="156"/>
                </a:cubicBezTo>
                <a:cubicBezTo>
                  <a:pt x="29" y="161"/>
                  <a:pt x="30" y="168"/>
                  <a:pt x="35" y="172"/>
                </a:cubicBezTo>
                <a:cubicBezTo>
                  <a:pt x="58" y="190"/>
                  <a:pt x="58" y="190"/>
                  <a:pt x="58" y="190"/>
                </a:cubicBezTo>
                <a:cubicBezTo>
                  <a:pt x="63" y="194"/>
                  <a:pt x="65" y="202"/>
                  <a:pt x="63" y="208"/>
                </a:cubicBezTo>
                <a:cubicBezTo>
                  <a:pt x="55" y="232"/>
                  <a:pt x="50" y="257"/>
                  <a:pt x="49" y="283"/>
                </a:cubicBezTo>
                <a:cubicBezTo>
                  <a:pt x="49" y="289"/>
                  <a:pt x="44" y="296"/>
                  <a:pt x="38" y="298"/>
                </a:cubicBezTo>
                <a:cubicBezTo>
                  <a:pt x="10" y="306"/>
                  <a:pt x="10" y="306"/>
                  <a:pt x="10" y="306"/>
                </a:cubicBezTo>
                <a:cubicBezTo>
                  <a:pt x="4" y="308"/>
                  <a:pt x="0" y="315"/>
                  <a:pt x="1" y="321"/>
                </a:cubicBezTo>
                <a:cubicBezTo>
                  <a:pt x="13" y="377"/>
                  <a:pt x="13" y="377"/>
                  <a:pt x="13" y="377"/>
                </a:cubicBezTo>
                <a:cubicBezTo>
                  <a:pt x="14" y="383"/>
                  <a:pt x="20" y="387"/>
                  <a:pt x="27" y="387"/>
                </a:cubicBezTo>
                <a:cubicBezTo>
                  <a:pt x="56" y="383"/>
                  <a:pt x="56" y="383"/>
                  <a:pt x="56" y="383"/>
                </a:cubicBezTo>
                <a:cubicBezTo>
                  <a:pt x="62" y="382"/>
                  <a:pt x="69" y="386"/>
                  <a:pt x="72" y="392"/>
                </a:cubicBezTo>
                <a:cubicBezTo>
                  <a:pt x="83" y="416"/>
                  <a:pt x="98" y="437"/>
                  <a:pt x="115" y="455"/>
                </a:cubicBezTo>
                <a:cubicBezTo>
                  <a:pt x="119" y="460"/>
                  <a:pt x="121" y="468"/>
                  <a:pt x="118" y="473"/>
                </a:cubicBezTo>
                <a:cubicBezTo>
                  <a:pt x="104" y="499"/>
                  <a:pt x="104" y="499"/>
                  <a:pt x="104" y="499"/>
                </a:cubicBezTo>
                <a:cubicBezTo>
                  <a:pt x="101" y="505"/>
                  <a:pt x="103" y="512"/>
                  <a:pt x="108" y="516"/>
                </a:cubicBezTo>
                <a:cubicBezTo>
                  <a:pt x="156" y="547"/>
                  <a:pt x="156" y="547"/>
                  <a:pt x="156" y="547"/>
                </a:cubicBezTo>
                <a:cubicBezTo>
                  <a:pt x="161" y="550"/>
                  <a:pt x="168" y="549"/>
                  <a:pt x="172" y="544"/>
                </a:cubicBezTo>
                <a:cubicBezTo>
                  <a:pt x="191" y="521"/>
                  <a:pt x="191" y="521"/>
                  <a:pt x="191" y="521"/>
                </a:cubicBezTo>
                <a:cubicBezTo>
                  <a:pt x="194" y="516"/>
                  <a:pt x="202" y="514"/>
                  <a:pt x="208" y="516"/>
                </a:cubicBezTo>
                <a:cubicBezTo>
                  <a:pt x="232" y="524"/>
                  <a:pt x="257" y="529"/>
                  <a:pt x="283" y="530"/>
                </a:cubicBezTo>
                <a:cubicBezTo>
                  <a:pt x="290" y="530"/>
                  <a:pt x="296" y="535"/>
                  <a:pt x="298" y="541"/>
                </a:cubicBezTo>
                <a:cubicBezTo>
                  <a:pt x="307" y="569"/>
                  <a:pt x="307" y="569"/>
                  <a:pt x="307" y="569"/>
                </a:cubicBezTo>
                <a:cubicBezTo>
                  <a:pt x="308" y="575"/>
                  <a:pt x="315" y="579"/>
                  <a:pt x="321" y="578"/>
                </a:cubicBezTo>
                <a:close/>
                <a:moveTo>
                  <a:pt x="252" y="109"/>
                </a:moveTo>
                <a:cubicBezTo>
                  <a:pt x="351" y="88"/>
                  <a:pt x="449" y="152"/>
                  <a:pt x="469" y="251"/>
                </a:cubicBezTo>
                <a:cubicBezTo>
                  <a:pt x="490" y="351"/>
                  <a:pt x="427" y="448"/>
                  <a:pt x="327" y="469"/>
                </a:cubicBezTo>
                <a:cubicBezTo>
                  <a:pt x="228" y="490"/>
                  <a:pt x="130" y="427"/>
                  <a:pt x="109" y="327"/>
                </a:cubicBezTo>
                <a:cubicBezTo>
                  <a:pt x="89" y="228"/>
                  <a:pt x="152" y="130"/>
                  <a:pt x="252" y="10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7" name="Freeform 36"/>
          <p:cNvSpPr>
            <a:spLocks noEditPoints="1"/>
          </p:cNvSpPr>
          <p:nvPr/>
        </p:nvSpPr>
        <p:spPr bwMode="auto">
          <a:xfrm>
            <a:off x="16230351" y="7598393"/>
            <a:ext cx="2492350" cy="2502722"/>
          </a:xfrm>
          <a:custGeom>
            <a:avLst/>
            <a:gdLst>
              <a:gd name="T0" fmla="*/ 275 w 480"/>
              <a:gd name="T1" fmla="*/ 456 h 481"/>
              <a:gd name="T2" fmla="*/ 337 w 480"/>
              <a:gd name="T3" fmla="*/ 416 h 481"/>
              <a:gd name="T4" fmla="*/ 372 w 480"/>
              <a:gd name="T5" fmla="*/ 421 h 481"/>
              <a:gd name="T6" fmla="*/ 420 w 480"/>
              <a:gd name="T7" fmla="*/ 400 h 481"/>
              <a:gd name="T8" fmla="*/ 418 w 480"/>
              <a:gd name="T9" fmla="*/ 368 h 481"/>
              <a:gd name="T10" fmla="*/ 433 w 480"/>
              <a:gd name="T11" fmla="*/ 296 h 481"/>
              <a:gd name="T12" fmla="*/ 461 w 480"/>
              <a:gd name="T13" fmla="*/ 275 h 481"/>
              <a:gd name="T14" fmla="*/ 480 w 480"/>
              <a:gd name="T15" fmla="*/ 226 h 481"/>
              <a:gd name="T16" fmla="*/ 456 w 480"/>
              <a:gd name="T17" fmla="*/ 205 h 481"/>
              <a:gd name="T18" fmla="*/ 415 w 480"/>
              <a:gd name="T19" fmla="*/ 143 h 481"/>
              <a:gd name="T20" fmla="*/ 421 w 480"/>
              <a:gd name="T21" fmla="*/ 108 h 481"/>
              <a:gd name="T22" fmla="*/ 400 w 480"/>
              <a:gd name="T23" fmla="*/ 60 h 481"/>
              <a:gd name="T24" fmla="*/ 368 w 480"/>
              <a:gd name="T25" fmla="*/ 62 h 481"/>
              <a:gd name="T26" fmla="*/ 296 w 480"/>
              <a:gd name="T27" fmla="*/ 48 h 481"/>
              <a:gd name="T28" fmla="*/ 275 w 480"/>
              <a:gd name="T29" fmla="*/ 19 h 481"/>
              <a:gd name="T30" fmla="*/ 226 w 480"/>
              <a:gd name="T31" fmla="*/ 0 h 481"/>
              <a:gd name="T32" fmla="*/ 205 w 480"/>
              <a:gd name="T33" fmla="*/ 24 h 481"/>
              <a:gd name="T34" fmla="*/ 143 w 480"/>
              <a:gd name="T35" fmla="*/ 65 h 481"/>
              <a:gd name="T36" fmla="*/ 108 w 480"/>
              <a:gd name="T37" fmla="*/ 59 h 481"/>
              <a:gd name="T38" fmla="*/ 60 w 480"/>
              <a:gd name="T39" fmla="*/ 80 h 481"/>
              <a:gd name="T40" fmla="*/ 62 w 480"/>
              <a:gd name="T41" fmla="*/ 112 h 481"/>
              <a:gd name="T42" fmla="*/ 48 w 480"/>
              <a:gd name="T43" fmla="*/ 185 h 481"/>
              <a:gd name="T44" fmla="*/ 19 w 480"/>
              <a:gd name="T45" fmla="*/ 205 h 481"/>
              <a:gd name="T46" fmla="*/ 0 w 480"/>
              <a:gd name="T47" fmla="*/ 254 h 481"/>
              <a:gd name="T48" fmla="*/ 24 w 480"/>
              <a:gd name="T49" fmla="*/ 276 h 481"/>
              <a:gd name="T50" fmla="*/ 65 w 480"/>
              <a:gd name="T51" fmla="*/ 337 h 481"/>
              <a:gd name="T52" fmla="*/ 59 w 480"/>
              <a:gd name="T53" fmla="*/ 372 h 481"/>
              <a:gd name="T54" fmla="*/ 80 w 480"/>
              <a:gd name="T55" fmla="*/ 420 h 481"/>
              <a:gd name="T56" fmla="*/ 112 w 480"/>
              <a:gd name="T57" fmla="*/ 418 h 481"/>
              <a:gd name="T58" fmla="*/ 184 w 480"/>
              <a:gd name="T59" fmla="*/ 433 h 481"/>
              <a:gd name="T60" fmla="*/ 205 w 480"/>
              <a:gd name="T61" fmla="*/ 462 h 481"/>
              <a:gd name="T62" fmla="*/ 254 w 480"/>
              <a:gd name="T63" fmla="*/ 481 h 481"/>
              <a:gd name="T64" fmla="*/ 125 w 480"/>
              <a:gd name="T65" fmla="*/ 240 h 481"/>
              <a:gd name="T66" fmla="*/ 355 w 480"/>
              <a:gd name="T67" fmla="*/ 240 h 481"/>
              <a:gd name="T68" fmla="*/ 125 w 480"/>
              <a:gd name="T69" fmla="*/ 240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0" h="481">
                <a:moveTo>
                  <a:pt x="275" y="462"/>
                </a:moveTo>
                <a:cubicBezTo>
                  <a:pt x="275" y="456"/>
                  <a:pt x="275" y="456"/>
                  <a:pt x="275" y="456"/>
                </a:cubicBezTo>
                <a:cubicBezTo>
                  <a:pt x="276" y="446"/>
                  <a:pt x="285" y="436"/>
                  <a:pt x="296" y="433"/>
                </a:cubicBezTo>
                <a:cubicBezTo>
                  <a:pt x="310" y="428"/>
                  <a:pt x="324" y="423"/>
                  <a:pt x="337" y="416"/>
                </a:cubicBezTo>
                <a:cubicBezTo>
                  <a:pt x="346" y="410"/>
                  <a:pt x="360" y="411"/>
                  <a:pt x="368" y="418"/>
                </a:cubicBezTo>
                <a:cubicBezTo>
                  <a:pt x="372" y="421"/>
                  <a:pt x="372" y="421"/>
                  <a:pt x="372" y="421"/>
                </a:cubicBezTo>
                <a:cubicBezTo>
                  <a:pt x="380" y="428"/>
                  <a:pt x="393" y="428"/>
                  <a:pt x="400" y="420"/>
                </a:cubicBezTo>
                <a:cubicBezTo>
                  <a:pt x="420" y="400"/>
                  <a:pt x="420" y="400"/>
                  <a:pt x="420" y="400"/>
                </a:cubicBezTo>
                <a:cubicBezTo>
                  <a:pt x="428" y="393"/>
                  <a:pt x="428" y="380"/>
                  <a:pt x="421" y="372"/>
                </a:cubicBezTo>
                <a:cubicBezTo>
                  <a:pt x="418" y="368"/>
                  <a:pt x="418" y="368"/>
                  <a:pt x="418" y="368"/>
                </a:cubicBezTo>
                <a:cubicBezTo>
                  <a:pt x="411" y="360"/>
                  <a:pt x="410" y="346"/>
                  <a:pt x="415" y="337"/>
                </a:cubicBezTo>
                <a:cubicBezTo>
                  <a:pt x="423" y="324"/>
                  <a:pt x="428" y="310"/>
                  <a:pt x="433" y="296"/>
                </a:cubicBezTo>
                <a:cubicBezTo>
                  <a:pt x="435" y="286"/>
                  <a:pt x="445" y="276"/>
                  <a:pt x="456" y="276"/>
                </a:cubicBezTo>
                <a:cubicBezTo>
                  <a:pt x="461" y="275"/>
                  <a:pt x="461" y="275"/>
                  <a:pt x="461" y="275"/>
                </a:cubicBezTo>
                <a:cubicBezTo>
                  <a:pt x="472" y="274"/>
                  <a:pt x="480" y="265"/>
                  <a:pt x="480" y="254"/>
                </a:cubicBezTo>
                <a:cubicBezTo>
                  <a:pt x="480" y="226"/>
                  <a:pt x="480" y="226"/>
                  <a:pt x="480" y="226"/>
                </a:cubicBezTo>
                <a:cubicBezTo>
                  <a:pt x="480" y="215"/>
                  <a:pt x="472" y="206"/>
                  <a:pt x="461" y="205"/>
                </a:cubicBezTo>
                <a:cubicBezTo>
                  <a:pt x="456" y="205"/>
                  <a:pt x="456" y="205"/>
                  <a:pt x="456" y="205"/>
                </a:cubicBezTo>
                <a:cubicBezTo>
                  <a:pt x="445" y="204"/>
                  <a:pt x="435" y="195"/>
                  <a:pt x="433" y="185"/>
                </a:cubicBezTo>
                <a:cubicBezTo>
                  <a:pt x="428" y="170"/>
                  <a:pt x="423" y="156"/>
                  <a:pt x="415" y="143"/>
                </a:cubicBezTo>
                <a:cubicBezTo>
                  <a:pt x="410" y="134"/>
                  <a:pt x="411" y="121"/>
                  <a:pt x="418" y="112"/>
                </a:cubicBezTo>
                <a:cubicBezTo>
                  <a:pt x="421" y="108"/>
                  <a:pt x="421" y="108"/>
                  <a:pt x="421" y="108"/>
                </a:cubicBezTo>
                <a:cubicBezTo>
                  <a:pt x="428" y="100"/>
                  <a:pt x="428" y="88"/>
                  <a:pt x="420" y="80"/>
                </a:cubicBezTo>
                <a:cubicBezTo>
                  <a:pt x="400" y="60"/>
                  <a:pt x="400" y="60"/>
                  <a:pt x="400" y="60"/>
                </a:cubicBezTo>
                <a:cubicBezTo>
                  <a:pt x="393" y="53"/>
                  <a:pt x="380" y="52"/>
                  <a:pt x="372" y="59"/>
                </a:cubicBezTo>
                <a:cubicBezTo>
                  <a:pt x="368" y="62"/>
                  <a:pt x="368" y="62"/>
                  <a:pt x="368" y="62"/>
                </a:cubicBezTo>
                <a:cubicBezTo>
                  <a:pt x="360" y="69"/>
                  <a:pt x="346" y="70"/>
                  <a:pt x="337" y="65"/>
                </a:cubicBezTo>
                <a:cubicBezTo>
                  <a:pt x="324" y="58"/>
                  <a:pt x="310" y="52"/>
                  <a:pt x="296" y="48"/>
                </a:cubicBezTo>
                <a:cubicBezTo>
                  <a:pt x="285" y="45"/>
                  <a:pt x="276" y="35"/>
                  <a:pt x="275" y="24"/>
                </a:cubicBezTo>
                <a:cubicBezTo>
                  <a:pt x="275" y="19"/>
                  <a:pt x="275" y="19"/>
                  <a:pt x="275" y="19"/>
                </a:cubicBezTo>
                <a:cubicBezTo>
                  <a:pt x="274" y="8"/>
                  <a:pt x="265" y="0"/>
                  <a:pt x="254" y="0"/>
                </a:cubicBezTo>
                <a:cubicBezTo>
                  <a:pt x="226" y="0"/>
                  <a:pt x="226" y="0"/>
                  <a:pt x="226" y="0"/>
                </a:cubicBezTo>
                <a:cubicBezTo>
                  <a:pt x="215" y="0"/>
                  <a:pt x="206" y="8"/>
                  <a:pt x="205" y="19"/>
                </a:cubicBezTo>
                <a:cubicBezTo>
                  <a:pt x="205" y="24"/>
                  <a:pt x="205" y="24"/>
                  <a:pt x="205" y="24"/>
                </a:cubicBezTo>
                <a:cubicBezTo>
                  <a:pt x="204" y="35"/>
                  <a:pt x="195" y="45"/>
                  <a:pt x="184" y="48"/>
                </a:cubicBezTo>
                <a:cubicBezTo>
                  <a:pt x="170" y="52"/>
                  <a:pt x="156" y="58"/>
                  <a:pt x="143" y="65"/>
                </a:cubicBezTo>
                <a:cubicBezTo>
                  <a:pt x="134" y="70"/>
                  <a:pt x="120" y="69"/>
                  <a:pt x="112" y="62"/>
                </a:cubicBezTo>
                <a:cubicBezTo>
                  <a:pt x="108" y="59"/>
                  <a:pt x="108" y="59"/>
                  <a:pt x="108" y="59"/>
                </a:cubicBezTo>
                <a:cubicBezTo>
                  <a:pt x="100" y="52"/>
                  <a:pt x="88" y="53"/>
                  <a:pt x="80" y="60"/>
                </a:cubicBezTo>
                <a:cubicBezTo>
                  <a:pt x="60" y="80"/>
                  <a:pt x="60" y="80"/>
                  <a:pt x="60" y="80"/>
                </a:cubicBezTo>
                <a:cubicBezTo>
                  <a:pt x="53" y="88"/>
                  <a:pt x="52" y="100"/>
                  <a:pt x="59" y="108"/>
                </a:cubicBezTo>
                <a:cubicBezTo>
                  <a:pt x="62" y="112"/>
                  <a:pt x="62" y="112"/>
                  <a:pt x="62" y="112"/>
                </a:cubicBezTo>
                <a:cubicBezTo>
                  <a:pt x="69" y="121"/>
                  <a:pt x="70" y="134"/>
                  <a:pt x="65" y="143"/>
                </a:cubicBezTo>
                <a:cubicBezTo>
                  <a:pt x="57" y="156"/>
                  <a:pt x="52" y="170"/>
                  <a:pt x="48" y="185"/>
                </a:cubicBezTo>
                <a:cubicBezTo>
                  <a:pt x="45" y="195"/>
                  <a:pt x="35" y="204"/>
                  <a:pt x="24" y="205"/>
                </a:cubicBezTo>
                <a:cubicBezTo>
                  <a:pt x="19" y="205"/>
                  <a:pt x="19" y="205"/>
                  <a:pt x="19" y="205"/>
                </a:cubicBezTo>
                <a:cubicBezTo>
                  <a:pt x="8" y="206"/>
                  <a:pt x="0" y="215"/>
                  <a:pt x="0" y="226"/>
                </a:cubicBezTo>
                <a:cubicBezTo>
                  <a:pt x="0" y="254"/>
                  <a:pt x="0" y="254"/>
                  <a:pt x="0" y="254"/>
                </a:cubicBezTo>
                <a:cubicBezTo>
                  <a:pt x="0" y="265"/>
                  <a:pt x="8" y="274"/>
                  <a:pt x="19" y="275"/>
                </a:cubicBezTo>
                <a:cubicBezTo>
                  <a:pt x="24" y="276"/>
                  <a:pt x="24" y="276"/>
                  <a:pt x="24" y="276"/>
                </a:cubicBezTo>
                <a:cubicBezTo>
                  <a:pt x="35" y="276"/>
                  <a:pt x="45" y="286"/>
                  <a:pt x="48" y="296"/>
                </a:cubicBezTo>
                <a:cubicBezTo>
                  <a:pt x="52" y="310"/>
                  <a:pt x="57" y="324"/>
                  <a:pt x="65" y="337"/>
                </a:cubicBezTo>
                <a:cubicBezTo>
                  <a:pt x="70" y="346"/>
                  <a:pt x="69" y="360"/>
                  <a:pt x="62" y="368"/>
                </a:cubicBezTo>
                <a:cubicBezTo>
                  <a:pt x="59" y="372"/>
                  <a:pt x="59" y="372"/>
                  <a:pt x="59" y="372"/>
                </a:cubicBezTo>
                <a:cubicBezTo>
                  <a:pt x="52" y="380"/>
                  <a:pt x="53" y="393"/>
                  <a:pt x="60" y="400"/>
                </a:cubicBezTo>
                <a:cubicBezTo>
                  <a:pt x="80" y="420"/>
                  <a:pt x="80" y="420"/>
                  <a:pt x="80" y="420"/>
                </a:cubicBezTo>
                <a:cubicBezTo>
                  <a:pt x="88" y="428"/>
                  <a:pt x="100" y="428"/>
                  <a:pt x="108" y="421"/>
                </a:cubicBezTo>
                <a:cubicBezTo>
                  <a:pt x="112" y="418"/>
                  <a:pt x="112" y="418"/>
                  <a:pt x="112" y="418"/>
                </a:cubicBezTo>
                <a:cubicBezTo>
                  <a:pt x="120" y="411"/>
                  <a:pt x="134" y="410"/>
                  <a:pt x="143" y="416"/>
                </a:cubicBezTo>
                <a:cubicBezTo>
                  <a:pt x="156" y="423"/>
                  <a:pt x="170" y="428"/>
                  <a:pt x="184" y="433"/>
                </a:cubicBezTo>
                <a:cubicBezTo>
                  <a:pt x="195" y="436"/>
                  <a:pt x="204" y="446"/>
                  <a:pt x="205" y="456"/>
                </a:cubicBezTo>
                <a:cubicBezTo>
                  <a:pt x="205" y="462"/>
                  <a:pt x="205" y="462"/>
                  <a:pt x="205" y="462"/>
                </a:cubicBezTo>
                <a:cubicBezTo>
                  <a:pt x="206" y="472"/>
                  <a:pt x="215" y="481"/>
                  <a:pt x="226" y="481"/>
                </a:cubicBezTo>
                <a:cubicBezTo>
                  <a:pt x="254" y="481"/>
                  <a:pt x="254" y="481"/>
                  <a:pt x="254" y="481"/>
                </a:cubicBezTo>
                <a:cubicBezTo>
                  <a:pt x="265" y="481"/>
                  <a:pt x="274" y="472"/>
                  <a:pt x="275" y="462"/>
                </a:cubicBezTo>
                <a:close/>
                <a:moveTo>
                  <a:pt x="125" y="240"/>
                </a:moveTo>
                <a:cubicBezTo>
                  <a:pt x="125" y="177"/>
                  <a:pt x="177" y="125"/>
                  <a:pt x="240" y="125"/>
                </a:cubicBezTo>
                <a:cubicBezTo>
                  <a:pt x="304" y="125"/>
                  <a:pt x="355" y="177"/>
                  <a:pt x="355" y="240"/>
                </a:cubicBezTo>
                <a:cubicBezTo>
                  <a:pt x="355" y="304"/>
                  <a:pt x="304" y="355"/>
                  <a:pt x="240" y="355"/>
                </a:cubicBezTo>
                <a:cubicBezTo>
                  <a:pt x="177" y="355"/>
                  <a:pt x="125" y="304"/>
                  <a:pt x="125" y="24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8" name="Freeform 37"/>
          <p:cNvSpPr>
            <a:spLocks noEditPoints="1"/>
          </p:cNvSpPr>
          <p:nvPr/>
        </p:nvSpPr>
        <p:spPr bwMode="auto">
          <a:xfrm>
            <a:off x="13323042" y="4657371"/>
            <a:ext cx="3892836" cy="3903210"/>
          </a:xfrm>
          <a:custGeom>
            <a:avLst/>
            <a:gdLst>
              <a:gd name="T0" fmla="*/ 416 w 750"/>
              <a:gd name="T1" fmla="*/ 717 h 750"/>
              <a:gd name="T2" fmla="*/ 511 w 750"/>
              <a:gd name="T3" fmla="*/ 692 h 750"/>
              <a:gd name="T4" fmla="*/ 582 w 750"/>
              <a:gd name="T5" fmla="*/ 688 h 750"/>
              <a:gd name="T6" fmla="*/ 587 w 750"/>
              <a:gd name="T7" fmla="*/ 627 h 750"/>
              <a:gd name="T8" fmla="*/ 667 w 750"/>
              <a:gd name="T9" fmla="*/ 588 h 750"/>
              <a:gd name="T10" fmla="*/ 706 w 750"/>
              <a:gd name="T11" fmla="*/ 521 h 750"/>
              <a:gd name="T12" fmla="*/ 700 w 750"/>
              <a:gd name="T13" fmla="*/ 432 h 750"/>
              <a:gd name="T14" fmla="*/ 750 w 750"/>
              <a:gd name="T15" fmla="*/ 397 h 750"/>
              <a:gd name="T16" fmla="*/ 718 w 750"/>
              <a:gd name="T17" fmla="*/ 334 h 750"/>
              <a:gd name="T18" fmla="*/ 692 w 750"/>
              <a:gd name="T19" fmla="*/ 239 h 750"/>
              <a:gd name="T20" fmla="*/ 689 w 750"/>
              <a:gd name="T21" fmla="*/ 168 h 750"/>
              <a:gd name="T22" fmla="*/ 628 w 750"/>
              <a:gd name="T23" fmla="*/ 163 h 750"/>
              <a:gd name="T24" fmla="*/ 589 w 750"/>
              <a:gd name="T25" fmla="*/ 83 h 750"/>
              <a:gd name="T26" fmla="*/ 521 w 750"/>
              <a:gd name="T27" fmla="*/ 44 h 750"/>
              <a:gd name="T28" fmla="*/ 433 w 750"/>
              <a:gd name="T29" fmla="*/ 50 h 750"/>
              <a:gd name="T30" fmla="*/ 397 w 750"/>
              <a:gd name="T31" fmla="*/ 0 h 750"/>
              <a:gd name="T32" fmla="*/ 335 w 750"/>
              <a:gd name="T33" fmla="*/ 32 h 750"/>
              <a:gd name="T34" fmla="*/ 239 w 750"/>
              <a:gd name="T35" fmla="*/ 58 h 750"/>
              <a:gd name="T36" fmla="*/ 169 w 750"/>
              <a:gd name="T37" fmla="*/ 61 h 750"/>
              <a:gd name="T38" fmla="*/ 163 w 750"/>
              <a:gd name="T39" fmla="*/ 122 h 750"/>
              <a:gd name="T40" fmla="*/ 84 w 750"/>
              <a:gd name="T41" fmla="*/ 161 h 750"/>
              <a:gd name="T42" fmla="*/ 45 w 750"/>
              <a:gd name="T43" fmla="*/ 229 h 750"/>
              <a:gd name="T44" fmla="*/ 51 w 750"/>
              <a:gd name="T45" fmla="*/ 317 h 750"/>
              <a:gd name="T46" fmla="*/ 0 w 750"/>
              <a:gd name="T47" fmla="*/ 353 h 750"/>
              <a:gd name="T48" fmla="*/ 33 w 750"/>
              <a:gd name="T49" fmla="*/ 415 h 750"/>
              <a:gd name="T50" fmla="*/ 58 w 750"/>
              <a:gd name="T51" fmla="*/ 511 h 750"/>
              <a:gd name="T52" fmla="*/ 62 w 750"/>
              <a:gd name="T53" fmla="*/ 581 h 750"/>
              <a:gd name="T54" fmla="*/ 123 w 750"/>
              <a:gd name="T55" fmla="*/ 587 h 750"/>
              <a:gd name="T56" fmla="*/ 162 w 750"/>
              <a:gd name="T57" fmla="*/ 666 h 750"/>
              <a:gd name="T58" fmla="*/ 229 w 750"/>
              <a:gd name="T59" fmla="*/ 705 h 750"/>
              <a:gd name="T60" fmla="*/ 318 w 750"/>
              <a:gd name="T61" fmla="*/ 699 h 750"/>
              <a:gd name="T62" fmla="*/ 353 w 750"/>
              <a:gd name="T63" fmla="*/ 750 h 750"/>
              <a:gd name="T64" fmla="*/ 325 w 750"/>
              <a:gd name="T65" fmla="*/ 656 h 750"/>
              <a:gd name="T66" fmla="*/ 217 w 750"/>
              <a:gd name="T67" fmla="*/ 611 h 750"/>
              <a:gd name="T68" fmla="*/ 139 w 750"/>
              <a:gd name="T69" fmla="*/ 533 h 750"/>
              <a:gd name="T70" fmla="*/ 94 w 750"/>
              <a:gd name="T71" fmla="*/ 425 h 750"/>
              <a:gd name="T72" fmla="*/ 94 w 750"/>
              <a:gd name="T73" fmla="*/ 324 h 750"/>
              <a:gd name="T74" fmla="*/ 139 w 750"/>
              <a:gd name="T75" fmla="*/ 217 h 750"/>
              <a:gd name="T76" fmla="*/ 217 w 750"/>
              <a:gd name="T77" fmla="*/ 138 h 750"/>
              <a:gd name="T78" fmla="*/ 325 w 750"/>
              <a:gd name="T79" fmla="*/ 93 h 750"/>
              <a:gd name="T80" fmla="*/ 426 w 750"/>
              <a:gd name="T81" fmla="*/ 93 h 750"/>
              <a:gd name="T82" fmla="*/ 533 w 750"/>
              <a:gd name="T83" fmla="*/ 138 h 750"/>
              <a:gd name="T84" fmla="*/ 612 w 750"/>
              <a:gd name="T85" fmla="*/ 217 h 750"/>
              <a:gd name="T86" fmla="*/ 657 w 750"/>
              <a:gd name="T87" fmla="*/ 324 h 750"/>
              <a:gd name="T88" fmla="*/ 657 w 750"/>
              <a:gd name="T89" fmla="*/ 425 h 750"/>
              <a:gd name="T90" fmla="*/ 612 w 750"/>
              <a:gd name="T91" fmla="*/ 533 h 750"/>
              <a:gd name="T92" fmla="*/ 533 w 750"/>
              <a:gd name="T93" fmla="*/ 611 h 750"/>
              <a:gd name="T94" fmla="*/ 426 w 750"/>
              <a:gd name="T95" fmla="*/ 656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50" h="750">
                <a:moveTo>
                  <a:pt x="397" y="750"/>
                </a:moveTo>
                <a:cubicBezTo>
                  <a:pt x="406" y="750"/>
                  <a:pt x="414" y="743"/>
                  <a:pt x="414" y="734"/>
                </a:cubicBezTo>
                <a:cubicBezTo>
                  <a:pt x="416" y="717"/>
                  <a:pt x="416" y="717"/>
                  <a:pt x="416" y="717"/>
                </a:cubicBezTo>
                <a:cubicBezTo>
                  <a:pt x="417" y="709"/>
                  <a:pt x="424" y="701"/>
                  <a:pt x="433" y="699"/>
                </a:cubicBezTo>
                <a:cubicBezTo>
                  <a:pt x="452" y="696"/>
                  <a:pt x="470" y="691"/>
                  <a:pt x="488" y="684"/>
                </a:cubicBezTo>
                <a:cubicBezTo>
                  <a:pt x="496" y="681"/>
                  <a:pt x="507" y="684"/>
                  <a:pt x="511" y="692"/>
                </a:cubicBezTo>
                <a:cubicBezTo>
                  <a:pt x="521" y="705"/>
                  <a:pt x="521" y="705"/>
                  <a:pt x="521" y="705"/>
                </a:cubicBezTo>
                <a:cubicBezTo>
                  <a:pt x="526" y="712"/>
                  <a:pt x="536" y="715"/>
                  <a:pt x="544" y="710"/>
                </a:cubicBezTo>
                <a:cubicBezTo>
                  <a:pt x="582" y="688"/>
                  <a:pt x="582" y="688"/>
                  <a:pt x="582" y="688"/>
                </a:cubicBezTo>
                <a:cubicBezTo>
                  <a:pt x="589" y="684"/>
                  <a:pt x="592" y="674"/>
                  <a:pt x="589" y="666"/>
                </a:cubicBezTo>
                <a:cubicBezTo>
                  <a:pt x="582" y="651"/>
                  <a:pt x="582" y="651"/>
                  <a:pt x="582" y="651"/>
                </a:cubicBezTo>
                <a:cubicBezTo>
                  <a:pt x="578" y="643"/>
                  <a:pt x="581" y="633"/>
                  <a:pt x="587" y="627"/>
                </a:cubicBezTo>
                <a:cubicBezTo>
                  <a:pt x="602" y="615"/>
                  <a:pt x="615" y="601"/>
                  <a:pt x="628" y="587"/>
                </a:cubicBezTo>
                <a:cubicBezTo>
                  <a:pt x="633" y="580"/>
                  <a:pt x="644" y="577"/>
                  <a:pt x="652" y="581"/>
                </a:cubicBezTo>
                <a:cubicBezTo>
                  <a:pt x="667" y="588"/>
                  <a:pt x="667" y="588"/>
                  <a:pt x="667" y="588"/>
                </a:cubicBezTo>
                <a:cubicBezTo>
                  <a:pt x="675" y="592"/>
                  <a:pt x="685" y="589"/>
                  <a:pt x="689" y="581"/>
                </a:cubicBezTo>
                <a:cubicBezTo>
                  <a:pt x="711" y="543"/>
                  <a:pt x="711" y="543"/>
                  <a:pt x="711" y="543"/>
                </a:cubicBezTo>
                <a:cubicBezTo>
                  <a:pt x="715" y="536"/>
                  <a:pt x="713" y="525"/>
                  <a:pt x="706" y="521"/>
                </a:cubicBezTo>
                <a:cubicBezTo>
                  <a:pt x="692" y="511"/>
                  <a:pt x="692" y="511"/>
                  <a:pt x="692" y="511"/>
                </a:cubicBezTo>
                <a:cubicBezTo>
                  <a:pt x="685" y="506"/>
                  <a:pt x="682" y="495"/>
                  <a:pt x="685" y="487"/>
                </a:cubicBezTo>
                <a:cubicBezTo>
                  <a:pt x="691" y="470"/>
                  <a:pt x="696" y="451"/>
                  <a:pt x="700" y="432"/>
                </a:cubicBezTo>
                <a:cubicBezTo>
                  <a:pt x="701" y="424"/>
                  <a:pt x="709" y="416"/>
                  <a:pt x="718" y="415"/>
                </a:cubicBezTo>
                <a:cubicBezTo>
                  <a:pt x="735" y="414"/>
                  <a:pt x="735" y="414"/>
                  <a:pt x="735" y="414"/>
                </a:cubicBezTo>
                <a:cubicBezTo>
                  <a:pt x="743" y="413"/>
                  <a:pt x="750" y="405"/>
                  <a:pt x="750" y="397"/>
                </a:cubicBezTo>
                <a:cubicBezTo>
                  <a:pt x="750" y="353"/>
                  <a:pt x="750" y="353"/>
                  <a:pt x="750" y="353"/>
                </a:cubicBezTo>
                <a:cubicBezTo>
                  <a:pt x="750" y="344"/>
                  <a:pt x="743" y="336"/>
                  <a:pt x="735" y="336"/>
                </a:cubicBezTo>
                <a:cubicBezTo>
                  <a:pt x="718" y="334"/>
                  <a:pt x="718" y="334"/>
                  <a:pt x="718" y="334"/>
                </a:cubicBezTo>
                <a:cubicBezTo>
                  <a:pt x="709" y="333"/>
                  <a:pt x="701" y="326"/>
                  <a:pt x="700" y="317"/>
                </a:cubicBezTo>
                <a:cubicBezTo>
                  <a:pt x="696" y="298"/>
                  <a:pt x="691" y="280"/>
                  <a:pt x="685" y="262"/>
                </a:cubicBezTo>
                <a:cubicBezTo>
                  <a:pt x="682" y="254"/>
                  <a:pt x="685" y="243"/>
                  <a:pt x="692" y="239"/>
                </a:cubicBezTo>
                <a:cubicBezTo>
                  <a:pt x="706" y="229"/>
                  <a:pt x="706" y="229"/>
                  <a:pt x="706" y="229"/>
                </a:cubicBezTo>
                <a:cubicBezTo>
                  <a:pt x="713" y="224"/>
                  <a:pt x="715" y="214"/>
                  <a:pt x="711" y="206"/>
                </a:cubicBezTo>
                <a:cubicBezTo>
                  <a:pt x="689" y="168"/>
                  <a:pt x="689" y="168"/>
                  <a:pt x="689" y="168"/>
                </a:cubicBezTo>
                <a:cubicBezTo>
                  <a:pt x="685" y="161"/>
                  <a:pt x="675" y="158"/>
                  <a:pt x="667" y="161"/>
                </a:cubicBezTo>
                <a:cubicBezTo>
                  <a:pt x="652" y="168"/>
                  <a:pt x="652" y="168"/>
                  <a:pt x="652" y="168"/>
                </a:cubicBezTo>
                <a:cubicBezTo>
                  <a:pt x="644" y="172"/>
                  <a:pt x="633" y="169"/>
                  <a:pt x="628" y="163"/>
                </a:cubicBezTo>
                <a:cubicBezTo>
                  <a:pt x="615" y="148"/>
                  <a:pt x="602" y="135"/>
                  <a:pt x="587" y="122"/>
                </a:cubicBezTo>
                <a:cubicBezTo>
                  <a:pt x="581" y="117"/>
                  <a:pt x="578" y="106"/>
                  <a:pt x="582" y="98"/>
                </a:cubicBezTo>
                <a:cubicBezTo>
                  <a:pt x="589" y="83"/>
                  <a:pt x="589" y="83"/>
                  <a:pt x="589" y="83"/>
                </a:cubicBezTo>
                <a:cubicBezTo>
                  <a:pt x="592" y="75"/>
                  <a:pt x="589" y="65"/>
                  <a:pt x="582" y="61"/>
                </a:cubicBezTo>
                <a:cubicBezTo>
                  <a:pt x="544" y="39"/>
                  <a:pt x="544" y="39"/>
                  <a:pt x="544" y="39"/>
                </a:cubicBezTo>
                <a:cubicBezTo>
                  <a:pt x="536" y="35"/>
                  <a:pt x="526" y="37"/>
                  <a:pt x="521" y="44"/>
                </a:cubicBezTo>
                <a:cubicBezTo>
                  <a:pt x="511" y="58"/>
                  <a:pt x="511" y="58"/>
                  <a:pt x="511" y="58"/>
                </a:cubicBezTo>
                <a:cubicBezTo>
                  <a:pt x="507" y="65"/>
                  <a:pt x="496" y="68"/>
                  <a:pt x="488" y="65"/>
                </a:cubicBezTo>
                <a:cubicBezTo>
                  <a:pt x="470" y="59"/>
                  <a:pt x="452" y="54"/>
                  <a:pt x="433" y="50"/>
                </a:cubicBezTo>
                <a:cubicBezTo>
                  <a:pt x="424" y="49"/>
                  <a:pt x="417" y="41"/>
                  <a:pt x="416" y="32"/>
                </a:cubicBezTo>
                <a:cubicBezTo>
                  <a:pt x="414" y="15"/>
                  <a:pt x="414" y="15"/>
                  <a:pt x="414" y="15"/>
                </a:cubicBezTo>
                <a:cubicBezTo>
                  <a:pt x="414" y="7"/>
                  <a:pt x="406" y="0"/>
                  <a:pt x="397" y="0"/>
                </a:cubicBezTo>
                <a:cubicBezTo>
                  <a:pt x="353" y="0"/>
                  <a:pt x="353" y="0"/>
                  <a:pt x="353" y="0"/>
                </a:cubicBezTo>
                <a:cubicBezTo>
                  <a:pt x="345" y="0"/>
                  <a:pt x="337" y="7"/>
                  <a:pt x="336" y="15"/>
                </a:cubicBezTo>
                <a:cubicBezTo>
                  <a:pt x="335" y="32"/>
                  <a:pt x="335" y="32"/>
                  <a:pt x="335" y="32"/>
                </a:cubicBezTo>
                <a:cubicBezTo>
                  <a:pt x="334" y="41"/>
                  <a:pt x="326" y="49"/>
                  <a:pt x="318" y="50"/>
                </a:cubicBezTo>
                <a:cubicBezTo>
                  <a:pt x="299" y="54"/>
                  <a:pt x="280" y="59"/>
                  <a:pt x="263" y="65"/>
                </a:cubicBezTo>
                <a:cubicBezTo>
                  <a:pt x="255" y="68"/>
                  <a:pt x="244" y="65"/>
                  <a:pt x="239" y="58"/>
                </a:cubicBezTo>
                <a:cubicBezTo>
                  <a:pt x="229" y="44"/>
                  <a:pt x="229" y="44"/>
                  <a:pt x="229" y="44"/>
                </a:cubicBezTo>
                <a:cubicBezTo>
                  <a:pt x="225" y="37"/>
                  <a:pt x="214" y="35"/>
                  <a:pt x="207" y="39"/>
                </a:cubicBezTo>
                <a:cubicBezTo>
                  <a:pt x="169" y="61"/>
                  <a:pt x="169" y="61"/>
                  <a:pt x="169" y="61"/>
                </a:cubicBezTo>
                <a:cubicBezTo>
                  <a:pt x="161" y="65"/>
                  <a:pt x="158" y="75"/>
                  <a:pt x="162" y="83"/>
                </a:cubicBezTo>
                <a:cubicBezTo>
                  <a:pt x="169" y="98"/>
                  <a:pt x="169" y="98"/>
                  <a:pt x="169" y="98"/>
                </a:cubicBezTo>
                <a:cubicBezTo>
                  <a:pt x="173" y="106"/>
                  <a:pt x="170" y="117"/>
                  <a:pt x="163" y="122"/>
                </a:cubicBezTo>
                <a:cubicBezTo>
                  <a:pt x="149" y="135"/>
                  <a:pt x="135" y="148"/>
                  <a:pt x="123" y="163"/>
                </a:cubicBezTo>
                <a:cubicBezTo>
                  <a:pt x="117" y="169"/>
                  <a:pt x="107" y="172"/>
                  <a:pt x="99" y="168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76" y="158"/>
                  <a:pt x="66" y="161"/>
                  <a:pt x="62" y="168"/>
                </a:cubicBezTo>
                <a:cubicBezTo>
                  <a:pt x="40" y="206"/>
                  <a:pt x="40" y="206"/>
                  <a:pt x="40" y="206"/>
                </a:cubicBezTo>
                <a:cubicBezTo>
                  <a:pt x="35" y="214"/>
                  <a:pt x="38" y="224"/>
                  <a:pt x="45" y="229"/>
                </a:cubicBezTo>
                <a:cubicBezTo>
                  <a:pt x="58" y="238"/>
                  <a:pt x="58" y="238"/>
                  <a:pt x="58" y="238"/>
                </a:cubicBezTo>
                <a:cubicBezTo>
                  <a:pt x="66" y="243"/>
                  <a:pt x="69" y="254"/>
                  <a:pt x="66" y="262"/>
                </a:cubicBezTo>
                <a:cubicBezTo>
                  <a:pt x="59" y="280"/>
                  <a:pt x="54" y="298"/>
                  <a:pt x="51" y="317"/>
                </a:cubicBezTo>
                <a:cubicBezTo>
                  <a:pt x="49" y="326"/>
                  <a:pt x="41" y="333"/>
                  <a:pt x="33" y="334"/>
                </a:cubicBezTo>
                <a:cubicBezTo>
                  <a:pt x="16" y="336"/>
                  <a:pt x="16" y="336"/>
                  <a:pt x="16" y="336"/>
                </a:cubicBezTo>
                <a:cubicBezTo>
                  <a:pt x="7" y="336"/>
                  <a:pt x="0" y="344"/>
                  <a:pt x="0" y="353"/>
                </a:cubicBezTo>
                <a:cubicBezTo>
                  <a:pt x="0" y="397"/>
                  <a:pt x="0" y="397"/>
                  <a:pt x="0" y="397"/>
                </a:cubicBezTo>
                <a:cubicBezTo>
                  <a:pt x="0" y="405"/>
                  <a:pt x="7" y="413"/>
                  <a:pt x="16" y="414"/>
                </a:cubicBezTo>
                <a:cubicBezTo>
                  <a:pt x="33" y="415"/>
                  <a:pt x="33" y="415"/>
                  <a:pt x="33" y="415"/>
                </a:cubicBezTo>
                <a:cubicBezTo>
                  <a:pt x="41" y="416"/>
                  <a:pt x="49" y="424"/>
                  <a:pt x="51" y="432"/>
                </a:cubicBezTo>
                <a:cubicBezTo>
                  <a:pt x="54" y="451"/>
                  <a:pt x="59" y="470"/>
                  <a:pt x="66" y="487"/>
                </a:cubicBezTo>
                <a:cubicBezTo>
                  <a:pt x="69" y="495"/>
                  <a:pt x="66" y="506"/>
                  <a:pt x="58" y="511"/>
                </a:cubicBezTo>
                <a:cubicBezTo>
                  <a:pt x="45" y="520"/>
                  <a:pt x="45" y="520"/>
                  <a:pt x="45" y="520"/>
                </a:cubicBezTo>
                <a:cubicBezTo>
                  <a:pt x="38" y="525"/>
                  <a:pt x="35" y="536"/>
                  <a:pt x="40" y="543"/>
                </a:cubicBezTo>
                <a:cubicBezTo>
                  <a:pt x="62" y="581"/>
                  <a:pt x="62" y="581"/>
                  <a:pt x="62" y="581"/>
                </a:cubicBezTo>
                <a:cubicBezTo>
                  <a:pt x="66" y="589"/>
                  <a:pt x="76" y="592"/>
                  <a:pt x="84" y="588"/>
                </a:cubicBezTo>
                <a:cubicBezTo>
                  <a:pt x="99" y="581"/>
                  <a:pt x="99" y="581"/>
                  <a:pt x="99" y="581"/>
                </a:cubicBezTo>
                <a:cubicBezTo>
                  <a:pt x="107" y="577"/>
                  <a:pt x="117" y="580"/>
                  <a:pt x="123" y="587"/>
                </a:cubicBezTo>
                <a:cubicBezTo>
                  <a:pt x="135" y="601"/>
                  <a:pt x="149" y="615"/>
                  <a:pt x="163" y="627"/>
                </a:cubicBezTo>
                <a:cubicBezTo>
                  <a:pt x="170" y="633"/>
                  <a:pt x="173" y="643"/>
                  <a:pt x="169" y="651"/>
                </a:cubicBezTo>
                <a:cubicBezTo>
                  <a:pt x="162" y="666"/>
                  <a:pt x="162" y="666"/>
                  <a:pt x="162" y="666"/>
                </a:cubicBezTo>
                <a:cubicBezTo>
                  <a:pt x="158" y="674"/>
                  <a:pt x="161" y="684"/>
                  <a:pt x="169" y="688"/>
                </a:cubicBezTo>
                <a:cubicBezTo>
                  <a:pt x="207" y="710"/>
                  <a:pt x="207" y="710"/>
                  <a:pt x="207" y="710"/>
                </a:cubicBezTo>
                <a:cubicBezTo>
                  <a:pt x="214" y="715"/>
                  <a:pt x="225" y="712"/>
                  <a:pt x="229" y="705"/>
                </a:cubicBezTo>
                <a:cubicBezTo>
                  <a:pt x="239" y="692"/>
                  <a:pt x="239" y="692"/>
                  <a:pt x="239" y="692"/>
                </a:cubicBezTo>
                <a:cubicBezTo>
                  <a:pt x="244" y="684"/>
                  <a:pt x="255" y="681"/>
                  <a:pt x="263" y="684"/>
                </a:cubicBezTo>
                <a:cubicBezTo>
                  <a:pt x="280" y="691"/>
                  <a:pt x="299" y="696"/>
                  <a:pt x="318" y="699"/>
                </a:cubicBezTo>
                <a:cubicBezTo>
                  <a:pt x="326" y="701"/>
                  <a:pt x="334" y="709"/>
                  <a:pt x="335" y="717"/>
                </a:cubicBezTo>
                <a:cubicBezTo>
                  <a:pt x="336" y="734"/>
                  <a:pt x="336" y="734"/>
                  <a:pt x="336" y="734"/>
                </a:cubicBezTo>
                <a:cubicBezTo>
                  <a:pt x="337" y="743"/>
                  <a:pt x="345" y="750"/>
                  <a:pt x="353" y="750"/>
                </a:cubicBezTo>
                <a:lnTo>
                  <a:pt x="397" y="750"/>
                </a:lnTo>
                <a:close/>
                <a:moveTo>
                  <a:pt x="356" y="659"/>
                </a:moveTo>
                <a:cubicBezTo>
                  <a:pt x="347" y="659"/>
                  <a:pt x="333" y="658"/>
                  <a:pt x="325" y="656"/>
                </a:cubicBezTo>
                <a:cubicBezTo>
                  <a:pt x="309" y="653"/>
                  <a:pt x="293" y="649"/>
                  <a:pt x="278" y="644"/>
                </a:cubicBezTo>
                <a:cubicBezTo>
                  <a:pt x="270" y="641"/>
                  <a:pt x="257" y="634"/>
                  <a:pt x="250" y="630"/>
                </a:cubicBezTo>
                <a:cubicBezTo>
                  <a:pt x="217" y="611"/>
                  <a:pt x="217" y="611"/>
                  <a:pt x="217" y="611"/>
                </a:cubicBezTo>
                <a:cubicBezTo>
                  <a:pt x="210" y="607"/>
                  <a:pt x="198" y="599"/>
                  <a:pt x="192" y="594"/>
                </a:cubicBezTo>
                <a:cubicBezTo>
                  <a:pt x="179" y="583"/>
                  <a:pt x="167" y="571"/>
                  <a:pt x="156" y="558"/>
                </a:cubicBezTo>
                <a:cubicBezTo>
                  <a:pt x="151" y="552"/>
                  <a:pt x="143" y="540"/>
                  <a:pt x="139" y="533"/>
                </a:cubicBezTo>
                <a:cubicBezTo>
                  <a:pt x="120" y="500"/>
                  <a:pt x="120" y="500"/>
                  <a:pt x="120" y="500"/>
                </a:cubicBezTo>
                <a:cubicBezTo>
                  <a:pt x="115" y="493"/>
                  <a:pt x="109" y="480"/>
                  <a:pt x="106" y="472"/>
                </a:cubicBezTo>
                <a:cubicBezTo>
                  <a:pt x="101" y="457"/>
                  <a:pt x="97" y="441"/>
                  <a:pt x="94" y="425"/>
                </a:cubicBezTo>
                <a:cubicBezTo>
                  <a:pt x="92" y="417"/>
                  <a:pt x="91" y="403"/>
                  <a:pt x="91" y="394"/>
                </a:cubicBezTo>
                <a:cubicBezTo>
                  <a:pt x="91" y="355"/>
                  <a:pt x="91" y="355"/>
                  <a:pt x="91" y="355"/>
                </a:cubicBezTo>
                <a:cubicBezTo>
                  <a:pt x="91" y="346"/>
                  <a:pt x="92" y="332"/>
                  <a:pt x="94" y="324"/>
                </a:cubicBezTo>
                <a:cubicBezTo>
                  <a:pt x="96" y="308"/>
                  <a:pt x="101" y="293"/>
                  <a:pt x="106" y="278"/>
                </a:cubicBezTo>
                <a:cubicBezTo>
                  <a:pt x="109" y="269"/>
                  <a:pt x="115" y="257"/>
                  <a:pt x="120" y="249"/>
                </a:cubicBezTo>
                <a:cubicBezTo>
                  <a:pt x="139" y="217"/>
                  <a:pt x="139" y="217"/>
                  <a:pt x="139" y="217"/>
                </a:cubicBezTo>
                <a:cubicBezTo>
                  <a:pt x="143" y="209"/>
                  <a:pt x="151" y="198"/>
                  <a:pt x="156" y="191"/>
                </a:cubicBezTo>
                <a:cubicBezTo>
                  <a:pt x="167" y="178"/>
                  <a:pt x="179" y="166"/>
                  <a:pt x="191" y="156"/>
                </a:cubicBezTo>
                <a:cubicBezTo>
                  <a:pt x="198" y="150"/>
                  <a:pt x="210" y="142"/>
                  <a:pt x="217" y="138"/>
                </a:cubicBezTo>
                <a:cubicBezTo>
                  <a:pt x="250" y="119"/>
                  <a:pt x="250" y="119"/>
                  <a:pt x="250" y="119"/>
                </a:cubicBezTo>
                <a:cubicBezTo>
                  <a:pt x="257" y="115"/>
                  <a:pt x="270" y="109"/>
                  <a:pt x="278" y="106"/>
                </a:cubicBezTo>
                <a:cubicBezTo>
                  <a:pt x="293" y="100"/>
                  <a:pt x="309" y="96"/>
                  <a:pt x="325" y="93"/>
                </a:cubicBezTo>
                <a:cubicBezTo>
                  <a:pt x="333" y="92"/>
                  <a:pt x="347" y="91"/>
                  <a:pt x="356" y="91"/>
                </a:cubicBezTo>
                <a:cubicBezTo>
                  <a:pt x="395" y="91"/>
                  <a:pt x="395" y="91"/>
                  <a:pt x="395" y="91"/>
                </a:cubicBezTo>
                <a:cubicBezTo>
                  <a:pt x="403" y="91"/>
                  <a:pt x="417" y="91"/>
                  <a:pt x="426" y="93"/>
                </a:cubicBezTo>
                <a:cubicBezTo>
                  <a:pt x="442" y="96"/>
                  <a:pt x="457" y="100"/>
                  <a:pt x="472" y="106"/>
                </a:cubicBezTo>
                <a:cubicBezTo>
                  <a:pt x="481" y="108"/>
                  <a:pt x="493" y="115"/>
                  <a:pt x="501" y="119"/>
                </a:cubicBezTo>
                <a:cubicBezTo>
                  <a:pt x="533" y="138"/>
                  <a:pt x="533" y="138"/>
                  <a:pt x="533" y="138"/>
                </a:cubicBezTo>
                <a:cubicBezTo>
                  <a:pt x="541" y="142"/>
                  <a:pt x="552" y="150"/>
                  <a:pt x="559" y="155"/>
                </a:cubicBezTo>
                <a:cubicBezTo>
                  <a:pt x="572" y="166"/>
                  <a:pt x="584" y="178"/>
                  <a:pt x="594" y="191"/>
                </a:cubicBezTo>
                <a:cubicBezTo>
                  <a:pt x="600" y="198"/>
                  <a:pt x="608" y="209"/>
                  <a:pt x="612" y="217"/>
                </a:cubicBezTo>
                <a:cubicBezTo>
                  <a:pt x="631" y="249"/>
                  <a:pt x="631" y="249"/>
                  <a:pt x="631" y="249"/>
                </a:cubicBezTo>
                <a:cubicBezTo>
                  <a:pt x="635" y="257"/>
                  <a:pt x="642" y="269"/>
                  <a:pt x="645" y="278"/>
                </a:cubicBezTo>
                <a:cubicBezTo>
                  <a:pt x="650" y="293"/>
                  <a:pt x="654" y="308"/>
                  <a:pt x="657" y="324"/>
                </a:cubicBezTo>
                <a:cubicBezTo>
                  <a:pt x="659" y="333"/>
                  <a:pt x="659" y="347"/>
                  <a:pt x="659" y="355"/>
                </a:cubicBezTo>
                <a:cubicBezTo>
                  <a:pt x="659" y="394"/>
                  <a:pt x="659" y="394"/>
                  <a:pt x="659" y="394"/>
                </a:cubicBezTo>
                <a:cubicBezTo>
                  <a:pt x="659" y="403"/>
                  <a:pt x="659" y="417"/>
                  <a:pt x="657" y="425"/>
                </a:cubicBezTo>
                <a:cubicBezTo>
                  <a:pt x="654" y="441"/>
                  <a:pt x="650" y="457"/>
                  <a:pt x="644" y="472"/>
                </a:cubicBezTo>
                <a:cubicBezTo>
                  <a:pt x="642" y="480"/>
                  <a:pt x="635" y="493"/>
                  <a:pt x="631" y="500"/>
                </a:cubicBezTo>
                <a:cubicBezTo>
                  <a:pt x="612" y="533"/>
                  <a:pt x="612" y="533"/>
                  <a:pt x="612" y="533"/>
                </a:cubicBezTo>
                <a:cubicBezTo>
                  <a:pt x="608" y="540"/>
                  <a:pt x="600" y="552"/>
                  <a:pt x="594" y="558"/>
                </a:cubicBezTo>
                <a:cubicBezTo>
                  <a:pt x="584" y="571"/>
                  <a:pt x="572" y="583"/>
                  <a:pt x="559" y="594"/>
                </a:cubicBezTo>
                <a:cubicBezTo>
                  <a:pt x="552" y="599"/>
                  <a:pt x="541" y="607"/>
                  <a:pt x="533" y="611"/>
                </a:cubicBezTo>
                <a:cubicBezTo>
                  <a:pt x="501" y="630"/>
                  <a:pt x="501" y="630"/>
                  <a:pt x="501" y="630"/>
                </a:cubicBezTo>
                <a:cubicBezTo>
                  <a:pt x="493" y="635"/>
                  <a:pt x="481" y="641"/>
                  <a:pt x="473" y="644"/>
                </a:cubicBezTo>
                <a:cubicBezTo>
                  <a:pt x="458" y="649"/>
                  <a:pt x="442" y="653"/>
                  <a:pt x="426" y="656"/>
                </a:cubicBezTo>
                <a:cubicBezTo>
                  <a:pt x="417" y="658"/>
                  <a:pt x="403" y="659"/>
                  <a:pt x="395" y="659"/>
                </a:cubicBezTo>
                <a:lnTo>
                  <a:pt x="356" y="6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9" name="Freeform 38"/>
          <p:cNvSpPr>
            <a:spLocks noEditPoints="1"/>
          </p:cNvSpPr>
          <p:nvPr/>
        </p:nvSpPr>
        <p:spPr bwMode="auto">
          <a:xfrm>
            <a:off x="11694326" y="7681384"/>
            <a:ext cx="2928056" cy="2935836"/>
          </a:xfrm>
          <a:custGeom>
            <a:avLst/>
            <a:gdLst>
              <a:gd name="T0" fmla="*/ 393 w 564"/>
              <a:gd name="T1" fmla="*/ 546 h 564"/>
              <a:gd name="T2" fmla="*/ 395 w 564"/>
              <a:gd name="T3" fmla="*/ 503 h 564"/>
              <a:gd name="T4" fmla="*/ 461 w 564"/>
              <a:gd name="T5" fmla="*/ 438 h 564"/>
              <a:gd name="T6" fmla="*/ 505 w 564"/>
              <a:gd name="T7" fmla="*/ 445 h 564"/>
              <a:gd name="T8" fmla="*/ 547 w 564"/>
              <a:gd name="T9" fmla="*/ 390 h 564"/>
              <a:gd name="T10" fmla="*/ 518 w 564"/>
              <a:gd name="T11" fmla="*/ 358 h 564"/>
              <a:gd name="T12" fmla="*/ 518 w 564"/>
              <a:gd name="T13" fmla="*/ 266 h 564"/>
              <a:gd name="T14" fmla="*/ 555 w 564"/>
              <a:gd name="T15" fmla="*/ 240 h 564"/>
              <a:gd name="T16" fmla="*/ 545 w 564"/>
              <a:gd name="T17" fmla="*/ 171 h 564"/>
              <a:gd name="T18" fmla="*/ 502 w 564"/>
              <a:gd name="T19" fmla="*/ 169 h 564"/>
              <a:gd name="T20" fmla="*/ 438 w 564"/>
              <a:gd name="T21" fmla="*/ 104 h 564"/>
              <a:gd name="T22" fmla="*/ 445 w 564"/>
              <a:gd name="T23" fmla="*/ 59 h 564"/>
              <a:gd name="T24" fmla="*/ 389 w 564"/>
              <a:gd name="T25" fmla="*/ 17 h 564"/>
              <a:gd name="T26" fmla="*/ 358 w 564"/>
              <a:gd name="T27" fmla="*/ 46 h 564"/>
              <a:gd name="T28" fmla="*/ 266 w 564"/>
              <a:gd name="T29" fmla="*/ 46 h 564"/>
              <a:gd name="T30" fmla="*/ 239 w 564"/>
              <a:gd name="T31" fmla="*/ 9 h 564"/>
              <a:gd name="T32" fmla="*/ 171 w 564"/>
              <a:gd name="T33" fmla="*/ 19 h 564"/>
              <a:gd name="T34" fmla="*/ 169 w 564"/>
              <a:gd name="T35" fmla="*/ 62 h 564"/>
              <a:gd name="T36" fmla="*/ 103 w 564"/>
              <a:gd name="T37" fmla="*/ 126 h 564"/>
              <a:gd name="T38" fmla="*/ 59 w 564"/>
              <a:gd name="T39" fmla="*/ 119 h 564"/>
              <a:gd name="T40" fmla="*/ 17 w 564"/>
              <a:gd name="T41" fmla="*/ 175 h 564"/>
              <a:gd name="T42" fmla="*/ 46 w 564"/>
              <a:gd name="T43" fmla="*/ 207 h 564"/>
              <a:gd name="T44" fmla="*/ 45 w 564"/>
              <a:gd name="T45" fmla="*/ 298 h 564"/>
              <a:gd name="T46" fmla="*/ 9 w 564"/>
              <a:gd name="T47" fmla="*/ 325 h 564"/>
              <a:gd name="T48" fmla="*/ 19 w 564"/>
              <a:gd name="T49" fmla="*/ 394 h 564"/>
              <a:gd name="T50" fmla="*/ 61 w 564"/>
              <a:gd name="T51" fmla="*/ 396 h 564"/>
              <a:gd name="T52" fmla="*/ 126 w 564"/>
              <a:gd name="T53" fmla="*/ 461 h 564"/>
              <a:gd name="T54" fmla="*/ 119 w 564"/>
              <a:gd name="T55" fmla="*/ 505 h 564"/>
              <a:gd name="T56" fmla="*/ 174 w 564"/>
              <a:gd name="T57" fmla="*/ 547 h 564"/>
              <a:gd name="T58" fmla="*/ 206 w 564"/>
              <a:gd name="T59" fmla="*/ 518 h 564"/>
              <a:gd name="T60" fmla="*/ 298 w 564"/>
              <a:gd name="T61" fmla="*/ 519 h 564"/>
              <a:gd name="T62" fmla="*/ 324 w 564"/>
              <a:gd name="T63" fmla="*/ 555 h 564"/>
              <a:gd name="T64" fmla="*/ 228 w 564"/>
              <a:gd name="T65" fmla="*/ 109 h 564"/>
              <a:gd name="T66" fmla="*/ 336 w 564"/>
              <a:gd name="T67" fmla="*/ 455 h 564"/>
              <a:gd name="T68" fmla="*/ 228 w 564"/>
              <a:gd name="T69" fmla="*/ 109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64" h="564">
                <a:moveTo>
                  <a:pt x="340" y="562"/>
                </a:moveTo>
                <a:cubicBezTo>
                  <a:pt x="393" y="546"/>
                  <a:pt x="393" y="546"/>
                  <a:pt x="393" y="546"/>
                </a:cubicBezTo>
                <a:cubicBezTo>
                  <a:pt x="399" y="544"/>
                  <a:pt x="403" y="537"/>
                  <a:pt x="402" y="531"/>
                </a:cubicBezTo>
                <a:cubicBezTo>
                  <a:pt x="395" y="503"/>
                  <a:pt x="395" y="503"/>
                  <a:pt x="395" y="503"/>
                </a:cubicBezTo>
                <a:cubicBezTo>
                  <a:pt x="394" y="497"/>
                  <a:pt x="397" y="489"/>
                  <a:pt x="403" y="486"/>
                </a:cubicBezTo>
                <a:cubicBezTo>
                  <a:pt x="425" y="473"/>
                  <a:pt x="444" y="457"/>
                  <a:pt x="461" y="438"/>
                </a:cubicBezTo>
                <a:cubicBezTo>
                  <a:pt x="465" y="433"/>
                  <a:pt x="472" y="431"/>
                  <a:pt x="478" y="434"/>
                </a:cubicBezTo>
                <a:cubicBezTo>
                  <a:pt x="505" y="445"/>
                  <a:pt x="505" y="445"/>
                  <a:pt x="505" y="445"/>
                </a:cubicBezTo>
                <a:cubicBezTo>
                  <a:pt x="511" y="448"/>
                  <a:pt x="518" y="445"/>
                  <a:pt x="521" y="440"/>
                </a:cubicBezTo>
                <a:cubicBezTo>
                  <a:pt x="547" y="390"/>
                  <a:pt x="547" y="390"/>
                  <a:pt x="547" y="390"/>
                </a:cubicBezTo>
                <a:cubicBezTo>
                  <a:pt x="550" y="384"/>
                  <a:pt x="548" y="377"/>
                  <a:pt x="543" y="374"/>
                </a:cubicBezTo>
                <a:cubicBezTo>
                  <a:pt x="518" y="358"/>
                  <a:pt x="518" y="358"/>
                  <a:pt x="518" y="358"/>
                </a:cubicBezTo>
                <a:cubicBezTo>
                  <a:pt x="513" y="355"/>
                  <a:pt x="510" y="347"/>
                  <a:pt x="512" y="341"/>
                </a:cubicBezTo>
                <a:cubicBezTo>
                  <a:pt x="518" y="317"/>
                  <a:pt x="520" y="292"/>
                  <a:pt x="518" y="266"/>
                </a:cubicBezTo>
                <a:cubicBezTo>
                  <a:pt x="518" y="260"/>
                  <a:pt x="522" y="253"/>
                  <a:pt x="528" y="251"/>
                </a:cubicBezTo>
                <a:cubicBezTo>
                  <a:pt x="555" y="240"/>
                  <a:pt x="555" y="240"/>
                  <a:pt x="555" y="240"/>
                </a:cubicBezTo>
                <a:cubicBezTo>
                  <a:pt x="561" y="237"/>
                  <a:pt x="564" y="231"/>
                  <a:pt x="562" y="225"/>
                </a:cubicBezTo>
                <a:cubicBezTo>
                  <a:pt x="545" y="171"/>
                  <a:pt x="545" y="171"/>
                  <a:pt x="545" y="171"/>
                </a:cubicBezTo>
                <a:cubicBezTo>
                  <a:pt x="543" y="165"/>
                  <a:pt x="537" y="161"/>
                  <a:pt x="531" y="163"/>
                </a:cubicBezTo>
                <a:cubicBezTo>
                  <a:pt x="502" y="169"/>
                  <a:pt x="502" y="169"/>
                  <a:pt x="502" y="169"/>
                </a:cubicBezTo>
                <a:cubicBezTo>
                  <a:pt x="496" y="170"/>
                  <a:pt x="489" y="167"/>
                  <a:pt x="486" y="162"/>
                </a:cubicBezTo>
                <a:cubicBezTo>
                  <a:pt x="473" y="140"/>
                  <a:pt x="457" y="120"/>
                  <a:pt x="438" y="104"/>
                </a:cubicBezTo>
                <a:cubicBezTo>
                  <a:pt x="433" y="100"/>
                  <a:pt x="431" y="92"/>
                  <a:pt x="433" y="86"/>
                </a:cubicBezTo>
                <a:cubicBezTo>
                  <a:pt x="445" y="59"/>
                  <a:pt x="445" y="59"/>
                  <a:pt x="445" y="59"/>
                </a:cubicBezTo>
                <a:cubicBezTo>
                  <a:pt x="447" y="54"/>
                  <a:pt x="445" y="47"/>
                  <a:pt x="439" y="44"/>
                </a:cubicBezTo>
                <a:cubicBezTo>
                  <a:pt x="389" y="17"/>
                  <a:pt x="389" y="17"/>
                  <a:pt x="389" y="17"/>
                </a:cubicBezTo>
                <a:cubicBezTo>
                  <a:pt x="384" y="15"/>
                  <a:pt x="377" y="16"/>
                  <a:pt x="373" y="22"/>
                </a:cubicBezTo>
                <a:cubicBezTo>
                  <a:pt x="358" y="46"/>
                  <a:pt x="358" y="46"/>
                  <a:pt x="358" y="46"/>
                </a:cubicBezTo>
                <a:cubicBezTo>
                  <a:pt x="354" y="52"/>
                  <a:pt x="347" y="54"/>
                  <a:pt x="341" y="53"/>
                </a:cubicBezTo>
                <a:cubicBezTo>
                  <a:pt x="317" y="46"/>
                  <a:pt x="291" y="44"/>
                  <a:pt x="266" y="46"/>
                </a:cubicBezTo>
                <a:cubicBezTo>
                  <a:pt x="260" y="46"/>
                  <a:pt x="253" y="42"/>
                  <a:pt x="250" y="36"/>
                </a:cubicBezTo>
                <a:cubicBezTo>
                  <a:pt x="239" y="9"/>
                  <a:pt x="239" y="9"/>
                  <a:pt x="239" y="9"/>
                </a:cubicBezTo>
                <a:cubicBezTo>
                  <a:pt x="237" y="4"/>
                  <a:pt x="230" y="0"/>
                  <a:pt x="224" y="2"/>
                </a:cubicBezTo>
                <a:cubicBezTo>
                  <a:pt x="171" y="19"/>
                  <a:pt x="171" y="19"/>
                  <a:pt x="171" y="19"/>
                </a:cubicBezTo>
                <a:cubicBezTo>
                  <a:pt x="165" y="21"/>
                  <a:pt x="161" y="27"/>
                  <a:pt x="162" y="33"/>
                </a:cubicBezTo>
                <a:cubicBezTo>
                  <a:pt x="169" y="62"/>
                  <a:pt x="169" y="62"/>
                  <a:pt x="169" y="62"/>
                </a:cubicBezTo>
                <a:cubicBezTo>
                  <a:pt x="170" y="68"/>
                  <a:pt x="167" y="75"/>
                  <a:pt x="161" y="78"/>
                </a:cubicBezTo>
                <a:cubicBezTo>
                  <a:pt x="139" y="91"/>
                  <a:pt x="120" y="108"/>
                  <a:pt x="103" y="126"/>
                </a:cubicBezTo>
                <a:cubicBezTo>
                  <a:pt x="99" y="131"/>
                  <a:pt x="91" y="133"/>
                  <a:pt x="86" y="131"/>
                </a:cubicBezTo>
                <a:cubicBezTo>
                  <a:pt x="59" y="119"/>
                  <a:pt x="59" y="119"/>
                  <a:pt x="59" y="119"/>
                </a:cubicBezTo>
                <a:cubicBezTo>
                  <a:pt x="53" y="117"/>
                  <a:pt x="46" y="120"/>
                  <a:pt x="43" y="125"/>
                </a:cubicBezTo>
                <a:cubicBezTo>
                  <a:pt x="17" y="175"/>
                  <a:pt x="17" y="175"/>
                  <a:pt x="17" y="175"/>
                </a:cubicBezTo>
                <a:cubicBezTo>
                  <a:pt x="14" y="180"/>
                  <a:pt x="16" y="188"/>
                  <a:pt x="21" y="191"/>
                </a:cubicBezTo>
                <a:cubicBezTo>
                  <a:pt x="46" y="207"/>
                  <a:pt x="46" y="207"/>
                  <a:pt x="46" y="207"/>
                </a:cubicBezTo>
                <a:cubicBezTo>
                  <a:pt x="51" y="210"/>
                  <a:pt x="54" y="217"/>
                  <a:pt x="52" y="223"/>
                </a:cubicBezTo>
                <a:cubicBezTo>
                  <a:pt x="46" y="248"/>
                  <a:pt x="44" y="273"/>
                  <a:pt x="45" y="298"/>
                </a:cubicBezTo>
                <a:cubicBezTo>
                  <a:pt x="46" y="305"/>
                  <a:pt x="42" y="312"/>
                  <a:pt x="36" y="314"/>
                </a:cubicBezTo>
                <a:cubicBezTo>
                  <a:pt x="9" y="325"/>
                  <a:pt x="9" y="325"/>
                  <a:pt x="9" y="325"/>
                </a:cubicBezTo>
                <a:cubicBezTo>
                  <a:pt x="3" y="327"/>
                  <a:pt x="0" y="334"/>
                  <a:pt x="2" y="340"/>
                </a:cubicBezTo>
                <a:cubicBezTo>
                  <a:pt x="19" y="394"/>
                  <a:pt x="19" y="394"/>
                  <a:pt x="19" y="394"/>
                </a:cubicBezTo>
                <a:cubicBezTo>
                  <a:pt x="20" y="400"/>
                  <a:pt x="27" y="403"/>
                  <a:pt x="33" y="402"/>
                </a:cubicBezTo>
                <a:cubicBezTo>
                  <a:pt x="61" y="396"/>
                  <a:pt x="61" y="396"/>
                  <a:pt x="61" y="396"/>
                </a:cubicBezTo>
                <a:cubicBezTo>
                  <a:pt x="68" y="394"/>
                  <a:pt x="75" y="398"/>
                  <a:pt x="78" y="403"/>
                </a:cubicBezTo>
                <a:cubicBezTo>
                  <a:pt x="91" y="425"/>
                  <a:pt x="107" y="445"/>
                  <a:pt x="126" y="461"/>
                </a:cubicBezTo>
                <a:cubicBezTo>
                  <a:pt x="131" y="465"/>
                  <a:pt x="133" y="473"/>
                  <a:pt x="130" y="479"/>
                </a:cubicBezTo>
                <a:cubicBezTo>
                  <a:pt x="119" y="505"/>
                  <a:pt x="119" y="505"/>
                  <a:pt x="119" y="505"/>
                </a:cubicBezTo>
                <a:cubicBezTo>
                  <a:pt x="117" y="511"/>
                  <a:pt x="119" y="518"/>
                  <a:pt x="125" y="521"/>
                </a:cubicBezTo>
                <a:cubicBezTo>
                  <a:pt x="174" y="547"/>
                  <a:pt x="174" y="547"/>
                  <a:pt x="174" y="547"/>
                </a:cubicBezTo>
                <a:cubicBezTo>
                  <a:pt x="180" y="550"/>
                  <a:pt x="187" y="548"/>
                  <a:pt x="191" y="543"/>
                </a:cubicBezTo>
                <a:cubicBezTo>
                  <a:pt x="206" y="518"/>
                  <a:pt x="206" y="518"/>
                  <a:pt x="206" y="518"/>
                </a:cubicBezTo>
                <a:cubicBezTo>
                  <a:pt x="210" y="513"/>
                  <a:pt x="217" y="510"/>
                  <a:pt x="223" y="512"/>
                </a:cubicBezTo>
                <a:cubicBezTo>
                  <a:pt x="247" y="518"/>
                  <a:pt x="272" y="521"/>
                  <a:pt x="298" y="519"/>
                </a:cubicBezTo>
                <a:cubicBezTo>
                  <a:pt x="304" y="518"/>
                  <a:pt x="311" y="522"/>
                  <a:pt x="314" y="528"/>
                </a:cubicBezTo>
                <a:cubicBezTo>
                  <a:pt x="324" y="555"/>
                  <a:pt x="324" y="555"/>
                  <a:pt x="324" y="555"/>
                </a:cubicBezTo>
                <a:cubicBezTo>
                  <a:pt x="327" y="561"/>
                  <a:pt x="334" y="564"/>
                  <a:pt x="340" y="562"/>
                </a:cubicBezTo>
                <a:close/>
                <a:moveTo>
                  <a:pt x="228" y="109"/>
                </a:moveTo>
                <a:cubicBezTo>
                  <a:pt x="324" y="80"/>
                  <a:pt x="425" y="133"/>
                  <a:pt x="455" y="229"/>
                </a:cubicBezTo>
                <a:cubicBezTo>
                  <a:pt x="485" y="324"/>
                  <a:pt x="431" y="426"/>
                  <a:pt x="336" y="455"/>
                </a:cubicBezTo>
                <a:cubicBezTo>
                  <a:pt x="240" y="485"/>
                  <a:pt x="138" y="432"/>
                  <a:pt x="109" y="336"/>
                </a:cubicBezTo>
                <a:cubicBezTo>
                  <a:pt x="79" y="241"/>
                  <a:pt x="133" y="139"/>
                  <a:pt x="228" y="10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0" name="Freeform 39"/>
          <p:cNvSpPr>
            <a:spLocks noEditPoints="1"/>
          </p:cNvSpPr>
          <p:nvPr/>
        </p:nvSpPr>
        <p:spPr bwMode="auto">
          <a:xfrm>
            <a:off x="7428026" y="5137169"/>
            <a:ext cx="4759064" cy="4772030"/>
          </a:xfrm>
          <a:custGeom>
            <a:avLst/>
            <a:gdLst>
              <a:gd name="T0" fmla="*/ 430 w 917"/>
              <a:gd name="T1" fmla="*/ 900 h 917"/>
              <a:gd name="T2" fmla="*/ 459 w 917"/>
              <a:gd name="T3" fmla="*/ 862 h 917"/>
              <a:gd name="T4" fmla="*/ 556 w 917"/>
              <a:gd name="T5" fmla="*/ 869 h 917"/>
              <a:gd name="T6" fmla="*/ 591 w 917"/>
              <a:gd name="T7" fmla="*/ 899 h 917"/>
              <a:gd name="T8" fmla="*/ 655 w 917"/>
              <a:gd name="T9" fmla="*/ 855 h 917"/>
              <a:gd name="T10" fmla="*/ 661 w 917"/>
              <a:gd name="T11" fmla="*/ 807 h 917"/>
              <a:gd name="T12" fmla="*/ 748 w 917"/>
              <a:gd name="T13" fmla="*/ 766 h 917"/>
              <a:gd name="T14" fmla="*/ 793 w 917"/>
              <a:gd name="T15" fmla="*/ 774 h 917"/>
              <a:gd name="T16" fmla="*/ 827 w 917"/>
              <a:gd name="T17" fmla="*/ 704 h 917"/>
              <a:gd name="T18" fmla="*/ 808 w 917"/>
              <a:gd name="T19" fmla="*/ 660 h 917"/>
              <a:gd name="T20" fmla="*/ 863 w 917"/>
              <a:gd name="T21" fmla="*/ 580 h 917"/>
              <a:gd name="T22" fmla="*/ 906 w 917"/>
              <a:gd name="T23" fmla="*/ 564 h 917"/>
              <a:gd name="T24" fmla="*/ 900 w 917"/>
              <a:gd name="T25" fmla="*/ 487 h 917"/>
              <a:gd name="T26" fmla="*/ 862 w 917"/>
              <a:gd name="T27" fmla="*/ 458 h 917"/>
              <a:gd name="T28" fmla="*/ 869 w 917"/>
              <a:gd name="T29" fmla="*/ 361 h 917"/>
              <a:gd name="T30" fmla="*/ 899 w 917"/>
              <a:gd name="T31" fmla="*/ 326 h 917"/>
              <a:gd name="T32" fmla="*/ 855 w 917"/>
              <a:gd name="T33" fmla="*/ 262 h 917"/>
              <a:gd name="T34" fmla="*/ 808 w 917"/>
              <a:gd name="T35" fmla="*/ 256 h 917"/>
              <a:gd name="T36" fmla="*/ 766 w 917"/>
              <a:gd name="T37" fmla="*/ 169 h 917"/>
              <a:gd name="T38" fmla="*/ 774 w 917"/>
              <a:gd name="T39" fmla="*/ 124 h 917"/>
              <a:gd name="T40" fmla="*/ 704 w 917"/>
              <a:gd name="T41" fmla="*/ 90 h 917"/>
              <a:gd name="T42" fmla="*/ 660 w 917"/>
              <a:gd name="T43" fmla="*/ 109 h 917"/>
              <a:gd name="T44" fmla="*/ 580 w 917"/>
              <a:gd name="T45" fmla="*/ 54 h 917"/>
              <a:gd name="T46" fmla="*/ 564 w 917"/>
              <a:gd name="T47" fmla="*/ 11 h 917"/>
              <a:gd name="T48" fmla="*/ 487 w 917"/>
              <a:gd name="T49" fmla="*/ 17 h 917"/>
              <a:gd name="T50" fmla="*/ 458 w 917"/>
              <a:gd name="T51" fmla="*/ 55 h 917"/>
              <a:gd name="T52" fmla="*/ 361 w 917"/>
              <a:gd name="T53" fmla="*/ 47 h 917"/>
              <a:gd name="T54" fmla="*/ 326 w 917"/>
              <a:gd name="T55" fmla="*/ 18 h 917"/>
              <a:gd name="T56" fmla="*/ 263 w 917"/>
              <a:gd name="T57" fmla="*/ 62 h 917"/>
              <a:gd name="T58" fmla="*/ 256 w 917"/>
              <a:gd name="T59" fmla="*/ 109 h 917"/>
              <a:gd name="T60" fmla="*/ 169 w 917"/>
              <a:gd name="T61" fmla="*/ 151 h 917"/>
              <a:gd name="T62" fmla="*/ 124 w 917"/>
              <a:gd name="T63" fmla="*/ 143 h 917"/>
              <a:gd name="T64" fmla="*/ 90 w 917"/>
              <a:gd name="T65" fmla="*/ 213 h 917"/>
              <a:gd name="T66" fmla="*/ 109 w 917"/>
              <a:gd name="T67" fmla="*/ 257 h 917"/>
              <a:gd name="T68" fmla="*/ 54 w 917"/>
              <a:gd name="T69" fmla="*/ 337 h 917"/>
              <a:gd name="T70" fmla="*/ 11 w 917"/>
              <a:gd name="T71" fmla="*/ 353 h 917"/>
              <a:gd name="T72" fmla="*/ 17 w 917"/>
              <a:gd name="T73" fmla="*/ 430 h 917"/>
              <a:gd name="T74" fmla="*/ 55 w 917"/>
              <a:gd name="T75" fmla="*/ 459 h 917"/>
              <a:gd name="T76" fmla="*/ 47 w 917"/>
              <a:gd name="T77" fmla="*/ 556 h 917"/>
              <a:gd name="T78" fmla="*/ 18 w 917"/>
              <a:gd name="T79" fmla="*/ 591 h 917"/>
              <a:gd name="T80" fmla="*/ 62 w 917"/>
              <a:gd name="T81" fmla="*/ 654 h 917"/>
              <a:gd name="T82" fmla="*/ 109 w 917"/>
              <a:gd name="T83" fmla="*/ 661 h 917"/>
              <a:gd name="T84" fmla="*/ 151 w 917"/>
              <a:gd name="T85" fmla="*/ 748 h 917"/>
              <a:gd name="T86" fmla="*/ 143 w 917"/>
              <a:gd name="T87" fmla="*/ 793 h 917"/>
              <a:gd name="T88" fmla="*/ 213 w 917"/>
              <a:gd name="T89" fmla="*/ 827 h 917"/>
              <a:gd name="T90" fmla="*/ 257 w 917"/>
              <a:gd name="T91" fmla="*/ 808 h 917"/>
              <a:gd name="T92" fmla="*/ 337 w 917"/>
              <a:gd name="T93" fmla="*/ 863 h 917"/>
              <a:gd name="T94" fmla="*/ 353 w 917"/>
              <a:gd name="T95" fmla="*/ 906 h 917"/>
              <a:gd name="T96" fmla="*/ 195 w 917"/>
              <a:gd name="T97" fmla="*/ 411 h 917"/>
              <a:gd name="T98" fmla="*/ 722 w 917"/>
              <a:gd name="T99" fmla="*/ 504 h 917"/>
              <a:gd name="T100" fmla="*/ 195 w 917"/>
              <a:gd name="T101" fmla="*/ 411 h 9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17" h="917">
                <a:moveTo>
                  <a:pt x="406" y="915"/>
                </a:moveTo>
                <a:cubicBezTo>
                  <a:pt x="416" y="917"/>
                  <a:pt x="427" y="910"/>
                  <a:pt x="430" y="900"/>
                </a:cubicBezTo>
                <a:cubicBezTo>
                  <a:pt x="435" y="880"/>
                  <a:pt x="435" y="880"/>
                  <a:pt x="435" y="880"/>
                </a:cubicBezTo>
                <a:cubicBezTo>
                  <a:pt x="438" y="870"/>
                  <a:pt x="449" y="862"/>
                  <a:pt x="459" y="862"/>
                </a:cubicBezTo>
                <a:cubicBezTo>
                  <a:pt x="483" y="862"/>
                  <a:pt x="506" y="860"/>
                  <a:pt x="529" y="856"/>
                </a:cubicBezTo>
                <a:cubicBezTo>
                  <a:pt x="539" y="854"/>
                  <a:pt x="551" y="860"/>
                  <a:pt x="556" y="869"/>
                </a:cubicBezTo>
                <a:cubicBezTo>
                  <a:pt x="565" y="888"/>
                  <a:pt x="565" y="888"/>
                  <a:pt x="565" y="888"/>
                </a:cubicBezTo>
                <a:cubicBezTo>
                  <a:pt x="569" y="898"/>
                  <a:pt x="581" y="903"/>
                  <a:pt x="591" y="899"/>
                </a:cubicBezTo>
                <a:cubicBezTo>
                  <a:pt x="642" y="880"/>
                  <a:pt x="642" y="880"/>
                  <a:pt x="642" y="880"/>
                </a:cubicBezTo>
                <a:cubicBezTo>
                  <a:pt x="651" y="877"/>
                  <a:pt x="657" y="866"/>
                  <a:pt x="655" y="855"/>
                </a:cubicBezTo>
                <a:cubicBezTo>
                  <a:pt x="649" y="835"/>
                  <a:pt x="649" y="835"/>
                  <a:pt x="649" y="835"/>
                </a:cubicBezTo>
                <a:cubicBezTo>
                  <a:pt x="646" y="825"/>
                  <a:pt x="652" y="813"/>
                  <a:pt x="661" y="807"/>
                </a:cubicBezTo>
                <a:cubicBezTo>
                  <a:pt x="681" y="796"/>
                  <a:pt x="700" y="782"/>
                  <a:pt x="718" y="767"/>
                </a:cubicBezTo>
                <a:cubicBezTo>
                  <a:pt x="726" y="760"/>
                  <a:pt x="740" y="759"/>
                  <a:pt x="748" y="766"/>
                </a:cubicBezTo>
                <a:cubicBezTo>
                  <a:pt x="765" y="777"/>
                  <a:pt x="765" y="777"/>
                  <a:pt x="765" y="777"/>
                </a:cubicBezTo>
                <a:cubicBezTo>
                  <a:pt x="774" y="784"/>
                  <a:pt x="787" y="782"/>
                  <a:pt x="793" y="774"/>
                </a:cubicBezTo>
                <a:cubicBezTo>
                  <a:pt x="828" y="732"/>
                  <a:pt x="828" y="732"/>
                  <a:pt x="828" y="732"/>
                </a:cubicBezTo>
                <a:cubicBezTo>
                  <a:pt x="835" y="724"/>
                  <a:pt x="834" y="712"/>
                  <a:pt x="827" y="704"/>
                </a:cubicBezTo>
                <a:cubicBezTo>
                  <a:pt x="812" y="690"/>
                  <a:pt x="812" y="690"/>
                  <a:pt x="812" y="690"/>
                </a:cubicBezTo>
                <a:cubicBezTo>
                  <a:pt x="804" y="682"/>
                  <a:pt x="803" y="669"/>
                  <a:pt x="808" y="660"/>
                </a:cubicBezTo>
                <a:cubicBezTo>
                  <a:pt x="820" y="640"/>
                  <a:pt x="830" y="618"/>
                  <a:pt x="838" y="596"/>
                </a:cubicBezTo>
                <a:cubicBezTo>
                  <a:pt x="841" y="586"/>
                  <a:pt x="852" y="579"/>
                  <a:pt x="863" y="580"/>
                </a:cubicBezTo>
                <a:cubicBezTo>
                  <a:pt x="884" y="581"/>
                  <a:pt x="884" y="581"/>
                  <a:pt x="884" y="581"/>
                </a:cubicBezTo>
                <a:cubicBezTo>
                  <a:pt x="894" y="582"/>
                  <a:pt x="904" y="575"/>
                  <a:pt x="906" y="564"/>
                </a:cubicBezTo>
                <a:cubicBezTo>
                  <a:pt x="915" y="511"/>
                  <a:pt x="915" y="511"/>
                  <a:pt x="915" y="511"/>
                </a:cubicBezTo>
                <a:cubicBezTo>
                  <a:pt x="917" y="500"/>
                  <a:pt x="910" y="490"/>
                  <a:pt x="900" y="487"/>
                </a:cubicBezTo>
                <a:cubicBezTo>
                  <a:pt x="880" y="482"/>
                  <a:pt x="880" y="482"/>
                  <a:pt x="880" y="482"/>
                </a:cubicBezTo>
                <a:cubicBezTo>
                  <a:pt x="870" y="479"/>
                  <a:pt x="862" y="468"/>
                  <a:pt x="862" y="458"/>
                </a:cubicBezTo>
                <a:cubicBezTo>
                  <a:pt x="862" y="434"/>
                  <a:pt x="860" y="411"/>
                  <a:pt x="856" y="388"/>
                </a:cubicBezTo>
                <a:cubicBezTo>
                  <a:pt x="854" y="377"/>
                  <a:pt x="860" y="365"/>
                  <a:pt x="869" y="361"/>
                </a:cubicBezTo>
                <a:cubicBezTo>
                  <a:pt x="888" y="352"/>
                  <a:pt x="888" y="352"/>
                  <a:pt x="888" y="352"/>
                </a:cubicBezTo>
                <a:cubicBezTo>
                  <a:pt x="898" y="348"/>
                  <a:pt x="903" y="336"/>
                  <a:pt x="899" y="326"/>
                </a:cubicBezTo>
                <a:cubicBezTo>
                  <a:pt x="880" y="275"/>
                  <a:pt x="880" y="275"/>
                  <a:pt x="880" y="275"/>
                </a:cubicBezTo>
                <a:cubicBezTo>
                  <a:pt x="877" y="265"/>
                  <a:pt x="866" y="260"/>
                  <a:pt x="855" y="262"/>
                </a:cubicBezTo>
                <a:cubicBezTo>
                  <a:pt x="835" y="268"/>
                  <a:pt x="835" y="268"/>
                  <a:pt x="835" y="268"/>
                </a:cubicBezTo>
                <a:cubicBezTo>
                  <a:pt x="825" y="271"/>
                  <a:pt x="813" y="265"/>
                  <a:pt x="808" y="256"/>
                </a:cubicBezTo>
                <a:cubicBezTo>
                  <a:pt x="796" y="236"/>
                  <a:pt x="782" y="217"/>
                  <a:pt x="767" y="199"/>
                </a:cubicBezTo>
                <a:cubicBezTo>
                  <a:pt x="760" y="191"/>
                  <a:pt x="760" y="177"/>
                  <a:pt x="766" y="169"/>
                </a:cubicBezTo>
                <a:cubicBezTo>
                  <a:pt x="778" y="152"/>
                  <a:pt x="778" y="152"/>
                  <a:pt x="778" y="152"/>
                </a:cubicBezTo>
                <a:cubicBezTo>
                  <a:pt x="784" y="143"/>
                  <a:pt x="782" y="130"/>
                  <a:pt x="774" y="124"/>
                </a:cubicBezTo>
                <a:cubicBezTo>
                  <a:pt x="732" y="89"/>
                  <a:pt x="732" y="89"/>
                  <a:pt x="732" y="89"/>
                </a:cubicBezTo>
                <a:cubicBezTo>
                  <a:pt x="724" y="82"/>
                  <a:pt x="712" y="83"/>
                  <a:pt x="704" y="90"/>
                </a:cubicBezTo>
                <a:cubicBezTo>
                  <a:pt x="690" y="105"/>
                  <a:pt x="690" y="105"/>
                  <a:pt x="690" y="105"/>
                </a:cubicBezTo>
                <a:cubicBezTo>
                  <a:pt x="682" y="112"/>
                  <a:pt x="669" y="114"/>
                  <a:pt x="660" y="109"/>
                </a:cubicBezTo>
                <a:cubicBezTo>
                  <a:pt x="640" y="97"/>
                  <a:pt x="618" y="87"/>
                  <a:pt x="596" y="79"/>
                </a:cubicBezTo>
                <a:cubicBezTo>
                  <a:pt x="586" y="75"/>
                  <a:pt x="579" y="64"/>
                  <a:pt x="580" y="54"/>
                </a:cubicBezTo>
                <a:cubicBezTo>
                  <a:pt x="581" y="33"/>
                  <a:pt x="581" y="33"/>
                  <a:pt x="581" y="33"/>
                </a:cubicBezTo>
                <a:cubicBezTo>
                  <a:pt x="582" y="23"/>
                  <a:pt x="575" y="13"/>
                  <a:pt x="564" y="11"/>
                </a:cubicBezTo>
                <a:cubicBezTo>
                  <a:pt x="511" y="1"/>
                  <a:pt x="511" y="1"/>
                  <a:pt x="511" y="1"/>
                </a:cubicBezTo>
                <a:cubicBezTo>
                  <a:pt x="501" y="0"/>
                  <a:pt x="490" y="6"/>
                  <a:pt x="487" y="17"/>
                </a:cubicBezTo>
                <a:cubicBezTo>
                  <a:pt x="482" y="37"/>
                  <a:pt x="482" y="37"/>
                  <a:pt x="482" y="37"/>
                </a:cubicBezTo>
                <a:cubicBezTo>
                  <a:pt x="479" y="47"/>
                  <a:pt x="468" y="55"/>
                  <a:pt x="458" y="55"/>
                </a:cubicBezTo>
                <a:cubicBezTo>
                  <a:pt x="434" y="55"/>
                  <a:pt x="411" y="57"/>
                  <a:pt x="388" y="61"/>
                </a:cubicBezTo>
                <a:cubicBezTo>
                  <a:pt x="378" y="63"/>
                  <a:pt x="366" y="57"/>
                  <a:pt x="361" y="47"/>
                </a:cubicBezTo>
                <a:cubicBezTo>
                  <a:pt x="352" y="29"/>
                  <a:pt x="352" y="29"/>
                  <a:pt x="352" y="29"/>
                </a:cubicBezTo>
                <a:cubicBezTo>
                  <a:pt x="348" y="19"/>
                  <a:pt x="336" y="14"/>
                  <a:pt x="326" y="18"/>
                </a:cubicBezTo>
                <a:cubicBezTo>
                  <a:pt x="276" y="36"/>
                  <a:pt x="276" y="36"/>
                  <a:pt x="276" y="36"/>
                </a:cubicBezTo>
                <a:cubicBezTo>
                  <a:pt x="266" y="40"/>
                  <a:pt x="260" y="51"/>
                  <a:pt x="263" y="62"/>
                </a:cubicBezTo>
                <a:cubicBezTo>
                  <a:pt x="268" y="82"/>
                  <a:pt x="268" y="82"/>
                  <a:pt x="268" y="82"/>
                </a:cubicBezTo>
                <a:cubicBezTo>
                  <a:pt x="271" y="92"/>
                  <a:pt x="265" y="104"/>
                  <a:pt x="256" y="109"/>
                </a:cubicBezTo>
                <a:cubicBezTo>
                  <a:pt x="236" y="121"/>
                  <a:pt x="217" y="135"/>
                  <a:pt x="199" y="150"/>
                </a:cubicBezTo>
                <a:cubicBezTo>
                  <a:pt x="191" y="156"/>
                  <a:pt x="177" y="157"/>
                  <a:pt x="169" y="151"/>
                </a:cubicBezTo>
                <a:cubicBezTo>
                  <a:pt x="152" y="139"/>
                  <a:pt x="152" y="139"/>
                  <a:pt x="152" y="139"/>
                </a:cubicBezTo>
                <a:cubicBezTo>
                  <a:pt x="143" y="133"/>
                  <a:pt x="130" y="135"/>
                  <a:pt x="124" y="143"/>
                </a:cubicBezTo>
                <a:cubicBezTo>
                  <a:pt x="89" y="184"/>
                  <a:pt x="89" y="184"/>
                  <a:pt x="89" y="184"/>
                </a:cubicBezTo>
                <a:cubicBezTo>
                  <a:pt x="82" y="193"/>
                  <a:pt x="83" y="205"/>
                  <a:pt x="90" y="213"/>
                </a:cubicBezTo>
                <a:cubicBezTo>
                  <a:pt x="105" y="227"/>
                  <a:pt x="105" y="227"/>
                  <a:pt x="105" y="227"/>
                </a:cubicBezTo>
                <a:cubicBezTo>
                  <a:pt x="113" y="235"/>
                  <a:pt x="114" y="248"/>
                  <a:pt x="109" y="257"/>
                </a:cubicBezTo>
                <a:cubicBezTo>
                  <a:pt x="97" y="277"/>
                  <a:pt x="87" y="299"/>
                  <a:pt x="79" y="321"/>
                </a:cubicBezTo>
                <a:cubicBezTo>
                  <a:pt x="75" y="331"/>
                  <a:pt x="64" y="338"/>
                  <a:pt x="54" y="337"/>
                </a:cubicBezTo>
                <a:cubicBezTo>
                  <a:pt x="33" y="335"/>
                  <a:pt x="33" y="335"/>
                  <a:pt x="33" y="335"/>
                </a:cubicBezTo>
                <a:cubicBezTo>
                  <a:pt x="23" y="335"/>
                  <a:pt x="13" y="342"/>
                  <a:pt x="11" y="353"/>
                </a:cubicBezTo>
                <a:cubicBezTo>
                  <a:pt x="2" y="406"/>
                  <a:pt x="2" y="406"/>
                  <a:pt x="2" y="406"/>
                </a:cubicBezTo>
                <a:cubicBezTo>
                  <a:pt x="0" y="416"/>
                  <a:pt x="7" y="427"/>
                  <a:pt x="17" y="430"/>
                </a:cubicBezTo>
                <a:cubicBezTo>
                  <a:pt x="37" y="435"/>
                  <a:pt x="37" y="435"/>
                  <a:pt x="37" y="435"/>
                </a:cubicBezTo>
                <a:cubicBezTo>
                  <a:pt x="47" y="438"/>
                  <a:pt x="55" y="449"/>
                  <a:pt x="55" y="459"/>
                </a:cubicBezTo>
                <a:cubicBezTo>
                  <a:pt x="55" y="483"/>
                  <a:pt x="57" y="506"/>
                  <a:pt x="61" y="529"/>
                </a:cubicBezTo>
                <a:cubicBezTo>
                  <a:pt x="63" y="539"/>
                  <a:pt x="57" y="551"/>
                  <a:pt x="47" y="556"/>
                </a:cubicBezTo>
                <a:cubicBezTo>
                  <a:pt x="29" y="565"/>
                  <a:pt x="29" y="565"/>
                  <a:pt x="29" y="565"/>
                </a:cubicBezTo>
                <a:cubicBezTo>
                  <a:pt x="19" y="569"/>
                  <a:pt x="14" y="581"/>
                  <a:pt x="18" y="591"/>
                </a:cubicBezTo>
                <a:cubicBezTo>
                  <a:pt x="37" y="641"/>
                  <a:pt x="37" y="641"/>
                  <a:pt x="37" y="641"/>
                </a:cubicBezTo>
                <a:cubicBezTo>
                  <a:pt x="40" y="651"/>
                  <a:pt x="51" y="657"/>
                  <a:pt x="62" y="654"/>
                </a:cubicBezTo>
                <a:cubicBezTo>
                  <a:pt x="82" y="649"/>
                  <a:pt x="82" y="649"/>
                  <a:pt x="82" y="649"/>
                </a:cubicBezTo>
                <a:cubicBezTo>
                  <a:pt x="92" y="646"/>
                  <a:pt x="104" y="652"/>
                  <a:pt x="109" y="661"/>
                </a:cubicBezTo>
                <a:cubicBezTo>
                  <a:pt x="121" y="681"/>
                  <a:pt x="135" y="700"/>
                  <a:pt x="150" y="718"/>
                </a:cubicBezTo>
                <a:cubicBezTo>
                  <a:pt x="156" y="726"/>
                  <a:pt x="157" y="740"/>
                  <a:pt x="151" y="748"/>
                </a:cubicBezTo>
                <a:cubicBezTo>
                  <a:pt x="139" y="765"/>
                  <a:pt x="139" y="765"/>
                  <a:pt x="139" y="765"/>
                </a:cubicBezTo>
                <a:cubicBezTo>
                  <a:pt x="133" y="774"/>
                  <a:pt x="135" y="786"/>
                  <a:pt x="143" y="793"/>
                </a:cubicBezTo>
                <a:cubicBezTo>
                  <a:pt x="185" y="828"/>
                  <a:pt x="185" y="828"/>
                  <a:pt x="185" y="828"/>
                </a:cubicBezTo>
                <a:cubicBezTo>
                  <a:pt x="193" y="835"/>
                  <a:pt x="205" y="834"/>
                  <a:pt x="213" y="827"/>
                </a:cubicBezTo>
                <a:cubicBezTo>
                  <a:pt x="227" y="812"/>
                  <a:pt x="227" y="812"/>
                  <a:pt x="227" y="812"/>
                </a:cubicBezTo>
                <a:cubicBezTo>
                  <a:pt x="235" y="804"/>
                  <a:pt x="248" y="803"/>
                  <a:pt x="257" y="808"/>
                </a:cubicBezTo>
                <a:cubicBezTo>
                  <a:pt x="277" y="820"/>
                  <a:pt x="299" y="830"/>
                  <a:pt x="321" y="838"/>
                </a:cubicBezTo>
                <a:cubicBezTo>
                  <a:pt x="331" y="841"/>
                  <a:pt x="338" y="852"/>
                  <a:pt x="337" y="863"/>
                </a:cubicBezTo>
                <a:cubicBezTo>
                  <a:pt x="336" y="884"/>
                  <a:pt x="336" y="884"/>
                  <a:pt x="336" y="884"/>
                </a:cubicBezTo>
                <a:cubicBezTo>
                  <a:pt x="335" y="894"/>
                  <a:pt x="342" y="904"/>
                  <a:pt x="353" y="906"/>
                </a:cubicBezTo>
                <a:lnTo>
                  <a:pt x="406" y="915"/>
                </a:lnTo>
                <a:close/>
                <a:moveTo>
                  <a:pt x="195" y="411"/>
                </a:moveTo>
                <a:cubicBezTo>
                  <a:pt x="221" y="266"/>
                  <a:pt x="359" y="169"/>
                  <a:pt x="505" y="194"/>
                </a:cubicBezTo>
                <a:cubicBezTo>
                  <a:pt x="650" y="219"/>
                  <a:pt x="748" y="358"/>
                  <a:pt x="722" y="504"/>
                </a:cubicBezTo>
                <a:cubicBezTo>
                  <a:pt x="697" y="649"/>
                  <a:pt x="558" y="747"/>
                  <a:pt x="413" y="721"/>
                </a:cubicBezTo>
                <a:cubicBezTo>
                  <a:pt x="267" y="696"/>
                  <a:pt x="170" y="557"/>
                  <a:pt x="195" y="4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3" name="Oval 42"/>
          <p:cNvSpPr>
            <a:spLocks noChangeArrowheads="1"/>
          </p:cNvSpPr>
          <p:nvPr/>
        </p:nvSpPr>
        <p:spPr bwMode="auto">
          <a:xfrm>
            <a:off x="14157550" y="5495504"/>
            <a:ext cx="2223820" cy="222694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4" name="Oval 43"/>
          <p:cNvSpPr>
            <a:spLocks noChangeArrowheads="1"/>
          </p:cNvSpPr>
          <p:nvPr/>
        </p:nvSpPr>
        <p:spPr bwMode="auto">
          <a:xfrm>
            <a:off x="8695648" y="6409712"/>
            <a:ext cx="2223820" cy="222694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Freeform 35"/>
          <p:cNvSpPr>
            <a:spLocks noEditPoints="1"/>
          </p:cNvSpPr>
          <p:nvPr/>
        </p:nvSpPr>
        <p:spPr bwMode="auto">
          <a:xfrm>
            <a:off x="21484769" y="4958217"/>
            <a:ext cx="3281110" cy="3292442"/>
          </a:xfrm>
          <a:custGeom>
            <a:avLst/>
            <a:gdLst>
              <a:gd name="T0" fmla="*/ 377 w 579"/>
              <a:gd name="T1" fmla="*/ 566 h 579"/>
              <a:gd name="T2" fmla="*/ 383 w 579"/>
              <a:gd name="T3" fmla="*/ 523 h 579"/>
              <a:gd name="T4" fmla="*/ 455 w 579"/>
              <a:gd name="T5" fmla="*/ 464 h 579"/>
              <a:gd name="T6" fmla="*/ 499 w 579"/>
              <a:gd name="T7" fmla="*/ 475 h 579"/>
              <a:gd name="T8" fmla="*/ 547 w 579"/>
              <a:gd name="T9" fmla="*/ 423 h 579"/>
              <a:gd name="T10" fmla="*/ 521 w 579"/>
              <a:gd name="T11" fmla="*/ 388 h 579"/>
              <a:gd name="T12" fmla="*/ 530 w 579"/>
              <a:gd name="T13" fmla="*/ 296 h 579"/>
              <a:gd name="T14" fmla="*/ 569 w 579"/>
              <a:gd name="T15" fmla="*/ 272 h 579"/>
              <a:gd name="T16" fmla="*/ 566 w 579"/>
              <a:gd name="T17" fmla="*/ 202 h 579"/>
              <a:gd name="T18" fmla="*/ 523 w 579"/>
              <a:gd name="T19" fmla="*/ 196 h 579"/>
              <a:gd name="T20" fmla="*/ 464 w 579"/>
              <a:gd name="T21" fmla="*/ 124 h 579"/>
              <a:gd name="T22" fmla="*/ 475 w 579"/>
              <a:gd name="T23" fmla="*/ 80 h 579"/>
              <a:gd name="T24" fmla="*/ 423 w 579"/>
              <a:gd name="T25" fmla="*/ 32 h 579"/>
              <a:gd name="T26" fmla="*/ 388 w 579"/>
              <a:gd name="T27" fmla="*/ 58 h 579"/>
              <a:gd name="T28" fmla="*/ 296 w 579"/>
              <a:gd name="T29" fmla="*/ 49 h 579"/>
              <a:gd name="T30" fmla="*/ 272 w 579"/>
              <a:gd name="T31" fmla="*/ 10 h 579"/>
              <a:gd name="T32" fmla="*/ 202 w 579"/>
              <a:gd name="T33" fmla="*/ 13 h 579"/>
              <a:gd name="T34" fmla="*/ 196 w 579"/>
              <a:gd name="T35" fmla="*/ 56 h 579"/>
              <a:gd name="T36" fmla="*/ 124 w 579"/>
              <a:gd name="T37" fmla="*/ 115 h 579"/>
              <a:gd name="T38" fmla="*/ 80 w 579"/>
              <a:gd name="T39" fmla="*/ 104 h 579"/>
              <a:gd name="T40" fmla="*/ 32 w 579"/>
              <a:gd name="T41" fmla="*/ 156 h 579"/>
              <a:gd name="T42" fmla="*/ 58 w 579"/>
              <a:gd name="T43" fmla="*/ 190 h 579"/>
              <a:gd name="T44" fmla="*/ 49 w 579"/>
              <a:gd name="T45" fmla="*/ 283 h 579"/>
              <a:gd name="T46" fmla="*/ 10 w 579"/>
              <a:gd name="T47" fmla="*/ 306 h 579"/>
              <a:gd name="T48" fmla="*/ 13 w 579"/>
              <a:gd name="T49" fmla="*/ 377 h 579"/>
              <a:gd name="T50" fmla="*/ 56 w 579"/>
              <a:gd name="T51" fmla="*/ 383 h 579"/>
              <a:gd name="T52" fmla="*/ 115 w 579"/>
              <a:gd name="T53" fmla="*/ 455 h 579"/>
              <a:gd name="T54" fmla="*/ 104 w 579"/>
              <a:gd name="T55" fmla="*/ 499 h 579"/>
              <a:gd name="T56" fmla="*/ 156 w 579"/>
              <a:gd name="T57" fmla="*/ 547 h 579"/>
              <a:gd name="T58" fmla="*/ 191 w 579"/>
              <a:gd name="T59" fmla="*/ 521 h 579"/>
              <a:gd name="T60" fmla="*/ 283 w 579"/>
              <a:gd name="T61" fmla="*/ 530 h 579"/>
              <a:gd name="T62" fmla="*/ 307 w 579"/>
              <a:gd name="T63" fmla="*/ 569 h 579"/>
              <a:gd name="T64" fmla="*/ 252 w 579"/>
              <a:gd name="T65" fmla="*/ 109 h 579"/>
              <a:gd name="T66" fmla="*/ 327 w 579"/>
              <a:gd name="T67" fmla="*/ 469 h 579"/>
              <a:gd name="T68" fmla="*/ 252 w 579"/>
              <a:gd name="T69" fmla="*/ 109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79" h="579">
                <a:moveTo>
                  <a:pt x="321" y="578"/>
                </a:moveTo>
                <a:cubicBezTo>
                  <a:pt x="377" y="566"/>
                  <a:pt x="377" y="566"/>
                  <a:pt x="377" y="566"/>
                </a:cubicBezTo>
                <a:cubicBezTo>
                  <a:pt x="383" y="565"/>
                  <a:pt x="387" y="558"/>
                  <a:pt x="387" y="552"/>
                </a:cubicBezTo>
                <a:cubicBezTo>
                  <a:pt x="383" y="523"/>
                  <a:pt x="383" y="523"/>
                  <a:pt x="383" y="523"/>
                </a:cubicBezTo>
                <a:cubicBezTo>
                  <a:pt x="382" y="517"/>
                  <a:pt x="386" y="509"/>
                  <a:pt x="392" y="507"/>
                </a:cubicBezTo>
                <a:cubicBezTo>
                  <a:pt x="416" y="496"/>
                  <a:pt x="437" y="481"/>
                  <a:pt x="455" y="464"/>
                </a:cubicBezTo>
                <a:cubicBezTo>
                  <a:pt x="460" y="459"/>
                  <a:pt x="468" y="458"/>
                  <a:pt x="473" y="461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05" y="478"/>
                  <a:pt x="512" y="476"/>
                  <a:pt x="516" y="471"/>
                </a:cubicBezTo>
                <a:cubicBezTo>
                  <a:pt x="547" y="423"/>
                  <a:pt x="547" y="423"/>
                  <a:pt x="547" y="423"/>
                </a:cubicBezTo>
                <a:cubicBezTo>
                  <a:pt x="550" y="418"/>
                  <a:pt x="549" y="410"/>
                  <a:pt x="544" y="406"/>
                </a:cubicBezTo>
                <a:cubicBezTo>
                  <a:pt x="521" y="388"/>
                  <a:pt x="521" y="388"/>
                  <a:pt x="521" y="388"/>
                </a:cubicBezTo>
                <a:cubicBezTo>
                  <a:pt x="516" y="384"/>
                  <a:pt x="514" y="376"/>
                  <a:pt x="516" y="371"/>
                </a:cubicBezTo>
                <a:cubicBezTo>
                  <a:pt x="524" y="347"/>
                  <a:pt x="529" y="322"/>
                  <a:pt x="530" y="296"/>
                </a:cubicBezTo>
                <a:cubicBezTo>
                  <a:pt x="530" y="289"/>
                  <a:pt x="535" y="283"/>
                  <a:pt x="541" y="281"/>
                </a:cubicBezTo>
                <a:cubicBezTo>
                  <a:pt x="569" y="272"/>
                  <a:pt x="569" y="272"/>
                  <a:pt x="569" y="272"/>
                </a:cubicBezTo>
                <a:cubicBezTo>
                  <a:pt x="575" y="270"/>
                  <a:pt x="579" y="264"/>
                  <a:pt x="578" y="258"/>
                </a:cubicBezTo>
                <a:cubicBezTo>
                  <a:pt x="566" y="202"/>
                  <a:pt x="566" y="202"/>
                  <a:pt x="566" y="202"/>
                </a:cubicBezTo>
                <a:cubicBezTo>
                  <a:pt x="565" y="196"/>
                  <a:pt x="559" y="191"/>
                  <a:pt x="552" y="192"/>
                </a:cubicBezTo>
                <a:cubicBezTo>
                  <a:pt x="523" y="196"/>
                  <a:pt x="523" y="196"/>
                  <a:pt x="523" y="196"/>
                </a:cubicBezTo>
                <a:cubicBezTo>
                  <a:pt x="517" y="197"/>
                  <a:pt x="510" y="192"/>
                  <a:pt x="507" y="187"/>
                </a:cubicBezTo>
                <a:cubicBezTo>
                  <a:pt x="496" y="163"/>
                  <a:pt x="481" y="142"/>
                  <a:pt x="464" y="124"/>
                </a:cubicBezTo>
                <a:cubicBezTo>
                  <a:pt x="459" y="119"/>
                  <a:pt x="458" y="111"/>
                  <a:pt x="461" y="106"/>
                </a:cubicBezTo>
                <a:cubicBezTo>
                  <a:pt x="475" y="80"/>
                  <a:pt x="475" y="80"/>
                  <a:pt x="475" y="80"/>
                </a:cubicBezTo>
                <a:cubicBezTo>
                  <a:pt x="478" y="74"/>
                  <a:pt x="476" y="67"/>
                  <a:pt x="471" y="63"/>
                </a:cubicBezTo>
                <a:cubicBezTo>
                  <a:pt x="423" y="32"/>
                  <a:pt x="423" y="32"/>
                  <a:pt x="423" y="32"/>
                </a:cubicBezTo>
                <a:cubicBezTo>
                  <a:pt x="418" y="29"/>
                  <a:pt x="410" y="30"/>
                  <a:pt x="407" y="35"/>
                </a:cubicBezTo>
                <a:cubicBezTo>
                  <a:pt x="388" y="58"/>
                  <a:pt x="388" y="58"/>
                  <a:pt x="388" y="58"/>
                </a:cubicBezTo>
                <a:cubicBezTo>
                  <a:pt x="384" y="63"/>
                  <a:pt x="377" y="65"/>
                  <a:pt x="371" y="63"/>
                </a:cubicBezTo>
                <a:cubicBezTo>
                  <a:pt x="347" y="54"/>
                  <a:pt x="322" y="50"/>
                  <a:pt x="296" y="49"/>
                </a:cubicBezTo>
                <a:cubicBezTo>
                  <a:pt x="289" y="49"/>
                  <a:pt x="283" y="44"/>
                  <a:pt x="281" y="38"/>
                </a:cubicBezTo>
                <a:cubicBezTo>
                  <a:pt x="272" y="10"/>
                  <a:pt x="272" y="10"/>
                  <a:pt x="272" y="10"/>
                </a:cubicBezTo>
                <a:cubicBezTo>
                  <a:pt x="271" y="4"/>
                  <a:pt x="264" y="0"/>
                  <a:pt x="258" y="1"/>
                </a:cubicBezTo>
                <a:cubicBezTo>
                  <a:pt x="202" y="13"/>
                  <a:pt x="202" y="13"/>
                  <a:pt x="202" y="13"/>
                </a:cubicBezTo>
                <a:cubicBezTo>
                  <a:pt x="196" y="14"/>
                  <a:pt x="191" y="20"/>
                  <a:pt x="192" y="27"/>
                </a:cubicBezTo>
                <a:cubicBezTo>
                  <a:pt x="196" y="56"/>
                  <a:pt x="196" y="56"/>
                  <a:pt x="196" y="56"/>
                </a:cubicBezTo>
                <a:cubicBezTo>
                  <a:pt x="197" y="62"/>
                  <a:pt x="193" y="69"/>
                  <a:pt x="187" y="72"/>
                </a:cubicBezTo>
                <a:cubicBezTo>
                  <a:pt x="163" y="83"/>
                  <a:pt x="142" y="98"/>
                  <a:pt x="124" y="115"/>
                </a:cubicBezTo>
                <a:cubicBezTo>
                  <a:pt x="119" y="119"/>
                  <a:pt x="111" y="121"/>
                  <a:pt x="106" y="118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74" y="101"/>
                  <a:pt x="67" y="103"/>
                  <a:pt x="63" y="108"/>
                </a:cubicBezTo>
                <a:cubicBezTo>
                  <a:pt x="32" y="156"/>
                  <a:pt x="32" y="156"/>
                  <a:pt x="32" y="156"/>
                </a:cubicBezTo>
                <a:cubicBezTo>
                  <a:pt x="29" y="161"/>
                  <a:pt x="30" y="168"/>
                  <a:pt x="35" y="172"/>
                </a:cubicBezTo>
                <a:cubicBezTo>
                  <a:pt x="58" y="190"/>
                  <a:pt x="58" y="190"/>
                  <a:pt x="58" y="190"/>
                </a:cubicBezTo>
                <a:cubicBezTo>
                  <a:pt x="63" y="194"/>
                  <a:pt x="65" y="202"/>
                  <a:pt x="63" y="208"/>
                </a:cubicBezTo>
                <a:cubicBezTo>
                  <a:pt x="55" y="232"/>
                  <a:pt x="50" y="257"/>
                  <a:pt x="49" y="283"/>
                </a:cubicBezTo>
                <a:cubicBezTo>
                  <a:pt x="49" y="289"/>
                  <a:pt x="44" y="296"/>
                  <a:pt x="38" y="298"/>
                </a:cubicBezTo>
                <a:cubicBezTo>
                  <a:pt x="10" y="306"/>
                  <a:pt x="10" y="306"/>
                  <a:pt x="10" y="306"/>
                </a:cubicBezTo>
                <a:cubicBezTo>
                  <a:pt x="4" y="308"/>
                  <a:pt x="0" y="315"/>
                  <a:pt x="1" y="321"/>
                </a:cubicBezTo>
                <a:cubicBezTo>
                  <a:pt x="13" y="377"/>
                  <a:pt x="13" y="377"/>
                  <a:pt x="13" y="377"/>
                </a:cubicBezTo>
                <a:cubicBezTo>
                  <a:pt x="14" y="383"/>
                  <a:pt x="20" y="387"/>
                  <a:pt x="27" y="387"/>
                </a:cubicBezTo>
                <a:cubicBezTo>
                  <a:pt x="56" y="383"/>
                  <a:pt x="56" y="383"/>
                  <a:pt x="56" y="383"/>
                </a:cubicBezTo>
                <a:cubicBezTo>
                  <a:pt x="62" y="382"/>
                  <a:pt x="69" y="386"/>
                  <a:pt x="72" y="392"/>
                </a:cubicBezTo>
                <a:cubicBezTo>
                  <a:pt x="83" y="416"/>
                  <a:pt x="98" y="437"/>
                  <a:pt x="115" y="455"/>
                </a:cubicBezTo>
                <a:cubicBezTo>
                  <a:pt x="119" y="460"/>
                  <a:pt x="121" y="468"/>
                  <a:pt x="118" y="473"/>
                </a:cubicBezTo>
                <a:cubicBezTo>
                  <a:pt x="104" y="499"/>
                  <a:pt x="104" y="499"/>
                  <a:pt x="104" y="499"/>
                </a:cubicBezTo>
                <a:cubicBezTo>
                  <a:pt x="101" y="505"/>
                  <a:pt x="103" y="512"/>
                  <a:pt x="108" y="516"/>
                </a:cubicBezTo>
                <a:cubicBezTo>
                  <a:pt x="156" y="547"/>
                  <a:pt x="156" y="547"/>
                  <a:pt x="156" y="547"/>
                </a:cubicBezTo>
                <a:cubicBezTo>
                  <a:pt x="161" y="550"/>
                  <a:pt x="168" y="549"/>
                  <a:pt x="172" y="544"/>
                </a:cubicBezTo>
                <a:cubicBezTo>
                  <a:pt x="191" y="521"/>
                  <a:pt x="191" y="521"/>
                  <a:pt x="191" y="521"/>
                </a:cubicBezTo>
                <a:cubicBezTo>
                  <a:pt x="194" y="516"/>
                  <a:pt x="202" y="514"/>
                  <a:pt x="208" y="516"/>
                </a:cubicBezTo>
                <a:cubicBezTo>
                  <a:pt x="232" y="524"/>
                  <a:pt x="257" y="529"/>
                  <a:pt x="283" y="530"/>
                </a:cubicBezTo>
                <a:cubicBezTo>
                  <a:pt x="290" y="530"/>
                  <a:pt x="296" y="535"/>
                  <a:pt x="298" y="541"/>
                </a:cubicBezTo>
                <a:cubicBezTo>
                  <a:pt x="307" y="569"/>
                  <a:pt x="307" y="569"/>
                  <a:pt x="307" y="569"/>
                </a:cubicBezTo>
                <a:cubicBezTo>
                  <a:pt x="308" y="575"/>
                  <a:pt x="315" y="579"/>
                  <a:pt x="321" y="578"/>
                </a:cubicBezTo>
                <a:close/>
                <a:moveTo>
                  <a:pt x="252" y="109"/>
                </a:moveTo>
                <a:cubicBezTo>
                  <a:pt x="351" y="88"/>
                  <a:pt x="449" y="152"/>
                  <a:pt x="469" y="251"/>
                </a:cubicBezTo>
                <a:cubicBezTo>
                  <a:pt x="490" y="351"/>
                  <a:pt x="427" y="448"/>
                  <a:pt x="327" y="469"/>
                </a:cubicBezTo>
                <a:cubicBezTo>
                  <a:pt x="228" y="490"/>
                  <a:pt x="130" y="427"/>
                  <a:pt x="109" y="327"/>
                </a:cubicBezTo>
                <a:cubicBezTo>
                  <a:pt x="89" y="228"/>
                  <a:pt x="152" y="130"/>
                  <a:pt x="252" y="109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6" name="Title 1"/>
          <p:cNvSpPr txBox="1"/>
          <p:nvPr/>
        </p:nvSpPr>
        <p:spPr>
          <a:xfrm>
            <a:off x="1200577" y="10211918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47" name="Details 1"/>
          <p:cNvSpPr txBox="1"/>
          <p:nvPr/>
        </p:nvSpPr>
        <p:spPr>
          <a:xfrm>
            <a:off x="1200576" y="10657896"/>
            <a:ext cx="5505024" cy="114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Lorem ipsum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930987" y="3001444"/>
            <a:ext cx="18904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609565" y="3538472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2148825" y="10791016"/>
            <a:ext cx="18904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0827403" y="11328044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4343745" y="2714636"/>
            <a:ext cx="18904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3022323" y="3251664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20615739" y="11050588"/>
            <a:ext cx="18904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b="1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9294317" y="11587616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60" name="Freeform 24"/>
          <p:cNvSpPr>
            <a:spLocks noEditPoints="1"/>
          </p:cNvSpPr>
          <p:nvPr/>
        </p:nvSpPr>
        <p:spPr bwMode="auto">
          <a:xfrm>
            <a:off x="14941066" y="6102862"/>
            <a:ext cx="656788" cy="1012224"/>
          </a:xfrm>
          <a:custGeom>
            <a:avLst/>
            <a:gdLst>
              <a:gd name="T0" fmla="*/ 108 w 108"/>
              <a:gd name="T1" fmla="*/ 53 h 166"/>
              <a:gd name="T2" fmla="*/ 94 w 108"/>
              <a:gd name="T3" fmla="*/ 90 h 166"/>
              <a:gd name="T4" fmla="*/ 77 w 108"/>
              <a:gd name="T5" fmla="*/ 123 h 166"/>
              <a:gd name="T6" fmla="*/ 32 w 108"/>
              <a:gd name="T7" fmla="*/ 123 h 166"/>
              <a:gd name="T8" fmla="*/ 15 w 108"/>
              <a:gd name="T9" fmla="*/ 90 h 166"/>
              <a:gd name="T10" fmla="*/ 0 w 108"/>
              <a:gd name="T11" fmla="*/ 53 h 166"/>
              <a:gd name="T12" fmla="*/ 54 w 108"/>
              <a:gd name="T13" fmla="*/ 0 h 166"/>
              <a:gd name="T14" fmla="*/ 54 w 108"/>
              <a:gd name="T15" fmla="*/ 0 h 166"/>
              <a:gd name="T16" fmla="*/ 54 w 108"/>
              <a:gd name="T17" fmla="*/ 0 h 166"/>
              <a:gd name="T18" fmla="*/ 108 w 108"/>
              <a:gd name="T19" fmla="*/ 53 h 166"/>
              <a:gd name="T20" fmla="*/ 75 w 108"/>
              <a:gd name="T21" fmla="*/ 127 h 166"/>
              <a:gd name="T22" fmla="*/ 34 w 108"/>
              <a:gd name="T23" fmla="*/ 127 h 166"/>
              <a:gd name="T24" fmla="*/ 30 w 108"/>
              <a:gd name="T25" fmla="*/ 131 h 166"/>
              <a:gd name="T26" fmla="*/ 30 w 108"/>
              <a:gd name="T27" fmla="*/ 132 h 166"/>
              <a:gd name="T28" fmla="*/ 34 w 108"/>
              <a:gd name="T29" fmla="*/ 136 h 166"/>
              <a:gd name="T30" fmla="*/ 75 w 108"/>
              <a:gd name="T31" fmla="*/ 136 h 166"/>
              <a:gd name="T32" fmla="*/ 79 w 108"/>
              <a:gd name="T33" fmla="*/ 132 h 166"/>
              <a:gd name="T34" fmla="*/ 79 w 108"/>
              <a:gd name="T35" fmla="*/ 131 h 166"/>
              <a:gd name="T36" fmla="*/ 75 w 108"/>
              <a:gd name="T37" fmla="*/ 127 h 166"/>
              <a:gd name="T38" fmla="*/ 75 w 108"/>
              <a:gd name="T39" fmla="*/ 139 h 166"/>
              <a:gd name="T40" fmla="*/ 34 w 108"/>
              <a:gd name="T41" fmla="*/ 139 h 166"/>
              <a:gd name="T42" fmla="*/ 30 w 108"/>
              <a:gd name="T43" fmla="*/ 143 h 166"/>
              <a:gd name="T44" fmla="*/ 30 w 108"/>
              <a:gd name="T45" fmla="*/ 143 h 166"/>
              <a:gd name="T46" fmla="*/ 34 w 108"/>
              <a:gd name="T47" fmla="*/ 147 h 166"/>
              <a:gd name="T48" fmla="*/ 75 w 108"/>
              <a:gd name="T49" fmla="*/ 147 h 166"/>
              <a:gd name="T50" fmla="*/ 79 w 108"/>
              <a:gd name="T51" fmla="*/ 143 h 166"/>
              <a:gd name="T52" fmla="*/ 79 w 108"/>
              <a:gd name="T53" fmla="*/ 143 h 166"/>
              <a:gd name="T54" fmla="*/ 75 w 108"/>
              <a:gd name="T55" fmla="*/ 139 h 166"/>
              <a:gd name="T56" fmla="*/ 75 w 108"/>
              <a:gd name="T57" fmla="*/ 150 h 166"/>
              <a:gd name="T58" fmla="*/ 34 w 108"/>
              <a:gd name="T59" fmla="*/ 150 h 166"/>
              <a:gd name="T60" fmla="*/ 30 w 108"/>
              <a:gd name="T61" fmla="*/ 154 h 166"/>
              <a:gd name="T62" fmla="*/ 30 w 108"/>
              <a:gd name="T63" fmla="*/ 156 h 166"/>
              <a:gd name="T64" fmla="*/ 34 w 108"/>
              <a:gd name="T65" fmla="*/ 160 h 166"/>
              <a:gd name="T66" fmla="*/ 38 w 108"/>
              <a:gd name="T67" fmla="*/ 160 h 166"/>
              <a:gd name="T68" fmla="*/ 38 w 108"/>
              <a:gd name="T69" fmla="*/ 162 h 166"/>
              <a:gd name="T70" fmla="*/ 42 w 108"/>
              <a:gd name="T71" fmla="*/ 166 h 166"/>
              <a:gd name="T72" fmla="*/ 66 w 108"/>
              <a:gd name="T73" fmla="*/ 166 h 166"/>
              <a:gd name="T74" fmla="*/ 70 w 108"/>
              <a:gd name="T75" fmla="*/ 162 h 166"/>
              <a:gd name="T76" fmla="*/ 70 w 108"/>
              <a:gd name="T77" fmla="*/ 160 h 166"/>
              <a:gd name="T78" fmla="*/ 75 w 108"/>
              <a:gd name="T79" fmla="*/ 160 h 166"/>
              <a:gd name="T80" fmla="*/ 79 w 108"/>
              <a:gd name="T81" fmla="*/ 156 h 166"/>
              <a:gd name="T82" fmla="*/ 79 w 108"/>
              <a:gd name="T83" fmla="*/ 154 h 166"/>
              <a:gd name="T84" fmla="*/ 75 w 108"/>
              <a:gd name="T85" fmla="*/ 15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8" h="166">
                <a:moveTo>
                  <a:pt x="108" y="53"/>
                </a:moveTo>
                <a:cubicBezTo>
                  <a:pt x="108" y="68"/>
                  <a:pt x="103" y="81"/>
                  <a:pt x="94" y="90"/>
                </a:cubicBezTo>
                <a:cubicBezTo>
                  <a:pt x="76" y="111"/>
                  <a:pt x="86" y="123"/>
                  <a:pt x="77" y="123"/>
                </a:cubicBezTo>
                <a:cubicBezTo>
                  <a:pt x="32" y="123"/>
                  <a:pt x="32" y="123"/>
                  <a:pt x="32" y="123"/>
                </a:cubicBezTo>
                <a:cubicBezTo>
                  <a:pt x="22" y="123"/>
                  <a:pt x="33" y="111"/>
                  <a:pt x="15" y="90"/>
                </a:cubicBezTo>
                <a:cubicBezTo>
                  <a:pt x="6" y="81"/>
                  <a:pt x="0" y="68"/>
                  <a:pt x="0" y="53"/>
                </a:cubicBezTo>
                <a:cubicBezTo>
                  <a:pt x="0" y="24"/>
                  <a:pt x="25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84" y="0"/>
                  <a:pt x="108" y="24"/>
                  <a:pt x="108" y="53"/>
                </a:cubicBezTo>
                <a:moveTo>
                  <a:pt x="75" y="127"/>
                </a:moveTo>
                <a:cubicBezTo>
                  <a:pt x="34" y="127"/>
                  <a:pt x="34" y="127"/>
                  <a:pt x="34" y="127"/>
                </a:cubicBezTo>
                <a:cubicBezTo>
                  <a:pt x="32" y="127"/>
                  <a:pt x="30" y="129"/>
                  <a:pt x="30" y="131"/>
                </a:cubicBezTo>
                <a:cubicBezTo>
                  <a:pt x="30" y="132"/>
                  <a:pt x="30" y="132"/>
                  <a:pt x="30" y="132"/>
                </a:cubicBezTo>
                <a:cubicBezTo>
                  <a:pt x="30" y="134"/>
                  <a:pt x="32" y="136"/>
                  <a:pt x="34" y="136"/>
                </a:cubicBezTo>
                <a:cubicBezTo>
                  <a:pt x="75" y="136"/>
                  <a:pt x="75" y="136"/>
                  <a:pt x="75" y="136"/>
                </a:cubicBezTo>
                <a:cubicBezTo>
                  <a:pt x="77" y="136"/>
                  <a:pt x="79" y="134"/>
                  <a:pt x="79" y="132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79" y="129"/>
                  <a:pt x="77" y="127"/>
                  <a:pt x="75" y="127"/>
                </a:cubicBezTo>
                <a:moveTo>
                  <a:pt x="75" y="139"/>
                </a:moveTo>
                <a:cubicBezTo>
                  <a:pt x="34" y="139"/>
                  <a:pt x="34" y="139"/>
                  <a:pt x="34" y="139"/>
                </a:cubicBezTo>
                <a:cubicBezTo>
                  <a:pt x="32" y="139"/>
                  <a:pt x="30" y="141"/>
                  <a:pt x="30" y="143"/>
                </a:cubicBezTo>
                <a:cubicBezTo>
                  <a:pt x="30" y="143"/>
                  <a:pt x="30" y="143"/>
                  <a:pt x="30" y="143"/>
                </a:cubicBezTo>
                <a:cubicBezTo>
                  <a:pt x="30" y="145"/>
                  <a:pt x="32" y="147"/>
                  <a:pt x="34" y="147"/>
                </a:cubicBezTo>
                <a:cubicBezTo>
                  <a:pt x="75" y="147"/>
                  <a:pt x="75" y="147"/>
                  <a:pt x="75" y="147"/>
                </a:cubicBezTo>
                <a:cubicBezTo>
                  <a:pt x="77" y="147"/>
                  <a:pt x="79" y="145"/>
                  <a:pt x="79" y="143"/>
                </a:cubicBezTo>
                <a:cubicBezTo>
                  <a:pt x="79" y="143"/>
                  <a:pt x="79" y="143"/>
                  <a:pt x="79" y="143"/>
                </a:cubicBezTo>
                <a:cubicBezTo>
                  <a:pt x="79" y="141"/>
                  <a:pt x="77" y="139"/>
                  <a:pt x="75" y="139"/>
                </a:cubicBezTo>
                <a:moveTo>
                  <a:pt x="75" y="150"/>
                </a:moveTo>
                <a:cubicBezTo>
                  <a:pt x="34" y="150"/>
                  <a:pt x="34" y="150"/>
                  <a:pt x="34" y="150"/>
                </a:cubicBezTo>
                <a:cubicBezTo>
                  <a:pt x="32" y="150"/>
                  <a:pt x="30" y="152"/>
                  <a:pt x="30" y="154"/>
                </a:cubicBezTo>
                <a:cubicBezTo>
                  <a:pt x="30" y="156"/>
                  <a:pt x="30" y="156"/>
                  <a:pt x="30" y="156"/>
                </a:cubicBezTo>
                <a:cubicBezTo>
                  <a:pt x="30" y="159"/>
                  <a:pt x="32" y="160"/>
                  <a:pt x="34" y="160"/>
                </a:cubicBezTo>
                <a:cubicBezTo>
                  <a:pt x="38" y="160"/>
                  <a:pt x="38" y="160"/>
                  <a:pt x="38" y="160"/>
                </a:cubicBezTo>
                <a:cubicBezTo>
                  <a:pt x="38" y="162"/>
                  <a:pt x="38" y="162"/>
                  <a:pt x="38" y="162"/>
                </a:cubicBezTo>
                <a:cubicBezTo>
                  <a:pt x="38" y="164"/>
                  <a:pt x="40" y="166"/>
                  <a:pt x="42" y="166"/>
                </a:cubicBezTo>
                <a:cubicBezTo>
                  <a:pt x="66" y="166"/>
                  <a:pt x="66" y="166"/>
                  <a:pt x="66" y="166"/>
                </a:cubicBezTo>
                <a:cubicBezTo>
                  <a:pt x="69" y="166"/>
                  <a:pt x="70" y="164"/>
                  <a:pt x="70" y="162"/>
                </a:cubicBezTo>
                <a:cubicBezTo>
                  <a:pt x="70" y="160"/>
                  <a:pt x="70" y="160"/>
                  <a:pt x="70" y="160"/>
                </a:cubicBezTo>
                <a:cubicBezTo>
                  <a:pt x="75" y="160"/>
                  <a:pt x="75" y="160"/>
                  <a:pt x="75" y="160"/>
                </a:cubicBezTo>
                <a:cubicBezTo>
                  <a:pt x="77" y="160"/>
                  <a:pt x="79" y="159"/>
                  <a:pt x="79" y="156"/>
                </a:cubicBezTo>
                <a:cubicBezTo>
                  <a:pt x="79" y="154"/>
                  <a:pt x="79" y="154"/>
                  <a:pt x="79" y="154"/>
                </a:cubicBezTo>
                <a:cubicBezTo>
                  <a:pt x="79" y="152"/>
                  <a:pt x="77" y="150"/>
                  <a:pt x="75" y="150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1" name="Freeform 38"/>
          <p:cNvSpPr>
            <a:spLocks noEditPoints="1"/>
          </p:cNvSpPr>
          <p:nvPr/>
        </p:nvSpPr>
        <p:spPr bwMode="auto">
          <a:xfrm>
            <a:off x="21115249" y="8976189"/>
            <a:ext cx="865830" cy="832394"/>
          </a:xfrm>
          <a:custGeom>
            <a:avLst/>
            <a:gdLst>
              <a:gd name="T0" fmla="*/ 190 w 208"/>
              <a:gd name="T1" fmla="*/ 100 h 200"/>
              <a:gd name="T2" fmla="*/ 188 w 208"/>
              <a:gd name="T3" fmla="*/ 100 h 200"/>
              <a:gd name="T4" fmla="*/ 161 w 208"/>
              <a:gd name="T5" fmla="*/ 24 h 200"/>
              <a:gd name="T6" fmla="*/ 104 w 208"/>
              <a:gd name="T7" fmla="*/ 0 h 200"/>
              <a:gd name="T8" fmla="*/ 47 w 208"/>
              <a:gd name="T9" fmla="*/ 24 h 200"/>
              <a:gd name="T10" fmla="*/ 20 w 208"/>
              <a:gd name="T11" fmla="*/ 100 h 200"/>
              <a:gd name="T12" fmla="*/ 18 w 208"/>
              <a:gd name="T13" fmla="*/ 100 h 200"/>
              <a:gd name="T14" fmla="*/ 14 w 208"/>
              <a:gd name="T15" fmla="*/ 101 h 200"/>
              <a:gd name="T16" fmla="*/ 14 w 208"/>
              <a:gd name="T17" fmla="*/ 170 h 200"/>
              <a:gd name="T18" fmla="*/ 18 w 208"/>
              <a:gd name="T19" fmla="*/ 171 h 200"/>
              <a:gd name="T20" fmla="*/ 42 w 208"/>
              <a:gd name="T21" fmla="*/ 171 h 200"/>
              <a:gd name="T22" fmla="*/ 48 w 208"/>
              <a:gd name="T23" fmla="*/ 106 h 200"/>
              <a:gd name="T24" fmla="*/ 32 w 208"/>
              <a:gd name="T25" fmla="*/ 100 h 200"/>
              <a:gd name="T26" fmla="*/ 55 w 208"/>
              <a:gd name="T27" fmla="*/ 33 h 200"/>
              <a:gd name="T28" fmla="*/ 104 w 208"/>
              <a:gd name="T29" fmla="*/ 16 h 200"/>
              <a:gd name="T30" fmla="*/ 153 w 208"/>
              <a:gd name="T31" fmla="*/ 33 h 200"/>
              <a:gd name="T32" fmla="*/ 176 w 208"/>
              <a:gd name="T33" fmla="*/ 100 h 200"/>
              <a:gd name="T34" fmla="*/ 160 w 208"/>
              <a:gd name="T35" fmla="*/ 106 h 200"/>
              <a:gd name="T36" fmla="*/ 164 w 208"/>
              <a:gd name="T37" fmla="*/ 171 h 200"/>
              <a:gd name="T38" fmla="*/ 121 w 208"/>
              <a:gd name="T39" fmla="*/ 188 h 200"/>
              <a:gd name="T40" fmla="*/ 92 w 208"/>
              <a:gd name="T41" fmla="*/ 184 h 200"/>
              <a:gd name="T42" fmla="*/ 92 w 208"/>
              <a:gd name="T43" fmla="*/ 200 h 200"/>
              <a:gd name="T44" fmla="*/ 121 w 208"/>
              <a:gd name="T45" fmla="*/ 196 h 200"/>
              <a:gd name="T46" fmla="*/ 176 w 208"/>
              <a:gd name="T47" fmla="*/ 171 h 200"/>
              <a:gd name="T48" fmla="*/ 190 w 208"/>
              <a:gd name="T49" fmla="*/ 171 h 200"/>
              <a:gd name="T50" fmla="*/ 190 w 208"/>
              <a:gd name="T51" fmla="*/ 171 h 200"/>
              <a:gd name="T52" fmla="*/ 208 w 208"/>
              <a:gd name="T53" fmla="*/ 135 h 200"/>
              <a:gd name="T54" fmla="*/ 36 w 208"/>
              <a:gd name="T55" fmla="*/ 159 h 200"/>
              <a:gd name="T56" fmla="*/ 24 w 208"/>
              <a:gd name="T57" fmla="*/ 112 h 200"/>
              <a:gd name="T58" fmla="*/ 36 w 208"/>
              <a:gd name="T59" fmla="*/ 159 h 200"/>
              <a:gd name="T60" fmla="*/ 172 w 208"/>
              <a:gd name="T61" fmla="*/ 159 h 200"/>
              <a:gd name="T62" fmla="*/ 184 w 208"/>
              <a:gd name="T63" fmla="*/ 112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08" h="200">
                <a:moveTo>
                  <a:pt x="194" y="101"/>
                </a:moveTo>
                <a:cubicBezTo>
                  <a:pt x="193" y="100"/>
                  <a:pt x="192" y="100"/>
                  <a:pt x="190" y="100"/>
                </a:cubicBezTo>
                <a:cubicBezTo>
                  <a:pt x="190" y="100"/>
                  <a:pt x="190" y="100"/>
                  <a:pt x="190" y="100"/>
                </a:cubicBezTo>
                <a:cubicBezTo>
                  <a:pt x="188" y="100"/>
                  <a:pt x="188" y="100"/>
                  <a:pt x="188" y="100"/>
                </a:cubicBezTo>
                <a:cubicBezTo>
                  <a:pt x="188" y="85"/>
                  <a:pt x="188" y="85"/>
                  <a:pt x="188" y="85"/>
                </a:cubicBezTo>
                <a:cubicBezTo>
                  <a:pt x="188" y="61"/>
                  <a:pt x="177" y="39"/>
                  <a:pt x="161" y="24"/>
                </a:cubicBezTo>
                <a:cubicBezTo>
                  <a:pt x="161" y="22"/>
                  <a:pt x="160" y="20"/>
                  <a:pt x="158" y="19"/>
                </a:cubicBezTo>
                <a:cubicBezTo>
                  <a:pt x="143" y="6"/>
                  <a:pt x="124" y="0"/>
                  <a:pt x="104" y="0"/>
                </a:cubicBezTo>
                <a:cubicBezTo>
                  <a:pt x="84" y="0"/>
                  <a:pt x="65" y="6"/>
                  <a:pt x="50" y="19"/>
                </a:cubicBezTo>
                <a:cubicBezTo>
                  <a:pt x="48" y="20"/>
                  <a:pt x="47" y="22"/>
                  <a:pt x="47" y="24"/>
                </a:cubicBezTo>
                <a:cubicBezTo>
                  <a:pt x="30" y="39"/>
                  <a:pt x="20" y="61"/>
                  <a:pt x="20" y="85"/>
                </a:cubicBezTo>
                <a:cubicBezTo>
                  <a:pt x="20" y="100"/>
                  <a:pt x="20" y="100"/>
                  <a:pt x="20" y="100"/>
                </a:cubicBezTo>
                <a:cubicBezTo>
                  <a:pt x="18" y="100"/>
                  <a:pt x="18" y="100"/>
                  <a:pt x="18" y="100"/>
                </a:cubicBezTo>
                <a:cubicBezTo>
                  <a:pt x="18" y="100"/>
                  <a:pt x="18" y="100"/>
                  <a:pt x="18" y="100"/>
                </a:cubicBezTo>
                <a:cubicBezTo>
                  <a:pt x="18" y="100"/>
                  <a:pt x="18" y="100"/>
                  <a:pt x="18" y="100"/>
                </a:cubicBezTo>
                <a:cubicBezTo>
                  <a:pt x="16" y="100"/>
                  <a:pt x="15" y="100"/>
                  <a:pt x="14" y="101"/>
                </a:cubicBezTo>
                <a:cubicBezTo>
                  <a:pt x="12" y="102"/>
                  <a:pt x="0" y="114"/>
                  <a:pt x="0" y="135"/>
                </a:cubicBezTo>
                <a:cubicBezTo>
                  <a:pt x="0" y="157"/>
                  <a:pt x="12" y="168"/>
                  <a:pt x="14" y="170"/>
                </a:cubicBezTo>
                <a:cubicBezTo>
                  <a:pt x="15" y="170"/>
                  <a:pt x="16" y="171"/>
                  <a:pt x="18" y="171"/>
                </a:cubicBezTo>
                <a:cubicBezTo>
                  <a:pt x="18" y="171"/>
                  <a:pt x="18" y="171"/>
                  <a:pt x="18" y="171"/>
                </a:cubicBezTo>
                <a:cubicBezTo>
                  <a:pt x="18" y="171"/>
                  <a:pt x="18" y="171"/>
                  <a:pt x="18" y="171"/>
                </a:cubicBezTo>
                <a:cubicBezTo>
                  <a:pt x="42" y="171"/>
                  <a:pt x="42" y="171"/>
                  <a:pt x="42" y="171"/>
                </a:cubicBezTo>
                <a:cubicBezTo>
                  <a:pt x="45" y="171"/>
                  <a:pt x="48" y="168"/>
                  <a:pt x="48" y="165"/>
                </a:cubicBezTo>
                <a:cubicBezTo>
                  <a:pt x="48" y="106"/>
                  <a:pt x="48" y="106"/>
                  <a:pt x="48" y="106"/>
                </a:cubicBezTo>
                <a:cubicBezTo>
                  <a:pt x="48" y="102"/>
                  <a:pt x="45" y="100"/>
                  <a:pt x="42" y="100"/>
                </a:cubicBezTo>
                <a:cubicBezTo>
                  <a:pt x="32" y="100"/>
                  <a:pt x="32" y="100"/>
                  <a:pt x="32" y="100"/>
                </a:cubicBezTo>
                <a:cubicBezTo>
                  <a:pt x="32" y="85"/>
                  <a:pt x="32" y="85"/>
                  <a:pt x="32" y="85"/>
                </a:cubicBezTo>
                <a:cubicBezTo>
                  <a:pt x="32" y="65"/>
                  <a:pt x="41" y="46"/>
                  <a:pt x="55" y="33"/>
                </a:cubicBezTo>
                <a:cubicBezTo>
                  <a:pt x="57" y="33"/>
                  <a:pt x="58" y="32"/>
                  <a:pt x="60" y="31"/>
                </a:cubicBezTo>
                <a:cubicBezTo>
                  <a:pt x="72" y="21"/>
                  <a:pt x="88" y="16"/>
                  <a:pt x="104" y="16"/>
                </a:cubicBezTo>
                <a:cubicBezTo>
                  <a:pt x="120" y="16"/>
                  <a:pt x="135" y="21"/>
                  <a:pt x="148" y="31"/>
                </a:cubicBezTo>
                <a:cubicBezTo>
                  <a:pt x="149" y="32"/>
                  <a:pt x="151" y="33"/>
                  <a:pt x="153" y="33"/>
                </a:cubicBezTo>
                <a:cubicBezTo>
                  <a:pt x="167" y="46"/>
                  <a:pt x="176" y="65"/>
                  <a:pt x="176" y="85"/>
                </a:cubicBezTo>
                <a:cubicBezTo>
                  <a:pt x="176" y="100"/>
                  <a:pt x="176" y="100"/>
                  <a:pt x="176" y="100"/>
                </a:cubicBezTo>
                <a:cubicBezTo>
                  <a:pt x="166" y="100"/>
                  <a:pt x="166" y="100"/>
                  <a:pt x="166" y="100"/>
                </a:cubicBezTo>
                <a:cubicBezTo>
                  <a:pt x="163" y="100"/>
                  <a:pt x="160" y="102"/>
                  <a:pt x="160" y="106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68"/>
                  <a:pt x="162" y="170"/>
                  <a:pt x="164" y="171"/>
                </a:cubicBezTo>
                <a:cubicBezTo>
                  <a:pt x="154" y="178"/>
                  <a:pt x="138" y="188"/>
                  <a:pt x="122" y="188"/>
                </a:cubicBezTo>
                <a:cubicBezTo>
                  <a:pt x="121" y="188"/>
                  <a:pt x="121" y="188"/>
                  <a:pt x="121" y="188"/>
                </a:cubicBezTo>
                <a:cubicBezTo>
                  <a:pt x="120" y="186"/>
                  <a:pt x="117" y="184"/>
                  <a:pt x="114" y="184"/>
                </a:cubicBezTo>
                <a:cubicBezTo>
                  <a:pt x="92" y="184"/>
                  <a:pt x="92" y="184"/>
                  <a:pt x="92" y="184"/>
                </a:cubicBezTo>
                <a:cubicBezTo>
                  <a:pt x="87" y="184"/>
                  <a:pt x="84" y="188"/>
                  <a:pt x="84" y="192"/>
                </a:cubicBezTo>
                <a:cubicBezTo>
                  <a:pt x="84" y="197"/>
                  <a:pt x="87" y="200"/>
                  <a:pt x="92" y="200"/>
                </a:cubicBezTo>
                <a:cubicBezTo>
                  <a:pt x="114" y="200"/>
                  <a:pt x="114" y="200"/>
                  <a:pt x="114" y="200"/>
                </a:cubicBezTo>
                <a:cubicBezTo>
                  <a:pt x="117" y="200"/>
                  <a:pt x="120" y="199"/>
                  <a:pt x="121" y="196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45" y="196"/>
                  <a:pt x="168" y="178"/>
                  <a:pt x="176" y="171"/>
                </a:cubicBezTo>
                <a:cubicBezTo>
                  <a:pt x="190" y="171"/>
                  <a:pt x="190" y="171"/>
                  <a:pt x="190" y="171"/>
                </a:cubicBezTo>
                <a:cubicBezTo>
                  <a:pt x="190" y="171"/>
                  <a:pt x="190" y="171"/>
                  <a:pt x="190" y="171"/>
                </a:cubicBezTo>
                <a:cubicBezTo>
                  <a:pt x="190" y="171"/>
                  <a:pt x="190" y="171"/>
                  <a:pt x="190" y="171"/>
                </a:cubicBezTo>
                <a:cubicBezTo>
                  <a:pt x="190" y="171"/>
                  <a:pt x="190" y="171"/>
                  <a:pt x="190" y="171"/>
                </a:cubicBezTo>
                <a:cubicBezTo>
                  <a:pt x="192" y="171"/>
                  <a:pt x="193" y="170"/>
                  <a:pt x="194" y="170"/>
                </a:cubicBezTo>
                <a:cubicBezTo>
                  <a:pt x="195" y="168"/>
                  <a:pt x="208" y="157"/>
                  <a:pt x="208" y="135"/>
                </a:cubicBezTo>
                <a:cubicBezTo>
                  <a:pt x="208" y="114"/>
                  <a:pt x="195" y="102"/>
                  <a:pt x="194" y="101"/>
                </a:cubicBezTo>
                <a:moveTo>
                  <a:pt x="36" y="159"/>
                </a:moveTo>
                <a:cubicBezTo>
                  <a:pt x="24" y="159"/>
                  <a:pt x="24" y="159"/>
                  <a:pt x="24" y="159"/>
                </a:cubicBezTo>
                <a:cubicBezTo>
                  <a:pt x="24" y="112"/>
                  <a:pt x="24" y="112"/>
                  <a:pt x="24" y="112"/>
                </a:cubicBezTo>
                <a:cubicBezTo>
                  <a:pt x="36" y="112"/>
                  <a:pt x="36" y="112"/>
                  <a:pt x="36" y="112"/>
                </a:cubicBezTo>
                <a:lnTo>
                  <a:pt x="36" y="159"/>
                </a:lnTo>
                <a:close/>
                <a:moveTo>
                  <a:pt x="184" y="159"/>
                </a:moveTo>
                <a:cubicBezTo>
                  <a:pt x="172" y="159"/>
                  <a:pt x="172" y="159"/>
                  <a:pt x="172" y="159"/>
                </a:cubicBezTo>
                <a:cubicBezTo>
                  <a:pt x="172" y="112"/>
                  <a:pt x="172" y="112"/>
                  <a:pt x="172" y="112"/>
                </a:cubicBezTo>
                <a:cubicBezTo>
                  <a:pt x="184" y="112"/>
                  <a:pt x="184" y="112"/>
                  <a:pt x="184" y="112"/>
                </a:cubicBezTo>
                <a:lnTo>
                  <a:pt x="184" y="15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2" name="Freeform 41"/>
          <p:cNvSpPr>
            <a:spLocks noEditPoints="1"/>
          </p:cNvSpPr>
          <p:nvPr/>
        </p:nvSpPr>
        <p:spPr bwMode="auto">
          <a:xfrm>
            <a:off x="12650468" y="8567238"/>
            <a:ext cx="901472" cy="1166764"/>
          </a:xfrm>
          <a:custGeom>
            <a:avLst/>
            <a:gdLst>
              <a:gd name="T0" fmla="*/ 130 w 148"/>
              <a:gd name="T1" fmla="*/ 112 h 191"/>
              <a:gd name="T2" fmla="*/ 148 w 148"/>
              <a:gd name="T3" fmla="*/ 67 h 191"/>
              <a:gd name="T4" fmla="*/ 82 w 148"/>
              <a:gd name="T5" fmla="*/ 0 h 191"/>
              <a:gd name="T6" fmla="*/ 45 w 148"/>
              <a:gd name="T7" fmla="*/ 12 h 191"/>
              <a:gd name="T8" fmla="*/ 44 w 148"/>
              <a:gd name="T9" fmla="*/ 12 h 191"/>
              <a:gd name="T10" fmla="*/ 43 w 148"/>
              <a:gd name="T11" fmla="*/ 13 h 191"/>
              <a:gd name="T12" fmla="*/ 28 w 148"/>
              <a:gd name="T13" fmla="*/ 28 h 191"/>
              <a:gd name="T14" fmla="*/ 17 w 148"/>
              <a:gd name="T15" fmla="*/ 53 h 191"/>
              <a:gd name="T16" fmla="*/ 20 w 148"/>
              <a:gd name="T17" fmla="*/ 74 h 191"/>
              <a:gd name="T18" fmla="*/ 2 w 148"/>
              <a:gd name="T19" fmla="*/ 101 h 191"/>
              <a:gd name="T20" fmla="*/ 7 w 148"/>
              <a:gd name="T21" fmla="*/ 110 h 191"/>
              <a:gd name="T22" fmla="*/ 18 w 148"/>
              <a:gd name="T23" fmla="*/ 110 h 191"/>
              <a:gd name="T24" fmla="*/ 19 w 148"/>
              <a:gd name="T25" fmla="*/ 118 h 191"/>
              <a:gd name="T26" fmla="*/ 22 w 148"/>
              <a:gd name="T27" fmla="*/ 122 h 191"/>
              <a:gd name="T28" fmla="*/ 20 w 148"/>
              <a:gd name="T29" fmla="*/ 129 h 191"/>
              <a:gd name="T30" fmla="*/ 25 w 148"/>
              <a:gd name="T31" fmla="*/ 133 h 191"/>
              <a:gd name="T32" fmla="*/ 35 w 148"/>
              <a:gd name="T33" fmla="*/ 152 h 191"/>
              <a:gd name="T34" fmla="*/ 44 w 148"/>
              <a:gd name="T35" fmla="*/ 151 h 191"/>
              <a:gd name="T36" fmla="*/ 51 w 148"/>
              <a:gd name="T37" fmla="*/ 150 h 191"/>
              <a:gd name="T38" fmla="*/ 60 w 148"/>
              <a:gd name="T39" fmla="*/ 159 h 191"/>
              <a:gd name="T40" fmla="*/ 58 w 148"/>
              <a:gd name="T41" fmla="*/ 171 h 191"/>
              <a:gd name="T42" fmla="*/ 49 w 148"/>
              <a:gd name="T43" fmla="*/ 191 h 191"/>
              <a:gd name="T44" fmla="*/ 89 w 148"/>
              <a:gd name="T45" fmla="*/ 171 h 191"/>
              <a:gd name="T46" fmla="*/ 131 w 148"/>
              <a:gd name="T47" fmla="*/ 163 h 191"/>
              <a:gd name="T48" fmla="*/ 130 w 148"/>
              <a:gd name="T49" fmla="*/ 112 h 191"/>
              <a:gd name="T50" fmla="*/ 104 w 148"/>
              <a:gd name="T51" fmla="*/ 76 h 191"/>
              <a:gd name="T52" fmla="*/ 101 w 148"/>
              <a:gd name="T53" fmla="*/ 72 h 191"/>
              <a:gd name="T54" fmla="*/ 70 w 148"/>
              <a:gd name="T55" fmla="*/ 114 h 191"/>
              <a:gd name="T56" fmla="*/ 76 w 148"/>
              <a:gd name="T57" fmla="*/ 78 h 191"/>
              <a:gd name="T58" fmla="*/ 63 w 148"/>
              <a:gd name="T59" fmla="*/ 78 h 191"/>
              <a:gd name="T60" fmla="*/ 68 w 148"/>
              <a:gd name="T61" fmla="*/ 59 h 191"/>
              <a:gd name="T62" fmla="*/ 62 w 148"/>
              <a:gd name="T63" fmla="*/ 59 h 191"/>
              <a:gd name="T64" fmla="*/ 49 w 148"/>
              <a:gd name="T65" fmla="*/ 22 h 191"/>
              <a:gd name="T66" fmla="*/ 49 w 148"/>
              <a:gd name="T67" fmla="*/ 21 h 191"/>
              <a:gd name="T68" fmla="*/ 49 w 148"/>
              <a:gd name="T69" fmla="*/ 21 h 191"/>
              <a:gd name="T70" fmla="*/ 49 w 148"/>
              <a:gd name="T71" fmla="*/ 21 h 191"/>
              <a:gd name="T72" fmla="*/ 50 w 148"/>
              <a:gd name="T73" fmla="*/ 21 h 191"/>
              <a:gd name="T74" fmla="*/ 82 w 148"/>
              <a:gd name="T75" fmla="*/ 11 h 191"/>
              <a:gd name="T76" fmla="*/ 135 w 148"/>
              <a:gd name="T77" fmla="*/ 48 h 191"/>
              <a:gd name="T78" fmla="*/ 135 w 148"/>
              <a:gd name="T79" fmla="*/ 70 h 191"/>
              <a:gd name="T80" fmla="*/ 104 w 148"/>
              <a:gd name="T81" fmla="*/ 76 h 191"/>
              <a:gd name="T82" fmla="*/ 90 w 148"/>
              <a:gd name="T83" fmla="*/ 61 h 191"/>
              <a:gd name="T84" fmla="*/ 103 w 148"/>
              <a:gd name="T85" fmla="*/ 61 h 191"/>
              <a:gd name="T86" fmla="*/ 75 w 148"/>
              <a:gd name="T87" fmla="*/ 102 h 191"/>
              <a:gd name="T88" fmla="*/ 81 w 148"/>
              <a:gd name="T89" fmla="*/ 74 h 191"/>
              <a:gd name="T90" fmla="*/ 68 w 148"/>
              <a:gd name="T91" fmla="*/ 74 h 191"/>
              <a:gd name="T92" fmla="*/ 76 w 148"/>
              <a:gd name="T93" fmla="*/ 40 h 191"/>
              <a:gd name="T94" fmla="*/ 97 w 148"/>
              <a:gd name="T95" fmla="*/ 40 h 191"/>
              <a:gd name="T96" fmla="*/ 90 w 148"/>
              <a:gd name="T97" fmla="*/ 6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8" h="191">
                <a:moveTo>
                  <a:pt x="130" y="112"/>
                </a:moveTo>
                <a:cubicBezTo>
                  <a:pt x="142" y="92"/>
                  <a:pt x="148" y="84"/>
                  <a:pt x="148" y="67"/>
                </a:cubicBezTo>
                <a:cubicBezTo>
                  <a:pt x="148" y="30"/>
                  <a:pt x="118" y="0"/>
                  <a:pt x="82" y="0"/>
                </a:cubicBezTo>
                <a:cubicBezTo>
                  <a:pt x="68" y="0"/>
                  <a:pt x="55" y="5"/>
                  <a:pt x="45" y="12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12"/>
                  <a:pt x="44" y="12"/>
                  <a:pt x="43" y="13"/>
                </a:cubicBezTo>
                <a:cubicBezTo>
                  <a:pt x="37" y="17"/>
                  <a:pt x="32" y="22"/>
                  <a:pt x="28" y="28"/>
                </a:cubicBezTo>
                <a:cubicBezTo>
                  <a:pt x="23" y="35"/>
                  <a:pt x="19" y="44"/>
                  <a:pt x="17" y="53"/>
                </a:cubicBezTo>
                <a:cubicBezTo>
                  <a:pt x="14" y="68"/>
                  <a:pt x="20" y="68"/>
                  <a:pt x="20" y="74"/>
                </a:cubicBezTo>
                <a:cubicBezTo>
                  <a:pt x="20" y="79"/>
                  <a:pt x="11" y="89"/>
                  <a:pt x="2" y="101"/>
                </a:cubicBezTo>
                <a:cubicBezTo>
                  <a:pt x="0" y="104"/>
                  <a:pt x="1" y="110"/>
                  <a:pt x="7" y="110"/>
                </a:cubicBezTo>
                <a:cubicBezTo>
                  <a:pt x="18" y="110"/>
                  <a:pt x="18" y="110"/>
                  <a:pt x="18" y="110"/>
                </a:cubicBezTo>
                <a:cubicBezTo>
                  <a:pt x="25" y="110"/>
                  <a:pt x="20" y="117"/>
                  <a:pt x="19" y="118"/>
                </a:cubicBezTo>
                <a:cubicBezTo>
                  <a:pt x="19" y="119"/>
                  <a:pt x="22" y="122"/>
                  <a:pt x="22" y="122"/>
                </a:cubicBezTo>
                <a:cubicBezTo>
                  <a:pt x="22" y="122"/>
                  <a:pt x="18" y="126"/>
                  <a:pt x="20" y="129"/>
                </a:cubicBezTo>
                <a:cubicBezTo>
                  <a:pt x="20" y="130"/>
                  <a:pt x="26" y="129"/>
                  <a:pt x="25" y="133"/>
                </a:cubicBezTo>
                <a:cubicBezTo>
                  <a:pt x="21" y="150"/>
                  <a:pt x="30" y="152"/>
                  <a:pt x="35" y="152"/>
                </a:cubicBezTo>
                <a:cubicBezTo>
                  <a:pt x="38" y="152"/>
                  <a:pt x="41" y="152"/>
                  <a:pt x="44" y="151"/>
                </a:cubicBezTo>
                <a:cubicBezTo>
                  <a:pt x="46" y="150"/>
                  <a:pt x="49" y="150"/>
                  <a:pt x="51" y="150"/>
                </a:cubicBezTo>
                <a:cubicBezTo>
                  <a:pt x="57" y="150"/>
                  <a:pt x="61" y="153"/>
                  <a:pt x="60" y="159"/>
                </a:cubicBezTo>
                <a:cubicBezTo>
                  <a:pt x="58" y="164"/>
                  <a:pt x="58" y="167"/>
                  <a:pt x="58" y="171"/>
                </a:cubicBezTo>
                <a:cubicBezTo>
                  <a:pt x="57" y="175"/>
                  <a:pt x="49" y="191"/>
                  <a:pt x="49" y="191"/>
                </a:cubicBezTo>
                <a:cubicBezTo>
                  <a:pt x="49" y="191"/>
                  <a:pt x="62" y="182"/>
                  <a:pt x="89" y="171"/>
                </a:cubicBezTo>
                <a:cubicBezTo>
                  <a:pt x="115" y="159"/>
                  <a:pt x="131" y="163"/>
                  <a:pt x="131" y="163"/>
                </a:cubicBezTo>
                <a:cubicBezTo>
                  <a:pt x="131" y="163"/>
                  <a:pt x="118" y="132"/>
                  <a:pt x="130" y="112"/>
                </a:cubicBezTo>
                <a:close/>
                <a:moveTo>
                  <a:pt x="104" y="76"/>
                </a:moveTo>
                <a:cubicBezTo>
                  <a:pt x="103" y="75"/>
                  <a:pt x="102" y="73"/>
                  <a:pt x="101" y="72"/>
                </a:cubicBezTo>
                <a:cubicBezTo>
                  <a:pt x="70" y="114"/>
                  <a:pt x="70" y="114"/>
                  <a:pt x="70" y="114"/>
                </a:cubicBezTo>
                <a:cubicBezTo>
                  <a:pt x="76" y="78"/>
                  <a:pt x="76" y="78"/>
                  <a:pt x="76" y="78"/>
                </a:cubicBezTo>
                <a:cubicBezTo>
                  <a:pt x="63" y="78"/>
                  <a:pt x="63" y="78"/>
                  <a:pt x="63" y="78"/>
                </a:cubicBezTo>
                <a:cubicBezTo>
                  <a:pt x="68" y="59"/>
                  <a:pt x="68" y="59"/>
                  <a:pt x="68" y="59"/>
                </a:cubicBezTo>
                <a:cubicBezTo>
                  <a:pt x="66" y="59"/>
                  <a:pt x="64" y="59"/>
                  <a:pt x="62" y="59"/>
                </a:cubicBezTo>
                <a:cubicBezTo>
                  <a:pt x="37" y="62"/>
                  <a:pt x="30" y="36"/>
                  <a:pt x="49" y="22"/>
                </a:cubicBezTo>
                <a:cubicBezTo>
                  <a:pt x="49" y="21"/>
                  <a:pt x="49" y="21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50" y="21"/>
                  <a:pt x="50" y="21"/>
                  <a:pt x="50" y="21"/>
                </a:cubicBezTo>
                <a:cubicBezTo>
                  <a:pt x="59" y="14"/>
                  <a:pt x="70" y="11"/>
                  <a:pt x="82" y="11"/>
                </a:cubicBezTo>
                <a:cubicBezTo>
                  <a:pt x="106" y="11"/>
                  <a:pt x="127" y="26"/>
                  <a:pt x="135" y="48"/>
                </a:cubicBezTo>
                <a:cubicBezTo>
                  <a:pt x="138" y="57"/>
                  <a:pt x="138" y="63"/>
                  <a:pt x="135" y="70"/>
                </a:cubicBezTo>
                <a:cubicBezTo>
                  <a:pt x="130" y="82"/>
                  <a:pt x="108" y="83"/>
                  <a:pt x="104" y="76"/>
                </a:cubicBezTo>
                <a:close/>
                <a:moveTo>
                  <a:pt x="90" y="61"/>
                </a:moveTo>
                <a:cubicBezTo>
                  <a:pt x="103" y="61"/>
                  <a:pt x="103" y="61"/>
                  <a:pt x="103" y="61"/>
                </a:cubicBezTo>
                <a:cubicBezTo>
                  <a:pt x="75" y="102"/>
                  <a:pt x="75" y="102"/>
                  <a:pt x="75" y="102"/>
                </a:cubicBezTo>
                <a:cubicBezTo>
                  <a:pt x="81" y="74"/>
                  <a:pt x="81" y="74"/>
                  <a:pt x="81" y="74"/>
                </a:cubicBezTo>
                <a:cubicBezTo>
                  <a:pt x="68" y="74"/>
                  <a:pt x="68" y="74"/>
                  <a:pt x="68" y="74"/>
                </a:cubicBezTo>
                <a:cubicBezTo>
                  <a:pt x="76" y="40"/>
                  <a:pt x="76" y="40"/>
                  <a:pt x="76" y="40"/>
                </a:cubicBezTo>
                <a:cubicBezTo>
                  <a:pt x="97" y="40"/>
                  <a:pt x="97" y="40"/>
                  <a:pt x="97" y="40"/>
                </a:cubicBezTo>
                <a:lnTo>
                  <a:pt x="90" y="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3" name="Freeform 44"/>
          <p:cNvSpPr>
            <a:spLocks noEditPoints="1"/>
          </p:cNvSpPr>
          <p:nvPr/>
        </p:nvSpPr>
        <p:spPr bwMode="auto">
          <a:xfrm>
            <a:off x="22725938" y="5964446"/>
            <a:ext cx="960712" cy="1213124"/>
          </a:xfrm>
          <a:custGeom>
            <a:avLst/>
            <a:gdLst>
              <a:gd name="T0" fmla="*/ 110 w 158"/>
              <a:gd name="T1" fmla="*/ 184 h 199"/>
              <a:gd name="T2" fmla="*/ 115 w 158"/>
              <a:gd name="T3" fmla="*/ 199 h 199"/>
              <a:gd name="T4" fmla="*/ 37 w 158"/>
              <a:gd name="T5" fmla="*/ 199 h 199"/>
              <a:gd name="T6" fmla="*/ 32 w 158"/>
              <a:gd name="T7" fmla="*/ 184 h 199"/>
              <a:gd name="T8" fmla="*/ 41 w 158"/>
              <a:gd name="T9" fmla="*/ 184 h 199"/>
              <a:gd name="T10" fmla="*/ 36 w 158"/>
              <a:gd name="T11" fmla="*/ 173 h 199"/>
              <a:gd name="T12" fmla="*/ 62 w 158"/>
              <a:gd name="T13" fmla="*/ 173 h 199"/>
              <a:gd name="T14" fmla="*/ 7 w 158"/>
              <a:gd name="T15" fmla="*/ 18 h 199"/>
              <a:gd name="T16" fmla="*/ 0 w 158"/>
              <a:gd name="T17" fmla="*/ 9 h 199"/>
              <a:gd name="T18" fmla="*/ 9 w 158"/>
              <a:gd name="T19" fmla="*/ 0 h 199"/>
              <a:gd name="T20" fmla="*/ 18 w 158"/>
              <a:gd name="T21" fmla="*/ 9 h 199"/>
              <a:gd name="T22" fmla="*/ 15 w 158"/>
              <a:gd name="T23" fmla="*/ 15 h 199"/>
              <a:gd name="T24" fmla="*/ 71 w 158"/>
              <a:gd name="T25" fmla="*/ 173 h 199"/>
              <a:gd name="T26" fmla="*/ 97 w 158"/>
              <a:gd name="T27" fmla="*/ 173 h 199"/>
              <a:gd name="T28" fmla="*/ 101 w 158"/>
              <a:gd name="T29" fmla="*/ 184 h 199"/>
              <a:gd name="T30" fmla="*/ 110 w 158"/>
              <a:gd name="T31" fmla="*/ 184 h 199"/>
              <a:gd name="T32" fmla="*/ 75 w 158"/>
              <a:gd name="T33" fmla="*/ 73 h 199"/>
              <a:gd name="T34" fmla="*/ 58 w 158"/>
              <a:gd name="T35" fmla="*/ 27 h 199"/>
              <a:gd name="T36" fmla="*/ 72 w 158"/>
              <a:gd name="T37" fmla="*/ 19 h 199"/>
              <a:gd name="T38" fmla="*/ 20 w 158"/>
              <a:gd name="T39" fmla="*/ 19 h 199"/>
              <a:gd name="T40" fmla="*/ 39 w 158"/>
              <a:gd name="T41" fmla="*/ 73 h 199"/>
              <a:gd name="T42" fmla="*/ 75 w 158"/>
              <a:gd name="T43" fmla="*/ 73 h 199"/>
              <a:gd name="T44" fmla="*/ 66 w 158"/>
              <a:gd name="T45" fmla="*/ 33 h 199"/>
              <a:gd name="T46" fmla="*/ 85 w 158"/>
              <a:gd name="T47" fmla="*/ 87 h 199"/>
              <a:gd name="T48" fmla="*/ 158 w 158"/>
              <a:gd name="T49" fmla="*/ 87 h 199"/>
              <a:gd name="T50" fmla="*/ 124 w 158"/>
              <a:gd name="T51" fmla="*/ 60 h 199"/>
              <a:gd name="T52" fmla="*/ 139 w 158"/>
              <a:gd name="T53" fmla="*/ 33 h 199"/>
              <a:gd name="T54" fmla="*/ 66 w 158"/>
              <a:gd name="T55" fmla="*/ 33 h 199"/>
              <a:gd name="T56" fmla="*/ 84 w 158"/>
              <a:gd name="T57" fmla="*/ 28 h 199"/>
              <a:gd name="T58" fmla="*/ 81 w 158"/>
              <a:gd name="T59" fmla="*/ 19 h 199"/>
              <a:gd name="T60" fmla="*/ 66 w 158"/>
              <a:gd name="T61" fmla="*/ 28 h 199"/>
              <a:gd name="T62" fmla="*/ 84 w 158"/>
              <a:gd name="T63" fmla="*/ 28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8" h="199">
                <a:moveTo>
                  <a:pt x="110" y="184"/>
                </a:moveTo>
                <a:cubicBezTo>
                  <a:pt x="115" y="199"/>
                  <a:pt x="115" y="199"/>
                  <a:pt x="115" y="199"/>
                </a:cubicBezTo>
                <a:cubicBezTo>
                  <a:pt x="37" y="199"/>
                  <a:pt x="37" y="199"/>
                  <a:pt x="37" y="199"/>
                </a:cubicBezTo>
                <a:cubicBezTo>
                  <a:pt x="32" y="184"/>
                  <a:pt x="32" y="184"/>
                  <a:pt x="32" y="184"/>
                </a:cubicBezTo>
                <a:cubicBezTo>
                  <a:pt x="41" y="184"/>
                  <a:pt x="41" y="184"/>
                  <a:pt x="41" y="184"/>
                </a:cubicBezTo>
                <a:cubicBezTo>
                  <a:pt x="36" y="173"/>
                  <a:pt x="36" y="173"/>
                  <a:pt x="36" y="173"/>
                </a:cubicBezTo>
                <a:cubicBezTo>
                  <a:pt x="62" y="173"/>
                  <a:pt x="62" y="173"/>
                  <a:pt x="62" y="173"/>
                </a:cubicBezTo>
                <a:cubicBezTo>
                  <a:pt x="7" y="18"/>
                  <a:pt x="7" y="18"/>
                  <a:pt x="7" y="18"/>
                </a:cubicBezTo>
                <a:cubicBezTo>
                  <a:pt x="3" y="17"/>
                  <a:pt x="0" y="13"/>
                  <a:pt x="0" y="9"/>
                </a:cubicBezTo>
                <a:cubicBezTo>
                  <a:pt x="0" y="4"/>
                  <a:pt x="4" y="0"/>
                  <a:pt x="9" y="0"/>
                </a:cubicBezTo>
                <a:cubicBezTo>
                  <a:pt x="14" y="0"/>
                  <a:pt x="18" y="4"/>
                  <a:pt x="18" y="9"/>
                </a:cubicBezTo>
                <a:cubicBezTo>
                  <a:pt x="18" y="11"/>
                  <a:pt x="17" y="14"/>
                  <a:pt x="15" y="15"/>
                </a:cubicBezTo>
                <a:cubicBezTo>
                  <a:pt x="71" y="173"/>
                  <a:pt x="71" y="173"/>
                  <a:pt x="71" y="173"/>
                </a:cubicBezTo>
                <a:cubicBezTo>
                  <a:pt x="97" y="173"/>
                  <a:pt x="97" y="173"/>
                  <a:pt x="97" y="173"/>
                </a:cubicBezTo>
                <a:cubicBezTo>
                  <a:pt x="101" y="184"/>
                  <a:pt x="101" y="184"/>
                  <a:pt x="101" y="184"/>
                </a:cubicBezTo>
                <a:lnTo>
                  <a:pt x="110" y="184"/>
                </a:lnTo>
                <a:close/>
                <a:moveTo>
                  <a:pt x="75" y="73"/>
                </a:moveTo>
                <a:cubicBezTo>
                  <a:pt x="58" y="27"/>
                  <a:pt x="58" y="27"/>
                  <a:pt x="58" y="27"/>
                </a:cubicBezTo>
                <a:cubicBezTo>
                  <a:pt x="72" y="19"/>
                  <a:pt x="72" y="19"/>
                  <a:pt x="72" y="19"/>
                </a:cubicBezTo>
                <a:cubicBezTo>
                  <a:pt x="20" y="19"/>
                  <a:pt x="20" y="19"/>
                  <a:pt x="20" y="19"/>
                </a:cubicBezTo>
                <a:cubicBezTo>
                  <a:pt x="39" y="73"/>
                  <a:pt x="39" y="73"/>
                  <a:pt x="39" y="73"/>
                </a:cubicBezTo>
                <a:lnTo>
                  <a:pt x="75" y="73"/>
                </a:lnTo>
                <a:close/>
                <a:moveTo>
                  <a:pt x="66" y="33"/>
                </a:moveTo>
                <a:cubicBezTo>
                  <a:pt x="85" y="87"/>
                  <a:pt x="85" y="87"/>
                  <a:pt x="85" y="87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24" y="60"/>
                  <a:pt x="124" y="60"/>
                  <a:pt x="124" y="60"/>
                </a:cubicBezTo>
                <a:cubicBezTo>
                  <a:pt x="139" y="33"/>
                  <a:pt x="139" y="33"/>
                  <a:pt x="139" y="33"/>
                </a:cubicBezTo>
                <a:lnTo>
                  <a:pt x="66" y="33"/>
                </a:lnTo>
                <a:close/>
                <a:moveTo>
                  <a:pt x="84" y="28"/>
                </a:moveTo>
                <a:cubicBezTo>
                  <a:pt x="81" y="19"/>
                  <a:pt x="81" y="19"/>
                  <a:pt x="81" y="19"/>
                </a:cubicBezTo>
                <a:cubicBezTo>
                  <a:pt x="66" y="28"/>
                  <a:pt x="66" y="28"/>
                  <a:pt x="66" y="28"/>
                </a:cubicBezTo>
                <a:lnTo>
                  <a:pt x="84" y="2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4" name="Freeform 53"/>
          <p:cNvSpPr>
            <a:spLocks noEditPoints="1"/>
          </p:cNvSpPr>
          <p:nvPr/>
        </p:nvSpPr>
        <p:spPr bwMode="auto">
          <a:xfrm>
            <a:off x="18926783" y="6618354"/>
            <a:ext cx="1115202" cy="1055416"/>
          </a:xfrm>
          <a:custGeom>
            <a:avLst/>
            <a:gdLst>
              <a:gd name="T0" fmla="*/ 86 w 205"/>
              <a:gd name="T1" fmla="*/ 179 h 194"/>
              <a:gd name="T2" fmla="*/ 80 w 205"/>
              <a:gd name="T3" fmla="*/ 174 h 194"/>
              <a:gd name="T4" fmla="*/ 86 w 205"/>
              <a:gd name="T5" fmla="*/ 168 h 194"/>
              <a:gd name="T6" fmla="*/ 121 w 205"/>
              <a:gd name="T7" fmla="*/ 168 h 194"/>
              <a:gd name="T8" fmla="*/ 127 w 205"/>
              <a:gd name="T9" fmla="*/ 174 h 194"/>
              <a:gd name="T10" fmla="*/ 121 w 205"/>
              <a:gd name="T11" fmla="*/ 179 h 194"/>
              <a:gd name="T12" fmla="*/ 86 w 205"/>
              <a:gd name="T13" fmla="*/ 179 h 194"/>
              <a:gd name="T14" fmla="*/ 137 w 205"/>
              <a:gd name="T15" fmla="*/ 182 h 194"/>
              <a:gd name="T16" fmla="*/ 69 w 205"/>
              <a:gd name="T17" fmla="*/ 182 h 194"/>
              <a:gd name="T18" fmla="*/ 63 w 205"/>
              <a:gd name="T19" fmla="*/ 188 h 194"/>
              <a:gd name="T20" fmla="*/ 69 w 205"/>
              <a:gd name="T21" fmla="*/ 194 h 194"/>
              <a:gd name="T22" fmla="*/ 137 w 205"/>
              <a:gd name="T23" fmla="*/ 194 h 194"/>
              <a:gd name="T24" fmla="*/ 143 w 205"/>
              <a:gd name="T25" fmla="*/ 188 h 194"/>
              <a:gd name="T26" fmla="*/ 137 w 205"/>
              <a:gd name="T27" fmla="*/ 182 h 194"/>
              <a:gd name="T28" fmla="*/ 205 w 205"/>
              <a:gd name="T29" fmla="*/ 125 h 194"/>
              <a:gd name="T30" fmla="*/ 169 w 205"/>
              <a:gd name="T31" fmla="*/ 153 h 194"/>
              <a:gd name="T32" fmla="*/ 134 w 205"/>
              <a:gd name="T33" fmla="*/ 125 h 194"/>
              <a:gd name="T34" fmla="*/ 137 w 205"/>
              <a:gd name="T35" fmla="*/ 125 h 194"/>
              <a:gd name="T36" fmla="*/ 165 w 205"/>
              <a:gd name="T37" fmla="*/ 48 h 194"/>
              <a:gd name="T38" fmla="*/ 165 w 205"/>
              <a:gd name="T39" fmla="*/ 47 h 194"/>
              <a:gd name="T40" fmla="*/ 161 w 205"/>
              <a:gd name="T41" fmla="*/ 42 h 194"/>
              <a:gd name="T42" fmla="*/ 109 w 205"/>
              <a:gd name="T43" fmla="*/ 32 h 194"/>
              <a:gd name="T44" fmla="*/ 109 w 205"/>
              <a:gd name="T45" fmla="*/ 164 h 194"/>
              <a:gd name="T46" fmla="*/ 97 w 205"/>
              <a:gd name="T47" fmla="*/ 164 h 194"/>
              <a:gd name="T48" fmla="*/ 97 w 205"/>
              <a:gd name="T49" fmla="*/ 32 h 194"/>
              <a:gd name="T50" fmla="*/ 45 w 205"/>
              <a:gd name="T51" fmla="*/ 42 h 194"/>
              <a:gd name="T52" fmla="*/ 42 w 205"/>
              <a:gd name="T53" fmla="*/ 47 h 194"/>
              <a:gd name="T54" fmla="*/ 40 w 205"/>
              <a:gd name="T55" fmla="*/ 48 h 194"/>
              <a:gd name="T56" fmla="*/ 67 w 205"/>
              <a:gd name="T57" fmla="*/ 125 h 194"/>
              <a:gd name="T58" fmla="*/ 71 w 205"/>
              <a:gd name="T59" fmla="*/ 125 h 194"/>
              <a:gd name="T60" fmla="*/ 35 w 205"/>
              <a:gd name="T61" fmla="*/ 153 h 194"/>
              <a:gd name="T62" fmla="*/ 0 w 205"/>
              <a:gd name="T63" fmla="*/ 125 h 194"/>
              <a:gd name="T64" fmla="*/ 3 w 205"/>
              <a:gd name="T65" fmla="*/ 125 h 194"/>
              <a:gd name="T66" fmla="*/ 32 w 205"/>
              <a:gd name="T67" fmla="*/ 47 h 194"/>
              <a:gd name="T68" fmla="*/ 29 w 205"/>
              <a:gd name="T69" fmla="*/ 45 h 194"/>
              <a:gd name="T70" fmla="*/ 32 w 205"/>
              <a:gd name="T71" fmla="*/ 33 h 194"/>
              <a:gd name="T72" fmla="*/ 40 w 205"/>
              <a:gd name="T73" fmla="*/ 32 h 194"/>
              <a:gd name="T74" fmla="*/ 97 w 205"/>
              <a:gd name="T75" fmla="*/ 20 h 194"/>
              <a:gd name="T76" fmla="*/ 97 w 205"/>
              <a:gd name="T77" fmla="*/ 15 h 194"/>
              <a:gd name="T78" fmla="*/ 94 w 205"/>
              <a:gd name="T79" fmla="*/ 9 h 194"/>
              <a:gd name="T80" fmla="*/ 103 w 205"/>
              <a:gd name="T81" fmla="*/ 0 h 194"/>
              <a:gd name="T82" fmla="*/ 112 w 205"/>
              <a:gd name="T83" fmla="*/ 9 h 194"/>
              <a:gd name="T84" fmla="*/ 109 w 205"/>
              <a:gd name="T85" fmla="*/ 15 h 194"/>
              <a:gd name="T86" fmla="*/ 109 w 205"/>
              <a:gd name="T87" fmla="*/ 20 h 194"/>
              <a:gd name="T88" fmla="*/ 167 w 205"/>
              <a:gd name="T89" fmla="*/ 32 h 194"/>
              <a:gd name="T90" fmla="*/ 175 w 205"/>
              <a:gd name="T91" fmla="*/ 33 h 194"/>
              <a:gd name="T92" fmla="*/ 177 w 205"/>
              <a:gd name="T93" fmla="*/ 45 h 194"/>
              <a:gd name="T94" fmla="*/ 174 w 205"/>
              <a:gd name="T95" fmla="*/ 48 h 194"/>
              <a:gd name="T96" fmla="*/ 201 w 205"/>
              <a:gd name="T97" fmla="*/ 125 h 194"/>
              <a:gd name="T98" fmla="*/ 205 w 205"/>
              <a:gd name="T99" fmla="*/ 125 h 194"/>
              <a:gd name="T100" fmla="*/ 35 w 205"/>
              <a:gd name="T101" fmla="*/ 57 h 194"/>
              <a:gd name="T102" fmla="*/ 12 w 205"/>
              <a:gd name="T103" fmla="*/ 125 h 194"/>
              <a:gd name="T104" fmla="*/ 58 w 205"/>
              <a:gd name="T105" fmla="*/ 125 h 194"/>
              <a:gd name="T106" fmla="*/ 58 w 205"/>
              <a:gd name="T107" fmla="*/ 125 h 194"/>
              <a:gd name="T108" fmla="*/ 35 w 205"/>
              <a:gd name="T109" fmla="*/ 57 h 194"/>
              <a:gd name="T110" fmla="*/ 192 w 205"/>
              <a:gd name="T111" fmla="*/ 125 h 194"/>
              <a:gd name="T112" fmla="*/ 169 w 205"/>
              <a:gd name="T113" fmla="*/ 57 h 194"/>
              <a:gd name="T114" fmla="*/ 146 w 205"/>
              <a:gd name="T115" fmla="*/ 125 h 194"/>
              <a:gd name="T116" fmla="*/ 192 w 205"/>
              <a:gd name="T117" fmla="*/ 125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05" h="194">
                <a:moveTo>
                  <a:pt x="86" y="179"/>
                </a:moveTo>
                <a:cubicBezTo>
                  <a:pt x="82" y="179"/>
                  <a:pt x="80" y="177"/>
                  <a:pt x="80" y="174"/>
                </a:cubicBezTo>
                <a:cubicBezTo>
                  <a:pt x="80" y="170"/>
                  <a:pt x="82" y="168"/>
                  <a:pt x="86" y="168"/>
                </a:cubicBezTo>
                <a:cubicBezTo>
                  <a:pt x="121" y="168"/>
                  <a:pt x="121" y="168"/>
                  <a:pt x="121" y="168"/>
                </a:cubicBezTo>
                <a:cubicBezTo>
                  <a:pt x="124" y="168"/>
                  <a:pt x="127" y="170"/>
                  <a:pt x="127" y="174"/>
                </a:cubicBezTo>
                <a:cubicBezTo>
                  <a:pt x="127" y="177"/>
                  <a:pt x="124" y="179"/>
                  <a:pt x="121" y="179"/>
                </a:cubicBezTo>
                <a:lnTo>
                  <a:pt x="86" y="179"/>
                </a:lnTo>
                <a:close/>
                <a:moveTo>
                  <a:pt x="137" y="182"/>
                </a:moveTo>
                <a:cubicBezTo>
                  <a:pt x="69" y="182"/>
                  <a:pt x="69" y="182"/>
                  <a:pt x="69" y="182"/>
                </a:cubicBezTo>
                <a:cubicBezTo>
                  <a:pt x="66" y="182"/>
                  <a:pt x="63" y="185"/>
                  <a:pt x="63" y="188"/>
                </a:cubicBezTo>
                <a:cubicBezTo>
                  <a:pt x="63" y="191"/>
                  <a:pt x="66" y="194"/>
                  <a:pt x="69" y="194"/>
                </a:cubicBezTo>
                <a:cubicBezTo>
                  <a:pt x="137" y="194"/>
                  <a:pt x="137" y="194"/>
                  <a:pt x="137" y="194"/>
                </a:cubicBezTo>
                <a:cubicBezTo>
                  <a:pt x="141" y="194"/>
                  <a:pt x="143" y="191"/>
                  <a:pt x="143" y="188"/>
                </a:cubicBezTo>
                <a:cubicBezTo>
                  <a:pt x="143" y="185"/>
                  <a:pt x="141" y="182"/>
                  <a:pt x="137" y="182"/>
                </a:cubicBezTo>
                <a:close/>
                <a:moveTo>
                  <a:pt x="205" y="125"/>
                </a:moveTo>
                <a:cubicBezTo>
                  <a:pt x="205" y="140"/>
                  <a:pt x="189" y="153"/>
                  <a:pt x="169" y="153"/>
                </a:cubicBezTo>
                <a:cubicBezTo>
                  <a:pt x="150" y="153"/>
                  <a:pt x="134" y="140"/>
                  <a:pt x="134" y="125"/>
                </a:cubicBezTo>
                <a:cubicBezTo>
                  <a:pt x="137" y="125"/>
                  <a:pt x="137" y="125"/>
                  <a:pt x="137" y="125"/>
                </a:cubicBezTo>
                <a:cubicBezTo>
                  <a:pt x="165" y="48"/>
                  <a:pt x="165" y="48"/>
                  <a:pt x="165" y="48"/>
                </a:cubicBezTo>
                <a:cubicBezTo>
                  <a:pt x="165" y="48"/>
                  <a:pt x="165" y="47"/>
                  <a:pt x="165" y="47"/>
                </a:cubicBezTo>
                <a:cubicBezTo>
                  <a:pt x="163" y="46"/>
                  <a:pt x="162" y="44"/>
                  <a:pt x="161" y="42"/>
                </a:cubicBezTo>
                <a:cubicBezTo>
                  <a:pt x="148" y="36"/>
                  <a:pt x="129" y="33"/>
                  <a:pt x="109" y="32"/>
                </a:cubicBezTo>
                <a:cubicBezTo>
                  <a:pt x="109" y="164"/>
                  <a:pt x="109" y="164"/>
                  <a:pt x="109" y="164"/>
                </a:cubicBezTo>
                <a:cubicBezTo>
                  <a:pt x="97" y="164"/>
                  <a:pt x="97" y="164"/>
                  <a:pt x="97" y="164"/>
                </a:cubicBezTo>
                <a:cubicBezTo>
                  <a:pt x="97" y="32"/>
                  <a:pt x="97" y="32"/>
                  <a:pt x="97" y="32"/>
                </a:cubicBezTo>
                <a:cubicBezTo>
                  <a:pt x="77" y="33"/>
                  <a:pt x="58" y="36"/>
                  <a:pt x="45" y="42"/>
                </a:cubicBezTo>
                <a:cubicBezTo>
                  <a:pt x="45" y="44"/>
                  <a:pt x="44" y="46"/>
                  <a:pt x="42" y="47"/>
                </a:cubicBezTo>
                <a:cubicBezTo>
                  <a:pt x="41" y="48"/>
                  <a:pt x="40" y="48"/>
                  <a:pt x="40" y="48"/>
                </a:cubicBezTo>
                <a:cubicBezTo>
                  <a:pt x="67" y="125"/>
                  <a:pt x="67" y="125"/>
                  <a:pt x="67" y="125"/>
                </a:cubicBezTo>
                <a:cubicBezTo>
                  <a:pt x="71" y="125"/>
                  <a:pt x="71" y="125"/>
                  <a:pt x="71" y="125"/>
                </a:cubicBezTo>
                <a:cubicBezTo>
                  <a:pt x="71" y="140"/>
                  <a:pt x="55" y="153"/>
                  <a:pt x="35" y="153"/>
                </a:cubicBezTo>
                <a:cubicBezTo>
                  <a:pt x="16" y="153"/>
                  <a:pt x="0" y="140"/>
                  <a:pt x="0" y="125"/>
                </a:cubicBezTo>
                <a:cubicBezTo>
                  <a:pt x="3" y="125"/>
                  <a:pt x="3" y="125"/>
                  <a:pt x="3" y="125"/>
                </a:cubicBezTo>
                <a:cubicBezTo>
                  <a:pt x="32" y="47"/>
                  <a:pt x="32" y="47"/>
                  <a:pt x="32" y="47"/>
                </a:cubicBezTo>
                <a:cubicBezTo>
                  <a:pt x="31" y="47"/>
                  <a:pt x="30" y="46"/>
                  <a:pt x="29" y="45"/>
                </a:cubicBezTo>
                <a:cubicBezTo>
                  <a:pt x="27" y="41"/>
                  <a:pt x="28" y="35"/>
                  <a:pt x="32" y="33"/>
                </a:cubicBezTo>
                <a:cubicBezTo>
                  <a:pt x="34" y="31"/>
                  <a:pt x="37" y="31"/>
                  <a:pt x="40" y="32"/>
                </a:cubicBezTo>
                <a:cubicBezTo>
                  <a:pt x="54" y="25"/>
                  <a:pt x="75" y="21"/>
                  <a:pt x="97" y="20"/>
                </a:cubicBezTo>
                <a:cubicBezTo>
                  <a:pt x="97" y="15"/>
                  <a:pt x="97" y="15"/>
                  <a:pt x="97" y="15"/>
                </a:cubicBezTo>
                <a:cubicBezTo>
                  <a:pt x="95" y="14"/>
                  <a:pt x="94" y="11"/>
                  <a:pt x="94" y="9"/>
                </a:cubicBezTo>
                <a:cubicBezTo>
                  <a:pt x="94" y="4"/>
                  <a:pt x="98" y="0"/>
                  <a:pt x="103" y="0"/>
                </a:cubicBezTo>
                <a:cubicBezTo>
                  <a:pt x="108" y="0"/>
                  <a:pt x="112" y="4"/>
                  <a:pt x="112" y="9"/>
                </a:cubicBezTo>
                <a:cubicBezTo>
                  <a:pt x="112" y="11"/>
                  <a:pt x="111" y="14"/>
                  <a:pt x="109" y="1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31" y="21"/>
                  <a:pt x="152" y="25"/>
                  <a:pt x="167" y="32"/>
                </a:cubicBezTo>
                <a:cubicBezTo>
                  <a:pt x="169" y="31"/>
                  <a:pt x="172" y="31"/>
                  <a:pt x="175" y="33"/>
                </a:cubicBezTo>
                <a:cubicBezTo>
                  <a:pt x="179" y="35"/>
                  <a:pt x="180" y="41"/>
                  <a:pt x="177" y="45"/>
                </a:cubicBezTo>
                <a:cubicBezTo>
                  <a:pt x="176" y="46"/>
                  <a:pt x="175" y="47"/>
                  <a:pt x="174" y="48"/>
                </a:cubicBezTo>
                <a:cubicBezTo>
                  <a:pt x="201" y="125"/>
                  <a:pt x="201" y="125"/>
                  <a:pt x="201" y="125"/>
                </a:cubicBezTo>
                <a:lnTo>
                  <a:pt x="205" y="125"/>
                </a:lnTo>
                <a:close/>
                <a:moveTo>
                  <a:pt x="35" y="57"/>
                </a:moveTo>
                <a:cubicBezTo>
                  <a:pt x="12" y="125"/>
                  <a:pt x="12" y="125"/>
                  <a:pt x="12" y="125"/>
                </a:cubicBezTo>
                <a:cubicBezTo>
                  <a:pt x="58" y="125"/>
                  <a:pt x="58" y="125"/>
                  <a:pt x="58" y="125"/>
                </a:cubicBezTo>
                <a:cubicBezTo>
                  <a:pt x="58" y="125"/>
                  <a:pt x="58" y="125"/>
                  <a:pt x="58" y="125"/>
                </a:cubicBezTo>
                <a:lnTo>
                  <a:pt x="35" y="57"/>
                </a:lnTo>
                <a:close/>
                <a:moveTo>
                  <a:pt x="192" y="125"/>
                </a:moveTo>
                <a:cubicBezTo>
                  <a:pt x="169" y="57"/>
                  <a:pt x="169" y="57"/>
                  <a:pt x="169" y="57"/>
                </a:cubicBezTo>
                <a:cubicBezTo>
                  <a:pt x="146" y="125"/>
                  <a:pt x="146" y="125"/>
                  <a:pt x="146" y="125"/>
                </a:cubicBezTo>
                <a:cubicBezTo>
                  <a:pt x="192" y="125"/>
                  <a:pt x="192" y="125"/>
                  <a:pt x="192" y="12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5" name="Freeform 57"/>
          <p:cNvSpPr>
            <a:spLocks noEditPoints="1"/>
          </p:cNvSpPr>
          <p:nvPr/>
        </p:nvSpPr>
        <p:spPr bwMode="auto">
          <a:xfrm>
            <a:off x="9220130" y="7058908"/>
            <a:ext cx="1174856" cy="928548"/>
          </a:xfrm>
          <a:custGeom>
            <a:avLst/>
            <a:gdLst>
              <a:gd name="T0" fmla="*/ 41 w 228"/>
              <a:gd name="T1" fmla="*/ 93 h 180"/>
              <a:gd name="T2" fmla="*/ 74 w 228"/>
              <a:gd name="T3" fmla="*/ 131 h 180"/>
              <a:gd name="T4" fmla="*/ 86 w 228"/>
              <a:gd name="T5" fmla="*/ 128 h 180"/>
              <a:gd name="T6" fmla="*/ 75 w 228"/>
              <a:gd name="T7" fmla="*/ 93 h 180"/>
              <a:gd name="T8" fmla="*/ 116 w 228"/>
              <a:gd name="T9" fmla="*/ 115 h 180"/>
              <a:gd name="T10" fmla="*/ 123 w 228"/>
              <a:gd name="T11" fmla="*/ 93 h 180"/>
              <a:gd name="T12" fmla="*/ 163 w 228"/>
              <a:gd name="T13" fmla="*/ 86 h 180"/>
              <a:gd name="T14" fmla="*/ 123 w 228"/>
              <a:gd name="T15" fmla="*/ 56 h 180"/>
              <a:gd name="T16" fmla="*/ 164 w 228"/>
              <a:gd name="T17" fmla="*/ 86 h 180"/>
              <a:gd name="T18" fmla="*/ 165 w 228"/>
              <a:gd name="T19" fmla="*/ 48 h 180"/>
              <a:gd name="T20" fmla="*/ 187 w 228"/>
              <a:gd name="T21" fmla="*/ 49 h 180"/>
              <a:gd name="T22" fmla="*/ 120 w 228"/>
              <a:gd name="T23" fmla="*/ 0 h 180"/>
              <a:gd name="T24" fmla="*/ 45 w 228"/>
              <a:gd name="T25" fmla="*/ 139 h 180"/>
              <a:gd name="T26" fmla="*/ 177 w 228"/>
              <a:gd name="T27" fmla="*/ 35 h 180"/>
              <a:gd name="T28" fmla="*/ 148 w 228"/>
              <a:gd name="T29" fmla="*/ 16 h 180"/>
              <a:gd name="T30" fmla="*/ 123 w 228"/>
              <a:gd name="T31" fmla="*/ 11 h 180"/>
              <a:gd name="T32" fmla="*/ 156 w 228"/>
              <a:gd name="T33" fmla="*/ 44 h 180"/>
              <a:gd name="T34" fmla="*/ 123 w 228"/>
              <a:gd name="T35" fmla="*/ 11 h 180"/>
              <a:gd name="T36" fmla="*/ 75 w 228"/>
              <a:gd name="T37" fmla="*/ 86 h 180"/>
              <a:gd name="T38" fmla="*/ 116 w 228"/>
              <a:gd name="T39" fmla="*/ 56 h 180"/>
              <a:gd name="T40" fmla="*/ 108 w 228"/>
              <a:gd name="T41" fmla="*/ 12 h 180"/>
              <a:gd name="T42" fmla="*/ 116 w 228"/>
              <a:gd name="T43" fmla="*/ 48 h 180"/>
              <a:gd name="T44" fmla="*/ 108 w 228"/>
              <a:gd name="T45" fmla="*/ 12 h 180"/>
              <a:gd name="T46" fmla="*/ 76 w 228"/>
              <a:gd name="T47" fmla="*/ 41 h 180"/>
              <a:gd name="T48" fmla="*/ 91 w 228"/>
              <a:gd name="T49" fmla="*/ 16 h 180"/>
              <a:gd name="T50" fmla="*/ 74 w 228"/>
              <a:gd name="T51" fmla="*/ 48 h 180"/>
              <a:gd name="T52" fmla="*/ 41 w 228"/>
              <a:gd name="T53" fmla="*/ 86 h 180"/>
              <a:gd name="T54" fmla="*/ 199 w 228"/>
              <a:gd name="T55" fmla="*/ 106 h 180"/>
              <a:gd name="T56" fmla="*/ 181 w 228"/>
              <a:gd name="T57" fmla="*/ 139 h 180"/>
              <a:gd name="T58" fmla="*/ 167 w 228"/>
              <a:gd name="T59" fmla="*/ 126 h 180"/>
              <a:gd name="T60" fmla="*/ 156 w 228"/>
              <a:gd name="T61" fmla="*/ 136 h 180"/>
              <a:gd name="T62" fmla="*/ 123 w 228"/>
              <a:gd name="T63" fmla="*/ 169 h 180"/>
              <a:gd name="T64" fmla="*/ 116 w 228"/>
              <a:gd name="T65" fmla="*/ 148 h 180"/>
              <a:gd name="T66" fmla="*/ 108 w 228"/>
              <a:gd name="T67" fmla="*/ 168 h 180"/>
              <a:gd name="T68" fmla="*/ 87 w 228"/>
              <a:gd name="T69" fmla="*/ 158 h 180"/>
              <a:gd name="T70" fmla="*/ 82 w 228"/>
              <a:gd name="T71" fmla="*/ 159 h 180"/>
              <a:gd name="T72" fmla="*/ 120 w 228"/>
              <a:gd name="T73" fmla="*/ 180 h 180"/>
              <a:gd name="T74" fmla="*/ 205 w 228"/>
              <a:gd name="T75" fmla="*/ 106 h 180"/>
              <a:gd name="T76" fmla="*/ 148 w 228"/>
              <a:gd name="T77" fmla="*/ 163 h 180"/>
              <a:gd name="T78" fmla="*/ 177 w 228"/>
              <a:gd name="T79" fmla="*/ 144 h 180"/>
              <a:gd name="T80" fmla="*/ 228 w 228"/>
              <a:gd name="T81" fmla="*/ 75 h 180"/>
              <a:gd name="T82" fmla="*/ 198 w 228"/>
              <a:gd name="T83" fmla="*/ 97 h 180"/>
              <a:gd name="T84" fmla="*/ 26 w 228"/>
              <a:gd name="T85" fmla="*/ 157 h 180"/>
              <a:gd name="T86" fmla="*/ 31 w 228"/>
              <a:gd name="T87" fmla="*/ 148 h 180"/>
              <a:gd name="T88" fmla="*/ 183 w 228"/>
              <a:gd name="T89" fmla="*/ 81 h 180"/>
              <a:gd name="T90" fmla="*/ 205 w 228"/>
              <a:gd name="T91" fmla="*/ 52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8" h="180">
                <a:moveTo>
                  <a:pt x="57" y="137"/>
                </a:moveTo>
                <a:cubicBezTo>
                  <a:pt x="47" y="125"/>
                  <a:pt x="42" y="110"/>
                  <a:pt x="41" y="93"/>
                </a:cubicBezTo>
                <a:cubicBezTo>
                  <a:pt x="68" y="93"/>
                  <a:pt x="68" y="93"/>
                  <a:pt x="68" y="93"/>
                </a:cubicBezTo>
                <a:cubicBezTo>
                  <a:pt x="68" y="107"/>
                  <a:pt x="70" y="120"/>
                  <a:pt x="74" y="131"/>
                </a:cubicBezTo>
                <a:cubicBezTo>
                  <a:pt x="72" y="132"/>
                  <a:pt x="70" y="133"/>
                  <a:pt x="68" y="134"/>
                </a:cubicBezTo>
                <a:cubicBezTo>
                  <a:pt x="74" y="132"/>
                  <a:pt x="80" y="130"/>
                  <a:pt x="86" y="128"/>
                </a:cubicBezTo>
                <a:cubicBezTo>
                  <a:pt x="84" y="128"/>
                  <a:pt x="83" y="129"/>
                  <a:pt x="81" y="129"/>
                </a:cubicBezTo>
                <a:cubicBezTo>
                  <a:pt x="78" y="119"/>
                  <a:pt x="75" y="106"/>
                  <a:pt x="75" y="93"/>
                </a:cubicBezTo>
                <a:cubicBezTo>
                  <a:pt x="116" y="93"/>
                  <a:pt x="116" y="93"/>
                  <a:pt x="116" y="93"/>
                </a:cubicBezTo>
                <a:cubicBezTo>
                  <a:pt x="116" y="115"/>
                  <a:pt x="116" y="115"/>
                  <a:pt x="116" y="115"/>
                </a:cubicBezTo>
                <a:cubicBezTo>
                  <a:pt x="119" y="114"/>
                  <a:pt x="121" y="113"/>
                  <a:pt x="123" y="112"/>
                </a:cubicBezTo>
                <a:cubicBezTo>
                  <a:pt x="123" y="93"/>
                  <a:pt x="123" y="93"/>
                  <a:pt x="123" y="93"/>
                </a:cubicBezTo>
                <a:cubicBezTo>
                  <a:pt x="153" y="93"/>
                  <a:pt x="153" y="93"/>
                  <a:pt x="153" y="93"/>
                </a:cubicBezTo>
                <a:cubicBezTo>
                  <a:pt x="157" y="91"/>
                  <a:pt x="160" y="89"/>
                  <a:pt x="163" y="86"/>
                </a:cubicBezTo>
                <a:cubicBezTo>
                  <a:pt x="123" y="86"/>
                  <a:pt x="123" y="86"/>
                  <a:pt x="123" y="86"/>
                </a:cubicBezTo>
                <a:cubicBezTo>
                  <a:pt x="123" y="56"/>
                  <a:pt x="123" y="56"/>
                  <a:pt x="123" y="56"/>
                </a:cubicBezTo>
                <a:cubicBezTo>
                  <a:pt x="136" y="55"/>
                  <a:pt x="148" y="54"/>
                  <a:pt x="159" y="50"/>
                </a:cubicBezTo>
                <a:cubicBezTo>
                  <a:pt x="162" y="61"/>
                  <a:pt x="164" y="73"/>
                  <a:pt x="164" y="86"/>
                </a:cubicBezTo>
                <a:cubicBezTo>
                  <a:pt x="167" y="84"/>
                  <a:pt x="169" y="82"/>
                  <a:pt x="171" y="80"/>
                </a:cubicBezTo>
                <a:cubicBezTo>
                  <a:pt x="170" y="69"/>
                  <a:pt x="168" y="58"/>
                  <a:pt x="165" y="48"/>
                </a:cubicBezTo>
                <a:cubicBezTo>
                  <a:pt x="171" y="46"/>
                  <a:pt x="177" y="44"/>
                  <a:pt x="181" y="41"/>
                </a:cubicBezTo>
                <a:cubicBezTo>
                  <a:pt x="184" y="44"/>
                  <a:pt x="185" y="46"/>
                  <a:pt x="187" y="49"/>
                </a:cubicBezTo>
                <a:cubicBezTo>
                  <a:pt x="190" y="47"/>
                  <a:pt x="194" y="46"/>
                  <a:pt x="197" y="45"/>
                </a:cubicBezTo>
                <a:cubicBezTo>
                  <a:pt x="182" y="18"/>
                  <a:pt x="153" y="0"/>
                  <a:pt x="120" y="0"/>
                </a:cubicBezTo>
                <a:cubicBezTo>
                  <a:pt x="70" y="0"/>
                  <a:pt x="30" y="40"/>
                  <a:pt x="30" y="90"/>
                </a:cubicBezTo>
                <a:cubicBezTo>
                  <a:pt x="30" y="108"/>
                  <a:pt x="35" y="125"/>
                  <a:pt x="45" y="139"/>
                </a:cubicBezTo>
                <a:cubicBezTo>
                  <a:pt x="49" y="139"/>
                  <a:pt x="52" y="138"/>
                  <a:pt x="57" y="137"/>
                </a:cubicBezTo>
                <a:close/>
                <a:moveTo>
                  <a:pt x="177" y="35"/>
                </a:moveTo>
                <a:cubicBezTo>
                  <a:pt x="172" y="38"/>
                  <a:pt x="168" y="40"/>
                  <a:pt x="163" y="41"/>
                </a:cubicBezTo>
                <a:cubicBezTo>
                  <a:pt x="159" y="31"/>
                  <a:pt x="154" y="23"/>
                  <a:pt x="148" y="16"/>
                </a:cubicBezTo>
                <a:cubicBezTo>
                  <a:pt x="159" y="20"/>
                  <a:pt x="169" y="27"/>
                  <a:pt x="177" y="35"/>
                </a:cubicBezTo>
                <a:close/>
                <a:moveTo>
                  <a:pt x="123" y="11"/>
                </a:moveTo>
                <a:cubicBezTo>
                  <a:pt x="126" y="11"/>
                  <a:pt x="128" y="11"/>
                  <a:pt x="131" y="12"/>
                </a:cubicBezTo>
                <a:cubicBezTo>
                  <a:pt x="141" y="17"/>
                  <a:pt x="150" y="28"/>
                  <a:pt x="156" y="44"/>
                </a:cubicBezTo>
                <a:cubicBezTo>
                  <a:pt x="146" y="46"/>
                  <a:pt x="135" y="48"/>
                  <a:pt x="123" y="48"/>
                </a:cubicBezTo>
                <a:lnTo>
                  <a:pt x="123" y="11"/>
                </a:lnTo>
                <a:close/>
                <a:moveTo>
                  <a:pt x="116" y="86"/>
                </a:moveTo>
                <a:cubicBezTo>
                  <a:pt x="75" y="86"/>
                  <a:pt x="75" y="86"/>
                  <a:pt x="75" y="86"/>
                </a:cubicBezTo>
                <a:cubicBezTo>
                  <a:pt x="75" y="73"/>
                  <a:pt x="78" y="61"/>
                  <a:pt x="81" y="50"/>
                </a:cubicBezTo>
                <a:cubicBezTo>
                  <a:pt x="92" y="54"/>
                  <a:pt x="104" y="55"/>
                  <a:pt x="116" y="56"/>
                </a:cubicBezTo>
                <a:lnTo>
                  <a:pt x="116" y="86"/>
                </a:lnTo>
                <a:close/>
                <a:moveTo>
                  <a:pt x="108" y="12"/>
                </a:moveTo>
                <a:cubicBezTo>
                  <a:pt x="111" y="11"/>
                  <a:pt x="113" y="11"/>
                  <a:pt x="116" y="11"/>
                </a:cubicBezTo>
                <a:cubicBezTo>
                  <a:pt x="116" y="48"/>
                  <a:pt x="116" y="48"/>
                  <a:pt x="116" y="48"/>
                </a:cubicBezTo>
                <a:cubicBezTo>
                  <a:pt x="104" y="48"/>
                  <a:pt x="93" y="46"/>
                  <a:pt x="83" y="44"/>
                </a:cubicBezTo>
                <a:cubicBezTo>
                  <a:pt x="89" y="28"/>
                  <a:pt x="98" y="17"/>
                  <a:pt x="108" y="12"/>
                </a:cubicBezTo>
                <a:close/>
                <a:moveTo>
                  <a:pt x="91" y="16"/>
                </a:moveTo>
                <a:cubicBezTo>
                  <a:pt x="85" y="23"/>
                  <a:pt x="80" y="31"/>
                  <a:pt x="76" y="41"/>
                </a:cubicBezTo>
                <a:cubicBezTo>
                  <a:pt x="72" y="40"/>
                  <a:pt x="67" y="38"/>
                  <a:pt x="63" y="35"/>
                </a:cubicBezTo>
                <a:cubicBezTo>
                  <a:pt x="71" y="27"/>
                  <a:pt x="80" y="20"/>
                  <a:pt x="91" y="16"/>
                </a:cubicBezTo>
                <a:close/>
                <a:moveTo>
                  <a:pt x="58" y="41"/>
                </a:moveTo>
                <a:cubicBezTo>
                  <a:pt x="63" y="44"/>
                  <a:pt x="68" y="46"/>
                  <a:pt x="74" y="48"/>
                </a:cubicBezTo>
                <a:cubicBezTo>
                  <a:pt x="70" y="60"/>
                  <a:pt x="68" y="73"/>
                  <a:pt x="68" y="86"/>
                </a:cubicBezTo>
                <a:cubicBezTo>
                  <a:pt x="41" y="86"/>
                  <a:pt x="41" y="86"/>
                  <a:pt x="41" y="86"/>
                </a:cubicBezTo>
                <a:cubicBezTo>
                  <a:pt x="42" y="69"/>
                  <a:pt x="48" y="53"/>
                  <a:pt x="58" y="41"/>
                </a:cubicBezTo>
                <a:close/>
                <a:moveTo>
                  <a:pt x="199" y="106"/>
                </a:moveTo>
                <a:cubicBezTo>
                  <a:pt x="198" y="106"/>
                  <a:pt x="197" y="107"/>
                  <a:pt x="196" y="108"/>
                </a:cubicBezTo>
                <a:cubicBezTo>
                  <a:pt x="194" y="119"/>
                  <a:pt x="189" y="130"/>
                  <a:pt x="181" y="139"/>
                </a:cubicBezTo>
                <a:cubicBezTo>
                  <a:pt x="177" y="136"/>
                  <a:pt x="171" y="134"/>
                  <a:pt x="165" y="131"/>
                </a:cubicBezTo>
                <a:cubicBezTo>
                  <a:pt x="166" y="130"/>
                  <a:pt x="166" y="128"/>
                  <a:pt x="167" y="126"/>
                </a:cubicBezTo>
                <a:cubicBezTo>
                  <a:pt x="161" y="129"/>
                  <a:pt x="156" y="132"/>
                  <a:pt x="150" y="135"/>
                </a:cubicBezTo>
                <a:cubicBezTo>
                  <a:pt x="152" y="135"/>
                  <a:pt x="154" y="136"/>
                  <a:pt x="156" y="136"/>
                </a:cubicBezTo>
                <a:cubicBezTo>
                  <a:pt x="150" y="152"/>
                  <a:pt x="141" y="163"/>
                  <a:pt x="131" y="168"/>
                </a:cubicBezTo>
                <a:cubicBezTo>
                  <a:pt x="128" y="168"/>
                  <a:pt x="126" y="169"/>
                  <a:pt x="123" y="169"/>
                </a:cubicBezTo>
                <a:cubicBezTo>
                  <a:pt x="123" y="146"/>
                  <a:pt x="123" y="146"/>
                  <a:pt x="123" y="146"/>
                </a:cubicBezTo>
                <a:cubicBezTo>
                  <a:pt x="121" y="147"/>
                  <a:pt x="118" y="147"/>
                  <a:pt x="116" y="148"/>
                </a:cubicBezTo>
                <a:cubicBezTo>
                  <a:pt x="116" y="169"/>
                  <a:pt x="116" y="169"/>
                  <a:pt x="116" y="169"/>
                </a:cubicBezTo>
                <a:cubicBezTo>
                  <a:pt x="113" y="169"/>
                  <a:pt x="111" y="168"/>
                  <a:pt x="108" y="168"/>
                </a:cubicBezTo>
                <a:cubicBezTo>
                  <a:pt x="103" y="165"/>
                  <a:pt x="98" y="161"/>
                  <a:pt x="94" y="156"/>
                </a:cubicBezTo>
                <a:cubicBezTo>
                  <a:pt x="91" y="156"/>
                  <a:pt x="89" y="157"/>
                  <a:pt x="87" y="158"/>
                </a:cubicBezTo>
                <a:cubicBezTo>
                  <a:pt x="88" y="160"/>
                  <a:pt x="90" y="162"/>
                  <a:pt x="91" y="163"/>
                </a:cubicBezTo>
                <a:cubicBezTo>
                  <a:pt x="88" y="162"/>
                  <a:pt x="85" y="161"/>
                  <a:pt x="82" y="159"/>
                </a:cubicBezTo>
                <a:cubicBezTo>
                  <a:pt x="77" y="160"/>
                  <a:pt x="72" y="161"/>
                  <a:pt x="67" y="162"/>
                </a:cubicBezTo>
                <a:cubicBezTo>
                  <a:pt x="82" y="173"/>
                  <a:pt x="100" y="180"/>
                  <a:pt x="120" y="180"/>
                </a:cubicBezTo>
                <a:cubicBezTo>
                  <a:pt x="164" y="180"/>
                  <a:pt x="200" y="148"/>
                  <a:pt x="208" y="106"/>
                </a:cubicBezTo>
                <a:cubicBezTo>
                  <a:pt x="207" y="106"/>
                  <a:pt x="206" y="106"/>
                  <a:pt x="205" y="106"/>
                </a:cubicBezTo>
                <a:cubicBezTo>
                  <a:pt x="203" y="106"/>
                  <a:pt x="201" y="106"/>
                  <a:pt x="199" y="106"/>
                </a:cubicBezTo>
                <a:close/>
                <a:moveTo>
                  <a:pt x="148" y="163"/>
                </a:moveTo>
                <a:cubicBezTo>
                  <a:pt x="154" y="157"/>
                  <a:pt x="159" y="148"/>
                  <a:pt x="163" y="138"/>
                </a:cubicBezTo>
                <a:cubicBezTo>
                  <a:pt x="168" y="140"/>
                  <a:pt x="172" y="142"/>
                  <a:pt x="177" y="144"/>
                </a:cubicBezTo>
                <a:cubicBezTo>
                  <a:pt x="169" y="153"/>
                  <a:pt x="159" y="159"/>
                  <a:pt x="148" y="163"/>
                </a:cubicBezTo>
                <a:close/>
                <a:moveTo>
                  <a:pt x="228" y="75"/>
                </a:moveTo>
                <a:cubicBezTo>
                  <a:pt x="228" y="88"/>
                  <a:pt x="218" y="98"/>
                  <a:pt x="205" y="98"/>
                </a:cubicBezTo>
                <a:cubicBezTo>
                  <a:pt x="202" y="98"/>
                  <a:pt x="200" y="98"/>
                  <a:pt x="198" y="97"/>
                </a:cubicBezTo>
                <a:cubicBezTo>
                  <a:pt x="182" y="109"/>
                  <a:pt x="162" y="121"/>
                  <a:pt x="138" y="131"/>
                </a:cubicBezTo>
                <a:cubicBezTo>
                  <a:pt x="88" y="153"/>
                  <a:pt x="41" y="161"/>
                  <a:pt x="26" y="157"/>
                </a:cubicBezTo>
                <a:cubicBezTo>
                  <a:pt x="0" y="151"/>
                  <a:pt x="31" y="122"/>
                  <a:pt x="31" y="122"/>
                </a:cubicBezTo>
                <a:cubicBezTo>
                  <a:pt x="31" y="122"/>
                  <a:pt x="15" y="148"/>
                  <a:pt x="31" y="148"/>
                </a:cubicBezTo>
                <a:cubicBezTo>
                  <a:pt x="55" y="149"/>
                  <a:pt x="103" y="132"/>
                  <a:pt x="131" y="117"/>
                </a:cubicBezTo>
                <a:cubicBezTo>
                  <a:pt x="153" y="104"/>
                  <a:pt x="170" y="92"/>
                  <a:pt x="183" y="81"/>
                </a:cubicBezTo>
                <a:cubicBezTo>
                  <a:pt x="182" y="79"/>
                  <a:pt x="182" y="77"/>
                  <a:pt x="182" y="75"/>
                </a:cubicBezTo>
                <a:cubicBezTo>
                  <a:pt x="182" y="62"/>
                  <a:pt x="192" y="52"/>
                  <a:pt x="205" y="52"/>
                </a:cubicBezTo>
                <a:cubicBezTo>
                  <a:pt x="218" y="52"/>
                  <a:pt x="228" y="62"/>
                  <a:pt x="228" y="7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6" name="Freeform 88"/>
          <p:cNvSpPr>
            <a:spLocks noEditPoints="1"/>
          </p:cNvSpPr>
          <p:nvPr/>
        </p:nvSpPr>
        <p:spPr bwMode="auto">
          <a:xfrm>
            <a:off x="17252572" y="8456842"/>
            <a:ext cx="420564" cy="768500"/>
          </a:xfrm>
          <a:custGeom>
            <a:avLst/>
            <a:gdLst>
              <a:gd name="T0" fmla="*/ 52 w 105"/>
              <a:gd name="T1" fmla="*/ 62 h 192"/>
              <a:gd name="T2" fmla="*/ 30 w 105"/>
              <a:gd name="T3" fmla="*/ 68 h 192"/>
              <a:gd name="T4" fmla="*/ 0 w 105"/>
              <a:gd name="T5" fmla="*/ 74 h 192"/>
              <a:gd name="T6" fmla="*/ 5 w 105"/>
              <a:gd name="T7" fmla="*/ 120 h 192"/>
              <a:gd name="T8" fmla="*/ 18 w 105"/>
              <a:gd name="T9" fmla="*/ 141 h 192"/>
              <a:gd name="T10" fmla="*/ 18 w 105"/>
              <a:gd name="T11" fmla="*/ 188 h 192"/>
              <a:gd name="T12" fmla="*/ 52 w 105"/>
              <a:gd name="T13" fmla="*/ 192 h 192"/>
              <a:gd name="T14" fmla="*/ 86 w 105"/>
              <a:gd name="T15" fmla="*/ 188 h 192"/>
              <a:gd name="T16" fmla="*/ 86 w 105"/>
              <a:gd name="T17" fmla="*/ 141 h 192"/>
              <a:gd name="T18" fmla="*/ 99 w 105"/>
              <a:gd name="T19" fmla="*/ 120 h 192"/>
              <a:gd name="T20" fmla="*/ 105 w 105"/>
              <a:gd name="T21" fmla="*/ 74 h 192"/>
              <a:gd name="T22" fmla="*/ 74 w 105"/>
              <a:gd name="T23" fmla="*/ 68 h 192"/>
              <a:gd name="T24" fmla="*/ 52 w 105"/>
              <a:gd name="T25" fmla="*/ 62 h 192"/>
              <a:gd name="T26" fmla="*/ 59 w 105"/>
              <a:gd name="T27" fmla="*/ 81 h 192"/>
              <a:gd name="T28" fmla="*/ 55 w 105"/>
              <a:gd name="T29" fmla="*/ 86 h 192"/>
              <a:gd name="T30" fmla="*/ 63 w 105"/>
              <a:gd name="T31" fmla="*/ 126 h 192"/>
              <a:gd name="T32" fmla="*/ 52 w 105"/>
              <a:gd name="T33" fmla="*/ 138 h 192"/>
              <a:gd name="T34" fmla="*/ 42 w 105"/>
              <a:gd name="T35" fmla="*/ 126 h 192"/>
              <a:gd name="T36" fmla="*/ 49 w 105"/>
              <a:gd name="T37" fmla="*/ 86 h 192"/>
              <a:gd name="T38" fmla="*/ 46 w 105"/>
              <a:gd name="T39" fmla="*/ 81 h 192"/>
              <a:gd name="T40" fmla="*/ 46 w 105"/>
              <a:gd name="T41" fmla="*/ 79 h 192"/>
              <a:gd name="T42" fmla="*/ 38 w 105"/>
              <a:gd name="T43" fmla="*/ 75 h 192"/>
              <a:gd name="T44" fmla="*/ 41 w 105"/>
              <a:gd name="T45" fmla="*/ 72 h 192"/>
              <a:gd name="T46" fmla="*/ 50 w 105"/>
              <a:gd name="T47" fmla="*/ 74 h 192"/>
              <a:gd name="T48" fmla="*/ 55 w 105"/>
              <a:gd name="T49" fmla="*/ 74 h 192"/>
              <a:gd name="T50" fmla="*/ 64 w 105"/>
              <a:gd name="T51" fmla="*/ 72 h 192"/>
              <a:gd name="T52" fmla="*/ 67 w 105"/>
              <a:gd name="T53" fmla="*/ 75 h 192"/>
              <a:gd name="T54" fmla="*/ 59 w 105"/>
              <a:gd name="T55" fmla="*/ 79 h 192"/>
              <a:gd name="T56" fmla="*/ 59 w 105"/>
              <a:gd name="T57" fmla="*/ 81 h 192"/>
              <a:gd name="T58" fmla="*/ 23 w 105"/>
              <a:gd name="T59" fmla="*/ 29 h 192"/>
              <a:gd name="T60" fmla="*/ 52 w 105"/>
              <a:gd name="T61" fmla="*/ 0 h 192"/>
              <a:gd name="T62" fmla="*/ 81 w 105"/>
              <a:gd name="T63" fmla="*/ 29 h 192"/>
              <a:gd name="T64" fmla="*/ 52 w 105"/>
              <a:gd name="T65" fmla="*/ 59 h 192"/>
              <a:gd name="T66" fmla="*/ 23 w 105"/>
              <a:gd name="T67" fmla="*/ 29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" h="192">
                <a:moveTo>
                  <a:pt x="52" y="62"/>
                </a:moveTo>
                <a:cubicBezTo>
                  <a:pt x="42" y="62"/>
                  <a:pt x="33" y="66"/>
                  <a:pt x="30" y="68"/>
                </a:cubicBezTo>
                <a:cubicBezTo>
                  <a:pt x="10" y="70"/>
                  <a:pt x="0" y="74"/>
                  <a:pt x="0" y="74"/>
                </a:cubicBezTo>
                <a:cubicBezTo>
                  <a:pt x="0" y="74"/>
                  <a:pt x="2" y="111"/>
                  <a:pt x="5" y="120"/>
                </a:cubicBezTo>
                <a:cubicBezTo>
                  <a:pt x="8" y="128"/>
                  <a:pt x="18" y="132"/>
                  <a:pt x="18" y="141"/>
                </a:cubicBezTo>
                <a:cubicBezTo>
                  <a:pt x="18" y="188"/>
                  <a:pt x="18" y="188"/>
                  <a:pt x="18" y="188"/>
                </a:cubicBezTo>
                <a:cubicBezTo>
                  <a:pt x="18" y="188"/>
                  <a:pt x="35" y="192"/>
                  <a:pt x="52" y="192"/>
                </a:cubicBezTo>
                <a:cubicBezTo>
                  <a:pt x="69" y="192"/>
                  <a:pt x="86" y="188"/>
                  <a:pt x="86" y="188"/>
                </a:cubicBezTo>
                <a:cubicBezTo>
                  <a:pt x="86" y="141"/>
                  <a:pt x="86" y="141"/>
                  <a:pt x="86" y="141"/>
                </a:cubicBezTo>
                <a:cubicBezTo>
                  <a:pt x="86" y="132"/>
                  <a:pt x="97" y="128"/>
                  <a:pt x="99" y="120"/>
                </a:cubicBezTo>
                <a:cubicBezTo>
                  <a:pt x="102" y="111"/>
                  <a:pt x="105" y="74"/>
                  <a:pt x="105" y="74"/>
                </a:cubicBezTo>
                <a:cubicBezTo>
                  <a:pt x="105" y="74"/>
                  <a:pt x="95" y="70"/>
                  <a:pt x="74" y="68"/>
                </a:cubicBezTo>
                <a:cubicBezTo>
                  <a:pt x="71" y="66"/>
                  <a:pt x="63" y="62"/>
                  <a:pt x="52" y="62"/>
                </a:cubicBezTo>
                <a:moveTo>
                  <a:pt x="59" y="81"/>
                </a:moveTo>
                <a:cubicBezTo>
                  <a:pt x="55" y="86"/>
                  <a:pt x="55" y="86"/>
                  <a:pt x="55" y="86"/>
                </a:cubicBezTo>
                <a:cubicBezTo>
                  <a:pt x="63" y="126"/>
                  <a:pt x="63" y="126"/>
                  <a:pt x="63" y="126"/>
                </a:cubicBezTo>
                <a:cubicBezTo>
                  <a:pt x="52" y="138"/>
                  <a:pt x="52" y="138"/>
                  <a:pt x="52" y="138"/>
                </a:cubicBezTo>
                <a:cubicBezTo>
                  <a:pt x="42" y="126"/>
                  <a:pt x="42" y="126"/>
                  <a:pt x="42" y="126"/>
                </a:cubicBezTo>
                <a:cubicBezTo>
                  <a:pt x="49" y="86"/>
                  <a:pt x="49" y="86"/>
                  <a:pt x="49" y="86"/>
                </a:cubicBezTo>
                <a:cubicBezTo>
                  <a:pt x="46" y="81"/>
                  <a:pt x="46" y="81"/>
                  <a:pt x="46" y="81"/>
                </a:cubicBezTo>
                <a:cubicBezTo>
                  <a:pt x="46" y="79"/>
                  <a:pt x="46" y="79"/>
                  <a:pt x="46" y="79"/>
                </a:cubicBezTo>
                <a:cubicBezTo>
                  <a:pt x="43" y="78"/>
                  <a:pt x="40" y="77"/>
                  <a:pt x="38" y="75"/>
                </a:cubicBezTo>
                <a:cubicBezTo>
                  <a:pt x="41" y="72"/>
                  <a:pt x="41" y="72"/>
                  <a:pt x="41" y="72"/>
                </a:cubicBezTo>
                <a:cubicBezTo>
                  <a:pt x="44" y="73"/>
                  <a:pt x="47" y="73"/>
                  <a:pt x="50" y="74"/>
                </a:cubicBezTo>
                <a:cubicBezTo>
                  <a:pt x="55" y="74"/>
                  <a:pt x="55" y="74"/>
                  <a:pt x="55" y="74"/>
                </a:cubicBezTo>
                <a:cubicBezTo>
                  <a:pt x="58" y="73"/>
                  <a:pt x="61" y="73"/>
                  <a:pt x="64" y="72"/>
                </a:cubicBezTo>
                <a:cubicBezTo>
                  <a:pt x="67" y="75"/>
                  <a:pt x="67" y="75"/>
                  <a:pt x="67" y="75"/>
                </a:cubicBezTo>
                <a:cubicBezTo>
                  <a:pt x="65" y="77"/>
                  <a:pt x="62" y="78"/>
                  <a:pt x="59" y="79"/>
                </a:cubicBezTo>
                <a:lnTo>
                  <a:pt x="59" y="81"/>
                </a:lnTo>
                <a:close/>
                <a:moveTo>
                  <a:pt x="23" y="29"/>
                </a:moveTo>
                <a:cubicBezTo>
                  <a:pt x="23" y="13"/>
                  <a:pt x="36" y="0"/>
                  <a:pt x="52" y="0"/>
                </a:cubicBezTo>
                <a:cubicBezTo>
                  <a:pt x="68" y="0"/>
                  <a:pt x="81" y="13"/>
                  <a:pt x="81" y="29"/>
                </a:cubicBezTo>
                <a:cubicBezTo>
                  <a:pt x="81" y="46"/>
                  <a:pt x="68" y="59"/>
                  <a:pt x="52" y="59"/>
                </a:cubicBezTo>
                <a:cubicBezTo>
                  <a:pt x="36" y="59"/>
                  <a:pt x="23" y="46"/>
                  <a:pt x="23" y="29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10017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5488426" y="5195362"/>
            <a:ext cx="3606800" cy="3606800"/>
            <a:chOff x="2355850" y="2554288"/>
            <a:chExt cx="1803400" cy="1803400"/>
          </a:xfrm>
          <a:solidFill>
            <a:schemeClr val="accent2"/>
          </a:solidFill>
        </p:grpSpPr>
        <p:sp>
          <p:nvSpPr>
            <p:cNvPr id="39" name="Freeform 35"/>
            <p:cNvSpPr>
              <a:spLocks noEditPoints="1"/>
            </p:cNvSpPr>
            <p:nvPr/>
          </p:nvSpPr>
          <p:spPr bwMode="auto">
            <a:xfrm>
              <a:off x="2355850" y="2554288"/>
              <a:ext cx="1803400" cy="1803400"/>
            </a:xfrm>
            <a:custGeom>
              <a:avLst/>
              <a:gdLst>
                <a:gd name="T0" fmla="*/ 2116 w 2116"/>
                <a:gd name="T1" fmla="*/ 1052 h 2116"/>
                <a:gd name="T2" fmla="*/ 1925 w 2116"/>
                <a:gd name="T3" fmla="*/ 883 h 2116"/>
                <a:gd name="T4" fmla="*/ 2038 w 2116"/>
                <a:gd name="T5" fmla="*/ 652 h 2116"/>
                <a:gd name="T6" fmla="*/ 1795 w 2116"/>
                <a:gd name="T7" fmla="*/ 570 h 2116"/>
                <a:gd name="T8" fmla="*/ 1802 w 2116"/>
                <a:gd name="T9" fmla="*/ 305 h 2116"/>
                <a:gd name="T10" fmla="*/ 1548 w 2116"/>
                <a:gd name="T11" fmla="*/ 321 h 2116"/>
                <a:gd name="T12" fmla="*/ 1464 w 2116"/>
                <a:gd name="T13" fmla="*/ 80 h 2116"/>
                <a:gd name="T14" fmla="*/ 1234 w 2116"/>
                <a:gd name="T15" fmla="*/ 191 h 2116"/>
                <a:gd name="T16" fmla="*/ 1052 w 2116"/>
                <a:gd name="T17" fmla="*/ 0 h 2116"/>
                <a:gd name="T18" fmla="*/ 884 w 2116"/>
                <a:gd name="T19" fmla="*/ 191 h 2116"/>
                <a:gd name="T20" fmla="*/ 653 w 2116"/>
                <a:gd name="T21" fmla="*/ 78 h 2116"/>
                <a:gd name="T22" fmla="*/ 570 w 2116"/>
                <a:gd name="T23" fmla="*/ 321 h 2116"/>
                <a:gd name="T24" fmla="*/ 305 w 2116"/>
                <a:gd name="T25" fmla="*/ 314 h 2116"/>
                <a:gd name="T26" fmla="*/ 322 w 2116"/>
                <a:gd name="T27" fmla="*/ 568 h 2116"/>
                <a:gd name="T28" fmla="*/ 81 w 2116"/>
                <a:gd name="T29" fmla="*/ 652 h 2116"/>
                <a:gd name="T30" fmla="*/ 192 w 2116"/>
                <a:gd name="T31" fmla="*/ 882 h 2116"/>
                <a:gd name="T32" fmla="*/ 0 w 2116"/>
                <a:gd name="T33" fmla="*/ 1064 h 2116"/>
                <a:gd name="T34" fmla="*/ 191 w 2116"/>
                <a:gd name="T35" fmla="*/ 1233 h 2116"/>
                <a:gd name="T36" fmla="*/ 78 w 2116"/>
                <a:gd name="T37" fmla="*/ 1463 h 2116"/>
                <a:gd name="T38" fmla="*/ 321 w 2116"/>
                <a:gd name="T39" fmla="*/ 1546 h 2116"/>
                <a:gd name="T40" fmla="*/ 314 w 2116"/>
                <a:gd name="T41" fmla="*/ 1811 h 2116"/>
                <a:gd name="T42" fmla="*/ 569 w 2116"/>
                <a:gd name="T43" fmla="*/ 1794 h 2116"/>
                <a:gd name="T44" fmla="*/ 653 w 2116"/>
                <a:gd name="T45" fmla="*/ 2035 h 2116"/>
                <a:gd name="T46" fmla="*/ 882 w 2116"/>
                <a:gd name="T47" fmla="*/ 1925 h 2116"/>
                <a:gd name="T48" fmla="*/ 1064 w 2116"/>
                <a:gd name="T49" fmla="*/ 2116 h 2116"/>
                <a:gd name="T50" fmla="*/ 1233 w 2116"/>
                <a:gd name="T51" fmla="*/ 1925 h 2116"/>
                <a:gd name="T52" fmla="*/ 1464 w 2116"/>
                <a:gd name="T53" fmla="*/ 2038 h 2116"/>
                <a:gd name="T54" fmla="*/ 1546 w 2116"/>
                <a:gd name="T55" fmla="*/ 1795 h 2116"/>
                <a:gd name="T56" fmla="*/ 1811 w 2116"/>
                <a:gd name="T57" fmla="*/ 1802 h 2116"/>
                <a:gd name="T58" fmla="*/ 1795 w 2116"/>
                <a:gd name="T59" fmla="*/ 1547 h 2116"/>
                <a:gd name="T60" fmla="*/ 2036 w 2116"/>
                <a:gd name="T61" fmla="*/ 1463 h 2116"/>
                <a:gd name="T62" fmla="*/ 1925 w 2116"/>
                <a:gd name="T63" fmla="*/ 1234 h 2116"/>
                <a:gd name="T64" fmla="*/ 1358 w 2116"/>
                <a:gd name="T65" fmla="*/ 1669 h 2116"/>
                <a:gd name="T66" fmla="*/ 759 w 2116"/>
                <a:gd name="T67" fmla="*/ 447 h 2116"/>
                <a:gd name="T68" fmla="*/ 1358 w 2116"/>
                <a:gd name="T69" fmla="*/ 1669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6" h="2116">
                  <a:moveTo>
                    <a:pt x="1941" y="1111"/>
                  </a:moveTo>
                  <a:cubicBezTo>
                    <a:pt x="2116" y="1052"/>
                    <a:pt x="2116" y="1052"/>
                    <a:pt x="2116" y="1052"/>
                  </a:cubicBezTo>
                  <a:cubicBezTo>
                    <a:pt x="2107" y="917"/>
                    <a:pt x="2107" y="917"/>
                    <a:pt x="2107" y="917"/>
                  </a:cubicBezTo>
                  <a:cubicBezTo>
                    <a:pt x="1925" y="883"/>
                    <a:pt x="1925" y="883"/>
                    <a:pt x="1925" y="883"/>
                  </a:cubicBezTo>
                  <a:cubicBezTo>
                    <a:pt x="1918" y="847"/>
                    <a:pt x="1908" y="810"/>
                    <a:pt x="1896" y="774"/>
                  </a:cubicBezTo>
                  <a:cubicBezTo>
                    <a:pt x="2038" y="652"/>
                    <a:pt x="2038" y="652"/>
                    <a:pt x="2038" y="652"/>
                  </a:cubicBezTo>
                  <a:cubicBezTo>
                    <a:pt x="1979" y="532"/>
                    <a:pt x="1979" y="532"/>
                    <a:pt x="1979" y="532"/>
                  </a:cubicBezTo>
                  <a:cubicBezTo>
                    <a:pt x="1795" y="570"/>
                    <a:pt x="1795" y="570"/>
                    <a:pt x="1795" y="570"/>
                  </a:cubicBezTo>
                  <a:cubicBezTo>
                    <a:pt x="1772" y="535"/>
                    <a:pt x="1747" y="502"/>
                    <a:pt x="1720" y="471"/>
                  </a:cubicBezTo>
                  <a:cubicBezTo>
                    <a:pt x="1802" y="305"/>
                    <a:pt x="1802" y="305"/>
                    <a:pt x="1802" y="305"/>
                  </a:cubicBezTo>
                  <a:cubicBezTo>
                    <a:pt x="1700" y="217"/>
                    <a:pt x="1700" y="217"/>
                    <a:pt x="1700" y="217"/>
                  </a:cubicBezTo>
                  <a:cubicBezTo>
                    <a:pt x="1548" y="321"/>
                    <a:pt x="1548" y="321"/>
                    <a:pt x="1548" y="321"/>
                  </a:cubicBezTo>
                  <a:cubicBezTo>
                    <a:pt x="1516" y="301"/>
                    <a:pt x="1483" y="282"/>
                    <a:pt x="1450" y="265"/>
                  </a:cubicBezTo>
                  <a:cubicBezTo>
                    <a:pt x="1464" y="80"/>
                    <a:pt x="1464" y="80"/>
                    <a:pt x="1464" y="80"/>
                  </a:cubicBezTo>
                  <a:cubicBezTo>
                    <a:pt x="1336" y="37"/>
                    <a:pt x="1336" y="37"/>
                    <a:pt x="1336" y="37"/>
                  </a:cubicBezTo>
                  <a:cubicBezTo>
                    <a:pt x="1234" y="191"/>
                    <a:pt x="1234" y="191"/>
                    <a:pt x="1234" y="191"/>
                  </a:cubicBezTo>
                  <a:cubicBezTo>
                    <a:pt x="1194" y="183"/>
                    <a:pt x="1152" y="178"/>
                    <a:pt x="1111" y="175"/>
                  </a:cubicBezTo>
                  <a:cubicBezTo>
                    <a:pt x="1052" y="0"/>
                    <a:pt x="1052" y="0"/>
                    <a:pt x="1052" y="0"/>
                  </a:cubicBezTo>
                  <a:cubicBezTo>
                    <a:pt x="918" y="9"/>
                    <a:pt x="918" y="9"/>
                    <a:pt x="918" y="9"/>
                  </a:cubicBezTo>
                  <a:cubicBezTo>
                    <a:pt x="884" y="191"/>
                    <a:pt x="884" y="191"/>
                    <a:pt x="884" y="191"/>
                  </a:cubicBezTo>
                  <a:cubicBezTo>
                    <a:pt x="847" y="198"/>
                    <a:pt x="810" y="208"/>
                    <a:pt x="774" y="220"/>
                  </a:cubicBezTo>
                  <a:cubicBezTo>
                    <a:pt x="653" y="78"/>
                    <a:pt x="653" y="78"/>
                    <a:pt x="653" y="78"/>
                  </a:cubicBezTo>
                  <a:cubicBezTo>
                    <a:pt x="532" y="137"/>
                    <a:pt x="532" y="137"/>
                    <a:pt x="532" y="137"/>
                  </a:cubicBezTo>
                  <a:cubicBezTo>
                    <a:pt x="570" y="321"/>
                    <a:pt x="570" y="321"/>
                    <a:pt x="570" y="321"/>
                  </a:cubicBezTo>
                  <a:cubicBezTo>
                    <a:pt x="535" y="344"/>
                    <a:pt x="502" y="369"/>
                    <a:pt x="471" y="396"/>
                  </a:cubicBezTo>
                  <a:cubicBezTo>
                    <a:pt x="305" y="314"/>
                    <a:pt x="305" y="314"/>
                    <a:pt x="305" y="314"/>
                  </a:cubicBezTo>
                  <a:cubicBezTo>
                    <a:pt x="217" y="416"/>
                    <a:pt x="217" y="416"/>
                    <a:pt x="217" y="416"/>
                  </a:cubicBezTo>
                  <a:cubicBezTo>
                    <a:pt x="322" y="568"/>
                    <a:pt x="322" y="568"/>
                    <a:pt x="322" y="568"/>
                  </a:cubicBezTo>
                  <a:cubicBezTo>
                    <a:pt x="301" y="600"/>
                    <a:pt x="282" y="633"/>
                    <a:pt x="265" y="666"/>
                  </a:cubicBezTo>
                  <a:cubicBezTo>
                    <a:pt x="81" y="652"/>
                    <a:pt x="81" y="652"/>
                    <a:pt x="81" y="652"/>
                  </a:cubicBezTo>
                  <a:cubicBezTo>
                    <a:pt x="37" y="780"/>
                    <a:pt x="37" y="780"/>
                    <a:pt x="37" y="780"/>
                  </a:cubicBezTo>
                  <a:cubicBezTo>
                    <a:pt x="192" y="882"/>
                    <a:pt x="192" y="882"/>
                    <a:pt x="192" y="882"/>
                  </a:cubicBezTo>
                  <a:cubicBezTo>
                    <a:pt x="183" y="923"/>
                    <a:pt x="178" y="964"/>
                    <a:pt x="175" y="1005"/>
                  </a:cubicBezTo>
                  <a:cubicBezTo>
                    <a:pt x="0" y="1064"/>
                    <a:pt x="0" y="1064"/>
                    <a:pt x="0" y="1064"/>
                  </a:cubicBezTo>
                  <a:cubicBezTo>
                    <a:pt x="9" y="1198"/>
                    <a:pt x="9" y="1198"/>
                    <a:pt x="9" y="1198"/>
                  </a:cubicBezTo>
                  <a:cubicBezTo>
                    <a:pt x="191" y="1233"/>
                    <a:pt x="191" y="1233"/>
                    <a:pt x="191" y="1233"/>
                  </a:cubicBezTo>
                  <a:cubicBezTo>
                    <a:pt x="199" y="1269"/>
                    <a:pt x="208" y="1306"/>
                    <a:pt x="221" y="1342"/>
                  </a:cubicBezTo>
                  <a:cubicBezTo>
                    <a:pt x="78" y="1463"/>
                    <a:pt x="78" y="1463"/>
                    <a:pt x="78" y="1463"/>
                  </a:cubicBezTo>
                  <a:cubicBezTo>
                    <a:pt x="138" y="1584"/>
                    <a:pt x="138" y="1584"/>
                    <a:pt x="138" y="1584"/>
                  </a:cubicBezTo>
                  <a:cubicBezTo>
                    <a:pt x="321" y="1546"/>
                    <a:pt x="321" y="1546"/>
                    <a:pt x="321" y="1546"/>
                  </a:cubicBezTo>
                  <a:cubicBezTo>
                    <a:pt x="344" y="1581"/>
                    <a:pt x="369" y="1614"/>
                    <a:pt x="397" y="1645"/>
                  </a:cubicBezTo>
                  <a:cubicBezTo>
                    <a:pt x="314" y="1811"/>
                    <a:pt x="314" y="1811"/>
                    <a:pt x="314" y="1811"/>
                  </a:cubicBezTo>
                  <a:cubicBezTo>
                    <a:pt x="416" y="1899"/>
                    <a:pt x="416" y="1899"/>
                    <a:pt x="416" y="1899"/>
                  </a:cubicBezTo>
                  <a:cubicBezTo>
                    <a:pt x="569" y="1794"/>
                    <a:pt x="569" y="1794"/>
                    <a:pt x="569" y="1794"/>
                  </a:cubicBezTo>
                  <a:cubicBezTo>
                    <a:pt x="600" y="1815"/>
                    <a:pt x="633" y="1834"/>
                    <a:pt x="667" y="1851"/>
                  </a:cubicBezTo>
                  <a:cubicBezTo>
                    <a:pt x="653" y="2035"/>
                    <a:pt x="653" y="2035"/>
                    <a:pt x="653" y="2035"/>
                  </a:cubicBezTo>
                  <a:cubicBezTo>
                    <a:pt x="780" y="2079"/>
                    <a:pt x="780" y="2079"/>
                    <a:pt x="780" y="2079"/>
                  </a:cubicBezTo>
                  <a:cubicBezTo>
                    <a:pt x="882" y="1925"/>
                    <a:pt x="882" y="1925"/>
                    <a:pt x="882" y="1925"/>
                  </a:cubicBezTo>
                  <a:cubicBezTo>
                    <a:pt x="923" y="1933"/>
                    <a:pt x="964" y="1938"/>
                    <a:pt x="1005" y="1941"/>
                  </a:cubicBezTo>
                  <a:cubicBezTo>
                    <a:pt x="1064" y="2116"/>
                    <a:pt x="1064" y="2116"/>
                    <a:pt x="1064" y="2116"/>
                  </a:cubicBezTo>
                  <a:cubicBezTo>
                    <a:pt x="1199" y="2107"/>
                    <a:pt x="1199" y="2107"/>
                    <a:pt x="1199" y="2107"/>
                  </a:cubicBezTo>
                  <a:cubicBezTo>
                    <a:pt x="1233" y="1925"/>
                    <a:pt x="1233" y="1925"/>
                    <a:pt x="1233" y="1925"/>
                  </a:cubicBezTo>
                  <a:cubicBezTo>
                    <a:pt x="1269" y="1918"/>
                    <a:pt x="1306" y="1908"/>
                    <a:pt x="1342" y="1896"/>
                  </a:cubicBezTo>
                  <a:cubicBezTo>
                    <a:pt x="1464" y="2038"/>
                    <a:pt x="1464" y="2038"/>
                    <a:pt x="1464" y="2038"/>
                  </a:cubicBezTo>
                  <a:cubicBezTo>
                    <a:pt x="1584" y="1979"/>
                    <a:pt x="1584" y="1979"/>
                    <a:pt x="1584" y="1979"/>
                  </a:cubicBezTo>
                  <a:cubicBezTo>
                    <a:pt x="1546" y="1795"/>
                    <a:pt x="1546" y="1795"/>
                    <a:pt x="1546" y="1795"/>
                  </a:cubicBezTo>
                  <a:cubicBezTo>
                    <a:pt x="1581" y="1772"/>
                    <a:pt x="1614" y="1747"/>
                    <a:pt x="1645" y="1719"/>
                  </a:cubicBezTo>
                  <a:cubicBezTo>
                    <a:pt x="1811" y="1802"/>
                    <a:pt x="1811" y="1802"/>
                    <a:pt x="1811" y="1802"/>
                  </a:cubicBezTo>
                  <a:cubicBezTo>
                    <a:pt x="1899" y="1700"/>
                    <a:pt x="1899" y="1700"/>
                    <a:pt x="1899" y="1700"/>
                  </a:cubicBezTo>
                  <a:cubicBezTo>
                    <a:pt x="1795" y="1547"/>
                    <a:pt x="1795" y="1547"/>
                    <a:pt x="1795" y="1547"/>
                  </a:cubicBezTo>
                  <a:cubicBezTo>
                    <a:pt x="1816" y="1516"/>
                    <a:pt x="1834" y="1483"/>
                    <a:pt x="1851" y="1450"/>
                  </a:cubicBezTo>
                  <a:cubicBezTo>
                    <a:pt x="2036" y="1463"/>
                    <a:pt x="2036" y="1463"/>
                    <a:pt x="2036" y="1463"/>
                  </a:cubicBezTo>
                  <a:cubicBezTo>
                    <a:pt x="2079" y="1336"/>
                    <a:pt x="2079" y="1336"/>
                    <a:pt x="2079" y="1336"/>
                  </a:cubicBezTo>
                  <a:cubicBezTo>
                    <a:pt x="1925" y="1234"/>
                    <a:pt x="1925" y="1234"/>
                    <a:pt x="1925" y="1234"/>
                  </a:cubicBezTo>
                  <a:cubicBezTo>
                    <a:pt x="1933" y="1193"/>
                    <a:pt x="1938" y="1152"/>
                    <a:pt x="1941" y="1111"/>
                  </a:cubicBezTo>
                  <a:close/>
                  <a:moveTo>
                    <a:pt x="1358" y="1669"/>
                  </a:moveTo>
                  <a:cubicBezTo>
                    <a:pt x="1020" y="1834"/>
                    <a:pt x="613" y="1695"/>
                    <a:pt x="447" y="1357"/>
                  </a:cubicBezTo>
                  <a:cubicBezTo>
                    <a:pt x="282" y="1020"/>
                    <a:pt x="421" y="613"/>
                    <a:pt x="759" y="447"/>
                  </a:cubicBezTo>
                  <a:cubicBezTo>
                    <a:pt x="1096" y="282"/>
                    <a:pt x="1504" y="421"/>
                    <a:pt x="1669" y="759"/>
                  </a:cubicBezTo>
                  <a:cubicBezTo>
                    <a:pt x="1834" y="1096"/>
                    <a:pt x="1695" y="1503"/>
                    <a:pt x="1358" y="16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8" name="Freeform 44"/>
            <p:cNvSpPr>
              <a:spLocks noEditPoints="1"/>
            </p:cNvSpPr>
            <p:nvPr/>
          </p:nvSpPr>
          <p:spPr bwMode="auto">
            <a:xfrm>
              <a:off x="3022600" y="3211513"/>
              <a:ext cx="488950" cy="490538"/>
            </a:xfrm>
            <a:custGeom>
              <a:avLst/>
              <a:gdLst>
                <a:gd name="T0" fmla="*/ 287 w 574"/>
                <a:gd name="T1" fmla="*/ 575 h 575"/>
                <a:gd name="T2" fmla="*/ 0 w 574"/>
                <a:gd name="T3" fmla="*/ 287 h 575"/>
                <a:gd name="T4" fmla="*/ 287 w 574"/>
                <a:gd name="T5" fmla="*/ 0 h 575"/>
                <a:gd name="T6" fmla="*/ 574 w 574"/>
                <a:gd name="T7" fmla="*/ 287 h 575"/>
                <a:gd name="T8" fmla="*/ 287 w 574"/>
                <a:gd name="T9" fmla="*/ 575 h 575"/>
                <a:gd name="T10" fmla="*/ 287 w 574"/>
                <a:gd name="T11" fmla="*/ 160 h 575"/>
                <a:gd name="T12" fmla="*/ 160 w 574"/>
                <a:gd name="T13" fmla="*/ 287 h 575"/>
                <a:gd name="T14" fmla="*/ 287 w 574"/>
                <a:gd name="T15" fmla="*/ 415 h 575"/>
                <a:gd name="T16" fmla="*/ 414 w 574"/>
                <a:gd name="T17" fmla="*/ 287 h 575"/>
                <a:gd name="T18" fmla="*/ 287 w 574"/>
                <a:gd name="T19" fmla="*/ 16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4" h="575">
                  <a:moveTo>
                    <a:pt x="287" y="575"/>
                  </a:moveTo>
                  <a:cubicBezTo>
                    <a:pt x="129" y="575"/>
                    <a:pt x="0" y="446"/>
                    <a:pt x="0" y="287"/>
                  </a:cubicBezTo>
                  <a:cubicBezTo>
                    <a:pt x="0" y="129"/>
                    <a:pt x="129" y="0"/>
                    <a:pt x="287" y="0"/>
                  </a:cubicBezTo>
                  <a:cubicBezTo>
                    <a:pt x="446" y="0"/>
                    <a:pt x="574" y="129"/>
                    <a:pt x="574" y="287"/>
                  </a:cubicBezTo>
                  <a:cubicBezTo>
                    <a:pt x="574" y="446"/>
                    <a:pt x="446" y="575"/>
                    <a:pt x="287" y="575"/>
                  </a:cubicBezTo>
                  <a:close/>
                  <a:moveTo>
                    <a:pt x="287" y="160"/>
                  </a:moveTo>
                  <a:cubicBezTo>
                    <a:pt x="217" y="160"/>
                    <a:pt x="160" y="217"/>
                    <a:pt x="160" y="287"/>
                  </a:cubicBezTo>
                  <a:cubicBezTo>
                    <a:pt x="160" y="358"/>
                    <a:pt x="217" y="415"/>
                    <a:pt x="287" y="415"/>
                  </a:cubicBezTo>
                  <a:cubicBezTo>
                    <a:pt x="357" y="415"/>
                    <a:pt x="414" y="358"/>
                    <a:pt x="414" y="287"/>
                  </a:cubicBezTo>
                  <a:cubicBezTo>
                    <a:pt x="414" y="217"/>
                    <a:pt x="357" y="160"/>
                    <a:pt x="287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5558276" y="2829986"/>
            <a:ext cx="2273300" cy="2276476"/>
            <a:chOff x="2390775" y="1371600"/>
            <a:chExt cx="1136650" cy="1138238"/>
          </a:xfrm>
          <a:solidFill>
            <a:schemeClr val="accent4"/>
          </a:solidFill>
        </p:grpSpPr>
        <p:sp>
          <p:nvSpPr>
            <p:cNvPr id="32" name="Freeform 28"/>
            <p:cNvSpPr>
              <a:spLocks noEditPoints="1"/>
            </p:cNvSpPr>
            <p:nvPr/>
          </p:nvSpPr>
          <p:spPr bwMode="auto">
            <a:xfrm>
              <a:off x="2390775" y="1371600"/>
              <a:ext cx="1136650" cy="1138238"/>
            </a:xfrm>
            <a:custGeom>
              <a:avLst/>
              <a:gdLst>
                <a:gd name="T0" fmla="*/ 1335 w 1335"/>
                <a:gd name="T1" fmla="*/ 699 h 1335"/>
                <a:gd name="T2" fmla="*/ 1220 w 1335"/>
                <a:gd name="T3" fmla="*/ 586 h 1335"/>
                <a:gd name="T4" fmla="*/ 1300 w 1335"/>
                <a:gd name="T5" fmla="*/ 445 h 1335"/>
                <a:gd name="T6" fmla="*/ 1145 w 1335"/>
                <a:gd name="T7" fmla="*/ 378 h 1335"/>
                <a:gd name="T8" fmla="*/ 1162 w 1335"/>
                <a:gd name="T9" fmla="*/ 218 h 1335"/>
                <a:gd name="T10" fmla="*/ 1001 w 1335"/>
                <a:gd name="T11" fmla="*/ 219 h 1335"/>
                <a:gd name="T12" fmla="*/ 956 w 1335"/>
                <a:gd name="T13" fmla="*/ 65 h 1335"/>
                <a:gd name="T14" fmla="*/ 801 w 1335"/>
                <a:gd name="T15" fmla="*/ 125 h 1335"/>
                <a:gd name="T16" fmla="*/ 699 w 1335"/>
                <a:gd name="T17" fmla="*/ 0 h 1335"/>
                <a:gd name="T18" fmla="*/ 586 w 1335"/>
                <a:gd name="T19" fmla="*/ 115 h 1335"/>
                <a:gd name="T20" fmla="*/ 445 w 1335"/>
                <a:gd name="T21" fmla="*/ 35 h 1335"/>
                <a:gd name="T22" fmla="*/ 378 w 1335"/>
                <a:gd name="T23" fmla="*/ 190 h 1335"/>
                <a:gd name="T24" fmla="*/ 218 w 1335"/>
                <a:gd name="T25" fmla="*/ 173 h 1335"/>
                <a:gd name="T26" fmla="*/ 220 w 1335"/>
                <a:gd name="T27" fmla="*/ 334 h 1335"/>
                <a:gd name="T28" fmla="*/ 65 w 1335"/>
                <a:gd name="T29" fmla="*/ 379 h 1335"/>
                <a:gd name="T30" fmla="*/ 125 w 1335"/>
                <a:gd name="T31" fmla="*/ 535 h 1335"/>
                <a:gd name="T32" fmla="*/ 0 w 1335"/>
                <a:gd name="T33" fmla="*/ 636 h 1335"/>
                <a:gd name="T34" fmla="*/ 115 w 1335"/>
                <a:gd name="T35" fmla="*/ 749 h 1335"/>
                <a:gd name="T36" fmla="*/ 35 w 1335"/>
                <a:gd name="T37" fmla="*/ 890 h 1335"/>
                <a:gd name="T38" fmla="*/ 190 w 1335"/>
                <a:gd name="T39" fmla="*/ 957 h 1335"/>
                <a:gd name="T40" fmla="*/ 173 w 1335"/>
                <a:gd name="T41" fmla="*/ 1117 h 1335"/>
                <a:gd name="T42" fmla="*/ 334 w 1335"/>
                <a:gd name="T43" fmla="*/ 1116 h 1335"/>
                <a:gd name="T44" fmla="*/ 379 w 1335"/>
                <a:gd name="T45" fmla="*/ 1270 h 1335"/>
                <a:gd name="T46" fmla="*/ 535 w 1335"/>
                <a:gd name="T47" fmla="*/ 1210 h 1335"/>
                <a:gd name="T48" fmla="*/ 636 w 1335"/>
                <a:gd name="T49" fmla="*/ 1335 h 1335"/>
                <a:gd name="T50" fmla="*/ 749 w 1335"/>
                <a:gd name="T51" fmla="*/ 1220 h 1335"/>
                <a:gd name="T52" fmla="*/ 890 w 1335"/>
                <a:gd name="T53" fmla="*/ 1299 h 1335"/>
                <a:gd name="T54" fmla="*/ 957 w 1335"/>
                <a:gd name="T55" fmla="*/ 1145 h 1335"/>
                <a:gd name="T56" fmla="*/ 1117 w 1335"/>
                <a:gd name="T57" fmla="*/ 1162 h 1335"/>
                <a:gd name="T58" fmla="*/ 1116 w 1335"/>
                <a:gd name="T59" fmla="*/ 1001 h 1335"/>
                <a:gd name="T60" fmla="*/ 1271 w 1335"/>
                <a:gd name="T61" fmla="*/ 956 h 1335"/>
                <a:gd name="T62" fmla="*/ 1210 w 1335"/>
                <a:gd name="T63" fmla="*/ 801 h 1335"/>
                <a:gd name="T64" fmla="*/ 560 w 1335"/>
                <a:gd name="T65" fmla="*/ 286 h 1335"/>
                <a:gd name="T66" fmla="*/ 776 w 1335"/>
                <a:gd name="T67" fmla="*/ 1050 h 1335"/>
                <a:gd name="T68" fmla="*/ 560 w 1335"/>
                <a:gd name="T69" fmla="*/ 286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35" h="1335">
                  <a:moveTo>
                    <a:pt x="1326" y="784"/>
                  </a:moveTo>
                  <a:cubicBezTo>
                    <a:pt x="1335" y="699"/>
                    <a:pt x="1335" y="699"/>
                    <a:pt x="1335" y="699"/>
                  </a:cubicBezTo>
                  <a:cubicBezTo>
                    <a:pt x="1226" y="658"/>
                    <a:pt x="1226" y="658"/>
                    <a:pt x="1226" y="658"/>
                  </a:cubicBezTo>
                  <a:cubicBezTo>
                    <a:pt x="1226" y="634"/>
                    <a:pt x="1224" y="610"/>
                    <a:pt x="1220" y="586"/>
                  </a:cubicBezTo>
                  <a:cubicBezTo>
                    <a:pt x="1323" y="527"/>
                    <a:pt x="1323" y="527"/>
                    <a:pt x="1323" y="527"/>
                  </a:cubicBezTo>
                  <a:cubicBezTo>
                    <a:pt x="1300" y="445"/>
                    <a:pt x="1300" y="445"/>
                    <a:pt x="1300" y="445"/>
                  </a:cubicBezTo>
                  <a:cubicBezTo>
                    <a:pt x="1181" y="448"/>
                    <a:pt x="1181" y="448"/>
                    <a:pt x="1181" y="448"/>
                  </a:cubicBezTo>
                  <a:cubicBezTo>
                    <a:pt x="1171" y="424"/>
                    <a:pt x="1159" y="400"/>
                    <a:pt x="1145" y="378"/>
                  </a:cubicBezTo>
                  <a:cubicBezTo>
                    <a:pt x="1215" y="284"/>
                    <a:pt x="1215" y="284"/>
                    <a:pt x="1215" y="284"/>
                  </a:cubicBezTo>
                  <a:cubicBezTo>
                    <a:pt x="1162" y="218"/>
                    <a:pt x="1162" y="218"/>
                    <a:pt x="1162" y="218"/>
                  </a:cubicBezTo>
                  <a:cubicBezTo>
                    <a:pt x="1055" y="266"/>
                    <a:pt x="1055" y="266"/>
                    <a:pt x="1055" y="266"/>
                  </a:cubicBezTo>
                  <a:cubicBezTo>
                    <a:pt x="1038" y="249"/>
                    <a:pt x="1020" y="234"/>
                    <a:pt x="1001" y="219"/>
                  </a:cubicBezTo>
                  <a:cubicBezTo>
                    <a:pt x="1031" y="106"/>
                    <a:pt x="1031" y="106"/>
                    <a:pt x="1031" y="106"/>
                  </a:cubicBezTo>
                  <a:cubicBezTo>
                    <a:pt x="956" y="65"/>
                    <a:pt x="956" y="65"/>
                    <a:pt x="956" y="65"/>
                  </a:cubicBezTo>
                  <a:cubicBezTo>
                    <a:pt x="875" y="149"/>
                    <a:pt x="875" y="149"/>
                    <a:pt x="875" y="149"/>
                  </a:cubicBezTo>
                  <a:cubicBezTo>
                    <a:pt x="851" y="139"/>
                    <a:pt x="826" y="131"/>
                    <a:pt x="801" y="125"/>
                  </a:cubicBezTo>
                  <a:cubicBezTo>
                    <a:pt x="784" y="9"/>
                    <a:pt x="784" y="9"/>
                    <a:pt x="784" y="9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658" y="109"/>
                    <a:pt x="658" y="109"/>
                    <a:pt x="658" y="109"/>
                  </a:cubicBezTo>
                  <a:cubicBezTo>
                    <a:pt x="634" y="109"/>
                    <a:pt x="610" y="111"/>
                    <a:pt x="586" y="115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445" y="35"/>
                    <a:pt x="445" y="35"/>
                    <a:pt x="445" y="35"/>
                  </a:cubicBezTo>
                  <a:cubicBezTo>
                    <a:pt x="448" y="154"/>
                    <a:pt x="448" y="154"/>
                    <a:pt x="448" y="154"/>
                  </a:cubicBezTo>
                  <a:cubicBezTo>
                    <a:pt x="424" y="164"/>
                    <a:pt x="400" y="176"/>
                    <a:pt x="378" y="190"/>
                  </a:cubicBezTo>
                  <a:cubicBezTo>
                    <a:pt x="284" y="120"/>
                    <a:pt x="284" y="120"/>
                    <a:pt x="284" y="120"/>
                  </a:cubicBezTo>
                  <a:cubicBezTo>
                    <a:pt x="218" y="173"/>
                    <a:pt x="218" y="173"/>
                    <a:pt x="218" y="173"/>
                  </a:cubicBezTo>
                  <a:cubicBezTo>
                    <a:pt x="266" y="280"/>
                    <a:pt x="266" y="280"/>
                    <a:pt x="266" y="280"/>
                  </a:cubicBezTo>
                  <a:cubicBezTo>
                    <a:pt x="249" y="297"/>
                    <a:pt x="234" y="315"/>
                    <a:pt x="220" y="334"/>
                  </a:cubicBezTo>
                  <a:cubicBezTo>
                    <a:pt x="106" y="305"/>
                    <a:pt x="106" y="305"/>
                    <a:pt x="106" y="305"/>
                  </a:cubicBezTo>
                  <a:cubicBezTo>
                    <a:pt x="65" y="379"/>
                    <a:pt x="65" y="379"/>
                    <a:pt x="65" y="379"/>
                  </a:cubicBezTo>
                  <a:cubicBezTo>
                    <a:pt x="149" y="460"/>
                    <a:pt x="149" y="460"/>
                    <a:pt x="149" y="460"/>
                  </a:cubicBezTo>
                  <a:cubicBezTo>
                    <a:pt x="139" y="484"/>
                    <a:pt x="131" y="509"/>
                    <a:pt x="125" y="535"/>
                  </a:cubicBezTo>
                  <a:cubicBezTo>
                    <a:pt x="9" y="551"/>
                    <a:pt x="9" y="551"/>
                    <a:pt x="9" y="551"/>
                  </a:cubicBezTo>
                  <a:cubicBezTo>
                    <a:pt x="0" y="636"/>
                    <a:pt x="0" y="636"/>
                    <a:pt x="0" y="636"/>
                  </a:cubicBezTo>
                  <a:cubicBezTo>
                    <a:pt x="109" y="678"/>
                    <a:pt x="109" y="678"/>
                    <a:pt x="109" y="678"/>
                  </a:cubicBezTo>
                  <a:cubicBezTo>
                    <a:pt x="110" y="701"/>
                    <a:pt x="112" y="725"/>
                    <a:pt x="115" y="749"/>
                  </a:cubicBezTo>
                  <a:cubicBezTo>
                    <a:pt x="12" y="809"/>
                    <a:pt x="12" y="809"/>
                    <a:pt x="12" y="809"/>
                  </a:cubicBezTo>
                  <a:cubicBezTo>
                    <a:pt x="35" y="890"/>
                    <a:pt x="35" y="890"/>
                    <a:pt x="35" y="890"/>
                  </a:cubicBezTo>
                  <a:cubicBezTo>
                    <a:pt x="154" y="887"/>
                    <a:pt x="154" y="887"/>
                    <a:pt x="154" y="887"/>
                  </a:cubicBezTo>
                  <a:cubicBezTo>
                    <a:pt x="164" y="912"/>
                    <a:pt x="177" y="935"/>
                    <a:pt x="190" y="957"/>
                  </a:cubicBezTo>
                  <a:cubicBezTo>
                    <a:pt x="120" y="1051"/>
                    <a:pt x="120" y="1051"/>
                    <a:pt x="120" y="1051"/>
                  </a:cubicBezTo>
                  <a:cubicBezTo>
                    <a:pt x="173" y="1117"/>
                    <a:pt x="173" y="1117"/>
                    <a:pt x="173" y="1117"/>
                  </a:cubicBezTo>
                  <a:cubicBezTo>
                    <a:pt x="280" y="1070"/>
                    <a:pt x="280" y="1070"/>
                    <a:pt x="280" y="1070"/>
                  </a:cubicBezTo>
                  <a:cubicBezTo>
                    <a:pt x="297" y="1086"/>
                    <a:pt x="315" y="1102"/>
                    <a:pt x="334" y="1116"/>
                  </a:cubicBezTo>
                  <a:cubicBezTo>
                    <a:pt x="305" y="1229"/>
                    <a:pt x="305" y="1229"/>
                    <a:pt x="305" y="1229"/>
                  </a:cubicBezTo>
                  <a:cubicBezTo>
                    <a:pt x="379" y="1270"/>
                    <a:pt x="379" y="1270"/>
                    <a:pt x="379" y="1270"/>
                  </a:cubicBezTo>
                  <a:cubicBezTo>
                    <a:pt x="460" y="1186"/>
                    <a:pt x="460" y="1186"/>
                    <a:pt x="460" y="1186"/>
                  </a:cubicBezTo>
                  <a:cubicBezTo>
                    <a:pt x="484" y="1196"/>
                    <a:pt x="509" y="1204"/>
                    <a:pt x="535" y="1210"/>
                  </a:cubicBezTo>
                  <a:cubicBezTo>
                    <a:pt x="551" y="1326"/>
                    <a:pt x="551" y="1326"/>
                    <a:pt x="551" y="1326"/>
                  </a:cubicBezTo>
                  <a:cubicBezTo>
                    <a:pt x="636" y="1335"/>
                    <a:pt x="636" y="1335"/>
                    <a:pt x="636" y="1335"/>
                  </a:cubicBezTo>
                  <a:cubicBezTo>
                    <a:pt x="678" y="1226"/>
                    <a:pt x="678" y="1226"/>
                    <a:pt x="678" y="1226"/>
                  </a:cubicBezTo>
                  <a:cubicBezTo>
                    <a:pt x="701" y="1226"/>
                    <a:pt x="725" y="1224"/>
                    <a:pt x="749" y="1220"/>
                  </a:cubicBezTo>
                  <a:cubicBezTo>
                    <a:pt x="808" y="1323"/>
                    <a:pt x="808" y="1323"/>
                    <a:pt x="808" y="1323"/>
                  </a:cubicBezTo>
                  <a:cubicBezTo>
                    <a:pt x="890" y="1299"/>
                    <a:pt x="890" y="1299"/>
                    <a:pt x="890" y="1299"/>
                  </a:cubicBezTo>
                  <a:cubicBezTo>
                    <a:pt x="887" y="1181"/>
                    <a:pt x="887" y="1181"/>
                    <a:pt x="887" y="1181"/>
                  </a:cubicBezTo>
                  <a:cubicBezTo>
                    <a:pt x="912" y="1171"/>
                    <a:pt x="935" y="1159"/>
                    <a:pt x="957" y="1145"/>
                  </a:cubicBezTo>
                  <a:cubicBezTo>
                    <a:pt x="1051" y="1215"/>
                    <a:pt x="1051" y="1215"/>
                    <a:pt x="1051" y="1215"/>
                  </a:cubicBezTo>
                  <a:cubicBezTo>
                    <a:pt x="1117" y="1162"/>
                    <a:pt x="1117" y="1162"/>
                    <a:pt x="1117" y="1162"/>
                  </a:cubicBezTo>
                  <a:cubicBezTo>
                    <a:pt x="1070" y="1055"/>
                    <a:pt x="1070" y="1055"/>
                    <a:pt x="1070" y="1055"/>
                  </a:cubicBezTo>
                  <a:cubicBezTo>
                    <a:pt x="1086" y="1038"/>
                    <a:pt x="1102" y="1020"/>
                    <a:pt x="1116" y="1001"/>
                  </a:cubicBezTo>
                  <a:cubicBezTo>
                    <a:pt x="1229" y="1031"/>
                    <a:pt x="1229" y="1031"/>
                    <a:pt x="1229" y="1031"/>
                  </a:cubicBezTo>
                  <a:cubicBezTo>
                    <a:pt x="1271" y="956"/>
                    <a:pt x="1271" y="956"/>
                    <a:pt x="1271" y="956"/>
                  </a:cubicBezTo>
                  <a:cubicBezTo>
                    <a:pt x="1186" y="875"/>
                    <a:pt x="1186" y="875"/>
                    <a:pt x="1186" y="875"/>
                  </a:cubicBezTo>
                  <a:cubicBezTo>
                    <a:pt x="1196" y="851"/>
                    <a:pt x="1204" y="826"/>
                    <a:pt x="1210" y="801"/>
                  </a:cubicBezTo>
                  <a:lnTo>
                    <a:pt x="1326" y="784"/>
                  </a:lnTo>
                  <a:close/>
                  <a:moveTo>
                    <a:pt x="560" y="286"/>
                  </a:moveTo>
                  <a:cubicBezTo>
                    <a:pt x="771" y="226"/>
                    <a:pt x="990" y="349"/>
                    <a:pt x="1050" y="560"/>
                  </a:cubicBezTo>
                  <a:cubicBezTo>
                    <a:pt x="1109" y="771"/>
                    <a:pt x="987" y="990"/>
                    <a:pt x="776" y="1050"/>
                  </a:cubicBezTo>
                  <a:cubicBezTo>
                    <a:pt x="565" y="1109"/>
                    <a:pt x="345" y="986"/>
                    <a:pt x="286" y="775"/>
                  </a:cubicBezTo>
                  <a:cubicBezTo>
                    <a:pt x="226" y="564"/>
                    <a:pt x="349" y="345"/>
                    <a:pt x="56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3" name="Freeform 29"/>
            <p:cNvSpPr>
              <a:spLocks noEditPoints="1"/>
            </p:cNvSpPr>
            <p:nvPr/>
          </p:nvSpPr>
          <p:spPr bwMode="auto">
            <a:xfrm>
              <a:off x="2806700" y="1787525"/>
              <a:ext cx="307975" cy="309563"/>
            </a:xfrm>
            <a:custGeom>
              <a:avLst/>
              <a:gdLst>
                <a:gd name="T0" fmla="*/ 181 w 363"/>
                <a:gd name="T1" fmla="*/ 363 h 363"/>
                <a:gd name="T2" fmla="*/ 363 w 363"/>
                <a:gd name="T3" fmla="*/ 181 h 363"/>
                <a:gd name="T4" fmla="*/ 181 w 363"/>
                <a:gd name="T5" fmla="*/ 0 h 363"/>
                <a:gd name="T6" fmla="*/ 0 w 363"/>
                <a:gd name="T7" fmla="*/ 181 h 363"/>
                <a:gd name="T8" fmla="*/ 181 w 363"/>
                <a:gd name="T9" fmla="*/ 363 h 363"/>
                <a:gd name="T10" fmla="*/ 181 w 363"/>
                <a:gd name="T11" fmla="*/ 120 h 363"/>
                <a:gd name="T12" fmla="*/ 243 w 363"/>
                <a:gd name="T13" fmla="*/ 181 h 363"/>
                <a:gd name="T14" fmla="*/ 181 w 363"/>
                <a:gd name="T15" fmla="*/ 243 h 363"/>
                <a:gd name="T16" fmla="*/ 120 w 363"/>
                <a:gd name="T17" fmla="*/ 181 h 363"/>
                <a:gd name="T18" fmla="*/ 181 w 363"/>
                <a:gd name="T19" fmla="*/ 12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363">
                  <a:moveTo>
                    <a:pt x="181" y="363"/>
                  </a:moveTo>
                  <a:cubicBezTo>
                    <a:pt x="281" y="363"/>
                    <a:pt x="363" y="282"/>
                    <a:pt x="363" y="181"/>
                  </a:cubicBezTo>
                  <a:cubicBezTo>
                    <a:pt x="363" y="81"/>
                    <a:pt x="281" y="0"/>
                    <a:pt x="181" y="0"/>
                  </a:cubicBezTo>
                  <a:cubicBezTo>
                    <a:pt x="81" y="0"/>
                    <a:pt x="0" y="81"/>
                    <a:pt x="0" y="181"/>
                  </a:cubicBezTo>
                  <a:cubicBezTo>
                    <a:pt x="0" y="282"/>
                    <a:pt x="81" y="363"/>
                    <a:pt x="181" y="363"/>
                  </a:cubicBezTo>
                  <a:close/>
                  <a:moveTo>
                    <a:pt x="181" y="120"/>
                  </a:moveTo>
                  <a:cubicBezTo>
                    <a:pt x="215" y="120"/>
                    <a:pt x="243" y="147"/>
                    <a:pt x="243" y="181"/>
                  </a:cubicBezTo>
                  <a:cubicBezTo>
                    <a:pt x="243" y="215"/>
                    <a:pt x="215" y="243"/>
                    <a:pt x="181" y="243"/>
                  </a:cubicBezTo>
                  <a:cubicBezTo>
                    <a:pt x="147" y="243"/>
                    <a:pt x="120" y="215"/>
                    <a:pt x="120" y="181"/>
                  </a:cubicBezTo>
                  <a:cubicBezTo>
                    <a:pt x="120" y="147"/>
                    <a:pt x="147" y="120"/>
                    <a:pt x="181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2948427" y="3861862"/>
            <a:ext cx="3133726" cy="3136900"/>
            <a:chOff x="1085850" y="1887538"/>
            <a:chExt cx="1566863" cy="1568450"/>
          </a:xfrm>
          <a:solidFill>
            <a:schemeClr val="accent3"/>
          </a:solidFill>
        </p:grpSpPr>
        <p:sp>
          <p:nvSpPr>
            <p:cNvPr id="34" name="Freeform 30"/>
            <p:cNvSpPr>
              <a:spLocks noEditPoints="1"/>
            </p:cNvSpPr>
            <p:nvPr/>
          </p:nvSpPr>
          <p:spPr bwMode="auto">
            <a:xfrm>
              <a:off x="1085850" y="1887538"/>
              <a:ext cx="1566863" cy="1568450"/>
            </a:xfrm>
            <a:custGeom>
              <a:avLst/>
              <a:gdLst>
                <a:gd name="T0" fmla="*/ 1840 w 1840"/>
                <a:gd name="T1" fmla="*/ 964 h 1840"/>
                <a:gd name="T2" fmla="*/ 1682 w 1840"/>
                <a:gd name="T3" fmla="*/ 808 h 1840"/>
                <a:gd name="T4" fmla="*/ 1791 w 1840"/>
                <a:gd name="T5" fmla="*/ 614 h 1840"/>
                <a:gd name="T6" fmla="*/ 1578 w 1840"/>
                <a:gd name="T7" fmla="*/ 521 h 1840"/>
                <a:gd name="T8" fmla="*/ 1602 w 1840"/>
                <a:gd name="T9" fmla="*/ 301 h 1840"/>
                <a:gd name="T10" fmla="*/ 1379 w 1840"/>
                <a:gd name="T11" fmla="*/ 303 h 1840"/>
                <a:gd name="T12" fmla="*/ 1318 w 1840"/>
                <a:gd name="T13" fmla="*/ 90 h 1840"/>
                <a:gd name="T14" fmla="*/ 1103 w 1840"/>
                <a:gd name="T15" fmla="*/ 173 h 1840"/>
                <a:gd name="T16" fmla="*/ 964 w 1840"/>
                <a:gd name="T17" fmla="*/ 0 h 1840"/>
                <a:gd name="T18" fmla="*/ 808 w 1840"/>
                <a:gd name="T19" fmla="*/ 159 h 1840"/>
                <a:gd name="T20" fmla="*/ 613 w 1840"/>
                <a:gd name="T21" fmla="*/ 49 h 1840"/>
                <a:gd name="T22" fmla="*/ 521 w 1840"/>
                <a:gd name="T23" fmla="*/ 262 h 1840"/>
                <a:gd name="T24" fmla="*/ 301 w 1840"/>
                <a:gd name="T25" fmla="*/ 239 h 1840"/>
                <a:gd name="T26" fmla="*/ 303 w 1840"/>
                <a:gd name="T27" fmla="*/ 461 h 1840"/>
                <a:gd name="T28" fmla="*/ 89 w 1840"/>
                <a:gd name="T29" fmla="*/ 522 h 1840"/>
                <a:gd name="T30" fmla="*/ 173 w 1840"/>
                <a:gd name="T31" fmla="*/ 737 h 1840"/>
                <a:gd name="T32" fmla="*/ 0 w 1840"/>
                <a:gd name="T33" fmla="*/ 877 h 1840"/>
                <a:gd name="T34" fmla="*/ 159 w 1840"/>
                <a:gd name="T35" fmla="*/ 1032 h 1840"/>
                <a:gd name="T36" fmla="*/ 49 w 1840"/>
                <a:gd name="T37" fmla="*/ 1227 h 1840"/>
                <a:gd name="T38" fmla="*/ 262 w 1840"/>
                <a:gd name="T39" fmla="*/ 1320 h 1840"/>
                <a:gd name="T40" fmla="*/ 239 w 1840"/>
                <a:gd name="T41" fmla="*/ 1540 h 1840"/>
                <a:gd name="T42" fmla="*/ 461 w 1840"/>
                <a:gd name="T43" fmla="*/ 1538 h 1840"/>
                <a:gd name="T44" fmla="*/ 522 w 1840"/>
                <a:gd name="T45" fmla="*/ 1751 h 1840"/>
                <a:gd name="T46" fmla="*/ 737 w 1840"/>
                <a:gd name="T47" fmla="*/ 1668 h 1840"/>
                <a:gd name="T48" fmla="*/ 876 w 1840"/>
                <a:gd name="T49" fmla="*/ 1840 h 1840"/>
                <a:gd name="T50" fmla="*/ 1032 w 1840"/>
                <a:gd name="T51" fmla="*/ 1682 h 1840"/>
                <a:gd name="T52" fmla="*/ 1227 w 1840"/>
                <a:gd name="T53" fmla="*/ 1791 h 1840"/>
                <a:gd name="T54" fmla="*/ 1319 w 1840"/>
                <a:gd name="T55" fmla="*/ 1579 h 1840"/>
                <a:gd name="T56" fmla="*/ 1540 w 1840"/>
                <a:gd name="T57" fmla="*/ 1602 h 1840"/>
                <a:gd name="T58" fmla="*/ 1538 w 1840"/>
                <a:gd name="T59" fmla="*/ 1380 h 1840"/>
                <a:gd name="T60" fmla="*/ 1751 w 1840"/>
                <a:gd name="T61" fmla="*/ 1318 h 1840"/>
                <a:gd name="T62" fmla="*/ 1668 w 1840"/>
                <a:gd name="T63" fmla="*/ 1104 h 1840"/>
                <a:gd name="T64" fmla="*/ 759 w 1840"/>
                <a:gd name="T65" fmla="*/ 351 h 1840"/>
                <a:gd name="T66" fmla="*/ 1081 w 1840"/>
                <a:gd name="T67" fmla="*/ 1490 h 1840"/>
                <a:gd name="T68" fmla="*/ 759 w 1840"/>
                <a:gd name="T69" fmla="*/ 351 h 1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0" h="1840">
                  <a:moveTo>
                    <a:pt x="1827" y="1080"/>
                  </a:moveTo>
                  <a:cubicBezTo>
                    <a:pt x="1840" y="964"/>
                    <a:pt x="1840" y="964"/>
                    <a:pt x="1840" y="964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689" y="874"/>
                    <a:pt x="1687" y="841"/>
                    <a:pt x="1682" y="808"/>
                  </a:cubicBezTo>
                  <a:cubicBezTo>
                    <a:pt x="1823" y="726"/>
                    <a:pt x="1823" y="726"/>
                    <a:pt x="1823" y="726"/>
                  </a:cubicBezTo>
                  <a:cubicBezTo>
                    <a:pt x="1791" y="614"/>
                    <a:pt x="1791" y="614"/>
                    <a:pt x="1791" y="614"/>
                  </a:cubicBezTo>
                  <a:cubicBezTo>
                    <a:pt x="1628" y="618"/>
                    <a:pt x="1628" y="618"/>
                    <a:pt x="1628" y="618"/>
                  </a:cubicBezTo>
                  <a:cubicBezTo>
                    <a:pt x="1614" y="584"/>
                    <a:pt x="1597" y="552"/>
                    <a:pt x="1578" y="521"/>
                  </a:cubicBezTo>
                  <a:cubicBezTo>
                    <a:pt x="1675" y="392"/>
                    <a:pt x="1675" y="392"/>
                    <a:pt x="1675" y="392"/>
                  </a:cubicBezTo>
                  <a:cubicBezTo>
                    <a:pt x="1602" y="301"/>
                    <a:pt x="1602" y="301"/>
                    <a:pt x="1602" y="301"/>
                  </a:cubicBezTo>
                  <a:cubicBezTo>
                    <a:pt x="1455" y="366"/>
                    <a:pt x="1455" y="366"/>
                    <a:pt x="1455" y="366"/>
                  </a:cubicBezTo>
                  <a:cubicBezTo>
                    <a:pt x="1431" y="344"/>
                    <a:pt x="1406" y="322"/>
                    <a:pt x="1379" y="303"/>
                  </a:cubicBezTo>
                  <a:cubicBezTo>
                    <a:pt x="1420" y="147"/>
                    <a:pt x="1420" y="147"/>
                    <a:pt x="1420" y="147"/>
                  </a:cubicBezTo>
                  <a:cubicBezTo>
                    <a:pt x="1318" y="90"/>
                    <a:pt x="1318" y="90"/>
                    <a:pt x="1318" y="90"/>
                  </a:cubicBezTo>
                  <a:cubicBezTo>
                    <a:pt x="1206" y="206"/>
                    <a:pt x="1206" y="206"/>
                    <a:pt x="1206" y="206"/>
                  </a:cubicBezTo>
                  <a:cubicBezTo>
                    <a:pt x="1173" y="193"/>
                    <a:pt x="1139" y="181"/>
                    <a:pt x="1103" y="173"/>
                  </a:cubicBezTo>
                  <a:cubicBezTo>
                    <a:pt x="1080" y="13"/>
                    <a:pt x="1080" y="13"/>
                    <a:pt x="1080" y="13"/>
                  </a:cubicBezTo>
                  <a:cubicBezTo>
                    <a:pt x="964" y="0"/>
                    <a:pt x="964" y="0"/>
                    <a:pt x="964" y="0"/>
                  </a:cubicBezTo>
                  <a:cubicBezTo>
                    <a:pt x="906" y="151"/>
                    <a:pt x="906" y="151"/>
                    <a:pt x="906" y="151"/>
                  </a:cubicBezTo>
                  <a:cubicBezTo>
                    <a:pt x="874" y="151"/>
                    <a:pt x="841" y="154"/>
                    <a:pt x="808" y="159"/>
                  </a:cubicBezTo>
                  <a:cubicBezTo>
                    <a:pt x="726" y="17"/>
                    <a:pt x="726" y="17"/>
                    <a:pt x="726" y="17"/>
                  </a:cubicBezTo>
                  <a:cubicBezTo>
                    <a:pt x="613" y="49"/>
                    <a:pt x="613" y="49"/>
                    <a:pt x="613" y="49"/>
                  </a:cubicBezTo>
                  <a:cubicBezTo>
                    <a:pt x="617" y="213"/>
                    <a:pt x="617" y="213"/>
                    <a:pt x="617" y="213"/>
                  </a:cubicBezTo>
                  <a:cubicBezTo>
                    <a:pt x="584" y="227"/>
                    <a:pt x="552" y="244"/>
                    <a:pt x="521" y="262"/>
                  </a:cubicBezTo>
                  <a:cubicBezTo>
                    <a:pt x="392" y="166"/>
                    <a:pt x="392" y="166"/>
                    <a:pt x="392" y="166"/>
                  </a:cubicBezTo>
                  <a:cubicBezTo>
                    <a:pt x="301" y="239"/>
                    <a:pt x="301" y="239"/>
                    <a:pt x="301" y="239"/>
                  </a:cubicBezTo>
                  <a:cubicBezTo>
                    <a:pt x="366" y="386"/>
                    <a:pt x="366" y="386"/>
                    <a:pt x="366" y="386"/>
                  </a:cubicBezTo>
                  <a:cubicBezTo>
                    <a:pt x="343" y="410"/>
                    <a:pt x="322" y="435"/>
                    <a:pt x="303" y="461"/>
                  </a:cubicBezTo>
                  <a:cubicBezTo>
                    <a:pt x="147" y="420"/>
                    <a:pt x="147" y="420"/>
                    <a:pt x="147" y="420"/>
                  </a:cubicBezTo>
                  <a:cubicBezTo>
                    <a:pt x="89" y="522"/>
                    <a:pt x="89" y="522"/>
                    <a:pt x="89" y="522"/>
                  </a:cubicBezTo>
                  <a:cubicBezTo>
                    <a:pt x="206" y="634"/>
                    <a:pt x="206" y="634"/>
                    <a:pt x="206" y="634"/>
                  </a:cubicBezTo>
                  <a:cubicBezTo>
                    <a:pt x="192" y="668"/>
                    <a:pt x="181" y="702"/>
                    <a:pt x="173" y="737"/>
                  </a:cubicBezTo>
                  <a:cubicBezTo>
                    <a:pt x="13" y="760"/>
                    <a:pt x="13" y="760"/>
                    <a:pt x="13" y="760"/>
                  </a:cubicBezTo>
                  <a:cubicBezTo>
                    <a:pt x="0" y="877"/>
                    <a:pt x="0" y="877"/>
                    <a:pt x="0" y="877"/>
                  </a:cubicBezTo>
                  <a:cubicBezTo>
                    <a:pt x="151" y="934"/>
                    <a:pt x="151" y="934"/>
                    <a:pt x="151" y="934"/>
                  </a:cubicBezTo>
                  <a:cubicBezTo>
                    <a:pt x="151" y="967"/>
                    <a:pt x="154" y="1000"/>
                    <a:pt x="159" y="1032"/>
                  </a:cubicBezTo>
                  <a:cubicBezTo>
                    <a:pt x="17" y="1115"/>
                    <a:pt x="17" y="1115"/>
                    <a:pt x="17" y="1115"/>
                  </a:cubicBezTo>
                  <a:cubicBezTo>
                    <a:pt x="49" y="1227"/>
                    <a:pt x="49" y="1227"/>
                    <a:pt x="49" y="1227"/>
                  </a:cubicBezTo>
                  <a:cubicBezTo>
                    <a:pt x="212" y="1223"/>
                    <a:pt x="212" y="1223"/>
                    <a:pt x="212" y="1223"/>
                  </a:cubicBezTo>
                  <a:cubicBezTo>
                    <a:pt x="227" y="1257"/>
                    <a:pt x="243" y="1289"/>
                    <a:pt x="262" y="1320"/>
                  </a:cubicBezTo>
                  <a:cubicBezTo>
                    <a:pt x="166" y="1449"/>
                    <a:pt x="166" y="1449"/>
                    <a:pt x="166" y="1449"/>
                  </a:cubicBezTo>
                  <a:cubicBezTo>
                    <a:pt x="239" y="1540"/>
                    <a:pt x="239" y="1540"/>
                    <a:pt x="239" y="1540"/>
                  </a:cubicBezTo>
                  <a:cubicBezTo>
                    <a:pt x="386" y="1474"/>
                    <a:pt x="386" y="1474"/>
                    <a:pt x="386" y="1474"/>
                  </a:cubicBezTo>
                  <a:cubicBezTo>
                    <a:pt x="410" y="1497"/>
                    <a:pt x="435" y="1518"/>
                    <a:pt x="461" y="1538"/>
                  </a:cubicBezTo>
                  <a:cubicBezTo>
                    <a:pt x="420" y="1694"/>
                    <a:pt x="420" y="1694"/>
                    <a:pt x="420" y="1694"/>
                  </a:cubicBezTo>
                  <a:cubicBezTo>
                    <a:pt x="522" y="1751"/>
                    <a:pt x="522" y="1751"/>
                    <a:pt x="522" y="1751"/>
                  </a:cubicBezTo>
                  <a:cubicBezTo>
                    <a:pt x="634" y="1635"/>
                    <a:pt x="634" y="1635"/>
                    <a:pt x="634" y="1635"/>
                  </a:cubicBezTo>
                  <a:cubicBezTo>
                    <a:pt x="667" y="1648"/>
                    <a:pt x="702" y="1659"/>
                    <a:pt x="737" y="1668"/>
                  </a:cubicBezTo>
                  <a:cubicBezTo>
                    <a:pt x="760" y="1827"/>
                    <a:pt x="760" y="1827"/>
                    <a:pt x="760" y="1827"/>
                  </a:cubicBezTo>
                  <a:cubicBezTo>
                    <a:pt x="876" y="1840"/>
                    <a:pt x="876" y="1840"/>
                    <a:pt x="876" y="1840"/>
                  </a:cubicBezTo>
                  <a:cubicBezTo>
                    <a:pt x="934" y="1690"/>
                    <a:pt x="934" y="1690"/>
                    <a:pt x="934" y="1690"/>
                  </a:cubicBezTo>
                  <a:cubicBezTo>
                    <a:pt x="967" y="1689"/>
                    <a:pt x="1000" y="1687"/>
                    <a:pt x="1032" y="1682"/>
                  </a:cubicBezTo>
                  <a:cubicBezTo>
                    <a:pt x="1114" y="1823"/>
                    <a:pt x="1114" y="1823"/>
                    <a:pt x="1114" y="1823"/>
                  </a:cubicBezTo>
                  <a:cubicBezTo>
                    <a:pt x="1227" y="1791"/>
                    <a:pt x="1227" y="1791"/>
                    <a:pt x="1227" y="1791"/>
                  </a:cubicBezTo>
                  <a:cubicBezTo>
                    <a:pt x="1223" y="1628"/>
                    <a:pt x="1223" y="1628"/>
                    <a:pt x="1223" y="1628"/>
                  </a:cubicBezTo>
                  <a:cubicBezTo>
                    <a:pt x="1256" y="1614"/>
                    <a:pt x="1289" y="1597"/>
                    <a:pt x="1319" y="1579"/>
                  </a:cubicBezTo>
                  <a:cubicBezTo>
                    <a:pt x="1448" y="1675"/>
                    <a:pt x="1448" y="1675"/>
                    <a:pt x="1448" y="1675"/>
                  </a:cubicBezTo>
                  <a:cubicBezTo>
                    <a:pt x="1540" y="1602"/>
                    <a:pt x="1540" y="1602"/>
                    <a:pt x="1540" y="1602"/>
                  </a:cubicBezTo>
                  <a:cubicBezTo>
                    <a:pt x="1474" y="1455"/>
                    <a:pt x="1474" y="1455"/>
                    <a:pt x="1474" y="1455"/>
                  </a:cubicBezTo>
                  <a:cubicBezTo>
                    <a:pt x="1497" y="1431"/>
                    <a:pt x="1518" y="1406"/>
                    <a:pt x="1538" y="1380"/>
                  </a:cubicBezTo>
                  <a:cubicBezTo>
                    <a:pt x="1694" y="1420"/>
                    <a:pt x="1694" y="1420"/>
                    <a:pt x="1694" y="1420"/>
                  </a:cubicBezTo>
                  <a:cubicBezTo>
                    <a:pt x="1751" y="1318"/>
                    <a:pt x="1751" y="1318"/>
                    <a:pt x="1751" y="1318"/>
                  </a:cubicBezTo>
                  <a:cubicBezTo>
                    <a:pt x="1635" y="1207"/>
                    <a:pt x="1635" y="1207"/>
                    <a:pt x="1635" y="1207"/>
                  </a:cubicBezTo>
                  <a:cubicBezTo>
                    <a:pt x="1648" y="1173"/>
                    <a:pt x="1659" y="1139"/>
                    <a:pt x="1668" y="1104"/>
                  </a:cubicBezTo>
                  <a:lnTo>
                    <a:pt x="1827" y="1080"/>
                  </a:lnTo>
                  <a:close/>
                  <a:moveTo>
                    <a:pt x="759" y="351"/>
                  </a:moveTo>
                  <a:cubicBezTo>
                    <a:pt x="1074" y="262"/>
                    <a:pt x="1401" y="445"/>
                    <a:pt x="1490" y="760"/>
                  </a:cubicBezTo>
                  <a:cubicBezTo>
                    <a:pt x="1579" y="1074"/>
                    <a:pt x="1396" y="1401"/>
                    <a:pt x="1081" y="1490"/>
                  </a:cubicBezTo>
                  <a:cubicBezTo>
                    <a:pt x="766" y="1579"/>
                    <a:pt x="439" y="1396"/>
                    <a:pt x="350" y="1081"/>
                  </a:cubicBezTo>
                  <a:cubicBezTo>
                    <a:pt x="262" y="767"/>
                    <a:pt x="445" y="439"/>
                    <a:pt x="759" y="3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auto">
            <a:xfrm>
              <a:off x="1655763" y="2459038"/>
              <a:ext cx="427038" cy="425450"/>
            </a:xfrm>
            <a:custGeom>
              <a:avLst/>
              <a:gdLst>
                <a:gd name="T0" fmla="*/ 250 w 500"/>
                <a:gd name="T1" fmla="*/ 499 h 499"/>
                <a:gd name="T2" fmla="*/ 500 w 500"/>
                <a:gd name="T3" fmla="*/ 249 h 499"/>
                <a:gd name="T4" fmla="*/ 250 w 500"/>
                <a:gd name="T5" fmla="*/ 0 h 499"/>
                <a:gd name="T6" fmla="*/ 0 w 500"/>
                <a:gd name="T7" fmla="*/ 249 h 499"/>
                <a:gd name="T8" fmla="*/ 250 w 500"/>
                <a:gd name="T9" fmla="*/ 499 h 499"/>
                <a:gd name="T10" fmla="*/ 250 w 500"/>
                <a:gd name="T11" fmla="*/ 140 h 499"/>
                <a:gd name="T12" fmla="*/ 360 w 500"/>
                <a:gd name="T13" fmla="*/ 249 h 499"/>
                <a:gd name="T14" fmla="*/ 250 w 500"/>
                <a:gd name="T15" fmla="*/ 359 h 499"/>
                <a:gd name="T16" fmla="*/ 140 w 500"/>
                <a:gd name="T17" fmla="*/ 249 h 499"/>
                <a:gd name="T18" fmla="*/ 250 w 500"/>
                <a:gd name="T19" fmla="*/ 14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0" h="499">
                  <a:moveTo>
                    <a:pt x="250" y="499"/>
                  </a:moveTo>
                  <a:cubicBezTo>
                    <a:pt x="388" y="499"/>
                    <a:pt x="500" y="387"/>
                    <a:pt x="500" y="249"/>
                  </a:cubicBezTo>
                  <a:cubicBezTo>
                    <a:pt x="500" y="112"/>
                    <a:pt x="388" y="0"/>
                    <a:pt x="250" y="0"/>
                  </a:cubicBezTo>
                  <a:cubicBezTo>
                    <a:pt x="112" y="0"/>
                    <a:pt x="0" y="112"/>
                    <a:pt x="0" y="249"/>
                  </a:cubicBezTo>
                  <a:cubicBezTo>
                    <a:pt x="0" y="387"/>
                    <a:pt x="112" y="499"/>
                    <a:pt x="250" y="499"/>
                  </a:cubicBezTo>
                  <a:close/>
                  <a:moveTo>
                    <a:pt x="250" y="140"/>
                  </a:moveTo>
                  <a:cubicBezTo>
                    <a:pt x="311" y="140"/>
                    <a:pt x="360" y="189"/>
                    <a:pt x="360" y="249"/>
                  </a:cubicBezTo>
                  <a:cubicBezTo>
                    <a:pt x="360" y="310"/>
                    <a:pt x="311" y="359"/>
                    <a:pt x="250" y="359"/>
                  </a:cubicBezTo>
                  <a:cubicBezTo>
                    <a:pt x="190" y="359"/>
                    <a:pt x="140" y="310"/>
                    <a:pt x="140" y="249"/>
                  </a:cubicBezTo>
                  <a:cubicBezTo>
                    <a:pt x="140" y="189"/>
                    <a:pt x="190" y="140"/>
                    <a:pt x="25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2456303" y="7424212"/>
            <a:ext cx="2533650" cy="4864100"/>
            <a:chOff x="839788" y="3668713"/>
            <a:chExt cx="1266825" cy="2432050"/>
          </a:xfrm>
        </p:grpSpPr>
        <p:sp>
          <p:nvSpPr>
            <p:cNvPr id="36" name="Oval 32"/>
            <p:cNvSpPr>
              <a:spLocks noChangeArrowheads="1"/>
            </p:cNvSpPr>
            <p:nvPr/>
          </p:nvSpPr>
          <p:spPr bwMode="auto">
            <a:xfrm>
              <a:off x="1084263" y="3738563"/>
              <a:ext cx="455613" cy="455613"/>
            </a:xfrm>
            <a:prstGeom prst="ellips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auto">
            <a:xfrm>
              <a:off x="839788" y="3668713"/>
              <a:ext cx="1266825" cy="2432050"/>
            </a:xfrm>
            <a:custGeom>
              <a:avLst/>
              <a:gdLst>
                <a:gd name="T0" fmla="*/ 835 w 1488"/>
                <a:gd name="T1" fmla="*/ 717 h 2854"/>
                <a:gd name="T2" fmla="*/ 851 w 1488"/>
                <a:gd name="T3" fmla="*/ 708 h 2854"/>
                <a:gd name="T4" fmla="*/ 1249 w 1488"/>
                <a:gd name="T5" fmla="*/ 68 h 2854"/>
                <a:gd name="T6" fmla="*/ 1417 w 1488"/>
                <a:gd name="T7" fmla="*/ 36 h 2854"/>
                <a:gd name="T8" fmla="*/ 1451 w 1488"/>
                <a:gd name="T9" fmla="*/ 199 h 2854"/>
                <a:gd name="T10" fmla="*/ 890 w 1488"/>
                <a:gd name="T11" fmla="*/ 1074 h 2854"/>
                <a:gd name="T12" fmla="*/ 887 w 1488"/>
                <a:gd name="T13" fmla="*/ 1085 h 2854"/>
                <a:gd name="T14" fmla="*/ 887 w 1488"/>
                <a:gd name="T15" fmla="*/ 1839 h 2854"/>
                <a:gd name="T16" fmla="*/ 887 w 1488"/>
                <a:gd name="T17" fmla="*/ 1906 h 2854"/>
                <a:gd name="T18" fmla="*/ 887 w 1488"/>
                <a:gd name="T19" fmla="*/ 2723 h 2854"/>
                <a:gd name="T20" fmla="*/ 751 w 1488"/>
                <a:gd name="T21" fmla="*/ 2854 h 2854"/>
                <a:gd name="T22" fmla="*/ 749 w 1488"/>
                <a:gd name="T23" fmla="*/ 2854 h 2854"/>
                <a:gd name="T24" fmla="*/ 614 w 1488"/>
                <a:gd name="T25" fmla="*/ 2723 h 2854"/>
                <a:gd name="T26" fmla="*/ 614 w 1488"/>
                <a:gd name="T27" fmla="*/ 1925 h 2854"/>
                <a:gd name="T28" fmla="*/ 595 w 1488"/>
                <a:gd name="T29" fmla="*/ 1906 h 2854"/>
                <a:gd name="T30" fmla="*/ 576 w 1488"/>
                <a:gd name="T31" fmla="*/ 1906 h 2854"/>
                <a:gd name="T32" fmla="*/ 557 w 1488"/>
                <a:gd name="T33" fmla="*/ 1925 h 2854"/>
                <a:gd name="T34" fmla="*/ 557 w 1488"/>
                <a:gd name="T35" fmla="*/ 2723 h 2854"/>
                <a:gd name="T36" fmla="*/ 421 w 1488"/>
                <a:gd name="T37" fmla="*/ 2854 h 2854"/>
                <a:gd name="T38" fmla="*/ 419 w 1488"/>
                <a:gd name="T39" fmla="*/ 2854 h 2854"/>
                <a:gd name="T40" fmla="*/ 283 w 1488"/>
                <a:gd name="T41" fmla="*/ 2723 h 2854"/>
                <a:gd name="T42" fmla="*/ 283 w 1488"/>
                <a:gd name="T43" fmla="*/ 1906 h 2854"/>
                <a:gd name="T44" fmla="*/ 283 w 1488"/>
                <a:gd name="T45" fmla="*/ 1839 h 2854"/>
                <a:gd name="T46" fmla="*/ 283 w 1488"/>
                <a:gd name="T47" fmla="*/ 1103 h 2854"/>
                <a:gd name="T48" fmla="*/ 263 w 1488"/>
                <a:gd name="T49" fmla="*/ 1085 h 2854"/>
                <a:gd name="T50" fmla="*/ 263 w 1488"/>
                <a:gd name="T51" fmla="*/ 1085 h 2854"/>
                <a:gd name="T52" fmla="*/ 246 w 1488"/>
                <a:gd name="T53" fmla="*/ 1103 h 2854"/>
                <a:gd name="T54" fmla="*/ 246 w 1488"/>
                <a:gd name="T55" fmla="*/ 1712 h 2854"/>
                <a:gd name="T56" fmla="*/ 123 w 1488"/>
                <a:gd name="T57" fmla="*/ 1830 h 2854"/>
                <a:gd name="T58" fmla="*/ 0 w 1488"/>
                <a:gd name="T59" fmla="*/ 1712 h 2854"/>
                <a:gd name="T60" fmla="*/ 0 w 1488"/>
                <a:gd name="T61" fmla="*/ 1170 h 2854"/>
                <a:gd name="T62" fmla="*/ 0 w 1488"/>
                <a:gd name="T63" fmla="*/ 1024 h 2854"/>
                <a:gd name="T64" fmla="*/ 0 w 1488"/>
                <a:gd name="T65" fmla="*/ 736 h 2854"/>
                <a:gd name="T66" fmla="*/ 19 w 1488"/>
                <a:gd name="T67" fmla="*/ 717 h 2854"/>
                <a:gd name="T68" fmla="*/ 835 w 1488"/>
                <a:gd name="T69" fmla="*/ 717 h 2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8" h="2854">
                  <a:moveTo>
                    <a:pt x="835" y="717"/>
                  </a:moveTo>
                  <a:cubicBezTo>
                    <a:pt x="841" y="717"/>
                    <a:pt x="847" y="714"/>
                    <a:pt x="851" y="708"/>
                  </a:cubicBezTo>
                  <a:cubicBezTo>
                    <a:pt x="1249" y="68"/>
                    <a:pt x="1249" y="68"/>
                    <a:pt x="1249" y="68"/>
                  </a:cubicBezTo>
                  <a:cubicBezTo>
                    <a:pt x="1286" y="14"/>
                    <a:pt x="1361" y="0"/>
                    <a:pt x="1417" y="36"/>
                  </a:cubicBezTo>
                  <a:cubicBezTo>
                    <a:pt x="1473" y="72"/>
                    <a:pt x="1488" y="145"/>
                    <a:pt x="1451" y="199"/>
                  </a:cubicBezTo>
                  <a:cubicBezTo>
                    <a:pt x="890" y="1074"/>
                    <a:pt x="890" y="1074"/>
                    <a:pt x="890" y="1074"/>
                  </a:cubicBezTo>
                  <a:cubicBezTo>
                    <a:pt x="888" y="1077"/>
                    <a:pt x="887" y="1081"/>
                    <a:pt x="887" y="1085"/>
                  </a:cubicBezTo>
                  <a:cubicBezTo>
                    <a:pt x="887" y="1839"/>
                    <a:pt x="887" y="1839"/>
                    <a:pt x="887" y="1839"/>
                  </a:cubicBezTo>
                  <a:cubicBezTo>
                    <a:pt x="887" y="1906"/>
                    <a:pt x="887" y="1906"/>
                    <a:pt x="887" y="1906"/>
                  </a:cubicBezTo>
                  <a:cubicBezTo>
                    <a:pt x="887" y="2723"/>
                    <a:pt x="887" y="2723"/>
                    <a:pt x="887" y="2723"/>
                  </a:cubicBezTo>
                  <a:cubicBezTo>
                    <a:pt x="887" y="2795"/>
                    <a:pt x="826" y="2854"/>
                    <a:pt x="751" y="2854"/>
                  </a:cubicBezTo>
                  <a:cubicBezTo>
                    <a:pt x="749" y="2854"/>
                    <a:pt x="749" y="2854"/>
                    <a:pt x="749" y="2854"/>
                  </a:cubicBezTo>
                  <a:cubicBezTo>
                    <a:pt x="675" y="2854"/>
                    <a:pt x="614" y="2795"/>
                    <a:pt x="614" y="2723"/>
                  </a:cubicBezTo>
                  <a:cubicBezTo>
                    <a:pt x="614" y="1925"/>
                    <a:pt x="614" y="1925"/>
                    <a:pt x="614" y="1925"/>
                  </a:cubicBezTo>
                  <a:cubicBezTo>
                    <a:pt x="614" y="1914"/>
                    <a:pt x="605" y="1906"/>
                    <a:pt x="595" y="1906"/>
                  </a:cubicBezTo>
                  <a:cubicBezTo>
                    <a:pt x="576" y="1906"/>
                    <a:pt x="576" y="1906"/>
                    <a:pt x="576" y="1906"/>
                  </a:cubicBezTo>
                  <a:cubicBezTo>
                    <a:pt x="565" y="1906"/>
                    <a:pt x="557" y="1914"/>
                    <a:pt x="557" y="1925"/>
                  </a:cubicBezTo>
                  <a:cubicBezTo>
                    <a:pt x="557" y="2723"/>
                    <a:pt x="557" y="2723"/>
                    <a:pt x="557" y="2723"/>
                  </a:cubicBezTo>
                  <a:cubicBezTo>
                    <a:pt x="557" y="2795"/>
                    <a:pt x="495" y="2854"/>
                    <a:pt x="421" y="2854"/>
                  </a:cubicBezTo>
                  <a:cubicBezTo>
                    <a:pt x="419" y="2854"/>
                    <a:pt x="419" y="2854"/>
                    <a:pt x="419" y="2854"/>
                  </a:cubicBezTo>
                  <a:cubicBezTo>
                    <a:pt x="344" y="2854"/>
                    <a:pt x="283" y="2795"/>
                    <a:pt x="283" y="2723"/>
                  </a:cubicBezTo>
                  <a:cubicBezTo>
                    <a:pt x="283" y="1906"/>
                    <a:pt x="283" y="1906"/>
                    <a:pt x="283" y="1906"/>
                  </a:cubicBezTo>
                  <a:cubicBezTo>
                    <a:pt x="283" y="1839"/>
                    <a:pt x="283" y="1839"/>
                    <a:pt x="283" y="1839"/>
                  </a:cubicBezTo>
                  <a:cubicBezTo>
                    <a:pt x="283" y="1103"/>
                    <a:pt x="283" y="1103"/>
                    <a:pt x="283" y="1103"/>
                  </a:cubicBezTo>
                  <a:cubicBezTo>
                    <a:pt x="283" y="1092"/>
                    <a:pt x="274" y="1084"/>
                    <a:pt x="263" y="1085"/>
                  </a:cubicBezTo>
                  <a:cubicBezTo>
                    <a:pt x="263" y="1085"/>
                    <a:pt x="263" y="1085"/>
                    <a:pt x="263" y="1085"/>
                  </a:cubicBezTo>
                  <a:cubicBezTo>
                    <a:pt x="253" y="1086"/>
                    <a:pt x="246" y="1094"/>
                    <a:pt x="246" y="1103"/>
                  </a:cubicBezTo>
                  <a:cubicBezTo>
                    <a:pt x="246" y="1712"/>
                    <a:pt x="246" y="1712"/>
                    <a:pt x="246" y="1712"/>
                  </a:cubicBezTo>
                  <a:cubicBezTo>
                    <a:pt x="246" y="1778"/>
                    <a:pt x="190" y="1830"/>
                    <a:pt x="123" y="1830"/>
                  </a:cubicBezTo>
                  <a:cubicBezTo>
                    <a:pt x="56" y="1830"/>
                    <a:pt x="0" y="1778"/>
                    <a:pt x="0" y="1712"/>
                  </a:cubicBezTo>
                  <a:cubicBezTo>
                    <a:pt x="0" y="1170"/>
                    <a:pt x="0" y="1170"/>
                    <a:pt x="0" y="1170"/>
                  </a:cubicBezTo>
                  <a:cubicBezTo>
                    <a:pt x="0" y="1024"/>
                    <a:pt x="0" y="1024"/>
                    <a:pt x="0" y="1024"/>
                  </a:cubicBezTo>
                  <a:cubicBezTo>
                    <a:pt x="0" y="736"/>
                    <a:pt x="0" y="736"/>
                    <a:pt x="0" y="736"/>
                  </a:cubicBezTo>
                  <a:cubicBezTo>
                    <a:pt x="0" y="726"/>
                    <a:pt x="9" y="717"/>
                    <a:pt x="19" y="717"/>
                  </a:cubicBezTo>
                  <a:lnTo>
                    <a:pt x="835" y="717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38" name="Freeform 34"/>
          <p:cNvSpPr>
            <a:spLocks/>
          </p:cNvSpPr>
          <p:nvPr/>
        </p:nvSpPr>
        <p:spPr bwMode="auto">
          <a:xfrm>
            <a:off x="2872226" y="7344836"/>
            <a:ext cx="1108076" cy="533400"/>
          </a:xfrm>
          <a:custGeom>
            <a:avLst/>
            <a:gdLst>
              <a:gd name="T0" fmla="*/ 630 w 651"/>
              <a:gd name="T1" fmla="*/ 273 h 313"/>
              <a:gd name="T2" fmla="*/ 589 w 651"/>
              <a:gd name="T3" fmla="*/ 273 h 313"/>
              <a:gd name="T4" fmla="*/ 304 w 651"/>
              <a:gd name="T5" fmla="*/ 0 h 313"/>
              <a:gd name="T6" fmla="*/ 19 w 651"/>
              <a:gd name="T7" fmla="*/ 271 h 313"/>
              <a:gd name="T8" fmla="*/ 0 w 651"/>
              <a:gd name="T9" fmla="*/ 292 h 313"/>
              <a:gd name="T10" fmla="*/ 21 w 651"/>
              <a:gd name="T11" fmla="*/ 313 h 313"/>
              <a:gd name="T12" fmla="*/ 630 w 651"/>
              <a:gd name="T13" fmla="*/ 313 h 313"/>
              <a:gd name="T14" fmla="*/ 651 w 651"/>
              <a:gd name="T15" fmla="*/ 293 h 313"/>
              <a:gd name="T16" fmla="*/ 630 w 651"/>
              <a:gd name="T17" fmla="*/ 273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51" h="313">
                <a:moveTo>
                  <a:pt x="630" y="273"/>
                </a:moveTo>
                <a:cubicBezTo>
                  <a:pt x="589" y="273"/>
                  <a:pt x="589" y="273"/>
                  <a:pt x="589" y="273"/>
                </a:cubicBezTo>
                <a:cubicBezTo>
                  <a:pt x="578" y="113"/>
                  <a:pt x="454" y="0"/>
                  <a:pt x="304" y="0"/>
                </a:cubicBezTo>
                <a:cubicBezTo>
                  <a:pt x="153" y="0"/>
                  <a:pt x="30" y="116"/>
                  <a:pt x="19" y="271"/>
                </a:cubicBezTo>
                <a:cubicBezTo>
                  <a:pt x="9" y="272"/>
                  <a:pt x="0" y="281"/>
                  <a:pt x="0" y="292"/>
                </a:cubicBezTo>
                <a:cubicBezTo>
                  <a:pt x="0" y="303"/>
                  <a:pt x="10" y="313"/>
                  <a:pt x="21" y="313"/>
                </a:cubicBezTo>
                <a:cubicBezTo>
                  <a:pt x="630" y="313"/>
                  <a:pt x="630" y="313"/>
                  <a:pt x="630" y="313"/>
                </a:cubicBezTo>
                <a:cubicBezTo>
                  <a:pt x="642" y="313"/>
                  <a:pt x="651" y="304"/>
                  <a:pt x="651" y="293"/>
                </a:cubicBezTo>
                <a:cubicBezTo>
                  <a:pt x="651" y="282"/>
                  <a:pt x="642" y="273"/>
                  <a:pt x="630" y="273"/>
                </a:cubicBezTo>
                <a:close/>
              </a:path>
            </a:pathLst>
          </a:custGeom>
          <a:solidFill>
            <a:srgbClr val="ED73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7526776" y="4153962"/>
            <a:ext cx="1257300" cy="1257300"/>
            <a:chOff x="3375025" y="2033588"/>
            <a:chExt cx="628650" cy="628650"/>
          </a:xfrm>
          <a:solidFill>
            <a:schemeClr val="accent6"/>
          </a:solidFill>
        </p:grpSpPr>
        <p:sp>
          <p:nvSpPr>
            <p:cNvPr id="41" name="Freeform 37"/>
            <p:cNvSpPr>
              <a:spLocks/>
            </p:cNvSpPr>
            <p:nvPr/>
          </p:nvSpPr>
          <p:spPr bwMode="auto">
            <a:xfrm>
              <a:off x="3600450" y="2266950"/>
              <a:ext cx="173038" cy="160338"/>
            </a:xfrm>
            <a:custGeom>
              <a:avLst/>
              <a:gdLst>
                <a:gd name="T0" fmla="*/ 128 w 202"/>
                <a:gd name="T1" fmla="*/ 3 h 189"/>
                <a:gd name="T2" fmla="*/ 104 w 202"/>
                <a:gd name="T3" fmla="*/ 0 h 189"/>
                <a:gd name="T4" fmla="*/ 13 w 202"/>
                <a:gd name="T5" fmla="*/ 71 h 189"/>
                <a:gd name="T6" fmla="*/ 82 w 202"/>
                <a:gd name="T7" fmla="*/ 186 h 189"/>
                <a:gd name="T8" fmla="*/ 105 w 202"/>
                <a:gd name="T9" fmla="*/ 189 h 189"/>
                <a:gd name="T10" fmla="*/ 196 w 202"/>
                <a:gd name="T11" fmla="*/ 117 h 189"/>
                <a:gd name="T12" fmla="*/ 186 w 202"/>
                <a:gd name="T13" fmla="*/ 46 h 189"/>
                <a:gd name="T14" fmla="*/ 128 w 202"/>
                <a:gd name="T15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89">
                  <a:moveTo>
                    <a:pt x="128" y="3"/>
                  </a:moveTo>
                  <a:cubicBezTo>
                    <a:pt x="120" y="1"/>
                    <a:pt x="112" y="0"/>
                    <a:pt x="104" y="0"/>
                  </a:cubicBezTo>
                  <a:cubicBezTo>
                    <a:pt x="61" y="0"/>
                    <a:pt x="23" y="29"/>
                    <a:pt x="13" y="71"/>
                  </a:cubicBezTo>
                  <a:cubicBezTo>
                    <a:pt x="0" y="122"/>
                    <a:pt x="31" y="173"/>
                    <a:pt x="82" y="186"/>
                  </a:cubicBezTo>
                  <a:cubicBezTo>
                    <a:pt x="89" y="188"/>
                    <a:pt x="97" y="189"/>
                    <a:pt x="105" y="189"/>
                  </a:cubicBezTo>
                  <a:cubicBezTo>
                    <a:pt x="148" y="189"/>
                    <a:pt x="186" y="160"/>
                    <a:pt x="196" y="117"/>
                  </a:cubicBezTo>
                  <a:cubicBezTo>
                    <a:pt x="202" y="93"/>
                    <a:pt x="199" y="67"/>
                    <a:pt x="186" y="46"/>
                  </a:cubicBezTo>
                  <a:cubicBezTo>
                    <a:pt x="173" y="24"/>
                    <a:pt x="152" y="9"/>
                    <a:pt x="12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2" name="Freeform 38"/>
            <p:cNvSpPr>
              <a:spLocks noEditPoints="1"/>
            </p:cNvSpPr>
            <p:nvPr/>
          </p:nvSpPr>
          <p:spPr bwMode="auto">
            <a:xfrm>
              <a:off x="3375025" y="2033588"/>
              <a:ext cx="628650" cy="628650"/>
            </a:xfrm>
            <a:custGeom>
              <a:avLst/>
              <a:gdLst>
                <a:gd name="T0" fmla="*/ 730 w 738"/>
                <a:gd name="T1" fmla="*/ 445 h 738"/>
                <a:gd name="T2" fmla="*/ 738 w 738"/>
                <a:gd name="T3" fmla="*/ 357 h 738"/>
                <a:gd name="T4" fmla="*/ 647 w 738"/>
                <a:gd name="T5" fmla="*/ 319 h 738"/>
                <a:gd name="T6" fmla="*/ 625 w 738"/>
                <a:gd name="T7" fmla="*/ 250 h 738"/>
                <a:gd name="T8" fmla="*/ 678 w 738"/>
                <a:gd name="T9" fmla="*/ 168 h 738"/>
                <a:gd name="T10" fmla="*/ 622 w 738"/>
                <a:gd name="T11" fmla="*/ 100 h 738"/>
                <a:gd name="T12" fmla="*/ 530 w 738"/>
                <a:gd name="T13" fmla="*/ 137 h 738"/>
                <a:gd name="T14" fmla="*/ 469 w 738"/>
                <a:gd name="T15" fmla="*/ 105 h 738"/>
                <a:gd name="T16" fmla="*/ 448 w 738"/>
                <a:gd name="T17" fmla="*/ 9 h 738"/>
                <a:gd name="T18" fmla="*/ 360 w 738"/>
                <a:gd name="T19" fmla="*/ 0 h 738"/>
                <a:gd name="T20" fmla="*/ 322 w 738"/>
                <a:gd name="T21" fmla="*/ 91 h 738"/>
                <a:gd name="T22" fmla="*/ 253 w 738"/>
                <a:gd name="T23" fmla="*/ 112 h 738"/>
                <a:gd name="T24" fmla="*/ 170 w 738"/>
                <a:gd name="T25" fmla="*/ 59 h 738"/>
                <a:gd name="T26" fmla="*/ 102 w 738"/>
                <a:gd name="T27" fmla="*/ 115 h 738"/>
                <a:gd name="T28" fmla="*/ 139 w 738"/>
                <a:gd name="T29" fmla="*/ 206 h 738"/>
                <a:gd name="T30" fmla="*/ 105 w 738"/>
                <a:gd name="T31" fmla="*/ 271 h 738"/>
                <a:gd name="T32" fmla="*/ 8 w 738"/>
                <a:gd name="T33" fmla="*/ 292 h 738"/>
                <a:gd name="T34" fmla="*/ 0 w 738"/>
                <a:gd name="T35" fmla="*/ 379 h 738"/>
                <a:gd name="T36" fmla="*/ 92 w 738"/>
                <a:gd name="T37" fmla="*/ 418 h 738"/>
                <a:gd name="T38" fmla="*/ 113 w 738"/>
                <a:gd name="T39" fmla="*/ 486 h 738"/>
                <a:gd name="T40" fmla="*/ 59 w 738"/>
                <a:gd name="T41" fmla="*/ 570 h 738"/>
                <a:gd name="T42" fmla="*/ 116 w 738"/>
                <a:gd name="T43" fmla="*/ 637 h 738"/>
                <a:gd name="T44" fmla="*/ 208 w 738"/>
                <a:gd name="T45" fmla="*/ 599 h 738"/>
                <a:gd name="T46" fmla="*/ 270 w 738"/>
                <a:gd name="T47" fmla="*/ 632 h 738"/>
                <a:gd name="T48" fmla="*/ 291 w 738"/>
                <a:gd name="T49" fmla="*/ 730 h 738"/>
                <a:gd name="T50" fmla="*/ 379 w 738"/>
                <a:gd name="T51" fmla="*/ 738 h 738"/>
                <a:gd name="T52" fmla="*/ 417 w 738"/>
                <a:gd name="T53" fmla="*/ 646 h 738"/>
                <a:gd name="T54" fmla="*/ 485 w 738"/>
                <a:gd name="T55" fmla="*/ 625 h 738"/>
                <a:gd name="T56" fmla="*/ 569 w 738"/>
                <a:gd name="T57" fmla="*/ 680 h 738"/>
                <a:gd name="T58" fmla="*/ 637 w 738"/>
                <a:gd name="T59" fmla="*/ 623 h 738"/>
                <a:gd name="T60" fmla="*/ 599 w 738"/>
                <a:gd name="T61" fmla="*/ 532 h 738"/>
                <a:gd name="T62" fmla="*/ 634 w 738"/>
                <a:gd name="T63" fmla="*/ 466 h 738"/>
                <a:gd name="T64" fmla="*/ 730 w 738"/>
                <a:gd name="T65" fmla="*/ 445 h 738"/>
                <a:gd name="T66" fmla="*/ 504 w 738"/>
                <a:gd name="T67" fmla="*/ 402 h 738"/>
                <a:gd name="T68" fmla="*/ 370 w 738"/>
                <a:gd name="T69" fmla="*/ 507 h 738"/>
                <a:gd name="T70" fmla="*/ 336 w 738"/>
                <a:gd name="T71" fmla="*/ 503 h 738"/>
                <a:gd name="T72" fmla="*/ 235 w 738"/>
                <a:gd name="T73" fmla="*/ 335 h 738"/>
                <a:gd name="T74" fmla="*/ 369 w 738"/>
                <a:gd name="T75" fmla="*/ 230 h 738"/>
                <a:gd name="T76" fmla="*/ 403 w 738"/>
                <a:gd name="T77" fmla="*/ 234 h 738"/>
                <a:gd name="T78" fmla="*/ 488 w 738"/>
                <a:gd name="T79" fmla="*/ 297 h 738"/>
                <a:gd name="T80" fmla="*/ 504 w 738"/>
                <a:gd name="T81" fmla="*/ 402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8" h="738">
                  <a:moveTo>
                    <a:pt x="730" y="445"/>
                  </a:moveTo>
                  <a:cubicBezTo>
                    <a:pt x="738" y="357"/>
                    <a:pt x="738" y="357"/>
                    <a:pt x="738" y="357"/>
                  </a:cubicBezTo>
                  <a:cubicBezTo>
                    <a:pt x="647" y="319"/>
                    <a:pt x="647" y="319"/>
                    <a:pt x="647" y="319"/>
                  </a:cubicBezTo>
                  <a:cubicBezTo>
                    <a:pt x="643" y="295"/>
                    <a:pt x="635" y="272"/>
                    <a:pt x="625" y="250"/>
                  </a:cubicBezTo>
                  <a:cubicBezTo>
                    <a:pt x="678" y="168"/>
                    <a:pt x="678" y="168"/>
                    <a:pt x="678" y="168"/>
                  </a:cubicBezTo>
                  <a:cubicBezTo>
                    <a:pt x="622" y="100"/>
                    <a:pt x="622" y="100"/>
                    <a:pt x="622" y="100"/>
                  </a:cubicBezTo>
                  <a:cubicBezTo>
                    <a:pt x="530" y="137"/>
                    <a:pt x="530" y="137"/>
                    <a:pt x="530" y="137"/>
                  </a:cubicBezTo>
                  <a:cubicBezTo>
                    <a:pt x="512" y="124"/>
                    <a:pt x="491" y="113"/>
                    <a:pt x="469" y="105"/>
                  </a:cubicBezTo>
                  <a:cubicBezTo>
                    <a:pt x="448" y="9"/>
                    <a:pt x="448" y="9"/>
                    <a:pt x="448" y="9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322" y="91"/>
                    <a:pt x="322" y="91"/>
                    <a:pt x="322" y="91"/>
                  </a:cubicBezTo>
                  <a:cubicBezTo>
                    <a:pt x="298" y="95"/>
                    <a:pt x="275" y="102"/>
                    <a:pt x="253" y="112"/>
                  </a:cubicBezTo>
                  <a:cubicBezTo>
                    <a:pt x="170" y="59"/>
                    <a:pt x="170" y="59"/>
                    <a:pt x="170" y="59"/>
                  </a:cubicBezTo>
                  <a:cubicBezTo>
                    <a:pt x="102" y="115"/>
                    <a:pt x="102" y="115"/>
                    <a:pt x="102" y="115"/>
                  </a:cubicBezTo>
                  <a:cubicBezTo>
                    <a:pt x="139" y="206"/>
                    <a:pt x="139" y="206"/>
                    <a:pt x="139" y="206"/>
                  </a:cubicBezTo>
                  <a:cubicBezTo>
                    <a:pt x="125" y="226"/>
                    <a:pt x="114" y="247"/>
                    <a:pt x="105" y="271"/>
                  </a:cubicBezTo>
                  <a:cubicBezTo>
                    <a:pt x="8" y="292"/>
                    <a:pt x="8" y="292"/>
                    <a:pt x="8" y="292"/>
                  </a:cubicBezTo>
                  <a:cubicBezTo>
                    <a:pt x="0" y="379"/>
                    <a:pt x="0" y="379"/>
                    <a:pt x="0" y="379"/>
                  </a:cubicBezTo>
                  <a:cubicBezTo>
                    <a:pt x="92" y="418"/>
                    <a:pt x="92" y="418"/>
                    <a:pt x="92" y="418"/>
                  </a:cubicBezTo>
                  <a:cubicBezTo>
                    <a:pt x="97" y="441"/>
                    <a:pt x="104" y="464"/>
                    <a:pt x="113" y="486"/>
                  </a:cubicBezTo>
                  <a:cubicBezTo>
                    <a:pt x="59" y="570"/>
                    <a:pt x="59" y="570"/>
                    <a:pt x="59" y="570"/>
                  </a:cubicBezTo>
                  <a:cubicBezTo>
                    <a:pt x="116" y="637"/>
                    <a:pt x="116" y="637"/>
                    <a:pt x="116" y="637"/>
                  </a:cubicBezTo>
                  <a:cubicBezTo>
                    <a:pt x="208" y="599"/>
                    <a:pt x="208" y="599"/>
                    <a:pt x="208" y="599"/>
                  </a:cubicBezTo>
                  <a:cubicBezTo>
                    <a:pt x="227" y="612"/>
                    <a:pt x="248" y="623"/>
                    <a:pt x="270" y="632"/>
                  </a:cubicBezTo>
                  <a:cubicBezTo>
                    <a:pt x="291" y="730"/>
                    <a:pt x="291" y="730"/>
                    <a:pt x="291" y="730"/>
                  </a:cubicBezTo>
                  <a:cubicBezTo>
                    <a:pt x="379" y="738"/>
                    <a:pt x="379" y="738"/>
                    <a:pt x="379" y="738"/>
                  </a:cubicBezTo>
                  <a:cubicBezTo>
                    <a:pt x="417" y="646"/>
                    <a:pt x="417" y="646"/>
                    <a:pt x="417" y="646"/>
                  </a:cubicBezTo>
                  <a:cubicBezTo>
                    <a:pt x="441" y="642"/>
                    <a:pt x="463" y="635"/>
                    <a:pt x="485" y="625"/>
                  </a:cubicBezTo>
                  <a:cubicBezTo>
                    <a:pt x="569" y="680"/>
                    <a:pt x="569" y="680"/>
                    <a:pt x="569" y="680"/>
                  </a:cubicBezTo>
                  <a:cubicBezTo>
                    <a:pt x="637" y="623"/>
                    <a:pt x="637" y="623"/>
                    <a:pt x="637" y="623"/>
                  </a:cubicBezTo>
                  <a:cubicBezTo>
                    <a:pt x="599" y="532"/>
                    <a:pt x="599" y="532"/>
                    <a:pt x="599" y="532"/>
                  </a:cubicBezTo>
                  <a:cubicBezTo>
                    <a:pt x="613" y="512"/>
                    <a:pt x="625" y="490"/>
                    <a:pt x="634" y="466"/>
                  </a:cubicBezTo>
                  <a:lnTo>
                    <a:pt x="730" y="445"/>
                  </a:lnTo>
                  <a:close/>
                  <a:moveTo>
                    <a:pt x="504" y="402"/>
                  </a:moveTo>
                  <a:cubicBezTo>
                    <a:pt x="489" y="464"/>
                    <a:pt x="433" y="507"/>
                    <a:pt x="370" y="507"/>
                  </a:cubicBezTo>
                  <a:cubicBezTo>
                    <a:pt x="358" y="507"/>
                    <a:pt x="347" y="506"/>
                    <a:pt x="336" y="503"/>
                  </a:cubicBezTo>
                  <a:cubicBezTo>
                    <a:pt x="262" y="484"/>
                    <a:pt x="217" y="409"/>
                    <a:pt x="235" y="335"/>
                  </a:cubicBezTo>
                  <a:cubicBezTo>
                    <a:pt x="251" y="273"/>
                    <a:pt x="306" y="230"/>
                    <a:pt x="369" y="230"/>
                  </a:cubicBezTo>
                  <a:cubicBezTo>
                    <a:pt x="381" y="230"/>
                    <a:pt x="392" y="231"/>
                    <a:pt x="403" y="234"/>
                  </a:cubicBezTo>
                  <a:cubicBezTo>
                    <a:pt x="439" y="243"/>
                    <a:pt x="469" y="265"/>
                    <a:pt x="488" y="297"/>
                  </a:cubicBezTo>
                  <a:cubicBezTo>
                    <a:pt x="508" y="329"/>
                    <a:pt x="513" y="366"/>
                    <a:pt x="504" y="4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43" name="Freeform 39"/>
          <p:cNvSpPr>
            <a:spLocks/>
          </p:cNvSpPr>
          <p:nvPr/>
        </p:nvSpPr>
        <p:spPr bwMode="auto">
          <a:xfrm>
            <a:off x="7796653" y="5957362"/>
            <a:ext cx="695326" cy="1562100"/>
          </a:xfrm>
          <a:custGeom>
            <a:avLst/>
            <a:gdLst>
              <a:gd name="T0" fmla="*/ 408 w 408"/>
              <a:gd name="T1" fmla="*/ 573 h 916"/>
              <a:gd name="T2" fmla="*/ 402 w 408"/>
              <a:gd name="T3" fmla="*/ 490 h 916"/>
              <a:gd name="T4" fmla="*/ 387 w 408"/>
              <a:gd name="T5" fmla="*/ 408 h 916"/>
              <a:gd name="T6" fmla="*/ 363 w 408"/>
              <a:gd name="T7" fmla="*/ 331 h 916"/>
              <a:gd name="T8" fmla="*/ 333 w 408"/>
              <a:gd name="T9" fmla="*/ 261 h 916"/>
              <a:gd name="T10" fmla="*/ 299 w 408"/>
              <a:gd name="T11" fmla="*/ 200 h 916"/>
              <a:gd name="T12" fmla="*/ 295 w 408"/>
              <a:gd name="T13" fmla="*/ 194 h 916"/>
              <a:gd name="T14" fmla="*/ 282 w 408"/>
              <a:gd name="T15" fmla="*/ 175 h 916"/>
              <a:gd name="T16" fmla="*/ 267 w 408"/>
              <a:gd name="T17" fmla="*/ 153 h 916"/>
              <a:gd name="T18" fmla="*/ 252 w 408"/>
              <a:gd name="T19" fmla="*/ 133 h 916"/>
              <a:gd name="T20" fmla="*/ 242 w 408"/>
              <a:gd name="T21" fmla="*/ 122 h 916"/>
              <a:gd name="T22" fmla="*/ 237 w 408"/>
              <a:gd name="T23" fmla="*/ 115 h 916"/>
              <a:gd name="T24" fmla="*/ 297 w 408"/>
              <a:gd name="T25" fmla="*/ 35 h 916"/>
              <a:gd name="T26" fmla="*/ 0 w 408"/>
              <a:gd name="T27" fmla="*/ 0 h 916"/>
              <a:gd name="T28" fmla="*/ 119 w 408"/>
              <a:gd name="T29" fmla="*/ 275 h 916"/>
              <a:gd name="T30" fmla="*/ 176 w 408"/>
              <a:gd name="T31" fmla="*/ 197 h 916"/>
              <a:gd name="T32" fmla="*/ 177 w 408"/>
              <a:gd name="T33" fmla="*/ 198 h 916"/>
              <a:gd name="T34" fmla="*/ 192 w 408"/>
              <a:gd name="T35" fmla="*/ 213 h 916"/>
              <a:gd name="T36" fmla="*/ 207 w 408"/>
              <a:gd name="T37" fmla="*/ 231 h 916"/>
              <a:gd name="T38" fmla="*/ 219 w 408"/>
              <a:gd name="T39" fmla="*/ 246 h 916"/>
              <a:gd name="T40" fmla="*/ 224 w 408"/>
              <a:gd name="T41" fmla="*/ 252 h 916"/>
              <a:gd name="T42" fmla="*/ 258 w 408"/>
              <a:gd name="T43" fmla="*/ 302 h 916"/>
              <a:gd name="T44" fmla="*/ 291 w 408"/>
              <a:gd name="T45" fmla="*/ 362 h 916"/>
              <a:gd name="T46" fmla="*/ 319 w 408"/>
              <a:gd name="T47" fmla="*/ 429 h 916"/>
              <a:gd name="T48" fmla="*/ 339 w 408"/>
              <a:gd name="T49" fmla="*/ 502 h 916"/>
              <a:gd name="T50" fmla="*/ 352 w 408"/>
              <a:gd name="T51" fmla="*/ 577 h 916"/>
              <a:gd name="T52" fmla="*/ 355 w 408"/>
              <a:gd name="T53" fmla="*/ 650 h 916"/>
              <a:gd name="T54" fmla="*/ 355 w 408"/>
              <a:gd name="T55" fmla="*/ 657 h 916"/>
              <a:gd name="T56" fmla="*/ 353 w 408"/>
              <a:gd name="T57" fmla="*/ 686 h 916"/>
              <a:gd name="T58" fmla="*/ 351 w 408"/>
              <a:gd name="T59" fmla="*/ 715 h 916"/>
              <a:gd name="T60" fmla="*/ 350 w 408"/>
              <a:gd name="T61" fmla="*/ 720 h 916"/>
              <a:gd name="T62" fmla="*/ 349 w 408"/>
              <a:gd name="T63" fmla="*/ 731 h 916"/>
              <a:gd name="T64" fmla="*/ 347 w 408"/>
              <a:gd name="T65" fmla="*/ 742 h 916"/>
              <a:gd name="T66" fmla="*/ 346 w 408"/>
              <a:gd name="T67" fmla="*/ 752 h 916"/>
              <a:gd name="T68" fmla="*/ 344 w 408"/>
              <a:gd name="T69" fmla="*/ 763 h 916"/>
              <a:gd name="T70" fmla="*/ 340 w 408"/>
              <a:gd name="T71" fmla="*/ 782 h 916"/>
              <a:gd name="T72" fmla="*/ 327 w 408"/>
              <a:gd name="T73" fmla="*/ 833 h 916"/>
              <a:gd name="T74" fmla="*/ 320 w 408"/>
              <a:gd name="T75" fmla="*/ 854 h 916"/>
              <a:gd name="T76" fmla="*/ 311 w 408"/>
              <a:gd name="T77" fmla="*/ 880 h 916"/>
              <a:gd name="T78" fmla="*/ 300 w 408"/>
              <a:gd name="T79" fmla="*/ 906 h 916"/>
              <a:gd name="T80" fmla="*/ 322 w 408"/>
              <a:gd name="T81" fmla="*/ 916 h 916"/>
              <a:gd name="T82" fmla="*/ 335 w 408"/>
              <a:gd name="T83" fmla="*/ 891 h 916"/>
              <a:gd name="T84" fmla="*/ 347 w 408"/>
              <a:gd name="T85" fmla="*/ 865 h 916"/>
              <a:gd name="T86" fmla="*/ 356 w 408"/>
              <a:gd name="T87" fmla="*/ 844 h 916"/>
              <a:gd name="T88" fmla="*/ 375 w 408"/>
              <a:gd name="T89" fmla="*/ 791 h 916"/>
              <a:gd name="T90" fmla="*/ 381 w 408"/>
              <a:gd name="T91" fmla="*/ 771 h 916"/>
              <a:gd name="T92" fmla="*/ 384 w 408"/>
              <a:gd name="T93" fmla="*/ 760 h 916"/>
              <a:gd name="T94" fmla="*/ 387 w 408"/>
              <a:gd name="T95" fmla="*/ 750 h 916"/>
              <a:gd name="T96" fmla="*/ 388 w 408"/>
              <a:gd name="T97" fmla="*/ 744 h 916"/>
              <a:gd name="T98" fmla="*/ 389 w 408"/>
              <a:gd name="T99" fmla="*/ 739 h 916"/>
              <a:gd name="T100" fmla="*/ 392 w 408"/>
              <a:gd name="T101" fmla="*/ 727 h 916"/>
              <a:gd name="T102" fmla="*/ 393 w 408"/>
              <a:gd name="T103" fmla="*/ 722 h 916"/>
              <a:gd name="T104" fmla="*/ 399 w 408"/>
              <a:gd name="T105" fmla="*/ 691 h 916"/>
              <a:gd name="T106" fmla="*/ 403 w 408"/>
              <a:gd name="T107" fmla="*/ 660 h 916"/>
              <a:gd name="T108" fmla="*/ 404 w 408"/>
              <a:gd name="T109" fmla="*/ 653 h 916"/>
              <a:gd name="T110" fmla="*/ 408 w 408"/>
              <a:gd name="T111" fmla="*/ 573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8" h="916">
                <a:moveTo>
                  <a:pt x="408" y="573"/>
                </a:moveTo>
                <a:cubicBezTo>
                  <a:pt x="407" y="542"/>
                  <a:pt x="406" y="515"/>
                  <a:pt x="402" y="490"/>
                </a:cubicBezTo>
                <a:cubicBezTo>
                  <a:pt x="398" y="460"/>
                  <a:pt x="393" y="434"/>
                  <a:pt x="387" y="408"/>
                </a:cubicBezTo>
                <a:cubicBezTo>
                  <a:pt x="379" y="379"/>
                  <a:pt x="372" y="353"/>
                  <a:pt x="363" y="331"/>
                </a:cubicBezTo>
                <a:cubicBezTo>
                  <a:pt x="353" y="304"/>
                  <a:pt x="343" y="281"/>
                  <a:pt x="333" y="261"/>
                </a:cubicBezTo>
                <a:cubicBezTo>
                  <a:pt x="322" y="239"/>
                  <a:pt x="310" y="219"/>
                  <a:pt x="299" y="200"/>
                </a:cubicBezTo>
                <a:cubicBezTo>
                  <a:pt x="295" y="194"/>
                  <a:pt x="295" y="194"/>
                  <a:pt x="295" y="194"/>
                </a:cubicBezTo>
                <a:cubicBezTo>
                  <a:pt x="291" y="187"/>
                  <a:pt x="287" y="181"/>
                  <a:pt x="282" y="175"/>
                </a:cubicBezTo>
                <a:cubicBezTo>
                  <a:pt x="267" y="153"/>
                  <a:pt x="267" y="153"/>
                  <a:pt x="267" y="153"/>
                </a:cubicBezTo>
                <a:cubicBezTo>
                  <a:pt x="252" y="133"/>
                  <a:pt x="252" y="133"/>
                  <a:pt x="252" y="133"/>
                </a:cubicBezTo>
                <a:cubicBezTo>
                  <a:pt x="249" y="129"/>
                  <a:pt x="245" y="125"/>
                  <a:pt x="242" y="122"/>
                </a:cubicBezTo>
                <a:cubicBezTo>
                  <a:pt x="242" y="121"/>
                  <a:pt x="239" y="118"/>
                  <a:pt x="237" y="115"/>
                </a:cubicBezTo>
                <a:cubicBezTo>
                  <a:pt x="297" y="35"/>
                  <a:pt x="297" y="35"/>
                  <a:pt x="297" y="35"/>
                </a:cubicBezTo>
                <a:cubicBezTo>
                  <a:pt x="0" y="0"/>
                  <a:pt x="0" y="0"/>
                  <a:pt x="0" y="0"/>
                </a:cubicBezTo>
                <a:cubicBezTo>
                  <a:pt x="119" y="275"/>
                  <a:pt x="119" y="275"/>
                  <a:pt x="119" y="275"/>
                </a:cubicBezTo>
                <a:cubicBezTo>
                  <a:pt x="176" y="197"/>
                  <a:pt x="176" y="197"/>
                  <a:pt x="176" y="197"/>
                </a:cubicBezTo>
                <a:cubicBezTo>
                  <a:pt x="177" y="197"/>
                  <a:pt x="177" y="197"/>
                  <a:pt x="177" y="198"/>
                </a:cubicBezTo>
                <a:cubicBezTo>
                  <a:pt x="192" y="213"/>
                  <a:pt x="192" y="213"/>
                  <a:pt x="192" y="213"/>
                </a:cubicBezTo>
                <a:cubicBezTo>
                  <a:pt x="207" y="231"/>
                  <a:pt x="207" y="231"/>
                  <a:pt x="207" y="231"/>
                </a:cubicBezTo>
                <a:cubicBezTo>
                  <a:pt x="211" y="236"/>
                  <a:pt x="215" y="241"/>
                  <a:pt x="219" y="246"/>
                </a:cubicBezTo>
                <a:cubicBezTo>
                  <a:pt x="224" y="252"/>
                  <a:pt x="224" y="252"/>
                  <a:pt x="224" y="252"/>
                </a:cubicBezTo>
                <a:cubicBezTo>
                  <a:pt x="235" y="267"/>
                  <a:pt x="247" y="283"/>
                  <a:pt x="258" y="302"/>
                </a:cubicBezTo>
                <a:cubicBezTo>
                  <a:pt x="269" y="319"/>
                  <a:pt x="279" y="338"/>
                  <a:pt x="291" y="362"/>
                </a:cubicBezTo>
                <a:cubicBezTo>
                  <a:pt x="300" y="381"/>
                  <a:pt x="309" y="403"/>
                  <a:pt x="319" y="429"/>
                </a:cubicBezTo>
                <a:cubicBezTo>
                  <a:pt x="326" y="451"/>
                  <a:pt x="333" y="474"/>
                  <a:pt x="339" y="502"/>
                </a:cubicBezTo>
                <a:cubicBezTo>
                  <a:pt x="344" y="524"/>
                  <a:pt x="348" y="548"/>
                  <a:pt x="352" y="577"/>
                </a:cubicBezTo>
                <a:cubicBezTo>
                  <a:pt x="354" y="598"/>
                  <a:pt x="355" y="621"/>
                  <a:pt x="355" y="650"/>
                </a:cubicBezTo>
                <a:cubicBezTo>
                  <a:pt x="355" y="657"/>
                  <a:pt x="355" y="657"/>
                  <a:pt x="355" y="657"/>
                </a:cubicBezTo>
                <a:cubicBezTo>
                  <a:pt x="354" y="667"/>
                  <a:pt x="354" y="676"/>
                  <a:pt x="353" y="686"/>
                </a:cubicBezTo>
                <a:cubicBezTo>
                  <a:pt x="353" y="696"/>
                  <a:pt x="352" y="706"/>
                  <a:pt x="351" y="715"/>
                </a:cubicBezTo>
                <a:cubicBezTo>
                  <a:pt x="350" y="720"/>
                  <a:pt x="350" y="720"/>
                  <a:pt x="350" y="720"/>
                </a:cubicBezTo>
                <a:cubicBezTo>
                  <a:pt x="350" y="724"/>
                  <a:pt x="349" y="727"/>
                  <a:pt x="349" y="731"/>
                </a:cubicBezTo>
                <a:cubicBezTo>
                  <a:pt x="349" y="733"/>
                  <a:pt x="347" y="742"/>
                  <a:pt x="347" y="742"/>
                </a:cubicBezTo>
                <a:cubicBezTo>
                  <a:pt x="347" y="745"/>
                  <a:pt x="346" y="749"/>
                  <a:pt x="346" y="752"/>
                </a:cubicBezTo>
                <a:cubicBezTo>
                  <a:pt x="345" y="755"/>
                  <a:pt x="344" y="759"/>
                  <a:pt x="344" y="763"/>
                </a:cubicBezTo>
                <a:cubicBezTo>
                  <a:pt x="343" y="769"/>
                  <a:pt x="341" y="776"/>
                  <a:pt x="340" y="782"/>
                </a:cubicBezTo>
                <a:cubicBezTo>
                  <a:pt x="336" y="799"/>
                  <a:pt x="332" y="816"/>
                  <a:pt x="327" y="833"/>
                </a:cubicBezTo>
                <a:cubicBezTo>
                  <a:pt x="320" y="854"/>
                  <a:pt x="320" y="854"/>
                  <a:pt x="320" y="854"/>
                </a:cubicBezTo>
                <a:cubicBezTo>
                  <a:pt x="311" y="880"/>
                  <a:pt x="311" y="880"/>
                  <a:pt x="311" y="880"/>
                </a:cubicBezTo>
                <a:cubicBezTo>
                  <a:pt x="300" y="906"/>
                  <a:pt x="300" y="906"/>
                  <a:pt x="300" y="906"/>
                </a:cubicBezTo>
                <a:cubicBezTo>
                  <a:pt x="322" y="916"/>
                  <a:pt x="322" y="916"/>
                  <a:pt x="322" y="916"/>
                </a:cubicBezTo>
                <a:cubicBezTo>
                  <a:pt x="335" y="891"/>
                  <a:pt x="335" y="891"/>
                  <a:pt x="335" y="891"/>
                </a:cubicBezTo>
                <a:cubicBezTo>
                  <a:pt x="347" y="865"/>
                  <a:pt x="347" y="865"/>
                  <a:pt x="347" y="865"/>
                </a:cubicBezTo>
                <a:cubicBezTo>
                  <a:pt x="356" y="844"/>
                  <a:pt x="356" y="844"/>
                  <a:pt x="356" y="844"/>
                </a:cubicBezTo>
                <a:cubicBezTo>
                  <a:pt x="363" y="826"/>
                  <a:pt x="370" y="808"/>
                  <a:pt x="375" y="791"/>
                </a:cubicBezTo>
                <a:cubicBezTo>
                  <a:pt x="377" y="785"/>
                  <a:pt x="379" y="778"/>
                  <a:pt x="381" y="771"/>
                </a:cubicBezTo>
                <a:cubicBezTo>
                  <a:pt x="382" y="768"/>
                  <a:pt x="383" y="764"/>
                  <a:pt x="384" y="760"/>
                </a:cubicBezTo>
                <a:cubicBezTo>
                  <a:pt x="385" y="757"/>
                  <a:pt x="386" y="753"/>
                  <a:pt x="387" y="750"/>
                </a:cubicBezTo>
                <a:cubicBezTo>
                  <a:pt x="388" y="744"/>
                  <a:pt x="388" y="744"/>
                  <a:pt x="388" y="744"/>
                </a:cubicBezTo>
                <a:cubicBezTo>
                  <a:pt x="389" y="742"/>
                  <a:pt x="389" y="741"/>
                  <a:pt x="389" y="739"/>
                </a:cubicBezTo>
                <a:cubicBezTo>
                  <a:pt x="390" y="735"/>
                  <a:pt x="392" y="731"/>
                  <a:pt x="392" y="727"/>
                </a:cubicBezTo>
                <a:cubicBezTo>
                  <a:pt x="393" y="722"/>
                  <a:pt x="393" y="722"/>
                  <a:pt x="393" y="722"/>
                </a:cubicBezTo>
                <a:cubicBezTo>
                  <a:pt x="395" y="712"/>
                  <a:pt x="397" y="702"/>
                  <a:pt x="399" y="691"/>
                </a:cubicBezTo>
                <a:cubicBezTo>
                  <a:pt x="401" y="681"/>
                  <a:pt x="402" y="670"/>
                  <a:pt x="403" y="660"/>
                </a:cubicBezTo>
                <a:cubicBezTo>
                  <a:pt x="404" y="653"/>
                  <a:pt x="404" y="653"/>
                  <a:pt x="404" y="653"/>
                </a:cubicBezTo>
                <a:cubicBezTo>
                  <a:pt x="407" y="622"/>
                  <a:pt x="408" y="597"/>
                  <a:pt x="408" y="573"/>
                </a:cubicBez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3472303" y="4427012"/>
            <a:ext cx="768350" cy="1285876"/>
            <a:chOff x="1347788" y="2170113"/>
            <a:chExt cx="384175" cy="642938"/>
          </a:xfrm>
          <a:solidFill>
            <a:schemeClr val="tx1">
              <a:lumMod val="75000"/>
            </a:schemeClr>
          </a:solidFill>
        </p:grpSpPr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1347788" y="2208213"/>
              <a:ext cx="290513" cy="604838"/>
            </a:xfrm>
            <a:custGeom>
              <a:avLst/>
              <a:gdLst>
                <a:gd name="T0" fmla="*/ 23 w 341"/>
                <a:gd name="T1" fmla="*/ 684 h 709"/>
                <a:gd name="T2" fmla="*/ 17 w 341"/>
                <a:gd name="T3" fmla="*/ 660 h 709"/>
                <a:gd name="T4" fmla="*/ 13 w 341"/>
                <a:gd name="T5" fmla="*/ 640 h 709"/>
                <a:gd name="T6" fmla="*/ 5 w 341"/>
                <a:gd name="T7" fmla="*/ 591 h 709"/>
                <a:gd name="T8" fmla="*/ 3 w 341"/>
                <a:gd name="T9" fmla="*/ 573 h 709"/>
                <a:gd name="T10" fmla="*/ 2 w 341"/>
                <a:gd name="T11" fmla="*/ 563 h 709"/>
                <a:gd name="T12" fmla="*/ 2 w 341"/>
                <a:gd name="T13" fmla="*/ 554 h 709"/>
                <a:gd name="T14" fmla="*/ 1 w 341"/>
                <a:gd name="T15" fmla="*/ 532 h 709"/>
                <a:gd name="T16" fmla="*/ 1 w 341"/>
                <a:gd name="T17" fmla="*/ 528 h 709"/>
                <a:gd name="T18" fmla="*/ 1 w 341"/>
                <a:gd name="T19" fmla="*/ 499 h 709"/>
                <a:gd name="T20" fmla="*/ 2 w 341"/>
                <a:gd name="T21" fmla="*/ 472 h 709"/>
                <a:gd name="T22" fmla="*/ 3 w 341"/>
                <a:gd name="T23" fmla="*/ 466 h 709"/>
                <a:gd name="T24" fmla="*/ 13 w 341"/>
                <a:gd name="T25" fmla="*/ 395 h 709"/>
                <a:gd name="T26" fmla="*/ 32 w 341"/>
                <a:gd name="T27" fmla="*/ 324 h 709"/>
                <a:gd name="T28" fmla="*/ 60 w 341"/>
                <a:gd name="T29" fmla="*/ 255 h 709"/>
                <a:gd name="T30" fmla="*/ 95 w 341"/>
                <a:gd name="T31" fmla="*/ 192 h 709"/>
                <a:gd name="T32" fmla="*/ 134 w 341"/>
                <a:gd name="T33" fmla="*/ 136 h 709"/>
                <a:gd name="T34" fmla="*/ 173 w 341"/>
                <a:gd name="T35" fmla="*/ 90 h 709"/>
                <a:gd name="T36" fmla="*/ 180 w 341"/>
                <a:gd name="T37" fmla="*/ 84 h 709"/>
                <a:gd name="T38" fmla="*/ 193 w 341"/>
                <a:gd name="T39" fmla="*/ 71 h 709"/>
                <a:gd name="T40" fmla="*/ 199 w 341"/>
                <a:gd name="T41" fmla="*/ 65 h 709"/>
                <a:gd name="T42" fmla="*/ 211 w 341"/>
                <a:gd name="T43" fmla="*/ 54 h 709"/>
                <a:gd name="T44" fmla="*/ 227 w 341"/>
                <a:gd name="T45" fmla="*/ 40 h 709"/>
                <a:gd name="T46" fmla="*/ 237 w 341"/>
                <a:gd name="T47" fmla="*/ 32 h 709"/>
                <a:gd name="T48" fmla="*/ 248 w 341"/>
                <a:gd name="T49" fmla="*/ 23 h 709"/>
                <a:gd name="T50" fmla="*/ 252 w 341"/>
                <a:gd name="T51" fmla="*/ 20 h 709"/>
                <a:gd name="T52" fmla="*/ 269 w 341"/>
                <a:gd name="T53" fmla="*/ 8 h 709"/>
                <a:gd name="T54" fmla="*/ 295 w 341"/>
                <a:gd name="T55" fmla="*/ 0 h 709"/>
                <a:gd name="T56" fmla="*/ 331 w 341"/>
                <a:gd name="T57" fmla="*/ 18 h 709"/>
                <a:gd name="T58" fmla="*/ 339 w 341"/>
                <a:gd name="T59" fmla="*/ 51 h 709"/>
                <a:gd name="T60" fmla="*/ 322 w 341"/>
                <a:gd name="T61" fmla="*/ 80 h 709"/>
                <a:gd name="T62" fmla="*/ 318 w 341"/>
                <a:gd name="T63" fmla="*/ 82 h 709"/>
                <a:gd name="T64" fmla="*/ 300 w 341"/>
                <a:gd name="T65" fmla="*/ 93 h 709"/>
                <a:gd name="T66" fmla="*/ 297 w 341"/>
                <a:gd name="T67" fmla="*/ 95 h 709"/>
                <a:gd name="T68" fmla="*/ 292 w 341"/>
                <a:gd name="T69" fmla="*/ 99 h 709"/>
                <a:gd name="T70" fmla="*/ 287 w 341"/>
                <a:gd name="T71" fmla="*/ 102 h 709"/>
                <a:gd name="T72" fmla="*/ 279 w 341"/>
                <a:gd name="T73" fmla="*/ 107 h 709"/>
                <a:gd name="T74" fmla="*/ 263 w 341"/>
                <a:gd name="T75" fmla="*/ 118 h 709"/>
                <a:gd name="T76" fmla="*/ 246 w 341"/>
                <a:gd name="T77" fmla="*/ 132 h 709"/>
                <a:gd name="T78" fmla="*/ 235 w 341"/>
                <a:gd name="T79" fmla="*/ 141 h 709"/>
                <a:gd name="T80" fmla="*/ 228 w 341"/>
                <a:gd name="T81" fmla="*/ 147 h 709"/>
                <a:gd name="T82" fmla="*/ 190 w 341"/>
                <a:gd name="T83" fmla="*/ 184 h 709"/>
                <a:gd name="T84" fmla="*/ 151 w 341"/>
                <a:gd name="T85" fmla="*/ 230 h 709"/>
                <a:gd name="T86" fmla="*/ 115 w 341"/>
                <a:gd name="T87" fmla="*/ 284 h 709"/>
                <a:gd name="T88" fmla="*/ 85 w 341"/>
                <a:gd name="T89" fmla="*/ 344 h 709"/>
                <a:gd name="T90" fmla="*/ 62 w 341"/>
                <a:gd name="T91" fmla="*/ 407 h 709"/>
                <a:gd name="T92" fmla="*/ 47 w 341"/>
                <a:gd name="T93" fmla="*/ 471 h 709"/>
                <a:gd name="T94" fmla="*/ 46 w 341"/>
                <a:gd name="T95" fmla="*/ 478 h 709"/>
                <a:gd name="T96" fmla="*/ 43 w 341"/>
                <a:gd name="T97" fmla="*/ 502 h 709"/>
                <a:gd name="T98" fmla="*/ 43 w 341"/>
                <a:gd name="T99" fmla="*/ 503 h 709"/>
                <a:gd name="T100" fmla="*/ 40 w 341"/>
                <a:gd name="T101" fmla="*/ 529 h 709"/>
                <a:gd name="T102" fmla="*/ 40 w 341"/>
                <a:gd name="T103" fmla="*/ 533 h 709"/>
                <a:gd name="T104" fmla="*/ 39 w 341"/>
                <a:gd name="T105" fmla="*/ 553 h 709"/>
                <a:gd name="T106" fmla="*/ 39 w 341"/>
                <a:gd name="T107" fmla="*/ 561 h 709"/>
                <a:gd name="T108" fmla="*/ 39 w 341"/>
                <a:gd name="T109" fmla="*/ 571 h 709"/>
                <a:gd name="T110" fmla="*/ 39 w 341"/>
                <a:gd name="T111" fmla="*/ 588 h 709"/>
                <a:gd name="T112" fmla="*/ 42 w 341"/>
                <a:gd name="T113" fmla="*/ 635 h 709"/>
                <a:gd name="T114" fmla="*/ 45 w 341"/>
                <a:gd name="T115" fmla="*/ 655 h 709"/>
                <a:gd name="T116" fmla="*/ 49 w 341"/>
                <a:gd name="T117" fmla="*/ 678 h 709"/>
                <a:gd name="T118" fmla="*/ 54 w 341"/>
                <a:gd name="T119" fmla="*/ 703 h 709"/>
                <a:gd name="T120" fmla="*/ 31 w 341"/>
                <a:gd name="T121" fmla="*/ 709 h 709"/>
                <a:gd name="T122" fmla="*/ 23 w 341"/>
                <a:gd name="T123" fmla="*/ 68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1" h="709">
                  <a:moveTo>
                    <a:pt x="23" y="684"/>
                  </a:moveTo>
                  <a:cubicBezTo>
                    <a:pt x="17" y="660"/>
                    <a:pt x="17" y="660"/>
                    <a:pt x="17" y="660"/>
                  </a:cubicBezTo>
                  <a:cubicBezTo>
                    <a:pt x="13" y="640"/>
                    <a:pt x="13" y="640"/>
                    <a:pt x="13" y="640"/>
                  </a:cubicBezTo>
                  <a:cubicBezTo>
                    <a:pt x="9" y="623"/>
                    <a:pt x="7" y="607"/>
                    <a:pt x="5" y="591"/>
                  </a:cubicBezTo>
                  <a:cubicBezTo>
                    <a:pt x="4" y="585"/>
                    <a:pt x="3" y="579"/>
                    <a:pt x="3" y="573"/>
                  </a:cubicBezTo>
                  <a:cubicBezTo>
                    <a:pt x="3" y="569"/>
                    <a:pt x="2" y="566"/>
                    <a:pt x="2" y="563"/>
                  </a:cubicBezTo>
                  <a:cubicBezTo>
                    <a:pt x="2" y="563"/>
                    <a:pt x="2" y="557"/>
                    <a:pt x="2" y="554"/>
                  </a:cubicBezTo>
                  <a:cubicBezTo>
                    <a:pt x="1" y="547"/>
                    <a:pt x="1" y="539"/>
                    <a:pt x="1" y="532"/>
                  </a:cubicBezTo>
                  <a:cubicBezTo>
                    <a:pt x="1" y="528"/>
                    <a:pt x="1" y="528"/>
                    <a:pt x="1" y="528"/>
                  </a:cubicBezTo>
                  <a:cubicBezTo>
                    <a:pt x="1" y="519"/>
                    <a:pt x="0" y="509"/>
                    <a:pt x="1" y="499"/>
                  </a:cubicBezTo>
                  <a:cubicBezTo>
                    <a:pt x="1" y="490"/>
                    <a:pt x="2" y="481"/>
                    <a:pt x="2" y="472"/>
                  </a:cubicBezTo>
                  <a:cubicBezTo>
                    <a:pt x="3" y="466"/>
                    <a:pt x="3" y="466"/>
                    <a:pt x="3" y="466"/>
                  </a:cubicBezTo>
                  <a:cubicBezTo>
                    <a:pt x="6" y="438"/>
                    <a:pt x="9" y="416"/>
                    <a:pt x="13" y="395"/>
                  </a:cubicBezTo>
                  <a:cubicBezTo>
                    <a:pt x="19" y="368"/>
                    <a:pt x="25" y="345"/>
                    <a:pt x="32" y="324"/>
                  </a:cubicBezTo>
                  <a:cubicBezTo>
                    <a:pt x="41" y="298"/>
                    <a:pt x="50" y="276"/>
                    <a:pt x="60" y="255"/>
                  </a:cubicBezTo>
                  <a:cubicBezTo>
                    <a:pt x="72" y="231"/>
                    <a:pt x="83" y="210"/>
                    <a:pt x="95" y="192"/>
                  </a:cubicBezTo>
                  <a:cubicBezTo>
                    <a:pt x="108" y="170"/>
                    <a:pt x="121" y="152"/>
                    <a:pt x="134" y="136"/>
                  </a:cubicBezTo>
                  <a:cubicBezTo>
                    <a:pt x="147" y="119"/>
                    <a:pt x="161" y="104"/>
                    <a:pt x="173" y="90"/>
                  </a:cubicBezTo>
                  <a:cubicBezTo>
                    <a:pt x="180" y="84"/>
                    <a:pt x="180" y="84"/>
                    <a:pt x="180" y="84"/>
                  </a:cubicBezTo>
                  <a:cubicBezTo>
                    <a:pt x="184" y="79"/>
                    <a:pt x="188" y="75"/>
                    <a:pt x="193" y="71"/>
                  </a:cubicBezTo>
                  <a:cubicBezTo>
                    <a:pt x="199" y="65"/>
                    <a:pt x="199" y="65"/>
                    <a:pt x="199" y="65"/>
                  </a:cubicBezTo>
                  <a:cubicBezTo>
                    <a:pt x="203" y="61"/>
                    <a:pt x="207" y="58"/>
                    <a:pt x="211" y="54"/>
                  </a:cubicBezTo>
                  <a:cubicBezTo>
                    <a:pt x="227" y="40"/>
                    <a:pt x="227" y="40"/>
                    <a:pt x="227" y="40"/>
                  </a:cubicBezTo>
                  <a:cubicBezTo>
                    <a:pt x="231" y="37"/>
                    <a:pt x="234" y="34"/>
                    <a:pt x="237" y="32"/>
                  </a:cubicBezTo>
                  <a:cubicBezTo>
                    <a:pt x="239" y="31"/>
                    <a:pt x="248" y="23"/>
                    <a:pt x="248" y="23"/>
                  </a:cubicBezTo>
                  <a:cubicBezTo>
                    <a:pt x="250" y="22"/>
                    <a:pt x="251" y="21"/>
                    <a:pt x="252" y="20"/>
                  </a:cubicBezTo>
                  <a:cubicBezTo>
                    <a:pt x="269" y="8"/>
                    <a:pt x="269" y="8"/>
                    <a:pt x="269" y="8"/>
                  </a:cubicBezTo>
                  <a:cubicBezTo>
                    <a:pt x="277" y="2"/>
                    <a:pt x="286" y="0"/>
                    <a:pt x="295" y="0"/>
                  </a:cubicBezTo>
                  <a:cubicBezTo>
                    <a:pt x="309" y="0"/>
                    <a:pt x="323" y="6"/>
                    <a:pt x="331" y="18"/>
                  </a:cubicBezTo>
                  <a:cubicBezTo>
                    <a:pt x="338" y="27"/>
                    <a:pt x="341" y="39"/>
                    <a:pt x="339" y="51"/>
                  </a:cubicBezTo>
                  <a:cubicBezTo>
                    <a:pt x="337" y="63"/>
                    <a:pt x="331" y="73"/>
                    <a:pt x="322" y="80"/>
                  </a:cubicBezTo>
                  <a:cubicBezTo>
                    <a:pt x="321" y="81"/>
                    <a:pt x="319" y="82"/>
                    <a:pt x="318" y="82"/>
                  </a:cubicBezTo>
                  <a:cubicBezTo>
                    <a:pt x="300" y="93"/>
                    <a:pt x="300" y="93"/>
                    <a:pt x="300" y="93"/>
                  </a:cubicBezTo>
                  <a:cubicBezTo>
                    <a:pt x="299" y="94"/>
                    <a:pt x="298" y="94"/>
                    <a:pt x="297" y="95"/>
                  </a:cubicBezTo>
                  <a:cubicBezTo>
                    <a:pt x="292" y="99"/>
                    <a:pt x="292" y="99"/>
                    <a:pt x="292" y="99"/>
                  </a:cubicBezTo>
                  <a:cubicBezTo>
                    <a:pt x="290" y="100"/>
                    <a:pt x="289" y="101"/>
                    <a:pt x="287" y="102"/>
                  </a:cubicBezTo>
                  <a:cubicBezTo>
                    <a:pt x="284" y="104"/>
                    <a:pt x="282" y="105"/>
                    <a:pt x="279" y="107"/>
                  </a:cubicBezTo>
                  <a:cubicBezTo>
                    <a:pt x="263" y="118"/>
                    <a:pt x="263" y="118"/>
                    <a:pt x="263" y="118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43" y="134"/>
                    <a:pt x="239" y="138"/>
                    <a:pt x="235" y="141"/>
                  </a:cubicBezTo>
                  <a:cubicBezTo>
                    <a:pt x="233" y="143"/>
                    <a:pt x="231" y="145"/>
                    <a:pt x="228" y="147"/>
                  </a:cubicBezTo>
                  <a:cubicBezTo>
                    <a:pt x="217" y="157"/>
                    <a:pt x="203" y="170"/>
                    <a:pt x="190" y="184"/>
                  </a:cubicBezTo>
                  <a:cubicBezTo>
                    <a:pt x="178" y="197"/>
                    <a:pt x="165" y="212"/>
                    <a:pt x="151" y="230"/>
                  </a:cubicBezTo>
                  <a:cubicBezTo>
                    <a:pt x="140" y="246"/>
                    <a:pt x="128" y="263"/>
                    <a:pt x="115" y="284"/>
                  </a:cubicBezTo>
                  <a:cubicBezTo>
                    <a:pt x="105" y="302"/>
                    <a:pt x="95" y="322"/>
                    <a:pt x="85" y="344"/>
                  </a:cubicBezTo>
                  <a:cubicBezTo>
                    <a:pt x="77" y="363"/>
                    <a:pt x="70" y="383"/>
                    <a:pt x="62" y="407"/>
                  </a:cubicBezTo>
                  <a:cubicBezTo>
                    <a:pt x="57" y="426"/>
                    <a:pt x="52" y="446"/>
                    <a:pt x="47" y="471"/>
                  </a:cubicBezTo>
                  <a:cubicBezTo>
                    <a:pt x="46" y="478"/>
                    <a:pt x="46" y="478"/>
                    <a:pt x="46" y="478"/>
                  </a:cubicBezTo>
                  <a:cubicBezTo>
                    <a:pt x="45" y="486"/>
                    <a:pt x="43" y="494"/>
                    <a:pt x="43" y="502"/>
                  </a:cubicBezTo>
                  <a:cubicBezTo>
                    <a:pt x="43" y="503"/>
                    <a:pt x="43" y="503"/>
                    <a:pt x="43" y="503"/>
                  </a:cubicBezTo>
                  <a:cubicBezTo>
                    <a:pt x="41" y="512"/>
                    <a:pt x="41" y="520"/>
                    <a:pt x="40" y="529"/>
                  </a:cubicBezTo>
                  <a:cubicBezTo>
                    <a:pt x="40" y="533"/>
                    <a:pt x="40" y="533"/>
                    <a:pt x="40" y="533"/>
                  </a:cubicBezTo>
                  <a:cubicBezTo>
                    <a:pt x="39" y="540"/>
                    <a:pt x="39" y="547"/>
                    <a:pt x="39" y="553"/>
                  </a:cubicBezTo>
                  <a:cubicBezTo>
                    <a:pt x="39" y="556"/>
                    <a:pt x="39" y="559"/>
                    <a:pt x="39" y="561"/>
                  </a:cubicBezTo>
                  <a:cubicBezTo>
                    <a:pt x="39" y="565"/>
                    <a:pt x="39" y="568"/>
                    <a:pt x="39" y="571"/>
                  </a:cubicBezTo>
                  <a:cubicBezTo>
                    <a:pt x="39" y="577"/>
                    <a:pt x="39" y="583"/>
                    <a:pt x="39" y="588"/>
                  </a:cubicBezTo>
                  <a:cubicBezTo>
                    <a:pt x="39" y="604"/>
                    <a:pt x="41" y="619"/>
                    <a:pt x="42" y="635"/>
                  </a:cubicBezTo>
                  <a:cubicBezTo>
                    <a:pt x="45" y="655"/>
                    <a:pt x="45" y="655"/>
                    <a:pt x="45" y="655"/>
                  </a:cubicBezTo>
                  <a:cubicBezTo>
                    <a:pt x="49" y="678"/>
                    <a:pt x="49" y="678"/>
                    <a:pt x="49" y="678"/>
                  </a:cubicBezTo>
                  <a:cubicBezTo>
                    <a:pt x="54" y="703"/>
                    <a:pt x="54" y="703"/>
                    <a:pt x="54" y="703"/>
                  </a:cubicBezTo>
                  <a:cubicBezTo>
                    <a:pt x="31" y="709"/>
                    <a:pt x="31" y="709"/>
                    <a:pt x="31" y="709"/>
                  </a:cubicBezTo>
                  <a:lnTo>
                    <a:pt x="23" y="6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5" name="Freeform 41"/>
            <p:cNvSpPr>
              <a:spLocks/>
            </p:cNvSpPr>
            <p:nvPr/>
          </p:nvSpPr>
          <p:spPr bwMode="auto">
            <a:xfrm>
              <a:off x="1528763" y="2170113"/>
              <a:ext cx="203200" cy="184150"/>
            </a:xfrm>
            <a:custGeom>
              <a:avLst/>
              <a:gdLst>
                <a:gd name="T0" fmla="*/ 0 w 128"/>
                <a:gd name="T1" fmla="*/ 0 h 116"/>
                <a:gd name="T2" fmla="*/ 128 w 128"/>
                <a:gd name="T3" fmla="*/ 10 h 116"/>
                <a:gd name="T4" fmla="*/ 55 w 128"/>
                <a:gd name="T5" fmla="*/ 116 h 116"/>
                <a:gd name="T6" fmla="*/ 0 w 128"/>
                <a:gd name="T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6">
                  <a:moveTo>
                    <a:pt x="0" y="0"/>
                  </a:moveTo>
                  <a:lnTo>
                    <a:pt x="128" y="10"/>
                  </a:lnTo>
                  <a:lnTo>
                    <a:pt x="55" y="11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898126" y="3763437"/>
            <a:ext cx="647700" cy="863602"/>
            <a:chOff x="3060700" y="1838325"/>
            <a:chExt cx="323850" cy="431801"/>
          </a:xfrm>
          <a:solidFill>
            <a:schemeClr val="tx1">
              <a:lumMod val="75000"/>
            </a:schemeClr>
          </a:solidFill>
        </p:grpSpPr>
        <p:sp>
          <p:nvSpPr>
            <p:cNvPr id="46" name="Freeform 42"/>
            <p:cNvSpPr>
              <a:spLocks/>
            </p:cNvSpPr>
            <p:nvPr/>
          </p:nvSpPr>
          <p:spPr bwMode="auto">
            <a:xfrm>
              <a:off x="3060700" y="1931988"/>
              <a:ext cx="269875" cy="338138"/>
            </a:xfrm>
            <a:custGeom>
              <a:avLst/>
              <a:gdLst>
                <a:gd name="T0" fmla="*/ 29 w 316"/>
                <a:gd name="T1" fmla="*/ 369 h 396"/>
                <a:gd name="T2" fmla="*/ 80 w 316"/>
                <a:gd name="T3" fmla="*/ 340 h 396"/>
                <a:gd name="T4" fmla="*/ 95 w 316"/>
                <a:gd name="T5" fmla="*/ 329 h 396"/>
                <a:gd name="T6" fmla="*/ 125 w 316"/>
                <a:gd name="T7" fmla="*/ 305 h 396"/>
                <a:gd name="T8" fmla="*/ 139 w 316"/>
                <a:gd name="T9" fmla="*/ 290 h 396"/>
                <a:gd name="T10" fmla="*/ 146 w 316"/>
                <a:gd name="T11" fmla="*/ 283 h 396"/>
                <a:gd name="T12" fmla="*/ 167 w 316"/>
                <a:gd name="T13" fmla="*/ 260 h 396"/>
                <a:gd name="T14" fmla="*/ 187 w 316"/>
                <a:gd name="T15" fmla="*/ 231 h 396"/>
                <a:gd name="T16" fmla="*/ 193 w 316"/>
                <a:gd name="T17" fmla="*/ 221 h 396"/>
                <a:gd name="T18" fmla="*/ 206 w 316"/>
                <a:gd name="T19" fmla="*/ 197 h 396"/>
                <a:gd name="T20" fmla="*/ 219 w 316"/>
                <a:gd name="T21" fmla="*/ 170 h 396"/>
                <a:gd name="T22" fmla="*/ 226 w 316"/>
                <a:gd name="T23" fmla="*/ 150 h 396"/>
                <a:gd name="T24" fmla="*/ 236 w 316"/>
                <a:gd name="T25" fmla="*/ 117 h 396"/>
                <a:gd name="T26" fmla="*/ 239 w 316"/>
                <a:gd name="T27" fmla="*/ 102 h 396"/>
                <a:gd name="T28" fmla="*/ 242 w 316"/>
                <a:gd name="T29" fmla="*/ 87 h 396"/>
                <a:gd name="T30" fmla="*/ 245 w 316"/>
                <a:gd name="T31" fmla="*/ 63 h 396"/>
                <a:gd name="T32" fmla="*/ 246 w 316"/>
                <a:gd name="T33" fmla="*/ 53 h 396"/>
                <a:gd name="T34" fmla="*/ 281 w 316"/>
                <a:gd name="T35" fmla="*/ 0 h 396"/>
                <a:gd name="T36" fmla="*/ 315 w 316"/>
                <a:gd name="T37" fmla="*/ 36 h 396"/>
                <a:gd name="T38" fmla="*/ 311 w 316"/>
                <a:gd name="T39" fmla="*/ 60 h 396"/>
                <a:gd name="T40" fmla="*/ 309 w 316"/>
                <a:gd name="T41" fmla="*/ 71 h 396"/>
                <a:gd name="T42" fmla="*/ 302 w 316"/>
                <a:gd name="T43" fmla="*/ 100 h 396"/>
                <a:gd name="T44" fmla="*/ 297 w 316"/>
                <a:gd name="T45" fmla="*/ 117 h 396"/>
                <a:gd name="T46" fmla="*/ 291 w 316"/>
                <a:gd name="T47" fmla="*/ 135 h 396"/>
                <a:gd name="T48" fmla="*/ 276 w 316"/>
                <a:gd name="T49" fmla="*/ 171 h 396"/>
                <a:gd name="T50" fmla="*/ 265 w 316"/>
                <a:gd name="T51" fmla="*/ 192 h 396"/>
                <a:gd name="T52" fmla="*/ 248 w 316"/>
                <a:gd name="T53" fmla="*/ 221 h 396"/>
                <a:gd name="T54" fmla="*/ 230 w 316"/>
                <a:gd name="T55" fmla="*/ 247 h 396"/>
                <a:gd name="T56" fmla="*/ 222 w 316"/>
                <a:gd name="T57" fmla="*/ 256 h 396"/>
                <a:gd name="T58" fmla="*/ 197 w 316"/>
                <a:gd name="T59" fmla="*/ 285 h 396"/>
                <a:gd name="T60" fmla="*/ 172 w 316"/>
                <a:gd name="T61" fmla="*/ 309 h 396"/>
                <a:gd name="T62" fmla="*/ 163 w 316"/>
                <a:gd name="T63" fmla="*/ 316 h 396"/>
                <a:gd name="T64" fmla="*/ 145 w 316"/>
                <a:gd name="T65" fmla="*/ 330 h 396"/>
                <a:gd name="T66" fmla="*/ 110 w 316"/>
                <a:gd name="T67" fmla="*/ 353 h 396"/>
                <a:gd name="T68" fmla="*/ 93 w 316"/>
                <a:gd name="T69" fmla="*/ 362 h 396"/>
                <a:gd name="T70" fmla="*/ 66 w 316"/>
                <a:gd name="T71" fmla="*/ 375 h 396"/>
                <a:gd name="T72" fmla="*/ 6 w 316"/>
                <a:gd name="T73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6" h="396">
                  <a:moveTo>
                    <a:pt x="0" y="381"/>
                  </a:moveTo>
                  <a:cubicBezTo>
                    <a:pt x="29" y="369"/>
                    <a:pt x="29" y="369"/>
                    <a:pt x="29" y="369"/>
                  </a:cubicBezTo>
                  <a:cubicBezTo>
                    <a:pt x="56" y="355"/>
                    <a:pt x="56" y="355"/>
                    <a:pt x="56" y="355"/>
                  </a:cubicBezTo>
                  <a:cubicBezTo>
                    <a:pt x="80" y="340"/>
                    <a:pt x="80" y="340"/>
                    <a:pt x="80" y="340"/>
                  </a:cubicBezTo>
                  <a:cubicBezTo>
                    <a:pt x="83" y="338"/>
                    <a:pt x="86" y="335"/>
                    <a:pt x="89" y="333"/>
                  </a:cubicBezTo>
                  <a:cubicBezTo>
                    <a:pt x="91" y="332"/>
                    <a:pt x="93" y="331"/>
                    <a:pt x="95" y="329"/>
                  </a:cubicBezTo>
                  <a:cubicBezTo>
                    <a:pt x="102" y="324"/>
                    <a:pt x="109" y="318"/>
                    <a:pt x="116" y="312"/>
                  </a:cubicBezTo>
                  <a:cubicBezTo>
                    <a:pt x="119" y="310"/>
                    <a:pt x="122" y="307"/>
                    <a:pt x="125" y="305"/>
                  </a:cubicBezTo>
                  <a:cubicBezTo>
                    <a:pt x="128" y="302"/>
                    <a:pt x="131" y="299"/>
                    <a:pt x="134" y="296"/>
                  </a:cubicBezTo>
                  <a:cubicBezTo>
                    <a:pt x="136" y="294"/>
                    <a:pt x="137" y="292"/>
                    <a:pt x="139" y="290"/>
                  </a:cubicBezTo>
                  <a:cubicBezTo>
                    <a:pt x="142" y="288"/>
                    <a:pt x="142" y="288"/>
                    <a:pt x="142" y="288"/>
                  </a:cubicBezTo>
                  <a:cubicBezTo>
                    <a:pt x="143" y="286"/>
                    <a:pt x="145" y="285"/>
                    <a:pt x="146" y="283"/>
                  </a:cubicBezTo>
                  <a:cubicBezTo>
                    <a:pt x="161" y="266"/>
                    <a:pt x="161" y="266"/>
                    <a:pt x="161" y="266"/>
                  </a:cubicBezTo>
                  <a:cubicBezTo>
                    <a:pt x="163" y="264"/>
                    <a:pt x="165" y="262"/>
                    <a:pt x="167" y="260"/>
                  </a:cubicBezTo>
                  <a:cubicBezTo>
                    <a:pt x="180" y="242"/>
                    <a:pt x="180" y="242"/>
                    <a:pt x="180" y="242"/>
                  </a:cubicBezTo>
                  <a:cubicBezTo>
                    <a:pt x="182" y="238"/>
                    <a:pt x="184" y="235"/>
                    <a:pt x="187" y="231"/>
                  </a:cubicBezTo>
                  <a:cubicBezTo>
                    <a:pt x="188" y="229"/>
                    <a:pt x="190" y="226"/>
                    <a:pt x="191" y="224"/>
                  </a:cubicBezTo>
                  <a:cubicBezTo>
                    <a:pt x="192" y="223"/>
                    <a:pt x="192" y="222"/>
                    <a:pt x="193" y="221"/>
                  </a:cubicBezTo>
                  <a:cubicBezTo>
                    <a:pt x="194" y="219"/>
                    <a:pt x="195" y="217"/>
                    <a:pt x="197" y="216"/>
                  </a:cubicBezTo>
                  <a:cubicBezTo>
                    <a:pt x="206" y="197"/>
                    <a:pt x="206" y="197"/>
                    <a:pt x="206" y="197"/>
                  </a:cubicBezTo>
                  <a:cubicBezTo>
                    <a:pt x="208" y="194"/>
                    <a:pt x="210" y="191"/>
                    <a:pt x="211" y="189"/>
                  </a:cubicBezTo>
                  <a:cubicBezTo>
                    <a:pt x="219" y="170"/>
                    <a:pt x="219" y="170"/>
                    <a:pt x="219" y="170"/>
                  </a:cubicBezTo>
                  <a:cubicBezTo>
                    <a:pt x="220" y="168"/>
                    <a:pt x="221" y="166"/>
                    <a:pt x="221" y="163"/>
                  </a:cubicBezTo>
                  <a:cubicBezTo>
                    <a:pt x="222" y="163"/>
                    <a:pt x="226" y="150"/>
                    <a:pt x="226" y="150"/>
                  </a:cubicBezTo>
                  <a:cubicBezTo>
                    <a:pt x="228" y="145"/>
                    <a:pt x="230" y="140"/>
                    <a:pt x="231" y="135"/>
                  </a:cubicBezTo>
                  <a:cubicBezTo>
                    <a:pt x="236" y="117"/>
                    <a:pt x="236" y="117"/>
                    <a:pt x="236" y="117"/>
                  </a:cubicBezTo>
                  <a:cubicBezTo>
                    <a:pt x="237" y="114"/>
                    <a:pt x="238" y="111"/>
                    <a:pt x="238" y="108"/>
                  </a:cubicBezTo>
                  <a:cubicBezTo>
                    <a:pt x="239" y="106"/>
                    <a:pt x="239" y="104"/>
                    <a:pt x="239" y="102"/>
                  </a:cubicBezTo>
                  <a:cubicBezTo>
                    <a:pt x="240" y="100"/>
                    <a:pt x="240" y="98"/>
                    <a:pt x="240" y="96"/>
                  </a:cubicBezTo>
                  <a:cubicBezTo>
                    <a:pt x="241" y="93"/>
                    <a:pt x="242" y="90"/>
                    <a:pt x="242" y="87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5" y="63"/>
                    <a:pt x="245" y="63"/>
                    <a:pt x="245" y="63"/>
                  </a:cubicBezTo>
                  <a:cubicBezTo>
                    <a:pt x="245" y="61"/>
                    <a:pt x="245" y="59"/>
                    <a:pt x="245" y="57"/>
                  </a:cubicBezTo>
                  <a:cubicBezTo>
                    <a:pt x="246" y="55"/>
                    <a:pt x="246" y="54"/>
                    <a:pt x="246" y="53"/>
                  </a:cubicBezTo>
                  <a:cubicBezTo>
                    <a:pt x="247" y="33"/>
                    <a:pt x="247" y="33"/>
                    <a:pt x="247" y="33"/>
                  </a:cubicBezTo>
                  <a:cubicBezTo>
                    <a:pt x="248" y="14"/>
                    <a:pt x="262" y="0"/>
                    <a:pt x="281" y="0"/>
                  </a:cubicBezTo>
                  <a:cubicBezTo>
                    <a:pt x="281" y="0"/>
                    <a:pt x="282" y="0"/>
                    <a:pt x="282" y="0"/>
                  </a:cubicBezTo>
                  <a:cubicBezTo>
                    <a:pt x="301" y="1"/>
                    <a:pt x="316" y="17"/>
                    <a:pt x="315" y="36"/>
                  </a:cubicBezTo>
                  <a:cubicBezTo>
                    <a:pt x="315" y="37"/>
                    <a:pt x="314" y="38"/>
                    <a:pt x="314" y="40"/>
                  </a:cubicBezTo>
                  <a:cubicBezTo>
                    <a:pt x="311" y="60"/>
                    <a:pt x="311" y="60"/>
                    <a:pt x="311" y="60"/>
                  </a:cubicBezTo>
                  <a:cubicBezTo>
                    <a:pt x="311" y="61"/>
                    <a:pt x="311" y="62"/>
                    <a:pt x="310" y="63"/>
                  </a:cubicBezTo>
                  <a:cubicBezTo>
                    <a:pt x="310" y="66"/>
                    <a:pt x="310" y="68"/>
                    <a:pt x="309" y="71"/>
                  </a:cubicBezTo>
                  <a:cubicBezTo>
                    <a:pt x="306" y="85"/>
                    <a:pt x="306" y="85"/>
                    <a:pt x="306" y="85"/>
                  </a:cubicBezTo>
                  <a:cubicBezTo>
                    <a:pt x="302" y="100"/>
                    <a:pt x="302" y="100"/>
                    <a:pt x="302" y="100"/>
                  </a:cubicBezTo>
                  <a:cubicBezTo>
                    <a:pt x="301" y="104"/>
                    <a:pt x="300" y="108"/>
                    <a:pt x="299" y="111"/>
                  </a:cubicBezTo>
                  <a:cubicBezTo>
                    <a:pt x="297" y="117"/>
                    <a:pt x="297" y="117"/>
                    <a:pt x="297" y="117"/>
                  </a:cubicBezTo>
                  <a:cubicBezTo>
                    <a:pt x="297" y="119"/>
                    <a:pt x="296" y="121"/>
                    <a:pt x="295" y="123"/>
                  </a:cubicBezTo>
                  <a:cubicBezTo>
                    <a:pt x="294" y="127"/>
                    <a:pt x="293" y="131"/>
                    <a:pt x="291" y="135"/>
                  </a:cubicBezTo>
                  <a:cubicBezTo>
                    <a:pt x="284" y="153"/>
                    <a:pt x="284" y="153"/>
                    <a:pt x="284" y="153"/>
                  </a:cubicBezTo>
                  <a:cubicBezTo>
                    <a:pt x="282" y="159"/>
                    <a:pt x="279" y="165"/>
                    <a:pt x="276" y="171"/>
                  </a:cubicBezTo>
                  <a:cubicBezTo>
                    <a:pt x="269" y="185"/>
                    <a:pt x="269" y="185"/>
                    <a:pt x="269" y="185"/>
                  </a:cubicBezTo>
                  <a:cubicBezTo>
                    <a:pt x="268" y="187"/>
                    <a:pt x="267" y="190"/>
                    <a:pt x="265" y="192"/>
                  </a:cubicBezTo>
                  <a:cubicBezTo>
                    <a:pt x="254" y="211"/>
                    <a:pt x="254" y="211"/>
                    <a:pt x="254" y="211"/>
                  </a:cubicBezTo>
                  <a:cubicBezTo>
                    <a:pt x="252" y="215"/>
                    <a:pt x="250" y="218"/>
                    <a:pt x="248" y="221"/>
                  </a:cubicBezTo>
                  <a:cubicBezTo>
                    <a:pt x="235" y="240"/>
                    <a:pt x="235" y="240"/>
                    <a:pt x="235" y="240"/>
                  </a:cubicBezTo>
                  <a:cubicBezTo>
                    <a:pt x="233" y="243"/>
                    <a:pt x="231" y="245"/>
                    <a:pt x="230" y="247"/>
                  </a:cubicBezTo>
                  <a:cubicBezTo>
                    <a:pt x="229" y="248"/>
                    <a:pt x="228" y="249"/>
                    <a:pt x="227" y="250"/>
                  </a:cubicBezTo>
                  <a:cubicBezTo>
                    <a:pt x="226" y="252"/>
                    <a:pt x="224" y="254"/>
                    <a:pt x="222" y="256"/>
                  </a:cubicBezTo>
                  <a:cubicBezTo>
                    <a:pt x="219" y="260"/>
                    <a:pt x="216" y="264"/>
                    <a:pt x="212" y="268"/>
                  </a:cubicBezTo>
                  <a:cubicBezTo>
                    <a:pt x="197" y="285"/>
                    <a:pt x="197" y="285"/>
                    <a:pt x="197" y="285"/>
                  </a:cubicBezTo>
                  <a:cubicBezTo>
                    <a:pt x="195" y="288"/>
                    <a:pt x="192" y="290"/>
                    <a:pt x="189" y="292"/>
                  </a:cubicBezTo>
                  <a:cubicBezTo>
                    <a:pt x="172" y="309"/>
                    <a:pt x="172" y="309"/>
                    <a:pt x="172" y="309"/>
                  </a:cubicBezTo>
                  <a:cubicBezTo>
                    <a:pt x="169" y="311"/>
                    <a:pt x="167" y="312"/>
                    <a:pt x="166" y="314"/>
                  </a:cubicBezTo>
                  <a:cubicBezTo>
                    <a:pt x="163" y="316"/>
                    <a:pt x="163" y="316"/>
                    <a:pt x="163" y="316"/>
                  </a:cubicBezTo>
                  <a:cubicBezTo>
                    <a:pt x="160" y="318"/>
                    <a:pt x="159" y="319"/>
                    <a:pt x="157" y="321"/>
                  </a:cubicBezTo>
                  <a:cubicBezTo>
                    <a:pt x="153" y="324"/>
                    <a:pt x="149" y="327"/>
                    <a:pt x="145" y="330"/>
                  </a:cubicBezTo>
                  <a:cubicBezTo>
                    <a:pt x="142" y="332"/>
                    <a:pt x="138" y="334"/>
                    <a:pt x="135" y="337"/>
                  </a:cubicBezTo>
                  <a:cubicBezTo>
                    <a:pt x="127" y="343"/>
                    <a:pt x="119" y="348"/>
                    <a:pt x="110" y="353"/>
                  </a:cubicBezTo>
                  <a:cubicBezTo>
                    <a:pt x="104" y="356"/>
                    <a:pt x="104" y="356"/>
                    <a:pt x="104" y="356"/>
                  </a:cubicBezTo>
                  <a:cubicBezTo>
                    <a:pt x="101" y="358"/>
                    <a:pt x="97" y="360"/>
                    <a:pt x="93" y="362"/>
                  </a:cubicBezTo>
                  <a:cubicBezTo>
                    <a:pt x="93" y="362"/>
                    <a:pt x="93" y="362"/>
                    <a:pt x="93" y="362"/>
                  </a:cubicBezTo>
                  <a:cubicBezTo>
                    <a:pt x="66" y="375"/>
                    <a:pt x="66" y="375"/>
                    <a:pt x="66" y="375"/>
                  </a:cubicBezTo>
                  <a:cubicBezTo>
                    <a:pt x="36" y="387"/>
                    <a:pt x="36" y="387"/>
                    <a:pt x="36" y="387"/>
                  </a:cubicBezTo>
                  <a:cubicBezTo>
                    <a:pt x="6" y="396"/>
                    <a:pt x="6" y="396"/>
                    <a:pt x="6" y="396"/>
                  </a:cubicBezTo>
                  <a:lnTo>
                    <a:pt x="0" y="3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7" name="Freeform 43"/>
            <p:cNvSpPr>
              <a:spLocks/>
            </p:cNvSpPr>
            <p:nvPr/>
          </p:nvSpPr>
          <p:spPr bwMode="auto">
            <a:xfrm>
              <a:off x="3213100" y="1838325"/>
              <a:ext cx="171450" cy="158750"/>
            </a:xfrm>
            <a:custGeom>
              <a:avLst/>
              <a:gdLst>
                <a:gd name="T0" fmla="*/ 0 w 108"/>
                <a:gd name="T1" fmla="*/ 100 h 100"/>
                <a:gd name="T2" fmla="*/ 45 w 108"/>
                <a:gd name="T3" fmla="*/ 0 h 100"/>
                <a:gd name="T4" fmla="*/ 108 w 108"/>
                <a:gd name="T5" fmla="*/ 90 h 100"/>
                <a:gd name="T6" fmla="*/ 0 w 108"/>
                <a:gd name="T7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00">
                  <a:moveTo>
                    <a:pt x="0" y="100"/>
                  </a:moveTo>
                  <a:lnTo>
                    <a:pt x="45" y="0"/>
                  </a:lnTo>
                  <a:lnTo>
                    <a:pt x="108" y="90"/>
                  </a:lnTo>
                  <a:lnTo>
                    <a:pt x="0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024876" y="8294162"/>
            <a:ext cx="1933576" cy="1933576"/>
            <a:chOff x="2124075" y="4103688"/>
            <a:chExt cx="966788" cy="966788"/>
          </a:xfrm>
          <a:solidFill>
            <a:schemeClr val="accent1"/>
          </a:solidFill>
        </p:grpSpPr>
        <p:sp>
          <p:nvSpPr>
            <p:cNvPr id="40" name="Freeform 36"/>
            <p:cNvSpPr>
              <a:spLocks noEditPoints="1"/>
            </p:cNvSpPr>
            <p:nvPr/>
          </p:nvSpPr>
          <p:spPr bwMode="auto">
            <a:xfrm>
              <a:off x="2124075" y="4103688"/>
              <a:ext cx="966788" cy="966788"/>
            </a:xfrm>
            <a:custGeom>
              <a:avLst/>
              <a:gdLst>
                <a:gd name="T0" fmla="*/ 1013 w 1135"/>
                <a:gd name="T1" fmla="*/ 544 h 1134"/>
                <a:gd name="T2" fmla="*/ 1135 w 1135"/>
                <a:gd name="T3" fmla="*/ 472 h 1134"/>
                <a:gd name="T4" fmla="*/ 1107 w 1135"/>
                <a:gd name="T5" fmla="*/ 367 h 1134"/>
                <a:gd name="T6" fmla="*/ 965 w 1135"/>
                <a:gd name="T7" fmla="*/ 366 h 1134"/>
                <a:gd name="T8" fmla="*/ 866 w 1135"/>
                <a:gd name="T9" fmla="*/ 237 h 1134"/>
                <a:gd name="T10" fmla="*/ 901 w 1135"/>
                <a:gd name="T11" fmla="*/ 99 h 1134"/>
                <a:gd name="T12" fmla="*/ 808 w 1135"/>
                <a:gd name="T13" fmla="*/ 45 h 1134"/>
                <a:gd name="T14" fmla="*/ 706 w 1135"/>
                <a:gd name="T15" fmla="*/ 144 h 1134"/>
                <a:gd name="T16" fmla="*/ 544 w 1135"/>
                <a:gd name="T17" fmla="*/ 123 h 1134"/>
                <a:gd name="T18" fmla="*/ 472 w 1135"/>
                <a:gd name="T19" fmla="*/ 0 h 1134"/>
                <a:gd name="T20" fmla="*/ 367 w 1135"/>
                <a:gd name="T21" fmla="*/ 28 h 1134"/>
                <a:gd name="T22" fmla="*/ 365 w 1135"/>
                <a:gd name="T23" fmla="*/ 170 h 1134"/>
                <a:gd name="T24" fmla="*/ 237 w 1135"/>
                <a:gd name="T25" fmla="*/ 269 h 1134"/>
                <a:gd name="T26" fmla="*/ 99 w 1135"/>
                <a:gd name="T27" fmla="*/ 234 h 1134"/>
                <a:gd name="T28" fmla="*/ 45 w 1135"/>
                <a:gd name="T29" fmla="*/ 327 h 1134"/>
                <a:gd name="T30" fmla="*/ 144 w 1135"/>
                <a:gd name="T31" fmla="*/ 429 h 1134"/>
                <a:gd name="T32" fmla="*/ 123 w 1135"/>
                <a:gd name="T33" fmla="*/ 590 h 1134"/>
                <a:gd name="T34" fmla="*/ 0 w 1135"/>
                <a:gd name="T35" fmla="*/ 663 h 1134"/>
                <a:gd name="T36" fmla="*/ 28 w 1135"/>
                <a:gd name="T37" fmla="*/ 767 h 1134"/>
                <a:gd name="T38" fmla="*/ 171 w 1135"/>
                <a:gd name="T39" fmla="*/ 769 h 1134"/>
                <a:gd name="T40" fmla="*/ 269 w 1135"/>
                <a:gd name="T41" fmla="*/ 898 h 1134"/>
                <a:gd name="T42" fmla="*/ 234 w 1135"/>
                <a:gd name="T43" fmla="*/ 1036 h 1134"/>
                <a:gd name="T44" fmla="*/ 328 w 1135"/>
                <a:gd name="T45" fmla="*/ 1090 h 1134"/>
                <a:gd name="T46" fmla="*/ 429 w 1135"/>
                <a:gd name="T47" fmla="*/ 991 h 1134"/>
                <a:gd name="T48" fmla="*/ 591 w 1135"/>
                <a:gd name="T49" fmla="*/ 1012 h 1134"/>
                <a:gd name="T50" fmla="*/ 664 w 1135"/>
                <a:gd name="T51" fmla="*/ 1134 h 1134"/>
                <a:gd name="T52" fmla="*/ 768 w 1135"/>
                <a:gd name="T53" fmla="*/ 1106 h 1134"/>
                <a:gd name="T54" fmla="*/ 770 w 1135"/>
                <a:gd name="T55" fmla="*/ 964 h 1134"/>
                <a:gd name="T56" fmla="*/ 899 w 1135"/>
                <a:gd name="T57" fmla="*/ 865 h 1134"/>
                <a:gd name="T58" fmla="*/ 1036 w 1135"/>
                <a:gd name="T59" fmla="*/ 900 h 1134"/>
                <a:gd name="T60" fmla="*/ 1090 w 1135"/>
                <a:gd name="T61" fmla="*/ 807 h 1134"/>
                <a:gd name="T62" fmla="*/ 992 w 1135"/>
                <a:gd name="T63" fmla="*/ 705 h 1134"/>
                <a:gd name="T64" fmla="*/ 1013 w 1135"/>
                <a:gd name="T65" fmla="*/ 544 h 1134"/>
                <a:gd name="T66" fmla="*/ 593 w 1135"/>
                <a:gd name="T67" fmla="*/ 879 h 1134"/>
                <a:gd name="T68" fmla="*/ 256 w 1135"/>
                <a:gd name="T69" fmla="*/ 593 h 1134"/>
                <a:gd name="T70" fmla="*/ 543 w 1135"/>
                <a:gd name="T71" fmla="*/ 256 h 1134"/>
                <a:gd name="T72" fmla="*/ 879 w 1135"/>
                <a:gd name="T73" fmla="*/ 542 h 1134"/>
                <a:gd name="T74" fmla="*/ 593 w 1135"/>
                <a:gd name="T75" fmla="*/ 8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4">
                  <a:moveTo>
                    <a:pt x="1013" y="544"/>
                  </a:moveTo>
                  <a:cubicBezTo>
                    <a:pt x="1135" y="472"/>
                    <a:pt x="1135" y="472"/>
                    <a:pt x="1135" y="472"/>
                  </a:cubicBezTo>
                  <a:cubicBezTo>
                    <a:pt x="1107" y="367"/>
                    <a:pt x="1107" y="367"/>
                    <a:pt x="1107" y="367"/>
                  </a:cubicBezTo>
                  <a:cubicBezTo>
                    <a:pt x="965" y="366"/>
                    <a:pt x="965" y="366"/>
                    <a:pt x="965" y="366"/>
                  </a:cubicBezTo>
                  <a:cubicBezTo>
                    <a:pt x="940" y="317"/>
                    <a:pt x="906" y="273"/>
                    <a:pt x="866" y="237"/>
                  </a:cubicBezTo>
                  <a:cubicBezTo>
                    <a:pt x="901" y="99"/>
                    <a:pt x="901" y="99"/>
                    <a:pt x="901" y="99"/>
                  </a:cubicBezTo>
                  <a:cubicBezTo>
                    <a:pt x="808" y="45"/>
                    <a:pt x="808" y="45"/>
                    <a:pt x="808" y="45"/>
                  </a:cubicBezTo>
                  <a:cubicBezTo>
                    <a:pt x="706" y="144"/>
                    <a:pt x="706" y="144"/>
                    <a:pt x="706" y="144"/>
                  </a:cubicBezTo>
                  <a:cubicBezTo>
                    <a:pt x="655" y="127"/>
                    <a:pt x="601" y="120"/>
                    <a:pt x="544" y="12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65" y="170"/>
                    <a:pt x="365" y="170"/>
                    <a:pt x="365" y="170"/>
                  </a:cubicBezTo>
                  <a:cubicBezTo>
                    <a:pt x="317" y="195"/>
                    <a:pt x="273" y="229"/>
                    <a:pt x="237" y="269"/>
                  </a:cubicBezTo>
                  <a:cubicBezTo>
                    <a:pt x="99" y="234"/>
                    <a:pt x="99" y="234"/>
                    <a:pt x="99" y="234"/>
                  </a:cubicBezTo>
                  <a:cubicBezTo>
                    <a:pt x="45" y="327"/>
                    <a:pt x="45" y="327"/>
                    <a:pt x="45" y="327"/>
                  </a:cubicBezTo>
                  <a:cubicBezTo>
                    <a:pt x="144" y="429"/>
                    <a:pt x="144" y="429"/>
                    <a:pt x="144" y="429"/>
                  </a:cubicBezTo>
                  <a:cubicBezTo>
                    <a:pt x="128" y="480"/>
                    <a:pt x="120" y="534"/>
                    <a:pt x="123" y="590"/>
                  </a:cubicBezTo>
                  <a:cubicBezTo>
                    <a:pt x="0" y="663"/>
                    <a:pt x="0" y="663"/>
                    <a:pt x="0" y="663"/>
                  </a:cubicBezTo>
                  <a:cubicBezTo>
                    <a:pt x="28" y="767"/>
                    <a:pt x="28" y="767"/>
                    <a:pt x="28" y="767"/>
                  </a:cubicBezTo>
                  <a:cubicBezTo>
                    <a:pt x="171" y="769"/>
                    <a:pt x="171" y="769"/>
                    <a:pt x="171" y="769"/>
                  </a:cubicBezTo>
                  <a:cubicBezTo>
                    <a:pt x="195" y="818"/>
                    <a:pt x="229" y="862"/>
                    <a:pt x="269" y="898"/>
                  </a:cubicBezTo>
                  <a:cubicBezTo>
                    <a:pt x="234" y="1036"/>
                    <a:pt x="234" y="1036"/>
                    <a:pt x="234" y="1036"/>
                  </a:cubicBezTo>
                  <a:cubicBezTo>
                    <a:pt x="328" y="1090"/>
                    <a:pt x="328" y="1090"/>
                    <a:pt x="328" y="1090"/>
                  </a:cubicBezTo>
                  <a:cubicBezTo>
                    <a:pt x="429" y="991"/>
                    <a:pt x="429" y="991"/>
                    <a:pt x="429" y="991"/>
                  </a:cubicBezTo>
                  <a:cubicBezTo>
                    <a:pt x="480" y="1008"/>
                    <a:pt x="535" y="1015"/>
                    <a:pt x="591" y="1012"/>
                  </a:cubicBezTo>
                  <a:cubicBezTo>
                    <a:pt x="664" y="1134"/>
                    <a:pt x="664" y="1134"/>
                    <a:pt x="664" y="1134"/>
                  </a:cubicBezTo>
                  <a:cubicBezTo>
                    <a:pt x="768" y="1106"/>
                    <a:pt x="768" y="1106"/>
                    <a:pt x="768" y="1106"/>
                  </a:cubicBezTo>
                  <a:cubicBezTo>
                    <a:pt x="770" y="964"/>
                    <a:pt x="770" y="964"/>
                    <a:pt x="770" y="964"/>
                  </a:cubicBezTo>
                  <a:cubicBezTo>
                    <a:pt x="819" y="939"/>
                    <a:pt x="863" y="906"/>
                    <a:pt x="899" y="865"/>
                  </a:cubicBezTo>
                  <a:cubicBezTo>
                    <a:pt x="1036" y="900"/>
                    <a:pt x="1036" y="900"/>
                    <a:pt x="1036" y="900"/>
                  </a:cubicBezTo>
                  <a:cubicBezTo>
                    <a:pt x="1090" y="807"/>
                    <a:pt x="1090" y="807"/>
                    <a:pt x="1090" y="807"/>
                  </a:cubicBezTo>
                  <a:cubicBezTo>
                    <a:pt x="992" y="705"/>
                    <a:pt x="992" y="705"/>
                    <a:pt x="992" y="705"/>
                  </a:cubicBezTo>
                  <a:cubicBezTo>
                    <a:pt x="1008" y="654"/>
                    <a:pt x="1015" y="600"/>
                    <a:pt x="1013" y="544"/>
                  </a:cubicBezTo>
                  <a:close/>
                  <a:moveTo>
                    <a:pt x="593" y="879"/>
                  </a:moveTo>
                  <a:cubicBezTo>
                    <a:pt x="421" y="893"/>
                    <a:pt x="270" y="764"/>
                    <a:pt x="256" y="593"/>
                  </a:cubicBezTo>
                  <a:cubicBezTo>
                    <a:pt x="243" y="421"/>
                    <a:pt x="371" y="270"/>
                    <a:pt x="543" y="256"/>
                  </a:cubicBezTo>
                  <a:cubicBezTo>
                    <a:pt x="714" y="242"/>
                    <a:pt x="865" y="370"/>
                    <a:pt x="879" y="542"/>
                  </a:cubicBezTo>
                  <a:cubicBezTo>
                    <a:pt x="893" y="714"/>
                    <a:pt x="765" y="865"/>
                    <a:pt x="593" y="8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9" name="Freeform 45"/>
            <p:cNvSpPr>
              <a:spLocks noEditPoints="1"/>
            </p:cNvSpPr>
            <p:nvPr/>
          </p:nvSpPr>
          <p:spPr bwMode="auto">
            <a:xfrm>
              <a:off x="2460625" y="4441825"/>
              <a:ext cx="292100" cy="293688"/>
            </a:xfrm>
            <a:custGeom>
              <a:avLst/>
              <a:gdLst>
                <a:gd name="T0" fmla="*/ 171 w 343"/>
                <a:gd name="T1" fmla="*/ 343 h 343"/>
                <a:gd name="T2" fmla="*/ 0 w 343"/>
                <a:gd name="T3" fmla="*/ 171 h 343"/>
                <a:gd name="T4" fmla="*/ 171 w 343"/>
                <a:gd name="T5" fmla="*/ 0 h 343"/>
                <a:gd name="T6" fmla="*/ 343 w 343"/>
                <a:gd name="T7" fmla="*/ 171 h 343"/>
                <a:gd name="T8" fmla="*/ 171 w 343"/>
                <a:gd name="T9" fmla="*/ 343 h 343"/>
                <a:gd name="T10" fmla="*/ 171 w 343"/>
                <a:gd name="T11" fmla="*/ 100 h 343"/>
                <a:gd name="T12" fmla="*/ 100 w 343"/>
                <a:gd name="T13" fmla="*/ 171 h 343"/>
                <a:gd name="T14" fmla="*/ 171 w 343"/>
                <a:gd name="T15" fmla="*/ 243 h 343"/>
                <a:gd name="T16" fmla="*/ 243 w 343"/>
                <a:gd name="T17" fmla="*/ 171 h 343"/>
                <a:gd name="T18" fmla="*/ 171 w 343"/>
                <a:gd name="T19" fmla="*/ 10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3" h="343">
                  <a:moveTo>
                    <a:pt x="171" y="343"/>
                  </a:moveTo>
                  <a:cubicBezTo>
                    <a:pt x="77" y="343"/>
                    <a:pt x="0" y="266"/>
                    <a:pt x="0" y="171"/>
                  </a:cubicBezTo>
                  <a:cubicBezTo>
                    <a:pt x="0" y="77"/>
                    <a:pt x="77" y="0"/>
                    <a:pt x="171" y="0"/>
                  </a:cubicBezTo>
                  <a:cubicBezTo>
                    <a:pt x="266" y="0"/>
                    <a:pt x="343" y="77"/>
                    <a:pt x="343" y="171"/>
                  </a:cubicBezTo>
                  <a:cubicBezTo>
                    <a:pt x="343" y="266"/>
                    <a:pt x="266" y="343"/>
                    <a:pt x="171" y="343"/>
                  </a:cubicBezTo>
                  <a:close/>
                  <a:moveTo>
                    <a:pt x="171" y="100"/>
                  </a:moveTo>
                  <a:cubicBezTo>
                    <a:pt x="132" y="100"/>
                    <a:pt x="100" y="132"/>
                    <a:pt x="100" y="171"/>
                  </a:cubicBezTo>
                  <a:cubicBezTo>
                    <a:pt x="100" y="211"/>
                    <a:pt x="132" y="243"/>
                    <a:pt x="171" y="243"/>
                  </a:cubicBezTo>
                  <a:cubicBezTo>
                    <a:pt x="211" y="243"/>
                    <a:pt x="243" y="211"/>
                    <a:pt x="243" y="171"/>
                  </a:cubicBezTo>
                  <a:cubicBezTo>
                    <a:pt x="243" y="132"/>
                    <a:pt x="211" y="100"/>
                    <a:pt x="171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50" name="Freeform 46"/>
          <p:cNvSpPr>
            <a:spLocks/>
          </p:cNvSpPr>
          <p:nvPr/>
        </p:nvSpPr>
        <p:spPr bwMode="auto">
          <a:xfrm>
            <a:off x="5453502" y="8668812"/>
            <a:ext cx="495300" cy="622300"/>
          </a:xfrm>
          <a:custGeom>
            <a:avLst/>
            <a:gdLst>
              <a:gd name="T0" fmla="*/ 114 w 290"/>
              <a:gd name="T1" fmla="*/ 0 h 365"/>
              <a:gd name="T2" fmla="*/ 130 w 290"/>
              <a:gd name="T3" fmla="*/ 60 h 365"/>
              <a:gd name="T4" fmla="*/ 110 w 290"/>
              <a:gd name="T5" fmla="*/ 76 h 365"/>
              <a:gd name="T6" fmla="*/ 99 w 290"/>
              <a:gd name="T7" fmla="*/ 86 h 365"/>
              <a:gd name="T8" fmla="*/ 80 w 290"/>
              <a:gd name="T9" fmla="*/ 107 h 365"/>
              <a:gd name="T10" fmla="*/ 75 w 290"/>
              <a:gd name="T11" fmla="*/ 113 h 365"/>
              <a:gd name="T12" fmla="*/ 58 w 290"/>
              <a:gd name="T13" fmla="*/ 135 h 365"/>
              <a:gd name="T14" fmla="*/ 48 w 290"/>
              <a:gd name="T15" fmla="*/ 151 h 365"/>
              <a:gd name="T16" fmla="*/ 41 w 290"/>
              <a:gd name="T17" fmla="*/ 163 h 365"/>
              <a:gd name="T18" fmla="*/ 37 w 290"/>
              <a:gd name="T19" fmla="*/ 172 h 365"/>
              <a:gd name="T20" fmla="*/ 24 w 290"/>
              <a:gd name="T21" fmla="*/ 198 h 365"/>
              <a:gd name="T22" fmla="*/ 18 w 290"/>
              <a:gd name="T23" fmla="*/ 215 h 365"/>
              <a:gd name="T24" fmla="*/ 13 w 290"/>
              <a:gd name="T25" fmla="*/ 232 h 365"/>
              <a:gd name="T26" fmla="*/ 8 w 290"/>
              <a:gd name="T27" fmla="*/ 248 h 365"/>
              <a:gd name="T28" fmla="*/ 3 w 290"/>
              <a:gd name="T29" fmla="*/ 280 h 365"/>
              <a:gd name="T30" fmla="*/ 1 w 290"/>
              <a:gd name="T31" fmla="*/ 294 h 365"/>
              <a:gd name="T32" fmla="*/ 1 w 290"/>
              <a:gd name="T33" fmla="*/ 328 h 365"/>
              <a:gd name="T34" fmla="*/ 4 w 290"/>
              <a:gd name="T35" fmla="*/ 365 h 365"/>
              <a:gd name="T36" fmla="*/ 20 w 290"/>
              <a:gd name="T37" fmla="*/ 341 h 365"/>
              <a:gd name="T38" fmla="*/ 23 w 290"/>
              <a:gd name="T39" fmla="*/ 310 h 365"/>
              <a:gd name="T40" fmla="*/ 28 w 290"/>
              <a:gd name="T41" fmla="*/ 289 h 365"/>
              <a:gd name="T42" fmla="*/ 35 w 290"/>
              <a:gd name="T43" fmla="*/ 264 h 365"/>
              <a:gd name="T44" fmla="*/ 41 w 290"/>
              <a:gd name="T45" fmla="*/ 247 h 365"/>
              <a:gd name="T46" fmla="*/ 46 w 290"/>
              <a:gd name="T47" fmla="*/ 235 h 365"/>
              <a:gd name="T48" fmla="*/ 52 w 290"/>
              <a:gd name="T49" fmla="*/ 223 h 365"/>
              <a:gd name="T50" fmla="*/ 65 w 290"/>
              <a:gd name="T51" fmla="*/ 200 h 365"/>
              <a:gd name="T52" fmla="*/ 74 w 290"/>
              <a:gd name="T53" fmla="*/ 187 h 365"/>
              <a:gd name="T54" fmla="*/ 78 w 290"/>
              <a:gd name="T55" fmla="*/ 181 h 365"/>
              <a:gd name="T56" fmla="*/ 86 w 290"/>
              <a:gd name="T57" fmla="*/ 170 h 365"/>
              <a:gd name="T58" fmla="*/ 103 w 290"/>
              <a:gd name="T59" fmla="*/ 152 h 365"/>
              <a:gd name="T60" fmla="*/ 113 w 290"/>
              <a:gd name="T61" fmla="*/ 142 h 365"/>
              <a:gd name="T62" fmla="*/ 123 w 290"/>
              <a:gd name="T63" fmla="*/ 133 h 365"/>
              <a:gd name="T64" fmla="*/ 140 w 290"/>
              <a:gd name="T65" fmla="*/ 120 h 365"/>
              <a:gd name="T66" fmla="*/ 151 w 290"/>
              <a:gd name="T67" fmla="*/ 112 h 365"/>
              <a:gd name="T68" fmla="*/ 290 w 290"/>
              <a:gd name="T69" fmla="*/ 36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0" h="365">
                <a:moveTo>
                  <a:pt x="290" y="36"/>
                </a:moveTo>
                <a:cubicBezTo>
                  <a:pt x="114" y="0"/>
                  <a:pt x="114" y="0"/>
                  <a:pt x="114" y="0"/>
                </a:cubicBezTo>
                <a:cubicBezTo>
                  <a:pt x="133" y="57"/>
                  <a:pt x="133" y="57"/>
                  <a:pt x="133" y="57"/>
                </a:cubicBezTo>
                <a:cubicBezTo>
                  <a:pt x="130" y="60"/>
                  <a:pt x="130" y="60"/>
                  <a:pt x="130" y="60"/>
                </a:cubicBezTo>
                <a:cubicBezTo>
                  <a:pt x="120" y="67"/>
                  <a:pt x="120" y="67"/>
                  <a:pt x="120" y="67"/>
                </a:cubicBezTo>
                <a:cubicBezTo>
                  <a:pt x="110" y="76"/>
                  <a:pt x="110" y="76"/>
                  <a:pt x="110" y="76"/>
                </a:cubicBezTo>
                <a:cubicBezTo>
                  <a:pt x="109" y="77"/>
                  <a:pt x="108" y="78"/>
                  <a:pt x="107" y="79"/>
                </a:cubicBezTo>
                <a:cubicBezTo>
                  <a:pt x="104" y="81"/>
                  <a:pt x="102" y="83"/>
                  <a:pt x="99" y="86"/>
                </a:cubicBezTo>
                <a:cubicBezTo>
                  <a:pt x="89" y="96"/>
                  <a:pt x="89" y="96"/>
                  <a:pt x="89" y="96"/>
                </a:cubicBezTo>
                <a:cubicBezTo>
                  <a:pt x="86" y="100"/>
                  <a:pt x="83" y="103"/>
                  <a:pt x="80" y="107"/>
                </a:cubicBezTo>
                <a:cubicBezTo>
                  <a:pt x="78" y="109"/>
                  <a:pt x="78" y="109"/>
                  <a:pt x="78" y="109"/>
                </a:cubicBezTo>
                <a:cubicBezTo>
                  <a:pt x="77" y="110"/>
                  <a:pt x="76" y="112"/>
                  <a:pt x="75" y="113"/>
                </a:cubicBezTo>
                <a:cubicBezTo>
                  <a:pt x="72" y="116"/>
                  <a:pt x="70" y="119"/>
                  <a:pt x="68" y="122"/>
                </a:cubicBezTo>
                <a:cubicBezTo>
                  <a:pt x="58" y="135"/>
                  <a:pt x="58" y="135"/>
                  <a:pt x="58" y="135"/>
                </a:cubicBezTo>
                <a:cubicBezTo>
                  <a:pt x="55" y="139"/>
                  <a:pt x="53" y="142"/>
                  <a:pt x="51" y="145"/>
                </a:cubicBezTo>
                <a:cubicBezTo>
                  <a:pt x="50" y="147"/>
                  <a:pt x="49" y="149"/>
                  <a:pt x="48" y="151"/>
                </a:cubicBezTo>
                <a:cubicBezTo>
                  <a:pt x="44" y="158"/>
                  <a:pt x="44" y="158"/>
                  <a:pt x="44" y="158"/>
                </a:cubicBezTo>
                <a:cubicBezTo>
                  <a:pt x="43" y="160"/>
                  <a:pt x="42" y="162"/>
                  <a:pt x="41" y="163"/>
                </a:cubicBezTo>
                <a:cubicBezTo>
                  <a:pt x="39" y="166"/>
                  <a:pt x="39" y="166"/>
                  <a:pt x="39" y="166"/>
                </a:cubicBezTo>
                <a:cubicBezTo>
                  <a:pt x="38" y="168"/>
                  <a:pt x="37" y="170"/>
                  <a:pt x="37" y="172"/>
                </a:cubicBezTo>
                <a:cubicBezTo>
                  <a:pt x="35" y="175"/>
                  <a:pt x="33" y="178"/>
                  <a:pt x="31" y="182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3" y="202"/>
                  <a:pt x="21" y="206"/>
                  <a:pt x="20" y="209"/>
                </a:cubicBezTo>
                <a:cubicBezTo>
                  <a:pt x="19" y="211"/>
                  <a:pt x="19" y="213"/>
                  <a:pt x="18" y="215"/>
                </a:cubicBezTo>
                <a:cubicBezTo>
                  <a:pt x="15" y="223"/>
                  <a:pt x="15" y="223"/>
                  <a:pt x="15" y="223"/>
                </a:cubicBezTo>
                <a:cubicBezTo>
                  <a:pt x="13" y="232"/>
                  <a:pt x="13" y="232"/>
                  <a:pt x="13" y="232"/>
                </a:cubicBezTo>
                <a:cubicBezTo>
                  <a:pt x="12" y="234"/>
                  <a:pt x="12" y="235"/>
                  <a:pt x="11" y="237"/>
                </a:cubicBezTo>
                <a:cubicBezTo>
                  <a:pt x="10" y="241"/>
                  <a:pt x="9" y="244"/>
                  <a:pt x="8" y="248"/>
                </a:cubicBezTo>
                <a:cubicBezTo>
                  <a:pt x="8" y="251"/>
                  <a:pt x="7" y="254"/>
                  <a:pt x="7" y="257"/>
                </a:cubicBezTo>
                <a:cubicBezTo>
                  <a:pt x="5" y="265"/>
                  <a:pt x="4" y="272"/>
                  <a:pt x="3" y="280"/>
                </a:cubicBezTo>
                <a:cubicBezTo>
                  <a:pt x="2" y="284"/>
                  <a:pt x="2" y="284"/>
                  <a:pt x="2" y="284"/>
                </a:cubicBezTo>
                <a:cubicBezTo>
                  <a:pt x="2" y="288"/>
                  <a:pt x="2" y="291"/>
                  <a:pt x="1" y="294"/>
                </a:cubicBezTo>
                <a:cubicBezTo>
                  <a:pt x="1" y="307"/>
                  <a:pt x="1" y="307"/>
                  <a:pt x="1" y="307"/>
                </a:cubicBezTo>
                <a:cubicBezTo>
                  <a:pt x="0" y="315"/>
                  <a:pt x="0" y="322"/>
                  <a:pt x="1" y="328"/>
                </a:cubicBezTo>
                <a:cubicBezTo>
                  <a:pt x="1" y="341"/>
                  <a:pt x="1" y="341"/>
                  <a:pt x="1" y="341"/>
                </a:cubicBezTo>
                <a:cubicBezTo>
                  <a:pt x="4" y="365"/>
                  <a:pt x="4" y="365"/>
                  <a:pt x="4" y="365"/>
                </a:cubicBezTo>
                <a:cubicBezTo>
                  <a:pt x="19" y="365"/>
                  <a:pt x="19" y="365"/>
                  <a:pt x="19" y="365"/>
                </a:cubicBezTo>
                <a:cubicBezTo>
                  <a:pt x="20" y="341"/>
                  <a:pt x="20" y="341"/>
                  <a:pt x="20" y="341"/>
                </a:cubicBezTo>
                <a:cubicBezTo>
                  <a:pt x="21" y="329"/>
                  <a:pt x="21" y="329"/>
                  <a:pt x="21" y="329"/>
                </a:cubicBezTo>
                <a:cubicBezTo>
                  <a:pt x="22" y="323"/>
                  <a:pt x="22" y="317"/>
                  <a:pt x="23" y="310"/>
                </a:cubicBezTo>
                <a:cubicBezTo>
                  <a:pt x="26" y="297"/>
                  <a:pt x="26" y="297"/>
                  <a:pt x="26" y="297"/>
                </a:cubicBezTo>
                <a:cubicBezTo>
                  <a:pt x="26" y="295"/>
                  <a:pt x="27" y="292"/>
                  <a:pt x="28" y="289"/>
                </a:cubicBezTo>
                <a:cubicBezTo>
                  <a:pt x="29" y="284"/>
                  <a:pt x="29" y="284"/>
                  <a:pt x="29" y="284"/>
                </a:cubicBezTo>
                <a:cubicBezTo>
                  <a:pt x="30" y="278"/>
                  <a:pt x="32" y="271"/>
                  <a:pt x="35" y="264"/>
                </a:cubicBezTo>
                <a:cubicBezTo>
                  <a:pt x="36" y="262"/>
                  <a:pt x="36" y="259"/>
                  <a:pt x="37" y="256"/>
                </a:cubicBezTo>
                <a:cubicBezTo>
                  <a:pt x="38" y="253"/>
                  <a:pt x="40" y="250"/>
                  <a:pt x="41" y="247"/>
                </a:cubicBezTo>
                <a:cubicBezTo>
                  <a:pt x="42" y="246"/>
                  <a:pt x="42" y="244"/>
                  <a:pt x="43" y="242"/>
                </a:cubicBezTo>
                <a:cubicBezTo>
                  <a:pt x="46" y="235"/>
                  <a:pt x="46" y="235"/>
                  <a:pt x="46" y="235"/>
                </a:cubicBezTo>
                <a:cubicBezTo>
                  <a:pt x="49" y="228"/>
                  <a:pt x="49" y="228"/>
                  <a:pt x="49" y="228"/>
                </a:cubicBezTo>
                <a:cubicBezTo>
                  <a:pt x="50" y="226"/>
                  <a:pt x="51" y="225"/>
                  <a:pt x="52" y="223"/>
                </a:cubicBezTo>
                <a:cubicBezTo>
                  <a:pt x="53" y="220"/>
                  <a:pt x="55" y="217"/>
                  <a:pt x="56" y="214"/>
                </a:cubicBezTo>
                <a:cubicBezTo>
                  <a:pt x="65" y="200"/>
                  <a:pt x="65" y="200"/>
                  <a:pt x="65" y="200"/>
                </a:cubicBezTo>
                <a:cubicBezTo>
                  <a:pt x="66" y="197"/>
                  <a:pt x="68" y="195"/>
                  <a:pt x="70" y="192"/>
                </a:cubicBezTo>
                <a:cubicBezTo>
                  <a:pt x="71" y="190"/>
                  <a:pt x="73" y="189"/>
                  <a:pt x="74" y="187"/>
                </a:cubicBezTo>
                <a:cubicBezTo>
                  <a:pt x="75" y="185"/>
                  <a:pt x="75" y="185"/>
                  <a:pt x="75" y="185"/>
                </a:cubicBezTo>
                <a:cubicBezTo>
                  <a:pt x="76" y="183"/>
                  <a:pt x="77" y="182"/>
                  <a:pt x="78" y="181"/>
                </a:cubicBezTo>
                <a:cubicBezTo>
                  <a:pt x="83" y="175"/>
                  <a:pt x="83" y="175"/>
                  <a:pt x="83" y="175"/>
                </a:cubicBezTo>
                <a:cubicBezTo>
                  <a:pt x="84" y="173"/>
                  <a:pt x="85" y="172"/>
                  <a:pt x="86" y="170"/>
                </a:cubicBezTo>
                <a:cubicBezTo>
                  <a:pt x="88" y="168"/>
                  <a:pt x="90" y="165"/>
                  <a:pt x="93" y="163"/>
                </a:cubicBezTo>
                <a:cubicBezTo>
                  <a:pt x="103" y="152"/>
                  <a:pt x="103" y="152"/>
                  <a:pt x="103" y="152"/>
                </a:cubicBezTo>
                <a:cubicBezTo>
                  <a:pt x="105" y="149"/>
                  <a:pt x="107" y="147"/>
                  <a:pt x="109" y="145"/>
                </a:cubicBezTo>
                <a:cubicBezTo>
                  <a:pt x="111" y="144"/>
                  <a:pt x="112" y="143"/>
                  <a:pt x="113" y="142"/>
                </a:cubicBezTo>
                <a:cubicBezTo>
                  <a:pt x="115" y="140"/>
                  <a:pt x="115" y="140"/>
                  <a:pt x="115" y="140"/>
                </a:cubicBezTo>
                <a:cubicBezTo>
                  <a:pt x="118" y="137"/>
                  <a:pt x="120" y="135"/>
                  <a:pt x="123" y="133"/>
                </a:cubicBezTo>
                <a:cubicBezTo>
                  <a:pt x="134" y="124"/>
                  <a:pt x="134" y="124"/>
                  <a:pt x="134" y="124"/>
                </a:cubicBezTo>
                <a:cubicBezTo>
                  <a:pt x="136" y="123"/>
                  <a:pt x="138" y="121"/>
                  <a:pt x="140" y="120"/>
                </a:cubicBezTo>
                <a:cubicBezTo>
                  <a:pt x="141" y="119"/>
                  <a:pt x="142" y="118"/>
                  <a:pt x="143" y="117"/>
                </a:cubicBezTo>
                <a:cubicBezTo>
                  <a:pt x="151" y="112"/>
                  <a:pt x="151" y="112"/>
                  <a:pt x="151" y="112"/>
                </a:cubicBezTo>
                <a:cubicBezTo>
                  <a:pt x="170" y="170"/>
                  <a:pt x="170" y="170"/>
                  <a:pt x="170" y="170"/>
                </a:cubicBezTo>
                <a:lnTo>
                  <a:pt x="290" y="36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9" name="Title 1"/>
          <p:cNvSpPr txBox="1"/>
          <p:nvPr/>
        </p:nvSpPr>
        <p:spPr>
          <a:xfrm>
            <a:off x="12706353" y="2891041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System Upgrading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60" name="Details 1"/>
          <p:cNvSpPr txBox="1"/>
          <p:nvPr/>
        </p:nvSpPr>
        <p:spPr>
          <a:xfrm>
            <a:off x="12706353" y="3279268"/>
            <a:ext cx="8724898" cy="114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61" name="Title 1"/>
          <p:cNvSpPr txBox="1"/>
          <p:nvPr/>
        </p:nvSpPr>
        <p:spPr>
          <a:xfrm>
            <a:off x="12706353" y="4888589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System Upgrading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62" name="Details 1"/>
          <p:cNvSpPr txBox="1"/>
          <p:nvPr/>
        </p:nvSpPr>
        <p:spPr>
          <a:xfrm>
            <a:off x="12706353" y="5276816"/>
            <a:ext cx="8724898" cy="114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63" name="Title 1"/>
          <p:cNvSpPr txBox="1"/>
          <p:nvPr/>
        </p:nvSpPr>
        <p:spPr>
          <a:xfrm>
            <a:off x="12706353" y="6748021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System Upgrading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64" name="Details 1"/>
          <p:cNvSpPr txBox="1"/>
          <p:nvPr/>
        </p:nvSpPr>
        <p:spPr>
          <a:xfrm>
            <a:off x="12706353" y="7136248"/>
            <a:ext cx="8724898" cy="114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65" name="Title 1"/>
          <p:cNvSpPr txBox="1"/>
          <p:nvPr/>
        </p:nvSpPr>
        <p:spPr>
          <a:xfrm>
            <a:off x="12706353" y="8745569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System Upgrading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66" name="Details 1"/>
          <p:cNvSpPr txBox="1"/>
          <p:nvPr/>
        </p:nvSpPr>
        <p:spPr>
          <a:xfrm>
            <a:off x="12706353" y="9133796"/>
            <a:ext cx="8724898" cy="114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67" name="Title 1"/>
          <p:cNvSpPr txBox="1"/>
          <p:nvPr/>
        </p:nvSpPr>
        <p:spPr>
          <a:xfrm>
            <a:off x="12706353" y="10790621"/>
            <a:ext cx="52514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3F3F3F"/>
                </a:solidFill>
                <a:latin typeface="Poppins"/>
              </a:rPr>
              <a:t>System Upgrading</a:t>
            </a:r>
            <a:endParaRPr lang="id-ID" sz="2800" b="1" kern="1200" dirty="0">
              <a:solidFill>
                <a:srgbClr val="3F3F3F"/>
              </a:solidFill>
              <a:latin typeface="Poppins"/>
            </a:endParaRPr>
          </a:p>
        </p:txBody>
      </p:sp>
      <p:sp>
        <p:nvSpPr>
          <p:cNvPr id="68" name="Details 1"/>
          <p:cNvSpPr txBox="1"/>
          <p:nvPr/>
        </p:nvSpPr>
        <p:spPr>
          <a:xfrm>
            <a:off x="12706353" y="11178848"/>
            <a:ext cx="8724898" cy="114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>
              <a:lnSpc>
                <a:spcPct val="15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his </a:t>
            </a:r>
            <a:r>
              <a:rPr lang="en-US" sz="2400" b="1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Grea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Paragraph line is a sample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ipsu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dolor si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m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.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Consectetu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adipiscing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eliteiusmod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cs typeface="Arial" panose="020B0604020202020204" pitchFamily="34" charset="0"/>
              </a:rPr>
              <a:t>tempor</a:t>
            </a:r>
            <a:endParaRPr lang="en-US" sz="2400" kern="1200" dirty="0">
              <a:solidFill>
                <a:srgbClr val="3F3F3F"/>
              </a:solidFill>
              <a:latin typeface="Open Sans"/>
              <a:cs typeface="Arial" panose="020B0604020202020204" pitchFamily="34" charset="0"/>
            </a:endParaRPr>
          </a:p>
        </p:txBody>
      </p:sp>
      <p:grpSp>
        <p:nvGrpSpPr>
          <p:cNvPr id="69" name="Group 68"/>
          <p:cNvGrpSpPr/>
          <p:nvPr/>
        </p:nvGrpSpPr>
        <p:grpSpPr>
          <a:xfrm>
            <a:off x="11455505" y="3042222"/>
            <a:ext cx="1171982" cy="1173572"/>
            <a:chOff x="933450" y="3857625"/>
            <a:chExt cx="1171575" cy="1173163"/>
          </a:xfrm>
          <a:solidFill>
            <a:schemeClr val="accent1"/>
          </a:solidFill>
        </p:grpSpPr>
        <p:sp>
          <p:nvSpPr>
            <p:cNvPr id="70" name="Freeform 26"/>
            <p:cNvSpPr>
              <a:spLocks noEditPoints="1"/>
            </p:cNvSpPr>
            <p:nvPr/>
          </p:nvSpPr>
          <p:spPr bwMode="auto">
            <a:xfrm>
              <a:off x="933450" y="3857625"/>
              <a:ext cx="1171575" cy="1173163"/>
            </a:xfrm>
            <a:custGeom>
              <a:avLst/>
              <a:gdLst>
                <a:gd name="T0" fmla="*/ 269 w 565"/>
                <a:gd name="T1" fmla="*/ 0 h 566"/>
                <a:gd name="T2" fmla="*/ 226 w 565"/>
                <a:gd name="T3" fmla="*/ 53 h 566"/>
                <a:gd name="T4" fmla="*/ 160 w 565"/>
                <a:gd name="T5" fmla="*/ 27 h 566"/>
                <a:gd name="T6" fmla="*/ 141 w 565"/>
                <a:gd name="T7" fmla="*/ 93 h 566"/>
                <a:gd name="T8" fmla="*/ 73 w 565"/>
                <a:gd name="T9" fmla="*/ 92 h 566"/>
                <a:gd name="T10" fmla="*/ 80 w 565"/>
                <a:gd name="T11" fmla="*/ 160 h 566"/>
                <a:gd name="T12" fmla="*/ 14 w 565"/>
                <a:gd name="T13" fmla="*/ 188 h 566"/>
                <a:gd name="T14" fmla="*/ 48 w 565"/>
                <a:gd name="T15" fmla="*/ 248 h 566"/>
                <a:gd name="T16" fmla="*/ 0 w 565"/>
                <a:gd name="T17" fmla="*/ 296 h 566"/>
                <a:gd name="T18" fmla="*/ 53 w 565"/>
                <a:gd name="T19" fmla="*/ 339 h 566"/>
                <a:gd name="T20" fmla="*/ 27 w 565"/>
                <a:gd name="T21" fmla="*/ 405 h 566"/>
                <a:gd name="T22" fmla="*/ 93 w 565"/>
                <a:gd name="T23" fmla="*/ 424 h 566"/>
                <a:gd name="T24" fmla="*/ 92 w 565"/>
                <a:gd name="T25" fmla="*/ 492 h 566"/>
                <a:gd name="T26" fmla="*/ 160 w 565"/>
                <a:gd name="T27" fmla="*/ 485 h 566"/>
                <a:gd name="T28" fmla="*/ 188 w 565"/>
                <a:gd name="T29" fmla="*/ 550 h 566"/>
                <a:gd name="T30" fmla="*/ 248 w 565"/>
                <a:gd name="T31" fmla="*/ 517 h 566"/>
                <a:gd name="T32" fmla="*/ 296 w 565"/>
                <a:gd name="T33" fmla="*/ 566 h 566"/>
                <a:gd name="T34" fmla="*/ 339 w 565"/>
                <a:gd name="T35" fmla="*/ 513 h 566"/>
                <a:gd name="T36" fmla="*/ 405 w 565"/>
                <a:gd name="T37" fmla="*/ 538 h 566"/>
                <a:gd name="T38" fmla="*/ 424 w 565"/>
                <a:gd name="T39" fmla="*/ 473 h 566"/>
                <a:gd name="T40" fmla="*/ 492 w 565"/>
                <a:gd name="T41" fmla="*/ 473 h 566"/>
                <a:gd name="T42" fmla="*/ 485 w 565"/>
                <a:gd name="T43" fmla="*/ 405 h 566"/>
                <a:gd name="T44" fmla="*/ 550 w 565"/>
                <a:gd name="T45" fmla="*/ 377 h 566"/>
                <a:gd name="T46" fmla="*/ 517 w 565"/>
                <a:gd name="T47" fmla="*/ 317 h 566"/>
                <a:gd name="T48" fmla="*/ 565 w 565"/>
                <a:gd name="T49" fmla="*/ 269 h 566"/>
                <a:gd name="T50" fmla="*/ 512 w 565"/>
                <a:gd name="T51" fmla="*/ 226 h 566"/>
                <a:gd name="T52" fmla="*/ 538 w 565"/>
                <a:gd name="T53" fmla="*/ 160 h 566"/>
                <a:gd name="T54" fmla="*/ 472 w 565"/>
                <a:gd name="T55" fmla="*/ 141 h 566"/>
                <a:gd name="T56" fmla="*/ 473 w 565"/>
                <a:gd name="T57" fmla="*/ 73 h 566"/>
                <a:gd name="T58" fmla="*/ 405 w 565"/>
                <a:gd name="T59" fmla="*/ 80 h 566"/>
                <a:gd name="T60" fmla="*/ 377 w 565"/>
                <a:gd name="T61" fmla="*/ 15 h 566"/>
                <a:gd name="T62" fmla="*/ 317 w 565"/>
                <a:gd name="T63" fmla="*/ 48 h 566"/>
                <a:gd name="T64" fmla="*/ 328 w 565"/>
                <a:gd name="T65" fmla="*/ 121 h 566"/>
                <a:gd name="T66" fmla="*/ 237 w 565"/>
                <a:gd name="T67" fmla="*/ 445 h 566"/>
                <a:gd name="T68" fmla="*/ 328 w 565"/>
                <a:gd name="T69" fmla="*/ 121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5" h="566">
                  <a:moveTo>
                    <a:pt x="287" y="46"/>
                  </a:moveTo>
                  <a:cubicBezTo>
                    <a:pt x="269" y="0"/>
                    <a:pt x="269" y="0"/>
                    <a:pt x="269" y="0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26" y="53"/>
                    <a:pt x="226" y="53"/>
                    <a:pt x="226" y="53"/>
                  </a:cubicBezTo>
                  <a:cubicBezTo>
                    <a:pt x="215" y="55"/>
                    <a:pt x="205" y="59"/>
                    <a:pt x="194" y="63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33" y="99"/>
                    <a:pt x="125" y="105"/>
                    <a:pt x="118" y="112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80" y="160"/>
                    <a:pt x="80" y="160"/>
                    <a:pt x="80" y="160"/>
                  </a:cubicBezTo>
                  <a:cubicBezTo>
                    <a:pt x="74" y="169"/>
                    <a:pt x="69" y="179"/>
                    <a:pt x="65" y="190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5" y="223"/>
                    <a:pt x="5" y="223"/>
                    <a:pt x="5" y="223"/>
                  </a:cubicBezTo>
                  <a:cubicBezTo>
                    <a:pt x="48" y="248"/>
                    <a:pt x="48" y="248"/>
                    <a:pt x="48" y="248"/>
                  </a:cubicBezTo>
                  <a:cubicBezTo>
                    <a:pt x="47" y="258"/>
                    <a:pt x="46" y="268"/>
                    <a:pt x="46" y="278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4" y="332"/>
                    <a:pt x="4" y="332"/>
                    <a:pt x="4" y="332"/>
                  </a:cubicBezTo>
                  <a:cubicBezTo>
                    <a:pt x="53" y="339"/>
                    <a:pt x="53" y="339"/>
                    <a:pt x="53" y="339"/>
                  </a:cubicBezTo>
                  <a:cubicBezTo>
                    <a:pt x="55" y="350"/>
                    <a:pt x="59" y="360"/>
                    <a:pt x="63" y="371"/>
                  </a:cubicBezTo>
                  <a:cubicBezTo>
                    <a:pt x="27" y="405"/>
                    <a:pt x="27" y="405"/>
                    <a:pt x="27" y="405"/>
                  </a:cubicBezTo>
                  <a:cubicBezTo>
                    <a:pt x="45" y="436"/>
                    <a:pt x="45" y="436"/>
                    <a:pt x="45" y="436"/>
                  </a:cubicBezTo>
                  <a:cubicBezTo>
                    <a:pt x="93" y="424"/>
                    <a:pt x="93" y="424"/>
                    <a:pt x="93" y="424"/>
                  </a:cubicBezTo>
                  <a:cubicBezTo>
                    <a:pt x="99" y="432"/>
                    <a:pt x="105" y="440"/>
                    <a:pt x="112" y="447"/>
                  </a:cubicBezTo>
                  <a:cubicBezTo>
                    <a:pt x="92" y="492"/>
                    <a:pt x="92" y="492"/>
                    <a:pt x="92" y="492"/>
                  </a:cubicBezTo>
                  <a:cubicBezTo>
                    <a:pt x="120" y="515"/>
                    <a:pt x="120" y="515"/>
                    <a:pt x="120" y="515"/>
                  </a:cubicBezTo>
                  <a:cubicBezTo>
                    <a:pt x="160" y="485"/>
                    <a:pt x="160" y="485"/>
                    <a:pt x="160" y="485"/>
                  </a:cubicBezTo>
                  <a:cubicBezTo>
                    <a:pt x="169" y="491"/>
                    <a:pt x="179" y="496"/>
                    <a:pt x="189" y="500"/>
                  </a:cubicBezTo>
                  <a:cubicBezTo>
                    <a:pt x="188" y="550"/>
                    <a:pt x="188" y="550"/>
                    <a:pt x="188" y="550"/>
                  </a:cubicBezTo>
                  <a:cubicBezTo>
                    <a:pt x="223" y="560"/>
                    <a:pt x="223" y="560"/>
                    <a:pt x="223" y="560"/>
                  </a:cubicBezTo>
                  <a:cubicBezTo>
                    <a:pt x="248" y="517"/>
                    <a:pt x="248" y="517"/>
                    <a:pt x="248" y="517"/>
                  </a:cubicBezTo>
                  <a:cubicBezTo>
                    <a:pt x="258" y="518"/>
                    <a:pt x="268" y="519"/>
                    <a:pt x="278" y="519"/>
                  </a:cubicBezTo>
                  <a:cubicBezTo>
                    <a:pt x="296" y="566"/>
                    <a:pt x="296" y="566"/>
                    <a:pt x="296" y="566"/>
                  </a:cubicBezTo>
                  <a:cubicBezTo>
                    <a:pt x="332" y="562"/>
                    <a:pt x="332" y="562"/>
                    <a:pt x="332" y="562"/>
                  </a:cubicBezTo>
                  <a:cubicBezTo>
                    <a:pt x="339" y="513"/>
                    <a:pt x="339" y="513"/>
                    <a:pt x="339" y="513"/>
                  </a:cubicBezTo>
                  <a:cubicBezTo>
                    <a:pt x="350" y="510"/>
                    <a:pt x="360" y="507"/>
                    <a:pt x="371" y="502"/>
                  </a:cubicBezTo>
                  <a:cubicBezTo>
                    <a:pt x="405" y="538"/>
                    <a:pt x="405" y="538"/>
                    <a:pt x="405" y="538"/>
                  </a:cubicBezTo>
                  <a:cubicBezTo>
                    <a:pt x="436" y="521"/>
                    <a:pt x="436" y="521"/>
                    <a:pt x="436" y="521"/>
                  </a:cubicBezTo>
                  <a:cubicBezTo>
                    <a:pt x="424" y="473"/>
                    <a:pt x="424" y="473"/>
                    <a:pt x="424" y="473"/>
                  </a:cubicBezTo>
                  <a:cubicBezTo>
                    <a:pt x="432" y="467"/>
                    <a:pt x="440" y="460"/>
                    <a:pt x="447" y="453"/>
                  </a:cubicBezTo>
                  <a:cubicBezTo>
                    <a:pt x="492" y="473"/>
                    <a:pt x="492" y="473"/>
                    <a:pt x="492" y="473"/>
                  </a:cubicBezTo>
                  <a:cubicBezTo>
                    <a:pt x="515" y="445"/>
                    <a:pt x="515" y="445"/>
                    <a:pt x="515" y="445"/>
                  </a:cubicBezTo>
                  <a:cubicBezTo>
                    <a:pt x="485" y="405"/>
                    <a:pt x="485" y="405"/>
                    <a:pt x="485" y="405"/>
                  </a:cubicBezTo>
                  <a:cubicBezTo>
                    <a:pt x="491" y="396"/>
                    <a:pt x="496" y="386"/>
                    <a:pt x="500" y="376"/>
                  </a:cubicBezTo>
                  <a:cubicBezTo>
                    <a:pt x="550" y="377"/>
                    <a:pt x="550" y="377"/>
                    <a:pt x="550" y="377"/>
                  </a:cubicBezTo>
                  <a:cubicBezTo>
                    <a:pt x="560" y="342"/>
                    <a:pt x="560" y="342"/>
                    <a:pt x="560" y="342"/>
                  </a:cubicBezTo>
                  <a:cubicBezTo>
                    <a:pt x="517" y="317"/>
                    <a:pt x="517" y="317"/>
                    <a:pt x="517" y="317"/>
                  </a:cubicBezTo>
                  <a:cubicBezTo>
                    <a:pt x="518" y="307"/>
                    <a:pt x="519" y="297"/>
                    <a:pt x="519" y="287"/>
                  </a:cubicBezTo>
                  <a:cubicBezTo>
                    <a:pt x="565" y="269"/>
                    <a:pt x="565" y="269"/>
                    <a:pt x="565" y="269"/>
                  </a:cubicBezTo>
                  <a:cubicBezTo>
                    <a:pt x="561" y="233"/>
                    <a:pt x="561" y="233"/>
                    <a:pt x="561" y="233"/>
                  </a:cubicBezTo>
                  <a:cubicBezTo>
                    <a:pt x="512" y="226"/>
                    <a:pt x="512" y="226"/>
                    <a:pt x="512" y="226"/>
                  </a:cubicBezTo>
                  <a:cubicBezTo>
                    <a:pt x="510" y="216"/>
                    <a:pt x="506" y="205"/>
                    <a:pt x="502" y="195"/>
                  </a:cubicBezTo>
                  <a:cubicBezTo>
                    <a:pt x="538" y="160"/>
                    <a:pt x="538" y="160"/>
                    <a:pt x="538" y="160"/>
                  </a:cubicBezTo>
                  <a:cubicBezTo>
                    <a:pt x="520" y="129"/>
                    <a:pt x="520" y="129"/>
                    <a:pt x="520" y="129"/>
                  </a:cubicBezTo>
                  <a:cubicBezTo>
                    <a:pt x="472" y="141"/>
                    <a:pt x="472" y="141"/>
                    <a:pt x="472" y="141"/>
                  </a:cubicBezTo>
                  <a:cubicBezTo>
                    <a:pt x="466" y="133"/>
                    <a:pt x="460" y="126"/>
                    <a:pt x="453" y="118"/>
                  </a:cubicBezTo>
                  <a:cubicBezTo>
                    <a:pt x="473" y="73"/>
                    <a:pt x="473" y="73"/>
                    <a:pt x="473" y="73"/>
                  </a:cubicBezTo>
                  <a:cubicBezTo>
                    <a:pt x="445" y="51"/>
                    <a:pt x="445" y="51"/>
                    <a:pt x="445" y="51"/>
                  </a:cubicBezTo>
                  <a:cubicBezTo>
                    <a:pt x="405" y="80"/>
                    <a:pt x="405" y="80"/>
                    <a:pt x="405" y="80"/>
                  </a:cubicBezTo>
                  <a:cubicBezTo>
                    <a:pt x="396" y="75"/>
                    <a:pt x="386" y="69"/>
                    <a:pt x="376" y="65"/>
                  </a:cubicBezTo>
                  <a:cubicBezTo>
                    <a:pt x="377" y="15"/>
                    <a:pt x="377" y="15"/>
                    <a:pt x="377" y="15"/>
                  </a:cubicBezTo>
                  <a:cubicBezTo>
                    <a:pt x="342" y="5"/>
                    <a:pt x="342" y="5"/>
                    <a:pt x="342" y="5"/>
                  </a:cubicBezTo>
                  <a:cubicBezTo>
                    <a:pt x="317" y="48"/>
                    <a:pt x="317" y="48"/>
                    <a:pt x="317" y="48"/>
                  </a:cubicBezTo>
                  <a:cubicBezTo>
                    <a:pt x="307" y="47"/>
                    <a:pt x="297" y="46"/>
                    <a:pt x="287" y="46"/>
                  </a:cubicBezTo>
                  <a:close/>
                  <a:moveTo>
                    <a:pt x="328" y="121"/>
                  </a:moveTo>
                  <a:cubicBezTo>
                    <a:pt x="418" y="146"/>
                    <a:pt x="470" y="239"/>
                    <a:pt x="444" y="328"/>
                  </a:cubicBezTo>
                  <a:cubicBezTo>
                    <a:pt x="419" y="418"/>
                    <a:pt x="326" y="470"/>
                    <a:pt x="237" y="445"/>
                  </a:cubicBezTo>
                  <a:cubicBezTo>
                    <a:pt x="147" y="419"/>
                    <a:pt x="95" y="326"/>
                    <a:pt x="121" y="237"/>
                  </a:cubicBezTo>
                  <a:cubicBezTo>
                    <a:pt x="146" y="148"/>
                    <a:pt x="239" y="96"/>
                    <a:pt x="328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1" name="Freeform 27"/>
            <p:cNvSpPr>
              <a:spLocks noEditPoints="1"/>
            </p:cNvSpPr>
            <p:nvPr/>
          </p:nvSpPr>
          <p:spPr bwMode="auto">
            <a:xfrm>
              <a:off x="1360488" y="4284663"/>
              <a:ext cx="319088" cy="319088"/>
            </a:xfrm>
            <a:custGeom>
              <a:avLst/>
              <a:gdLst>
                <a:gd name="T0" fmla="*/ 77 w 154"/>
                <a:gd name="T1" fmla="*/ 0 h 154"/>
                <a:gd name="T2" fmla="*/ 0 w 154"/>
                <a:gd name="T3" fmla="*/ 77 h 154"/>
                <a:gd name="T4" fmla="*/ 77 w 154"/>
                <a:gd name="T5" fmla="*/ 154 h 154"/>
                <a:gd name="T6" fmla="*/ 154 w 154"/>
                <a:gd name="T7" fmla="*/ 77 h 154"/>
                <a:gd name="T8" fmla="*/ 77 w 154"/>
                <a:gd name="T9" fmla="*/ 0 h 154"/>
                <a:gd name="T10" fmla="*/ 77 w 154"/>
                <a:gd name="T11" fmla="*/ 51 h 154"/>
                <a:gd name="T12" fmla="*/ 103 w 154"/>
                <a:gd name="T13" fmla="*/ 77 h 154"/>
                <a:gd name="T14" fmla="*/ 77 w 154"/>
                <a:gd name="T15" fmla="*/ 103 h 154"/>
                <a:gd name="T16" fmla="*/ 51 w 154"/>
                <a:gd name="T17" fmla="*/ 77 h 154"/>
                <a:gd name="T18" fmla="*/ 77 w 154"/>
                <a:gd name="T19" fmla="*/ 5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" h="154">
                  <a:moveTo>
                    <a:pt x="77" y="0"/>
                  </a:moveTo>
                  <a:cubicBezTo>
                    <a:pt x="35" y="0"/>
                    <a:pt x="0" y="35"/>
                    <a:pt x="0" y="77"/>
                  </a:cubicBezTo>
                  <a:cubicBezTo>
                    <a:pt x="0" y="120"/>
                    <a:pt x="35" y="154"/>
                    <a:pt x="77" y="154"/>
                  </a:cubicBezTo>
                  <a:cubicBezTo>
                    <a:pt x="120" y="154"/>
                    <a:pt x="154" y="120"/>
                    <a:pt x="154" y="77"/>
                  </a:cubicBezTo>
                  <a:cubicBezTo>
                    <a:pt x="154" y="35"/>
                    <a:pt x="120" y="0"/>
                    <a:pt x="77" y="0"/>
                  </a:cubicBezTo>
                  <a:close/>
                  <a:moveTo>
                    <a:pt x="77" y="51"/>
                  </a:moveTo>
                  <a:cubicBezTo>
                    <a:pt x="92" y="51"/>
                    <a:pt x="103" y="63"/>
                    <a:pt x="103" y="77"/>
                  </a:cubicBezTo>
                  <a:cubicBezTo>
                    <a:pt x="103" y="92"/>
                    <a:pt x="92" y="103"/>
                    <a:pt x="77" y="103"/>
                  </a:cubicBezTo>
                  <a:cubicBezTo>
                    <a:pt x="63" y="103"/>
                    <a:pt x="51" y="92"/>
                    <a:pt x="51" y="77"/>
                  </a:cubicBezTo>
                  <a:cubicBezTo>
                    <a:pt x="51" y="63"/>
                    <a:pt x="63" y="51"/>
                    <a:pt x="77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11455505" y="4980712"/>
            <a:ext cx="1171982" cy="1173572"/>
            <a:chOff x="933450" y="3857625"/>
            <a:chExt cx="1171575" cy="1173163"/>
          </a:xfrm>
          <a:solidFill>
            <a:schemeClr val="accent2"/>
          </a:solidFill>
        </p:grpSpPr>
        <p:sp>
          <p:nvSpPr>
            <p:cNvPr id="73" name="Freeform 26"/>
            <p:cNvSpPr>
              <a:spLocks noEditPoints="1"/>
            </p:cNvSpPr>
            <p:nvPr/>
          </p:nvSpPr>
          <p:spPr bwMode="auto">
            <a:xfrm>
              <a:off x="933450" y="3857625"/>
              <a:ext cx="1171575" cy="1173163"/>
            </a:xfrm>
            <a:custGeom>
              <a:avLst/>
              <a:gdLst>
                <a:gd name="T0" fmla="*/ 269 w 565"/>
                <a:gd name="T1" fmla="*/ 0 h 566"/>
                <a:gd name="T2" fmla="*/ 226 w 565"/>
                <a:gd name="T3" fmla="*/ 53 h 566"/>
                <a:gd name="T4" fmla="*/ 160 w 565"/>
                <a:gd name="T5" fmla="*/ 27 h 566"/>
                <a:gd name="T6" fmla="*/ 141 w 565"/>
                <a:gd name="T7" fmla="*/ 93 h 566"/>
                <a:gd name="T8" fmla="*/ 73 w 565"/>
                <a:gd name="T9" fmla="*/ 92 h 566"/>
                <a:gd name="T10" fmla="*/ 80 w 565"/>
                <a:gd name="T11" fmla="*/ 160 h 566"/>
                <a:gd name="T12" fmla="*/ 14 w 565"/>
                <a:gd name="T13" fmla="*/ 188 h 566"/>
                <a:gd name="T14" fmla="*/ 48 w 565"/>
                <a:gd name="T15" fmla="*/ 248 h 566"/>
                <a:gd name="T16" fmla="*/ 0 w 565"/>
                <a:gd name="T17" fmla="*/ 296 h 566"/>
                <a:gd name="T18" fmla="*/ 53 w 565"/>
                <a:gd name="T19" fmla="*/ 339 h 566"/>
                <a:gd name="T20" fmla="*/ 27 w 565"/>
                <a:gd name="T21" fmla="*/ 405 h 566"/>
                <a:gd name="T22" fmla="*/ 93 w 565"/>
                <a:gd name="T23" fmla="*/ 424 h 566"/>
                <a:gd name="T24" fmla="*/ 92 w 565"/>
                <a:gd name="T25" fmla="*/ 492 h 566"/>
                <a:gd name="T26" fmla="*/ 160 w 565"/>
                <a:gd name="T27" fmla="*/ 485 h 566"/>
                <a:gd name="T28" fmla="*/ 188 w 565"/>
                <a:gd name="T29" fmla="*/ 550 h 566"/>
                <a:gd name="T30" fmla="*/ 248 w 565"/>
                <a:gd name="T31" fmla="*/ 517 h 566"/>
                <a:gd name="T32" fmla="*/ 296 w 565"/>
                <a:gd name="T33" fmla="*/ 566 h 566"/>
                <a:gd name="T34" fmla="*/ 339 w 565"/>
                <a:gd name="T35" fmla="*/ 513 h 566"/>
                <a:gd name="T36" fmla="*/ 405 w 565"/>
                <a:gd name="T37" fmla="*/ 538 h 566"/>
                <a:gd name="T38" fmla="*/ 424 w 565"/>
                <a:gd name="T39" fmla="*/ 473 h 566"/>
                <a:gd name="T40" fmla="*/ 492 w 565"/>
                <a:gd name="T41" fmla="*/ 473 h 566"/>
                <a:gd name="T42" fmla="*/ 485 w 565"/>
                <a:gd name="T43" fmla="*/ 405 h 566"/>
                <a:gd name="T44" fmla="*/ 550 w 565"/>
                <a:gd name="T45" fmla="*/ 377 h 566"/>
                <a:gd name="T46" fmla="*/ 517 w 565"/>
                <a:gd name="T47" fmla="*/ 317 h 566"/>
                <a:gd name="T48" fmla="*/ 565 w 565"/>
                <a:gd name="T49" fmla="*/ 269 h 566"/>
                <a:gd name="T50" fmla="*/ 512 w 565"/>
                <a:gd name="T51" fmla="*/ 226 h 566"/>
                <a:gd name="T52" fmla="*/ 538 w 565"/>
                <a:gd name="T53" fmla="*/ 160 h 566"/>
                <a:gd name="T54" fmla="*/ 472 w 565"/>
                <a:gd name="T55" fmla="*/ 141 h 566"/>
                <a:gd name="T56" fmla="*/ 473 w 565"/>
                <a:gd name="T57" fmla="*/ 73 h 566"/>
                <a:gd name="T58" fmla="*/ 405 w 565"/>
                <a:gd name="T59" fmla="*/ 80 h 566"/>
                <a:gd name="T60" fmla="*/ 377 w 565"/>
                <a:gd name="T61" fmla="*/ 15 h 566"/>
                <a:gd name="T62" fmla="*/ 317 w 565"/>
                <a:gd name="T63" fmla="*/ 48 h 566"/>
                <a:gd name="T64" fmla="*/ 328 w 565"/>
                <a:gd name="T65" fmla="*/ 121 h 566"/>
                <a:gd name="T66" fmla="*/ 237 w 565"/>
                <a:gd name="T67" fmla="*/ 445 h 566"/>
                <a:gd name="T68" fmla="*/ 328 w 565"/>
                <a:gd name="T69" fmla="*/ 121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5" h="566">
                  <a:moveTo>
                    <a:pt x="287" y="46"/>
                  </a:moveTo>
                  <a:cubicBezTo>
                    <a:pt x="269" y="0"/>
                    <a:pt x="269" y="0"/>
                    <a:pt x="269" y="0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26" y="53"/>
                    <a:pt x="226" y="53"/>
                    <a:pt x="226" y="53"/>
                  </a:cubicBezTo>
                  <a:cubicBezTo>
                    <a:pt x="215" y="55"/>
                    <a:pt x="205" y="59"/>
                    <a:pt x="194" y="63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33" y="99"/>
                    <a:pt x="125" y="105"/>
                    <a:pt x="118" y="112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80" y="160"/>
                    <a:pt x="80" y="160"/>
                    <a:pt x="80" y="160"/>
                  </a:cubicBezTo>
                  <a:cubicBezTo>
                    <a:pt x="74" y="169"/>
                    <a:pt x="69" y="179"/>
                    <a:pt x="65" y="190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5" y="223"/>
                    <a:pt x="5" y="223"/>
                    <a:pt x="5" y="223"/>
                  </a:cubicBezTo>
                  <a:cubicBezTo>
                    <a:pt x="48" y="248"/>
                    <a:pt x="48" y="248"/>
                    <a:pt x="48" y="248"/>
                  </a:cubicBezTo>
                  <a:cubicBezTo>
                    <a:pt x="47" y="258"/>
                    <a:pt x="46" y="268"/>
                    <a:pt x="46" y="278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4" y="332"/>
                    <a:pt x="4" y="332"/>
                    <a:pt x="4" y="332"/>
                  </a:cubicBezTo>
                  <a:cubicBezTo>
                    <a:pt x="53" y="339"/>
                    <a:pt x="53" y="339"/>
                    <a:pt x="53" y="339"/>
                  </a:cubicBezTo>
                  <a:cubicBezTo>
                    <a:pt x="55" y="350"/>
                    <a:pt x="59" y="360"/>
                    <a:pt x="63" y="371"/>
                  </a:cubicBezTo>
                  <a:cubicBezTo>
                    <a:pt x="27" y="405"/>
                    <a:pt x="27" y="405"/>
                    <a:pt x="27" y="405"/>
                  </a:cubicBezTo>
                  <a:cubicBezTo>
                    <a:pt x="45" y="436"/>
                    <a:pt x="45" y="436"/>
                    <a:pt x="45" y="436"/>
                  </a:cubicBezTo>
                  <a:cubicBezTo>
                    <a:pt x="93" y="424"/>
                    <a:pt x="93" y="424"/>
                    <a:pt x="93" y="424"/>
                  </a:cubicBezTo>
                  <a:cubicBezTo>
                    <a:pt x="99" y="432"/>
                    <a:pt x="105" y="440"/>
                    <a:pt x="112" y="447"/>
                  </a:cubicBezTo>
                  <a:cubicBezTo>
                    <a:pt x="92" y="492"/>
                    <a:pt x="92" y="492"/>
                    <a:pt x="92" y="492"/>
                  </a:cubicBezTo>
                  <a:cubicBezTo>
                    <a:pt x="120" y="515"/>
                    <a:pt x="120" y="515"/>
                    <a:pt x="120" y="515"/>
                  </a:cubicBezTo>
                  <a:cubicBezTo>
                    <a:pt x="160" y="485"/>
                    <a:pt x="160" y="485"/>
                    <a:pt x="160" y="485"/>
                  </a:cubicBezTo>
                  <a:cubicBezTo>
                    <a:pt x="169" y="491"/>
                    <a:pt x="179" y="496"/>
                    <a:pt x="189" y="500"/>
                  </a:cubicBezTo>
                  <a:cubicBezTo>
                    <a:pt x="188" y="550"/>
                    <a:pt x="188" y="550"/>
                    <a:pt x="188" y="550"/>
                  </a:cubicBezTo>
                  <a:cubicBezTo>
                    <a:pt x="223" y="560"/>
                    <a:pt x="223" y="560"/>
                    <a:pt x="223" y="560"/>
                  </a:cubicBezTo>
                  <a:cubicBezTo>
                    <a:pt x="248" y="517"/>
                    <a:pt x="248" y="517"/>
                    <a:pt x="248" y="517"/>
                  </a:cubicBezTo>
                  <a:cubicBezTo>
                    <a:pt x="258" y="518"/>
                    <a:pt x="268" y="519"/>
                    <a:pt x="278" y="519"/>
                  </a:cubicBezTo>
                  <a:cubicBezTo>
                    <a:pt x="296" y="566"/>
                    <a:pt x="296" y="566"/>
                    <a:pt x="296" y="566"/>
                  </a:cubicBezTo>
                  <a:cubicBezTo>
                    <a:pt x="332" y="562"/>
                    <a:pt x="332" y="562"/>
                    <a:pt x="332" y="562"/>
                  </a:cubicBezTo>
                  <a:cubicBezTo>
                    <a:pt x="339" y="513"/>
                    <a:pt x="339" y="513"/>
                    <a:pt x="339" y="513"/>
                  </a:cubicBezTo>
                  <a:cubicBezTo>
                    <a:pt x="350" y="510"/>
                    <a:pt x="360" y="507"/>
                    <a:pt x="371" y="502"/>
                  </a:cubicBezTo>
                  <a:cubicBezTo>
                    <a:pt x="405" y="538"/>
                    <a:pt x="405" y="538"/>
                    <a:pt x="405" y="538"/>
                  </a:cubicBezTo>
                  <a:cubicBezTo>
                    <a:pt x="436" y="521"/>
                    <a:pt x="436" y="521"/>
                    <a:pt x="436" y="521"/>
                  </a:cubicBezTo>
                  <a:cubicBezTo>
                    <a:pt x="424" y="473"/>
                    <a:pt x="424" y="473"/>
                    <a:pt x="424" y="473"/>
                  </a:cubicBezTo>
                  <a:cubicBezTo>
                    <a:pt x="432" y="467"/>
                    <a:pt x="440" y="460"/>
                    <a:pt x="447" y="453"/>
                  </a:cubicBezTo>
                  <a:cubicBezTo>
                    <a:pt x="492" y="473"/>
                    <a:pt x="492" y="473"/>
                    <a:pt x="492" y="473"/>
                  </a:cubicBezTo>
                  <a:cubicBezTo>
                    <a:pt x="515" y="445"/>
                    <a:pt x="515" y="445"/>
                    <a:pt x="515" y="445"/>
                  </a:cubicBezTo>
                  <a:cubicBezTo>
                    <a:pt x="485" y="405"/>
                    <a:pt x="485" y="405"/>
                    <a:pt x="485" y="405"/>
                  </a:cubicBezTo>
                  <a:cubicBezTo>
                    <a:pt x="491" y="396"/>
                    <a:pt x="496" y="386"/>
                    <a:pt x="500" y="376"/>
                  </a:cubicBezTo>
                  <a:cubicBezTo>
                    <a:pt x="550" y="377"/>
                    <a:pt x="550" y="377"/>
                    <a:pt x="550" y="377"/>
                  </a:cubicBezTo>
                  <a:cubicBezTo>
                    <a:pt x="560" y="342"/>
                    <a:pt x="560" y="342"/>
                    <a:pt x="560" y="342"/>
                  </a:cubicBezTo>
                  <a:cubicBezTo>
                    <a:pt x="517" y="317"/>
                    <a:pt x="517" y="317"/>
                    <a:pt x="517" y="317"/>
                  </a:cubicBezTo>
                  <a:cubicBezTo>
                    <a:pt x="518" y="307"/>
                    <a:pt x="519" y="297"/>
                    <a:pt x="519" y="287"/>
                  </a:cubicBezTo>
                  <a:cubicBezTo>
                    <a:pt x="565" y="269"/>
                    <a:pt x="565" y="269"/>
                    <a:pt x="565" y="269"/>
                  </a:cubicBezTo>
                  <a:cubicBezTo>
                    <a:pt x="561" y="233"/>
                    <a:pt x="561" y="233"/>
                    <a:pt x="561" y="233"/>
                  </a:cubicBezTo>
                  <a:cubicBezTo>
                    <a:pt x="512" y="226"/>
                    <a:pt x="512" y="226"/>
                    <a:pt x="512" y="226"/>
                  </a:cubicBezTo>
                  <a:cubicBezTo>
                    <a:pt x="510" y="216"/>
                    <a:pt x="506" y="205"/>
                    <a:pt x="502" y="195"/>
                  </a:cubicBezTo>
                  <a:cubicBezTo>
                    <a:pt x="538" y="160"/>
                    <a:pt x="538" y="160"/>
                    <a:pt x="538" y="160"/>
                  </a:cubicBezTo>
                  <a:cubicBezTo>
                    <a:pt x="520" y="129"/>
                    <a:pt x="520" y="129"/>
                    <a:pt x="520" y="129"/>
                  </a:cubicBezTo>
                  <a:cubicBezTo>
                    <a:pt x="472" y="141"/>
                    <a:pt x="472" y="141"/>
                    <a:pt x="472" y="141"/>
                  </a:cubicBezTo>
                  <a:cubicBezTo>
                    <a:pt x="466" y="133"/>
                    <a:pt x="460" y="126"/>
                    <a:pt x="453" y="118"/>
                  </a:cubicBezTo>
                  <a:cubicBezTo>
                    <a:pt x="473" y="73"/>
                    <a:pt x="473" y="73"/>
                    <a:pt x="473" y="73"/>
                  </a:cubicBezTo>
                  <a:cubicBezTo>
                    <a:pt x="445" y="51"/>
                    <a:pt x="445" y="51"/>
                    <a:pt x="445" y="51"/>
                  </a:cubicBezTo>
                  <a:cubicBezTo>
                    <a:pt x="405" y="80"/>
                    <a:pt x="405" y="80"/>
                    <a:pt x="405" y="80"/>
                  </a:cubicBezTo>
                  <a:cubicBezTo>
                    <a:pt x="396" y="75"/>
                    <a:pt x="386" y="69"/>
                    <a:pt x="376" y="65"/>
                  </a:cubicBezTo>
                  <a:cubicBezTo>
                    <a:pt x="377" y="15"/>
                    <a:pt x="377" y="15"/>
                    <a:pt x="377" y="15"/>
                  </a:cubicBezTo>
                  <a:cubicBezTo>
                    <a:pt x="342" y="5"/>
                    <a:pt x="342" y="5"/>
                    <a:pt x="342" y="5"/>
                  </a:cubicBezTo>
                  <a:cubicBezTo>
                    <a:pt x="317" y="48"/>
                    <a:pt x="317" y="48"/>
                    <a:pt x="317" y="48"/>
                  </a:cubicBezTo>
                  <a:cubicBezTo>
                    <a:pt x="307" y="47"/>
                    <a:pt x="297" y="46"/>
                    <a:pt x="287" y="46"/>
                  </a:cubicBezTo>
                  <a:close/>
                  <a:moveTo>
                    <a:pt x="328" y="121"/>
                  </a:moveTo>
                  <a:cubicBezTo>
                    <a:pt x="418" y="146"/>
                    <a:pt x="470" y="239"/>
                    <a:pt x="444" y="328"/>
                  </a:cubicBezTo>
                  <a:cubicBezTo>
                    <a:pt x="419" y="418"/>
                    <a:pt x="326" y="470"/>
                    <a:pt x="237" y="445"/>
                  </a:cubicBezTo>
                  <a:cubicBezTo>
                    <a:pt x="147" y="419"/>
                    <a:pt x="95" y="326"/>
                    <a:pt x="121" y="237"/>
                  </a:cubicBezTo>
                  <a:cubicBezTo>
                    <a:pt x="146" y="148"/>
                    <a:pt x="239" y="96"/>
                    <a:pt x="328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4" name="Freeform 27"/>
            <p:cNvSpPr>
              <a:spLocks noEditPoints="1"/>
            </p:cNvSpPr>
            <p:nvPr/>
          </p:nvSpPr>
          <p:spPr bwMode="auto">
            <a:xfrm>
              <a:off x="1360488" y="4284663"/>
              <a:ext cx="319088" cy="319088"/>
            </a:xfrm>
            <a:custGeom>
              <a:avLst/>
              <a:gdLst>
                <a:gd name="T0" fmla="*/ 77 w 154"/>
                <a:gd name="T1" fmla="*/ 0 h 154"/>
                <a:gd name="T2" fmla="*/ 0 w 154"/>
                <a:gd name="T3" fmla="*/ 77 h 154"/>
                <a:gd name="T4" fmla="*/ 77 w 154"/>
                <a:gd name="T5" fmla="*/ 154 h 154"/>
                <a:gd name="T6" fmla="*/ 154 w 154"/>
                <a:gd name="T7" fmla="*/ 77 h 154"/>
                <a:gd name="T8" fmla="*/ 77 w 154"/>
                <a:gd name="T9" fmla="*/ 0 h 154"/>
                <a:gd name="T10" fmla="*/ 77 w 154"/>
                <a:gd name="T11" fmla="*/ 51 h 154"/>
                <a:gd name="T12" fmla="*/ 103 w 154"/>
                <a:gd name="T13" fmla="*/ 77 h 154"/>
                <a:gd name="T14" fmla="*/ 77 w 154"/>
                <a:gd name="T15" fmla="*/ 103 h 154"/>
                <a:gd name="T16" fmla="*/ 51 w 154"/>
                <a:gd name="T17" fmla="*/ 77 h 154"/>
                <a:gd name="T18" fmla="*/ 77 w 154"/>
                <a:gd name="T19" fmla="*/ 5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" h="154">
                  <a:moveTo>
                    <a:pt x="77" y="0"/>
                  </a:moveTo>
                  <a:cubicBezTo>
                    <a:pt x="35" y="0"/>
                    <a:pt x="0" y="35"/>
                    <a:pt x="0" y="77"/>
                  </a:cubicBezTo>
                  <a:cubicBezTo>
                    <a:pt x="0" y="120"/>
                    <a:pt x="35" y="154"/>
                    <a:pt x="77" y="154"/>
                  </a:cubicBezTo>
                  <a:cubicBezTo>
                    <a:pt x="120" y="154"/>
                    <a:pt x="154" y="120"/>
                    <a:pt x="154" y="77"/>
                  </a:cubicBezTo>
                  <a:cubicBezTo>
                    <a:pt x="154" y="35"/>
                    <a:pt x="120" y="0"/>
                    <a:pt x="77" y="0"/>
                  </a:cubicBezTo>
                  <a:close/>
                  <a:moveTo>
                    <a:pt x="77" y="51"/>
                  </a:moveTo>
                  <a:cubicBezTo>
                    <a:pt x="92" y="51"/>
                    <a:pt x="103" y="63"/>
                    <a:pt x="103" y="77"/>
                  </a:cubicBezTo>
                  <a:cubicBezTo>
                    <a:pt x="103" y="92"/>
                    <a:pt x="92" y="103"/>
                    <a:pt x="77" y="103"/>
                  </a:cubicBezTo>
                  <a:cubicBezTo>
                    <a:pt x="63" y="103"/>
                    <a:pt x="51" y="92"/>
                    <a:pt x="51" y="77"/>
                  </a:cubicBezTo>
                  <a:cubicBezTo>
                    <a:pt x="51" y="63"/>
                    <a:pt x="63" y="51"/>
                    <a:pt x="77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11455505" y="6872392"/>
            <a:ext cx="1171982" cy="1173572"/>
            <a:chOff x="933450" y="3857625"/>
            <a:chExt cx="1171575" cy="1173163"/>
          </a:xfrm>
          <a:solidFill>
            <a:schemeClr val="accent3"/>
          </a:solidFill>
        </p:grpSpPr>
        <p:sp>
          <p:nvSpPr>
            <p:cNvPr id="76" name="Freeform 26"/>
            <p:cNvSpPr>
              <a:spLocks noEditPoints="1"/>
            </p:cNvSpPr>
            <p:nvPr/>
          </p:nvSpPr>
          <p:spPr bwMode="auto">
            <a:xfrm>
              <a:off x="933450" y="3857625"/>
              <a:ext cx="1171575" cy="1173163"/>
            </a:xfrm>
            <a:custGeom>
              <a:avLst/>
              <a:gdLst>
                <a:gd name="T0" fmla="*/ 269 w 565"/>
                <a:gd name="T1" fmla="*/ 0 h 566"/>
                <a:gd name="T2" fmla="*/ 226 w 565"/>
                <a:gd name="T3" fmla="*/ 53 h 566"/>
                <a:gd name="T4" fmla="*/ 160 w 565"/>
                <a:gd name="T5" fmla="*/ 27 h 566"/>
                <a:gd name="T6" fmla="*/ 141 w 565"/>
                <a:gd name="T7" fmla="*/ 93 h 566"/>
                <a:gd name="T8" fmla="*/ 73 w 565"/>
                <a:gd name="T9" fmla="*/ 92 h 566"/>
                <a:gd name="T10" fmla="*/ 80 w 565"/>
                <a:gd name="T11" fmla="*/ 160 h 566"/>
                <a:gd name="T12" fmla="*/ 14 w 565"/>
                <a:gd name="T13" fmla="*/ 188 h 566"/>
                <a:gd name="T14" fmla="*/ 48 w 565"/>
                <a:gd name="T15" fmla="*/ 248 h 566"/>
                <a:gd name="T16" fmla="*/ 0 w 565"/>
                <a:gd name="T17" fmla="*/ 296 h 566"/>
                <a:gd name="T18" fmla="*/ 53 w 565"/>
                <a:gd name="T19" fmla="*/ 339 h 566"/>
                <a:gd name="T20" fmla="*/ 27 w 565"/>
                <a:gd name="T21" fmla="*/ 405 h 566"/>
                <a:gd name="T22" fmla="*/ 93 w 565"/>
                <a:gd name="T23" fmla="*/ 424 h 566"/>
                <a:gd name="T24" fmla="*/ 92 w 565"/>
                <a:gd name="T25" fmla="*/ 492 h 566"/>
                <a:gd name="T26" fmla="*/ 160 w 565"/>
                <a:gd name="T27" fmla="*/ 485 h 566"/>
                <a:gd name="T28" fmla="*/ 188 w 565"/>
                <a:gd name="T29" fmla="*/ 550 h 566"/>
                <a:gd name="T30" fmla="*/ 248 w 565"/>
                <a:gd name="T31" fmla="*/ 517 h 566"/>
                <a:gd name="T32" fmla="*/ 296 w 565"/>
                <a:gd name="T33" fmla="*/ 566 h 566"/>
                <a:gd name="T34" fmla="*/ 339 w 565"/>
                <a:gd name="T35" fmla="*/ 513 h 566"/>
                <a:gd name="T36" fmla="*/ 405 w 565"/>
                <a:gd name="T37" fmla="*/ 538 h 566"/>
                <a:gd name="T38" fmla="*/ 424 w 565"/>
                <a:gd name="T39" fmla="*/ 473 h 566"/>
                <a:gd name="T40" fmla="*/ 492 w 565"/>
                <a:gd name="T41" fmla="*/ 473 h 566"/>
                <a:gd name="T42" fmla="*/ 485 w 565"/>
                <a:gd name="T43" fmla="*/ 405 h 566"/>
                <a:gd name="T44" fmla="*/ 550 w 565"/>
                <a:gd name="T45" fmla="*/ 377 h 566"/>
                <a:gd name="T46" fmla="*/ 517 w 565"/>
                <a:gd name="T47" fmla="*/ 317 h 566"/>
                <a:gd name="T48" fmla="*/ 565 w 565"/>
                <a:gd name="T49" fmla="*/ 269 h 566"/>
                <a:gd name="T50" fmla="*/ 512 w 565"/>
                <a:gd name="T51" fmla="*/ 226 h 566"/>
                <a:gd name="T52" fmla="*/ 538 w 565"/>
                <a:gd name="T53" fmla="*/ 160 h 566"/>
                <a:gd name="T54" fmla="*/ 472 w 565"/>
                <a:gd name="T55" fmla="*/ 141 h 566"/>
                <a:gd name="T56" fmla="*/ 473 w 565"/>
                <a:gd name="T57" fmla="*/ 73 h 566"/>
                <a:gd name="T58" fmla="*/ 405 w 565"/>
                <a:gd name="T59" fmla="*/ 80 h 566"/>
                <a:gd name="T60" fmla="*/ 377 w 565"/>
                <a:gd name="T61" fmla="*/ 15 h 566"/>
                <a:gd name="T62" fmla="*/ 317 w 565"/>
                <a:gd name="T63" fmla="*/ 48 h 566"/>
                <a:gd name="T64" fmla="*/ 328 w 565"/>
                <a:gd name="T65" fmla="*/ 121 h 566"/>
                <a:gd name="T66" fmla="*/ 237 w 565"/>
                <a:gd name="T67" fmla="*/ 445 h 566"/>
                <a:gd name="T68" fmla="*/ 328 w 565"/>
                <a:gd name="T69" fmla="*/ 121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5" h="566">
                  <a:moveTo>
                    <a:pt x="287" y="46"/>
                  </a:moveTo>
                  <a:cubicBezTo>
                    <a:pt x="269" y="0"/>
                    <a:pt x="269" y="0"/>
                    <a:pt x="269" y="0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26" y="53"/>
                    <a:pt x="226" y="53"/>
                    <a:pt x="226" y="53"/>
                  </a:cubicBezTo>
                  <a:cubicBezTo>
                    <a:pt x="215" y="55"/>
                    <a:pt x="205" y="59"/>
                    <a:pt x="194" y="63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33" y="99"/>
                    <a:pt x="125" y="105"/>
                    <a:pt x="118" y="112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80" y="160"/>
                    <a:pt x="80" y="160"/>
                    <a:pt x="80" y="160"/>
                  </a:cubicBezTo>
                  <a:cubicBezTo>
                    <a:pt x="74" y="169"/>
                    <a:pt x="69" y="179"/>
                    <a:pt x="65" y="190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5" y="223"/>
                    <a:pt x="5" y="223"/>
                    <a:pt x="5" y="223"/>
                  </a:cubicBezTo>
                  <a:cubicBezTo>
                    <a:pt x="48" y="248"/>
                    <a:pt x="48" y="248"/>
                    <a:pt x="48" y="248"/>
                  </a:cubicBezTo>
                  <a:cubicBezTo>
                    <a:pt x="47" y="258"/>
                    <a:pt x="46" y="268"/>
                    <a:pt x="46" y="278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4" y="332"/>
                    <a:pt x="4" y="332"/>
                    <a:pt x="4" y="332"/>
                  </a:cubicBezTo>
                  <a:cubicBezTo>
                    <a:pt x="53" y="339"/>
                    <a:pt x="53" y="339"/>
                    <a:pt x="53" y="339"/>
                  </a:cubicBezTo>
                  <a:cubicBezTo>
                    <a:pt x="55" y="350"/>
                    <a:pt x="59" y="360"/>
                    <a:pt x="63" y="371"/>
                  </a:cubicBezTo>
                  <a:cubicBezTo>
                    <a:pt x="27" y="405"/>
                    <a:pt x="27" y="405"/>
                    <a:pt x="27" y="405"/>
                  </a:cubicBezTo>
                  <a:cubicBezTo>
                    <a:pt x="45" y="436"/>
                    <a:pt x="45" y="436"/>
                    <a:pt x="45" y="436"/>
                  </a:cubicBezTo>
                  <a:cubicBezTo>
                    <a:pt x="93" y="424"/>
                    <a:pt x="93" y="424"/>
                    <a:pt x="93" y="424"/>
                  </a:cubicBezTo>
                  <a:cubicBezTo>
                    <a:pt x="99" y="432"/>
                    <a:pt x="105" y="440"/>
                    <a:pt x="112" y="447"/>
                  </a:cubicBezTo>
                  <a:cubicBezTo>
                    <a:pt x="92" y="492"/>
                    <a:pt x="92" y="492"/>
                    <a:pt x="92" y="492"/>
                  </a:cubicBezTo>
                  <a:cubicBezTo>
                    <a:pt x="120" y="515"/>
                    <a:pt x="120" y="515"/>
                    <a:pt x="120" y="515"/>
                  </a:cubicBezTo>
                  <a:cubicBezTo>
                    <a:pt x="160" y="485"/>
                    <a:pt x="160" y="485"/>
                    <a:pt x="160" y="485"/>
                  </a:cubicBezTo>
                  <a:cubicBezTo>
                    <a:pt x="169" y="491"/>
                    <a:pt x="179" y="496"/>
                    <a:pt x="189" y="500"/>
                  </a:cubicBezTo>
                  <a:cubicBezTo>
                    <a:pt x="188" y="550"/>
                    <a:pt x="188" y="550"/>
                    <a:pt x="188" y="550"/>
                  </a:cubicBezTo>
                  <a:cubicBezTo>
                    <a:pt x="223" y="560"/>
                    <a:pt x="223" y="560"/>
                    <a:pt x="223" y="560"/>
                  </a:cubicBezTo>
                  <a:cubicBezTo>
                    <a:pt x="248" y="517"/>
                    <a:pt x="248" y="517"/>
                    <a:pt x="248" y="517"/>
                  </a:cubicBezTo>
                  <a:cubicBezTo>
                    <a:pt x="258" y="518"/>
                    <a:pt x="268" y="519"/>
                    <a:pt x="278" y="519"/>
                  </a:cubicBezTo>
                  <a:cubicBezTo>
                    <a:pt x="296" y="566"/>
                    <a:pt x="296" y="566"/>
                    <a:pt x="296" y="566"/>
                  </a:cubicBezTo>
                  <a:cubicBezTo>
                    <a:pt x="332" y="562"/>
                    <a:pt x="332" y="562"/>
                    <a:pt x="332" y="562"/>
                  </a:cubicBezTo>
                  <a:cubicBezTo>
                    <a:pt x="339" y="513"/>
                    <a:pt x="339" y="513"/>
                    <a:pt x="339" y="513"/>
                  </a:cubicBezTo>
                  <a:cubicBezTo>
                    <a:pt x="350" y="510"/>
                    <a:pt x="360" y="507"/>
                    <a:pt x="371" y="502"/>
                  </a:cubicBezTo>
                  <a:cubicBezTo>
                    <a:pt x="405" y="538"/>
                    <a:pt x="405" y="538"/>
                    <a:pt x="405" y="538"/>
                  </a:cubicBezTo>
                  <a:cubicBezTo>
                    <a:pt x="436" y="521"/>
                    <a:pt x="436" y="521"/>
                    <a:pt x="436" y="521"/>
                  </a:cubicBezTo>
                  <a:cubicBezTo>
                    <a:pt x="424" y="473"/>
                    <a:pt x="424" y="473"/>
                    <a:pt x="424" y="473"/>
                  </a:cubicBezTo>
                  <a:cubicBezTo>
                    <a:pt x="432" y="467"/>
                    <a:pt x="440" y="460"/>
                    <a:pt x="447" y="453"/>
                  </a:cubicBezTo>
                  <a:cubicBezTo>
                    <a:pt x="492" y="473"/>
                    <a:pt x="492" y="473"/>
                    <a:pt x="492" y="473"/>
                  </a:cubicBezTo>
                  <a:cubicBezTo>
                    <a:pt x="515" y="445"/>
                    <a:pt x="515" y="445"/>
                    <a:pt x="515" y="445"/>
                  </a:cubicBezTo>
                  <a:cubicBezTo>
                    <a:pt x="485" y="405"/>
                    <a:pt x="485" y="405"/>
                    <a:pt x="485" y="405"/>
                  </a:cubicBezTo>
                  <a:cubicBezTo>
                    <a:pt x="491" y="396"/>
                    <a:pt x="496" y="386"/>
                    <a:pt x="500" y="376"/>
                  </a:cubicBezTo>
                  <a:cubicBezTo>
                    <a:pt x="550" y="377"/>
                    <a:pt x="550" y="377"/>
                    <a:pt x="550" y="377"/>
                  </a:cubicBezTo>
                  <a:cubicBezTo>
                    <a:pt x="560" y="342"/>
                    <a:pt x="560" y="342"/>
                    <a:pt x="560" y="342"/>
                  </a:cubicBezTo>
                  <a:cubicBezTo>
                    <a:pt x="517" y="317"/>
                    <a:pt x="517" y="317"/>
                    <a:pt x="517" y="317"/>
                  </a:cubicBezTo>
                  <a:cubicBezTo>
                    <a:pt x="518" y="307"/>
                    <a:pt x="519" y="297"/>
                    <a:pt x="519" y="287"/>
                  </a:cubicBezTo>
                  <a:cubicBezTo>
                    <a:pt x="565" y="269"/>
                    <a:pt x="565" y="269"/>
                    <a:pt x="565" y="269"/>
                  </a:cubicBezTo>
                  <a:cubicBezTo>
                    <a:pt x="561" y="233"/>
                    <a:pt x="561" y="233"/>
                    <a:pt x="561" y="233"/>
                  </a:cubicBezTo>
                  <a:cubicBezTo>
                    <a:pt x="512" y="226"/>
                    <a:pt x="512" y="226"/>
                    <a:pt x="512" y="226"/>
                  </a:cubicBezTo>
                  <a:cubicBezTo>
                    <a:pt x="510" y="216"/>
                    <a:pt x="506" y="205"/>
                    <a:pt x="502" y="195"/>
                  </a:cubicBezTo>
                  <a:cubicBezTo>
                    <a:pt x="538" y="160"/>
                    <a:pt x="538" y="160"/>
                    <a:pt x="538" y="160"/>
                  </a:cubicBezTo>
                  <a:cubicBezTo>
                    <a:pt x="520" y="129"/>
                    <a:pt x="520" y="129"/>
                    <a:pt x="520" y="129"/>
                  </a:cubicBezTo>
                  <a:cubicBezTo>
                    <a:pt x="472" y="141"/>
                    <a:pt x="472" y="141"/>
                    <a:pt x="472" y="141"/>
                  </a:cubicBezTo>
                  <a:cubicBezTo>
                    <a:pt x="466" y="133"/>
                    <a:pt x="460" y="126"/>
                    <a:pt x="453" y="118"/>
                  </a:cubicBezTo>
                  <a:cubicBezTo>
                    <a:pt x="473" y="73"/>
                    <a:pt x="473" y="73"/>
                    <a:pt x="473" y="73"/>
                  </a:cubicBezTo>
                  <a:cubicBezTo>
                    <a:pt x="445" y="51"/>
                    <a:pt x="445" y="51"/>
                    <a:pt x="445" y="51"/>
                  </a:cubicBezTo>
                  <a:cubicBezTo>
                    <a:pt x="405" y="80"/>
                    <a:pt x="405" y="80"/>
                    <a:pt x="405" y="80"/>
                  </a:cubicBezTo>
                  <a:cubicBezTo>
                    <a:pt x="396" y="75"/>
                    <a:pt x="386" y="69"/>
                    <a:pt x="376" y="65"/>
                  </a:cubicBezTo>
                  <a:cubicBezTo>
                    <a:pt x="377" y="15"/>
                    <a:pt x="377" y="15"/>
                    <a:pt x="377" y="15"/>
                  </a:cubicBezTo>
                  <a:cubicBezTo>
                    <a:pt x="342" y="5"/>
                    <a:pt x="342" y="5"/>
                    <a:pt x="342" y="5"/>
                  </a:cubicBezTo>
                  <a:cubicBezTo>
                    <a:pt x="317" y="48"/>
                    <a:pt x="317" y="48"/>
                    <a:pt x="317" y="48"/>
                  </a:cubicBezTo>
                  <a:cubicBezTo>
                    <a:pt x="307" y="47"/>
                    <a:pt x="297" y="46"/>
                    <a:pt x="287" y="46"/>
                  </a:cubicBezTo>
                  <a:close/>
                  <a:moveTo>
                    <a:pt x="328" y="121"/>
                  </a:moveTo>
                  <a:cubicBezTo>
                    <a:pt x="418" y="146"/>
                    <a:pt x="470" y="239"/>
                    <a:pt x="444" y="328"/>
                  </a:cubicBezTo>
                  <a:cubicBezTo>
                    <a:pt x="419" y="418"/>
                    <a:pt x="326" y="470"/>
                    <a:pt x="237" y="445"/>
                  </a:cubicBezTo>
                  <a:cubicBezTo>
                    <a:pt x="147" y="419"/>
                    <a:pt x="95" y="326"/>
                    <a:pt x="121" y="237"/>
                  </a:cubicBezTo>
                  <a:cubicBezTo>
                    <a:pt x="146" y="148"/>
                    <a:pt x="239" y="96"/>
                    <a:pt x="328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7" name="Freeform 27"/>
            <p:cNvSpPr>
              <a:spLocks noEditPoints="1"/>
            </p:cNvSpPr>
            <p:nvPr/>
          </p:nvSpPr>
          <p:spPr bwMode="auto">
            <a:xfrm>
              <a:off x="1360488" y="4284663"/>
              <a:ext cx="319088" cy="319088"/>
            </a:xfrm>
            <a:custGeom>
              <a:avLst/>
              <a:gdLst>
                <a:gd name="T0" fmla="*/ 77 w 154"/>
                <a:gd name="T1" fmla="*/ 0 h 154"/>
                <a:gd name="T2" fmla="*/ 0 w 154"/>
                <a:gd name="T3" fmla="*/ 77 h 154"/>
                <a:gd name="T4" fmla="*/ 77 w 154"/>
                <a:gd name="T5" fmla="*/ 154 h 154"/>
                <a:gd name="T6" fmla="*/ 154 w 154"/>
                <a:gd name="T7" fmla="*/ 77 h 154"/>
                <a:gd name="T8" fmla="*/ 77 w 154"/>
                <a:gd name="T9" fmla="*/ 0 h 154"/>
                <a:gd name="T10" fmla="*/ 77 w 154"/>
                <a:gd name="T11" fmla="*/ 51 h 154"/>
                <a:gd name="T12" fmla="*/ 103 w 154"/>
                <a:gd name="T13" fmla="*/ 77 h 154"/>
                <a:gd name="T14" fmla="*/ 77 w 154"/>
                <a:gd name="T15" fmla="*/ 103 h 154"/>
                <a:gd name="T16" fmla="*/ 51 w 154"/>
                <a:gd name="T17" fmla="*/ 77 h 154"/>
                <a:gd name="T18" fmla="*/ 77 w 154"/>
                <a:gd name="T19" fmla="*/ 5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" h="154">
                  <a:moveTo>
                    <a:pt x="77" y="0"/>
                  </a:moveTo>
                  <a:cubicBezTo>
                    <a:pt x="35" y="0"/>
                    <a:pt x="0" y="35"/>
                    <a:pt x="0" y="77"/>
                  </a:cubicBezTo>
                  <a:cubicBezTo>
                    <a:pt x="0" y="120"/>
                    <a:pt x="35" y="154"/>
                    <a:pt x="77" y="154"/>
                  </a:cubicBezTo>
                  <a:cubicBezTo>
                    <a:pt x="120" y="154"/>
                    <a:pt x="154" y="120"/>
                    <a:pt x="154" y="77"/>
                  </a:cubicBezTo>
                  <a:cubicBezTo>
                    <a:pt x="154" y="35"/>
                    <a:pt x="120" y="0"/>
                    <a:pt x="77" y="0"/>
                  </a:cubicBezTo>
                  <a:close/>
                  <a:moveTo>
                    <a:pt x="77" y="51"/>
                  </a:moveTo>
                  <a:cubicBezTo>
                    <a:pt x="92" y="51"/>
                    <a:pt x="103" y="63"/>
                    <a:pt x="103" y="77"/>
                  </a:cubicBezTo>
                  <a:cubicBezTo>
                    <a:pt x="103" y="92"/>
                    <a:pt x="92" y="103"/>
                    <a:pt x="77" y="103"/>
                  </a:cubicBezTo>
                  <a:cubicBezTo>
                    <a:pt x="63" y="103"/>
                    <a:pt x="51" y="92"/>
                    <a:pt x="51" y="77"/>
                  </a:cubicBezTo>
                  <a:cubicBezTo>
                    <a:pt x="51" y="63"/>
                    <a:pt x="63" y="51"/>
                    <a:pt x="77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11455505" y="8905200"/>
            <a:ext cx="1171982" cy="1173572"/>
            <a:chOff x="933450" y="3857625"/>
            <a:chExt cx="1171575" cy="1173163"/>
          </a:xfrm>
          <a:solidFill>
            <a:schemeClr val="accent4"/>
          </a:solidFill>
        </p:grpSpPr>
        <p:sp>
          <p:nvSpPr>
            <p:cNvPr id="79" name="Freeform 26"/>
            <p:cNvSpPr>
              <a:spLocks noEditPoints="1"/>
            </p:cNvSpPr>
            <p:nvPr/>
          </p:nvSpPr>
          <p:spPr bwMode="auto">
            <a:xfrm>
              <a:off x="933450" y="3857625"/>
              <a:ext cx="1171575" cy="1173163"/>
            </a:xfrm>
            <a:custGeom>
              <a:avLst/>
              <a:gdLst>
                <a:gd name="T0" fmla="*/ 269 w 565"/>
                <a:gd name="T1" fmla="*/ 0 h 566"/>
                <a:gd name="T2" fmla="*/ 226 w 565"/>
                <a:gd name="T3" fmla="*/ 53 h 566"/>
                <a:gd name="T4" fmla="*/ 160 w 565"/>
                <a:gd name="T5" fmla="*/ 27 h 566"/>
                <a:gd name="T6" fmla="*/ 141 w 565"/>
                <a:gd name="T7" fmla="*/ 93 h 566"/>
                <a:gd name="T8" fmla="*/ 73 w 565"/>
                <a:gd name="T9" fmla="*/ 92 h 566"/>
                <a:gd name="T10" fmla="*/ 80 w 565"/>
                <a:gd name="T11" fmla="*/ 160 h 566"/>
                <a:gd name="T12" fmla="*/ 14 w 565"/>
                <a:gd name="T13" fmla="*/ 188 h 566"/>
                <a:gd name="T14" fmla="*/ 48 w 565"/>
                <a:gd name="T15" fmla="*/ 248 h 566"/>
                <a:gd name="T16" fmla="*/ 0 w 565"/>
                <a:gd name="T17" fmla="*/ 296 h 566"/>
                <a:gd name="T18" fmla="*/ 53 w 565"/>
                <a:gd name="T19" fmla="*/ 339 h 566"/>
                <a:gd name="T20" fmla="*/ 27 w 565"/>
                <a:gd name="T21" fmla="*/ 405 h 566"/>
                <a:gd name="T22" fmla="*/ 93 w 565"/>
                <a:gd name="T23" fmla="*/ 424 h 566"/>
                <a:gd name="T24" fmla="*/ 92 w 565"/>
                <a:gd name="T25" fmla="*/ 492 h 566"/>
                <a:gd name="T26" fmla="*/ 160 w 565"/>
                <a:gd name="T27" fmla="*/ 485 h 566"/>
                <a:gd name="T28" fmla="*/ 188 w 565"/>
                <a:gd name="T29" fmla="*/ 550 h 566"/>
                <a:gd name="T30" fmla="*/ 248 w 565"/>
                <a:gd name="T31" fmla="*/ 517 h 566"/>
                <a:gd name="T32" fmla="*/ 296 w 565"/>
                <a:gd name="T33" fmla="*/ 566 h 566"/>
                <a:gd name="T34" fmla="*/ 339 w 565"/>
                <a:gd name="T35" fmla="*/ 513 h 566"/>
                <a:gd name="T36" fmla="*/ 405 w 565"/>
                <a:gd name="T37" fmla="*/ 538 h 566"/>
                <a:gd name="T38" fmla="*/ 424 w 565"/>
                <a:gd name="T39" fmla="*/ 473 h 566"/>
                <a:gd name="T40" fmla="*/ 492 w 565"/>
                <a:gd name="T41" fmla="*/ 473 h 566"/>
                <a:gd name="T42" fmla="*/ 485 w 565"/>
                <a:gd name="T43" fmla="*/ 405 h 566"/>
                <a:gd name="T44" fmla="*/ 550 w 565"/>
                <a:gd name="T45" fmla="*/ 377 h 566"/>
                <a:gd name="T46" fmla="*/ 517 w 565"/>
                <a:gd name="T47" fmla="*/ 317 h 566"/>
                <a:gd name="T48" fmla="*/ 565 w 565"/>
                <a:gd name="T49" fmla="*/ 269 h 566"/>
                <a:gd name="T50" fmla="*/ 512 w 565"/>
                <a:gd name="T51" fmla="*/ 226 h 566"/>
                <a:gd name="T52" fmla="*/ 538 w 565"/>
                <a:gd name="T53" fmla="*/ 160 h 566"/>
                <a:gd name="T54" fmla="*/ 472 w 565"/>
                <a:gd name="T55" fmla="*/ 141 h 566"/>
                <a:gd name="T56" fmla="*/ 473 w 565"/>
                <a:gd name="T57" fmla="*/ 73 h 566"/>
                <a:gd name="T58" fmla="*/ 405 w 565"/>
                <a:gd name="T59" fmla="*/ 80 h 566"/>
                <a:gd name="T60" fmla="*/ 377 w 565"/>
                <a:gd name="T61" fmla="*/ 15 h 566"/>
                <a:gd name="T62" fmla="*/ 317 w 565"/>
                <a:gd name="T63" fmla="*/ 48 h 566"/>
                <a:gd name="T64" fmla="*/ 328 w 565"/>
                <a:gd name="T65" fmla="*/ 121 h 566"/>
                <a:gd name="T66" fmla="*/ 237 w 565"/>
                <a:gd name="T67" fmla="*/ 445 h 566"/>
                <a:gd name="T68" fmla="*/ 328 w 565"/>
                <a:gd name="T69" fmla="*/ 121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5" h="566">
                  <a:moveTo>
                    <a:pt x="287" y="46"/>
                  </a:moveTo>
                  <a:cubicBezTo>
                    <a:pt x="269" y="0"/>
                    <a:pt x="269" y="0"/>
                    <a:pt x="269" y="0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26" y="53"/>
                    <a:pt x="226" y="53"/>
                    <a:pt x="226" y="53"/>
                  </a:cubicBezTo>
                  <a:cubicBezTo>
                    <a:pt x="215" y="55"/>
                    <a:pt x="205" y="59"/>
                    <a:pt x="194" y="63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33" y="99"/>
                    <a:pt x="125" y="105"/>
                    <a:pt x="118" y="112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80" y="160"/>
                    <a:pt x="80" y="160"/>
                    <a:pt x="80" y="160"/>
                  </a:cubicBezTo>
                  <a:cubicBezTo>
                    <a:pt x="74" y="169"/>
                    <a:pt x="69" y="179"/>
                    <a:pt x="65" y="190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5" y="223"/>
                    <a:pt x="5" y="223"/>
                    <a:pt x="5" y="223"/>
                  </a:cubicBezTo>
                  <a:cubicBezTo>
                    <a:pt x="48" y="248"/>
                    <a:pt x="48" y="248"/>
                    <a:pt x="48" y="248"/>
                  </a:cubicBezTo>
                  <a:cubicBezTo>
                    <a:pt x="47" y="258"/>
                    <a:pt x="46" y="268"/>
                    <a:pt x="46" y="278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4" y="332"/>
                    <a:pt x="4" y="332"/>
                    <a:pt x="4" y="332"/>
                  </a:cubicBezTo>
                  <a:cubicBezTo>
                    <a:pt x="53" y="339"/>
                    <a:pt x="53" y="339"/>
                    <a:pt x="53" y="339"/>
                  </a:cubicBezTo>
                  <a:cubicBezTo>
                    <a:pt x="55" y="350"/>
                    <a:pt x="59" y="360"/>
                    <a:pt x="63" y="371"/>
                  </a:cubicBezTo>
                  <a:cubicBezTo>
                    <a:pt x="27" y="405"/>
                    <a:pt x="27" y="405"/>
                    <a:pt x="27" y="405"/>
                  </a:cubicBezTo>
                  <a:cubicBezTo>
                    <a:pt x="45" y="436"/>
                    <a:pt x="45" y="436"/>
                    <a:pt x="45" y="436"/>
                  </a:cubicBezTo>
                  <a:cubicBezTo>
                    <a:pt x="93" y="424"/>
                    <a:pt x="93" y="424"/>
                    <a:pt x="93" y="424"/>
                  </a:cubicBezTo>
                  <a:cubicBezTo>
                    <a:pt x="99" y="432"/>
                    <a:pt x="105" y="440"/>
                    <a:pt x="112" y="447"/>
                  </a:cubicBezTo>
                  <a:cubicBezTo>
                    <a:pt x="92" y="492"/>
                    <a:pt x="92" y="492"/>
                    <a:pt x="92" y="492"/>
                  </a:cubicBezTo>
                  <a:cubicBezTo>
                    <a:pt x="120" y="515"/>
                    <a:pt x="120" y="515"/>
                    <a:pt x="120" y="515"/>
                  </a:cubicBezTo>
                  <a:cubicBezTo>
                    <a:pt x="160" y="485"/>
                    <a:pt x="160" y="485"/>
                    <a:pt x="160" y="485"/>
                  </a:cubicBezTo>
                  <a:cubicBezTo>
                    <a:pt x="169" y="491"/>
                    <a:pt x="179" y="496"/>
                    <a:pt x="189" y="500"/>
                  </a:cubicBezTo>
                  <a:cubicBezTo>
                    <a:pt x="188" y="550"/>
                    <a:pt x="188" y="550"/>
                    <a:pt x="188" y="550"/>
                  </a:cubicBezTo>
                  <a:cubicBezTo>
                    <a:pt x="223" y="560"/>
                    <a:pt x="223" y="560"/>
                    <a:pt x="223" y="560"/>
                  </a:cubicBezTo>
                  <a:cubicBezTo>
                    <a:pt x="248" y="517"/>
                    <a:pt x="248" y="517"/>
                    <a:pt x="248" y="517"/>
                  </a:cubicBezTo>
                  <a:cubicBezTo>
                    <a:pt x="258" y="518"/>
                    <a:pt x="268" y="519"/>
                    <a:pt x="278" y="519"/>
                  </a:cubicBezTo>
                  <a:cubicBezTo>
                    <a:pt x="296" y="566"/>
                    <a:pt x="296" y="566"/>
                    <a:pt x="296" y="566"/>
                  </a:cubicBezTo>
                  <a:cubicBezTo>
                    <a:pt x="332" y="562"/>
                    <a:pt x="332" y="562"/>
                    <a:pt x="332" y="562"/>
                  </a:cubicBezTo>
                  <a:cubicBezTo>
                    <a:pt x="339" y="513"/>
                    <a:pt x="339" y="513"/>
                    <a:pt x="339" y="513"/>
                  </a:cubicBezTo>
                  <a:cubicBezTo>
                    <a:pt x="350" y="510"/>
                    <a:pt x="360" y="507"/>
                    <a:pt x="371" y="502"/>
                  </a:cubicBezTo>
                  <a:cubicBezTo>
                    <a:pt x="405" y="538"/>
                    <a:pt x="405" y="538"/>
                    <a:pt x="405" y="538"/>
                  </a:cubicBezTo>
                  <a:cubicBezTo>
                    <a:pt x="436" y="521"/>
                    <a:pt x="436" y="521"/>
                    <a:pt x="436" y="521"/>
                  </a:cubicBezTo>
                  <a:cubicBezTo>
                    <a:pt x="424" y="473"/>
                    <a:pt x="424" y="473"/>
                    <a:pt x="424" y="473"/>
                  </a:cubicBezTo>
                  <a:cubicBezTo>
                    <a:pt x="432" y="467"/>
                    <a:pt x="440" y="460"/>
                    <a:pt x="447" y="453"/>
                  </a:cubicBezTo>
                  <a:cubicBezTo>
                    <a:pt x="492" y="473"/>
                    <a:pt x="492" y="473"/>
                    <a:pt x="492" y="473"/>
                  </a:cubicBezTo>
                  <a:cubicBezTo>
                    <a:pt x="515" y="445"/>
                    <a:pt x="515" y="445"/>
                    <a:pt x="515" y="445"/>
                  </a:cubicBezTo>
                  <a:cubicBezTo>
                    <a:pt x="485" y="405"/>
                    <a:pt x="485" y="405"/>
                    <a:pt x="485" y="405"/>
                  </a:cubicBezTo>
                  <a:cubicBezTo>
                    <a:pt x="491" y="396"/>
                    <a:pt x="496" y="386"/>
                    <a:pt x="500" y="376"/>
                  </a:cubicBezTo>
                  <a:cubicBezTo>
                    <a:pt x="550" y="377"/>
                    <a:pt x="550" y="377"/>
                    <a:pt x="550" y="377"/>
                  </a:cubicBezTo>
                  <a:cubicBezTo>
                    <a:pt x="560" y="342"/>
                    <a:pt x="560" y="342"/>
                    <a:pt x="560" y="342"/>
                  </a:cubicBezTo>
                  <a:cubicBezTo>
                    <a:pt x="517" y="317"/>
                    <a:pt x="517" y="317"/>
                    <a:pt x="517" y="317"/>
                  </a:cubicBezTo>
                  <a:cubicBezTo>
                    <a:pt x="518" y="307"/>
                    <a:pt x="519" y="297"/>
                    <a:pt x="519" y="287"/>
                  </a:cubicBezTo>
                  <a:cubicBezTo>
                    <a:pt x="565" y="269"/>
                    <a:pt x="565" y="269"/>
                    <a:pt x="565" y="269"/>
                  </a:cubicBezTo>
                  <a:cubicBezTo>
                    <a:pt x="561" y="233"/>
                    <a:pt x="561" y="233"/>
                    <a:pt x="561" y="233"/>
                  </a:cubicBezTo>
                  <a:cubicBezTo>
                    <a:pt x="512" y="226"/>
                    <a:pt x="512" y="226"/>
                    <a:pt x="512" y="226"/>
                  </a:cubicBezTo>
                  <a:cubicBezTo>
                    <a:pt x="510" y="216"/>
                    <a:pt x="506" y="205"/>
                    <a:pt x="502" y="195"/>
                  </a:cubicBezTo>
                  <a:cubicBezTo>
                    <a:pt x="538" y="160"/>
                    <a:pt x="538" y="160"/>
                    <a:pt x="538" y="160"/>
                  </a:cubicBezTo>
                  <a:cubicBezTo>
                    <a:pt x="520" y="129"/>
                    <a:pt x="520" y="129"/>
                    <a:pt x="520" y="129"/>
                  </a:cubicBezTo>
                  <a:cubicBezTo>
                    <a:pt x="472" y="141"/>
                    <a:pt x="472" y="141"/>
                    <a:pt x="472" y="141"/>
                  </a:cubicBezTo>
                  <a:cubicBezTo>
                    <a:pt x="466" y="133"/>
                    <a:pt x="460" y="126"/>
                    <a:pt x="453" y="118"/>
                  </a:cubicBezTo>
                  <a:cubicBezTo>
                    <a:pt x="473" y="73"/>
                    <a:pt x="473" y="73"/>
                    <a:pt x="473" y="73"/>
                  </a:cubicBezTo>
                  <a:cubicBezTo>
                    <a:pt x="445" y="51"/>
                    <a:pt x="445" y="51"/>
                    <a:pt x="445" y="51"/>
                  </a:cubicBezTo>
                  <a:cubicBezTo>
                    <a:pt x="405" y="80"/>
                    <a:pt x="405" y="80"/>
                    <a:pt x="405" y="80"/>
                  </a:cubicBezTo>
                  <a:cubicBezTo>
                    <a:pt x="396" y="75"/>
                    <a:pt x="386" y="69"/>
                    <a:pt x="376" y="65"/>
                  </a:cubicBezTo>
                  <a:cubicBezTo>
                    <a:pt x="377" y="15"/>
                    <a:pt x="377" y="15"/>
                    <a:pt x="377" y="15"/>
                  </a:cubicBezTo>
                  <a:cubicBezTo>
                    <a:pt x="342" y="5"/>
                    <a:pt x="342" y="5"/>
                    <a:pt x="342" y="5"/>
                  </a:cubicBezTo>
                  <a:cubicBezTo>
                    <a:pt x="317" y="48"/>
                    <a:pt x="317" y="48"/>
                    <a:pt x="317" y="48"/>
                  </a:cubicBezTo>
                  <a:cubicBezTo>
                    <a:pt x="307" y="47"/>
                    <a:pt x="297" y="46"/>
                    <a:pt x="287" y="46"/>
                  </a:cubicBezTo>
                  <a:close/>
                  <a:moveTo>
                    <a:pt x="328" y="121"/>
                  </a:moveTo>
                  <a:cubicBezTo>
                    <a:pt x="418" y="146"/>
                    <a:pt x="470" y="239"/>
                    <a:pt x="444" y="328"/>
                  </a:cubicBezTo>
                  <a:cubicBezTo>
                    <a:pt x="419" y="418"/>
                    <a:pt x="326" y="470"/>
                    <a:pt x="237" y="445"/>
                  </a:cubicBezTo>
                  <a:cubicBezTo>
                    <a:pt x="147" y="419"/>
                    <a:pt x="95" y="326"/>
                    <a:pt x="121" y="237"/>
                  </a:cubicBezTo>
                  <a:cubicBezTo>
                    <a:pt x="146" y="148"/>
                    <a:pt x="239" y="96"/>
                    <a:pt x="328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0" name="Freeform 27"/>
            <p:cNvSpPr>
              <a:spLocks noEditPoints="1"/>
            </p:cNvSpPr>
            <p:nvPr/>
          </p:nvSpPr>
          <p:spPr bwMode="auto">
            <a:xfrm>
              <a:off x="1360488" y="4284663"/>
              <a:ext cx="319088" cy="319088"/>
            </a:xfrm>
            <a:custGeom>
              <a:avLst/>
              <a:gdLst>
                <a:gd name="T0" fmla="*/ 77 w 154"/>
                <a:gd name="T1" fmla="*/ 0 h 154"/>
                <a:gd name="T2" fmla="*/ 0 w 154"/>
                <a:gd name="T3" fmla="*/ 77 h 154"/>
                <a:gd name="T4" fmla="*/ 77 w 154"/>
                <a:gd name="T5" fmla="*/ 154 h 154"/>
                <a:gd name="T6" fmla="*/ 154 w 154"/>
                <a:gd name="T7" fmla="*/ 77 h 154"/>
                <a:gd name="T8" fmla="*/ 77 w 154"/>
                <a:gd name="T9" fmla="*/ 0 h 154"/>
                <a:gd name="T10" fmla="*/ 77 w 154"/>
                <a:gd name="T11" fmla="*/ 51 h 154"/>
                <a:gd name="T12" fmla="*/ 103 w 154"/>
                <a:gd name="T13" fmla="*/ 77 h 154"/>
                <a:gd name="T14" fmla="*/ 77 w 154"/>
                <a:gd name="T15" fmla="*/ 103 h 154"/>
                <a:gd name="T16" fmla="*/ 51 w 154"/>
                <a:gd name="T17" fmla="*/ 77 h 154"/>
                <a:gd name="T18" fmla="*/ 77 w 154"/>
                <a:gd name="T19" fmla="*/ 5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" h="154">
                  <a:moveTo>
                    <a:pt x="77" y="0"/>
                  </a:moveTo>
                  <a:cubicBezTo>
                    <a:pt x="35" y="0"/>
                    <a:pt x="0" y="35"/>
                    <a:pt x="0" y="77"/>
                  </a:cubicBezTo>
                  <a:cubicBezTo>
                    <a:pt x="0" y="120"/>
                    <a:pt x="35" y="154"/>
                    <a:pt x="77" y="154"/>
                  </a:cubicBezTo>
                  <a:cubicBezTo>
                    <a:pt x="120" y="154"/>
                    <a:pt x="154" y="120"/>
                    <a:pt x="154" y="77"/>
                  </a:cubicBezTo>
                  <a:cubicBezTo>
                    <a:pt x="154" y="35"/>
                    <a:pt x="120" y="0"/>
                    <a:pt x="77" y="0"/>
                  </a:cubicBezTo>
                  <a:close/>
                  <a:moveTo>
                    <a:pt x="77" y="51"/>
                  </a:moveTo>
                  <a:cubicBezTo>
                    <a:pt x="92" y="51"/>
                    <a:pt x="103" y="63"/>
                    <a:pt x="103" y="77"/>
                  </a:cubicBezTo>
                  <a:cubicBezTo>
                    <a:pt x="103" y="92"/>
                    <a:pt x="92" y="103"/>
                    <a:pt x="77" y="103"/>
                  </a:cubicBezTo>
                  <a:cubicBezTo>
                    <a:pt x="63" y="103"/>
                    <a:pt x="51" y="92"/>
                    <a:pt x="51" y="77"/>
                  </a:cubicBezTo>
                  <a:cubicBezTo>
                    <a:pt x="51" y="63"/>
                    <a:pt x="63" y="51"/>
                    <a:pt x="77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11455505" y="10835548"/>
            <a:ext cx="1171982" cy="1173572"/>
            <a:chOff x="933450" y="3857625"/>
            <a:chExt cx="1171575" cy="1173163"/>
          </a:xfrm>
          <a:solidFill>
            <a:schemeClr val="accent6"/>
          </a:solidFill>
        </p:grpSpPr>
        <p:sp>
          <p:nvSpPr>
            <p:cNvPr id="82" name="Freeform 26"/>
            <p:cNvSpPr>
              <a:spLocks noEditPoints="1"/>
            </p:cNvSpPr>
            <p:nvPr/>
          </p:nvSpPr>
          <p:spPr bwMode="auto">
            <a:xfrm>
              <a:off x="933450" y="3857625"/>
              <a:ext cx="1171575" cy="1173163"/>
            </a:xfrm>
            <a:custGeom>
              <a:avLst/>
              <a:gdLst>
                <a:gd name="T0" fmla="*/ 269 w 565"/>
                <a:gd name="T1" fmla="*/ 0 h 566"/>
                <a:gd name="T2" fmla="*/ 226 w 565"/>
                <a:gd name="T3" fmla="*/ 53 h 566"/>
                <a:gd name="T4" fmla="*/ 160 w 565"/>
                <a:gd name="T5" fmla="*/ 27 h 566"/>
                <a:gd name="T6" fmla="*/ 141 w 565"/>
                <a:gd name="T7" fmla="*/ 93 h 566"/>
                <a:gd name="T8" fmla="*/ 73 w 565"/>
                <a:gd name="T9" fmla="*/ 92 h 566"/>
                <a:gd name="T10" fmla="*/ 80 w 565"/>
                <a:gd name="T11" fmla="*/ 160 h 566"/>
                <a:gd name="T12" fmla="*/ 14 w 565"/>
                <a:gd name="T13" fmla="*/ 188 h 566"/>
                <a:gd name="T14" fmla="*/ 48 w 565"/>
                <a:gd name="T15" fmla="*/ 248 h 566"/>
                <a:gd name="T16" fmla="*/ 0 w 565"/>
                <a:gd name="T17" fmla="*/ 296 h 566"/>
                <a:gd name="T18" fmla="*/ 53 w 565"/>
                <a:gd name="T19" fmla="*/ 339 h 566"/>
                <a:gd name="T20" fmla="*/ 27 w 565"/>
                <a:gd name="T21" fmla="*/ 405 h 566"/>
                <a:gd name="T22" fmla="*/ 93 w 565"/>
                <a:gd name="T23" fmla="*/ 424 h 566"/>
                <a:gd name="T24" fmla="*/ 92 w 565"/>
                <a:gd name="T25" fmla="*/ 492 h 566"/>
                <a:gd name="T26" fmla="*/ 160 w 565"/>
                <a:gd name="T27" fmla="*/ 485 h 566"/>
                <a:gd name="T28" fmla="*/ 188 w 565"/>
                <a:gd name="T29" fmla="*/ 550 h 566"/>
                <a:gd name="T30" fmla="*/ 248 w 565"/>
                <a:gd name="T31" fmla="*/ 517 h 566"/>
                <a:gd name="T32" fmla="*/ 296 w 565"/>
                <a:gd name="T33" fmla="*/ 566 h 566"/>
                <a:gd name="T34" fmla="*/ 339 w 565"/>
                <a:gd name="T35" fmla="*/ 513 h 566"/>
                <a:gd name="T36" fmla="*/ 405 w 565"/>
                <a:gd name="T37" fmla="*/ 538 h 566"/>
                <a:gd name="T38" fmla="*/ 424 w 565"/>
                <a:gd name="T39" fmla="*/ 473 h 566"/>
                <a:gd name="T40" fmla="*/ 492 w 565"/>
                <a:gd name="T41" fmla="*/ 473 h 566"/>
                <a:gd name="T42" fmla="*/ 485 w 565"/>
                <a:gd name="T43" fmla="*/ 405 h 566"/>
                <a:gd name="T44" fmla="*/ 550 w 565"/>
                <a:gd name="T45" fmla="*/ 377 h 566"/>
                <a:gd name="T46" fmla="*/ 517 w 565"/>
                <a:gd name="T47" fmla="*/ 317 h 566"/>
                <a:gd name="T48" fmla="*/ 565 w 565"/>
                <a:gd name="T49" fmla="*/ 269 h 566"/>
                <a:gd name="T50" fmla="*/ 512 w 565"/>
                <a:gd name="T51" fmla="*/ 226 h 566"/>
                <a:gd name="T52" fmla="*/ 538 w 565"/>
                <a:gd name="T53" fmla="*/ 160 h 566"/>
                <a:gd name="T54" fmla="*/ 472 w 565"/>
                <a:gd name="T55" fmla="*/ 141 h 566"/>
                <a:gd name="T56" fmla="*/ 473 w 565"/>
                <a:gd name="T57" fmla="*/ 73 h 566"/>
                <a:gd name="T58" fmla="*/ 405 w 565"/>
                <a:gd name="T59" fmla="*/ 80 h 566"/>
                <a:gd name="T60" fmla="*/ 377 w 565"/>
                <a:gd name="T61" fmla="*/ 15 h 566"/>
                <a:gd name="T62" fmla="*/ 317 w 565"/>
                <a:gd name="T63" fmla="*/ 48 h 566"/>
                <a:gd name="T64" fmla="*/ 328 w 565"/>
                <a:gd name="T65" fmla="*/ 121 h 566"/>
                <a:gd name="T66" fmla="*/ 237 w 565"/>
                <a:gd name="T67" fmla="*/ 445 h 566"/>
                <a:gd name="T68" fmla="*/ 328 w 565"/>
                <a:gd name="T69" fmla="*/ 121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5" h="566">
                  <a:moveTo>
                    <a:pt x="287" y="46"/>
                  </a:moveTo>
                  <a:cubicBezTo>
                    <a:pt x="269" y="0"/>
                    <a:pt x="269" y="0"/>
                    <a:pt x="269" y="0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26" y="53"/>
                    <a:pt x="226" y="53"/>
                    <a:pt x="226" y="53"/>
                  </a:cubicBezTo>
                  <a:cubicBezTo>
                    <a:pt x="215" y="55"/>
                    <a:pt x="205" y="59"/>
                    <a:pt x="194" y="63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33" y="99"/>
                    <a:pt x="125" y="105"/>
                    <a:pt x="118" y="112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80" y="160"/>
                    <a:pt x="80" y="160"/>
                    <a:pt x="80" y="160"/>
                  </a:cubicBezTo>
                  <a:cubicBezTo>
                    <a:pt x="74" y="169"/>
                    <a:pt x="69" y="179"/>
                    <a:pt x="65" y="190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5" y="223"/>
                    <a:pt x="5" y="223"/>
                    <a:pt x="5" y="223"/>
                  </a:cubicBezTo>
                  <a:cubicBezTo>
                    <a:pt x="48" y="248"/>
                    <a:pt x="48" y="248"/>
                    <a:pt x="48" y="248"/>
                  </a:cubicBezTo>
                  <a:cubicBezTo>
                    <a:pt x="47" y="258"/>
                    <a:pt x="46" y="268"/>
                    <a:pt x="46" y="278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4" y="332"/>
                    <a:pt x="4" y="332"/>
                    <a:pt x="4" y="332"/>
                  </a:cubicBezTo>
                  <a:cubicBezTo>
                    <a:pt x="53" y="339"/>
                    <a:pt x="53" y="339"/>
                    <a:pt x="53" y="339"/>
                  </a:cubicBezTo>
                  <a:cubicBezTo>
                    <a:pt x="55" y="350"/>
                    <a:pt x="59" y="360"/>
                    <a:pt x="63" y="371"/>
                  </a:cubicBezTo>
                  <a:cubicBezTo>
                    <a:pt x="27" y="405"/>
                    <a:pt x="27" y="405"/>
                    <a:pt x="27" y="405"/>
                  </a:cubicBezTo>
                  <a:cubicBezTo>
                    <a:pt x="45" y="436"/>
                    <a:pt x="45" y="436"/>
                    <a:pt x="45" y="436"/>
                  </a:cubicBezTo>
                  <a:cubicBezTo>
                    <a:pt x="93" y="424"/>
                    <a:pt x="93" y="424"/>
                    <a:pt x="93" y="424"/>
                  </a:cubicBezTo>
                  <a:cubicBezTo>
                    <a:pt x="99" y="432"/>
                    <a:pt x="105" y="440"/>
                    <a:pt x="112" y="447"/>
                  </a:cubicBezTo>
                  <a:cubicBezTo>
                    <a:pt x="92" y="492"/>
                    <a:pt x="92" y="492"/>
                    <a:pt x="92" y="492"/>
                  </a:cubicBezTo>
                  <a:cubicBezTo>
                    <a:pt x="120" y="515"/>
                    <a:pt x="120" y="515"/>
                    <a:pt x="120" y="515"/>
                  </a:cubicBezTo>
                  <a:cubicBezTo>
                    <a:pt x="160" y="485"/>
                    <a:pt x="160" y="485"/>
                    <a:pt x="160" y="485"/>
                  </a:cubicBezTo>
                  <a:cubicBezTo>
                    <a:pt x="169" y="491"/>
                    <a:pt x="179" y="496"/>
                    <a:pt x="189" y="500"/>
                  </a:cubicBezTo>
                  <a:cubicBezTo>
                    <a:pt x="188" y="550"/>
                    <a:pt x="188" y="550"/>
                    <a:pt x="188" y="550"/>
                  </a:cubicBezTo>
                  <a:cubicBezTo>
                    <a:pt x="223" y="560"/>
                    <a:pt x="223" y="560"/>
                    <a:pt x="223" y="560"/>
                  </a:cubicBezTo>
                  <a:cubicBezTo>
                    <a:pt x="248" y="517"/>
                    <a:pt x="248" y="517"/>
                    <a:pt x="248" y="517"/>
                  </a:cubicBezTo>
                  <a:cubicBezTo>
                    <a:pt x="258" y="518"/>
                    <a:pt x="268" y="519"/>
                    <a:pt x="278" y="519"/>
                  </a:cubicBezTo>
                  <a:cubicBezTo>
                    <a:pt x="296" y="566"/>
                    <a:pt x="296" y="566"/>
                    <a:pt x="296" y="566"/>
                  </a:cubicBezTo>
                  <a:cubicBezTo>
                    <a:pt x="332" y="562"/>
                    <a:pt x="332" y="562"/>
                    <a:pt x="332" y="562"/>
                  </a:cubicBezTo>
                  <a:cubicBezTo>
                    <a:pt x="339" y="513"/>
                    <a:pt x="339" y="513"/>
                    <a:pt x="339" y="513"/>
                  </a:cubicBezTo>
                  <a:cubicBezTo>
                    <a:pt x="350" y="510"/>
                    <a:pt x="360" y="507"/>
                    <a:pt x="371" y="502"/>
                  </a:cubicBezTo>
                  <a:cubicBezTo>
                    <a:pt x="405" y="538"/>
                    <a:pt x="405" y="538"/>
                    <a:pt x="405" y="538"/>
                  </a:cubicBezTo>
                  <a:cubicBezTo>
                    <a:pt x="436" y="521"/>
                    <a:pt x="436" y="521"/>
                    <a:pt x="436" y="521"/>
                  </a:cubicBezTo>
                  <a:cubicBezTo>
                    <a:pt x="424" y="473"/>
                    <a:pt x="424" y="473"/>
                    <a:pt x="424" y="473"/>
                  </a:cubicBezTo>
                  <a:cubicBezTo>
                    <a:pt x="432" y="467"/>
                    <a:pt x="440" y="460"/>
                    <a:pt x="447" y="453"/>
                  </a:cubicBezTo>
                  <a:cubicBezTo>
                    <a:pt x="492" y="473"/>
                    <a:pt x="492" y="473"/>
                    <a:pt x="492" y="473"/>
                  </a:cubicBezTo>
                  <a:cubicBezTo>
                    <a:pt x="515" y="445"/>
                    <a:pt x="515" y="445"/>
                    <a:pt x="515" y="445"/>
                  </a:cubicBezTo>
                  <a:cubicBezTo>
                    <a:pt x="485" y="405"/>
                    <a:pt x="485" y="405"/>
                    <a:pt x="485" y="405"/>
                  </a:cubicBezTo>
                  <a:cubicBezTo>
                    <a:pt x="491" y="396"/>
                    <a:pt x="496" y="386"/>
                    <a:pt x="500" y="376"/>
                  </a:cubicBezTo>
                  <a:cubicBezTo>
                    <a:pt x="550" y="377"/>
                    <a:pt x="550" y="377"/>
                    <a:pt x="550" y="377"/>
                  </a:cubicBezTo>
                  <a:cubicBezTo>
                    <a:pt x="560" y="342"/>
                    <a:pt x="560" y="342"/>
                    <a:pt x="560" y="342"/>
                  </a:cubicBezTo>
                  <a:cubicBezTo>
                    <a:pt x="517" y="317"/>
                    <a:pt x="517" y="317"/>
                    <a:pt x="517" y="317"/>
                  </a:cubicBezTo>
                  <a:cubicBezTo>
                    <a:pt x="518" y="307"/>
                    <a:pt x="519" y="297"/>
                    <a:pt x="519" y="287"/>
                  </a:cubicBezTo>
                  <a:cubicBezTo>
                    <a:pt x="565" y="269"/>
                    <a:pt x="565" y="269"/>
                    <a:pt x="565" y="269"/>
                  </a:cubicBezTo>
                  <a:cubicBezTo>
                    <a:pt x="561" y="233"/>
                    <a:pt x="561" y="233"/>
                    <a:pt x="561" y="233"/>
                  </a:cubicBezTo>
                  <a:cubicBezTo>
                    <a:pt x="512" y="226"/>
                    <a:pt x="512" y="226"/>
                    <a:pt x="512" y="226"/>
                  </a:cubicBezTo>
                  <a:cubicBezTo>
                    <a:pt x="510" y="216"/>
                    <a:pt x="506" y="205"/>
                    <a:pt x="502" y="195"/>
                  </a:cubicBezTo>
                  <a:cubicBezTo>
                    <a:pt x="538" y="160"/>
                    <a:pt x="538" y="160"/>
                    <a:pt x="538" y="160"/>
                  </a:cubicBezTo>
                  <a:cubicBezTo>
                    <a:pt x="520" y="129"/>
                    <a:pt x="520" y="129"/>
                    <a:pt x="520" y="129"/>
                  </a:cubicBezTo>
                  <a:cubicBezTo>
                    <a:pt x="472" y="141"/>
                    <a:pt x="472" y="141"/>
                    <a:pt x="472" y="141"/>
                  </a:cubicBezTo>
                  <a:cubicBezTo>
                    <a:pt x="466" y="133"/>
                    <a:pt x="460" y="126"/>
                    <a:pt x="453" y="118"/>
                  </a:cubicBezTo>
                  <a:cubicBezTo>
                    <a:pt x="473" y="73"/>
                    <a:pt x="473" y="73"/>
                    <a:pt x="473" y="73"/>
                  </a:cubicBezTo>
                  <a:cubicBezTo>
                    <a:pt x="445" y="51"/>
                    <a:pt x="445" y="51"/>
                    <a:pt x="445" y="51"/>
                  </a:cubicBezTo>
                  <a:cubicBezTo>
                    <a:pt x="405" y="80"/>
                    <a:pt x="405" y="80"/>
                    <a:pt x="405" y="80"/>
                  </a:cubicBezTo>
                  <a:cubicBezTo>
                    <a:pt x="396" y="75"/>
                    <a:pt x="386" y="69"/>
                    <a:pt x="376" y="65"/>
                  </a:cubicBezTo>
                  <a:cubicBezTo>
                    <a:pt x="377" y="15"/>
                    <a:pt x="377" y="15"/>
                    <a:pt x="377" y="15"/>
                  </a:cubicBezTo>
                  <a:cubicBezTo>
                    <a:pt x="342" y="5"/>
                    <a:pt x="342" y="5"/>
                    <a:pt x="342" y="5"/>
                  </a:cubicBezTo>
                  <a:cubicBezTo>
                    <a:pt x="317" y="48"/>
                    <a:pt x="317" y="48"/>
                    <a:pt x="317" y="48"/>
                  </a:cubicBezTo>
                  <a:cubicBezTo>
                    <a:pt x="307" y="47"/>
                    <a:pt x="297" y="46"/>
                    <a:pt x="287" y="46"/>
                  </a:cubicBezTo>
                  <a:close/>
                  <a:moveTo>
                    <a:pt x="328" y="121"/>
                  </a:moveTo>
                  <a:cubicBezTo>
                    <a:pt x="418" y="146"/>
                    <a:pt x="470" y="239"/>
                    <a:pt x="444" y="328"/>
                  </a:cubicBezTo>
                  <a:cubicBezTo>
                    <a:pt x="419" y="418"/>
                    <a:pt x="326" y="470"/>
                    <a:pt x="237" y="445"/>
                  </a:cubicBezTo>
                  <a:cubicBezTo>
                    <a:pt x="147" y="419"/>
                    <a:pt x="95" y="326"/>
                    <a:pt x="121" y="237"/>
                  </a:cubicBezTo>
                  <a:cubicBezTo>
                    <a:pt x="146" y="148"/>
                    <a:pt x="239" y="96"/>
                    <a:pt x="328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3" name="Freeform 27"/>
            <p:cNvSpPr>
              <a:spLocks noEditPoints="1"/>
            </p:cNvSpPr>
            <p:nvPr/>
          </p:nvSpPr>
          <p:spPr bwMode="auto">
            <a:xfrm>
              <a:off x="1360488" y="4284663"/>
              <a:ext cx="319088" cy="319088"/>
            </a:xfrm>
            <a:custGeom>
              <a:avLst/>
              <a:gdLst>
                <a:gd name="T0" fmla="*/ 77 w 154"/>
                <a:gd name="T1" fmla="*/ 0 h 154"/>
                <a:gd name="T2" fmla="*/ 0 w 154"/>
                <a:gd name="T3" fmla="*/ 77 h 154"/>
                <a:gd name="T4" fmla="*/ 77 w 154"/>
                <a:gd name="T5" fmla="*/ 154 h 154"/>
                <a:gd name="T6" fmla="*/ 154 w 154"/>
                <a:gd name="T7" fmla="*/ 77 h 154"/>
                <a:gd name="T8" fmla="*/ 77 w 154"/>
                <a:gd name="T9" fmla="*/ 0 h 154"/>
                <a:gd name="T10" fmla="*/ 77 w 154"/>
                <a:gd name="T11" fmla="*/ 51 h 154"/>
                <a:gd name="T12" fmla="*/ 103 w 154"/>
                <a:gd name="T13" fmla="*/ 77 h 154"/>
                <a:gd name="T14" fmla="*/ 77 w 154"/>
                <a:gd name="T15" fmla="*/ 103 h 154"/>
                <a:gd name="T16" fmla="*/ 51 w 154"/>
                <a:gd name="T17" fmla="*/ 77 h 154"/>
                <a:gd name="T18" fmla="*/ 77 w 154"/>
                <a:gd name="T19" fmla="*/ 5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" h="154">
                  <a:moveTo>
                    <a:pt x="77" y="0"/>
                  </a:moveTo>
                  <a:cubicBezTo>
                    <a:pt x="35" y="0"/>
                    <a:pt x="0" y="35"/>
                    <a:pt x="0" y="77"/>
                  </a:cubicBezTo>
                  <a:cubicBezTo>
                    <a:pt x="0" y="120"/>
                    <a:pt x="35" y="154"/>
                    <a:pt x="77" y="154"/>
                  </a:cubicBezTo>
                  <a:cubicBezTo>
                    <a:pt x="120" y="154"/>
                    <a:pt x="154" y="120"/>
                    <a:pt x="154" y="77"/>
                  </a:cubicBezTo>
                  <a:cubicBezTo>
                    <a:pt x="154" y="35"/>
                    <a:pt x="120" y="0"/>
                    <a:pt x="77" y="0"/>
                  </a:cubicBezTo>
                  <a:close/>
                  <a:moveTo>
                    <a:pt x="77" y="51"/>
                  </a:moveTo>
                  <a:cubicBezTo>
                    <a:pt x="92" y="51"/>
                    <a:pt x="103" y="63"/>
                    <a:pt x="103" y="77"/>
                  </a:cubicBezTo>
                  <a:cubicBezTo>
                    <a:pt x="103" y="92"/>
                    <a:pt x="92" y="103"/>
                    <a:pt x="77" y="103"/>
                  </a:cubicBezTo>
                  <a:cubicBezTo>
                    <a:pt x="63" y="103"/>
                    <a:pt x="51" y="92"/>
                    <a:pt x="51" y="77"/>
                  </a:cubicBezTo>
                  <a:cubicBezTo>
                    <a:pt x="51" y="63"/>
                    <a:pt x="63" y="51"/>
                    <a:pt x="77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id-ID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139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>
            <a:spLocks noEditPoints="1"/>
          </p:cNvSpPr>
          <p:nvPr/>
        </p:nvSpPr>
        <p:spPr bwMode="auto">
          <a:xfrm rot="21107604">
            <a:off x="3420417" y="6680857"/>
            <a:ext cx="3161470" cy="316969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3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90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9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9 h 488"/>
              <a:gd name="T48" fmla="*/ 63 w 486"/>
              <a:gd name="T49" fmla="*/ 409 h 488"/>
              <a:gd name="T50" fmla="*/ 110 w 486"/>
              <a:gd name="T51" fmla="*/ 428 h 488"/>
              <a:gd name="T52" fmla="*/ 133 w 486"/>
              <a:gd name="T53" fmla="*/ 448 h 488"/>
              <a:gd name="T54" fmla="*/ 167 w 486"/>
              <a:gd name="T55" fmla="*/ 458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70 h 488"/>
              <a:gd name="T64" fmla="*/ 323 w 486"/>
              <a:gd name="T65" fmla="*/ 456 h 488"/>
              <a:gd name="T66" fmla="*/ 372 w 486"/>
              <a:gd name="T67" fmla="*/ 451 h 488"/>
              <a:gd name="T68" fmla="*/ 379 w 486"/>
              <a:gd name="T69" fmla="*/ 425 h 488"/>
              <a:gd name="T70" fmla="*/ 425 w 486"/>
              <a:gd name="T71" fmla="*/ 406 h 488"/>
              <a:gd name="T72" fmla="*/ 419 w 486"/>
              <a:gd name="T73" fmla="*/ 355 h 488"/>
              <a:gd name="T74" fmla="*/ 468 w 486"/>
              <a:gd name="T75" fmla="*/ 339 h 488"/>
              <a:gd name="T76" fmla="*/ 455 w 486"/>
              <a:gd name="T77" fmla="*/ 286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9 h 488"/>
              <a:gd name="T86" fmla="*/ 89 w 486"/>
              <a:gd name="T87" fmla="*/ 176 h 488"/>
              <a:gd name="T88" fmla="*/ 106 w 486"/>
              <a:gd name="T89" fmla="*/ 197 h 488"/>
              <a:gd name="T90" fmla="*/ 87 w 486"/>
              <a:gd name="T91" fmla="*/ 307 h 488"/>
              <a:gd name="T92" fmla="*/ 98 w 486"/>
              <a:gd name="T93" fmla="*/ 244 h 488"/>
              <a:gd name="T94" fmla="*/ 118 w 486"/>
              <a:gd name="T95" fmla="*/ 357 h 488"/>
              <a:gd name="T96" fmla="*/ 201 w 486"/>
              <a:gd name="T97" fmla="*/ 391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7 h 488"/>
              <a:gd name="T106" fmla="*/ 371 w 486"/>
              <a:gd name="T107" fmla="*/ 177 h 488"/>
              <a:gd name="T108" fmla="*/ 395 w 486"/>
              <a:gd name="T109" fmla="*/ 264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5"/>
                </a:cubicBezTo>
                <a:cubicBezTo>
                  <a:pt x="450" y="234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9"/>
                  <a:pt x="485" y="212"/>
                </a:cubicBezTo>
                <a:cubicBezTo>
                  <a:pt x="484" y="209"/>
                  <a:pt x="484" y="205"/>
                  <a:pt x="483" y="202"/>
                </a:cubicBezTo>
                <a:cubicBezTo>
                  <a:pt x="482" y="196"/>
                  <a:pt x="476" y="192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1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3"/>
                  <a:pt x="426" y="103"/>
                  <a:pt x="426" y="103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4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7"/>
                  <a:pt x="379" y="57"/>
                  <a:pt x="379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4" y="38"/>
                  <a:pt x="371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2"/>
                  <a:pt x="338" y="57"/>
                  <a:pt x="330" y="55"/>
                </a:cubicBezTo>
                <a:cubicBezTo>
                  <a:pt x="319" y="52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0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8"/>
                </a:cubicBezTo>
                <a:cubicBezTo>
                  <a:pt x="262" y="38"/>
                  <a:pt x="254" y="28"/>
                  <a:pt x="255" y="17"/>
                </a:cubicBezTo>
                <a:cubicBezTo>
                  <a:pt x="256" y="13"/>
                  <a:pt x="256" y="13"/>
                  <a:pt x="256" y="13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3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4"/>
                  <a:pt x="151" y="56"/>
                </a:cubicBezTo>
                <a:cubicBezTo>
                  <a:pt x="143" y="59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4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3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70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1" y="123"/>
                  <a:pt x="68" y="131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8"/>
                  <a:pt x="45" y="178"/>
                  <a:pt x="42" y="188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7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9"/>
                </a:cubicBezTo>
                <a:cubicBezTo>
                  <a:pt x="17" y="229"/>
                  <a:pt x="17" y="229"/>
                  <a:pt x="17" y="229"/>
                </a:cubicBezTo>
                <a:cubicBezTo>
                  <a:pt x="27" y="229"/>
                  <a:pt x="35" y="237"/>
                  <a:pt x="34" y="246"/>
                </a:cubicBezTo>
                <a:cubicBezTo>
                  <a:pt x="34" y="256"/>
                  <a:pt x="26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5" y="264"/>
                  <a:pt x="0" y="269"/>
                  <a:pt x="1" y="276"/>
                </a:cubicBezTo>
                <a:cubicBezTo>
                  <a:pt x="1" y="279"/>
                  <a:pt x="2" y="282"/>
                  <a:pt x="2" y="286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1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30"/>
                  <a:pt x="17" y="337"/>
                  <a:pt x="20" y="343"/>
                </a:cubicBezTo>
                <a:cubicBezTo>
                  <a:pt x="21" y="346"/>
                  <a:pt x="23" y="349"/>
                  <a:pt x="24" y="352"/>
                </a:cubicBezTo>
                <a:cubicBezTo>
                  <a:pt x="27" y="358"/>
                  <a:pt x="34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9"/>
                </a:cubicBezTo>
                <a:cubicBezTo>
                  <a:pt x="74" y="367"/>
                  <a:pt x="71" y="378"/>
                  <a:pt x="63" y="383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7"/>
                  <a:pt x="57" y="402"/>
                </a:cubicBezTo>
                <a:cubicBezTo>
                  <a:pt x="59" y="404"/>
                  <a:pt x="61" y="407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7"/>
                  <a:pt x="106" y="401"/>
                </a:cubicBezTo>
                <a:cubicBezTo>
                  <a:pt x="115" y="407"/>
                  <a:pt x="117" y="420"/>
                  <a:pt x="110" y="428"/>
                </a:cubicBezTo>
                <a:cubicBezTo>
                  <a:pt x="106" y="431"/>
                  <a:pt x="106" y="431"/>
                  <a:pt x="106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50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2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8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8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9"/>
                  <a:pt x="293" y="455"/>
                  <a:pt x="294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9"/>
                  <a:pt x="351" y="433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1"/>
                </a:cubicBezTo>
                <a:cubicBezTo>
                  <a:pt x="372" y="451"/>
                  <a:pt x="372" y="451"/>
                  <a:pt x="372" y="451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4"/>
                  <a:pt x="399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3" y="411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4"/>
                  <a:pt x="414" y="363"/>
                  <a:pt x="419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8"/>
                </a:cubicBezTo>
                <a:cubicBezTo>
                  <a:pt x="465" y="345"/>
                  <a:pt x="466" y="342"/>
                  <a:pt x="468" y="339"/>
                </a:cubicBezTo>
                <a:cubicBezTo>
                  <a:pt x="470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10"/>
                  <a:pt x="443" y="300"/>
                </a:cubicBezTo>
                <a:cubicBezTo>
                  <a:pt x="438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2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8"/>
                  <a:pt x="366" y="153"/>
                </a:cubicBezTo>
                <a:cubicBezTo>
                  <a:pt x="359" y="157"/>
                  <a:pt x="359" y="157"/>
                  <a:pt x="359" y="157"/>
                </a:cubicBezTo>
                <a:cubicBezTo>
                  <a:pt x="342" y="134"/>
                  <a:pt x="317" y="116"/>
                  <a:pt x="289" y="107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7" y="101"/>
                  <a:pt x="267" y="101"/>
                  <a:pt x="267" y="101"/>
                </a:cubicBezTo>
                <a:cubicBezTo>
                  <a:pt x="259" y="100"/>
                  <a:pt x="251" y="99"/>
                  <a:pt x="243" y="99"/>
                </a:cubicBezTo>
                <a:cubicBezTo>
                  <a:pt x="220" y="99"/>
                  <a:pt x="199" y="104"/>
                  <a:pt x="180" y="113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6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60" y="125"/>
                  <a:pt x="160" y="125"/>
                  <a:pt x="160" y="125"/>
                </a:cubicBezTo>
                <a:cubicBezTo>
                  <a:pt x="135" y="143"/>
                  <a:pt x="116" y="168"/>
                  <a:pt x="106" y="197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8" y="193"/>
                  <a:pt x="84" y="184"/>
                  <a:pt x="89" y="176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100" y="220"/>
                  <a:pt x="100" y="220"/>
                  <a:pt x="100" y="220"/>
                </a:cubicBezTo>
                <a:cubicBezTo>
                  <a:pt x="99" y="228"/>
                  <a:pt x="98" y="236"/>
                  <a:pt x="98" y="244"/>
                </a:cubicBezTo>
                <a:cubicBezTo>
                  <a:pt x="98" y="268"/>
                  <a:pt x="104" y="291"/>
                  <a:pt x="114" y="311"/>
                </a:cubicBezTo>
                <a:lnTo>
                  <a:pt x="108" y="315"/>
                </a:lnTo>
                <a:close/>
                <a:moveTo>
                  <a:pt x="180" y="401"/>
                </a:move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27" y="331"/>
                  <a:pt x="127" y="331"/>
                  <a:pt x="127" y="331"/>
                </a:cubicBezTo>
                <a:cubicBezTo>
                  <a:pt x="145" y="355"/>
                  <a:pt x="172" y="374"/>
                  <a:pt x="202" y="383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198" y="400"/>
                  <a:pt x="189" y="405"/>
                  <a:pt x="180" y="401"/>
                </a:cubicBezTo>
                <a:close/>
                <a:moveTo>
                  <a:pt x="311" y="398"/>
                </a:moveTo>
                <a:cubicBezTo>
                  <a:pt x="237" y="413"/>
                  <a:pt x="237" y="413"/>
                  <a:pt x="237" y="413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5" y="388"/>
                  <a:pt x="225" y="388"/>
                  <a:pt x="225" y="388"/>
                </a:cubicBezTo>
                <a:cubicBezTo>
                  <a:pt x="231" y="388"/>
                  <a:pt x="237" y="389"/>
                  <a:pt x="243" y="389"/>
                </a:cubicBezTo>
                <a:cubicBezTo>
                  <a:pt x="269" y="389"/>
                  <a:pt x="293" y="382"/>
                  <a:pt x="314" y="370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7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3"/>
                  <a:pt x="337" y="364"/>
                </a:cubicBezTo>
                <a:cubicBezTo>
                  <a:pt x="333" y="357"/>
                  <a:pt x="333" y="357"/>
                  <a:pt x="333" y="357"/>
                </a:cubicBezTo>
                <a:cubicBezTo>
                  <a:pt x="356" y="339"/>
                  <a:pt x="373" y="314"/>
                  <a:pt x="382" y="284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8"/>
                  <a:pt x="400" y="307"/>
                </a:cubicBezTo>
                <a:close/>
                <a:moveTo>
                  <a:pt x="395" y="264"/>
                </a:moveTo>
                <a:cubicBezTo>
                  <a:pt x="387" y="262"/>
                  <a:pt x="387" y="262"/>
                  <a:pt x="387" y="262"/>
                </a:cubicBezTo>
                <a:cubicBezTo>
                  <a:pt x="387" y="256"/>
                  <a:pt x="388" y="250"/>
                  <a:pt x="388" y="244"/>
                </a:cubicBezTo>
                <a:cubicBezTo>
                  <a:pt x="388" y="220"/>
                  <a:pt x="382" y="197"/>
                  <a:pt x="371" y="177"/>
                </a:cubicBezTo>
                <a:cubicBezTo>
                  <a:pt x="378" y="173"/>
                  <a:pt x="378" y="173"/>
                  <a:pt x="378" y="173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59"/>
                  <a:pt x="404" y="266"/>
                  <a:pt x="395" y="26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1261819" y="9590898"/>
            <a:ext cx="1114078" cy="748920"/>
          </a:xfrm>
          <a:custGeom>
            <a:avLst/>
            <a:gdLst>
              <a:gd name="T0" fmla="*/ 0 w 202"/>
              <a:gd name="T1" fmla="*/ 56 h 136"/>
              <a:gd name="T2" fmla="*/ 30 w 202"/>
              <a:gd name="T3" fmla="*/ 136 h 136"/>
              <a:gd name="T4" fmla="*/ 202 w 202"/>
              <a:gd name="T5" fmla="*/ 32 h 136"/>
              <a:gd name="T6" fmla="*/ 194 w 202"/>
              <a:gd name="T7" fmla="*/ 0 h 136"/>
              <a:gd name="T8" fmla="*/ 0 w 202"/>
              <a:gd name="T9" fmla="*/ 5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" h="136">
                <a:moveTo>
                  <a:pt x="0" y="56"/>
                </a:moveTo>
                <a:cubicBezTo>
                  <a:pt x="8" y="80"/>
                  <a:pt x="15" y="104"/>
                  <a:pt x="30" y="136"/>
                </a:cubicBezTo>
                <a:cubicBezTo>
                  <a:pt x="202" y="32"/>
                  <a:pt x="202" y="32"/>
                  <a:pt x="202" y="32"/>
                </a:cubicBezTo>
                <a:cubicBezTo>
                  <a:pt x="202" y="16"/>
                  <a:pt x="194" y="8"/>
                  <a:pt x="194" y="0"/>
                </a:cubicBezTo>
                <a:lnTo>
                  <a:pt x="0" y="56"/>
                </a:lnTo>
                <a:close/>
              </a:path>
            </a:pathLst>
          </a:custGeom>
          <a:solidFill>
            <a:schemeClr val="tx1">
              <a:lumMod val="40000"/>
              <a:lumOff val="60000"/>
              <a:alpha val="78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1261818" y="6695224"/>
            <a:ext cx="1162920" cy="748920"/>
          </a:xfrm>
          <a:custGeom>
            <a:avLst/>
            <a:gdLst>
              <a:gd name="T0" fmla="*/ 0 w 211"/>
              <a:gd name="T1" fmla="*/ 80 h 136"/>
              <a:gd name="T2" fmla="*/ 196 w 211"/>
              <a:gd name="T3" fmla="*/ 136 h 136"/>
              <a:gd name="T4" fmla="*/ 211 w 211"/>
              <a:gd name="T5" fmla="*/ 104 h 136"/>
              <a:gd name="T6" fmla="*/ 30 w 211"/>
              <a:gd name="T7" fmla="*/ 0 h 136"/>
              <a:gd name="T8" fmla="*/ 0 w 211"/>
              <a:gd name="T9" fmla="*/ 8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1" h="136">
                <a:moveTo>
                  <a:pt x="0" y="80"/>
                </a:moveTo>
                <a:cubicBezTo>
                  <a:pt x="196" y="136"/>
                  <a:pt x="196" y="136"/>
                  <a:pt x="196" y="136"/>
                </a:cubicBezTo>
                <a:cubicBezTo>
                  <a:pt x="196" y="120"/>
                  <a:pt x="204" y="112"/>
                  <a:pt x="211" y="104"/>
                </a:cubicBezTo>
                <a:cubicBezTo>
                  <a:pt x="30" y="0"/>
                  <a:pt x="30" y="0"/>
                  <a:pt x="30" y="0"/>
                </a:cubicBezTo>
                <a:cubicBezTo>
                  <a:pt x="23" y="24"/>
                  <a:pt x="8" y="48"/>
                  <a:pt x="0" y="80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78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3355074" y="4467068"/>
            <a:ext cx="672168" cy="1237348"/>
          </a:xfrm>
          <a:custGeom>
            <a:avLst/>
            <a:gdLst>
              <a:gd name="T0" fmla="*/ 122 w 122"/>
              <a:gd name="T1" fmla="*/ 209 h 225"/>
              <a:gd name="T2" fmla="*/ 72 w 122"/>
              <a:gd name="T3" fmla="*/ 0 h 225"/>
              <a:gd name="T4" fmla="*/ 0 w 122"/>
              <a:gd name="T5" fmla="*/ 32 h 225"/>
              <a:gd name="T6" fmla="*/ 93 w 122"/>
              <a:gd name="T7" fmla="*/ 225 h 225"/>
              <a:gd name="T8" fmla="*/ 122 w 122"/>
              <a:gd name="T9" fmla="*/ 209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225">
                <a:moveTo>
                  <a:pt x="122" y="209"/>
                </a:moveTo>
                <a:cubicBezTo>
                  <a:pt x="72" y="0"/>
                  <a:pt x="72" y="0"/>
                  <a:pt x="72" y="0"/>
                </a:cubicBezTo>
                <a:cubicBezTo>
                  <a:pt x="43" y="8"/>
                  <a:pt x="22" y="24"/>
                  <a:pt x="0" y="32"/>
                </a:cubicBezTo>
                <a:cubicBezTo>
                  <a:pt x="93" y="225"/>
                  <a:pt x="93" y="225"/>
                  <a:pt x="93" y="225"/>
                </a:cubicBezTo>
                <a:cubicBezTo>
                  <a:pt x="100" y="217"/>
                  <a:pt x="108" y="209"/>
                  <a:pt x="122" y="209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78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2529402" y="5720698"/>
            <a:ext cx="4900548" cy="7124052"/>
          </a:xfrm>
          <a:custGeom>
            <a:avLst/>
            <a:gdLst>
              <a:gd name="T0" fmla="*/ 848 w 890"/>
              <a:gd name="T1" fmla="*/ 586 h 1294"/>
              <a:gd name="T2" fmla="*/ 847 w 890"/>
              <a:gd name="T3" fmla="*/ 586 h 1294"/>
              <a:gd name="T4" fmla="*/ 820 w 890"/>
              <a:gd name="T5" fmla="*/ 611 h 1294"/>
              <a:gd name="T6" fmla="*/ 531 w 890"/>
              <a:gd name="T7" fmla="*/ 888 h 1294"/>
              <a:gd name="T8" fmla="*/ 531 w 890"/>
              <a:gd name="T9" fmla="*/ 811 h 1294"/>
              <a:gd name="T10" fmla="*/ 540 w 890"/>
              <a:gd name="T11" fmla="*/ 797 h 1294"/>
              <a:gd name="T12" fmla="*/ 598 w 890"/>
              <a:gd name="T13" fmla="*/ 769 h 1294"/>
              <a:gd name="T14" fmla="*/ 604 w 890"/>
              <a:gd name="T15" fmla="*/ 747 h 1294"/>
              <a:gd name="T16" fmla="*/ 604 w 890"/>
              <a:gd name="T17" fmla="*/ 747 h 1294"/>
              <a:gd name="T18" fmla="*/ 580 w 890"/>
              <a:gd name="T19" fmla="*/ 741 h 1294"/>
              <a:gd name="T20" fmla="*/ 497 w 890"/>
              <a:gd name="T21" fmla="*/ 783 h 1294"/>
              <a:gd name="T22" fmla="*/ 495 w 890"/>
              <a:gd name="T23" fmla="*/ 783 h 1294"/>
              <a:gd name="T24" fmla="*/ 495 w 890"/>
              <a:gd name="T25" fmla="*/ 894 h 1294"/>
              <a:gd name="T26" fmla="*/ 452 w 890"/>
              <a:gd name="T27" fmla="*/ 896 h 1294"/>
              <a:gd name="T28" fmla="*/ 404 w 890"/>
              <a:gd name="T29" fmla="*/ 893 h 1294"/>
              <a:gd name="T30" fmla="*/ 404 w 890"/>
              <a:gd name="T31" fmla="*/ 783 h 1294"/>
              <a:gd name="T32" fmla="*/ 402 w 890"/>
              <a:gd name="T33" fmla="*/ 783 h 1294"/>
              <a:gd name="T34" fmla="*/ 319 w 890"/>
              <a:gd name="T35" fmla="*/ 741 h 1294"/>
              <a:gd name="T36" fmla="*/ 295 w 890"/>
              <a:gd name="T37" fmla="*/ 747 h 1294"/>
              <a:gd name="T38" fmla="*/ 295 w 890"/>
              <a:gd name="T39" fmla="*/ 747 h 1294"/>
              <a:gd name="T40" fmla="*/ 302 w 890"/>
              <a:gd name="T41" fmla="*/ 769 h 1294"/>
              <a:gd name="T42" fmla="*/ 359 w 890"/>
              <a:gd name="T43" fmla="*/ 797 h 1294"/>
              <a:gd name="T44" fmla="*/ 368 w 890"/>
              <a:gd name="T45" fmla="*/ 811 h 1294"/>
              <a:gd name="T46" fmla="*/ 368 w 890"/>
              <a:gd name="T47" fmla="*/ 887 h 1294"/>
              <a:gd name="T48" fmla="*/ 67 w 890"/>
              <a:gd name="T49" fmla="*/ 483 h 1294"/>
              <a:gd name="T50" fmla="*/ 392 w 890"/>
              <a:gd name="T51" fmla="*/ 74 h 1294"/>
              <a:gd name="T52" fmla="*/ 420 w 890"/>
              <a:gd name="T53" fmla="*/ 39 h 1294"/>
              <a:gd name="T54" fmla="*/ 420 w 890"/>
              <a:gd name="T55" fmla="*/ 38 h 1294"/>
              <a:gd name="T56" fmla="*/ 382 w 890"/>
              <a:gd name="T57" fmla="*/ 3 h 1294"/>
              <a:gd name="T58" fmla="*/ 0 w 890"/>
              <a:gd name="T59" fmla="*/ 483 h 1294"/>
              <a:gd name="T60" fmla="*/ 297 w 890"/>
              <a:gd name="T61" fmla="*/ 936 h 1294"/>
              <a:gd name="T62" fmla="*/ 297 w 890"/>
              <a:gd name="T63" fmla="*/ 1215 h 1294"/>
              <a:gd name="T64" fmla="*/ 349 w 890"/>
              <a:gd name="T65" fmla="*/ 1239 h 1294"/>
              <a:gd name="T66" fmla="*/ 386 w 890"/>
              <a:gd name="T67" fmla="*/ 1294 h 1294"/>
              <a:gd name="T68" fmla="*/ 519 w 890"/>
              <a:gd name="T69" fmla="*/ 1294 h 1294"/>
              <a:gd name="T70" fmla="*/ 556 w 890"/>
              <a:gd name="T71" fmla="*/ 1239 h 1294"/>
              <a:gd name="T72" fmla="*/ 601 w 890"/>
              <a:gd name="T73" fmla="*/ 1215 h 1294"/>
              <a:gd name="T74" fmla="*/ 601 w 890"/>
              <a:gd name="T75" fmla="*/ 936 h 1294"/>
              <a:gd name="T76" fmla="*/ 882 w 890"/>
              <a:gd name="T77" fmla="*/ 632 h 1294"/>
              <a:gd name="T78" fmla="*/ 848 w 890"/>
              <a:gd name="T79" fmla="*/ 586 h 1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90" h="1294">
                <a:moveTo>
                  <a:pt x="848" y="586"/>
                </a:moveTo>
                <a:cubicBezTo>
                  <a:pt x="847" y="586"/>
                  <a:pt x="847" y="586"/>
                  <a:pt x="847" y="586"/>
                </a:cubicBezTo>
                <a:cubicBezTo>
                  <a:pt x="834" y="588"/>
                  <a:pt x="824" y="598"/>
                  <a:pt x="820" y="611"/>
                </a:cubicBezTo>
                <a:cubicBezTo>
                  <a:pt x="778" y="752"/>
                  <a:pt x="668" y="858"/>
                  <a:pt x="531" y="888"/>
                </a:cubicBezTo>
                <a:cubicBezTo>
                  <a:pt x="531" y="811"/>
                  <a:pt x="531" y="811"/>
                  <a:pt x="531" y="811"/>
                </a:cubicBezTo>
                <a:cubicBezTo>
                  <a:pt x="531" y="805"/>
                  <a:pt x="534" y="800"/>
                  <a:pt x="540" y="797"/>
                </a:cubicBezTo>
                <a:cubicBezTo>
                  <a:pt x="598" y="769"/>
                  <a:pt x="598" y="769"/>
                  <a:pt x="598" y="769"/>
                </a:cubicBezTo>
                <a:cubicBezTo>
                  <a:pt x="606" y="764"/>
                  <a:pt x="609" y="755"/>
                  <a:pt x="604" y="747"/>
                </a:cubicBezTo>
                <a:cubicBezTo>
                  <a:pt x="604" y="747"/>
                  <a:pt x="604" y="747"/>
                  <a:pt x="604" y="747"/>
                </a:cubicBezTo>
                <a:cubicBezTo>
                  <a:pt x="599" y="740"/>
                  <a:pt x="589" y="737"/>
                  <a:pt x="580" y="741"/>
                </a:cubicBezTo>
                <a:cubicBezTo>
                  <a:pt x="497" y="783"/>
                  <a:pt x="497" y="783"/>
                  <a:pt x="497" y="783"/>
                </a:cubicBezTo>
                <a:cubicBezTo>
                  <a:pt x="495" y="783"/>
                  <a:pt x="495" y="783"/>
                  <a:pt x="495" y="783"/>
                </a:cubicBezTo>
                <a:cubicBezTo>
                  <a:pt x="495" y="894"/>
                  <a:pt x="495" y="894"/>
                  <a:pt x="495" y="894"/>
                </a:cubicBezTo>
                <a:cubicBezTo>
                  <a:pt x="481" y="895"/>
                  <a:pt x="467" y="896"/>
                  <a:pt x="452" y="896"/>
                </a:cubicBezTo>
                <a:cubicBezTo>
                  <a:pt x="436" y="896"/>
                  <a:pt x="420" y="895"/>
                  <a:pt x="404" y="893"/>
                </a:cubicBezTo>
                <a:cubicBezTo>
                  <a:pt x="404" y="783"/>
                  <a:pt x="404" y="783"/>
                  <a:pt x="404" y="783"/>
                </a:cubicBezTo>
                <a:cubicBezTo>
                  <a:pt x="402" y="783"/>
                  <a:pt x="402" y="783"/>
                  <a:pt x="402" y="783"/>
                </a:cubicBezTo>
                <a:cubicBezTo>
                  <a:pt x="319" y="741"/>
                  <a:pt x="319" y="741"/>
                  <a:pt x="319" y="741"/>
                </a:cubicBezTo>
                <a:cubicBezTo>
                  <a:pt x="311" y="737"/>
                  <a:pt x="300" y="740"/>
                  <a:pt x="295" y="747"/>
                </a:cubicBezTo>
                <a:cubicBezTo>
                  <a:pt x="295" y="747"/>
                  <a:pt x="295" y="747"/>
                  <a:pt x="295" y="747"/>
                </a:cubicBezTo>
                <a:cubicBezTo>
                  <a:pt x="290" y="755"/>
                  <a:pt x="293" y="764"/>
                  <a:pt x="302" y="769"/>
                </a:cubicBezTo>
                <a:cubicBezTo>
                  <a:pt x="359" y="797"/>
                  <a:pt x="359" y="797"/>
                  <a:pt x="359" y="797"/>
                </a:cubicBezTo>
                <a:cubicBezTo>
                  <a:pt x="365" y="800"/>
                  <a:pt x="368" y="805"/>
                  <a:pt x="368" y="811"/>
                </a:cubicBezTo>
                <a:cubicBezTo>
                  <a:pt x="368" y="887"/>
                  <a:pt x="368" y="887"/>
                  <a:pt x="368" y="887"/>
                </a:cubicBezTo>
                <a:cubicBezTo>
                  <a:pt x="195" y="846"/>
                  <a:pt x="67" y="682"/>
                  <a:pt x="67" y="483"/>
                </a:cubicBezTo>
                <a:cubicBezTo>
                  <a:pt x="67" y="274"/>
                  <a:pt x="206" y="105"/>
                  <a:pt x="392" y="74"/>
                </a:cubicBezTo>
                <a:cubicBezTo>
                  <a:pt x="408" y="71"/>
                  <a:pt x="420" y="56"/>
                  <a:pt x="420" y="39"/>
                </a:cubicBezTo>
                <a:cubicBezTo>
                  <a:pt x="420" y="38"/>
                  <a:pt x="420" y="38"/>
                  <a:pt x="420" y="38"/>
                </a:cubicBezTo>
                <a:cubicBezTo>
                  <a:pt x="420" y="16"/>
                  <a:pt x="402" y="0"/>
                  <a:pt x="382" y="3"/>
                </a:cubicBezTo>
                <a:cubicBezTo>
                  <a:pt x="164" y="39"/>
                  <a:pt x="0" y="238"/>
                  <a:pt x="0" y="483"/>
                </a:cubicBezTo>
                <a:cubicBezTo>
                  <a:pt x="0" y="689"/>
                  <a:pt x="126" y="873"/>
                  <a:pt x="297" y="936"/>
                </a:cubicBezTo>
                <a:cubicBezTo>
                  <a:pt x="297" y="1215"/>
                  <a:pt x="297" y="1215"/>
                  <a:pt x="297" y="1215"/>
                </a:cubicBezTo>
                <a:cubicBezTo>
                  <a:pt x="349" y="1239"/>
                  <a:pt x="349" y="1239"/>
                  <a:pt x="349" y="1239"/>
                </a:cubicBezTo>
                <a:cubicBezTo>
                  <a:pt x="386" y="1294"/>
                  <a:pt x="386" y="1294"/>
                  <a:pt x="386" y="1294"/>
                </a:cubicBezTo>
                <a:cubicBezTo>
                  <a:pt x="519" y="1294"/>
                  <a:pt x="519" y="1294"/>
                  <a:pt x="519" y="1294"/>
                </a:cubicBezTo>
                <a:cubicBezTo>
                  <a:pt x="556" y="1239"/>
                  <a:pt x="556" y="1239"/>
                  <a:pt x="556" y="1239"/>
                </a:cubicBezTo>
                <a:cubicBezTo>
                  <a:pt x="601" y="1215"/>
                  <a:pt x="601" y="1215"/>
                  <a:pt x="601" y="1215"/>
                </a:cubicBezTo>
                <a:cubicBezTo>
                  <a:pt x="601" y="936"/>
                  <a:pt x="601" y="936"/>
                  <a:pt x="601" y="936"/>
                </a:cubicBezTo>
                <a:cubicBezTo>
                  <a:pt x="734" y="888"/>
                  <a:pt x="838" y="774"/>
                  <a:pt x="882" y="632"/>
                </a:cubicBezTo>
                <a:cubicBezTo>
                  <a:pt x="890" y="608"/>
                  <a:pt x="871" y="583"/>
                  <a:pt x="848" y="586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78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2" name="Freeform 19"/>
          <p:cNvSpPr>
            <a:spLocks noEditPoints="1"/>
          </p:cNvSpPr>
          <p:nvPr/>
        </p:nvSpPr>
        <p:spPr bwMode="auto">
          <a:xfrm>
            <a:off x="5001151" y="3471751"/>
            <a:ext cx="3140970" cy="3140970"/>
          </a:xfrm>
          <a:custGeom>
            <a:avLst/>
            <a:gdLst>
              <a:gd name="T0" fmla="*/ 471 w 511"/>
              <a:gd name="T1" fmla="*/ 174 h 512"/>
              <a:gd name="T2" fmla="*/ 426 w 511"/>
              <a:gd name="T3" fmla="*/ 100 h 512"/>
              <a:gd name="T4" fmla="*/ 357 w 511"/>
              <a:gd name="T5" fmla="*/ 48 h 512"/>
              <a:gd name="T6" fmla="*/ 287 w 511"/>
              <a:gd name="T7" fmla="*/ 2 h 512"/>
              <a:gd name="T8" fmla="*/ 200 w 511"/>
              <a:gd name="T9" fmla="*/ 6 h 512"/>
              <a:gd name="T10" fmla="*/ 120 w 511"/>
              <a:gd name="T11" fmla="*/ 39 h 512"/>
              <a:gd name="T12" fmla="*/ 62 w 511"/>
              <a:gd name="T13" fmla="*/ 88 h 512"/>
              <a:gd name="T14" fmla="*/ 41 w 511"/>
              <a:gd name="T15" fmla="*/ 169 h 512"/>
              <a:gd name="T16" fmla="*/ 24 w 511"/>
              <a:gd name="T17" fmla="*/ 272 h 512"/>
              <a:gd name="T18" fmla="*/ 19 w 511"/>
              <a:gd name="T19" fmla="*/ 355 h 512"/>
              <a:gd name="T20" fmla="*/ 66 w 511"/>
              <a:gd name="T21" fmla="*/ 428 h 512"/>
              <a:gd name="T22" fmla="*/ 135 w 511"/>
              <a:gd name="T23" fmla="*/ 482 h 512"/>
              <a:gd name="T24" fmla="*/ 218 w 511"/>
              <a:gd name="T25" fmla="*/ 484 h 512"/>
              <a:gd name="T26" fmla="*/ 322 w 511"/>
              <a:gd name="T27" fmla="*/ 477 h 512"/>
              <a:gd name="T28" fmla="*/ 404 w 511"/>
              <a:gd name="T29" fmla="*/ 464 h 512"/>
              <a:gd name="T30" fmla="*/ 459 w 511"/>
              <a:gd name="T31" fmla="*/ 410 h 512"/>
              <a:gd name="T32" fmla="*/ 499 w 511"/>
              <a:gd name="T33" fmla="*/ 333 h 512"/>
              <a:gd name="T34" fmla="*/ 511 w 511"/>
              <a:gd name="T35" fmla="*/ 247 h 512"/>
              <a:gd name="T36" fmla="*/ 455 w 511"/>
              <a:gd name="T37" fmla="*/ 248 h 512"/>
              <a:gd name="T38" fmla="*/ 445 w 511"/>
              <a:gd name="T39" fmla="*/ 192 h 512"/>
              <a:gd name="T40" fmla="*/ 433 w 511"/>
              <a:gd name="T41" fmla="*/ 166 h 512"/>
              <a:gd name="T42" fmla="*/ 355 w 511"/>
              <a:gd name="T43" fmla="*/ 168 h 512"/>
              <a:gd name="T44" fmla="*/ 384 w 511"/>
              <a:gd name="T45" fmla="*/ 103 h 512"/>
              <a:gd name="T46" fmla="*/ 361 w 511"/>
              <a:gd name="T47" fmla="*/ 86 h 512"/>
              <a:gd name="T48" fmla="*/ 331 w 511"/>
              <a:gd name="T49" fmla="*/ 71 h 512"/>
              <a:gd name="T50" fmla="*/ 304 w 511"/>
              <a:gd name="T51" fmla="*/ 62 h 512"/>
              <a:gd name="T52" fmla="*/ 254 w 511"/>
              <a:gd name="T53" fmla="*/ 122 h 512"/>
              <a:gd name="T54" fmla="*/ 224 w 511"/>
              <a:gd name="T55" fmla="*/ 58 h 512"/>
              <a:gd name="T56" fmla="*/ 219 w 511"/>
              <a:gd name="T57" fmla="*/ 59 h 512"/>
              <a:gd name="T58" fmla="*/ 165 w 511"/>
              <a:gd name="T59" fmla="*/ 77 h 512"/>
              <a:gd name="T60" fmla="*/ 177 w 511"/>
              <a:gd name="T61" fmla="*/ 146 h 512"/>
              <a:gd name="T62" fmla="*/ 152 w 511"/>
              <a:gd name="T63" fmla="*/ 168 h 512"/>
              <a:gd name="T64" fmla="*/ 85 w 511"/>
              <a:gd name="T65" fmla="*/ 149 h 512"/>
              <a:gd name="T66" fmla="*/ 82 w 511"/>
              <a:gd name="T67" fmla="*/ 154 h 512"/>
              <a:gd name="T68" fmla="*/ 60 w 511"/>
              <a:gd name="T69" fmla="*/ 207 h 512"/>
              <a:gd name="T70" fmla="*/ 119 w 511"/>
              <a:gd name="T71" fmla="*/ 243 h 512"/>
              <a:gd name="T72" fmla="*/ 119 w 511"/>
              <a:gd name="T73" fmla="*/ 276 h 512"/>
              <a:gd name="T74" fmla="*/ 63 w 511"/>
              <a:gd name="T75" fmla="*/ 315 h 512"/>
              <a:gd name="T76" fmla="*/ 73 w 511"/>
              <a:gd name="T77" fmla="*/ 342 h 512"/>
              <a:gd name="T78" fmla="*/ 90 w 511"/>
              <a:gd name="T79" fmla="*/ 371 h 512"/>
              <a:gd name="T80" fmla="*/ 108 w 511"/>
              <a:gd name="T81" fmla="*/ 394 h 512"/>
              <a:gd name="T82" fmla="*/ 170 w 511"/>
              <a:gd name="T83" fmla="*/ 364 h 512"/>
              <a:gd name="T84" fmla="*/ 174 w 511"/>
              <a:gd name="T85" fmla="*/ 440 h 512"/>
              <a:gd name="T86" fmla="*/ 179 w 511"/>
              <a:gd name="T87" fmla="*/ 442 h 512"/>
              <a:gd name="T88" fmla="*/ 234 w 511"/>
              <a:gd name="T89" fmla="*/ 456 h 512"/>
              <a:gd name="T90" fmla="*/ 263 w 511"/>
              <a:gd name="T91" fmla="*/ 457 h 512"/>
              <a:gd name="T92" fmla="*/ 281 w 511"/>
              <a:gd name="T93" fmla="*/ 391 h 512"/>
              <a:gd name="T94" fmla="*/ 313 w 511"/>
              <a:gd name="T95" fmla="*/ 380 h 512"/>
              <a:gd name="T96" fmla="*/ 366 w 511"/>
              <a:gd name="T97" fmla="*/ 423 h 512"/>
              <a:gd name="T98" fmla="*/ 370 w 511"/>
              <a:gd name="T99" fmla="*/ 420 h 512"/>
              <a:gd name="T100" fmla="*/ 412 w 511"/>
              <a:gd name="T101" fmla="*/ 381 h 512"/>
              <a:gd name="T102" fmla="*/ 372 w 511"/>
              <a:gd name="T103" fmla="*/ 324 h 512"/>
              <a:gd name="T104" fmla="*/ 385 w 511"/>
              <a:gd name="T105" fmla="*/ 293 h 512"/>
              <a:gd name="T106" fmla="*/ 453 w 511"/>
              <a:gd name="T107" fmla="*/ 282 h 512"/>
              <a:gd name="T108" fmla="*/ 455 w 511"/>
              <a:gd name="T109" fmla="*/ 25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1" h="512">
                <a:moveTo>
                  <a:pt x="486" y="241"/>
                </a:moveTo>
                <a:cubicBezTo>
                  <a:pt x="485" y="229"/>
                  <a:pt x="483" y="217"/>
                  <a:pt x="481" y="206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0" y="183"/>
                  <a:pt x="500" y="183"/>
                  <a:pt x="500" y="183"/>
                </a:cubicBezTo>
                <a:cubicBezTo>
                  <a:pt x="497" y="172"/>
                  <a:pt x="497" y="172"/>
                  <a:pt x="497" y="172"/>
                </a:cubicBezTo>
                <a:cubicBezTo>
                  <a:pt x="471" y="174"/>
                  <a:pt x="471" y="174"/>
                  <a:pt x="471" y="174"/>
                </a:cubicBezTo>
                <a:cubicBezTo>
                  <a:pt x="467" y="163"/>
                  <a:pt x="462" y="152"/>
                  <a:pt x="456" y="142"/>
                </a:cubicBezTo>
                <a:cubicBezTo>
                  <a:pt x="473" y="123"/>
                  <a:pt x="473" y="123"/>
                  <a:pt x="473" y="123"/>
                </a:cubicBezTo>
                <a:cubicBezTo>
                  <a:pt x="467" y="114"/>
                  <a:pt x="467" y="114"/>
                  <a:pt x="467" y="114"/>
                </a:cubicBezTo>
                <a:cubicBezTo>
                  <a:pt x="461" y="105"/>
                  <a:pt x="461" y="105"/>
                  <a:pt x="461" y="105"/>
                </a:cubicBezTo>
                <a:cubicBezTo>
                  <a:pt x="437" y="114"/>
                  <a:pt x="437" y="114"/>
                  <a:pt x="437" y="114"/>
                </a:cubicBezTo>
                <a:cubicBezTo>
                  <a:pt x="434" y="109"/>
                  <a:pt x="430" y="104"/>
                  <a:pt x="426" y="100"/>
                </a:cubicBezTo>
                <a:cubicBezTo>
                  <a:pt x="422" y="96"/>
                  <a:pt x="417" y="91"/>
                  <a:pt x="413" y="87"/>
                </a:cubicBezTo>
                <a:cubicBezTo>
                  <a:pt x="424" y="64"/>
                  <a:pt x="424" y="64"/>
                  <a:pt x="424" y="64"/>
                </a:cubicBezTo>
                <a:cubicBezTo>
                  <a:pt x="416" y="57"/>
                  <a:pt x="416" y="57"/>
                  <a:pt x="416" y="57"/>
                </a:cubicBezTo>
                <a:cubicBezTo>
                  <a:pt x="408" y="51"/>
                  <a:pt x="408" y="51"/>
                  <a:pt x="408" y="51"/>
                </a:cubicBezTo>
                <a:cubicBezTo>
                  <a:pt x="387" y="66"/>
                  <a:pt x="387" y="66"/>
                  <a:pt x="387" y="66"/>
                </a:cubicBezTo>
                <a:cubicBezTo>
                  <a:pt x="377" y="59"/>
                  <a:pt x="367" y="53"/>
                  <a:pt x="357" y="48"/>
                </a:cubicBezTo>
                <a:cubicBezTo>
                  <a:pt x="360" y="23"/>
                  <a:pt x="360" y="23"/>
                  <a:pt x="360" y="23"/>
                </a:cubicBezTo>
                <a:cubicBezTo>
                  <a:pt x="350" y="19"/>
                  <a:pt x="350" y="19"/>
                  <a:pt x="350" y="19"/>
                </a:cubicBezTo>
                <a:cubicBezTo>
                  <a:pt x="340" y="15"/>
                  <a:pt x="340" y="15"/>
                  <a:pt x="340" y="15"/>
                </a:cubicBezTo>
                <a:cubicBezTo>
                  <a:pt x="325" y="36"/>
                  <a:pt x="325" y="36"/>
                  <a:pt x="325" y="36"/>
                </a:cubicBezTo>
                <a:cubicBezTo>
                  <a:pt x="314" y="32"/>
                  <a:pt x="302" y="29"/>
                  <a:pt x="291" y="28"/>
                </a:cubicBezTo>
                <a:cubicBezTo>
                  <a:pt x="287" y="2"/>
                  <a:pt x="287" y="2"/>
                  <a:pt x="287" y="2"/>
                </a:cubicBezTo>
                <a:cubicBezTo>
                  <a:pt x="276" y="1"/>
                  <a:pt x="276" y="1"/>
                  <a:pt x="276" y="1"/>
                </a:cubicBezTo>
                <a:cubicBezTo>
                  <a:pt x="265" y="0"/>
                  <a:pt x="265" y="0"/>
                  <a:pt x="265" y="0"/>
                </a:cubicBezTo>
                <a:cubicBezTo>
                  <a:pt x="257" y="25"/>
                  <a:pt x="257" y="25"/>
                  <a:pt x="257" y="25"/>
                </a:cubicBezTo>
                <a:cubicBezTo>
                  <a:pt x="245" y="25"/>
                  <a:pt x="234" y="25"/>
                  <a:pt x="222" y="27"/>
                </a:cubicBezTo>
                <a:cubicBezTo>
                  <a:pt x="211" y="4"/>
                  <a:pt x="211" y="4"/>
                  <a:pt x="211" y="4"/>
                </a:cubicBezTo>
                <a:cubicBezTo>
                  <a:pt x="200" y="6"/>
                  <a:pt x="200" y="6"/>
                  <a:pt x="200" y="6"/>
                </a:cubicBezTo>
                <a:cubicBezTo>
                  <a:pt x="190" y="9"/>
                  <a:pt x="190" y="9"/>
                  <a:pt x="190" y="9"/>
                </a:cubicBezTo>
                <a:cubicBezTo>
                  <a:pt x="189" y="34"/>
                  <a:pt x="189" y="34"/>
                  <a:pt x="189" y="34"/>
                </a:cubicBezTo>
                <a:cubicBezTo>
                  <a:pt x="178" y="38"/>
                  <a:pt x="167" y="42"/>
                  <a:pt x="156" y="47"/>
                </a:cubicBezTo>
                <a:cubicBezTo>
                  <a:pt x="138" y="28"/>
                  <a:pt x="138" y="28"/>
                  <a:pt x="138" y="28"/>
                </a:cubicBezTo>
                <a:cubicBezTo>
                  <a:pt x="129" y="34"/>
                  <a:pt x="129" y="34"/>
                  <a:pt x="129" y="34"/>
                </a:cubicBezTo>
                <a:cubicBezTo>
                  <a:pt x="120" y="39"/>
                  <a:pt x="120" y="39"/>
                  <a:pt x="120" y="39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117" y="70"/>
                  <a:pt x="108" y="77"/>
                  <a:pt x="99" y="85"/>
                </a:cubicBezTo>
                <a:cubicBezTo>
                  <a:pt x="99" y="85"/>
                  <a:pt x="99" y="85"/>
                  <a:pt x="99" y="86"/>
                </a:cubicBezTo>
                <a:cubicBezTo>
                  <a:pt x="76" y="73"/>
                  <a:pt x="76" y="73"/>
                  <a:pt x="76" y="73"/>
                </a:cubicBezTo>
                <a:cubicBezTo>
                  <a:pt x="69" y="81"/>
                  <a:pt x="69" y="81"/>
                  <a:pt x="69" y="81"/>
                </a:cubicBezTo>
                <a:cubicBezTo>
                  <a:pt x="62" y="88"/>
                  <a:pt x="62" y="88"/>
                  <a:pt x="62" y="88"/>
                </a:cubicBezTo>
                <a:cubicBezTo>
                  <a:pt x="76" y="110"/>
                  <a:pt x="76" y="110"/>
                  <a:pt x="76" y="110"/>
                </a:cubicBezTo>
                <a:cubicBezTo>
                  <a:pt x="68" y="119"/>
                  <a:pt x="61" y="129"/>
                  <a:pt x="55" y="139"/>
                </a:cubicBezTo>
                <a:cubicBezTo>
                  <a:pt x="30" y="133"/>
                  <a:pt x="30" y="133"/>
                  <a:pt x="30" y="133"/>
                </a:cubicBezTo>
                <a:cubicBezTo>
                  <a:pt x="26" y="143"/>
                  <a:pt x="26" y="143"/>
                  <a:pt x="26" y="143"/>
                </a:cubicBezTo>
                <a:cubicBezTo>
                  <a:pt x="21" y="153"/>
                  <a:pt x="21" y="153"/>
                  <a:pt x="21" y="153"/>
                </a:cubicBezTo>
                <a:cubicBezTo>
                  <a:pt x="41" y="169"/>
                  <a:pt x="41" y="169"/>
                  <a:pt x="41" y="169"/>
                </a:cubicBezTo>
                <a:cubicBezTo>
                  <a:pt x="36" y="180"/>
                  <a:pt x="33" y="192"/>
                  <a:pt x="30" y="203"/>
                </a:cubicBezTo>
                <a:cubicBezTo>
                  <a:pt x="4" y="205"/>
                  <a:pt x="4" y="205"/>
                  <a:pt x="4" y="205"/>
                </a:cubicBezTo>
                <a:cubicBezTo>
                  <a:pt x="3" y="216"/>
                  <a:pt x="3" y="216"/>
                  <a:pt x="3" y="216"/>
                </a:cubicBezTo>
                <a:cubicBezTo>
                  <a:pt x="1" y="226"/>
                  <a:pt x="1" y="226"/>
                  <a:pt x="1" y="226"/>
                </a:cubicBezTo>
                <a:cubicBezTo>
                  <a:pt x="25" y="236"/>
                  <a:pt x="25" y="236"/>
                  <a:pt x="25" y="236"/>
                </a:cubicBezTo>
                <a:cubicBezTo>
                  <a:pt x="24" y="248"/>
                  <a:pt x="24" y="260"/>
                  <a:pt x="24" y="272"/>
                </a:cubicBezTo>
                <a:cubicBezTo>
                  <a:pt x="0" y="281"/>
                  <a:pt x="0" y="281"/>
                  <a:pt x="0" y="281"/>
                </a:cubicBezTo>
                <a:cubicBezTo>
                  <a:pt x="2" y="292"/>
                  <a:pt x="2" y="292"/>
                  <a:pt x="2" y="292"/>
                </a:cubicBezTo>
                <a:cubicBezTo>
                  <a:pt x="3" y="303"/>
                  <a:pt x="3" y="303"/>
                  <a:pt x="3" y="303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32" y="317"/>
                  <a:pt x="35" y="328"/>
                  <a:pt x="39" y="339"/>
                </a:cubicBezTo>
                <a:cubicBezTo>
                  <a:pt x="19" y="355"/>
                  <a:pt x="19" y="355"/>
                  <a:pt x="19" y="355"/>
                </a:cubicBezTo>
                <a:cubicBezTo>
                  <a:pt x="24" y="365"/>
                  <a:pt x="24" y="365"/>
                  <a:pt x="24" y="365"/>
                </a:cubicBezTo>
                <a:cubicBezTo>
                  <a:pt x="28" y="375"/>
                  <a:pt x="28" y="375"/>
                  <a:pt x="28" y="375"/>
                </a:cubicBezTo>
                <a:cubicBezTo>
                  <a:pt x="54" y="370"/>
                  <a:pt x="54" y="370"/>
                  <a:pt x="54" y="370"/>
                </a:cubicBezTo>
                <a:cubicBezTo>
                  <a:pt x="59" y="380"/>
                  <a:pt x="66" y="390"/>
                  <a:pt x="73" y="399"/>
                </a:cubicBezTo>
                <a:cubicBezTo>
                  <a:pt x="59" y="420"/>
                  <a:pt x="59" y="420"/>
                  <a:pt x="59" y="420"/>
                </a:cubicBezTo>
                <a:cubicBezTo>
                  <a:pt x="66" y="428"/>
                  <a:pt x="66" y="428"/>
                  <a:pt x="66" y="428"/>
                </a:cubicBezTo>
                <a:cubicBezTo>
                  <a:pt x="73" y="436"/>
                  <a:pt x="73" y="436"/>
                  <a:pt x="73" y="436"/>
                </a:cubicBezTo>
                <a:cubicBezTo>
                  <a:pt x="96" y="424"/>
                  <a:pt x="96" y="424"/>
                  <a:pt x="96" y="424"/>
                </a:cubicBezTo>
                <a:cubicBezTo>
                  <a:pt x="105" y="432"/>
                  <a:pt x="114" y="440"/>
                  <a:pt x="124" y="446"/>
                </a:cubicBezTo>
                <a:cubicBezTo>
                  <a:pt x="116" y="471"/>
                  <a:pt x="116" y="471"/>
                  <a:pt x="116" y="471"/>
                </a:cubicBezTo>
                <a:cubicBezTo>
                  <a:pt x="125" y="476"/>
                  <a:pt x="125" y="476"/>
                  <a:pt x="125" y="476"/>
                </a:cubicBezTo>
                <a:cubicBezTo>
                  <a:pt x="135" y="482"/>
                  <a:pt x="135" y="482"/>
                  <a:pt x="135" y="482"/>
                </a:cubicBezTo>
                <a:cubicBezTo>
                  <a:pt x="153" y="463"/>
                  <a:pt x="153" y="463"/>
                  <a:pt x="153" y="463"/>
                </a:cubicBezTo>
                <a:cubicBezTo>
                  <a:pt x="163" y="469"/>
                  <a:pt x="174" y="473"/>
                  <a:pt x="185" y="476"/>
                </a:cubicBezTo>
                <a:cubicBezTo>
                  <a:pt x="186" y="502"/>
                  <a:pt x="186" y="502"/>
                  <a:pt x="186" y="502"/>
                </a:cubicBezTo>
                <a:cubicBezTo>
                  <a:pt x="196" y="505"/>
                  <a:pt x="196" y="505"/>
                  <a:pt x="196" y="505"/>
                </a:cubicBezTo>
                <a:cubicBezTo>
                  <a:pt x="207" y="507"/>
                  <a:pt x="207" y="507"/>
                  <a:pt x="207" y="507"/>
                </a:cubicBezTo>
                <a:cubicBezTo>
                  <a:pt x="218" y="484"/>
                  <a:pt x="218" y="484"/>
                  <a:pt x="218" y="484"/>
                </a:cubicBezTo>
                <a:cubicBezTo>
                  <a:pt x="230" y="486"/>
                  <a:pt x="242" y="487"/>
                  <a:pt x="254" y="487"/>
                </a:cubicBezTo>
                <a:cubicBezTo>
                  <a:pt x="261" y="512"/>
                  <a:pt x="261" y="512"/>
                  <a:pt x="261" y="512"/>
                </a:cubicBezTo>
                <a:cubicBezTo>
                  <a:pt x="272" y="511"/>
                  <a:pt x="272" y="511"/>
                  <a:pt x="272" y="511"/>
                </a:cubicBezTo>
                <a:cubicBezTo>
                  <a:pt x="283" y="510"/>
                  <a:pt x="283" y="510"/>
                  <a:pt x="283" y="510"/>
                </a:cubicBezTo>
                <a:cubicBezTo>
                  <a:pt x="287" y="485"/>
                  <a:pt x="287" y="485"/>
                  <a:pt x="287" y="485"/>
                </a:cubicBezTo>
                <a:cubicBezTo>
                  <a:pt x="299" y="483"/>
                  <a:pt x="310" y="481"/>
                  <a:pt x="322" y="477"/>
                </a:cubicBezTo>
                <a:cubicBezTo>
                  <a:pt x="336" y="498"/>
                  <a:pt x="336" y="498"/>
                  <a:pt x="336" y="498"/>
                </a:cubicBezTo>
                <a:cubicBezTo>
                  <a:pt x="346" y="495"/>
                  <a:pt x="346" y="495"/>
                  <a:pt x="346" y="495"/>
                </a:cubicBezTo>
                <a:cubicBezTo>
                  <a:pt x="357" y="491"/>
                  <a:pt x="357" y="491"/>
                  <a:pt x="357" y="491"/>
                </a:cubicBezTo>
                <a:cubicBezTo>
                  <a:pt x="353" y="465"/>
                  <a:pt x="353" y="465"/>
                  <a:pt x="353" y="465"/>
                </a:cubicBezTo>
                <a:cubicBezTo>
                  <a:pt x="364" y="460"/>
                  <a:pt x="374" y="454"/>
                  <a:pt x="384" y="448"/>
                </a:cubicBezTo>
                <a:cubicBezTo>
                  <a:pt x="404" y="464"/>
                  <a:pt x="404" y="464"/>
                  <a:pt x="404" y="464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21" y="450"/>
                  <a:pt x="421" y="450"/>
                  <a:pt x="421" y="450"/>
                </a:cubicBezTo>
                <a:cubicBezTo>
                  <a:pt x="410" y="427"/>
                  <a:pt x="410" y="427"/>
                  <a:pt x="410" y="427"/>
                </a:cubicBezTo>
                <a:cubicBezTo>
                  <a:pt x="411" y="427"/>
                  <a:pt x="411" y="427"/>
                  <a:pt x="411" y="427"/>
                </a:cubicBezTo>
                <a:cubicBezTo>
                  <a:pt x="420" y="419"/>
                  <a:pt x="428" y="410"/>
                  <a:pt x="435" y="401"/>
                </a:cubicBezTo>
                <a:cubicBezTo>
                  <a:pt x="459" y="410"/>
                  <a:pt x="459" y="410"/>
                  <a:pt x="459" y="410"/>
                </a:cubicBezTo>
                <a:cubicBezTo>
                  <a:pt x="465" y="402"/>
                  <a:pt x="465" y="402"/>
                  <a:pt x="465" y="402"/>
                </a:cubicBezTo>
                <a:cubicBezTo>
                  <a:pt x="471" y="393"/>
                  <a:pt x="471" y="393"/>
                  <a:pt x="471" y="393"/>
                </a:cubicBezTo>
                <a:cubicBezTo>
                  <a:pt x="454" y="374"/>
                  <a:pt x="454" y="374"/>
                  <a:pt x="454" y="374"/>
                </a:cubicBezTo>
                <a:cubicBezTo>
                  <a:pt x="460" y="363"/>
                  <a:pt x="465" y="353"/>
                  <a:pt x="470" y="342"/>
                </a:cubicBezTo>
                <a:cubicBezTo>
                  <a:pt x="495" y="344"/>
                  <a:pt x="495" y="344"/>
                  <a:pt x="495" y="344"/>
                </a:cubicBezTo>
                <a:cubicBezTo>
                  <a:pt x="499" y="333"/>
                  <a:pt x="499" y="333"/>
                  <a:pt x="499" y="333"/>
                </a:cubicBezTo>
                <a:cubicBezTo>
                  <a:pt x="502" y="323"/>
                  <a:pt x="502" y="323"/>
                  <a:pt x="502" y="323"/>
                </a:cubicBezTo>
                <a:cubicBezTo>
                  <a:pt x="480" y="310"/>
                  <a:pt x="480" y="310"/>
                  <a:pt x="480" y="310"/>
                </a:cubicBezTo>
                <a:cubicBezTo>
                  <a:pt x="483" y="298"/>
                  <a:pt x="484" y="286"/>
                  <a:pt x="485" y="275"/>
                </a:cubicBezTo>
                <a:cubicBezTo>
                  <a:pt x="510" y="269"/>
                  <a:pt x="510" y="269"/>
                  <a:pt x="510" y="269"/>
                </a:cubicBezTo>
                <a:cubicBezTo>
                  <a:pt x="511" y="258"/>
                  <a:pt x="511" y="258"/>
                  <a:pt x="511" y="258"/>
                </a:cubicBezTo>
                <a:cubicBezTo>
                  <a:pt x="511" y="247"/>
                  <a:pt x="511" y="247"/>
                  <a:pt x="511" y="247"/>
                </a:cubicBezTo>
                <a:lnTo>
                  <a:pt x="486" y="241"/>
                </a:lnTo>
                <a:close/>
                <a:moveTo>
                  <a:pt x="455" y="248"/>
                </a:moveTo>
                <a:cubicBezTo>
                  <a:pt x="389" y="250"/>
                  <a:pt x="389" y="250"/>
                  <a:pt x="389" y="250"/>
                </a:cubicBezTo>
                <a:cubicBezTo>
                  <a:pt x="389" y="245"/>
                  <a:pt x="388" y="240"/>
                  <a:pt x="388" y="236"/>
                </a:cubicBezTo>
                <a:cubicBezTo>
                  <a:pt x="453" y="225"/>
                  <a:pt x="453" y="225"/>
                  <a:pt x="453" y="225"/>
                </a:cubicBezTo>
                <a:cubicBezTo>
                  <a:pt x="454" y="233"/>
                  <a:pt x="455" y="240"/>
                  <a:pt x="455" y="248"/>
                </a:cubicBezTo>
                <a:close/>
                <a:moveTo>
                  <a:pt x="452" y="219"/>
                </a:moveTo>
                <a:cubicBezTo>
                  <a:pt x="387" y="231"/>
                  <a:pt x="387" y="231"/>
                  <a:pt x="387" y="231"/>
                </a:cubicBezTo>
                <a:cubicBezTo>
                  <a:pt x="386" y="226"/>
                  <a:pt x="385" y="222"/>
                  <a:pt x="383" y="217"/>
                </a:cubicBezTo>
                <a:cubicBezTo>
                  <a:pt x="446" y="197"/>
                  <a:pt x="446" y="197"/>
                  <a:pt x="446" y="197"/>
                </a:cubicBezTo>
                <a:cubicBezTo>
                  <a:pt x="449" y="205"/>
                  <a:pt x="450" y="212"/>
                  <a:pt x="452" y="219"/>
                </a:cubicBezTo>
                <a:close/>
                <a:moveTo>
                  <a:pt x="445" y="192"/>
                </a:moveTo>
                <a:cubicBezTo>
                  <a:pt x="382" y="212"/>
                  <a:pt x="382" y="212"/>
                  <a:pt x="382" y="212"/>
                </a:cubicBezTo>
                <a:cubicBezTo>
                  <a:pt x="380" y="208"/>
                  <a:pt x="378" y="204"/>
                  <a:pt x="376" y="200"/>
                </a:cubicBezTo>
                <a:cubicBezTo>
                  <a:pt x="436" y="171"/>
                  <a:pt x="436" y="171"/>
                  <a:pt x="436" y="171"/>
                </a:cubicBezTo>
                <a:cubicBezTo>
                  <a:pt x="439" y="178"/>
                  <a:pt x="442" y="185"/>
                  <a:pt x="445" y="192"/>
                </a:cubicBezTo>
                <a:close/>
                <a:moveTo>
                  <a:pt x="422" y="146"/>
                </a:moveTo>
                <a:cubicBezTo>
                  <a:pt x="426" y="152"/>
                  <a:pt x="430" y="159"/>
                  <a:pt x="433" y="166"/>
                </a:cubicBezTo>
                <a:cubicBezTo>
                  <a:pt x="374" y="195"/>
                  <a:pt x="374" y="195"/>
                  <a:pt x="374" y="195"/>
                </a:cubicBezTo>
                <a:cubicBezTo>
                  <a:pt x="372" y="191"/>
                  <a:pt x="369" y="187"/>
                  <a:pt x="367" y="183"/>
                </a:cubicBezTo>
                <a:lnTo>
                  <a:pt x="422" y="146"/>
                </a:lnTo>
                <a:close/>
                <a:moveTo>
                  <a:pt x="419" y="141"/>
                </a:moveTo>
                <a:cubicBezTo>
                  <a:pt x="364" y="178"/>
                  <a:pt x="364" y="178"/>
                  <a:pt x="364" y="178"/>
                </a:cubicBezTo>
                <a:cubicBezTo>
                  <a:pt x="361" y="175"/>
                  <a:pt x="358" y="171"/>
                  <a:pt x="355" y="168"/>
                </a:cubicBezTo>
                <a:cubicBezTo>
                  <a:pt x="405" y="123"/>
                  <a:pt x="405" y="123"/>
                  <a:pt x="405" y="123"/>
                </a:cubicBezTo>
                <a:cubicBezTo>
                  <a:pt x="410" y="129"/>
                  <a:pt x="414" y="135"/>
                  <a:pt x="419" y="141"/>
                </a:cubicBezTo>
                <a:close/>
                <a:moveTo>
                  <a:pt x="401" y="119"/>
                </a:moveTo>
                <a:cubicBezTo>
                  <a:pt x="352" y="164"/>
                  <a:pt x="352" y="164"/>
                  <a:pt x="352" y="164"/>
                </a:cubicBezTo>
                <a:cubicBezTo>
                  <a:pt x="349" y="161"/>
                  <a:pt x="345" y="158"/>
                  <a:pt x="342" y="155"/>
                </a:cubicBezTo>
                <a:cubicBezTo>
                  <a:pt x="384" y="103"/>
                  <a:pt x="384" y="103"/>
                  <a:pt x="384" y="103"/>
                </a:cubicBezTo>
                <a:cubicBezTo>
                  <a:pt x="390" y="108"/>
                  <a:pt x="395" y="113"/>
                  <a:pt x="401" y="119"/>
                </a:cubicBezTo>
                <a:close/>
                <a:moveTo>
                  <a:pt x="361" y="86"/>
                </a:moveTo>
                <a:cubicBezTo>
                  <a:pt x="368" y="90"/>
                  <a:pt x="374" y="95"/>
                  <a:pt x="380" y="100"/>
                </a:cubicBezTo>
                <a:cubicBezTo>
                  <a:pt x="338" y="151"/>
                  <a:pt x="338" y="151"/>
                  <a:pt x="338" y="151"/>
                </a:cubicBezTo>
                <a:cubicBezTo>
                  <a:pt x="334" y="148"/>
                  <a:pt x="330" y="146"/>
                  <a:pt x="327" y="143"/>
                </a:cubicBezTo>
                <a:lnTo>
                  <a:pt x="361" y="86"/>
                </a:lnTo>
                <a:close/>
                <a:moveTo>
                  <a:pt x="356" y="83"/>
                </a:moveTo>
                <a:cubicBezTo>
                  <a:pt x="322" y="140"/>
                  <a:pt x="322" y="140"/>
                  <a:pt x="322" y="140"/>
                </a:cubicBezTo>
                <a:cubicBezTo>
                  <a:pt x="318" y="138"/>
                  <a:pt x="314" y="136"/>
                  <a:pt x="310" y="134"/>
                </a:cubicBezTo>
                <a:cubicBezTo>
                  <a:pt x="336" y="73"/>
                  <a:pt x="336" y="73"/>
                  <a:pt x="336" y="73"/>
                </a:cubicBezTo>
                <a:cubicBezTo>
                  <a:pt x="343" y="76"/>
                  <a:pt x="350" y="80"/>
                  <a:pt x="356" y="83"/>
                </a:cubicBezTo>
                <a:close/>
                <a:moveTo>
                  <a:pt x="331" y="71"/>
                </a:moveTo>
                <a:cubicBezTo>
                  <a:pt x="305" y="132"/>
                  <a:pt x="305" y="132"/>
                  <a:pt x="305" y="132"/>
                </a:cubicBezTo>
                <a:cubicBezTo>
                  <a:pt x="301" y="130"/>
                  <a:pt x="296" y="129"/>
                  <a:pt x="292" y="128"/>
                </a:cubicBezTo>
                <a:cubicBezTo>
                  <a:pt x="309" y="63"/>
                  <a:pt x="309" y="63"/>
                  <a:pt x="309" y="63"/>
                </a:cubicBezTo>
                <a:cubicBezTo>
                  <a:pt x="316" y="65"/>
                  <a:pt x="324" y="68"/>
                  <a:pt x="331" y="71"/>
                </a:cubicBezTo>
                <a:close/>
                <a:moveTo>
                  <a:pt x="281" y="57"/>
                </a:moveTo>
                <a:cubicBezTo>
                  <a:pt x="289" y="58"/>
                  <a:pt x="296" y="60"/>
                  <a:pt x="304" y="62"/>
                </a:cubicBezTo>
                <a:cubicBezTo>
                  <a:pt x="287" y="126"/>
                  <a:pt x="287" y="126"/>
                  <a:pt x="287" y="126"/>
                </a:cubicBezTo>
                <a:cubicBezTo>
                  <a:pt x="282" y="125"/>
                  <a:pt x="278" y="124"/>
                  <a:pt x="273" y="124"/>
                </a:cubicBezTo>
                <a:lnTo>
                  <a:pt x="281" y="57"/>
                </a:lnTo>
                <a:close/>
                <a:moveTo>
                  <a:pt x="276" y="57"/>
                </a:moveTo>
                <a:cubicBezTo>
                  <a:pt x="268" y="123"/>
                  <a:pt x="268" y="123"/>
                  <a:pt x="268" y="123"/>
                </a:cubicBezTo>
                <a:cubicBezTo>
                  <a:pt x="263" y="122"/>
                  <a:pt x="259" y="122"/>
                  <a:pt x="254" y="122"/>
                </a:cubicBezTo>
                <a:cubicBezTo>
                  <a:pt x="253" y="56"/>
                  <a:pt x="253" y="56"/>
                  <a:pt x="253" y="56"/>
                </a:cubicBezTo>
                <a:cubicBezTo>
                  <a:pt x="260" y="56"/>
                  <a:pt x="268" y="56"/>
                  <a:pt x="276" y="57"/>
                </a:cubicBezTo>
                <a:close/>
                <a:moveTo>
                  <a:pt x="247" y="56"/>
                </a:moveTo>
                <a:cubicBezTo>
                  <a:pt x="249" y="122"/>
                  <a:pt x="249" y="122"/>
                  <a:pt x="249" y="122"/>
                </a:cubicBezTo>
                <a:cubicBezTo>
                  <a:pt x="244" y="122"/>
                  <a:pt x="240" y="123"/>
                  <a:pt x="235" y="123"/>
                </a:cubicBezTo>
                <a:cubicBezTo>
                  <a:pt x="224" y="58"/>
                  <a:pt x="224" y="58"/>
                  <a:pt x="224" y="58"/>
                </a:cubicBezTo>
                <a:cubicBezTo>
                  <a:pt x="232" y="57"/>
                  <a:pt x="239" y="56"/>
                  <a:pt x="247" y="56"/>
                </a:cubicBezTo>
                <a:close/>
                <a:moveTo>
                  <a:pt x="219" y="59"/>
                </a:moveTo>
                <a:cubicBezTo>
                  <a:pt x="230" y="124"/>
                  <a:pt x="230" y="124"/>
                  <a:pt x="230" y="124"/>
                </a:cubicBezTo>
                <a:cubicBezTo>
                  <a:pt x="225" y="125"/>
                  <a:pt x="221" y="126"/>
                  <a:pt x="217" y="127"/>
                </a:cubicBezTo>
                <a:cubicBezTo>
                  <a:pt x="196" y="64"/>
                  <a:pt x="196" y="64"/>
                  <a:pt x="196" y="64"/>
                </a:cubicBezTo>
                <a:cubicBezTo>
                  <a:pt x="204" y="62"/>
                  <a:pt x="211" y="60"/>
                  <a:pt x="219" y="59"/>
                </a:cubicBezTo>
                <a:close/>
                <a:moveTo>
                  <a:pt x="191" y="66"/>
                </a:moveTo>
                <a:cubicBezTo>
                  <a:pt x="211" y="129"/>
                  <a:pt x="211" y="129"/>
                  <a:pt x="211" y="129"/>
                </a:cubicBezTo>
                <a:cubicBezTo>
                  <a:pt x="207" y="130"/>
                  <a:pt x="203" y="132"/>
                  <a:pt x="199" y="134"/>
                </a:cubicBezTo>
                <a:cubicBezTo>
                  <a:pt x="170" y="74"/>
                  <a:pt x="170" y="74"/>
                  <a:pt x="170" y="74"/>
                </a:cubicBezTo>
                <a:cubicBezTo>
                  <a:pt x="177" y="71"/>
                  <a:pt x="184" y="68"/>
                  <a:pt x="191" y="66"/>
                </a:cubicBezTo>
                <a:close/>
                <a:moveTo>
                  <a:pt x="165" y="77"/>
                </a:moveTo>
                <a:cubicBezTo>
                  <a:pt x="194" y="136"/>
                  <a:pt x="194" y="136"/>
                  <a:pt x="194" y="136"/>
                </a:cubicBezTo>
                <a:cubicBezTo>
                  <a:pt x="189" y="138"/>
                  <a:pt x="185" y="140"/>
                  <a:pt x="182" y="143"/>
                </a:cubicBezTo>
                <a:cubicBezTo>
                  <a:pt x="145" y="88"/>
                  <a:pt x="145" y="88"/>
                  <a:pt x="145" y="88"/>
                </a:cubicBezTo>
                <a:cubicBezTo>
                  <a:pt x="151" y="84"/>
                  <a:pt x="158" y="80"/>
                  <a:pt x="165" y="77"/>
                </a:cubicBezTo>
                <a:close/>
                <a:moveTo>
                  <a:pt x="140" y="92"/>
                </a:moveTo>
                <a:cubicBezTo>
                  <a:pt x="177" y="146"/>
                  <a:pt x="177" y="146"/>
                  <a:pt x="177" y="146"/>
                </a:cubicBezTo>
                <a:cubicBezTo>
                  <a:pt x="173" y="149"/>
                  <a:pt x="170" y="151"/>
                  <a:pt x="166" y="154"/>
                </a:cubicBezTo>
                <a:cubicBezTo>
                  <a:pt x="122" y="106"/>
                  <a:pt x="122" y="106"/>
                  <a:pt x="122" y="106"/>
                </a:cubicBezTo>
                <a:cubicBezTo>
                  <a:pt x="128" y="101"/>
                  <a:pt x="134" y="96"/>
                  <a:pt x="140" y="92"/>
                </a:cubicBezTo>
                <a:close/>
                <a:moveTo>
                  <a:pt x="118" y="110"/>
                </a:moveTo>
                <a:cubicBezTo>
                  <a:pt x="162" y="158"/>
                  <a:pt x="162" y="158"/>
                  <a:pt x="162" y="158"/>
                </a:cubicBezTo>
                <a:cubicBezTo>
                  <a:pt x="159" y="161"/>
                  <a:pt x="155" y="164"/>
                  <a:pt x="152" y="168"/>
                </a:cubicBezTo>
                <a:cubicBezTo>
                  <a:pt x="102" y="126"/>
                  <a:pt x="102" y="126"/>
                  <a:pt x="102" y="126"/>
                </a:cubicBezTo>
                <a:cubicBezTo>
                  <a:pt x="107" y="120"/>
                  <a:pt x="112" y="115"/>
                  <a:pt x="118" y="110"/>
                </a:cubicBezTo>
                <a:close/>
                <a:moveTo>
                  <a:pt x="98" y="130"/>
                </a:moveTo>
                <a:cubicBezTo>
                  <a:pt x="149" y="172"/>
                  <a:pt x="149" y="172"/>
                  <a:pt x="149" y="172"/>
                </a:cubicBezTo>
                <a:cubicBezTo>
                  <a:pt x="146" y="176"/>
                  <a:pt x="143" y="179"/>
                  <a:pt x="141" y="183"/>
                </a:cubicBezTo>
                <a:cubicBezTo>
                  <a:pt x="85" y="149"/>
                  <a:pt x="85" y="149"/>
                  <a:pt x="85" y="149"/>
                </a:cubicBezTo>
                <a:cubicBezTo>
                  <a:pt x="89" y="143"/>
                  <a:pt x="93" y="137"/>
                  <a:pt x="98" y="130"/>
                </a:cubicBezTo>
                <a:close/>
                <a:moveTo>
                  <a:pt x="82" y="154"/>
                </a:moveTo>
                <a:cubicBezTo>
                  <a:pt x="138" y="188"/>
                  <a:pt x="138" y="188"/>
                  <a:pt x="138" y="188"/>
                </a:cubicBezTo>
                <a:cubicBezTo>
                  <a:pt x="135" y="192"/>
                  <a:pt x="133" y="196"/>
                  <a:pt x="131" y="200"/>
                </a:cubicBezTo>
                <a:cubicBezTo>
                  <a:pt x="71" y="175"/>
                  <a:pt x="71" y="175"/>
                  <a:pt x="71" y="175"/>
                </a:cubicBezTo>
                <a:cubicBezTo>
                  <a:pt x="74" y="168"/>
                  <a:pt x="78" y="161"/>
                  <a:pt x="82" y="154"/>
                </a:cubicBezTo>
                <a:close/>
                <a:moveTo>
                  <a:pt x="69" y="180"/>
                </a:moveTo>
                <a:cubicBezTo>
                  <a:pt x="129" y="205"/>
                  <a:pt x="129" y="205"/>
                  <a:pt x="129" y="205"/>
                </a:cubicBezTo>
                <a:cubicBezTo>
                  <a:pt x="127" y="209"/>
                  <a:pt x="125" y="214"/>
                  <a:pt x="124" y="218"/>
                </a:cubicBezTo>
                <a:cubicBezTo>
                  <a:pt x="61" y="201"/>
                  <a:pt x="61" y="201"/>
                  <a:pt x="61" y="201"/>
                </a:cubicBezTo>
                <a:cubicBezTo>
                  <a:pt x="64" y="194"/>
                  <a:pt x="66" y="187"/>
                  <a:pt x="69" y="180"/>
                </a:cubicBezTo>
                <a:close/>
                <a:moveTo>
                  <a:pt x="60" y="207"/>
                </a:moveTo>
                <a:cubicBezTo>
                  <a:pt x="122" y="223"/>
                  <a:pt x="122" y="223"/>
                  <a:pt x="122" y="223"/>
                </a:cubicBezTo>
                <a:cubicBezTo>
                  <a:pt x="121" y="228"/>
                  <a:pt x="120" y="232"/>
                  <a:pt x="120" y="237"/>
                </a:cubicBezTo>
                <a:cubicBezTo>
                  <a:pt x="56" y="230"/>
                  <a:pt x="56" y="230"/>
                  <a:pt x="56" y="230"/>
                </a:cubicBezTo>
                <a:cubicBezTo>
                  <a:pt x="57" y="222"/>
                  <a:pt x="58" y="214"/>
                  <a:pt x="60" y="207"/>
                </a:cubicBezTo>
                <a:close/>
                <a:moveTo>
                  <a:pt x="55" y="235"/>
                </a:moveTo>
                <a:cubicBezTo>
                  <a:pt x="119" y="243"/>
                  <a:pt x="119" y="243"/>
                  <a:pt x="119" y="243"/>
                </a:cubicBezTo>
                <a:cubicBezTo>
                  <a:pt x="118" y="247"/>
                  <a:pt x="118" y="252"/>
                  <a:pt x="118" y="257"/>
                </a:cubicBezTo>
                <a:cubicBezTo>
                  <a:pt x="54" y="258"/>
                  <a:pt x="54" y="258"/>
                  <a:pt x="54" y="258"/>
                </a:cubicBezTo>
                <a:cubicBezTo>
                  <a:pt x="54" y="251"/>
                  <a:pt x="54" y="243"/>
                  <a:pt x="55" y="235"/>
                </a:cubicBezTo>
                <a:close/>
                <a:moveTo>
                  <a:pt x="54" y="264"/>
                </a:moveTo>
                <a:cubicBezTo>
                  <a:pt x="118" y="262"/>
                  <a:pt x="118" y="262"/>
                  <a:pt x="118" y="262"/>
                </a:cubicBezTo>
                <a:cubicBezTo>
                  <a:pt x="118" y="267"/>
                  <a:pt x="119" y="272"/>
                  <a:pt x="119" y="276"/>
                </a:cubicBezTo>
                <a:cubicBezTo>
                  <a:pt x="56" y="287"/>
                  <a:pt x="56" y="287"/>
                  <a:pt x="56" y="287"/>
                </a:cubicBezTo>
                <a:cubicBezTo>
                  <a:pt x="55" y="279"/>
                  <a:pt x="54" y="272"/>
                  <a:pt x="54" y="264"/>
                </a:cubicBezTo>
                <a:close/>
                <a:moveTo>
                  <a:pt x="57" y="292"/>
                </a:moveTo>
                <a:cubicBezTo>
                  <a:pt x="120" y="282"/>
                  <a:pt x="120" y="282"/>
                  <a:pt x="120" y="282"/>
                </a:cubicBezTo>
                <a:cubicBezTo>
                  <a:pt x="121" y="286"/>
                  <a:pt x="122" y="291"/>
                  <a:pt x="123" y="295"/>
                </a:cubicBezTo>
                <a:cubicBezTo>
                  <a:pt x="63" y="315"/>
                  <a:pt x="63" y="315"/>
                  <a:pt x="63" y="315"/>
                </a:cubicBezTo>
                <a:cubicBezTo>
                  <a:pt x="60" y="307"/>
                  <a:pt x="58" y="300"/>
                  <a:pt x="57" y="292"/>
                </a:cubicBezTo>
                <a:close/>
                <a:moveTo>
                  <a:pt x="73" y="342"/>
                </a:moveTo>
                <a:cubicBezTo>
                  <a:pt x="70" y="335"/>
                  <a:pt x="67" y="328"/>
                  <a:pt x="64" y="320"/>
                </a:cubicBezTo>
                <a:cubicBezTo>
                  <a:pt x="125" y="301"/>
                  <a:pt x="125" y="301"/>
                  <a:pt x="125" y="301"/>
                </a:cubicBezTo>
                <a:cubicBezTo>
                  <a:pt x="127" y="305"/>
                  <a:pt x="128" y="309"/>
                  <a:pt x="130" y="314"/>
                </a:cubicBezTo>
                <a:lnTo>
                  <a:pt x="73" y="342"/>
                </a:lnTo>
                <a:close/>
                <a:moveTo>
                  <a:pt x="75" y="347"/>
                </a:moveTo>
                <a:cubicBezTo>
                  <a:pt x="133" y="319"/>
                  <a:pt x="133" y="319"/>
                  <a:pt x="133" y="319"/>
                </a:cubicBezTo>
                <a:cubicBezTo>
                  <a:pt x="135" y="323"/>
                  <a:pt x="137" y="327"/>
                  <a:pt x="140" y="331"/>
                </a:cubicBezTo>
                <a:cubicBezTo>
                  <a:pt x="87" y="367"/>
                  <a:pt x="87" y="367"/>
                  <a:pt x="87" y="367"/>
                </a:cubicBezTo>
                <a:cubicBezTo>
                  <a:pt x="83" y="360"/>
                  <a:pt x="79" y="354"/>
                  <a:pt x="75" y="347"/>
                </a:cubicBezTo>
                <a:close/>
                <a:moveTo>
                  <a:pt x="90" y="371"/>
                </a:moveTo>
                <a:cubicBezTo>
                  <a:pt x="143" y="336"/>
                  <a:pt x="143" y="336"/>
                  <a:pt x="143" y="336"/>
                </a:cubicBezTo>
                <a:cubicBezTo>
                  <a:pt x="145" y="339"/>
                  <a:pt x="148" y="343"/>
                  <a:pt x="151" y="347"/>
                </a:cubicBezTo>
                <a:cubicBezTo>
                  <a:pt x="104" y="390"/>
                  <a:pt x="104" y="390"/>
                  <a:pt x="104" y="390"/>
                </a:cubicBezTo>
                <a:cubicBezTo>
                  <a:pt x="99" y="384"/>
                  <a:pt x="94" y="378"/>
                  <a:pt x="90" y="371"/>
                </a:cubicBezTo>
                <a:close/>
                <a:moveTo>
                  <a:pt x="125" y="410"/>
                </a:moveTo>
                <a:cubicBezTo>
                  <a:pt x="119" y="405"/>
                  <a:pt x="114" y="399"/>
                  <a:pt x="108" y="394"/>
                </a:cubicBezTo>
                <a:cubicBezTo>
                  <a:pt x="155" y="351"/>
                  <a:pt x="155" y="351"/>
                  <a:pt x="155" y="351"/>
                </a:cubicBezTo>
                <a:cubicBezTo>
                  <a:pt x="158" y="354"/>
                  <a:pt x="162" y="357"/>
                  <a:pt x="165" y="361"/>
                </a:cubicBezTo>
                <a:lnTo>
                  <a:pt x="125" y="410"/>
                </a:lnTo>
                <a:close/>
                <a:moveTo>
                  <a:pt x="148" y="427"/>
                </a:moveTo>
                <a:cubicBezTo>
                  <a:pt x="142" y="423"/>
                  <a:pt x="135" y="418"/>
                  <a:pt x="129" y="413"/>
                </a:cubicBezTo>
                <a:cubicBezTo>
                  <a:pt x="170" y="364"/>
                  <a:pt x="170" y="364"/>
                  <a:pt x="170" y="364"/>
                </a:cubicBezTo>
                <a:cubicBezTo>
                  <a:pt x="173" y="367"/>
                  <a:pt x="177" y="370"/>
                  <a:pt x="181" y="372"/>
                </a:cubicBezTo>
                <a:lnTo>
                  <a:pt x="148" y="427"/>
                </a:lnTo>
                <a:close/>
                <a:moveTo>
                  <a:pt x="153" y="430"/>
                </a:moveTo>
                <a:cubicBezTo>
                  <a:pt x="186" y="375"/>
                  <a:pt x="186" y="375"/>
                  <a:pt x="186" y="375"/>
                </a:cubicBezTo>
                <a:cubicBezTo>
                  <a:pt x="190" y="378"/>
                  <a:pt x="194" y="380"/>
                  <a:pt x="198" y="382"/>
                </a:cubicBezTo>
                <a:cubicBezTo>
                  <a:pt x="174" y="440"/>
                  <a:pt x="174" y="440"/>
                  <a:pt x="174" y="440"/>
                </a:cubicBezTo>
                <a:cubicBezTo>
                  <a:pt x="167" y="437"/>
                  <a:pt x="160" y="433"/>
                  <a:pt x="153" y="430"/>
                </a:cubicBezTo>
                <a:close/>
                <a:moveTo>
                  <a:pt x="179" y="442"/>
                </a:moveTo>
                <a:cubicBezTo>
                  <a:pt x="204" y="384"/>
                  <a:pt x="204" y="384"/>
                  <a:pt x="204" y="384"/>
                </a:cubicBezTo>
                <a:cubicBezTo>
                  <a:pt x="208" y="386"/>
                  <a:pt x="212" y="387"/>
                  <a:pt x="217" y="388"/>
                </a:cubicBezTo>
                <a:cubicBezTo>
                  <a:pt x="201" y="450"/>
                  <a:pt x="201" y="450"/>
                  <a:pt x="201" y="450"/>
                </a:cubicBezTo>
                <a:cubicBezTo>
                  <a:pt x="193" y="448"/>
                  <a:pt x="186" y="445"/>
                  <a:pt x="179" y="442"/>
                </a:cubicBezTo>
                <a:close/>
                <a:moveTo>
                  <a:pt x="206" y="451"/>
                </a:moveTo>
                <a:cubicBezTo>
                  <a:pt x="222" y="390"/>
                  <a:pt x="222" y="390"/>
                  <a:pt x="222" y="390"/>
                </a:cubicBezTo>
                <a:cubicBezTo>
                  <a:pt x="227" y="391"/>
                  <a:pt x="232" y="392"/>
                  <a:pt x="236" y="392"/>
                </a:cubicBezTo>
                <a:cubicBezTo>
                  <a:pt x="229" y="455"/>
                  <a:pt x="229" y="455"/>
                  <a:pt x="229" y="455"/>
                </a:cubicBezTo>
                <a:cubicBezTo>
                  <a:pt x="221" y="454"/>
                  <a:pt x="214" y="453"/>
                  <a:pt x="206" y="451"/>
                </a:cubicBezTo>
                <a:close/>
                <a:moveTo>
                  <a:pt x="234" y="456"/>
                </a:moveTo>
                <a:cubicBezTo>
                  <a:pt x="242" y="393"/>
                  <a:pt x="242" y="393"/>
                  <a:pt x="242" y="393"/>
                </a:cubicBezTo>
                <a:cubicBezTo>
                  <a:pt x="246" y="393"/>
                  <a:pt x="250" y="393"/>
                  <a:pt x="254" y="393"/>
                </a:cubicBezTo>
                <a:cubicBezTo>
                  <a:pt x="254" y="393"/>
                  <a:pt x="255" y="393"/>
                  <a:pt x="256" y="393"/>
                </a:cubicBezTo>
                <a:cubicBezTo>
                  <a:pt x="257" y="457"/>
                  <a:pt x="257" y="457"/>
                  <a:pt x="257" y="457"/>
                </a:cubicBezTo>
                <a:cubicBezTo>
                  <a:pt x="250" y="457"/>
                  <a:pt x="242" y="457"/>
                  <a:pt x="234" y="456"/>
                </a:cubicBezTo>
                <a:close/>
                <a:moveTo>
                  <a:pt x="263" y="457"/>
                </a:moveTo>
                <a:cubicBezTo>
                  <a:pt x="261" y="393"/>
                  <a:pt x="261" y="393"/>
                  <a:pt x="261" y="393"/>
                </a:cubicBezTo>
                <a:cubicBezTo>
                  <a:pt x="266" y="393"/>
                  <a:pt x="271" y="392"/>
                  <a:pt x="275" y="392"/>
                </a:cubicBezTo>
                <a:cubicBezTo>
                  <a:pt x="286" y="455"/>
                  <a:pt x="286" y="455"/>
                  <a:pt x="286" y="455"/>
                </a:cubicBezTo>
                <a:cubicBezTo>
                  <a:pt x="278" y="456"/>
                  <a:pt x="271" y="456"/>
                  <a:pt x="263" y="457"/>
                </a:cubicBezTo>
                <a:close/>
                <a:moveTo>
                  <a:pt x="292" y="454"/>
                </a:moveTo>
                <a:cubicBezTo>
                  <a:pt x="281" y="391"/>
                  <a:pt x="281" y="391"/>
                  <a:pt x="281" y="391"/>
                </a:cubicBezTo>
                <a:cubicBezTo>
                  <a:pt x="285" y="390"/>
                  <a:pt x="290" y="389"/>
                  <a:pt x="294" y="387"/>
                </a:cubicBezTo>
                <a:cubicBezTo>
                  <a:pt x="314" y="448"/>
                  <a:pt x="314" y="448"/>
                  <a:pt x="314" y="448"/>
                </a:cubicBezTo>
                <a:cubicBezTo>
                  <a:pt x="307" y="450"/>
                  <a:pt x="299" y="452"/>
                  <a:pt x="292" y="454"/>
                </a:cubicBezTo>
                <a:close/>
                <a:moveTo>
                  <a:pt x="319" y="446"/>
                </a:moveTo>
                <a:cubicBezTo>
                  <a:pt x="300" y="385"/>
                  <a:pt x="300" y="385"/>
                  <a:pt x="300" y="385"/>
                </a:cubicBezTo>
                <a:cubicBezTo>
                  <a:pt x="304" y="384"/>
                  <a:pt x="308" y="382"/>
                  <a:pt x="313" y="380"/>
                </a:cubicBezTo>
                <a:cubicBezTo>
                  <a:pt x="341" y="438"/>
                  <a:pt x="341" y="438"/>
                  <a:pt x="341" y="438"/>
                </a:cubicBezTo>
                <a:cubicBezTo>
                  <a:pt x="334" y="441"/>
                  <a:pt x="327" y="444"/>
                  <a:pt x="319" y="446"/>
                </a:cubicBezTo>
                <a:close/>
                <a:moveTo>
                  <a:pt x="346" y="435"/>
                </a:moveTo>
                <a:cubicBezTo>
                  <a:pt x="318" y="377"/>
                  <a:pt x="318" y="377"/>
                  <a:pt x="318" y="377"/>
                </a:cubicBezTo>
                <a:cubicBezTo>
                  <a:pt x="322" y="375"/>
                  <a:pt x="326" y="373"/>
                  <a:pt x="330" y="370"/>
                </a:cubicBezTo>
                <a:cubicBezTo>
                  <a:pt x="366" y="423"/>
                  <a:pt x="366" y="423"/>
                  <a:pt x="366" y="423"/>
                </a:cubicBezTo>
                <a:cubicBezTo>
                  <a:pt x="359" y="428"/>
                  <a:pt x="353" y="432"/>
                  <a:pt x="346" y="435"/>
                </a:cubicBezTo>
                <a:close/>
                <a:moveTo>
                  <a:pt x="370" y="420"/>
                </a:moveTo>
                <a:cubicBezTo>
                  <a:pt x="334" y="367"/>
                  <a:pt x="334" y="367"/>
                  <a:pt x="334" y="367"/>
                </a:cubicBezTo>
                <a:cubicBezTo>
                  <a:pt x="338" y="364"/>
                  <a:pt x="341" y="361"/>
                  <a:pt x="345" y="358"/>
                </a:cubicBezTo>
                <a:cubicBezTo>
                  <a:pt x="388" y="406"/>
                  <a:pt x="388" y="406"/>
                  <a:pt x="388" y="406"/>
                </a:cubicBezTo>
                <a:cubicBezTo>
                  <a:pt x="382" y="411"/>
                  <a:pt x="376" y="416"/>
                  <a:pt x="370" y="420"/>
                </a:cubicBezTo>
                <a:close/>
                <a:moveTo>
                  <a:pt x="392" y="402"/>
                </a:moveTo>
                <a:cubicBezTo>
                  <a:pt x="349" y="354"/>
                  <a:pt x="349" y="354"/>
                  <a:pt x="349" y="354"/>
                </a:cubicBezTo>
                <a:cubicBezTo>
                  <a:pt x="352" y="351"/>
                  <a:pt x="355" y="348"/>
                  <a:pt x="358" y="344"/>
                </a:cubicBezTo>
                <a:cubicBezTo>
                  <a:pt x="408" y="385"/>
                  <a:pt x="408" y="385"/>
                  <a:pt x="408" y="385"/>
                </a:cubicBezTo>
                <a:cubicBezTo>
                  <a:pt x="403" y="391"/>
                  <a:pt x="398" y="397"/>
                  <a:pt x="392" y="402"/>
                </a:cubicBezTo>
                <a:close/>
                <a:moveTo>
                  <a:pt x="412" y="381"/>
                </a:moveTo>
                <a:cubicBezTo>
                  <a:pt x="362" y="340"/>
                  <a:pt x="362" y="340"/>
                  <a:pt x="362" y="340"/>
                </a:cubicBezTo>
                <a:cubicBezTo>
                  <a:pt x="364" y="336"/>
                  <a:pt x="367" y="332"/>
                  <a:pt x="369" y="328"/>
                </a:cubicBezTo>
                <a:cubicBezTo>
                  <a:pt x="425" y="362"/>
                  <a:pt x="425" y="362"/>
                  <a:pt x="425" y="362"/>
                </a:cubicBezTo>
                <a:cubicBezTo>
                  <a:pt x="421" y="369"/>
                  <a:pt x="417" y="375"/>
                  <a:pt x="412" y="381"/>
                </a:cubicBezTo>
                <a:close/>
                <a:moveTo>
                  <a:pt x="428" y="357"/>
                </a:moveTo>
                <a:cubicBezTo>
                  <a:pt x="372" y="324"/>
                  <a:pt x="372" y="324"/>
                  <a:pt x="372" y="324"/>
                </a:cubicBezTo>
                <a:cubicBezTo>
                  <a:pt x="375" y="320"/>
                  <a:pt x="377" y="316"/>
                  <a:pt x="378" y="311"/>
                </a:cubicBezTo>
                <a:cubicBezTo>
                  <a:pt x="438" y="337"/>
                  <a:pt x="438" y="337"/>
                  <a:pt x="438" y="337"/>
                </a:cubicBezTo>
                <a:cubicBezTo>
                  <a:pt x="435" y="344"/>
                  <a:pt x="432" y="351"/>
                  <a:pt x="428" y="357"/>
                </a:cubicBezTo>
                <a:close/>
                <a:moveTo>
                  <a:pt x="441" y="332"/>
                </a:moveTo>
                <a:cubicBezTo>
                  <a:pt x="380" y="306"/>
                  <a:pt x="380" y="306"/>
                  <a:pt x="380" y="306"/>
                </a:cubicBezTo>
                <a:cubicBezTo>
                  <a:pt x="382" y="302"/>
                  <a:pt x="384" y="298"/>
                  <a:pt x="385" y="293"/>
                </a:cubicBezTo>
                <a:cubicBezTo>
                  <a:pt x="448" y="310"/>
                  <a:pt x="448" y="310"/>
                  <a:pt x="448" y="310"/>
                </a:cubicBezTo>
                <a:cubicBezTo>
                  <a:pt x="446" y="317"/>
                  <a:pt x="443" y="325"/>
                  <a:pt x="441" y="332"/>
                </a:cubicBezTo>
                <a:close/>
                <a:moveTo>
                  <a:pt x="449" y="305"/>
                </a:moveTo>
                <a:cubicBezTo>
                  <a:pt x="386" y="288"/>
                  <a:pt x="386" y="288"/>
                  <a:pt x="386" y="288"/>
                </a:cubicBezTo>
                <a:cubicBezTo>
                  <a:pt x="387" y="283"/>
                  <a:pt x="388" y="279"/>
                  <a:pt x="388" y="274"/>
                </a:cubicBezTo>
                <a:cubicBezTo>
                  <a:pt x="453" y="282"/>
                  <a:pt x="453" y="282"/>
                  <a:pt x="453" y="282"/>
                </a:cubicBezTo>
                <a:cubicBezTo>
                  <a:pt x="453" y="290"/>
                  <a:pt x="451" y="297"/>
                  <a:pt x="449" y="305"/>
                </a:cubicBezTo>
                <a:close/>
                <a:moveTo>
                  <a:pt x="454" y="276"/>
                </a:moveTo>
                <a:cubicBezTo>
                  <a:pt x="389" y="269"/>
                  <a:pt x="389" y="269"/>
                  <a:pt x="389" y="269"/>
                </a:cubicBezTo>
                <a:cubicBezTo>
                  <a:pt x="389" y="265"/>
                  <a:pt x="389" y="261"/>
                  <a:pt x="389" y="258"/>
                </a:cubicBezTo>
                <a:cubicBezTo>
                  <a:pt x="389" y="257"/>
                  <a:pt x="389" y="256"/>
                  <a:pt x="389" y="255"/>
                </a:cubicBezTo>
                <a:cubicBezTo>
                  <a:pt x="455" y="253"/>
                  <a:pt x="455" y="253"/>
                  <a:pt x="455" y="253"/>
                </a:cubicBezTo>
                <a:cubicBezTo>
                  <a:pt x="455" y="261"/>
                  <a:pt x="455" y="269"/>
                  <a:pt x="454" y="276"/>
                </a:cubicBezTo>
                <a:close/>
              </a:path>
            </a:pathLst>
          </a:custGeom>
          <a:solidFill>
            <a:schemeClr val="accent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401732" y="7896375"/>
            <a:ext cx="10633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kern="1200" dirty="0">
                <a:solidFill>
                  <a:prstClr val="white"/>
                </a:solidFill>
                <a:latin typeface="Open Sans"/>
              </a:rPr>
              <a:t>Text</a:t>
            </a:r>
          </a:p>
        </p:txBody>
      </p:sp>
      <p:sp>
        <p:nvSpPr>
          <p:cNvPr id="29" name="Freeform 29"/>
          <p:cNvSpPr>
            <a:spLocks noEditPoints="1"/>
          </p:cNvSpPr>
          <p:nvPr/>
        </p:nvSpPr>
        <p:spPr bwMode="auto">
          <a:xfrm>
            <a:off x="6805023" y="6292610"/>
            <a:ext cx="2148174" cy="2153784"/>
          </a:xfrm>
          <a:custGeom>
            <a:avLst/>
            <a:gdLst>
              <a:gd name="T0" fmla="*/ 508 w 536"/>
              <a:gd name="T1" fmla="*/ 238 h 537"/>
              <a:gd name="T2" fmla="*/ 524 w 536"/>
              <a:gd name="T3" fmla="*/ 191 h 537"/>
              <a:gd name="T4" fmla="*/ 478 w 536"/>
              <a:gd name="T5" fmla="*/ 148 h 537"/>
              <a:gd name="T6" fmla="*/ 484 w 536"/>
              <a:gd name="T7" fmla="*/ 109 h 537"/>
              <a:gd name="T8" fmla="*/ 434 w 536"/>
              <a:gd name="T9" fmla="*/ 91 h 537"/>
              <a:gd name="T10" fmla="*/ 428 w 536"/>
              <a:gd name="T11" fmla="*/ 52 h 537"/>
              <a:gd name="T12" fmla="*/ 378 w 536"/>
              <a:gd name="T13" fmla="*/ 23 h 537"/>
              <a:gd name="T14" fmla="*/ 341 w 536"/>
              <a:gd name="T15" fmla="*/ 37 h 537"/>
              <a:gd name="T16" fmla="*/ 305 w 536"/>
              <a:gd name="T17" fmla="*/ 28 h 537"/>
              <a:gd name="T18" fmla="*/ 278 w 536"/>
              <a:gd name="T19" fmla="*/ 0 h 537"/>
              <a:gd name="T20" fmla="*/ 221 w 536"/>
              <a:gd name="T21" fmla="*/ 4 h 537"/>
              <a:gd name="T22" fmla="*/ 198 w 536"/>
              <a:gd name="T23" fmla="*/ 35 h 537"/>
              <a:gd name="T24" fmla="*/ 135 w 536"/>
              <a:gd name="T25" fmla="*/ 35 h 537"/>
              <a:gd name="T26" fmla="*/ 104 w 536"/>
              <a:gd name="T27" fmla="*/ 89 h 537"/>
              <a:gd name="T28" fmla="*/ 72 w 536"/>
              <a:gd name="T29" fmla="*/ 84 h 537"/>
              <a:gd name="T30" fmla="*/ 58 w 536"/>
              <a:gd name="T31" fmla="*/ 145 h 537"/>
              <a:gd name="T32" fmla="*/ 31 w 536"/>
              <a:gd name="T33" fmla="*/ 140 h 537"/>
              <a:gd name="T34" fmla="*/ 42 w 536"/>
              <a:gd name="T35" fmla="*/ 177 h 537"/>
              <a:gd name="T36" fmla="*/ 2 w 536"/>
              <a:gd name="T37" fmla="*/ 226 h 537"/>
              <a:gd name="T38" fmla="*/ 25 w 536"/>
              <a:gd name="T39" fmla="*/ 285 h 537"/>
              <a:gd name="T40" fmla="*/ 3 w 536"/>
              <a:gd name="T41" fmla="*/ 317 h 537"/>
              <a:gd name="T42" fmla="*/ 20 w 536"/>
              <a:gd name="T43" fmla="*/ 372 h 537"/>
              <a:gd name="T44" fmla="*/ 56 w 536"/>
              <a:gd name="T45" fmla="*/ 387 h 537"/>
              <a:gd name="T46" fmla="*/ 69 w 536"/>
              <a:gd name="T47" fmla="*/ 449 h 537"/>
              <a:gd name="T48" fmla="*/ 129 w 536"/>
              <a:gd name="T49" fmla="*/ 468 h 537"/>
              <a:gd name="T50" fmla="*/ 141 w 536"/>
              <a:gd name="T51" fmla="*/ 505 h 537"/>
              <a:gd name="T52" fmla="*/ 194 w 536"/>
              <a:gd name="T53" fmla="*/ 527 h 537"/>
              <a:gd name="T54" fmla="*/ 229 w 536"/>
              <a:gd name="T55" fmla="*/ 508 h 537"/>
              <a:gd name="T56" fmla="*/ 285 w 536"/>
              <a:gd name="T57" fmla="*/ 536 h 537"/>
              <a:gd name="T58" fmla="*/ 338 w 536"/>
              <a:gd name="T59" fmla="*/ 501 h 537"/>
              <a:gd name="T60" fmla="*/ 374 w 536"/>
              <a:gd name="T61" fmla="*/ 515 h 537"/>
              <a:gd name="T62" fmla="*/ 371 w 536"/>
              <a:gd name="T63" fmla="*/ 488 h 537"/>
              <a:gd name="T64" fmla="*/ 433 w 536"/>
              <a:gd name="T65" fmla="*/ 479 h 537"/>
              <a:gd name="T66" fmla="*/ 431 w 536"/>
              <a:gd name="T67" fmla="*/ 447 h 537"/>
              <a:gd name="T68" fmla="*/ 488 w 536"/>
              <a:gd name="T69" fmla="*/ 421 h 537"/>
              <a:gd name="T70" fmla="*/ 493 w 536"/>
              <a:gd name="T71" fmla="*/ 358 h 537"/>
              <a:gd name="T72" fmla="*/ 527 w 536"/>
              <a:gd name="T73" fmla="*/ 339 h 537"/>
              <a:gd name="T74" fmla="*/ 536 w 536"/>
              <a:gd name="T75" fmla="*/ 282 h 537"/>
              <a:gd name="T76" fmla="*/ 510 w 536"/>
              <a:gd name="T77" fmla="*/ 252 h 537"/>
              <a:gd name="T78" fmla="*/ 442 w 536"/>
              <a:gd name="T79" fmla="*/ 224 h 537"/>
              <a:gd name="T80" fmla="*/ 422 w 536"/>
              <a:gd name="T81" fmla="*/ 127 h 537"/>
              <a:gd name="T82" fmla="*/ 279 w 536"/>
              <a:gd name="T83" fmla="*/ 89 h 537"/>
              <a:gd name="T84" fmla="*/ 91 w 536"/>
              <a:gd name="T85" fmla="*/ 152 h 537"/>
              <a:gd name="T86" fmla="*/ 101 w 536"/>
              <a:gd name="T87" fmla="*/ 202 h 537"/>
              <a:gd name="T88" fmla="*/ 102 w 536"/>
              <a:gd name="T89" fmla="*/ 400 h 537"/>
              <a:gd name="T90" fmla="*/ 153 w 536"/>
              <a:gd name="T91" fmla="*/ 406 h 537"/>
              <a:gd name="T92" fmla="*/ 342 w 536"/>
              <a:gd name="T93" fmla="*/ 466 h 537"/>
              <a:gd name="T94" fmla="*/ 367 w 536"/>
              <a:gd name="T95" fmla="*/ 454 h 537"/>
              <a:gd name="T96" fmla="*/ 477 w 536"/>
              <a:gd name="T97" fmla="*/ 259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6" h="537">
                <a:moveTo>
                  <a:pt x="510" y="252"/>
                </a:moveTo>
                <a:cubicBezTo>
                  <a:pt x="509" y="250"/>
                  <a:pt x="509" y="247"/>
                  <a:pt x="509" y="245"/>
                </a:cubicBezTo>
                <a:cubicBezTo>
                  <a:pt x="508" y="238"/>
                  <a:pt x="508" y="238"/>
                  <a:pt x="508" y="238"/>
                </a:cubicBezTo>
                <a:cubicBezTo>
                  <a:pt x="507" y="230"/>
                  <a:pt x="506" y="223"/>
                  <a:pt x="504" y="216"/>
                </a:cubicBezTo>
                <a:cubicBezTo>
                  <a:pt x="528" y="202"/>
                  <a:pt x="528" y="202"/>
                  <a:pt x="528" y="202"/>
                </a:cubicBezTo>
                <a:cubicBezTo>
                  <a:pt x="524" y="191"/>
                  <a:pt x="524" y="191"/>
                  <a:pt x="524" y="191"/>
                </a:cubicBezTo>
                <a:cubicBezTo>
                  <a:pt x="521" y="180"/>
                  <a:pt x="521" y="180"/>
                  <a:pt x="521" y="180"/>
                </a:cubicBezTo>
                <a:cubicBezTo>
                  <a:pt x="494" y="182"/>
                  <a:pt x="494" y="182"/>
                  <a:pt x="494" y="182"/>
                </a:cubicBezTo>
                <a:cubicBezTo>
                  <a:pt x="490" y="170"/>
                  <a:pt x="485" y="159"/>
                  <a:pt x="478" y="148"/>
                </a:cubicBezTo>
                <a:cubicBezTo>
                  <a:pt x="497" y="128"/>
                  <a:pt x="497" y="128"/>
                  <a:pt x="497" y="128"/>
                </a:cubicBezTo>
                <a:cubicBezTo>
                  <a:pt x="490" y="119"/>
                  <a:pt x="490" y="119"/>
                  <a:pt x="490" y="119"/>
                </a:cubicBezTo>
                <a:cubicBezTo>
                  <a:pt x="484" y="109"/>
                  <a:pt x="484" y="109"/>
                  <a:pt x="484" y="109"/>
                </a:cubicBezTo>
                <a:cubicBezTo>
                  <a:pt x="459" y="119"/>
                  <a:pt x="459" y="119"/>
                  <a:pt x="459" y="119"/>
                </a:cubicBezTo>
                <a:cubicBezTo>
                  <a:pt x="455" y="114"/>
                  <a:pt x="451" y="109"/>
                  <a:pt x="447" y="104"/>
                </a:cubicBezTo>
                <a:cubicBezTo>
                  <a:pt x="442" y="100"/>
                  <a:pt x="438" y="95"/>
                  <a:pt x="434" y="91"/>
                </a:cubicBezTo>
                <a:cubicBezTo>
                  <a:pt x="445" y="67"/>
                  <a:pt x="445" y="67"/>
                  <a:pt x="445" y="67"/>
                </a:cubicBezTo>
                <a:cubicBezTo>
                  <a:pt x="436" y="60"/>
                  <a:pt x="436" y="60"/>
                  <a:pt x="436" y="60"/>
                </a:cubicBezTo>
                <a:cubicBezTo>
                  <a:pt x="428" y="52"/>
                  <a:pt x="428" y="52"/>
                  <a:pt x="428" y="52"/>
                </a:cubicBezTo>
                <a:cubicBezTo>
                  <a:pt x="406" y="69"/>
                  <a:pt x="406" y="69"/>
                  <a:pt x="406" y="69"/>
                </a:cubicBezTo>
                <a:cubicBezTo>
                  <a:pt x="396" y="62"/>
                  <a:pt x="385" y="55"/>
                  <a:pt x="374" y="50"/>
                </a:cubicBezTo>
                <a:cubicBezTo>
                  <a:pt x="378" y="23"/>
                  <a:pt x="378" y="23"/>
                  <a:pt x="378" y="23"/>
                </a:cubicBezTo>
                <a:cubicBezTo>
                  <a:pt x="367" y="19"/>
                  <a:pt x="367" y="19"/>
                  <a:pt x="367" y="19"/>
                </a:cubicBezTo>
                <a:cubicBezTo>
                  <a:pt x="357" y="15"/>
                  <a:pt x="357" y="15"/>
                  <a:pt x="357" y="15"/>
                </a:cubicBezTo>
                <a:cubicBezTo>
                  <a:pt x="341" y="37"/>
                  <a:pt x="341" y="37"/>
                  <a:pt x="341" y="37"/>
                </a:cubicBezTo>
                <a:cubicBezTo>
                  <a:pt x="334" y="35"/>
                  <a:pt x="327" y="33"/>
                  <a:pt x="319" y="31"/>
                </a:cubicBezTo>
                <a:cubicBezTo>
                  <a:pt x="313" y="30"/>
                  <a:pt x="313" y="30"/>
                  <a:pt x="313" y="30"/>
                </a:cubicBezTo>
                <a:cubicBezTo>
                  <a:pt x="310" y="29"/>
                  <a:pt x="308" y="29"/>
                  <a:pt x="305" y="28"/>
                </a:cubicBezTo>
                <a:cubicBezTo>
                  <a:pt x="301" y="2"/>
                  <a:pt x="301" y="2"/>
                  <a:pt x="301" y="2"/>
                </a:cubicBezTo>
                <a:cubicBezTo>
                  <a:pt x="290" y="1"/>
                  <a:pt x="290" y="1"/>
                  <a:pt x="290" y="1"/>
                </a:cubicBezTo>
                <a:cubicBezTo>
                  <a:pt x="278" y="0"/>
                  <a:pt x="278" y="0"/>
                  <a:pt x="278" y="0"/>
                </a:cubicBezTo>
                <a:cubicBezTo>
                  <a:pt x="270" y="25"/>
                  <a:pt x="270" y="25"/>
                  <a:pt x="270" y="25"/>
                </a:cubicBezTo>
                <a:cubicBezTo>
                  <a:pt x="257" y="25"/>
                  <a:pt x="245" y="26"/>
                  <a:pt x="233" y="28"/>
                </a:cubicBezTo>
                <a:cubicBezTo>
                  <a:pt x="221" y="4"/>
                  <a:pt x="221" y="4"/>
                  <a:pt x="221" y="4"/>
                </a:cubicBezTo>
                <a:cubicBezTo>
                  <a:pt x="210" y="6"/>
                  <a:pt x="210" y="6"/>
                  <a:pt x="210" y="6"/>
                </a:cubicBezTo>
                <a:cubicBezTo>
                  <a:pt x="199" y="8"/>
                  <a:pt x="199" y="8"/>
                  <a:pt x="199" y="8"/>
                </a:cubicBezTo>
                <a:cubicBezTo>
                  <a:pt x="198" y="35"/>
                  <a:pt x="198" y="35"/>
                  <a:pt x="198" y="35"/>
                </a:cubicBezTo>
                <a:cubicBezTo>
                  <a:pt x="186" y="39"/>
                  <a:pt x="175" y="43"/>
                  <a:pt x="163" y="49"/>
                </a:cubicBezTo>
                <a:cubicBezTo>
                  <a:pt x="145" y="29"/>
                  <a:pt x="145" y="29"/>
                  <a:pt x="145" y="29"/>
                </a:cubicBezTo>
                <a:cubicBezTo>
                  <a:pt x="135" y="35"/>
                  <a:pt x="135" y="35"/>
                  <a:pt x="135" y="35"/>
                </a:cubicBezTo>
                <a:cubicBezTo>
                  <a:pt x="125" y="40"/>
                  <a:pt x="125" y="40"/>
                  <a:pt x="125" y="40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22" y="73"/>
                  <a:pt x="113" y="80"/>
                  <a:pt x="104" y="89"/>
                </a:cubicBezTo>
                <a:cubicBezTo>
                  <a:pt x="103" y="89"/>
                  <a:pt x="103" y="89"/>
                  <a:pt x="103" y="89"/>
                </a:cubicBezTo>
                <a:cubicBezTo>
                  <a:pt x="80" y="76"/>
                  <a:pt x="80" y="76"/>
                  <a:pt x="80" y="76"/>
                </a:cubicBezTo>
                <a:cubicBezTo>
                  <a:pt x="72" y="84"/>
                  <a:pt x="72" y="84"/>
                  <a:pt x="72" y="84"/>
                </a:cubicBezTo>
                <a:cubicBezTo>
                  <a:pt x="64" y="92"/>
                  <a:pt x="64" y="92"/>
                  <a:pt x="64" y="92"/>
                </a:cubicBezTo>
                <a:cubicBezTo>
                  <a:pt x="79" y="115"/>
                  <a:pt x="79" y="115"/>
                  <a:pt x="79" y="115"/>
                </a:cubicBezTo>
                <a:cubicBezTo>
                  <a:pt x="71" y="125"/>
                  <a:pt x="64" y="135"/>
                  <a:pt x="58" y="145"/>
                </a:cubicBezTo>
                <a:cubicBezTo>
                  <a:pt x="47" y="143"/>
                  <a:pt x="47" y="143"/>
                  <a:pt x="47" y="143"/>
                </a:cubicBezTo>
                <a:cubicBezTo>
                  <a:pt x="47" y="143"/>
                  <a:pt x="47" y="143"/>
                  <a:pt x="47" y="143"/>
                </a:cubicBezTo>
                <a:cubicBezTo>
                  <a:pt x="31" y="140"/>
                  <a:pt x="31" y="140"/>
                  <a:pt x="31" y="140"/>
                </a:cubicBezTo>
                <a:cubicBezTo>
                  <a:pt x="26" y="150"/>
                  <a:pt x="26" y="150"/>
                  <a:pt x="26" y="150"/>
                </a:cubicBezTo>
                <a:cubicBezTo>
                  <a:pt x="21" y="160"/>
                  <a:pt x="21" y="160"/>
                  <a:pt x="21" y="160"/>
                </a:cubicBezTo>
                <a:cubicBezTo>
                  <a:pt x="42" y="177"/>
                  <a:pt x="42" y="177"/>
                  <a:pt x="42" y="177"/>
                </a:cubicBezTo>
                <a:cubicBezTo>
                  <a:pt x="37" y="189"/>
                  <a:pt x="34" y="201"/>
                  <a:pt x="31" y="213"/>
                </a:cubicBezTo>
                <a:cubicBezTo>
                  <a:pt x="4" y="215"/>
                  <a:pt x="4" y="215"/>
                  <a:pt x="4" y="215"/>
                </a:cubicBezTo>
                <a:cubicBezTo>
                  <a:pt x="2" y="226"/>
                  <a:pt x="2" y="226"/>
                  <a:pt x="2" y="226"/>
                </a:cubicBezTo>
                <a:cubicBezTo>
                  <a:pt x="0" y="237"/>
                  <a:pt x="0" y="237"/>
                  <a:pt x="0" y="237"/>
                </a:cubicBezTo>
                <a:cubicBezTo>
                  <a:pt x="25" y="248"/>
                  <a:pt x="25" y="248"/>
                  <a:pt x="25" y="248"/>
                </a:cubicBezTo>
                <a:cubicBezTo>
                  <a:pt x="24" y="260"/>
                  <a:pt x="24" y="272"/>
                  <a:pt x="25" y="285"/>
                </a:cubicBezTo>
                <a:cubicBezTo>
                  <a:pt x="0" y="295"/>
                  <a:pt x="0" y="295"/>
                  <a:pt x="0" y="295"/>
                </a:cubicBezTo>
                <a:cubicBezTo>
                  <a:pt x="2" y="306"/>
                  <a:pt x="2" y="306"/>
                  <a:pt x="2" y="306"/>
                </a:cubicBezTo>
                <a:cubicBezTo>
                  <a:pt x="3" y="317"/>
                  <a:pt x="3" y="317"/>
                  <a:pt x="3" y="317"/>
                </a:cubicBezTo>
                <a:cubicBezTo>
                  <a:pt x="30" y="320"/>
                  <a:pt x="30" y="320"/>
                  <a:pt x="30" y="320"/>
                </a:cubicBezTo>
                <a:cubicBezTo>
                  <a:pt x="33" y="332"/>
                  <a:pt x="36" y="344"/>
                  <a:pt x="41" y="356"/>
                </a:cubicBezTo>
                <a:cubicBezTo>
                  <a:pt x="20" y="372"/>
                  <a:pt x="20" y="372"/>
                  <a:pt x="20" y="372"/>
                </a:cubicBezTo>
                <a:cubicBezTo>
                  <a:pt x="24" y="383"/>
                  <a:pt x="24" y="383"/>
                  <a:pt x="24" y="383"/>
                </a:cubicBezTo>
                <a:cubicBezTo>
                  <a:pt x="29" y="393"/>
                  <a:pt x="29" y="393"/>
                  <a:pt x="29" y="393"/>
                </a:cubicBezTo>
                <a:cubicBezTo>
                  <a:pt x="56" y="387"/>
                  <a:pt x="56" y="387"/>
                  <a:pt x="56" y="387"/>
                </a:cubicBezTo>
                <a:cubicBezTo>
                  <a:pt x="62" y="398"/>
                  <a:pt x="69" y="409"/>
                  <a:pt x="77" y="418"/>
                </a:cubicBezTo>
                <a:cubicBezTo>
                  <a:pt x="61" y="441"/>
                  <a:pt x="61" y="441"/>
                  <a:pt x="61" y="441"/>
                </a:cubicBezTo>
                <a:cubicBezTo>
                  <a:pt x="69" y="449"/>
                  <a:pt x="69" y="449"/>
                  <a:pt x="69" y="449"/>
                </a:cubicBezTo>
                <a:cubicBezTo>
                  <a:pt x="77" y="458"/>
                  <a:pt x="77" y="458"/>
                  <a:pt x="77" y="458"/>
                </a:cubicBezTo>
                <a:cubicBezTo>
                  <a:pt x="100" y="444"/>
                  <a:pt x="100" y="444"/>
                  <a:pt x="100" y="444"/>
                </a:cubicBezTo>
                <a:cubicBezTo>
                  <a:pt x="110" y="453"/>
                  <a:pt x="119" y="461"/>
                  <a:pt x="129" y="468"/>
                </a:cubicBezTo>
                <a:cubicBezTo>
                  <a:pt x="121" y="494"/>
                  <a:pt x="121" y="494"/>
                  <a:pt x="121" y="494"/>
                </a:cubicBezTo>
                <a:cubicBezTo>
                  <a:pt x="131" y="500"/>
                  <a:pt x="131" y="500"/>
                  <a:pt x="131" y="500"/>
                </a:cubicBezTo>
                <a:cubicBezTo>
                  <a:pt x="141" y="505"/>
                  <a:pt x="141" y="505"/>
                  <a:pt x="141" y="505"/>
                </a:cubicBezTo>
                <a:cubicBezTo>
                  <a:pt x="160" y="486"/>
                  <a:pt x="160" y="486"/>
                  <a:pt x="160" y="486"/>
                </a:cubicBezTo>
                <a:cubicBezTo>
                  <a:pt x="171" y="491"/>
                  <a:pt x="183" y="496"/>
                  <a:pt x="194" y="500"/>
                </a:cubicBezTo>
                <a:cubicBezTo>
                  <a:pt x="194" y="527"/>
                  <a:pt x="194" y="527"/>
                  <a:pt x="194" y="527"/>
                </a:cubicBezTo>
                <a:cubicBezTo>
                  <a:pt x="205" y="529"/>
                  <a:pt x="205" y="529"/>
                  <a:pt x="205" y="529"/>
                </a:cubicBezTo>
                <a:cubicBezTo>
                  <a:pt x="216" y="532"/>
                  <a:pt x="216" y="532"/>
                  <a:pt x="216" y="532"/>
                </a:cubicBezTo>
                <a:cubicBezTo>
                  <a:pt x="229" y="508"/>
                  <a:pt x="229" y="508"/>
                  <a:pt x="229" y="508"/>
                </a:cubicBezTo>
                <a:cubicBezTo>
                  <a:pt x="241" y="510"/>
                  <a:pt x="253" y="511"/>
                  <a:pt x="266" y="511"/>
                </a:cubicBezTo>
                <a:cubicBezTo>
                  <a:pt x="274" y="537"/>
                  <a:pt x="274" y="537"/>
                  <a:pt x="274" y="537"/>
                </a:cubicBezTo>
                <a:cubicBezTo>
                  <a:pt x="285" y="536"/>
                  <a:pt x="285" y="536"/>
                  <a:pt x="285" y="536"/>
                </a:cubicBezTo>
                <a:cubicBezTo>
                  <a:pt x="297" y="535"/>
                  <a:pt x="297" y="535"/>
                  <a:pt x="297" y="535"/>
                </a:cubicBezTo>
                <a:cubicBezTo>
                  <a:pt x="301" y="509"/>
                  <a:pt x="301" y="509"/>
                  <a:pt x="301" y="509"/>
                </a:cubicBezTo>
                <a:cubicBezTo>
                  <a:pt x="313" y="507"/>
                  <a:pt x="326" y="504"/>
                  <a:pt x="338" y="501"/>
                </a:cubicBezTo>
                <a:cubicBezTo>
                  <a:pt x="353" y="523"/>
                  <a:pt x="353" y="523"/>
                  <a:pt x="353" y="523"/>
                </a:cubicBezTo>
                <a:cubicBezTo>
                  <a:pt x="363" y="519"/>
                  <a:pt x="363" y="519"/>
                  <a:pt x="363" y="519"/>
                </a:cubicBezTo>
                <a:cubicBezTo>
                  <a:pt x="374" y="515"/>
                  <a:pt x="374" y="515"/>
                  <a:pt x="374" y="515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1" y="488"/>
                  <a:pt x="371" y="488"/>
                  <a:pt x="371" y="488"/>
                </a:cubicBezTo>
                <a:cubicBezTo>
                  <a:pt x="382" y="483"/>
                  <a:pt x="393" y="477"/>
                  <a:pt x="403" y="470"/>
                </a:cubicBezTo>
                <a:cubicBezTo>
                  <a:pt x="424" y="486"/>
                  <a:pt x="424" y="486"/>
                  <a:pt x="424" y="486"/>
                </a:cubicBezTo>
                <a:cubicBezTo>
                  <a:pt x="433" y="479"/>
                  <a:pt x="433" y="479"/>
                  <a:pt x="433" y="479"/>
                </a:cubicBezTo>
                <a:cubicBezTo>
                  <a:pt x="442" y="472"/>
                  <a:pt x="442" y="472"/>
                  <a:pt x="442" y="472"/>
                </a:cubicBezTo>
                <a:cubicBezTo>
                  <a:pt x="431" y="448"/>
                  <a:pt x="431" y="448"/>
                  <a:pt x="431" y="448"/>
                </a:cubicBezTo>
                <a:cubicBezTo>
                  <a:pt x="431" y="448"/>
                  <a:pt x="431" y="448"/>
                  <a:pt x="431" y="447"/>
                </a:cubicBezTo>
                <a:cubicBezTo>
                  <a:pt x="440" y="439"/>
                  <a:pt x="449" y="430"/>
                  <a:pt x="456" y="421"/>
                </a:cubicBezTo>
                <a:cubicBezTo>
                  <a:pt x="481" y="431"/>
                  <a:pt x="481" y="431"/>
                  <a:pt x="481" y="431"/>
                </a:cubicBezTo>
                <a:cubicBezTo>
                  <a:pt x="488" y="421"/>
                  <a:pt x="488" y="421"/>
                  <a:pt x="488" y="421"/>
                </a:cubicBezTo>
                <a:cubicBezTo>
                  <a:pt x="494" y="412"/>
                  <a:pt x="494" y="412"/>
                  <a:pt x="494" y="412"/>
                </a:cubicBezTo>
                <a:cubicBezTo>
                  <a:pt x="476" y="392"/>
                  <a:pt x="476" y="392"/>
                  <a:pt x="476" y="392"/>
                </a:cubicBezTo>
                <a:cubicBezTo>
                  <a:pt x="483" y="381"/>
                  <a:pt x="488" y="370"/>
                  <a:pt x="493" y="358"/>
                </a:cubicBezTo>
                <a:cubicBezTo>
                  <a:pt x="520" y="360"/>
                  <a:pt x="520" y="360"/>
                  <a:pt x="520" y="360"/>
                </a:cubicBezTo>
                <a:cubicBezTo>
                  <a:pt x="523" y="349"/>
                  <a:pt x="523" y="349"/>
                  <a:pt x="523" y="349"/>
                </a:cubicBezTo>
                <a:cubicBezTo>
                  <a:pt x="527" y="339"/>
                  <a:pt x="527" y="339"/>
                  <a:pt x="527" y="339"/>
                </a:cubicBezTo>
                <a:cubicBezTo>
                  <a:pt x="503" y="325"/>
                  <a:pt x="503" y="325"/>
                  <a:pt x="503" y="325"/>
                </a:cubicBezTo>
                <a:cubicBezTo>
                  <a:pt x="506" y="312"/>
                  <a:pt x="508" y="300"/>
                  <a:pt x="509" y="288"/>
                </a:cubicBezTo>
                <a:cubicBezTo>
                  <a:pt x="536" y="282"/>
                  <a:pt x="536" y="282"/>
                  <a:pt x="536" y="282"/>
                </a:cubicBezTo>
                <a:cubicBezTo>
                  <a:pt x="536" y="270"/>
                  <a:pt x="536" y="270"/>
                  <a:pt x="536" y="270"/>
                </a:cubicBezTo>
                <a:cubicBezTo>
                  <a:pt x="536" y="259"/>
                  <a:pt x="536" y="259"/>
                  <a:pt x="536" y="259"/>
                </a:cubicBezTo>
                <a:lnTo>
                  <a:pt x="510" y="252"/>
                </a:lnTo>
                <a:close/>
                <a:moveTo>
                  <a:pt x="422" y="127"/>
                </a:moveTo>
                <a:cubicBezTo>
                  <a:pt x="450" y="157"/>
                  <a:pt x="467" y="193"/>
                  <a:pt x="474" y="231"/>
                </a:cubicBezTo>
                <a:cubicBezTo>
                  <a:pt x="442" y="224"/>
                  <a:pt x="442" y="224"/>
                  <a:pt x="442" y="224"/>
                </a:cubicBezTo>
                <a:cubicBezTo>
                  <a:pt x="427" y="166"/>
                  <a:pt x="383" y="119"/>
                  <a:pt x="327" y="99"/>
                </a:cubicBezTo>
                <a:cubicBezTo>
                  <a:pt x="323" y="66"/>
                  <a:pt x="323" y="66"/>
                  <a:pt x="323" y="66"/>
                </a:cubicBezTo>
                <a:cubicBezTo>
                  <a:pt x="360" y="76"/>
                  <a:pt x="395" y="96"/>
                  <a:pt x="422" y="127"/>
                </a:cubicBezTo>
                <a:close/>
                <a:moveTo>
                  <a:pt x="125" y="113"/>
                </a:moveTo>
                <a:cubicBezTo>
                  <a:pt x="173" y="69"/>
                  <a:pt x="236" y="52"/>
                  <a:pt x="296" y="60"/>
                </a:cubicBezTo>
                <a:cubicBezTo>
                  <a:pt x="279" y="89"/>
                  <a:pt x="279" y="89"/>
                  <a:pt x="279" y="89"/>
                </a:cubicBezTo>
                <a:cubicBezTo>
                  <a:pt x="275" y="89"/>
                  <a:pt x="272" y="89"/>
                  <a:pt x="268" y="89"/>
                </a:cubicBezTo>
                <a:cubicBezTo>
                  <a:pt x="210" y="89"/>
                  <a:pt x="158" y="116"/>
                  <a:pt x="125" y="159"/>
                </a:cubicBezTo>
                <a:cubicBezTo>
                  <a:pt x="91" y="152"/>
                  <a:pt x="91" y="152"/>
                  <a:pt x="91" y="152"/>
                </a:cubicBezTo>
                <a:cubicBezTo>
                  <a:pt x="100" y="138"/>
                  <a:pt x="112" y="125"/>
                  <a:pt x="125" y="113"/>
                </a:cubicBezTo>
                <a:close/>
                <a:moveTo>
                  <a:pt x="77" y="176"/>
                </a:moveTo>
                <a:cubicBezTo>
                  <a:pt x="101" y="202"/>
                  <a:pt x="101" y="202"/>
                  <a:pt x="101" y="202"/>
                </a:cubicBezTo>
                <a:cubicBezTo>
                  <a:pt x="93" y="223"/>
                  <a:pt x="88" y="245"/>
                  <a:pt x="88" y="268"/>
                </a:cubicBezTo>
                <a:cubicBezTo>
                  <a:pt x="88" y="306"/>
                  <a:pt x="100" y="341"/>
                  <a:pt x="120" y="369"/>
                </a:cubicBezTo>
                <a:cubicBezTo>
                  <a:pt x="102" y="400"/>
                  <a:pt x="102" y="400"/>
                  <a:pt x="102" y="400"/>
                </a:cubicBezTo>
                <a:cubicBezTo>
                  <a:pt x="50" y="335"/>
                  <a:pt x="42" y="248"/>
                  <a:pt x="77" y="176"/>
                </a:cubicBezTo>
                <a:close/>
                <a:moveTo>
                  <a:pt x="121" y="421"/>
                </a:moveTo>
                <a:cubicBezTo>
                  <a:pt x="153" y="406"/>
                  <a:pt x="153" y="406"/>
                  <a:pt x="153" y="406"/>
                </a:cubicBezTo>
                <a:cubicBezTo>
                  <a:pt x="184" y="432"/>
                  <a:pt x="224" y="448"/>
                  <a:pt x="268" y="448"/>
                </a:cubicBezTo>
                <a:cubicBezTo>
                  <a:pt x="285" y="448"/>
                  <a:pt x="302" y="445"/>
                  <a:pt x="318" y="440"/>
                </a:cubicBezTo>
                <a:cubicBezTo>
                  <a:pt x="342" y="466"/>
                  <a:pt x="342" y="466"/>
                  <a:pt x="342" y="466"/>
                </a:cubicBezTo>
                <a:cubicBezTo>
                  <a:pt x="267" y="494"/>
                  <a:pt x="181" y="478"/>
                  <a:pt x="121" y="421"/>
                </a:cubicBezTo>
                <a:close/>
                <a:moveTo>
                  <a:pt x="409" y="424"/>
                </a:moveTo>
                <a:cubicBezTo>
                  <a:pt x="396" y="436"/>
                  <a:pt x="382" y="446"/>
                  <a:pt x="367" y="454"/>
                </a:cubicBezTo>
                <a:cubicBezTo>
                  <a:pt x="363" y="420"/>
                  <a:pt x="363" y="420"/>
                  <a:pt x="363" y="420"/>
                </a:cubicBezTo>
                <a:cubicBezTo>
                  <a:pt x="413" y="389"/>
                  <a:pt x="446" y="335"/>
                  <a:pt x="447" y="273"/>
                </a:cubicBezTo>
                <a:cubicBezTo>
                  <a:pt x="477" y="259"/>
                  <a:pt x="477" y="259"/>
                  <a:pt x="477" y="259"/>
                </a:cubicBezTo>
                <a:cubicBezTo>
                  <a:pt x="480" y="319"/>
                  <a:pt x="457" y="380"/>
                  <a:pt x="409" y="42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1" name="Freeform 25"/>
          <p:cNvSpPr>
            <a:spLocks noEditPoints="1"/>
          </p:cNvSpPr>
          <p:nvPr/>
        </p:nvSpPr>
        <p:spPr bwMode="auto">
          <a:xfrm>
            <a:off x="7623684" y="7049780"/>
            <a:ext cx="552744" cy="737620"/>
          </a:xfrm>
          <a:custGeom>
            <a:avLst/>
            <a:gdLst>
              <a:gd name="T0" fmla="*/ 61 w 122"/>
              <a:gd name="T1" fmla="*/ 0 h 163"/>
              <a:gd name="T2" fmla="*/ 0 w 122"/>
              <a:gd name="T3" fmla="*/ 61 h 163"/>
              <a:gd name="T4" fmla="*/ 41 w 122"/>
              <a:gd name="T5" fmla="*/ 118 h 163"/>
              <a:gd name="T6" fmla="*/ 41 w 122"/>
              <a:gd name="T7" fmla="*/ 152 h 163"/>
              <a:gd name="T8" fmla="*/ 47 w 122"/>
              <a:gd name="T9" fmla="*/ 156 h 163"/>
              <a:gd name="T10" fmla="*/ 52 w 122"/>
              <a:gd name="T11" fmla="*/ 163 h 163"/>
              <a:gd name="T12" fmla="*/ 70 w 122"/>
              <a:gd name="T13" fmla="*/ 163 h 163"/>
              <a:gd name="T14" fmla="*/ 75 w 122"/>
              <a:gd name="T15" fmla="*/ 156 h 163"/>
              <a:gd name="T16" fmla="*/ 81 w 122"/>
              <a:gd name="T17" fmla="*/ 152 h 163"/>
              <a:gd name="T18" fmla="*/ 81 w 122"/>
              <a:gd name="T19" fmla="*/ 152 h 163"/>
              <a:gd name="T20" fmla="*/ 81 w 122"/>
              <a:gd name="T21" fmla="*/ 118 h 163"/>
              <a:gd name="T22" fmla="*/ 122 w 122"/>
              <a:gd name="T23" fmla="*/ 61 h 163"/>
              <a:gd name="T24" fmla="*/ 61 w 122"/>
              <a:gd name="T25" fmla="*/ 0 h 163"/>
              <a:gd name="T26" fmla="*/ 61 w 122"/>
              <a:gd name="T27" fmla="*/ 113 h 163"/>
              <a:gd name="T28" fmla="*/ 9 w 122"/>
              <a:gd name="T29" fmla="*/ 61 h 163"/>
              <a:gd name="T30" fmla="*/ 61 w 122"/>
              <a:gd name="T31" fmla="*/ 9 h 163"/>
              <a:gd name="T32" fmla="*/ 113 w 122"/>
              <a:gd name="T33" fmla="*/ 61 h 163"/>
              <a:gd name="T34" fmla="*/ 61 w 122"/>
              <a:gd name="T35" fmla="*/ 11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22" h="163">
                <a:moveTo>
                  <a:pt x="61" y="0"/>
                </a:moveTo>
                <a:cubicBezTo>
                  <a:pt x="28" y="0"/>
                  <a:pt x="0" y="27"/>
                  <a:pt x="0" y="61"/>
                </a:cubicBezTo>
                <a:cubicBezTo>
                  <a:pt x="0" y="87"/>
                  <a:pt x="17" y="110"/>
                  <a:pt x="41" y="118"/>
                </a:cubicBezTo>
                <a:cubicBezTo>
                  <a:pt x="41" y="152"/>
                  <a:pt x="41" y="152"/>
                  <a:pt x="41" y="152"/>
                </a:cubicBezTo>
                <a:cubicBezTo>
                  <a:pt x="47" y="156"/>
                  <a:pt x="47" y="156"/>
                  <a:pt x="47" y="156"/>
                </a:cubicBezTo>
                <a:cubicBezTo>
                  <a:pt x="52" y="163"/>
                  <a:pt x="52" y="163"/>
                  <a:pt x="52" y="163"/>
                </a:cubicBezTo>
                <a:cubicBezTo>
                  <a:pt x="70" y="163"/>
                  <a:pt x="70" y="163"/>
                  <a:pt x="70" y="163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81" y="152"/>
                  <a:pt x="81" y="152"/>
                  <a:pt x="81" y="152"/>
                </a:cubicBezTo>
                <a:cubicBezTo>
                  <a:pt x="81" y="152"/>
                  <a:pt x="81" y="152"/>
                  <a:pt x="81" y="152"/>
                </a:cubicBezTo>
                <a:cubicBezTo>
                  <a:pt x="81" y="118"/>
                  <a:pt x="81" y="118"/>
                  <a:pt x="81" y="118"/>
                </a:cubicBezTo>
                <a:cubicBezTo>
                  <a:pt x="105" y="110"/>
                  <a:pt x="122" y="87"/>
                  <a:pt x="122" y="61"/>
                </a:cubicBezTo>
                <a:cubicBezTo>
                  <a:pt x="122" y="27"/>
                  <a:pt x="95" y="0"/>
                  <a:pt x="61" y="0"/>
                </a:cubicBezTo>
                <a:close/>
                <a:moveTo>
                  <a:pt x="61" y="113"/>
                </a:moveTo>
                <a:cubicBezTo>
                  <a:pt x="32" y="113"/>
                  <a:pt x="9" y="89"/>
                  <a:pt x="9" y="61"/>
                </a:cubicBezTo>
                <a:cubicBezTo>
                  <a:pt x="9" y="32"/>
                  <a:pt x="32" y="9"/>
                  <a:pt x="61" y="9"/>
                </a:cubicBezTo>
                <a:cubicBezTo>
                  <a:pt x="90" y="9"/>
                  <a:pt x="113" y="32"/>
                  <a:pt x="113" y="61"/>
                </a:cubicBezTo>
                <a:cubicBezTo>
                  <a:pt x="113" y="89"/>
                  <a:pt x="90" y="113"/>
                  <a:pt x="61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2" name="Freeform 26"/>
          <p:cNvSpPr>
            <a:spLocks/>
          </p:cNvSpPr>
          <p:nvPr/>
        </p:nvSpPr>
        <p:spPr bwMode="auto">
          <a:xfrm>
            <a:off x="7482196" y="7447831"/>
            <a:ext cx="126396" cy="77346"/>
          </a:xfrm>
          <a:custGeom>
            <a:avLst/>
            <a:gdLst>
              <a:gd name="T0" fmla="*/ 0 w 28"/>
              <a:gd name="T1" fmla="*/ 7 h 17"/>
              <a:gd name="T2" fmla="*/ 4 w 28"/>
              <a:gd name="T3" fmla="*/ 17 h 17"/>
              <a:gd name="T4" fmla="*/ 28 w 28"/>
              <a:gd name="T5" fmla="*/ 5 h 17"/>
              <a:gd name="T6" fmla="*/ 26 w 28"/>
              <a:gd name="T7" fmla="*/ 0 h 17"/>
              <a:gd name="T8" fmla="*/ 0 w 28"/>
              <a:gd name="T9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0" y="7"/>
                </a:moveTo>
                <a:cubicBezTo>
                  <a:pt x="1" y="11"/>
                  <a:pt x="3" y="14"/>
                  <a:pt x="4" y="17"/>
                </a:cubicBezTo>
                <a:cubicBezTo>
                  <a:pt x="28" y="5"/>
                  <a:pt x="28" y="5"/>
                  <a:pt x="28" y="5"/>
                </a:cubicBezTo>
                <a:cubicBezTo>
                  <a:pt x="27" y="3"/>
                  <a:pt x="27" y="2"/>
                  <a:pt x="26" y="0"/>
                </a:cubicBezTo>
                <a:lnTo>
                  <a:pt x="0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3" name="Freeform 27"/>
          <p:cNvSpPr>
            <a:spLocks/>
          </p:cNvSpPr>
          <p:nvPr/>
        </p:nvSpPr>
        <p:spPr bwMode="auto">
          <a:xfrm>
            <a:off x="8193407" y="7153537"/>
            <a:ext cx="128282" cy="77346"/>
          </a:xfrm>
          <a:custGeom>
            <a:avLst/>
            <a:gdLst>
              <a:gd name="T0" fmla="*/ 28 w 28"/>
              <a:gd name="T1" fmla="*/ 10 h 17"/>
              <a:gd name="T2" fmla="*/ 24 w 28"/>
              <a:gd name="T3" fmla="*/ 0 h 17"/>
              <a:gd name="T4" fmla="*/ 0 w 28"/>
              <a:gd name="T5" fmla="*/ 12 h 17"/>
              <a:gd name="T6" fmla="*/ 2 w 28"/>
              <a:gd name="T7" fmla="*/ 17 h 17"/>
              <a:gd name="T8" fmla="*/ 28 w 28"/>
              <a:gd name="T9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28" y="10"/>
                </a:moveTo>
                <a:cubicBezTo>
                  <a:pt x="27" y="6"/>
                  <a:pt x="25" y="3"/>
                  <a:pt x="24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1" y="14"/>
                  <a:pt x="1" y="15"/>
                  <a:pt x="2" y="17"/>
                </a:cubicBezTo>
                <a:lnTo>
                  <a:pt x="28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4" name="Freeform 28"/>
          <p:cNvSpPr>
            <a:spLocks/>
          </p:cNvSpPr>
          <p:nvPr/>
        </p:nvSpPr>
        <p:spPr bwMode="auto">
          <a:xfrm>
            <a:off x="7482196" y="7149765"/>
            <a:ext cx="126396" cy="81118"/>
          </a:xfrm>
          <a:custGeom>
            <a:avLst/>
            <a:gdLst>
              <a:gd name="T0" fmla="*/ 0 w 28"/>
              <a:gd name="T1" fmla="*/ 10 h 18"/>
              <a:gd name="T2" fmla="*/ 26 w 28"/>
              <a:gd name="T3" fmla="*/ 18 h 18"/>
              <a:gd name="T4" fmla="*/ 28 w 28"/>
              <a:gd name="T5" fmla="*/ 13 h 18"/>
              <a:gd name="T6" fmla="*/ 4 w 28"/>
              <a:gd name="T7" fmla="*/ 0 h 18"/>
              <a:gd name="T8" fmla="*/ 0 w 28"/>
              <a:gd name="T9" fmla="*/ 1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8">
                <a:moveTo>
                  <a:pt x="0" y="10"/>
                </a:moveTo>
                <a:cubicBezTo>
                  <a:pt x="26" y="18"/>
                  <a:pt x="26" y="18"/>
                  <a:pt x="26" y="18"/>
                </a:cubicBezTo>
                <a:cubicBezTo>
                  <a:pt x="27" y="16"/>
                  <a:pt x="27" y="15"/>
                  <a:pt x="28" y="13"/>
                </a:cubicBezTo>
                <a:cubicBezTo>
                  <a:pt x="4" y="0"/>
                  <a:pt x="4" y="0"/>
                  <a:pt x="4" y="0"/>
                </a:cubicBezTo>
                <a:cubicBezTo>
                  <a:pt x="3" y="4"/>
                  <a:pt x="1" y="7"/>
                  <a:pt x="0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5" name="Freeform 34"/>
          <p:cNvSpPr>
            <a:spLocks/>
          </p:cNvSpPr>
          <p:nvPr/>
        </p:nvSpPr>
        <p:spPr bwMode="auto">
          <a:xfrm>
            <a:off x="8193407" y="7451605"/>
            <a:ext cx="128282" cy="77346"/>
          </a:xfrm>
          <a:custGeom>
            <a:avLst/>
            <a:gdLst>
              <a:gd name="T0" fmla="*/ 0 w 28"/>
              <a:gd name="T1" fmla="*/ 4 h 17"/>
              <a:gd name="T2" fmla="*/ 23 w 28"/>
              <a:gd name="T3" fmla="*/ 17 h 17"/>
              <a:gd name="T4" fmla="*/ 28 w 28"/>
              <a:gd name="T5" fmla="*/ 7 h 17"/>
              <a:gd name="T6" fmla="*/ 2 w 28"/>
              <a:gd name="T7" fmla="*/ 0 h 17"/>
              <a:gd name="T8" fmla="*/ 0 w 28"/>
              <a:gd name="T9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0" y="4"/>
                </a:moveTo>
                <a:cubicBezTo>
                  <a:pt x="23" y="17"/>
                  <a:pt x="23" y="17"/>
                  <a:pt x="23" y="17"/>
                </a:cubicBezTo>
                <a:cubicBezTo>
                  <a:pt x="25" y="13"/>
                  <a:pt x="26" y="10"/>
                  <a:pt x="28" y="7"/>
                </a:cubicBezTo>
                <a:cubicBezTo>
                  <a:pt x="2" y="0"/>
                  <a:pt x="2" y="0"/>
                  <a:pt x="2" y="0"/>
                </a:cubicBezTo>
                <a:cubicBezTo>
                  <a:pt x="1" y="1"/>
                  <a:pt x="1" y="2"/>
                  <a:pt x="0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Freeform 35"/>
          <p:cNvSpPr>
            <a:spLocks/>
          </p:cNvSpPr>
          <p:nvPr/>
        </p:nvSpPr>
        <p:spPr bwMode="auto">
          <a:xfrm>
            <a:off x="7714236" y="6923384"/>
            <a:ext cx="75460" cy="120736"/>
          </a:xfrm>
          <a:custGeom>
            <a:avLst/>
            <a:gdLst>
              <a:gd name="T0" fmla="*/ 17 w 17"/>
              <a:gd name="T1" fmla="*/ 26 h 27"/>
              <a:gd name="T2" fmla="*/ 10 w 17"/>
              <a:gd name="T3" fmla="*/ 0 h 27"/>
              <a:gd name="T4" fmla="*/ 0 w 17"/>
              <a:gd name="T5" fmla="*/ 4 h 27"/>
              <a:gd name="T6" fmla="*/ 13 w 17"/>
              <a:gd name="T7" fmla="*/ 27 h 27"/>
              <a:gd name="T8" fmla="*/ 17 w 17"/>
              <a:gd name="T9" fmla="*/ 2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7">
                <a:moveTo>
                  <a:pt x="17" y="26"/>
                </a:moveTo>
                <a:cubicBezTo>
                  <a:pt x="10" y="0"/>
                  <a:pt x="10" y="0"/>
                  <a:pt x="10" y="0"/>
                </a:cubicBezTo>
                <a:cubicBezTo>
                  <a:pt x="7" y="1"/>
                  <a:pt x="3" y="2"/>
                  <a:pt x="0" y="4"/>
                </a:cubicBezTo>
                <a:cubicBezTo>
                  <a:pt x="13" y="27"/>
                  <a:pt x="13" y="27"/>
                  <a:pt x="13" y="27"/>
                </a:cubicBezTo>
                <a:cubicBezTo>
                  <a:pt x="14" y="27"/>
                  <a:pt x="16" y="26"/>
                  <a:pt x="17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7" name="Freeform 31"/>
          <p:cNvSpPr>
            <a:spLocks/>
          </p:cNvSpPr>
          <p:nvPr/>
        </p:nvSpPr>
        <p:spPr bwMode="auto">
          <a:xfrm>
            <a:off x="8012303" y="6923384"/>
            <a:ext cx="77346" cy="120736"/>
          </a:xfrm>
          <a:custGeom>
            <a:avLst/>
            <a:gdLst>
              <a:gd name="T0" fmla="*/ 17 w 17"/>
              <a:gd name="T1" fmla="*/ 4 h 27"/>
              <a:gd name="T2" fmla="*/ 7 w 17"/>
              <a:gd name="T3" fmla="*/ 0 h 27"/>
              <a:gd name="T4" fmla="*/ 0 w 17"/>
              <a:gd name="T5" fmla="*/ 26 h 27"/>
              <a:gd name="T6" fmla="*/ 4 w 17"/>
              <a:gd name="T7" fmla="*/ 27 h 27"/>
              <a:gd name="T8" fmla="*/ 17 w 17"/>
              <a:gd name="T9" fmla="*/ 4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7">
                <a:moveTo>
                  <a:pt x="17" y="4"/>
                </a:moveTo>
                <a:cubicBezTo>
                  <a:pt x="14" y="2"/>
                  <a:pt x="10" y="1"/>
                  <a:pt x="7" y="0"/>
                </a:cubicBezTo>
                <a:cubicBezTo>
                  <a:pt x="0" y="26"/>
                  <a:pt x="0" y="26"/>
                  <a:pt x="0" y="26"/>
                </a:cubicBezTo>
                <a:cubicBezTo>
                  <a:pt x="1" y="26"/>
                  <a:pt x="3" y="27"/>
                  <a:pt x="4" y="27"/>
                </a:cubicBezTo>
                <a:lnTo>
                  <a:pt x="17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8" name="Freeform 10"/>
          <p:cNvSpPr>
            <a:spLocks noEditPoints="1"/>
          </p:cNvSpPr>
          <p:nvPr/>
        </p:nvSpPr>
        <p:spPr bwMode="auto">
          <a:xfrm rot="289285">
            <a:off x="7503307" y="8497213"/>
            <a:ext cx="1822250" cy="1822250"/>
          </a:xfrm>
          <a:custGeom>
            <a:avLst/>
            <a:gdLst>
              <a:gd name="T0" fmla="*/ 528 w 530"/>
              <a:gd name="T1" fmla="*/ 233 h 530"/>
              <a:gd name="T2" fmla="*/ 516 w 530"/>
              <a:gd name="T3" fmla="*/ 179 h 530"/>
              <a:gd name="T4" fmla="*/ 505 w 530"/>
              <a:gd name="T5" fmla="*/ 152 h 530"/>
              <a:gd name="T6" fmla="*/ 484 w 530"/>
              <a:gd name="T7" fmla="*/ 115 h 530"/>
              <a:gd name="T8" fmla="*/ 450 w 530"/>
              <a:gd name="T9" fmla="*/ 108 h 530"/>
              <a:gd name="T10" fmla="*/ 449 w 530"/>
              <a:gd name="T11" fmla="*/ 72 h 530"/>
              <a:gd name="T12" fmla="*/ 415 w 530"/>
              <a:gd name="T13" fmla="*/ 47 h 530"/>
              <a:gd name="T14" fmla="*/ 391 w 530"/>
              <a:gd name="T15" fmla="*/ 32 h 530"/>
              <a:gd name="T16" fmla="*/ 353 w 530"/>
              <a:gd name="T17" fmla="*/ 13 h 530"/>
              <a:gd name="T18" fmla="*/ 321 w 530"/>
              <a:gd name="T19" fmla="*/ 28 h 530"/>
              <a:gd name="T20" fmla="*/ 298 w 530"/>
              <a:gd name="T21" fmla="*/ 2 h 530"/>
              <a:gd name="T22" fmla="*/ 256 w 530"/>
              <a:gd name="T23" fmla="*/ 0 h 530"/>
              <a:gd name="T24" fmla="*/ 214 w 530"/>
              <a:gd name="T25" fmla="*/ 1 h 530"/>
              <a:gd name="T26" fmla="*/ 175 w 530"/>
              <a:gd name="T27" fmla="*/ 16 h 530"/>
              <a:gd name="T28" fmla="*/ 137 w 530"/>
              <a:gd name="T29" fmla="*/ 34 h 530"/>
              <a:gd name="T30" fmla="*/ 113 w 530"/>
              <a:gd name="T31" fmla="*/ 48 h 530"/>
              <a:gd name="T32" fmla="*/ 81 w 530"/>
              <a:gd name="T33" fmla="*/ 75 h 530"/>
              <a:gd name="T34" fmla="*/ 75 w 530"/>
              <a:gd name="T35" fmla="*/ 106 h 530"/>
              <a:gd name="T36" fmla="*/ 46 w 530"/>
              <a:gd name="T37" fmla="*/ 117 h 530"/>
              <a:gd name="T38" fmla="*/ 25 w 530"/>
              <a:gd name="T39" fmla="*/ 153 h 530"/>
              <a:gd name="T40" fmla="*/ 15 w 530"/>
              <a:gd name="T41" fmla="*/ 178 h 530"/>
              <a:gd name="T42" fmla="*/ 5 w 530"/>
              <a:gd name="T43" fmla="*/ 218 h 530"/>
              <a:gd name="T44" fmla="*/ 16 w 530"/>
              <a:gd name="T45" fmla="*/ 246 h 530"/>
              <a:gd name="T46" fmla="*/ 0 w 530"/>
              <a:gd name="T47" fmla="*/ 273 h 530"/>
              <a:gd name="T48" fmla="*/ 5 w 530"/>
              <a:gd name="T49" fmla="*/ 313 h 530"/>
              <a:gd name="T50" fmla="*/ 11 w 530"/>
              <a:gd name="T51" fmla="*/ 339 h 530"/>
              <a:gd name="T52" fmla="*/ 25 w 530"/>
              <a:gd name="T53" fmla="*/ 377 h 530"/>
              <a:gd name="T54" fmla="*/ 51 w 530"/>
              <a:gd name="T55" fmla="*/ 394 h 530"/>
              <a:gd name="T56" fmla="*/ 54 w 530"/>
              <a:gd name="T57" fmla="*/ 425 h 530"/>
              <a:gd name="T58" fmla="*/ 81 w 530"/>
              <a:gd name="T59" fmla="*/ 455 h 530"/>
              <a:gd name="T60" fmla="*/ 101 w 530"/>
              <a:gd name="T61" fmla="*/ 473 h 530"/>
              <a:gd name="T62" fmla="*/ 135 w 530"/>
              <a:gd name="T63" fmla="*/ 496 h 530"/>
              <a:gd name="T64" fmla="*/ 166 w 530"/>
              <a:gd name="T65" fmla="*/ 494 h 530"/>
              <a:gd name="T66" fmla="*/ 186 w 530"/>
              <a:gd name="T67" fmla="*/ 518 h 530"/>
              <a:gd name="T68" fmla="*/ 226 w 530"/>
              <a:gd name="T69" fmla="*/ 527 h 530"/>
              <a:gd name="T70" fmla="*/ 253 w 530"/>
              <a:gd name="T71" fmla="*/ 529 h 530"/>
              <a:gd name="T72" fmla="*/ 294 w 530"/>
              <a:gd name="T73" fmla="*/ 528 h 530"/>
              <a:gd name="T74" fmla="*/ 317 w 530"/>
              <a:gd name="T75" fmla="*/ 507 h 530"/>
              <a:gd name="T76" fmla="*/ 348 w 530"/>
              <a:gd name="T77" fmla="*/ 516 h 530"/>
              <a:gd name="T78" fmla="*/ 386 w 530"/>
              <a:gd name="T79" fmla="*/ 500 h 530"/>
              <a:gd name="T80" fmla="*/ 422 w 530"/>
              <a:gd name="T81" fmla="*/ 479 h 530"/>
              <a:gd name="T82" fmla="*/ 444 w 530"/>
              <a:gd name="T83" fmla="*/ 461 h 530"/>
              <a:gd name="T84" fmla="*/ 475 w 530"/>
              <a:gd name="T85" fmla="*/ 432 h 530"/>
              <a:gd name="T86" fmla="*/ 471 w 530"/>
              <a:gd name="T87" fmla="*/ 397 h 530"/>
              <a:gd name="T88" fmla="*/ 488 w 530"/>
              <a:gd name="T89" fmla="*/ 363 h 530"/>
              <a:gd name="T90" fmla="*/ 518 w 530"/>
              <a:gd name="T91" fmla="*/ 345 h 530"/>
              <a:gd name="T92" fmla="*/ 507 w 530"/>
              <a:gd name="T93" fmla="*/ 288 h 530"/>
              <a:gd name="T94" fmla="*/ 453 w 530"/>
              <a:gd name="T95" fmla="*/ 230 h 530"/>
              <a:gd name="T96" fmla="*/ 329 w 530"/>
              <a:gd name="T97" fmla="*/ 85 h 530"/>
              <a:gd name="T98" fmla="*/ 81 w 530"/>
              <a:gd name="T99" fmla="*/ 167 h 530"/>
              <a:gd name="T100" fmla="*/ 81 w 530"/>
              <a:gd name="T101" fmla="*/ 167 h 530"/>
              <a:gd name="T102" fmla="*/ 146 w 530"/>
              <a:gd name="T103" fmla="*/ 340 h 530"/>
              <a:gd name="T104" fmla="*/ 270 w 530"/>
              <a:gd name="T105" fmla="*/ 406 h 530"/>
              <a:gd name="T106" fmla="*/ 158 w 530"/>
              <a:gd name="T107" fmla="*/ 332 h 530"/>
              <a:gd name="T108" fmla="*/ 450 w 530"/>
              <a:gd name="T109" fmla="*/ 362 h 530"/>
              <a:gd name="T110" fmla="*/ 450 w 530"/>
              <a:gd name="T111" fmla="*/ 362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30" h="530">
                <a:moveTo>
                  <a:pt x="530" y="275"/>
                </a:moveTo>
                <a:cubicBezTo>
                  <a:pt x="530" y="271"/>
                  <a:pt x="530" y="266"/>
                  <a:pt x="530" y="262"/>
                </a:cubicBezTo>
                <a:cubicBezTo>
                  <a:pt x="518" y="262"/>
                  <a:pt x="508" y="257"/>
                  <a:pt x="507" y="249"/>
                </a:cubicBezTo>
                <a:cubicBezTo>
                  <a:pt x="507" y="242"/>
                  <a:pt x="516" y="235"/>
                  <a:pt x="528" y="233"/>
                </a:cubicBezTo>
                <a:cubicBezTo>
                  <a:pt x="528" y="229"/>
                  <a:pt x="527" y="224"/>
                  <a:pt x="526" y="220"/>
                </a:cubicBezTo>
                <a:cubicBezTo>
                  <a:pt x="514" y="222"/>
                  <a:pt x="503" y="219"/>
                  <a:pt x="501" y="211"/>
                </a:cubicBezTo>
                <a:cubicBezTo>
                  <a:pt x="500" y="204"/>
                  <a:pt x="508" y="195"/>
                  <a:pt x="520" y="192"/>
                </a:cubicBezTo>
                <a:cubicBezTo>
                  <a:pt x="519" y="187"/>
                  <a:pt x="517" y="183"/>
                  <a:pt x="516" y="179"/>
                </a:cubicBezTo>
                <a:cubicBezTo>
                  <a:pt x="516" y="179"/>
                  <a:pt x="516" y="179"/>
                  <a:pt x="517" y="179"/>
                </a:cubicBezTo>
                <a:cubicBezTo>
                  <a:pt x="505" y="184"/>
                  <a:pt x="493" y="182"/>
                  <a:pt x="490" y="174"/>
                </a:cubicBezTo>
                <a:cubicBezTo>
                  <a:pt x="487" y="167"/>
                  <a:pt x="494" y="157"/>
                  <a:pt x="505" y="152"/>
                </a:cubicBezTo>
                <a:cubicBezTo>
                  <a:pt x="505" y="152"/>
                  <a:pt x="505" y="152"/>
                  <a:pt x="505" y="152"/>
                </a:cubicBezTo>
                <a:cubicBezTo>
                  <a:pt x="503" y="148"/>
                  <a:pt x="501" y="144"/>
                  <a:pt x="499" y="140"/>
                </a:cubicBezTo>
                <a:cubicBezTo>
                  <a:pt x="499" y="140"/>
                  <a:pt x="499" y="140"/>
                  <a:pt x="500" y="140"/>
                </a:cubicBezTo>
                <a:cubicBezTo>
                  <a:pt x="489" y="146"/>
                  <a:pt x="477" y="147"/>
                  <a:pt x="472" y="140"/>
                </a:cubicBezTo>
                <a:cubicBezTo>
                  <a:pt x="468" y="133"/>
                  <a:pt x="474" y="122"/>
                  <a:pt x="484" y="115"/>
                </a:cubicBezTo>
                <a:cubicBezTo>
                  <a:pt x="484" y="115"/>
                  <a:pt x="484" y="116"/>
                  <a:pt x="484" y="116"/>
                </a:cubicBezTo>
                <a:cubicBezTo>
                  <a:pt x="481" y="112"/>
                  <a:pt x="479" y="108"/>
                  <a:pt x="476" y="105"/>
                </a:cubicBezTo>
                <a:cubicBezTo>
                  <a:pt x="476" y="104"/>
                  <a:pt x="477" y="104"/>
                  <a:pt x="477" y="104"/>
                </a:cubicBezTo>
                <a:cubicBezTo>
                  <a:pt x="467" y="112"/>
                  <a:pt x="455" y="114"/>
                  <a:pt x="450" y="108"/>
                </a:cubicBezTo>
                <a:cubicBezTo>
                  <a:pt x="445" y="102"/>
                  <a:pt x="448" y="91"/>
                  <a:pt x="458" y="82"/>
                </a:cubicBezTo>
                <a:cubicBezTo>
                  <a:pt x="458" y="82"/>
                  <a:pt x="458" y="83"/>
                  <a:pt x="457" y="83"/>
                </a:cubicBezTo>
                <a:cubicBezTo>
                  <a:pt x="454" y="79"/>
                  <a:pt x="451" y="76"/>
                  <a:pt x="448" y="73"/>
                </a:cubicBezTo>
                <a:cubicBezTo>
                  <a:pt x="448" y="73"/>
                  <a:pt x="448" y="73"/>
                  <a:pt x="449" y="72"/>
                </a:cubicBezTo>
                <a:cubicBezTo>
                  <a:pt x="441" y="82"/>
                  <a:pt x="429" y="86"/>
                  <a:pt x="423" y="81"/>
                </a:cubicBezTo>
                <a:cubicBezTo>
                  <a:pt x="417" y="76"/>
                  <a:pt x="418" y="64"/>
                  <a:pt x="427" y="54"/>
                </a:cubicBezTo>
                <a:cubicBezTo>
                  <a:pt x="426" y="54"/>
                  <a:pt x="426" y="54"/>
                  <a:pt x="426" y="55"/>
                </a:cubicBezTo>
                <a:cubicBezTo>
                  <a:pt x="423" y="52"/>
                  <a:pt x="419" y="49"/>
                  <a:pt x="415" y="47"/>
                </a:cubicBezTo>
                <a:cubicBezTo>
                  <a:pt x="415" y="46"/>
                  <a:pt x="416" y="46"/>
                  <a:pt x="416" y="45"/>
                </a:cubicBezTo>
                <a:cubicBezTo>
                  <a:pt x="409" y="56"/>
                  <a:pt x="399" y="62"/>
                  <a:pt x="392" y="58"/>
                </a:cubicBezTo>
                <a:cubicBezTo>
                  <a:pt x="385" y="54"/>
                  <a:pt x="385" y="42"/>
                  <a:pt x="391" y="31"/>
                </a:cubicBezTo>
                <a:cubicBezTo>
                  <a:pt x="391" y="31"/>
                  <a:pt x="391" y="31"/>
                  <a:pt x="391" y="32"/>
                </a:cubicBezTo>
                <a:cubicBezTo>
                  <a:pt x="387" y="30"/>
                  <a:pt x="383" y="28"/>
                  <a:pt x="379" y="26"/>
                </a:cubicBezTo>
                <a:cubicBezTo>
                  <a:pt x="379" y="25"/>
                  <a:pt x="379" y="25"/>
                  <a:pt x="379" y="24"/>
                </a:cubicBezTo>
                <a:cubicBezTo>
                  <a:pt x="375" y="36"/>
                  <a:pt x="365" y="43"/>
                  <a:pt x="357" y="40"/>
                </a:cubicBezTo>
                <a:cubicBezTo>
                  <a:pt x="350" y="37"/>
                  <a:pt x="348" y="25"/>
                  <a:pt x="353" y="13"/>
                </a:cubicBezTo>
                <a:cubicBezTo>
                  <a:pt x="352" y="14"/>
                  <a:pt x="352" y="14"/>
                  <a:pt x="352" y="15"/>
                </a:cubicBezTo>
                <a:cubicBezTo>
                  <a:pt x="348" y="13"/>
                  <a:pt x="344" y="12"/>
                  <a:pt x="339" y="11"/>
                </a:cubicBezTo>
                <a:cubicBezTo>
                  <a:pt x="340" y="10"/>
                  <a:pt x="340" y="9"/>
                  <a:pt x="340" y="9"/>
                </a:cubicBezTo>
                <a:cubicBezTo>
                  <a:pt x="337" y="21"/>
                  <a:pt x="328" y="30"/>
                  <a:pt x="321" y="28"/>
                </a:cubicBezTo>
                <a:cubicBezTo>
                  <a:pt x="313" y="26"/>
                  <a:pt x="309" y="15"/>
                  <a:pt x="312" y="2"/>
                </a:cubicBezTo>
                <a:cubicBezTo>
                  <a:pt x="312" y="3"/>
                  <a:pt x="312" y="4"/>
                  <a:pt x="311" y="4"/>
                </a:cubicBezTo>
                <a:cubicBezTo>
                  <a:pt x="307" y="3"/>
                  <a:pt x="303" y="3"/>
                  <a:pt x="298" y="2"/>
                </a:cubicBezTo>
                <a:cubicBezTo>
                  <a:pt x="298" y="2"/>
                  <a:pt x="298" y="2"/>
                  <a:pt x="298" y="2"/>
                </a:cubicBezTo>
                <a:cubicBezTo>
                  <a:pt x="297" y="14"/>
                  <a:pt x="290" y="22"/>
                  <a:pt x="283" y="22"/>
                </a:cubicBezTo>
                <a:cubicBezTo>
                  <a:pt x="275" y="21"/>
                  <a:pt x="270" y="12"/>
                  <a:pt x="270" y="0"/>
                </a:cubicBezTo>
                <a:cubicBezTo>
                  <a:pt x="265" y="0"/>
                  <a:pt x="261" y="0"/>
                  <a:pt x="256" y="0"/>
                </a:cubicBezTo>
                <a:cubicBezTo>
                  <a:pt x="256" y="0"/>
                  <a:pt x="256" y="0"/>
                  <a:pt x="256" y="0"/>
                </a:cubicBezTo>
                <a:cubicBezTo>
                  <a:pt x="256" y="12"/>
                  <a:pt x="251" y="21"/>
                  <a:pt x="244" y="21"/>
                </a:cubicBezTo>
                <a:cubicBezTo>
                  <a:pt x="237" y="22"/>
                  <a:pt x="230" y="14"/>
                  <a:pt x="228" y="3"/>
                </a:cubicBezTo>
                <a:cubicBezTo>
                  <a:pt x="224" y="3"/>
                  <a:pt x="219" y="4"/>
                  <a:pt x="215" y="5"/>
                </a:cubicBezTo>
                <a:cubicBezTo>
                  <a:pt x="215" y="4"/>
                  <a:pt x="214" y="2"/>
                  <a:pt x="214" y="1"/>
                </a:cubicBezTo>
                <a:cubicBezTo>
                  <a:pt x="217" y="14"/>
                  <a:pt x="213" y="25"/>
                  <a:pt x="206" y="27"/>
                </a:cubicBezTo>
                <a:cubicBezTo>
                  <a:pt x="199" y="29"/>
                  <a:pt x="191" y="22"/>
                  <a:pt x="187" y="12"/>
                </a:cubicBezTo>
                <a:cubicBezTo>
                  <a:pt x="187" y="12"/>
                  <a:pt x="187" y="12"/>
                  <a:pt x="187" y="12"/>
                </a:cubicBezTo>
                <a:cubicBezTo>
                  <a:pt x="183" y="13"/>
                  <a:pt x="179" y="15"/>
                  <a:pt x="175" y="16"/>
                </a:cubicBezTo>
                <a:cubicBezTo>
                  <a:pt x="174" y="15"/>
                  <a:pt x="174" y="13"/>
                  <a:pt x="173" y="12"/>
                </a:cubicBezTo>
                <a:cubicBezTo>
                  <a:pt x="178" y="24"/>
                  <a:pt x="176" y="36"/>
                  <a:pt x="169" y="39"/>
                </a:cubicBezTo>
                <a:cubicBezTo>
                  <a:pt x="162" y="42"/>
                  <a:pt x="154" y="36"/>
                  <a:pt x="149" y="27"/>
                </a:cubicBezTo>
                <a:cubicBezTo>
                  <a:pt x="145" y="29"/>
                  <a:pt x="141" y="31"/>
                  <a:pt x="137" y="34"/>
                </a:cubicBezTo>
                <a:cubicBezTo>
                  <a:pt x="137" y="33"/>
                  <a:pt x="137" y="33"/>
                  <a:pt x="137" y="33"/>
                </a:cubicBezTo>
                <a:cubicBezTo>
                  <a:pt x="141" y="43"/>
                  <a:pt x="140" y="52"/>
                  <a:pt x="134" y="56"/>
                </a:cubicBezTo>
                <a:cubicBezTo>
                  <a:pt x="128" y="60"/>
                  <a:pt x="120" y="56"/>
                  <a:pt x="113" y="48"/>
                </a:cubicBezTo>
                <a:cubicBezTo>
                  <a:pt x="113" y="48"/>
                  <a:pt x="113" y="48"/>
                  <a:pt x="113" y="48"/>
                </a:cubicBezTo>
                <a:cubicBezTo>
                  <a:pt x="109" y="51"/>
                  <a:pt x="106" y="54"/>
                  <a:pt x="102" y="56"/>
                </a:cubicBezTo>
                <a:cubicBezTo>
                  <a:pt x="102" y="56"/>
                  <a:pt x="102" y="56"/>
                  <a:pt x="102" y="56"/>
                </a:cubicBezTo>
                <a:cubicBezTo>
                  <a:pt x="107" y="65"/>
                  <a:pt x="108" y="74"/>
                  <a:pt x="103" y="79"/>
                </a:cubicBezTo>
                <a:cubicBezTo>
                  <a:pt x="98" y="83"/>
                  <a:pt x="89" y="81"/>
                  <a:pt x="81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78" y="78"/>
                  <a:pt x="75" y="81"/>
                  <a:pt x="71" y="85"/>
                </a:cubicBezTo>
                <a:cubicBezTo>
                  <a:pt x="71" y="84"/>
                  <a:pt x="71" y="84"/>
                  <a:pt x="71" y="84"/>
                </a:cubicBezTo>
                <a:cubicBezTo>
                  <a:pt x="78" y="92"/>
                  <a:pt x="80" y="101"/>
                  <a:pt x="75" y="106"/>
                </a:cubicBezTo>
                <a:cubicBezTo>
                  <a:pt x="71" y="111"/>
                  <a:pt x="62" y="110"/>
                  <a:pt x="54" y="106"/>
                </a:cubicBezTo>
                <a:cubicBezTo>
                  <a:pt x="54" y="106"/>
                  <a:pt x="54" y="106"/>
                  <a:pt x="54" y="106"/>
                </a:cubicBezTo>
                <a:cubicBezTo>
                  <a:pt x="51" y="109"/>
                  <a:pt x="48" y="113"/>
                  <a:pt x="46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53" y="123"/>
                  <a:pt x="56" y="131"/>
                  <a:pt x="52" y="137"/>
                </a:cubicBezTo>
                <a:cubicBezTo>
                  <a:pt x="49" y="142"/>
                  <a:pt x="40" y="144"/>
                  <a:pt x="31" y="140"/>
                </a:cubicBezTo>
                <a:cubicBezTo>
                  <a:pt x="31" y="140"/>
                  <a:pt x="32" y="140"/>
                  <a:pt x="32" y="140"/>
                </a:cubicBezTo>
                <a:cubicBezTo>
                  <a:pt x="29" y="144"/>
                  <a:pt x="27" y="149"/>
                  <a:pt x="25" y="153"/>
                </a:cubicBezTo>
                <a:cubicBezTo>
                  <a:pt x="25" y="153"/>
                  <a:pt x="25" y="153"/>
                  <a:pt x="25" y="153"/>
                </a:cubicBezTo>
                <a:cubicBezTo>
                  <a:pt x="33" y="158"/>
                  <a:pt x="37" y="165"/>
                  <a:pt x="35" y="171"/>
                </a:cubicBezTo>
                <a:cubicBezTo>
                  <a:pt x="32" y="177"/>
                  <a:pt x="24" y="180"/>
                  <a:pt x="15" y="178"/>
                </a:cubicBezTo>
                <a:cubicBezTo>
                  <a:pt x="15" y="178"/>
                  <a:pt x="15" y="178"/>
                  <a:pt x="15" y="178"/>
                </a:cubicBezTo>
                <a:cubicBezTo>
                  <a:pt x="14" y="182"/>
                  <a:pt x="12" y="187"/>
                  <a:pt x="11" y="192"/>
                </a:cubicBezTo>
                <a:cubicBezTo>
                  <a:pt x="11" y="191"/>
                  <a:pt x="11" y="191"/>
                  <a:pt x="11" y="191"/>
                </a:cubicBezTo>
                <a:cubicBezTo>
                  <a:pt x="19" y="195"/>
                  <a:pt x="24" y="202"/>
                  <a:pt x="22" y="208"/>
                </a:cubicBezTo>
                <a:cubicBezTo>
                  <a:pt x="21" y="214"/>
                  <a:pt x="14" y="218"/>
                  <a:pt x="5" y="218"/>
                </a:cubicBezTo>
                <a:cubicBezTo>
                  <a:pt x="5" y="218"/>
                  <a:pt x="5" y="218"/>
                  <a:pt x="5" y="218"/>
                </a:cubicBezTo>
                <a:cubicBezTo>
                  <a:pt x="4" y="222"/>
                  <a:pt x="3" y="227"/>
                  <a:pt x="3" y="232"/>
                </a:cubicBezTo>
                <a:cubicBezTo>
                  <a:pt x="3" y="232"/>
                  <a:pt x="2" y="232"/>
                  <a:pt x="2" y="232"/>
                </a:cubicBezTo>
                <a:cubicBezTo>
                  <a:pt x="11" y="234"/>
                  <a:pt x="16" y="240"/>
                  <a:pt x="16" y="246"/>
                </a:cubicBezTo>
                <a:cubicBezTo>
                  <a:pt x="16" y="252"/>
                  <a:pt x="9" y="257"/>
                  <a:pt x="0" y="258"/>
                </a:cubicBezTo>
                <a:cubicBezTo>
                  <a:pt x="0" y="258"/>
                  <a:pt x="1" y="258"/>
                  <a:pt x="1" y="258"/>
                </a:cubicBezTo>
                <a:cubicBezTo>
                  <a:pt x="0" y="263"/>
                  <a:pt x="0" y="268"/>
                  <a:pt x="1" y="273"/>
                </a:cubicBezTo>
                <a:cubicBezTo>
                  <a:pt x="1" y="273"/>
                  <a:pt x="0" y="273"/>
                  <a:pt x="0" y="273"/>
                </a:cubicBezTo>
                <a:cubicBezTo>
                  <a:pt x="9" y="274"/>
                  <a:pt x="15" y="279"/>
                  <a:pt x="16" y="285"/>
                </a:cubicBezTo>
                <a:cubicBezTo>
                  <a:pt x="16" y="291"/>
                  <a:pt x="11" y="296"/>
                  <a:pt x="2" y="299"/>
                </a:cubicBezTo>
                <a:cubicBezTo>
                  <a:pt x="3" y="299"/>
                  <a:pt x="3" y="299"/>
                  <a:pt x="3" y="299"/>
                </a:cubicBezTo>
                <a:cubicBezTo>
                  <a:pt x="3" y="304"/>
                  <a:pt x="4" y="309"/>
                  <a:pt x="5" y="313"/>
                </a:cubicBezTo>
                <a:cubicBezTo>
                  <a:pt x="5" y="313"/>
                  <a:pt x="5" y="314"/>
                  <a:pt x="5" y="314"/>
                </a:cubicBezTo>
                <a:cubicBezTo>
                  <a:pt x="13" y="314"/>
                  <a:pt x="20" y="317"/>
                  <a:pt x="22" y="323"/>
                </a:cubicBezTo>
                <a:cubicBezTo>
                  <a:pt x="23" y="329"/>
                  <a:pt x="19" y="335"/>
                  <a:pt x="11" y="339"/>
                </a:cubicBezTo>
                <a:cubicBezTo>
                  <a:pt x="11" y="339"/>
                  <a:pt x="11" y="339"/>
                  <a:pt x="11" y="339"/>
                </a:cubicBezTo>
                <a:cubicBezTo>
                  <a:pt x="12" y="344"/>
                  <a:pt x="14" y="348"/>
                  <a:pt x="16" y="353"/>
                </a:cubicBezTo>
                <a:cubicBezTo>
                  <a:pt x="16" y="353"/>
                  <a:pt x="15" y="353"/>
                  <a:pt x="15" y="353"/>
                </a:cubicBezTo>
                <a:cubicBezTo>
                  <a:pt x="24" y="352"/>
                  <a:pt x="31" y="354"/>
                  <a:pt x="33" y="360"/>
                </a:cubicBezTo>
                <a:cubicBezTo>
                  <a:pt x="36" y="365"/>
                  <a:pt x="32" y="372"/>
                  <a:pt x="25" y="377"/>
                </a:cubicBezTo>
                <a:cubicBezTo>
                  <a:pt x="25" y="377"/>
                  <a:pt x="26" y="377"/>
                  <a:pt x="26" y="377"/>
                </a:cubicBezTo>
                <a:cubicBezTo>
                  <a:pt x="28" y="382"/>
                  <a:pt x="30" y="386"/>
                  <a:pt x="32" y="390"/>
                </a:cubicBezTo>
                <a:cubicBezTo>
                  <a:pt x="32" y="390"/>
                  <a:pt x="32" y="390"/>
                  <a:pt x="32" y="391"/>
                </a:cubicBezTo>
                <a:cubicBezTo>
                  <a:pt x="40" y="388"/>
                  <a:pt x="47" y="389"/>
                  <a:pt x="51" y="394"/>
                </a:cubicBezTo>
                <a:cubicBezTo>
                  <a:pt x="54" y="399"/>
                  <a:pt x="51" y="407"/>
                  <a:pt x="46" y="413"/>
                </a:cubicBezTo>
                <a:cubicBezTo>
                  <a:pt x="46" y="413"/>
                  <a:pt x="46" y="413"/>
                  <a:pt x="46" y="413"/>
                </a:cubicBezTo>
                <a:cubicBezTo>
                  <a:pt x="49" y="417"/>
                  <a:pt x="51" y="421"/>
                  <a:pt x="54" y="425"/>
                </a:cubicBezTo>
                <a:cubicBezTo>
                  <a:pt x="54" y="425"/>
                  <a:pt x="54" y="425"/>
                  <a:pt x="54" y="425"/>
                </a:cubicBezTo>
                <a:cubicBezTo>
                  <a:pt x="62" y="421"/>
                  <a:pt x="69" y="421"/>
                  <a:pt x="73" y="426"/>
                </a:cubicBezTo>
                <a:cubicBezTo>
                  <a:pt x="77" y="430"/>
                  <a:pt x="76" y="438"/>
                  <a:pt x="71" y="445"/>
                </a:cubicBezTo>
                <a:cubicBezTo>
                  <a:pt x="71" y="445"/>
                  <a:pt x="71" y="445"/>
                  <a:pt x="71" y="445"/>
                </a:cubicBezTo>
                <a:cubicBezTo>
                  <a:pt x="74" y="449"/>
                  <a:pt x="78" y="452"/>
                  <a:pt x="81" y="455"/>
                </a:cubicBezTo>
                <a:cubicBezTo>
                  <a:pt x="81" y="455"/>
                  <a:pt x="81" y="455"/>
                  <a:pt x="81" y="456"/>
                </a:cubicBezTo>
                <a:cubicBezTo>
                  <a:pt x="88" y="451"/>
                  <a:pt x="96" y="449"/>
                  <a:pt x="100" y="453"/>
                </a:cubicBezTo>
                <a:cubicBezTo>
                  <a:pt x="105" y="457"/>
                  <a:pt x="105" y="465"/>
                  <a:pt x="101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5" y="476"/>
                  <a:pt x="109" y="479"/>
                  <a:pt x="113" y="481"/>
                </a:cubicBezTo>
                <a:cubicBezTo>
                  <a:pt x="113" y="481"/>
                  <a:pt x="113" y="482"/>
                  <a:pt x="113" y="482"/>
                </a:cubicBezTo>
                <a:cubicBezTo>
                  <a:pt x="119" y="476"/>
                  <a:pt x="126" y="473"/>
                  <a:pt x="131" y="476"/>
                </a:cubicBezTo>
                <a:cubicBezTo>
                  <a:pt x="137" y="479"/>
                  <a:pt x="138" y="487"/>
                  <a:pt x="135" y="496"/>
                </a:cubicBezTo>
                <a:cubicBezTo>
                  <a:pt x="135" y="496"/>
                  <a:pt x="135" y="496"/>
                  <a:pt x="135" y="496"/>
                </a:cubicBezTo>
                <a:cubicBezTo>
                  <a:pt x="139" y="498"/>
                  <a:pt x="144" y="500"/>
                  <a:pt x="148" y="502"/>
                </a:cubicBezTo>
                <a:cubicBezTo>
                  <a:pt x="148" y="502"/>
                  <a:pt x="148" y="502"/>
                  <a:pt x="148" y="502"/>
                </a:cubicBezTo>
                <a:cubicBezTo>
                  <a:pt x="153" y="495"/>
                  <a:pt x="160" y="492"/>
                  <a:pt x="166" y="494"/>
                </a:cubicBezTo>
                <a:cubicBezTo>
                  <a:pt x="171" y="496"/>
                  <a:pt x="174" y="504"/>
                  <a:pt x="172" y="513"/>
                </a:cubicBezTo>
                <a:cubicBezTo>
                  <a:pt x="173" y="513"/>
                  <a:pt x="173" y="513"/>
                  <a:pt x="173" y="513"/>
                </a:cubicBezTo>
                <a:cubicBezTo>
                  <a:pt x="177" y="514"/>
                  <a:pt x="182" y="516"/>
                  <a:pt x="186" y="517"/>
                </a:cubicBezTo>
                <a:cubicBezTo>
                  <a:pt x="186" y="518"/>
                  <a:pt x="186" y="518"/>
                  <a:pt x="186" y="518"/>
                </a:cubicBezTo>
                <a:cubicBezTo>
                  <a:pt x="190" y="510"/>
                  <a:pt x="196" y="505"/>
                  <a:pt x="202" y="506"/>
                </a:cubicBezTo>
                <a:cubicBezTo>
                  <a:pt x="208" y="508"/>
                  <a:pt x="212" y="515"/>
                  <a:pt x="212" y="524"/>
                </a:cubicBezTo>
                <a:cubicBezTo>
                  <a:pt x="212" y="524"/>
                  <a:pt x="212" y="524"/>
                  <a:pt x="212" y="524"/>
                </a:cubicBezTo>
                <a:cubicBezTo>
                  <a:pt x="217" y="525"/>
                  <a:pt x="221" y="526"/>
                  <a:pt x="226" y="527"/>
                </a:cubicBezTo>
                <a:cubicBezTo>
                  <a:pt x="226" y="527"/>
                  <a:pt x="226" y="527"/>
                  <a:pt x="226" y="527"/>
                </a:cubicBezTo>
                <a:cubicBezTo>
                  <a:pt x="229" y="518"/>
                  <a:pt x="234" y="512"/>
                  <a:pt x="240" y="512"/>
                </a:cubicBezTo>
                <a:cubicBezTo>
                  <a:pt x="247" y="513"/>
                  <a:pt x="252" y="520"/>
                  <a:pt x="253" y="529"/>
                </a:cubicBezTo>
                <a:cubicBezTo>
                  <a:pt x="253" y="529"/>
                  <a:pt x="253" y="529"/>
                  <a:pt x="253" y="529"/>
                </a:cubicBezTo>
                <a:cubicBezTo>
                  <a:pt x="258" y="530"/>
                  <a:pt x="262" y="530"/>
                  <a:pt x="267" y="530"/>
                </a:cubicBezTo>
                <a:cubicBezTo>
                  <a:pt x="267" y="530"/>
                  <a:pt x="267" y="530"/>
                  <a:pt x="267" y="530"/>
                </a:cubicBezTo>
                <a:cubicBezTo>
                  <a:pt x="268" y="520"/>
                  <a:pt x="273" y="513"/>
                  <a:pt x="279" y="513"/>
                </a:cubicBezTo>
                <a:cubicBezTo>
                  <a:pt x="286" y="512"/>
                  <a:pt x="292" y="519"/>
                  <a:pt x="294" y="528"/>
                </a:cubicBezTo>
                <a:cubicBezTo>
                  <a:pt x="294" y="528"/>
                  <a:pt x="294" y="528"/>
                  <a:pt x="294" y="528"/>
                </a:cubicBezTo>
                <a:cubicBezTo>
                  <a:pt x="299" y="528"/>
                  <a:pt x="303" y="527"/>
                  <a:pt x="308" y="526"/>
                </a:cubicBezTo>
                <a:cubicBezTo>
                  <a:pt x="308" y="526"/>
                  <a:pt x="308" y="526"/>
                  <a:pt x="308" y="526"/>
                </a:cubicBezTo>
                <a:cubicBezTo>
                  <a:pt x="307" y="517"/>
                  <a:pt x="311" y="509"/>
                  <a:pt x="317" y="507"/>
                </a:cubicBezTo>
                <a:cubicBezTo>
                  <a:pt x="324" y="505"/>
                  <a:pt x="331" y="511"/>
                  <a:pt x="335" y="520"/>
                </a:cubicBezTo>
                <a:cubicBezTo>
                  <a:pt x="335" y="520"/>
                  <a:pt x="335" y="520"/>
                  <a:pt x="335" y="520"/>
                </a:cubicBezTo>
                <a:cubicBezTo>
                  <a:pt x="339" y="519"/>
                  <a:pt x="344" y="518"/>
                  <a:pt x="348" y="516"/>
                </a:cubicBezTo>
                <a:cubicBezTo>
                  <a:pt x="348" y="516"/>
                  <a:pt x="348" y="516"/>
                  <a:pt x="348" y="516"/>
                </a:cubicBezTo>
                <a:cubicBezTo>
                  <a:pt x="346" y="507"/>
                  <a:pt x="348" y="498"/>
                  <a:pt x="354" y="495"/>
                </a:cubicBezTo>
                <a:cubicBezTo>
                  <a:pt x="360" y="493"/>
                  <a:pt x="369" y="497"/>
                  <a:pt x="374" y="506"/>
                </a:cubicBezTo>
                <a:cubicBezTo>
                  <a:pt x="378" y="504"/>
                  <a:pt x="382" y="502"/>
                  <a:pt x="386" y="500"/>
                </a:cubicBezTo>
                <a:cubicBezTo>
                  <a:pt x="386" y="500"/>
                  <a:pt x="386" y="500"/>
                  <a:pt x="386" y="500"/>
                </a:cubicBezTo>
                <a:cubicBezTo>
                  <a:pt x="382" y="491"/>
                  <a:pt x="383" y="482"/>
                  <a:pt x="389" y="478"/>
                </a:cubicBezTo>
                <a:cubicBezTo>
                  <a:pt x="395" y="474"/>
                  <a:pt x="406" y="479"/>
                  <a:pt x="413" y="490"/>
                </a:cubicBezTo>
                <a:cubicBezTo>
                  <a:pt x="412" y="489"/>
                  <a:pt x="411" y="487"/>
                  <a:pt x="411" y="486"/>
                </a:cubicBezTo>
                <a:cubicBezTo>
                  <a:pt x="414" y="484"/>
                  <a:pt x="418" y="481"/>
                  <a:pt x="422" y="479"/>
                </a:cubicBezTo>
                <a:cubicBezTo>
                  <a:pt x="422" y="480"/>
                  <a:pt x="423" y="481"/>
                  <a:pt x="424" y="482"/>
                </a:cubicBezTo>
                <a:cubicBezTo>
                  <a:pt x="416" y="473"/>
                  <a:pt x="414" y="461"/>
                  <a:pt x="420" y="455"/>
                </a:cubicBezTo>
                <a:cubicBezTo>
                  <a:pt x="426" y="450"/>
                  <a:pt x="438" y="454"/>
                  <a:pt x="446" y="463"/>
                </a:cubicBezTo>
                <a:cubicBezTo>
                  <a:pt x="445" y="462"/>
                  <a:pt x="444" y="462"/>
                  <a:pt x="444" y="461"/>
                </a:cubicBezTo>
                <a:cubicBezTo>
                  <a:pt x="447" y="458"/>
                  <a:pt x="450" y="455"/>
                  <a:pt x="453" y="451"/>
                </a:cubicBezTo>
                <a:cubicBezTo>
                  <a:pt x="454" y="452"/>
                  <a:pt x="455" y="453"/>
                  <a:pt x="456" y="454"/>
                </a:cubicBezTo>
                <a:cubicBezTo>
                  <a:pt x="446" y="446"/>
                  <a:pt x="443" y="434"/>
                  <a:pt x="448" y="428"/>
                </a:cubicBezTo>
                <a:cubicBezTo>
                  <a:pt x="453" y="422"/>
                  <a:pt x="465" y="424"/>
                  <a:pt x="475" y="432"/>
                </a:cubicBezTo>
                <a:cubicBezTo>
                  <a:pt x="474" y="431"/>
                  <a:pt x="473" y="431"/>
                  <a:pt x="472" y="430"/>
                </a:cubicBezTo>
                <a:cubicBezTo>
                  <a:pt x="475" y="427"/>
                  <a:pt x="478" y="423"/>
                  <a:pt x="480" y="420"/>
                </a:cubicBezTo>
                <a:cubicBezTo>
                  <a:pt x="481" y="420"/>
                  <a:pt x="482" y="421"/>
                  <a:pt x="483" y="421"/>
                </a:cubicBezTo>
                <a:cubicBezTo>
                  <a:pt x="472" y="415"/>
                  <a:pt x="467" y="404"/>
                  <a:pt x="471" y="397"/>
                </a:cubicBezTo>
                <a:cubicBezTo>
                  <a:pt x="475" y="390"/>
                  <a:pt x="487" y="390"/>
                  <a:pt x="498" y="397"/>
                </a:cubicBezTo>
                <a:cubicBezTo>
                  <a:pt x="497" y="396"/>
                  <a:pt x="496" y="396"/>
                  <a:pt x="496" y="396"/>
                </a:cubicBezTo>
                <a:cubicBezTo>
                  <a:pt x="498" y="392"/>
                  <a:pt x="500" y="388"/>
                  <a:pt x="502" y="384"/>
                </a:cubicBezTo>
                <a:cubicBezTo>
                  <a:pt x="492" y="379"/>
                  <a:pt x="486" y="370"/>
                  <a:pt x="488" y="363"/>
                </a:cubicBezTo>
                <a:cubicBezTo>
                  <a:pt x="491" y="356"/>
                  <a:pt x="503" y="353"/>
                  <a:pt x="515" y="358"/>
                </a:cubicBezTo>
                <a:cubicBezTo>
                  <a:pt x="515" y="358"/>
                  <a:pt x="514" y="358"/>
                  <a:pt x="513" y="357"/>
                </a:cubicBezTo>
                <a:cubicBezTo>
                  <a:pt x="515" y="353"/>
                  <a:pt x="516" y="349"/>
                  <a:pt x="518" y="345"/>
                </a:cubicBezTo>
                <a:cubicBezTo>
                  <a:pt x="518" y="345"/>
                  <a:pt x="518" y="345"/>
                  <a:pt x="518" y="345"/>
                </a:cubicBezTo>
                <a:cubicBezTo>
                  <a:pt x="506" y="341"/>
                  <a:pt x="499" y="333"/>
                  <a:pt x="501" y="326"/>
                </a:cubicBezTo>
                <a:cubicBezTo>
                  <a:pt x="502" y="319"/>
                  <a:pt x="513" y="315"/>
                  <a:pt x="525" y="317"/>
                </a:cubicBezTo>
                <a:cubicBezTo>
                  <a:pt x="526" y="313"/>
                  <a:pt x="526" y="308"/>
                  <a:pt x="527" y="304"/>
                </a:cubicBezTo>
                <a:cubicBezTo>
                  <a:pt x="515" y="302"/>
                  <a:pt x="506" y="296"/>
                  <a:pt x="507" y="288"/>
                </a:cubicBezTo>
                <a:cubicBezTo>
                  <a:pt x="507" y="280"/>
                  <a:pt x="518" y="275"/>
                  <a:pt x="530" y="275"/>
                </a:cubicBezTo>
                <a:close/>
                <a:moveTo>
                  <a:pt x="379" y="111"/>
                </a:moveTo>
                <a:cubicBezTo>
                  <a:pt x="396" y="101"/>
                  <a:pt x="422" y="123"/>
                  <a:pt x="442" y="154"/>
                </a:cubicBezTo>
                <a:cubicBezTo>
                  <a:pt x="462" y="185"/>
                  <a:pt x="470" y="219"/>
                  <a:pt x="453" y="230"/>
                </a:cubicBezTo>
                <a:cubicBezTo>
                  <a:pt x="439" y="239"/>
                  <a:pt x="403" y="219"/>
                  <a:pt x="385" y="190"/>
                </a:cubicBezTo>
                <a:cubicBezTo>
                  <a:pt x="366" y="160"/>
                  <a:pt x="364" y="120"/>
                  <a:pt x="379" y="111"/>
                </a:cubicBezTo>
                <a:close/>
                <a:moveTo>
                  <a:pt x="258" y="57"/>
                </a:moveTo>
                <a:cubicBezTo>
                  <a:pt x="295" y="55"/>
                  <a:pt x="328" y="65"/>
                  <a:pt x="329" y="85"/>
                </a:cubicBezTo>
                <a:cubicBezTo>
                  <a:pt x="329" y="101"/>
                  <a:pt x="295" y="122"/>
                  <a:pt x="260" y="124"/>
                </a:cubicBezTo>
                <a:cubicBezTo>
                  <a:pt x="225" y="125"/>
                  <a:pt x="189" y="107"/>
                  <a:pt x="189" y="90"/>
                </a:cubicBezTo>
                <a:cubicBezTo>
                  <a:pt x="188" y="70"/>
                  <a:pt x="221" y="58"/>
                  <a:pt x="258" y="57"/>
                </a:cubicBezTo>
                <a:close/>
                <a:moveTo>
                  <a:pt x="81" y="167"/>
                </a:moveTo>
                <a:cubicBezTo>
                  <a:pt x="98" y="135"/>
                  <a:pt x="123" y="111"/>
                  <a:pt x="141" y="120"/>
                </a:cubicBezTo>
                <a:cubicBezTo>
                  <a:pt x="156" y="128"/>
                  <a:pt x="157" y="168"/>
                  <a:pt x="140" y="199"/>
                </a:cubicBezTo>
                <a:cubicBezTo>
                  <a:pt x="124" y="230"/>
                  <a:pt x="90" y="251"/>
                  <a:pt x="76" y="244"/>
                </a:cubicBezTo>
                <a:cubicBezTo>
                  <a:pt x="58" y="234"/>
                  <a:pt x="64" y="200"/>
                  <a:pt x="81" y="167"/>
                </a:cubicBezTo>
                <a:close/>
                <a:moveTo>
                  <a:pt x="152" y="419"/>
                </a:moveTo>
                <a:cubicBezTo>
                  <a:pt x="135" y="429"/>
                  <a:pt x="108" y="407"/>
                  <a:pt x="89" y="376"/>
                </a:cubicBezTo>
                <a:cubicBezTo>
                  <a:pt x="69" y="344"/>
                  <a:pt x="61" y="311"/>
                  <a:pt x="78" y="300"/>
                </a:cubicBezTo>
                <a:cubicBezTo>
                  <a:pt x="92" y="291"/>
                  <a:pt x="127" y="310"/>
                  <a:pt x="146" y="340"/>
                </a:cubicBezTo>
                <a:cubicBezTo>
                  <a:pt x="164" y="370"/>
                  <a:pt x="166" y="410"/>
                  <a:pt x="152" y="419"/>
                </a:cubicBezTo>
                <a:close/>
                <a:moveTo>
                  <a:pt x="273" y="473"/>
                </a:moveTo>
                <a:cubicBezTo>
                  <a:pt x="236" y="475"/>
                  <a:pt x="203" y="465"/>
                  <a:pt x="202" y="445"/>
                </a:cubicBezTo>
                <a:cubicBezTo>
                  <a:pt x="201" y="428"/>
                  <a:pt x="236" y="407"/>
                  <a:pt x="270" y="406"/>
                </a:cubicBezTo>
                <a:cubicBezTo>
                  <a:pt x="305" y="405"/>
                  <a:pt x="341" y="423"/>
                  <a:pt x="342" y="440"/>
                </a:cubicBezTo>
                <a:cubicBezTo>
                  <a:pt x="342" y="460"/>
                  <a:pt x="310" y="472"/>
                  <a:pt x="273" y="473"/>
                </a:cubicBezTo>
                <a:close/>
                <a:moveTo>
                  <a:pt x="332" y="372"/>
                </a:moveTo>
                <a:cubicBezTo>
                  <a:pt x="273" y="409"/>
                  <a:pt x="195" y="391"/>
                  <a:pt x="158" y="332"/>
                </a:cubicBezTo>
                <a:cubicBezTo>
                  <a:pt x="121" y="273"/>
                  <a:pt x="139" y="195"/>
                  <a:pt x="198" y="158"/>
                </a:cubicBezTo>
                <a:cubicBezTo>
                  <a:pt x="257" y="121"/>
                  <a:pt x="335" y="139"/>
                  <a:pt x="372" y="198"/>
                </a:cubicBezTo>
                <a:cubicBezTo>
                  <a:pt x="409" y="257"/>
                  <a:pt x="391" y="335"/>
                  <a:pt x="332" y="372"/>
                </a:cubicBezTo>
                <a:close/>
                <a:moveTo>
                  <a:pt x="450" y="362"/>
                </a:moveTo>
                <a:cubicBezTo>
                  <a:pt x="432" y="395"/>
                  <a:pt x="407" y="419"/>
                  <a:pt x="390" y="410"/>
                </a:cubicBezTo>
                <a:cubicBezTo>
                  <a:pt x="375" y="402"/>
                  <a:pt x="374" y="362"/>
                  <a:pt x="390" y="331"/>
                </a:cubicBezTo>
                <a:cubicBezTo>
                  <a:pt x="406" y="300"/>
                  <a:pt x="440" y="278"/>
                  <a:pt x="455" y="286"/>
                </a:cubicBezTo>
                <a:cubicBezTo>
                  <a:pt x="473" y="296"/>
                  <a:pt x="467" y="330"/>
                  <a:pt x="450" y="362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9" name="Freeform 38"/>
          <p:cNvSpPr>
            <a:spLocks noEditPoints="1"/>
          </p:cNvSpPr>
          <p:nvPr/>
        </p:nvSpPr>
        <p:spPr bwMode="auto">
          <a:xfrm>
            <a:off x="6900263" y="10413117"/>
            <a:ext cx="1511366" cy="1511366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2" name="Shape 120"/>
          <p:cNvSpPr/>
          <p:nvPr/>
        </p:nvSpPr>
        <p:spPr>
          <a:xfrm>
            <a:off x="6149789" y="4626449"/>
            <a:ext cx="877106" cy="8771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99166" y="97888"/>
                </a:moveTo>
                <a:cubicBezTo>
                  <a:pt x="95944" y="95122"/>
                  <a:pt x="92244" y="92677"/>
                  <a:pt x="88083" y="90688"/>
                </a:cubicBezTo>
                <a:cubicBezTo>
                  <a:pt x="88155" y="90466"/>
                  <a:pt x="88233" y="90244"/>
                  <a:pt x="88311" y="90016"/>
                </a:cubicBezTo>
                <a:cubicBezTo>
                  <a:pt x="89616" y="85866"/>
                  <a:pt x="90666" y="81422"/>
                  <a:pt x="91411" y="76727"/>
                </a:cubicBezTo>
                <a:cubicBezTo>
                  <a:pt x="91505" y="76133"/>
                  <a:pt x="91577" y="75533"/>
                  <a:pt x="91661" y="74933"/>
                </a:cubicBezTo>
                <a:cubicBezTo>
                  <a:pt x="91911" y="73144"/>
                  <a:pt x="92116" y="71327"/>
                  <a:pt x="92277" y="69483"/>
                </a:cubicBezTo>
                <a:cubicBezTo>
                  <a:pt x="92338" y="68794"/>
                  <a:pt x="92400" y="68111"/>
                  <a:pt x="92450" y="67416"/>
                </a:cubicBezTo>
                <a:cubicBezTo>
                  <a:pt x="92555" y="65877"/>
                  <a:pt x="92577" y="64300"/>
                  <a:pt x="92627" y="62727"/>
                </a:cubicBezTo>
                <a:lnTo>
                  <a:pt x="114433" y="62727"/>
                </a:lnTo>
                <a:cubicBezTo>
                  <a:pt x="113755" y="76372"/>
                  <a:pt x="108055" y="88677"/>
                  <a:pt x="99166" y="97888"/>
                </a:cubicBezTo>
                <a:moveTo>
                  <a:pt x="76188" y="112100"/>
                </a:moveTo>
                <a:cubicBezTo>
                  <a:pt x="77361" y="110872"/>
                  <a:pt x="78483" y="109500"/>
                  <a:pt x="79561" y="108022"/>
                </a:cubicBezTo>
                <a:cubicBezTo>
                  <a:pt x="79661" y="107883"/>
                  <a:pt x="79761" y="107744"/>
                  <a:pt x="79861" y="107605"/>
                </a:cubicBezTo>
                <a:cubicBezTo>
                  <a:pt x="82022" y="104566"/>
                  <a:pt x="83977" y="101066"/>
                  <a:pt x="85666" y="97155"/>
                </a:cubicBezTo>
                <a:cubicBezTo>
                  <a:pt x="85755" y="96944"/>
                  <a:pt x="85838" y="96722"/>
                  <a:pt x="85927" y="96511"/>
                </a:cubicBezTo>
                <a:cubicBezTo>
                  <a:pt x="86027" y="96272"/>
                  <a:pt x="86105" y="96011"/>
                  <a:pt x="86205" y="95772"/>
                </a:cubicBezTo>
                <a:cubicBezTo>
                  <a:pt x="89572" y="97416"/>
                  <a:pt x="92583" y="99388"/>
                  <a:pt x="95233" y="101583"/>
                </a:cubicBezTo>
                <a:cubicBezTo>
                  <a:pt x="89716" y="106272"/>
                  <a:pt x="83272" y="109900"/>
                  <a:pt x="76188" y="112100"/>
                </a:cubicBezTo>
                <a:moveTo>
                  <a:pt x="62727" y="114272"/>
                </a:moveTo>
                <a:lnTo>
                  <a:pt x="62727" y="90116"/>
                </a:lnTo>
                <a:cubicBezTo>
                  <a:pt x="69433" y="90394"/>
                  <a:pt x="75766" y="91627"/>
                  <a:pt x="81400" y="93716"/>
                </a:cubicBezTo>
                <a:cubicBezTo>
                  <a:pt x="76944" y="105050"/>
                  <a:pt x="70300" y="112766"/>
                  <a:pt x="62727" y="114272"/>
                </a:cubicBezTo>
                <a:moveTo>
                  <a:pt x="62727" y="62727"/>
                </a:moveTo>
                <a:lnTo>
                  <a:pt x="87205" y="62727"/>
                </a:lnTo>
                <a:cubicBezTo>
                  <a:pt x="86972" y="72194"/>
                  <a:pt x="85511" y="81005"/>
                  <a:pt x="83172" y="88600"/>
                </a:cubicBezTo>
                <a:cubicBezTo>
                  <a:pt x="76972" y="86300"/>
                  <a:pt x="70044" y="84950"/>
                  <a:pt x="62727" y="84666"/>
                </a:cubicBezTo>
                <a:cubicBezTo>
                  <a:pt x="62727" y="84666"/>
                  <a:pt x="62727" y="62727"/>
                  <a:pt x="62727" y="62727"/>
                </a:cubicBezTo>
                <a:close/>
                <a:moveTo>
                  <a:pt x="62727" y="35333"/>
                </a:moveTo>
                <a:cubicBezTo>
                  <a:pt x="70044" y="35050"/>
                  <a:pt x="76972" y="33700"/>
                  <a:pt x="83172" y="31400"/>
                </a:cubicBezTo>
                <a:cubicBezTo>
                  <a:pt x="85511" y="38994"/>
                  <a:pt x="86972" y="47805"/>
                  <a:pt x="87205" y="57272"/>
                </a:cubicBezTo>
                <a:lnTo>
                  <a:pt x="62727" y="57272"/>
                </a:lnTo>
                <a:cubicBezTo>
                  <a:pt x="62727" y="57272"/>
                  <a:pt x="62727" y="35333"/>
                  <a:pt x="62727" y="35333"/>
                </a:cubicBezTo>
                <a:close/>
                <a:moveTo>
                  <a:pt x="62727" y="5727"/>
                </a:moveTo>
                <a:cubicBezTo>
                  <a:pt x="70300" y="7233"/>
                  <a:pt x="76944" y="14950"/>
                  <a:pt x="81400" y="26283"/>
                </a:cubicBezTo>
                <a:cubicBezTo>
                  <a:pt x="75766" y="28372"/>
                  <a:pt x="69433" y="29605"/>
                  <a:pt x="62727" y="29883"/>
                </a:cubicBezTo>
                <a:cubicBezTo>
                  <a:pt x="62727" y="29883"/>
                  <a:pt x="62727" y="5727"/>
                  <a:pt x="62727" y="5727"/>
                </a:cubicBezTo>
                <a:close/>
                <a:moveTo>
                  <a:pt x="95233" y="18416"/>
                </a:moveTo>
                <a:cubicBezTo>
                  <a:pt x="92583" y="20616"/>
                  <a:pt x="89572" y="22583"/>
                  <a:pt x="86205" y="24227"/>
                </a:cubicBezTo>
                <a:cubicBezTo>
                  <a:pt x="86105" y="23988"/>
                  <a:pt x="86027" y="23727"/>
                  <a:pt x="85927" y="23494"/>
                </a:cubicBezTo>
                <a:cubicBezTo>
                  <a:pt x="85838" y="23277"/>
                  <a:pt x="85755" y="23061"/>
                  <a:pt x="85666" y="22844"/>
                </a:cubicBezTo>
                <a:cubicBezTo>
                  <a:pt x="83977" y="18933"/>
                  <a:pt x="82022" y="15433"/>
                  <a:pt x="79861" y="12394"/>
                </a:cubicBezTo>
                <a:cubicBezTo>
                  <a:pt x="79761" y="12255"/>
                  <a:pt x="79661" y="12116"/>
                  <a:pt x="79561" y="11977"/>
                </a:cubicBezTo>
                <a:cubicBezTo>
                  <a:pt x="78483" y="10500"/>
                  <a:pt x="77361" y="9127"/>
                  <a:pt x="76188" y="7900"/>
                </a:cubicBezTo>
                <a:cubicBezTo>
                  <a:pt x="83272" y="10100"/>
                  <a:pt x="89716" y="13727"/>
                  <a:pt x="95233" y="18416"/>
                </a:cubicBezTo>
                <a:moveTo>
                  <a:pt x="114433" y="57272"/>
                </a:moveTo>
                <a:lnTo>
                  <a:pt x="92627" y="57272"/>
                </a:lnTo>
                <a:cubicBezTo>
                  <a:pt x="92577" y="55705"/>
                  <a:pt x="92555" y="54122"/>
                  <a:pt x="92450" y="52583"/>
                </a:cubicBezTo>
                <a:cubicBezTo>
                  <a:pt x="92400" y="51888"/>
                  <a:pt x="92338" y="51205"/>
                  <a:pt x="92277" y="50516"/>
                </a:cubicBezTo>
                <a:cubicBezTo>
                  <a:pt x="92116" y="48672"/>
                  <a:pt x="91911" y="46855"/>
                  <a:pt x="91661" y="45066"/>
                </a:cubicBezTo>
                <a:cubicBezTo>
                  <a:pt x="91577" y="44472"/>
                  <a:pt x="91505" y="43866"/>
                  <a:pt x="91411" y="43272"/>
                </a:cubicBezTo>
                <a:cubicBezTo>
                  <a:pt x="90666" y="38577"/>
                  <a:pt x="89616" y="34133"/>
                  <a:pt x="88311" y="29983"/>
                </a:cubicBezTo>
                <a:cubicBezTo>
                  <a:pt x="88233" y="29761"/>
                  <a:pt x="88155" y="29538"/>
                  <a:pt x="88083" y="29311"/>
                </a:cubicBezTo>
                <a:cubicBezTo>
                  <a:pt x="92244" y="27322"/>
                  <a:pt x="95944" y="24877"/>
                  <a:pt x="99166" y="22116"/>
                </a:cubicBezTo>
                <a:cubicBezTo>
                  <a:pt x="108055" y="31322"/>
                  <a:pt x="113755" y="43627"/>
                  <a:pt x="114433" y="57272"/>
                </a:cubicBezTo>
                <a:moveTo>
                  <a:pt x="57272" y="29883"/>
                </a:moveTo>
                <a:cubicBezTo>
                  <a:pt x="50561" y="29605"/>
                  <a:pt x="44227" y="28372"/>
                  <a:pt x="38594" y="26283"/>
                </a:cubicBezTo>
                <a:cubicBezTo>
                  <a:pt x="43050" y="14950"/>
                  <a:pt x="49694" y="7233"/>
                  <a:pt x="57272" y="5727"/>
                </a:cubicBezTo>
                <a:cubicBezTo>
                  <a:pt x="57272" y="5727"/>
                  <a:pt x="57272" y="29883"/>
                  <a:pt x="57272" y="29883"/>
                </a:cubicBezTo>
                <a:close/>
                <a:moveTo>
                  <a:pt x="57272" y="57272"/>
                </a:moveTo>
                <a:lnTo>
                  <a:pt x="32794" y="57272"/>
                </a:lnTo>
                <a:cubicBezTo>
                  <a:pt x="33027" y="47805"/>
                  <a:pt x="34483" y="38994"/>
                  <a:pt x="36827" y="31400"/>
                </a:cubicBezTo>
                <a:cubicBezTo>
                  <a:pt x="43027" y="33700"/>
                  <a:pt x="49950" y="35050"/>
                  <a:pt x="57272" y="35333"/>
                </a:cubicBezTo>
                <a:cubicBezTo>
                  <a:pt x="57272" y="35333"/>
                  <a:pt x="57272" y="57272"/>
                  <a:pt x="57272" y="57272"/>
                </a:cubicBezTo>
                <a:close/>
                <a:moveTo>
                  <a:pt x="57272" y="84666"/>
                </a:moveTo>
                <a:cubicBezTo>
                  <a:pt x="49950" y="84950"/>
                  <a:pt x="43027" y="86300"/>
                  <a:pt x="36827" y="88600"/>
                </a:cubicBezTo>
                <a:cubicBezTo>
                  <a:pt x="34483" y="81005"/>
                  <a:pt x="33027" y="72194"/>
                  <a:pt x="32794" y="62727"/>
                </a:cubicBezTo>
                <a:lnTo>
                  <a:pt x="57272" y="62727"/>
                </a:lnTo>
                <a:cubicBezTo>
                  <a:pt x="57272" y="62727"/>
                  <a:pt x="57272" y="84666"/>
                  <a:pt x="57272" y="84666"/>
                </a:cubicBezTo>
                <a:close/>
                <a:moveTo>
                  <a:pt x="57272" y="114272"/>
                </a:moveTo>
                <a:cubicBezTo>
                  <a:pt x="49694" y="112766"/>
                  <a:pt x="43050" y="105050"/>
                  <a:pt x="38594" y="93716"/>
                </a:cubicBezTo>
                <a:cubicBezTo>
                  <a:pt x="44227" y="91627"/>
                  <a:pt x="50561" y="90394"/>
                  <a:pt x="57272" y="90116"/>
                </a:cubicBezTo>
                <a:cubicBezTo>
                  <a:pt x="57272" y="90116"/>
                  <a:pt x="57272" y="114272"/>
                  <a:pt x="57272" y="114272"/>
                </a:cubicBezTo>
                <a:close/>
                <a:moveTo>
                  <a:pt x="24766" y="101583"/>
                </a:moveTo>
                <a:cubicBezTo>
                  <a:pt x="27411" y="99388"/>
                  <a:pt x="30422" y="97416"/>
                  <a:pt x="33794" y="95772"/>
                </a:cubicBezTo>
                <a:cubicBezTo>
                  <a:pt x="33888" y="96011"/>
                  <a:pt x="33972" y="96272"/>
                  <a:pt x="34066" y="96511"/>
                </a:cubicBezTo>
                <a:cubicBezTo>
                  <a:pt x="34161" y="96722"/>
                  <a:pt x="34238" y="96944"/>
                  <a:pt x="34333" y="97155"/>
                </a:cubicBezTo>
                <a:cubicBezTo>
                  <a:pt x="36022" y="101066"/>
                  <a:pt x="37972" y="104566"/>
                  <a:pt x="40133" y="107605"/>
                </a:cubicBezTo>
                <a:cubicBezTo>
                  <a:pt x="40233" y="107744"/>
                  <a:pt x="40338" y="107883"/>
                  <a:pt x="40438" y="108022"/>
                </a:cubicBezTo>
                <a:cubicBezTo>
                  <a:pt x="41511" y="109500"/>
                  <a:pt x="42633" y="110872"/>
                  <a:pt x="43811" y="112100"/>
                </a:cubicBezTo>
                <a:cubicBezTo>
                  <a:pt x="36722" y="109900"/>
                  <a:pt x="30283" y="106272"/>
                  <a:pt x="24766" y="101583"/>
                </a:cubicBezTo>
                <a:moveTo>
                  <a:pt x="5566" y="62727"/>
                </a:moveTo>
                <a:lnTo>
                  <a:pt x="27372" y="62727"/>
                </a:lnTo>
                <a:cubicBezTo>
                  <a:pt x="27416" y="64300"/>
                  <a:pt x="27444" y="65877"/>
                  <a:pt x="27544" y="67416"/>
                </a:cubicBezTo>
                <a:cubicBezTo>
                  <a:pt x="27594" y="68111"/>
                  <a:pt x="27661" y="68794"/>
                  <a:pt x="27716" y="69483"/>
                </a:cubicBezTo>
                <a:cubicBezTo>
                  <a:pt x="27877" y="71327"/>
                  <a:pt x="28083" y="73144"/>
                  <a:pt x="28333" y="74933"/>
                </a:cubicBezTo>
                <a:cubicBezTo>
                  <a:pt x="28422" y="75533"/>
                  <a:pt x="28494" y="76133"/>
                  <a:pt x="28588" y="76727"/>
                </a:cubicBezTo>
                <a:cubicBezTo>
                  <a:pt x="29333" y="81422"/>
                  <a:pt x="30377" y="85866"/>
                  <a:pt x="31688" y="90016"/>
                </a:cubicBezTo>
                <a:cubicBezTo>
                  <a:pt x="31766" y="90244"/>
                  <a:pt x="31838" y="90466"/>
                  <a:pt x="31911" y="90688"/>
                </a:cubicBezTo>
                <a:cubicBezTo>
                  <a:pt x="27755" y="92677"/>
                  <a:pt x="24055" y="95122"/>
                  <a:pt x="20827" y="97888"/>
                </a:cubicBezTo>
                <a:cubicBezTo>
                  <a:pt x="11944" y="88677"/>
                  <a:pt x="6238" y="76372"/>
                  <a:pt x="5566" y="62727"/>
                </a:cubicBezTo>
                <a:moveTo>
                  <a:pt x="20827" y="22116"/>
                </a:moveTo>
                <a:cubicBezTo>
                  <a:pt x="24055" y="24877"/>
                  <a:pt x="27755" y="27322"/>
                  <a:pt x="31911" y="29311"/>
                </a:cubicBezTo>
                <a:cubicBezTo>
                  <a:pt x="31838" y="29538"/>
                  <a:pt x="31766" y="29761"/>
                  <a:pt x="31688" y="29983"/>
                </a:cubicBezTo>
                <a:cubicBezTo>
                  <a:pt x="30383" y="34133"/>
                  <a:pt x="29333" y="38577"/>
                  <a:pt x="28588" y="43272"/>
                </a:cubicBezTo>
                <a:cubicBezTo>
                  <a:pt x="28494" y="43866"/>
                  <a:pt x="28422" y="44472"/>
                  <a:pt x="28333" y="45066"/>
                </a:cubicBezTo>
                <a:cubicBezTo>
                  <a:pt x="28083" y="46855"/>
                  <a:pt x="27877" y="48672"/>
                  <a:pt x="27716" y="50516"/>
                </a:cubicBezTo>
                <a:cubicBezTo>
                  <a:pt x="27661" y="51205"/>
                  <a:pt x="27594" y="51888"/>
                  <a:pt x="27544" y="52583"/>
                </a:cubicBezTo>
                <a:cubicBezTo>
                  <a:pt x="27444" y="54122"/>
                  <a:pt x="27416" y="55705"/>
                  <a:pt x="27372" y="57272"/>
                </a:cubicBezTo>
                <a:lnTo>
                  <a:pt x="5566" y="57272"/>
                </a:lnTo>
                <a:cubicBezTo>
                  <a:pt x="6238" y="43627"/>
                  <a:pt x="11944" y="31322"/>
                  <a:pt x="20827" y="22116"/>
                </a:cubicBezTo>
                <a:moveTo>
                  <a:pt x="43811" y="7900"/>
                </a:moveTo>
                <a:cubicBezTo>
                  <a:pt x="42633" y="9127"/>
                  <a:pt x="41511" y="10500"/>
                  <a:pt x="40438" y="11977"/>
                </a:cubicBezTo>
                <a:cubicBezTo>
                  <a:pt x="40338" y="12116"/>
                  <a:pt x="40233" y="12255"/>
                  <a:pt x="40133" y="12394"/>
                </a:cubicBezTo>
                <a:cubicBezTo>
                  <a:pt x="37972" y="15433"/>
                  <a:pt x="36022" y="18933"/>
                  <a:pt x="34333" y="22844"/>
                </a:cubicBezTo>
                <a:cubicBezTo>
                  <a:pt x="34238" y="23061"/>
                  <a:pt x="34161" y="23277"/>
                  <a:pt x="34066" y="23494"/>
                </a:cubicBezTo>
                <a:cubicBezTo>
                  <a:pt x="33972" y="23727"/>
                  <a:pt x="33888" y="23988"/>
                  <a:pt x="33794" y="24227"/>
                </a:cubicBezTo>
                <a:cubicBezTo>
                  <a:pt x="30422" y="22583"/>
                  <a:pt x="27411" y="20616"/>
                  <a:pt x="24766" y="18416"/>
                </a:cubicBezTo>
                <a:cubicBezTo>
                  <a:pt x="30283" y="13727"/>
                  <a:pt x="36722" y="10100"/>
                  <a:pt x="43811" y="7900"/>
                </a:cubicBezTo>
                <a:moveTo>
                  <a:pt x="60000" y="0"/>
                </a:moveTo>
                <a:cubicBezTo>
                  <a:pt x="26861" y="0"/>
                  <a:pt x="0" y="26861"/>
                  <a:pt x="0" y="60000"/>
                </a:cubicBezTo>
                <a:cubicBezTo>
                  <a:pt x="0" y="93138"/>
                  <a:pt x="26861" y="120000"/>
                  <a:pt x="60000" y="120000"/>
                </a:cubicBezTo>
                <a:cubicBezTo>
                  <a:pt x="93133" y="120000"/>
                  <a:pt x="120000" y="93138"/>
                  <a:pt x="120000" y="60000"/>
                </a:cubicBezTo>
                <a:cubicBezTo>
                  <a:pt x="120000" y="26861"/>
                  <a:pt x="93133" y="0"/>
                  <a:pt x="60000" y="0"/>
                </a:cubicBezTo>
              </a:path>
            </a:pathLst>
          </a:custGeom>
          <a:solidFill>
            <a:schemeClr val="lt1"/>
          </a:solidFill>
          <a:ln>
            <a:noFill/>
          </a:ln>
        </p:spPr>
        <p:txBody>
          <a:bodyPr lIns="76150" tIns="76150" rIns="76150" bIns="76150" anchor="ctr" anchorCtr="0">
            <a:noAutofit/>
          </a:bodyPr>
          <a:lstStyle/>
          <a:p>
            <a:pPr algn="l" defTabSz="1828800" rtl="0"/>
            <a:endParaRPr sz="5998" kern="1200">
              <a:solidFill>
                <a:srgbClr val="3F3F3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44" name="Oval 35"/>
          <p:cNvSpPr>
            <a:spLocks noChangeArrowheads="1"/>
          </p:cNvSpPr>
          <p:nvPr/>
        </p:nvSpPr>
        <p:spPr bwMode="auto">
          <a:xfrm>
            <a:off x="8280365" y="9153015"/>
            <a:ext cx="262526" cy="260434"/>
          </a:xfrm>
          <a:prstGeom prst="ellipse">
            <a:avLst/>
          </a:pr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Freeform 36"/>
          <p:cNvSpPr>
            <a:spLocks/>
          </p:cNvSpPr>
          <p:nvPr/>
        </p:nvSpPr>
        <p:spPr bwMode="auto">
          <a:xfrm>
            <a:off x="8247942" y="9418678"/>
            <a:ext cx="327372" cy="220688"/>
          </a:xfrm>
          <a:custGeom>
            <a:avLst/>
            <a:gdLst>
              <a:gd name="T0" fmla="*/ 65 w 130"/>
              <a:gd name="T1" fmla="*/ 12 h 88"/>
              <a:gd name="T2" fmla="*/ 24 w 130"/>
              <a:gd name="T3" fmla="*/ 0 h 88"/>
              <a:gd name="T4" fmla="*/ 0 w 130"/>
              <a:gd name="T5" fmla="*/ 88 h 88"/>
              <a:gd name="T6" fmla="*/ 130 w 130"/>
              <a:gd name="T7" fmla="*/ 88 h 88"/>
              <a:gd name="T8" fmla="*/ 106 w 130"/>
              <a:gd name="T9" fmla="*/ 0 h 88"/>
              <a:gd name="T10" fmla="*/ 65 w 130"/>
              <a:gd name="T11" fmla="*/ 1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" h="88">
                <a:moveTo>
                  <a:pt x="65" y="12"/>
                </a:moveTo>
                <a:cubicBezTo>
                  <a:pt x="50" y="12"/>
                  <a:pt x="36" y="7"/>
                  <a:pt x="24" y="0"/>
                </a:cubicBezTo>
                <a:cubicBezTo>
                  <a:pt x="10" y="20"/>
                  <a:pt x="0" y="52"/>
                  <a:pt x="0" y="88"/>
                </a:cubicBezTo>
                <a:cubicBezTo>
                  <a:pt x="130" y="88"/>
                  <a:pt x="130" y="88"/>
                  <a:pt x="130" y="88"/>
                </a:cubicBezTo>
                <a:cubicBezTo>
                  <a:pt x="130" y="52"/>
                  <a:pt x="120" y="20"/>
                  <a:pt x="106" y="0"/>
                </a:cubicBezTo>
                <a:cubicBezTo>
                  <a:pt x="94" y="7"/>
                  <a:pt x="80" y="12"/>
                  <a:pt x="65" y="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7" name="Oval 40"/>
          <p:cNvSpPr>
            <a:spLocks noChangeArrowheads="1"/>
          </p:cNvSpPr>
          <p:nvPr/>
        </p:nvSpPr>
        <p:spPr bwMode="auto">
          <a:xfrm>
            <a:off x="7529201" y="10924255"/>
            <a:ext cx="260286" cy="262386"/>
          </a:xfrm>
          <a:prstGeom prst="ellipse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8" name="Freeform 41"/>
          <p:cNvSpPr>
            <a:spLocks/>
          </p:cNvSpPr>
          <p:nvPr/>
        </p:nvSpPr>
        <p:spPr bwMode="auto">
          <a:xfrm>
            <a:off x="7493517" y="11188739"/>
            <a:ext cx="303318" cy="224602"/>
          </a:xfrm>
          <a:custGeom>
            <a:avLst/>
            <a:gdLst>
              <a:gd name="T0" fmla="*/ 86 w 120"/>
              <a:gd name="T1" fmla="*/ 50 h 89"/>
              <a:gd name="T2" fmla="*/ 114 w 120"/>
              <a:gd name="T3" fmla="*/ 13 h 89"/>
              <a:gd name="T4" fmla="*/ 106 w 120"/>
              <a:gd name="T5" fmla="*/ 0 h 89"/>
              <a:gd name="T6" fmla="*/ 65 w 120"/>
              <a:gd name="T7" fmla="*/ 12 h 89"/>
              <a:gd name="T8" fmla="*/ 24 w 120"/>
              <a:gd name="T9" fmla="*/ 0 h 89"/>
              <a:gd name="T10" fmla="*/ 0 w 120"/>
              <a:gd name="T11" fmla="*/ 89 h 89"/>
              <a:gd name="T12" fmla="*/ 120 w 120"/>
              <a:gd name="T13" fmla="*/ 89 h 89"/>
              <a:gd name="T14" fmla="*/ 86 w 120"/>
              <a:gd name="T15" fmla="*/ 5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0" h="89">
                <a:moveTo>
                  <a:pt x="86" y="50"/>
                </a:moveTo>
                <a:cubicBezTo>
                  <a:pt x="86" y="33"/>
                  <a:pt x="98" y="18"/>
                  <a:pt x="114" y="13"/>
                </a:cubicBezTo>
                <a:cubicBezTo>
                  <a:pt x="112" y="8"/>
                  <a:pt x="109" y="4"/>
                  <a:pt x="106" y="0"/>
                </a:cubicBezTo>
                <a:cubicBezTo>
                  <a:pt x="95" y="8"/>
                  <a:pt x="80" y="12"/>
                  <a:pt x="65" y="12"/>
                </a:cubicBezTo>
                <a:cubicBezTo>
                  <a:pt x="50" y="12"/>
                  <a:pt x="36" y="8"/>
                  <a:pt x="24" y="0"/>
                </a:cubicBezTo>
                <a:cubicBezTo>
                  <a:pt x="10" y="21"/>
                  <a:pt x="1" y="53"/>
                  <a:pt x="0" y="89"/>
                </a:cubicBezTo>
                <a:cubicBezTo>
                  <a:pt x="120" y="89"/>
                  <a:pt x="120" y="89"/>
                  <a:pt x="120" y="89"/>
                </a:cubicBezTo>
                <a:cubicBezTo>
                  <a:pt x="101" y="86"/>
                  <a:pt x="86" y="70"/>
                  <a:pt x="86" y="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9" name="Freeform 42"/>
          <p:cNvSpPr>
            <a:spLocks noEditPoints="1"/>
          </p:cNvSpPr>
          <p:nvPr/>
        </p:nvSpPr>
        <p:spPr bwMode="auto">
          <a:xfrm>
            <a:off x="7739111" y="11244364"/>
            <a:ext cx="140638" cy="141688"/>
          </a:xfrm>
          <a:custGeom>
            <a:avLst/>
            <a:gdLst>
              <a:gd name="T0" fmla="*/ 28 w 56"/>
              <a:gd name="T1" fmla="*/ 0 h 56"/>
              <a:gd name="T2" fmla="*/ 21 w 56"/>
              <a:gd name="T3" fmla="*/ 1 h 56"/>
              <a:gd name="T4" fmla="*/ 0 w 56"/>
              <a:gd name="T5" fmla="*/ 28 h 56"/>
              <a:gd name="T6" fmla="*/ 28 w 56"/>
              <a:gd name="T7" fmla="*/ 56 h 56"/>
              <a:gd name="T8" fmla="*/ 33 w 56"/>
              <a:gd name="T9" fmla="*/ 56 h 56"/>
              <a:gd name="T10" fmla="*/ 56 w 56"/>
              <a:gd name="T11" fmla="*/ 28 h 56"/>
              <a:gd name="T12" fmla="*/ 28 w 56"/>
              <a:gd name="T13" fmla="*/ 0 h 56"/>
              <a:gd name="T14" fmla="*/ 47 w 56"/>
              <a:gd name="T15" fmla="*/ 34 h 56"/>
              <a:gd name="T16" fmla="*/ 33 w 56"/>
              <a:gd name="T17" fmla="*/ 34 h 56"/>
              <a:gd name="T18" fmla="*/ 33 w 56"/>
              <a:gd name="T19" fmla="*/ 48 h 56"/>
              <a:gd name="T20" fmla="*/ 33 w 56"/>
              <a:gd name="T21" fmla="*/ 48 h 56"/>
              <a:gd name="T22" fmla="*/ 22 w 56"/>
              <a:gd name="T23" fmla="*/ 48 h 56"/>
              <a:gd name="T24" fmla="*/ 22 w 56"/>
              <a:gd name="T25" fmla="*/ 34 h 56"/>
              <a:gd name="T26" fmla="*/ 8 w 56"/>
              <a:gd name="T27" fmla="*/ 34 h 56"/>
              <a:gd name="T28" fmla="*/ 8 w 56"/>
              <a:gd name="T29" fmla="*/ 23 h 56"/>
              <a:gd name="T30" fmla="*/ 22 w 56"/>
              <a:gd name="T31" fmla="*/ 23 h 56"/>
              <a:gd name="T32" fmla="*/ 22 w 56"/>
              <a:gd name="T33" fmla="*/ 9 h 56"/>
              <a:gd name="T34" fmla="*/ 24 w 56"/>
              <a:gd name="T35" fmla="*/ 9 h 56"/>
              <a:gd name="T36" fmla="*/ 33 w 56"/>
              <a:gd name="T37" fmla="*/ 9 h 56"/>
              <a:gd name="T38" fmla="*/ 33 w 56"/>
              <a:gd name="T39" fmla="*/ 23 h 56"/>
              <a:gd name="T40" fmla="*/ 47 w 56"/>
              <a:gd name="T41" fmla="*/ 23 h 56"/>
              <a:gd name="T42" fmla="*/ 47 w 56"/>
              <a:gd name="T43" fmla="*/ 3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6" h="56">
                <a:moveTo>
                  <a:pt x="28" y="0"/>
                </a:moveTo>
                <a:cubicBezTo>
                  <a:pt x="26" y="0"/>
                  <a:pt x="23" y="0"/>
                  <a:pt x="21" y="1"/>
                </a:cubicBezTo>
                <a:cubicBezTo>
                  <a:pt x="9" y="4"/>
                  <a:pt x="0" y="15"/>
                  <a:pt x="0" y="28"/>
                </a:cubicBezTo>
                <a:cubicBezTo>
                  <a:pt x="0" y="44"/>
                  <a:pt x="12" y="56"/>
                  <a:pt x="28" y="56"/>
                </a:cubicBezTo>
                <a:cubicBezTo>
                  <a:pt x="30" y="56"/>
                  <a:pt x="31" y="56"/>
                  <a:pt x="33" y="56"/>
                </a:cubicBezTo>
                <a:cubicBezTo>
                  <a:pt x="46" y="53"/>
                  <a:pt x="56" y="42"/>
                  <a:pt x="56" y="28"/>
                </a:cubicBezTo>
                <a:cubicBezTo>
                  <a:pt x="56" y="13"/>
                  <a:pt x="43" y="0"/>
                  <a:pt x="28" y="0"/>
                </a:cubicBezTo>
                <a:close/>
                <a:moveTo>
                  <a:pt x="47" y="34"/>
                </a:moveTo>
                <a:cubicBezTo>
                  <a:pt x="33" y="34"/>
                  <a:pt x="33" y="34"/>
                  <a:pt x="33" y="34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22" y="48"/>
                  <a:pt x="22" y="48"/>
                  <a:pt x="22" y="48"/>
                </a:cubicBezTo>
                <a:cubicBezTo>
                  <a:pt x="22" y="34"/>
                  <a:pt x="22" y="34"/>
                  <a:pt x="22" y="34"/>
                </a:cubicBezTo>
                <a:cubicBezTo>
                  <a:pt x="8" y="34"/>
                  <a:pt x="8" y="34"/>
                  <a:pt x="8" y="34"/>
                </a:cubicBezTo>
                <a:cubicBezTo>
                  <a:pt x="8" y="23"/>
                  <a:pt x="8" y="23"/>
                  <a:pt x="8" y="23"/>
                </a:cubicBezTo>
                <a:cubicBezTo>
                  <a:pt x="22" y="23"/>
                  <a:pt x="22" y="23"/>
                  <a:pt x="22" y="23"/>
                </a:cubicBezTo>
                <a:cubicBezTo>
                  <a:pt x="22" y="9"/>
                  <a:pt x="22" y="9"/>
                  <a:pt x="22" y="9"/>
                </a:cubicBezTo>
                <a:cubicBezTo>
                  <a:pt x="24" y="9"/>
                  <a:pt x="24" y="9"/>
                  <a:pt x="24" y="9"/>
                </a:cubicBezTo>
                <a:cubicBezTo>
                  <a:pt x="33" y="9"/>
                  <a:pt x="33" y="9"/>
                  <a:pt x="33" y="9"/>
                </a:cubicBezTo>
                <a:cubicBezTo>
                  <a:pt x="33" y="23"/>
                  <a:pt x="33" y="23"/>
                  <a:pt x="33" y="23"/>
                </a:cubicBezTo>
                <a:cubicBezTo>
                  <a:pt x="47" y="23"/>
                  <a:pt x="47" y="23"/>
                  <a:pt x="47" y="23"/>
                </a:cubicBezTo>
                <a:lnTo>
                  <a:pt x="47" y="3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8" name="Freeform 22"/>
          <p:cNvSpPr>
            <a:spLocks/>
          </p:cNvSpPr>
          <p:nvPr/>
        </p:nvSpPr>
        <p:spPr bwMode="auto">
          <a:xfrm rot="20976120">
            <a:off x="6271294" y="2506630"/>
            <a:ext cx="2581276" cy="3111500"/>
          </a:xfrm>
          <a:custGeom>
            <a:avLst/>
            <a:gdLst>
              <a:gd name="T0" fmla="*/ 1 w 342"/>
              <a:gd name="T1" fmla="*/ 16 h 414"/>
              <a:gd name="T2" fmla="*/ 16 w 342"/>
              <a:gd name="T3" fmla="*/ 30 h 414"/>
              <a:gd name="T4" fmla="*/ 23 w 342"/>
              <a:gd name="T5" fmla="*/ 30 h 414"/>
              <a:gd name="T6" fmla="*/ 312 w 342"/>
              <a:gd name="T7" fmla="*/ 318 h 414"/>
              <a:gd name="T8" fmla="*/ 302 w 342"/>
              <a:gd name="T9" fmla="*/ 392 h 414"/>
              <a:gd name="T10" fmla="*/ 307 w 342"/>
              <a:gd name="T11" fmla="*/ 406 h 414"/>
              <a:gd name="T12" fmla="*/ 307 w 342"/>
              <a:gd name="T13" fmla="*/ 406 h 414"/>
              <a:gd name="T14" fmla="*/ 331 w 342"/>
              <a:gd name="T15" fmla="*/ 399 h 414"/>
              <a:gd name="T16" fmla="*/ 342 w 342"/>
              <a:gd name="T17" fmla="*/ 318 h 414"/>
              <a:gd name="T18" fmla="*/ 23 w 342"/>
              <a:gd name="T19" fmla="*/ 0 h 414"/>
              <a:gd name="T20" fmla="*/ 15 w 342"/>
              <a:gd name="T21" fmla="*/ 0 h 414"/>
              <a:gd name="T22" fmla="*/ 1 w 342"/>
              <a:gd name="T23" fmla="*/ 16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2" h="414">
                <a:moveTo>
                  <a:pt x="1" y="16"/>
                </a:moveTo>
                <a:cubicBezTo>
                  <a:pt x="2" y="24"/>
                  <a:pt x="8" y="30"/>
                  <a:pt x="16" y="30"/>
                </a:cubicBezTo>
                <a:cubicBezTo>
                  <a:pt x="18" y="30"/>
                  <a:pt x="21" y="30"/>
                  <a:pt x="23" y="30"/>
                </a:cubicBezTo>
                <a:cubicBezTo>
                  <a:pt x="183" y="30"/>
                  <a:pt x="312" y="159"/>
                  <a:pt x="312" y="318"/>
                </a:cubicBezTo>
                <a:cubicBezTo>
                  <a:pt x="312" y="344"/>
                  <a:pt x="309" y="368"/>
                  <a:pt x="302" y="392"/>
                </a:cubicBezTo>
                <a:cubicBezTo>
                  <a:pt x="301" y="397"/>
                  <a:pt x="303" y="403"/>
                  <a:pt x="307" y="406"/>
                </a:cubicBezTo>
                <a:cubicBezTo>
                  <a:pt x="307" y="406"/>
                  <a:pt x="307" y="406"/>
                  <a:pt x="307" y="406"/>
                </a:cubicBezTo>
                <a:cubicBezTo>
                  <a:pt x="315" y="414"/>
                  <a:pt x="328" y="410"/>
                  <a:pt x="331" y="399"/>
                </a:cubicBezTo>
                <a:cubicBezTo>
                  <a:pt x="338" y="373"/>
                  <a:pt x="342" y="346"/>
                  <a:pt x="342" y="318"/>
                </a:cubicBezTo>
                <a:cubicBezTo>
                  <a:pt x="342" y="143"/>
                  <a:pt x="199" y="0"/>
                  <a:pt x="23" y="0"/>
                </a:cubicBezTo>
                <a:cubicBezTo>
                  <a:pt x="20" y="0"/>
                  <a:pt x="17" y="0"/>
                  <a:pt x="15" y="0"/>
                </a:cubicBezTo>
                <a:cubicBezTo>
                  <a:pt x="6" y="0"/>
                  <a:pt x="0" y="8"/>
                  <a:pt x="1" y="16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2" name="Isosceles Triangle 81"/>
          <p:cNvSpPr/>
          <p:nvPr/>
        </p:nvSpPr>
        <p:spPr>
          <a:xfrm rot="14963714">
            <a:off x="5418872" y="2574956"/>
            <a:ext cx="730320" cy="917192"/>
          </a:xfrm>
          <a:prstGeom prst="triangle">
            <a:avLst>
              <a:gd name="adj" fmla="val 47392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9" name="Freeform 23"/>
          <p:cNvSpPr>
            <a:spLocks/>
          </p:cNvSpPr>
          <p:nvPr/>
        </p:nvSpPr>
        <p:spPr bwMode="auto">
          <a:xfrm>
            <a:off x="8995763" y="5987869"/>
            <a:ext cx="882650" cy="2486026"/>
          </a:xfrm>
          <a:custGeom>
            <a:avLst/>
            <a:gdLst>
              <a:gd name="T0" fmla="*/ 2 w 117"/>
              <a:gd name="T1" fmla="*/ 7 h 331"/>
              <a:gd name="T2" fmla="*/ 2 w 117"/>
              <a:gd name="T3" fmla="*/ 8 h 331"/>
              <a:gd name="T4" fmla="*/ 5 w 117"/>
              <a:gd name="T5" fmla="*/ 19 h 331"/>
              <a:gd name="T6" fmla="*/ 98 w 117"/>
              <a:gd name="T7" fmla="*/ 196 h 331"/>
              <a:gd name="T8" fmla="*/ 62 w 117"/>
              <a:gd name="T9" fmla="*/ 315 h 331"/>
              <a:gd name="T10" fmla="*/ 64 w 117"/>
              <a:gd name="T11" fmla="*/ 327 h 331"/>
              <a:gd name="T12" fmla="*/ 64 w 117"/>
              <a:gd name="T13" fmla="*/ 327 h 331"/>
              <a:gd name="T14" fmla="*/ 78 w 117"/>
              <a:gd name="T15" fmla="*/ 326 h 331"/>
              <a:gd name="T16" fmla="*/ 117 w 117"/>
              <a:gd name="T17" fmla="*/ 196 h 331"/>
              <a:gd name="T18" fmla="*/ 16 w 117"/>
              <a:gd name="T19" fmla="*/ 3 h 331"/>
              <a:gd name="T20" fmla="*/ 2 w 117"/>
              <a:gd name="T21" fmla="*/ 7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7" h="331">
                <a:moveTo>
                  <a:pt x="2" y="7"/>
                </a:moveTo>
                <a:cubicBezTo>
                  <a:pt x="2" y="8"/>
                  <a:pt x="2" y="8"/>
                  <a:pt x="2" y="8"/>
                </a:cubicBezTo>
                <a:cubicBezTo>
                  <a:pt x="0" y="12"/>
                  <a:pt x="2" y="17"/>
                  <a:pt x="5" y="19"/>
                </a:cubicBezTo>
                <a:cubicBezTo>
                  <a:pt x="61" y="58"/>
                  <a:pt x="98" y="123"/>
                  <a:pt x="98" y="196"/>
                </a:cubicBezTo>
                <a:cubicBezTo>
                  <a:pt x="98" y="240"/>
                  <a:pt x="85" y="281"/>
                  <a:pt x="62" y="315"/>
                </a:cubicBezTo>
                <a:cubicBezTo>
                  <a:pt x="60" y="319"/>
                  <a:pt x="61" y="324"/>
                  <a:pt x="64" y="327"/>
                </a:cubicBezTo>
                <a:cubicBezTo>
                  <a:pt x="64" y="327"/>
                  <a:pt x="64" y="327"/>
                  <a:pt x="64" y="327"/>
                </a:cubicBezTo>
                <a:cubicBezTo>
                  <a:pt x="68" y="331"/>
                  <a:pt x="75" y="331"/>
                  <a:pt x="78" y="326"/>
                </a:cubicBezTo>
                <a:cubicBezTo>
                  <a:pt x="103" y="289"/>
                  <a:pt x="117" y="244"/>
                  <a:pt x="117" y="196"/>
                </a:cubicBezTo>
                <a:cubicBezTo>
                  <a:pt x="117" y="116"/>
                  <a:pt x="77" y="46"/>
                  <a:pt x="16" y="3"/>
                </a:cubicBezTo>
                <a:cubicBezTo>
                  <a:pt x="11" y="0"/>
                  <a:pt x="5" y="2"/>
                  <a:pt x="2" y="7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3" name="Isosceles Triangle 82"/>
          <p:cNvSpPr/>
          <p:nvPr/>
        </p:nvSpPr>
        <p:spPr>
          <a:xfrm rot="18237154">
            <a:off x="8602634" y="5613327"/>
            <a:ext cx="524416" cy="658602"/>
          </a:xfrm>
          <a:prstGeom prst="triangle">
            <a:avLst>
              <a:gd name="adj" fmla="val 47392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80" name="Freeform 24"/>
          <p:cNvSpPr>
            <a:spLocks/>
          </p:cNvSpPr>
          <p:nvPr/>
        </p:nvSpPr>
        <p:spPr bwMode="auto">
          <a:xfrm>
            <a:off x="9245188" y="8536566"/>
            <a:ext cx="1019176" cy="2260600"/>
          </a:xfrm>
          <a:custGeom>
            <a:avLst/>
            <a:gdLst>
              <a:gd name="T0" fmla="*/ 75 w 135"/>
              <a:gd name="T1" fmla="*/ 7 h 301"/>
              <a:gd name="T2" fmla="*/ 75 w 135"/>
              <a:gd name="T3" fmla="*/ 7 h 301"/>
              <a:gd name="T4" fmla="*/ 76 w 135"/>
              <a:gd name="T5" fmla="*/ 18 h 301"/>
              <a:gd name="T6" fmla="*/ 115 w 135"/>
              <a:gd name="T7" fmla="*/ 125 h 301"/>
              <a:gd name="T8" fmla="*/ 8 w 135"/>
              <a:gd name="T9" fmla="*/ 279 h 301"/>
              <a:gd name="T10" fmla="*/ 3 w 135"/>
              <a:gd name="T11" fmla="*/ 294 h 301"/>
              <a:gd name="T12" fmla="*/ 3 w 135"/>
              <a:gd name="T13" fmla="*/ 294 h 301"/>
              <a:gd name="T14" fmla="*/ 16 w 135"/>
              <a:gd name="T15" fmla="*/ 299 h 301"/>
              <a:gd name="T16" fmla="*/ 135 w 135"/>
              <a:gd name="T17" fmla="*/ 125 h 301"/>
              <a:gd name="T18" fmla="*/ 92 w 135"/>
              <a:gd name="T19" fmla="*/ 5 h 301"/>
              <a:gd name="T20" fmla="*/ 75 w 135"/>
              <a:gd name="T21" fmla="*/ 7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5" h="301">
                <a:moveTo>
                  <a:pt x="75" y="7"/>
                </a:moveTo>
                <a:cubicBezTo>
                  <a:pt x="75" y="7"/>
                  <a:pt x="75" y="7"/>
                  <a:pt x="75" y="7"/>
                </a:cubicBezTo>
                <a:cubicBezTo>
                  <a:pt x="73" y="10"/>
                  <a:pt x="73" y="15"/>
                  <a:pt x="76" y="18"/>
                </a:cubicBezTo>
                <a:cubicBezTo>
                  <a:pt x="100" y="47"/>
                  <a:pt x="115" y="84"/>
                  <a:pt x="115" y="125"/>
                </a:cubicBezTo>
                <a:cubicBezTo>
                  <a:pt x="115" y="195"/>
                  <a:pt x="70" y="256"/>
                  <a:pt x="8" y="279"/>
                </a:cubicBezTo>
                <a:cubicBezTo>
                  <a:pt x="3" y="282"/>
                  <a:pt x="0" y="288"/>
                  <a:pt x="3" y="294"/>
                </a:cubicBezTo>
                <a:cubicBezTo>
                  <a:pt x="3" y="294"/>
                  <a:pt x="3" y="294"/>
                  <a:pt x="3" y="294"/>
                </a:cubicBezTo>
                <a:cubicBezTo>
                  <a:pt x="5" y="299"/>
                  <a:pt x="11" y="301"/>
                  <a:pt x="16" y="299"/>
                </a:cubicBezTo>
                <a:cubicBezTo>
                  <a:pt x="86" y="272"/>
                  <a:pt x="135" y="204"/>
                  <a:pt x="135" y="125"/>
                </a:cubicBezTo>
                <a:cubicBezTo>
                  <a:pt x="135" y="79"/>
                  <a:pt x="119" y="38"/>
                  <a:pt x="92" y="5"/>
                </a:cubicBezTo>
                <a:cubicBezTo>
                  <a:pt x="88" y="0"/>
                  <a:pt x="79" y="0"/>
                  <a:pt x="75" y="7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4" name="Isosceles Triangle 83"/>
          <p:cNvSpPr/>
          <p:nvPr/>
        </p:nvSpPr>
        <p:spPr>
          <a:xfrm rot="19579916">
            <a:off x="9687289" y="8396692"/>
            <a:ext cx="444910" cy="558752"/>
          </a:xfrm>
          <a:prstGeom prst="triangle">
            <a:avLst>
              <a:gd name="adj" fmla="val 47392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81" name="Freeform 25"/>
          <p:cNvSpPr>
            <a:spLocks/>
          </p:cNvSpPr>
          <p:nvPr/>
        </p:nvSpPr>
        <p:spPr bwMode="auto">
          <a:xfrm>
            <a:off x="7069459" y="10537712"/>
            <a:ext cx="2003426" cy="1879600"/>
          </a:xfrm>
          <a:custGeom>
            <a:avLst/>
            <a:gdLst>
              <a:gd name="T0" fmla="*/ 224 w 265"/>
              <a:gd name="T1" fmla="*/ 3 h 250"/>
              <a:gd name="T2" fmla="*/ 224 w 265"/>
              <a:gd name="T3" fmla="*/ 3 h 250"/>
              <a:gd name="T4" fmla="*/ 222 w 265"/>
              <a:gd name="T5" fmla="*/ 14 h 250"/>
              <a:gd name="T6" fmla="*/ 246 w 265"/>
              <a:gd name="T7" fmla="*/ 99 h 250"/>
              <a:gd name="T8" fmla="*/ 116 w 265"/>
              <a:gd name="T9" fmla="*/ 231 h 250"/>
              <a:gd name="T10" fmla="*/ 14 w 265"/>
              <a:gd name="T11" fmla="*/ 196 h 250"/>
              <a:gd name="T12" fmla="*/ 3 w 265"/>
              <a:gd name="T13" fmla="*/ 197 h 250"/>
              <a:gd name="T14" fmla="*/ 3 w 265"/>
              <a:gd name="T15" fmla="*/ 197 h 250"/>
              <a:gd name="T16" fmla="*/ 4 w 265"/>
              <a:gd name="T17" fmla="*/ 208 h 250"/>
              <a:gd name="T18" fmla="*/ 118 w 265"/>
              <a:gd name="T19" fmla="*/ 247 h 250"/>
              <a:gd name="T20" fmla="*/ 261 w 265"/>
              <a:gd name="T21" fmla="*/ 105 h 250"/>
              <a:gd name="T22" fmla="*/ 236 w 265"/>
              <a:gd name="T23" fmla="*/ 5 h 250"/>
              <a:gd name="T24" fmla="*/ 224 w 265"/>
              <a:gd name="T25" fmla="*/ 3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5" h="250">
                <a:moveTo>
                  <a:pt x="224" y="3"/>
                </a:moveTo>
                <a:cubicBezTo>
                  <a:pt x="224" y="3"/>
                  <a:pt x="224" y="3"/>
                  <a:pt x="224" y="3"/>
                </a:cubicBezTo>
                <a:cubicBezTo>
                  <a:pt x="221" y="6"/>
                  <a:pt x="220" y="10"/>
                  <a:pt x="222" y="14"/>
                </a:cubicBezTo>
                <a:cubicBezTo>
                  <a:pt x="239" y="38"/>
                  <a:pt x="247" y="68"/>
                  <a:pt x="246" y="99"/>
                </a:cubicBezTo>
                <a:cubicBezTo>
                  <a:pt x="242" y="169"/>
                  <a:pt x="185" y="226"/>
                  <a:pt x="116" y="231"/>
                </a:cubicBezTo>
                <a:cubicBezTo>
                  <a:pt x="77" y="233"/>
                  <a:pt x="41" y="220"/>
                  <a:pt x="14" y="196"/>
                </a:cubicBezTo>
                <a:cubicBezTo>
                  <a:pt x="11" y="193"/>
                  <a:pt x="5" y="194"/>
                  <a:pt x="3" y="197"/>
                </a:cubicBezTo>
                <a:cubicBezTo>
                  <a:pt x="3" y="197"/>
                  <a:pt x="3" y="197"/>
                  <a:pt x="3" y="197"/>
                </a:cubicBezTo>
                <a:cubicBezTo>
                  <a:pt x="0" y="201"/>
                  <a:pt x="1" y="205"/>
                  <a:pt x="4" y="208"/>
                </a:cubicBezTo>
                <a:cubicBezTo>
                  <a:pt x="34" y="235"/>
                  <a:pt x="74" y="250"/>
                  <a:pt x="118" y="247"/>
                </a:cubicBezTo>
                <a:cubicBezTo>
                  <a:pt x="193" y="241"/>
                  <a:pt x="255" y="181"/>
                  <a:pt x="261" y="105"/>
                </a:cubicBezTo>
                <a:cubicBezTo>
                  <a:pt x="265" y="68"/>
                  <a:pt x="255" y="33"/>
                  <a:pt x="236" y="5"/>
                </a:cubicBezTo>
                <a:cubicBezTo>
                  <a:pt x="233" y="1"/>
                  <a:pt x="228" y="0"/>
                  <a:pt x="224" y="3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5" name="Isosceles Triangle 84"/>
          <p:cNvSpPr/>
          <p:nvPr/>
        </p:nvSpPr>
        <p:spPr>
          <a:xfrm rot="19846777">
            <a:off x="8622346" y="10379469"/>
            <a:ext cx="416740" cy="523374"/>
          </a:xfrm>
          <a:prstGeom prst="triangle">
            <a:avLst>
              <a:gd name="adj" fmla="val 47392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91" name="Oval 90"/>
          <p:cNvSpPr/>
          <p:nvPr/>
        </p:nvSpPr>
        <p:spPr>
          <a:xfrm>
            <a:off x="8162683" y="3408543"/>
            <a:ext cx="1023362" cy="10233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93" name="Oval 92"/>
          <p:cNvSpPr/>
          <p:nvPr/>
        </p:nvSpPr>
        <p:spPr>
          <a:xfrm>
            <a:off x="9241003" y="6757809"/>
            <a:ext cx="1023362" cy="10233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94" name="Oval 93"/>
          <p:cNvSpPr/>
          <p:nvPr/>
        </p:nvSpPr>
        <p:spPr>
          <a:xfrm>
            <a:off x="9652365" y="9517745"/>
            <a:ext cx="1023362" cy="102336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95" name="Oval 94"/>
          <p:cNvSpPr/>
          <p:nvPr/>
        </p:nvSpPr>
        <p:spPr>
          <a:xfrm>
            <a:off x="8280365" y="11520449"/>
            <a:ext cx="1023362" cy="102336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8340922" y="3536927"/>
            <a:ext cx="4491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kern="1200" dirty="0">
                <a:solidFill>
                  <a:prstClr val="white"/>
                </a:solidFill>
                <a:latin typeface="Open Sans"/>
              </a:rPr>
              <a:t>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437086" y="6937983"/>
            <a:ext cx="4491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kern="1200" dirty="0">
                <a:solidFill>
                  <a:prstClr val="white"/>
                </a:solidFill>
                <a:latin typeface="Open Sans"/>
              </a:rPr>
              <a:t>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9864264" y="9625055"/>
            <a:ext cx="4491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kern="1200" dirty="0">
                <a:solidFill>
                  <a:prstClr val="white"/>
                </a:solidFill>
                <a:latin typeface="Open Sans"/>
              </a:rPr>
              <a:t>3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8476100" y="11668349"/>
            <a:ext cx="4491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600" kern="1200" dirty="0">
                <a:solidFill>
                  <a:prstClr val="white"/>
                </a:solidFill>
                <a:latin typeface="Open Sans"/>
              </a:rPr>
              <a:t>4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0243150" y="3888452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0241629" y="3293054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2980B9"/>
                </a:solidFill>
                <a:latin typeface="Poppins"/>
              </a:rPr>
              <a:t>DATA TAMPLE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11168024" y="6798936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1166503" y="620353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104" name="Rectangle 103"/>
          <p:cNvSpPr/>
          <p:nvPr/>
        </p:nvSpPr>
        <p:spPr>
          <a:xfrm>
            <a:off x="11737778" y="9604898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1736257" y="9009500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10103528" y="11808068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0102007" y="11212670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41B176"/>
                </a:solidFill>
                <a:latin typeface="Poppins"/>
              </a:rPr>
              <a:t>DATA TAMPLE</a:t>
            </a:r>
          </a:p>
        </p:txBody>
      </p:sp>
    </p:spTree>
    <p:extLst>
      <p:ext uri="{BB962C8B-B14F-4D97-AF65-F5344CB8AC3E}">
        <p14:creationId xmlns:p14="http://schemas.microsoft.com/office/powerpoint/2010/main" val="312543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LB &amp; GEAR</a:t>
            </a:r>
          </a:p>
        </p:txBody>
      </p:sp>
      <p:sp>
        <p:nvSpPr>
          <p:cNvPr id="6" name="Freeform 5"/>
          <p:cNvSpPr>
            <a:spLocks noEditPoints="1"/>
          </p:cNvSpPr>
          <p:nvPr/>
        </p:nvSpPr>
        <p:spPr bwMode="auto">
          <a:xfrm>
            <a:off x="14232795" y="6898109"/>
            <a:ext cx="541226" cy="538438"/>
          </a:xfrm>
          <a:custGeom>
            <a:avLst/>
            <a:gdLst>
              <a:gd name="T0" fmla="*/ 84 w 97"/>
              <a:gd name="T1" fmla="*/ 36 h 96"/>
              <a:gd name="T2" fmla="*/ 82 w 97"/>
              <a:gd name="T3" fmla="*/ 32 h 96"/>
              <a:gd name="T4" fmla="*/ 87 w 97"/>
              <a:gd name="T5" fmla="*/ 17 h 96"/>
              <a:gd name="T6" fmla="*/ 79 w 97"/>
              <a:gd name="T7" fmla="*/ 10 h 96"/>
              <a:gd name="T8" fmla="*/ 79 w 97"/>
              <a:gd name="T9" fmla="*/ 10 h 96"/>
              <a:gd name="T10" fmla="*/ 78 w 97"/>
              <a:gd name="T11" fmla="*/ 10 h 96"/>
              <a:gd name="T12" fmla="*/ 65 w 97"/>
              <a:gd name="T13" fmla="*/ 15 h 96"/>
              <a:gd name="T14" fmla="*/ 61 w 97"/>
              <a:gd name="T15" fmla="*/ 13 h 96"/>
              <a:gd name="T16" fmla="*/ 53 w 97"/>
              <a:gd name="T17" fmla="*/ 0 h 96"/>
              <a:gd name="T18" fmla="*/ 43 w 97"/>
              <a:gd name="T19" fmla="*/ 0 h 96"/>
              <a:gd name="T20" fmla="*/ 36 w 97"/>
              <a:gd name="T21" fmla="*/ 13 h 96"/>
              <a:gd name="T22" fmla="*/ 32 w 97"/>
              <a:gd name="T23" fmla="*/ 15 h 96"/>
              <a:gd name="T24" fmla="*/ 19 w 97"/>
              <a:gd name="T25" fmla="*/ 10 h 96"/>
              <a:gd name="T26" fmla="*/ 18 w 97"/>
              <a:gd name="T27" fmla="*/ 10 h 96"/>
              <a:gd name="T28" fmla="*/ 10 w 97"/>
              <a:gd name="T29" fmla="*/ 18 h 96"/>
              <a:gd name="T30" fmla="*/ 15 w 97"/>
              <a:gd name="T31" fmla="*/ 32 h 96"/>
              <a:gd name="T32" fmla="*/ 13 w 97"/>
              <a:gd name="T33" fmla="*/ 36 h 96"/>
              <a:gd name="T34" fmla="*/ 0 w 97"/>
              <a:gd name="T35" fmla="*/ 43 h 96"/>
              <a:gd name="T36" fmla="*/ 0 w 97"/>
              <a:gd name="T37" fmla="*/ 53 h 96"/>
              <a:gd name="T38" fmla="*/ 13 w 97"/>
              <a:gd name="T39" fmla="*/ 60 h 96"/>
              <a:gd name="T40" fmla="*/ 15 w 97"/>
              <a:gd name="T41" fmla="*/ 64 h 96"/>
              <a:gd name="T42" fmla="*/ 10 w 97"/>
              <a:gd name="T43" fmla="*/ 78 h 96"/>
              <a:gd name="T44" fmla="*/ 18 w 97"/>
              <a:gd name="T45" fmla="*/ 85 h 96"/>
              <a:gd name="T46" fmla="*/ 18 w 97"/>
              <a:gd name="T47" fmla="*/ 86 h 96"/>
              <a:gd name="T48" fmla="*/ 19 w 97"/>
              <a:gd name="T49" fmla="*/ 86 h 96"/>
              <a:gd name="T50" fmla="*/ 32 w 97"/>
              <a:gd name="T51" fmla="*/ 81 h 96"/>
              <a:gd name="T52" fmla="*/ 36 w 97"/>
              <a:gd name="T53" fmla="*/ 83 h 96"/>
              <a:gd name="T54" fmla="*/ 44 w 97"/>
              <a:gd name="T55" fmla="*/ 96 h 96"/>
              <a:gd name="T56" fmla="*/ 54 w 97"/>
              <a:gd name="T57" fmla="*/ 96 h 96"/>
              <a:gd name="T58" fmla="*/ 61 w 97"/>
              <a:gd name="T59" fmla="*/ 83 h 96"/>
              <a:gd name="T60" fmla="*/ 65 w 97"/>
              <a:gd name="T61" fmla="*/ 81 h 96"/>
              <a:gd name="T62" fmla="*/ 78 w 97"/>
              <a:gd name="T63" fmla="*/ 86 h 96"/>
              <a:gd name="T64" fmla="*/ 79 w 97"/>
              <a:gd name="T65" fmla="*/ 86 h 96"/>
              <a:gd name="T66" fmla="*/ 87 w 97"/>
              <a:gd name="T67" fmla="*/ 78 h 96"/>
              <a:gd name="T68" fmla="*/ 82 w 97"/>
              <a:gd name="T69" fmla="*/ 64 h 96"/>
              <a:gd name="T70" fmla="*/ 84 w 97"/>
              <a:gd name="T71" fmla="*/ 60 h 96"/>
              <a:gd name="T72" fmla="*/ 97 w 97"/>
              <a:gd name="T73" fmla="*/ 53 h 96"/>
              <a:gd name="T74" fmla="*/ 97 w 97"/>
              <a:gd name="T75" fmla="*/ 43 h 96"/>
              <a:gd name="T76" fmla="*/ 84 w 97"/>
              <a:gd name="T77" fmla="*/ 36 h 96"/>
              <a:gd name="T78" fmla="*/ 48 w 97"/>
              <a:gd name="T79" fmla="*/ 65 h 96"/>
              <a:gd name="T80" fmla="*/ 31 w 97"/>
              <a:gd name="T81" fmla="*/ 48 h 96"/>
              <a:gd name="T82" fmla="*/ 48 w 97"/>
              <a:gd name="T83" fmla="*/ 31 h 96"/>
              <a:gd name="T84" fmla="*/ 66 w 97"/>
              <a:gd name="T85" fmla="*/ 48 h 96"/>
              <a:gd name="T86" fmla="*/ 48 w 97"/>
              <a:gd name="T87" fmla="*/ 65 h 96"/>
              <a:gd name="T88" fmla="*/ 48 w 97"/>
              <a:gd name="T89" fmla="*/ 65 h 96"/>
              <a:gd name="T90" fmla="*/ 48 w 97"/>
              <a:gd name="T91" fmla="*/ 6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7" h="96">
                <a:moveTo>
                  <a:pt x="84" y="36"/>
                </a:moveTo>
                <a:cubicBezTo>
                  <a:pt x="82" y="32"/>
                  <a:pt x="82" y="32"/>
                  <a:pt x="82" y="32"/>
                </a:cubicBezTo>
                <a:cubicBezTo>
                  <a:pt x="88" y="19"/>
                  <a:pt x="88" y="18"/>
                  <a:pt x="87" y="17"/>
                </a:cubicBezTo>
                <a:cubicBezTo>
                  <a:pt x="79" y="10"/>
                  <a:pt x="79" y="10"/>
                  <a:pt x="79" y="10"/>
                </a:cubicBezTo>
                <a:cubicBezTo>
                  <a:pt x="79" y="10"/>
                  <a:pt x="79" y="10"/>
                  <a:pt x="79" y="10"/>
                </a:cubicBezTo>
                <a:cubicBezTo>
                  <a:pt x="78" y="10"/>
                  <a:pt x="78" y="10"/>
                  <a:pt x="78" y="10"/>
                </a:cubicBezTo>
                <a:cubicBezTo>
                  <a:pt x="77" y="10"/>
                  <a:pt x="76" y="10"/>
                  <a:pt x="65" y="15"/>
                </a:cubicBezTo>
                <a:cubicBezTo>
                  <a:pt x="61" y="13"/>
                  <a:pt x="61" y="13"/>
                  <a:pt x="61" y="13"/>
                </a:cubicBezTo>
                <a:cubicBezTo>
                  <a:pt x="55" y="0"/>
                  <a:pt x="55" y="0"/>
                  <a:pt x="5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2" y="0"/>
                  <a:pt x="41" y="0"/>
                  <a:pt x="36" y="13"/>
                </a:cubicBezTo>
                <a:cubicBezTo>
                  <a:pt x="32" y="15"/>
                  <a:pt x="32" y="15"/>
                  <a:pt x="32" y="15"/>
                </a:cubicBezTo>
                <a:cubicBezTo>
                  <a:pt x="25" y="11"/>
                  <a:pt x="20" y="10"/>
                  <a:pt x="19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0" y="18"/>
                  <a:pt x="10" y="18"/>
                  <a:pt x="10" y="18"/>
                </a:cubicBezTo>
                <a:cubicBezTo>
                  <a:pt x="9" y="19"/>
                  <a:pt x="8" y="19"/>
                  <a:pt x="15" y="32"/>
                </a:cubicBezTo>
                <a:cubicBezTo>
                  <a:pt x="13" y="36"/>
                  <a:pt x="13" y="36"/>
                  <a:pt x="13" y="36"/>
                </a:cubicBezTo>
                <a:cubicBezTo>
                  <a:pt x="0" y="41"/>
                  <a:pt x="0" y="41"/>
                  <a:pt x="0" y="4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5"/>
                  <a:pt x="0" y="55"/>
                  <a:pt x="13" y="60"/>
                </a:cubicBezTo>
                <a:cubicBezTo>
                  <a:pt x="15" y="64"/>
                  <a:pt x="15" y="64"/>
                  <a:pt x="15" y="64"/>
                </a:cubicBezTo>
                <a:cubicBezTo>
                  <a:pt x="9" y="77"/>
                  <a:pt x="9" y="77"/>
                  <a:pt x="10" y="78"/>
                </a:cubicBezTo>
                <a:cubicBezTo>
                  <a:pt x="18" y="85"/>
                  <a:pt x="18" y="85"/>
                  <a:pt x="18" y="85"/>
                </a:cubicBezTo>
                <a:cubicBezTo>
                  <a:pt x="18" y="86"/>
                  <a:pt x="18" y="86"/>
                  <a:pt x="18" y="86"/>
                </a:cubicBezTo>
                <a:cubicBezTo>
                  <a:pt x="19" y="86"/>
                  <a:pt x="19" y="86"/>
                  <a:pt x="19" y="86"/>
                </a:cubicBezTo>
                <a:cubicBezTo>
                  <a:pt x="20" y="86"/>
                  <a:pt x="21" y="86"/>
                  <a:pt x="32" y="81"/>
                </a:cubicBezTo>
                <a:cubicBezTo>
                  <a:pt x="36" y="83"/>
                  <a:pt x="36" y="83"/>
                  <a:pt x="36" y="83"/>
                </a:cubicBezTo>
                <a:cubicBezTo>
                  <a:pt x="41" y="96"/>
                  <a:pt x="42" y="96"/>
                  <a:pt x="44" y="96"/>
                </a:cubicBezTo>
                <a:cubicBezTo>
                  <a:pt x="54" y="96"/>
                  <a:pt x="54" y="96"/>
                  <a:pt x="54" y="96"/>
                </a:cubicBezTo>
                <a:cubicBezTo>
                  <a:pt x="55" y="96"/>
                  <a:pt x="56" y="96"/>
                  <a:pt x="61" y="83"/>
                </a:cubicBezTo>
                <a:cubicBezTo>
                  <a:pt x="65" y="81"/>
                  <a:pt x="65" y="81"/>
                  <a:pt x="65" y="81"/>
                </a:cubicBezTo>
                <a:cubicBezTo>
                  <a:pt x="72" y="84"/>
                  <a:pt x="77" y="86"/>
                  <a:pt x="78" y="86"/>
                </a:cubicBezTo>
                <a:cubicBezTo>
                  <a:pt x="79" y="86"/>
                  <a:pt x="79" y="86"/>
                  <a:pt x="79" y="86"/>
                </a:cubicBezTo>
                <a:cubicBezTo>
                  <a:pt x="87" y="78"/>
                  <a:pt x="87" y="78"/>
                  <a:pt x="87" y="78"/>
                </a:cubicBezTo>
                <a:cubicBezTo>
                  <a:pt x="88" y="77"/>
                  <a:pt x="88" y="76"/>
                  <a:pt x="82" y="64"/>
                </a:cubicBezTo>
                <a:cubicBezTo>
                  <a:pt x="84" y="60"/>
                  <a:pt x="84" y="60"/>
                  <a:pt x="84" y="60"/>
                </a:cubicBezTo>
                <a:cubicBezTo>
                  <a:pt x="97" y="55"/>
                  <a:pt x="97" y="54"/>
                  <a:pt x="97" y="53"/>
                </a:cubicBezTo>
                <a:cubicBezTo>
                  <a:pt x="97" y="43"/>
                  <a:pt x="97" y="43"/>
                  <a:pt x="97" y="43"/>
                </a:cubicBezTo>
                <a:cubicBezTo>
                  <a:pt x="97" y="41"/>
                  <a:pt x="97" y="40"/>
                  <a:pt x="84" y="36"/>
                </a:cubicBezTo>
                <a:close/>
                <a:moveTo>
                  <a:pt x="48" y="65"/>
                </a:moveTo>
                <a:cubicBezTo>
                  <a:pt x="39" y="65"/>
                  <a:pt x="31" y="57"/>
                  <a:pt x="31" y="48"/>
                </a:cubicBezTo>
                <a:cubicBezTo>
                  <a:pt x="31" y="39"/>
                  <a:pt x="39" y="31"/>
                  <a:pt x="48" y="31"/>
                </a:cubicBezTo>
                <a:cubicBezTo>
                  <a:pt x="58" y="31"/>
                  <a:pt x="66" y="39"/>
                  <a:pt x="66" y="48"/>
                </a:cubicBezTo>
                <a:cubicBezTo>
                  <a:pt x="66" y="57"/>
                  <a:pt x="58" y="65"/>
                  <a:pt x="48" y="65"/>
                </a:cubicBezTo>
                <a:close/>
                <a:moveTo>
                  <a:pt x="48" y="65"/>
                </a:moveTo>
                <a:cubicBezTo>
                  <a:pt x="48" y="65"/>
                  <a:pt x="48" y="65"/>
                  <a:pt x="48" y="65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" name="Freeform 6"/>
          <p:cNvSpPr>
            <a:spLocks noEditPoints="1"/>
          </p:cNvSpPr>
          <p:nvPr/>
        </p:nvSpPr>
        <p:spPr bwMode="auto">
          <a:xfrm>
            <a:off x="14405764" y="5645478"/>
            <a:ext cx="195288" cy="189708"/>
          </a:xfrm>
          <a:custGeom>
            <a:avLst/>
            <a:gdLst>
              <a:gd name="T0" fmla="*/ 30 w 35"/>
              <a:gd name="T1" fmla="*/ 12 h 34"/>
              <a:gd name="T2" fmla="*/ 29 w 35"/>
              <a:gd name="T3" fmla="*/ 11 h 34"/>
              <a:gd name="T4" fmla="*/ 31 w 35"/>
              <a:gd name="T5" fmla="*/ 6 h 34"/>
              <a:gd name="T6" fmla="*/ 28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4 h 34"/>
              <a:gd name="T22" fmla="*/ 12 w 35"/>
              <a:gd name="T23" fmla="*/ 5 h 34"/>
              <a:gd name="T24" fmla="*/ 7 w 35"/>
              <a:gd name="T25" fmla="*/ 3 h 34"/>
              <a:gd name="T26" fmla="*/ 7 w 35"/>
              <a:gd name="T27" fmla="*/ 3 h 34"/>
              <a:gd name="T28" fmla="*/ 4 w 35"/>
              <a:gd name="T29" fmla="*/ 6 h 34"/>
              <a:gd name="T30" fmla="*/ 5 w 35"/>
              <a:gd name="T31" fmla="*/ 11 h 34"/>
              <a:gd name="T32" fmla="*/ 5 w 35"/>
              <a:gd name="T33" fmla="*/ 12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5 w 35"/>
              <a:gd name="T41" fmla="*/ 22 h 34"/>
              <a:gd name="T42" fmla="*/ 4 w 35"/>
              <a:gd name="T43" fmla="*/ 28 h 34"/>
              <a:gd name="T44" fmla="*/ 7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2 w 35"/>
              <a:gd name="T51" fmla="*/ 29 h 34"/>
              <a:gd name="T52" fmla="*/ 13 w 35"/>
              <a:gd name="T53" fmla="*/ 29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29 h 34"/>
              <a:gd name="T60" fmla="*/ 23 w 35"/>
              <a:gd name="T61" fmla="*/ 29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7 h 34"/>
              <a:gd name="T68" fmla="*/ 29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7 w 35"/>
              <a:gd name="T79" fmla="*/ 23 h 34"/>
              <a:gd name="T80" fmla="*/ 11 w 35"/>
              <a:gd name="T81" fmla="*/ 17 h 34"/>
              <a:gd name="T82" fmla="*/ 17 w 35"/>
              <a:gd name="T83" fmla="*/ 11 h 34"/>
              <a:gd name="T84" fmla="*/ 24 w 35"/>
              <a:gd name="T85" fmla="*/ 17 h 34"/>
              <a:gd name="T86" fmla="*/ 17 w 35"/>
              <a:gd name="T87" fmla="*/ 23 h 34"/>
              <a:gd name="T88" fmla="*/ 17 w 35"/>
              <a:gd name="T89" fmla="*/ 23 h 34"/>
              <a:gd name="T90" fmla="*/ 17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6"/>
                  <a:pt x="31" y="6"/>
                  <a:pt x="31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7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7"/>
                  <a:pt x="5" y="11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4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3" y="27"/>
                  <a:pt x="4" y="27"/>
                  <a:pt x="4" y="28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2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8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2" y="27"/>
                  <a:pt x="29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3"/>
                  <a:pt x="14" y="11"/>
                  <a:pt x="17" y="11"/>
                </a:cubicBezTo>
                <a:cubicBezTo>
                  <a:pt x="21" y="11"/>
                  <a:pt x="24" y="13"/>
                  <a:pt x="24" y="17"/>
                </a:cubicBezTo>
                <a:cubicBezTo>
                  <a:pt x="24" y="20"/>
                  <a:pt x="21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" name="Freeform 7"/>
          <p:cNvSpPr>
            <a:spLocks noEditPoints="1"/>
          </p:cNvSpPr>
          <p:nvPr/>
        </p:nvSpPr>
        <p:spPr bwMode="auto">
          <a:xfrm>
            <a:off x="14645690" y="6669344"/>
            <a:ext cx="195288" cy="18970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1 h 34"/>
              <a:gd name="T4" fmla="*/ 31 w 35"/>
              <a:gd name="T5" fmla="*/ 6 h 34"/>
              <a:gd name="T6" fmla="*/ 29 w 35"/>
              <a:gd name="T7" fmla="*/ 4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5 h 34"/>
              <a:gd name="T24" fmla="*/ 7 w 35"/>
              <a:gd name="T25" fmla="*/ 3 h 34"/>
              <a:gd name="T26" fmla="*/ 7 w 35"/>
              <a:gd name="T27" fmla="*/ 3 h 34"/>
              <a:gd name="T28" fmla="*/ 4 w 35"/>
              <a:gd name="T29" fmla="*/ 6 h 34"/>
              <a:gd name="T30" fmla="*/ 6 w 35"/>
              <a:gd name="T31" fmla="*/ 11 h 34"/>
              <a:gd name="T32" fmla="*/ 5 w 35"/>
              <a:gd name="T33" fmla="*/ 13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2 w 35"/>
              <a:gd name="T51" fmla="*/ 29 h 34"/>
              <a:gd name="T52" fmla="*/ 13 w 35"/>
              <a:gd name="T53" fmla="*/ 29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29 h 34"/>
              <a:gd name="T60" fmla="*/ 24 w 35"/>
              <a:gd name="T61" fmla="*/ 29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1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8 w 35"/>
              <a:gd name="T79" fmla="*/ 23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1"/>
                  <a:pt x="30" y="11"/>
                  <a:pt x="30" y="11"/>
                </a:cubicBezTo>
                <a:cubicBezTo>
                  <a:pt x="32" y="7"/>
                  <a:pt x="32" y="7"/>
                  <a:pt x="31" y="6"/>
                </a:cubicBezTo>
                <a:cubicBezTo>
                  <a:pt x="29" y="4"/>
                  <a:pt x="29" y="4"/>
                  <a:pt x="29" y="4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7" y="3"/>
                  <a:pt x="23" y="5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8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4" y="6"/>
                  <a:pt x="4" y="6"/>
                  <a:pt x="4" y="6"/>
                </a:cubicBezTo>
                <a:cubicBezTo>
                  <a:pt x="4" y="7"/>
                  <a:pt x="4" y="7"/>
                  <a:pt x="6" y="11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4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20"/>
                  <a:pt x="5" y="21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7"/>
                  <a:pt x="4" y="27"/>
                  <a:pt x="4" y="28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2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4" y="29"/>
                  <a:pt x="24" y="29"/>
                  <a:pt x="24" y="29"/>
                </a:cubicBezTo>
                <a:cubicBezTo>
                  <a:pt x="26" y="30"/>
                  <a:pt x="28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7"/>
                  <a:pt x="32" y="27"/>
                  <a:pt x="30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4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2" y="20"/>
                  <a:pt x="12" y="17"/>
                </a:cubicBezTo>
                <a:cubicBezTo>
                  <a:pt x="12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0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9" name="Freeform 8"/>
          <p:cNvSpPr>
            <a:spLocks noEditPoints="1"/>
          </p:cNvSpPr>
          <p:nvPr/>
        </p:nvSpPr>
        <p:spPr bwMode="auto">
          <a:xfrm>
            <a:off x="14455982" y="7514662"/>
            <a:ext cx="189708" cy="189708"/>
          </a:xfrm>
          <a:custGeom>
            <a:avLst/>
            <a:gdLst>
              <a:gd name="T0" fmla="*/ 30 w 34"/>
              <a:gd name="T1" fmla="*/ 13 h 34"/>
              <a:gd name="T2" fmla="*/ 29 w 34"/>
              <a:gd name="T3" fmla="*/ 11 h 34"/>
              <a:gd name="T4" fmla="*/ 30 w 34"/>
              <a:gd name="T5" fmla="*/ 6 h 34"/>
              <a:gd name="T6" fmla="*/ 28 w 34"/>
              <a:gd name="T7" fmla="*/ 4 h 34"/>
              <a:gd name="T8" fmla="*/ 28 w 34"/>
              <a:gd name="T9" fmla="*/ 3 h 34"/>
              <a:gd name="T10" fmla="*/ 27 w 34"/>
              <a:gd name="T11" fmla="*/ 3 h 34"/>
              <a:gd name="T12" fmla="*/ 23 w 34"/>
              <a:gd name="T13" fmla="*/ 5 h 34"/>
              <a:gd name="T14" fmla="*/ 21 w 34"/>
              <a:gd name="T15" fmla="*/ 4 h 34"/>
              <a:gd name="T16" fmla="*/ 19 w 34"/>
              <a:gd name="T17" fmla="*/ 0 h 34"/>
              <a:gd name="T18" fmla="*/ 15 w 34"/>
              <a:gd name="T19" fmla="*/ 0 h 34"/>
              <a:gd name="T20" fmla="*/ 13 w 34"/>
              <a:gd name="T21" fmla="*/ 5 h 34"/>
              <a:gd name="T22" fmla="*/ 11 w 34"/>
              <a:gd name="T23" fmla="*/ 5 h 34"/>
              <a:gd name="T24" fmla="*/ 7 w 34"/>
              <a:gd name="T25" fmla="*/ 3 h 34"/>
              <a:gd name="T26" fmla="*/ 6 w 34"/>
              <a:gd name="T27" fmla="*/ 3 h 34"/>
              <a:gd name="T28" fmla="*/ 3 w 34"/>
              <a:gd name="T29" fmla="*/ 6 h 34"/>
              <a:gd name="T30" fmla="*/ 5 w 34"/>
              <a:gd name="T31" fmla="*/ 11 h 34"/>
              <a:gd name="T32" fmla="*/ 4 w 34"/>
              <a:gd name="T33" fmla="*/ 13 h 34"/>
              <a:gd name="T34" fmla="*/ 0 w 34"/>
              <a:gd name="T35" fmla="*/ 15 h 34"/>
              <a:gd name="T36" fmla="*/ 0 w 34"/>
              <a:gd name="T37" fmla="*/ 19 h 34"/>
              <a:gd name="T38" fmla="*/ 4 w 34"/>
              <a:gd name="T39" fmla="*/ 21 h 34"/>
              <a:gd name="T40" fmla="*/ 5 w 34"/>
              <a:gd name="T41" fmla="*/ 23 h 34"/>
              <a:gd name="T42" fmla="*/ 3 w 34"/>
              <a:gd name="T43" fmla="*/ 28 h 34"/>
              <a:gd name="T44" fmla="*/ 6 w 34"/>
              <a:gd name="T45" fmla="*/ 30 h 34"/>
              <a:gd name="T46" fmla="*/ 6 w 34"/>
              <a:gd name="T47" fmla="*/ 30 h 34"/>
              <a:gd name="T48" fmla="*/ 7 w 34"/>
              <a:gd name="T49" fmla="*/ 30 h 34"/>
              <a:gd name="T50" fmla="*/ 11 w 34"/>
              <a:gd name="T51" fmla="*/ 29 h 34"/>
              <a:gd name="T52" fmla="*/ 13 w 34"/>
              <a:gd name="T53" fmla="*/ 29 h 34"/>
              <a:gd name="T54" fmla="*/ 15 w 34"/>
              <a:gd name="T55" fmla="*/ 34 h 34"/>
              <a:gd name="T56" fmla="*/ 19 w 34"/>
              <a:gd name="T57" fmla="*/ 34 h 34"/>
              <a:gd name="T58" fmla="*/ 21 w 34"/>
              <a:gd name="T59" fmla="*/ 29 h 34"/>
              <a:gd name="T60" fmla="*/ 23 w 34"/>
              <a:gd name="T61" fmla="*/ 29 h 34"/>
              <a:gd name="T62" fmla="*/ 27 w 34"/>
              <a:gd name="T63" fmla="*/ 30 h 34"/>
              <a:gd name="T64" fmla="*/ 28 w 34"/>
              <a:gd name="T65" fmla="*/ 30 h 34"/>
              <a:gd name="T66" fmla="*/ 31 w 34"/>
              <a:gd name="T67" fmla="*/ 28 h 34"/>
              <a:gd name="T68" fmla="*/ 29 w 34"/>
              <a:gd name="T69" fmla="*/ 23 h 34"/>
              <a:gd name="T70" fmla="*/ 30 w 34"/>
              <a:gd name="T71" fmla="*/ 21 h 34"/>
              <a:gd name="T72" fmla="*/ 34 w 34"/>
              <a:gd name="T73" fmla="*/ 19 h 34"/>
              <a:gd name="T74" fmla="*/ 34 w 34"/>
              <a:gd name="T75" fmla="*/ 15 h 34"/>
              <a:gd name="T76" fmla="*/ 30 w 34"/>
              <a:gd name="T77" fmla="*/ 13 h 34"/>
              <a:gd name="T78" fmla="*/ 17 w 34"/>
              <a:gd name="T79" fmla="*/ 23 h 34"/>
              <a:gd name="T80" fmla="*/ 11 w 34"/>
              <a:gd name="T81" fmla="*/ 17 h 34"/>
              <a:gd name="T82" fmla="*/ 17 w 34"/>
              <a:gd name="T83" fmla="*/ 11 h 34"/>
              <a:gd name="T84" fmla="*/ 23 w 34"/>
              <a:gd name="T85" fmla="*/ 17 h 34"/>
              <a:gd name="T86" fmla="*/ 17 w 34"/>
              <a:gd name="T87" fmla="*/ 23 h 34"/>
              <a:gd name="T88" fmla="*/ 17 w 34"/>
              <a:gd name="T89" fmla="*/ 23 h 34"/>
              <a:gd name="T90" fmla="*/ 17 w 34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" h="34">
                <a:moveTo>
                  <a:pt x="30" y="13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7"/>
                  <a:pt x="31" y="6"/>
                  <a:pt x="30" y="6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7" y="3"/>
                  <a:pt x="23" y="5"/>
                </a:cubicBezTo>
                <a:cubicBezTo>
                  <a:pt x="21" y="4"/>
                  <a:pt x="21" y="4"/>
                  <a:pt x="21" y="4"/>
                </a:cubicBezTo>
                <a:cubicBezTo>
                  <a:pt x="19" y="0"/>
                  <a:pt x="19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4" y="0"/>
                  <a:pt x="13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8" y="4"/>
                  <a:pt x="7" y="3"/>
                  <a:pt x="7" y="3"/>
                </a:cubicBezTo>
                <a:cubicBezTo>
                  <a:pt x="6" y="3"/>
                  <a:pt x="6" y="3"/>
                  <a:pt x="6" y="3"/>
                </a:cubicBezTo>
                <a:cubicBezTo>
                  <a:pt x="3" y="6"/>
                  <a:pt x="3" y="6"/>
                  <a:pt x="3" y="6"/>
                </a:cubicBezTo>
                <a:cubicBezTo>
                  <a:pt x="3" y="7"/>
                  <a:pt x="3" y="7"/>
                  <a:pt x="5" y="11"/>
                </a:cubicBezTo>
                <a:cubicBezTo>
                  <a:pt x="4" y="13"/>
                  <a:pt x="4" y="13"/>
                  <a:pt x="4" y="13"/>
                </a:cubicBezTo>
                <a:cubicBezTo>
                  <a:pt x="0" y="14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4" y="21"/>
                </a:cubicBezTo>
                <a:cubicBezTo>
                  <a:pt x="5" y="23"/>
                  <a:pt x="5" y="23"/>
                  <a:pt x="5" y="23"/>
                </a:cubicBezTo>
                <a:cubicBezTo>
                  <a:pt x="3" y="27"/>
                  <a:pt x="3" y="27"/>
                  <a:pt x="3" y="28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11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4" y="34"/>
                  <a:pt x="15" y="34"/>
                  <a:pt x="15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19" y="34"/>
                  <a:pt x="20" y="34"/>
                  <a:pt x="21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5" y="30"/>
                  <a:pt x="27" y="30"/>
                  <a:pt x="27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7"/>
                  <a:pt x="31" y="27"/>
                  <a:pt x="29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15"/>
                  <a:pt x="34" y="15"/>
                  <a:pt x="34" y="15"/>
                </a:cubicBezTo>
                <a:cubicBezTo>
                  <a:pt x="34" y="14"/>
                  <a:pt x="34" y="14"/>
                  <a:pt x="30" y="13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4"/>
                  <a:pt x="14" y="11"/>
                  <a:pt x="17" y="11"/>
                </a:cubicBezTo>
                <a:cubicBezTo>
                  <a:pt x="20" y="11"/>
                  <a:pt x="23" y="14"/>
                  <a:pt x="23" y="17"/>
                </a:cubicBezTo>
                <a:cubicBezTo>
                  <a:pt x="23" y="20"/>
                  <a:pt x="20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" name="Freeform 9"/>
          <p:cNvSpPr>
            <a:spLocks noEditPoints="1"/>
          </p:cNvSpPr>
          <p:nvPr/>
        </p:nvSpPr>
        <p:spPr bwMode="auto">
          <a:xfrm>
            <a:off x="14188158" y="8055889"/>
            <a:ext cx="195288" cy="192498"/>
          </a:xfrm>
          <a:custGeom>
            <a:avLst/>
            <a:gdLst>
              <a:gd name="T0" fmla="*/ 30 w 35"/>
              <a:gd name="T1" fmla="*/ 12 h 34"/>
              <a:gd name="T2" fmla="*/ 29 w 35"/>
              <a:gd name="T3" fmla="*/ 11 h 34"/>
              <a:gd name="T4" fmla="*/ 31 w 35"/>
              <a:gd name="T5" fmla="*/ 6 h 34"/>
              <a:gd name="T6" fmla="*/ 28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5 w 35"/>
              <a:gd name="T19" fmla="*/ 0 h 34"/>
              <a:gd name="T20" fmla="*/ 13 w 35"/>
              <a:gd name="T21" fmla="*/ 4 h 34"/>
              <a:gd name="T22" fmla="*/ 11 w 35"/>
              <a:gd name="T23" fmla="*/ 5 h 34"/>
              <a:gd name="T24" fmla="*/ 7 w 35"/>
              <a:gd name="T25" fmla="*/ 3 h 34"/>
              <a:gd name="T26" fmla="*/ 6 w 35"/>
              <a:gd name="T27" fmla="*/ 3 h 34"/>
              <a:gd name="T28" fmla="*/ 4 w 35"/>
              <a:gd name="T29" fmla="*/ 6 h 34"/>
              <a:gd name="T30" fmla="*/ 5 w 35"/>
              <a:gd name="T31" fmla="*/ 11 h 34"/>
              <a:gd name="T32" fmla="*/ 5 w 35"/>
              <a:gd name="T33" fmla="*/ 12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5 w 35"/>
              <a:gd name="T41" fmla="*/ 22 h 34"/>
              <a:gd name="T42" fmla="*/ 4 w 35"/>
              <a:gd name="T43" fmla="*/ 28 h 34"/>
              <a:gd name="T44" fmla="*/ 6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1 w 35"/>
              <a:gd name="T51" fmla="*/ 29 h 34"/>
              <a:gd name="T52" fmla="*/ 13 w 35"/>
              <a:gd name="T53" fmla="*/ 29 h 34"/>
              <a:gd name="T54" fmla="*/ 15 w 35"/>
              <a:gd name="T55" fmla="*/ 34 h 34"/>
              <a:gd name="T56" fmla="*/ 19 w 35"/>
              <a:gd name="T57" fmla="*/ 34 h 34"/>
              <a:gd name="T58" fmla="*/ 22 w 35"/>
              <a:gd name="T59" fmla="*/ 29 h 34"/>
              <a:gd name="T60" fmla="*/ 23 w 35"/>
              <a:gd name="T61" fmla="*/ 28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7 h 34"/>
              <a:gd name="T68" fmla="*/ 29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7 w 35"/>
              <a:gd name="T79" fmla="*/ 23 h 34"/>
              <a:gd name="T80" fmla="*/ 11 w 35"/>
              <a:gd name="T81" fmla="*/ 17 h 34"/>
              <a:gd name="T82" fmla="*/ 17 w 35"/>
              <a:gd name="T83" fmla="*/ 11 h 34"/>
              <a:gd name="T84" fmla="*/ 23 w 35"/>
              <a:gd name="T85" fmla="*/ 17 h 34"/>
              <a:gd name="T86" fmla="*/ 17 w 35"/>
              <a:gd name="T87" fmla="*/ 23 h 34"/>
              <a:gd name="T88" fmla="*/ 17 w 35"/>
              <a:gd name="T89" fmla="*/ 23 h 34"/>
              <a:gd name="T90" fmla="*/ 17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6"/>
                  <a:pt x="31" y="6"/>
                  <a:pt x="31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9" y="4"/>
                  <a:pt x="7" y="3"/>
                  <a:pt x="7" y="3"/>
                </a:cubicBezTo>
                <a:cubicBezTo>
                  <a:pt x="6" y="3"/>
                  <a:pt x="6" y="3"/>
                  <a:pt x="6" y="3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7"/>
                  <a:pt x="5" y="11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4"/>
                  <a:pt x="0" y="14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3" y="27"/>
                  <a:pt x="3" y="27"/>
                  <a:pt x="4" y="28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11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5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8"/>
                  <a:pt x="23" y="28"/>
                  <a:pt x="23" y="28"/>
                </a:cubicBezTo>
                <a:cubicBezTo>
                  <a:pt x="26" y="30"/>
                  <a:pt x="27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1" y="27"/>
                  <a:pt x="29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3"/>
                  <a:pt x="14" y="11"/>
                  <a:pt x="17" y="11"/>
                </a:cubicBezTo>
                <a:cubicBezTo>
                  <a:pt x="21" y="11"/>
                  <a:pt x="23" y="13"/>
                  <a:pt x="23" y="17"/>
                </a:cubicBezTo>
                <a:cubicBezTo>
                  <a:pt x="23" y="20"/>
                  <a:pt x="21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1" name="Freeform 10"/>
          <p:cNvSpPr>
            <a:spLocks noEditPoints="1"/>
          </p:cNvSpPr>
          <p:nvPr/>
        </p:nvSpPr>
        <p:spPr bwMode="auto">
          <a:xfrm>
            <a:off x="12137636" y="6647024"/>
            <a:ext cx="2245812" cy="2203964"/>
          </a:xfrm>
          <a:custGeom>
            <a:avLst/>
            <a:gdLst>
              <a:gd name="T0" fmla="*/ 346 w 402"/>
              <a:gd name="T1" fmla="*/ 147 h 394"/>
              <a:gd name="T2" fmla="*/ 340 w 402"/>
              <a:gd name="T3" fmla="*/ 131 h 394"/>
              <a:gd name="T4" fmla="*/ 357 w 402"/>
              <a:gd name="T5" fmla="*/ 72 h 394"/>
              <a:gd name="T6" fmla="*/ 327 w 402"/>
              <a:gd name="T7" fmla="*/ 43 h 394"/>
              <a:gd name="T8" fmla="*/ 324 w 402"/>
              <a:gd name="T9" fmla="*/ 40 h 394"/>
              <a:gd name="T10" fmla="*/ 321 w 402"/>
              <a:gd name="T11" fmla="*/ 40 h 394"/>
              <a:gd name="T12" fmla="*/ 268 w 402"/>
              <a:gd name="T13" fmla="*/ 61 h 394"/>
              <a:gd name="T14" fmla="*/ 251 w 402"/>
              <a:gd name="T15" fmla="*/ 54 h 394"/>
              <a:gd name="T16" fmla="*/ 221 w 402"/>
              <a:gd name="T17" fmla="*/ 0 h 394"/>
              <a:gd name="T18" fmla="*/ 178 w 402"/>
              <a:gd name="T19" fmla="*/ 0 h 394"/>
              <a:gd name="T20" fmla="*/ 150 w 402"/>
              <a:gd name="T21" fmla="*/ 54 h 394"/>
              <a:gd name="T22" fmla="*/ 133 w 402"/>
              <a:gd name="T23" fmla="*/ 61 h 394"/>
              <a:gd name="T24" fmla="*/ 79 w 402"/>
              <a:gd name="T25" fmla="*/ 41 h 394"/>
              <a:gd name="T26" fmla="*/ 75 w 402"/>
              <a:gd name="T27" fmla="*/ 41 h 394"/>
              <a:gd name="T28" fmla="*/ 43 w 402"/>
              <a:gd name="T29" fmla="*/ 73 h 394"/>
              <a:gd name="T30" fmla="*/ 61 w 402"/>
              <a:gd name="T31" fmla="*/ 131 h 394"/>
              <a:gd name="T32" fmla="*/ 54 w 402"/>
              <a:gd name="T33" fmla="*/ 148 h 394"/>
              <a:gd name="T34" fmla="*/ 0 w 402"/>
              <a:gd name="T35" fmla="*/ 177 h 394"/>
              <a:gd name="T36" fmla="*/ 0 w 402"/>
              <a:gd name="T37" fmla="*/ 219 h 394"/>
              <a:gd name="T38" fmla="*/ 55 w 402"/>
              <a:gd name="T39" fmla="*/ 247 h 394"/>
              <a:gd name="T40" fmla="*/ 61 w 402"/>
              <a:gd name="T41" fmla="*/ 263 h 394"/>
              <a:gd name="T42" fmla="*/ 44 w 402"/>
              <a:gd name="T43" fmla="*/ 323 h 394"/>
              <a:gd name="T44" fmla="*/ 74 w 402"/>
              <a:gd name="T45" fmla="*/ 352 h 394"/>
              <a:gd name="T46" fmla="*/ 77 w 402"/>
              <a:gd name="T47" fmla="*/ 354 h 394"/>
              <a:gd name="T48" fmla="*/ 80 w 402"/>
              <a:gd name="T49" fmla="*/ 354 h 394"/>
              <a:gd name="T50" fmla="*/ 133 w 402"/>
              <a:gd name="T51" fmla="*/ 334 h 394"/>
              <a:gd name="T52" fmla="*/ 150 w 402"/>
              <a:gd name="T53" fmla="*/ 341 h 394"/>
              <a:gd name="T54" fmla="*/ 180 w 402"/>
              <a:gd name="T55" fmla="*/ 394 h 394"/>
              <a:gd name="T56" fmla="*/ 223 w 402"/>
              <a:gd name="T57" fmla="*/ 394 h 394"/>
              <a:gd name="T58" fmla="*/ 251 w 402"/>
              <a:gd name="T59" fmla="*/ 340 h 394"/>
              <a:gd name="T60" fmla="*/ 268 w 402"/>
              <a:gd name="T61" fmla="*/ 334 h 394"/>
              <a:gd name="T62" fmla="*/ 322 w 402"/>
              <a:gd name="T63" fmla="*/ 353 h 394"/>
              <a:gd name="T64" fmla="*/ 326 w 402"/>
              <a:gd name="T65" fmla="*/ 353 h 394"/>
              <a:gd name="T66" fmla="*/ 358 w 402"/>
              <a:gd name="T67" fmla="*/ 321 h 394"/>
              <a:gd name="T68" fmla="*/ 340 w 402"/>
              <a:gd name="T69" fmla="*/ 263 h 394"/>
              <a:gd name="T70" fmla="*/ 347 w 402"/>
              <a:gd name="T71" fmla="*/ 247 h 394"/>
              <a:gd name="T72" fmla="*/ 402 w 402"/>
              <a:gd name="T73" fmla="*/ 217 h 394"/>
              <a:gd name="T74" fmla="*/ 402 w 402"/>
              <a:gd name="T75" fmla="*/ 176 h 394"/>
              <a:gd name="T76" fmla="*/ 346 w 402"/>
              <a:gd name="T77" fmla="*/ 147 h 394"/>
              <a:gd name="T78" fmla="*/ 201 w 402"/>
              <a:gd name="T79" fmla="*/ 266 h 394"/>
              <a:gd name="T80" fmla="*/ 130 w 402"/>
              <a:gd name="T81" fmla="*/ 197 h 394"/>
              <a:gd name="T82" fmla="*/ 201 w 402"/>
              <a:gd name="T83" fmla="*/ 128 h 394"/>
              <a:gd name="T84" fmla="*/ 271 w 402"/>
              <a:gd name="T85" fmla="*/ 197 h 394"/>
              <a:gd name="T86" fmla="*/ 201 w 402"/>
              <a:gd name="T87" fmla="*/ 266 h 394"/>
              <a:gd name="T88" fmla="*/ 201 w 402"/>
              <a:gd name="T89" fmla="*/ 266 h 394"/>
              <a:gd name="T90" fmla="*/ 201 w 402"/>
              <a:gd name="T91" fmla="*/ 26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2" h="394">
                <a:moveTo>
                  <a:pt x="346" y="147"/>
                </a:moveTo>
                <a:cubicBezTo>
                  <a:pt x="340" y="131"/>
                  <a:pt x="340" y="131"/>
                  <a:pt x="340" y="131"/>
                </a:cubicBezTo>
                <a:cubicBezTo>
                  <a:pt x="363" y="78"/>
                  <a:pt x="362" y="76"/>
                  <a:pt x="357" y="72"/>
                </a:cubicBezTo>
                <a:cubicBezTo>
                  <a:pt x="327" y="43"/>
                  <a:pt x="327" y="43"/>
                  <a:pt x="327" y="43"/>
                </a:cubicBezTo>
                <a:cubicBezTo>
                  <a:pt x="324" y="40"/>
                  <a:pt x="324" y="40"/>
                  <a:pt x="324" y="40"/>
                </a:cubicBezTo>
                <a:cubicBezTo>
                  <a:pt x="321" y="40"/>
                  <a:pt x="321" y="40"/>
                  <a:pt x="321" y="40"/>
                </a:cubicBezTo>
                <a:cubicBezTo>
                  <a:pt x="319" y="40"/>
                  <a:pt x="313" y="40"/>
                  <a:pt x="268" y="61"/>
                </a:cubicBezTo>
                <a:cubicBezTo>
                  <a:pt x="251" y="54"/>
                  <a:pt x="251" y="54"/>
                  <a:pt x="251" y="54"/>
                </a:cubicBezTo>
                <a:cubicBezTo>
                  <a:pt x="229" y="0"/>
                  <a:pt x="227" y="0"/>
                  <a:pt x="221" y="0"/>
                </a:cubicBezTo>
                <a:cubicBezTo>
                  <a:pt x="178" y="0"/>
                  <a:pt x="178" y="0"/>
                  <a:pt x="178" y="0"/>
                </a:cubicBezTo>
                <a:cubicBezTo>
                  <a:pt x="172" y="0"/>
                  <a:pt x="170" y="0"/>
                  <a:pt x="150" y="54"/>
                </a:cubicBezTo>
                <a:cubicBezTo>
                  <a:pt x="133" y="61"/>
                  <a:pt x="133" y="61"/>
                  <a:pt x="133" y="61"/>
                </a:cubicBezTo>
                <a:cubicBezTo>
                  <a:pt x="102" y="48"/>
                  <a:pt x="84" y="41"/>
                  <a:pt x="79" y="41"/>
                </a:cubicBezTo>
                <a:cubicBezTo>
                  <a:pt x="75" y="41"/>
                  <a:pt x="75" y="41"/>
                  <a:pt x="75" y="41"/>
                </a:cubicBezTo>
                <a:cubicBezTo>
                  <a:pt x="43" y="73"/>
                  <a:pt x="43" y="73"/>
                  <a:pt x="43" y="73"/>
                </a:cubicBezTo>
                <a:cubicBezTo>
                  <a:pt x="38" y="78"/>
                  <a:pt x="36" y="79"/>
                  <a:pt x="61" y="131"/>
                </a:cubicBezTo>
                <a:cubicBezTo>
                  <a:pt x="54" y="148"/>
                  <a:pt x="54" y="148"/>
                  <a:pt x="54" y="148"/>
                </a:cubicBezTo>
                <a:cubicBezTo>
                  <a:pt x="0" y="169"/>
                  <a:pt x="0" y="171"/>
                  <a:pt x="0" y="177"/>
                </a:cubicBezTo>
                <a:cubicBezTo>
                  <a:pt x="0" y="219"/>
                  <a:pt x="0" y="219"/>
                  <a:pt x="0" y="219"/>
                </a:cubicBezTo>
                <a:cubicBezTo>
                  <a:pt x="0" y="225"/>
                  <a:pt x="0" y="228"/>
                  <a:pt x="55" y="247"/>
                </a:cubicBezTo>
                <a:cubicBezTo>
                  <a:pt x="61" y="263"/>
                  <a:pt x="61" y="263"/>
                  <a:pt x="61" y="263"/>
                </a:cubicBezTo>
                <a:cubicBezTo>
                  <a:pt x="38" y="316"/>
                  <a:pt x="39" y="318"/>
                  <a:pt x="44" y="323"/>
                </a:cubicBezTo>
                <a:cubicBezTo>
                  <a:pt x="74" y="352"/>
                  <a:pt x="74" y="352"/>
                  <a:pt x="74" y="352"/>
                </a:cubicBezTo>
                <a:cubicBezTo>
                  <a:pt x="77" y="354"/>
                  <a:pt x="77" y="354"/>
                  <a:pt x="77" y="354"/>
                </a:cubicBezTo>
                <a:cubicBezTo>
                  <a:pt x="80" y="354"/>
                  <a:pt x="80" y="354"/>
                  <a:pt x="80" y="354"/>
                </a:cubicBezTo>
                <a:cubicBezTo>
                  <a:pt x="82" y="354"/>
                  <a:pt x="88" y="354"/>
                  <a:pt x="133" y="334"/>
                </a:cubicBezTo>
                <a:cubicBezTo>
                  <a:pt x="150" y="341"/>
                  <a:pt x="150" y="341"/>
                  <a:pt x="150" y="341"/>
                </a:cubicBezTo>
                <a:cubicBezTo>
                  <a:pt x="172" y="394"/>
                  <a:pt x="174" y="394"/>
                  <a:pt x="180" y="394"/>
                </a:cubicBezTo>
                <a:cubicBezTo>
                  <a:pt x="223" y="394"/>
                  <a:pt x="223" y="394"/>
                  <a:pt x="223" y="394"/>
                </a:cubicBezTo>
                <a:cubicBezTo>
                  <a:pt x="229" y="394"/>
                  <a:pt x="231" y="394"/>
                  <a:pt x="251" y="340"/>
                </a:cubicBezTo>
                <a:cubicBezTo>
                  <a:pt x="268" y="334"/>
                  <a:pt x="268" y="334"/>
                  <a:pt x="268" y="334"/>
                </a:cubicBezTo>
                <a:cubicBezTo>
                  <a:pt x="299" y="347"/>
                  <a:pt x="317" y="353"/>
                  <a:pt x="322" y="353"/>
                </a:cubicBezTo>
                <a:cubicBezTo>
                  <a:pt x="326" y="353"/>
                  <a:pt x="326" y="353"/>
                  <a:pt x="326" y="353"/>
                </a:cubicBezTo>
                <a:cubicBezTo>
                  <a:pt x="358" y="321"/>
                  <a:pt x="358" y="321"/>
                  <a:pt x="358" y="321"/>
                </a:cubicBezTo>
                <a:cubicBezTo>
                  <a:pt x="363" y="317"/>
                  <a:pt x="365" y="315"/>
                  <a:pt x="340" y="263"/>
                </a:cubicBezTo>
                <a:cubicBezTo>
                  <a:pt x="347" y="247"/>
                  <a:pt x="347" y="247"/>
                  <a:pt x="347" y="247"/>
                </a:cubicBezTo>
                <a:cubicBezTo>
                  <a:pt x="402" y="226"/>
                  <a:pt x="402" y="223"/>
                  <a:pt x="402" y="217"/>
                </a:cubicBezTo>
                <a:cubicBezTo>
                  <a:pt x="402" y="176"/>
                  <a:pt x="402" y="176"/>
                  <a:pt x="402" y="176"/>
                </a:cubicBezTo>
                <a:cubicBezTo>
                  <a:pt x="402" y="169"/>
                  <a:pt x="402" y="167"/>
                  <a:pt x="346" y="147"/>
                </a:cubicBezTo>
                <a:close/>
                <a:moveTo>
                  <a:pt x="201" y="266"/>
                </a:moveTo>
                <a:cubicBezTo>
                  <a:pt x="162" y="266"/>
                  <a:pt x="130" y="235"/>
                  <a:pt x="130" y="197"/>
                </a:cubicBezTo>
                <a:cubicBezTo>
                  <a:pt x="130" y="159"/>
                  <a:pt x="162" y="128"/>
                  <a:pt x="201" y="128"/>
                </a:cubicBezTo>
                <a:cubicBezTo>
                  <a:pt x="239" y="128"/>
                  <a:pt x="271" y="159"/>
                  <a:pt x="271" y="197"/>
                </a:cubicBezTo>
                <a:cubicBezTo>
                  <a:pt x="271" y="235"/>
                  <a:pt x="239" y="266"/>
                  <a:pt x="201" y="266"/>
                </a:cubicBezTo>
                <a:close/>
                <a:moveTo>
                  <a:pt x="201" y="266"/>
                </a:moveTo>
                <a:cubicBezTo>
                  <a:pt x="201" y="266"/>
                  <a:pt x="201" y="266"/>
                  <a:pt x="201" y="266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11663366" y="4337048"/>
            <a:ext cx="2245812" cy="2203964"/>
          </a:xfrm>
          <a:custGeom>
            <a:avLst/>
            <a:gdLst>
              <a:gd name="T0" fmla="*/ 347 w 402"/>
              <a:gd name="T1" fmla="*/ 147 h 394"/>
              <a:gd name="T2" fmla="*/ 341 w 402"/>
              <a:gd name="T3" fmla="*/ 130 h 394"/>
              <a:gd name="T4" fmla="*/ 358 w 402"/>
              <a:gd name="T5" fmla="*/ 71 h 394"/>
              <a:gd name="T6" fmla="*/ 328 w 402"/>
              <a:gd name="T7" fmla="*/ 42 h 394"/>
              <a:gd name="T8" fmla="*/ 325 w 402"/>
              <a:gd name="T9" fmla="*/ 40 h 394"/>
              <a:gd name="T10" fmla="*/ 321 w 402"/>
              <a:gd name="T11" fmla="*/ 40 h 394"/>
              <a:gd name="T12" fmla="*/ 269 w 402"/>
              <a:gd name="T13" fmla="*/ 60 h 394"/>
              <a:gd name="T14" fmla="*/ 252 w 402"/>
              <a:gd name="T15" fmla="*/ 53 h 394"/>
              <a:gd name="T16" fmla="*/ 222 w 402"/>
              <a:gd name="T17" fmla="*/ 0 h 394"/>
              <a:gd name="T18" fmla="*/ 179 w 402"/>
              <a:gd name="T19" fmla="*/ 0 h 394"/>
              <a:gd name="T20" fmla="*/ 151 w 402"/>
              <a:gd name="T21" fmla="*/ 54 h 394"/>
              <a:gd name="T22" fmla="*/ 134 w 402"/>
              <a:gd name="T23" fmla="*/ 60 h 394"/>
              <a:gd name="T24" fmla="*/ 80 w 402"/>
              <a:gd name="T25" fmla="*/ 41 h 394"/>
              <a:gd name="T26" fmla="*/ 76 w 402"/>
              <a:gd name="T27" fmla="*/ 41 h 394"/>
              <a:gd name="T28" fmla="*/ 44 w 402"/>
              <a:gd name="T29" fmla="*/ 73 h 394"/>
              <a:gd name="T30" fmla="*/ 62 w 402"/>
              <a:gd name="T31" fmla="*/ 131 h 394"/>
              <a:gd name="T32" fmla="*/ 55 w 402"/>
              <a:gd name="T33" fmla="*/ 147 h 394"/>
              <a:gd name="T34" fmla="*/ 0 w 402"/>
              <a:gd name="T35" fmla="*/ 177 h 394"/>
              <a:gd name="T36" fmla="*/ 0 w 402"/>
              <a:gd name="T37" fmla="*/ 218 h 394"/>
              <a:gd name="T38" fmla="*/ 55 w 402"/>
              <a:gd name="T39" fmla="*/ 247 h 394"/>
              <a:gd name="T40" fmla="*/ 62 w 402"/>
              <a:gd name="T41" fmla="*/ 263 h 394"/>
              <a:gd name="T42" fmla="*/ 45 w 402"/>
              <a:gd name="T43" fmla="*/ 322 h 394"/>
              <a:gd name="T44" fmla="*/ 75 w 402"/>
              <a:gd name="T45" fmla="*/ 351 h 394"/>
              <a:gd name="T46" fmla="*/ 78 w 402"/>
              <a:gd name="T47" fmla="*/ 354 h 394"/>
              <a:gd name="T48" fmla="*/ 81 w 402"/>
              <a:gd name="T49" fmla="*/ 354 h 394"/>
              <a:gd name="T50" fmla="*/ 134 w 402"/>
              <a:gd name="T51" fmla="*/ 333 h 394"/>
              <a:gd name="T52" fmla="*/ 151 w 402"/>
              <a:gd name="T53" fmla="*/ 340 h 394"/>
              <a:gd name="T54" fmla="*/ 181 w 402"/>
              <a:gd name="T55" fmla="*/ 394 h 394"/>
              <a:gd name="T56" fmla="*/ 223 w 402"/>
              <a:gd name="T57" fmla="*/ 394 h 394"/>
              <a:gd name="T58" fmla="*/ 252 w 402"/>
              <a:gd name="T59" fmla="*/ 340 h 394"/>
              <a:gd name="T60" fmla="*/ 269 w 402"/>
              <a:gd name="T61" fmla="*/ 333 h 394"/>
              <a:gd name="T62" fmla="*/ 323 w 402"/>
              <a:gd name="T63" fmla="*/ 353 h 394"/>
              <a:gd name="T64" fmla="*/ 327 w 402"/>
              <a:gd name="T65" fmla="*/ 353 h 394"/>
              <a:gd name="T66" fmla="*/ 359 w 402"/>
              <a:gd name="T67" fmla="*/ 321 h 394"/>
              <a:gd name="T68" fmla="*/ 341 w 402"/>
              <a:gd name="T69" fmla="*/ 263 h 394"/>
              <a:gd name="T70" fmla="*/ 348 w 402"/>
              <a:gd name="T71" fmla="*/ 246 h 394"/>
              <a:gd name="T72" fmla="*/ 402 w 402"/>
              <a:gd name="T73" fmla="*/ 217 h 394"/>
              <a:gd name="T74" fmla="*/ 402 w 402"/>
              <a:gd name="T75" fmla="*/ 175 h 394"/>
              <a:gd name="T76" fmla="*/ 347 w 402"/>
              <a:gd name="T77" fmla="*/ 147 h 394"/>
              <a:gd name="T78" fmla="*/ 201 w 402"/>
              <a:gd name="T79" fmla="*/ 266 h 394"/>
              <a:gd name="T80" fmla="*/ 131 w 402"/>
              <a:gd name="T81" fmla="*/ 197 h 394"/>
              <a:gd name="T82" fmla="*/ 201 w 402"/>
              <a:gd name="T83" fmla="*/ 128 h 394"/>
              <a:gd name="T84" fmla="*/ 272 w 402"/>
              <a:gd name="T85" fmla="*/ 197 h 394"/>
              <a:gd name="T86" fmla="*/ 201 w 402"/>
              <a:gd name="T87" fmla="*/ 266 h 394"/>
              <a:gd name="T88" fmla="*/ 201 w 402"/>
              <a:gd name="T89" fmla="*/ 266 h 394"/>
              <a:gd name="T90" fmla="*/ 201 w 402"/>
              <a:gd name="T91" fmla="*/ 26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2" h="394">
                <a:moveTo>
                  <a:pt x="347" y="147"/>
                </a:moveTo>
                <a:cubicBezTo>
                  <a:pt x="341" y="130"/>
                  <a:pt x="341" y="130"/>
                  <a:pt x="341" y="130"/>
                </a:cubicBezTo>
                <a:cubicBezTo>
                  <a:pt x="364" y="77"/>
                  <a:pt x="362" y="76"/>
                  <a:pt x="358" y="71"/>
                </a:cubicBezTo>
                <a:cubicBezTo>
                  <a:pt x="328" y="42"/>
                  <a:pt x="328" y="42"/>
                  <a:pt x="328" y="42"/>
                </a:cubicBezTo>
                <a:cubicBezTo>
                  <a:pt x="325" y="40"/>
                  <a:pt x="325" y="40"/>
                  <a:pt x="325" y="40"/>
                </a:cubicBezTo>
                <a:cubicBezTo>
                  <a:pt x="321" y="40"/>
                  <a:pt x="321" y="40"/>
                  <a:pt x="321" y="40"/>
                </a:cubicBezTo>
                <a:cubicBezTo>
                  <a:pt x="320" y="40"/>
                  <a:pt x="314" y="40"/>
                  <a:pt x="269" y="60"/>
                </a:cubicBezTo>
                <a:cubicBezTo>
                  <a:pt x="252" y="53"/>
                  <a:pt x="252" y="53"/>
                  <a:pt x="252" y="53"/>
                </a:cubicBezTo>
                <a:cubicBezTo>
                  <a:pt x="230" y="0"/>
                  <a:pt x="228" y="0"/>
                  <a:pt x="222" y="0"/>
                </a:cubicBezTo>
                <a:cubicBezTo>
                  <a:pt x="179" y="0"/>
                  <a:pt x="179" y="0"/>
                  <a:pt x="179" y="0"/>
                </a:cubicBezTo>
                <a:cubicBezTo>
                  <a:pt x="173" y="0"/>
                  <a:pt x="171" y="0"/>
                  <a:pt x="151" y="54"/>
                </a:cubicBezTo>
                <a:cubicBezTo>
                  <a:pt x="134" y="60"/>
                  <a:pt x="134" y="60"/>
                  <a:pt x="134" y="60"/>
                </a:cubicBezTo>
                <a:cubicBezTo>
                  <a:pt x="103" y="47"/>
                  <a:pt x="85" y="41"/>
                  <a:pt x="80" y="41"/>
                </a:cubicBezTo>
                <a:cubicBezTo>
                  <a:pt x="76" y="41"/>
                  <a:pt x="76" y="41"/>
                  <a:pt x="76" y="41"/>
                </a:cubicBezTo>
                <a:cubicBezTo>
                  <a:pt x="44" y="73"/>
                  <a:pt x="44" y="73"/>
                  <a:pt x="44" y="73"/>
                </a:cubicBezTo>
                <a:cubicBezTo>
                  <a:pt x="39" y="77"/>
                  <a:pt x="37" y="79"/>
                  <a:pt x="62" y="131"/>
                </a:cubicBezTo>
                <a:cubicBezTo>
                  <a:pt x="55" y="147"/>
                  <a:pt x="55" y="147"/>
                  <a:pt x="55" y="147"/>
                </a:cubicBezTo>
                <a:cubicBezTo>
                  <a:pt x="0" y="168"/>
                  <a:pt x="0" y="170"/>
                  <a:pt x="0" y="177"/>
                </a:cubicBezTo>
                <a:cubicBezTo>
                  <a:pt x="0" y="218"/>
                  <a:pt x="0" y="218"/>
                  <a:pt x="0" y="218"/>
                </a:cubicBezTo>
                <a:cubicBezTo>
                  <a:pt x="0" y="225"/>
                  <a:pt x="0" y="227"/>
                  <a:pt x="55" y="247"/>
                </a:cubicBezTo>
                <a:cubicBezTo>
                  <a:pt x="62" y="263"/>
                  <a:pt x="62" y="263"/>
                  <a:pt x="62" y="263"/>
                </a:cubicBezTo>
                <a:cubicBezTo>
                  <a:pt x="39" y="316"/>
                  <a:pt x="40" y="318"/>
                  <a:pt x="45" y="322"/>
                </a:cubicBezTo>
                <a:cubicBezTo>
                  <a:pt x="75" y="351"/>
                  <a:pt x="75" y="351"/>
                  <a:pt x="75" y="351"/>
                </a:cubicBezTo>
                <a:cubicBezTo>
                  <a:pt x="78" y="354"/>
                  <a:pt x="78" y="354"/>
                  <a:pt x="78" y="354"/>
                </a:cubicBezTo>
                <a:cubicBezTo>
                  <a:pt x="81" y="354"/>
                  <a:pt x="81" y="354"/>
                  <a:pt x="81" y="354"/>
                </a:cubicBezTo>
                <a:cubicBezTo>
                  <a:pt x="83" y="354"/>
                  <a:pt x="89" y="354"/>
                  <a:pt x="134" y="333"/>
                </a:cubicBezTo>
                <a:cubicBezTo>
                  <a:pt x="151" y="340"/>
                  <a:pt x="151" y="340"/>
                  <a:pt x="151" y="340"/>
                </a:cubicBezTo>
                <a:cubicBezTo>
                  <a:pt x="173" y="394"/>
                  <a:pt x="175" y="394"/>
                  <a:pt x="181" y="394"/>
                </a:cubicBezTo>
                <a:cubicBezTo>
                  <a:pt x="223" y="394"/>
                  <a:pt x="223" y="394"/>
                  <a:pt x="223" y="394"/>
                </a:cubicBezTo>
                <a:cubicBezTo>
                  <a:pt x="230" y="394"/>
                  <a:pt x="232" y="394"/>
                  <a:pt x="252" y="340"/>
                </a:cubicBezTo>
                <a:cubicBezTo>
                  <a:pt x="269" y="333"/>
                  <a:pt x="269" y="333"/>
                  <a:pt x="269" y="333"/>
                </a:cubicBezTo>
                <a:cubicBezTo>
                  <a:pt x="300" y="346"/>
                  <a:pt x="318" y="353"/>
                  <a:pt x="323" y="353"/>
                </a:cubicBezTo>
                <a:cubicBezTo>
                  <a:pt x="327" y="353"/>
                  <a:pt x="327" y="353"/>
                  <a:pt x="327" y="353"/>
                </a:cubicBezTo>
                <a:cubicBezTo>
                  <a:pt x="359" y="321"/>
                  <a:pt x="359" y="321"/>
                  <a:pt x="359" y="321"/>
                </a:cubicBezTo>
                <a:cubicBezTo>
                  <a:pt x="364" y="316"/>
                  <a:pt x="365" y="314"/>
                  <a:pt x="341" y="263"/>
                </a:cubicBezTo>
                <a:cubicBezTo>
                  <a:pt x="348" y="246"/>
                  <a:pt x="348" y="246"/>
                  <a:pt x="348" y="246"/>
                </a:cubicBezTo>
                <a:cubicBezTo>
                  <a:pt x="402" y="225"/>
                  <a:pt x="402" y="223"/>
                  <a:pt x="402" y="217"/>
                </a:cubicBezTo>
                <a:cubicBezTo>
                  <a:pt x="402" y="175"/>
                  <a:pt x="402" y="175"/>
                  <a:pt x="402" y="175"/>
                </a:cubicBezTo>
                <a:cubicBezTo>
                  <a:pt x="402" y="169"/>
                  <a:pt x="402" y="166"/>
                  <a:pt x="347" y="147"/>
                </a:cubicBezTo>
                <a:close/>
                <a:moveTo>
                  <a:pt x="201" y="266"/>
                </a:moveTo>
                <a:cubicBezTo>
                  <a:pt x="163" y="266"/>
                  <a:pt x="131" y="235"/>
                  <a:pt x="131" y="197"/>
                </a:cubicBezTo>
                <a:cubicBezTo>
                  <a:pt x="131" y="159"/>
                  <a:pt x="163" y="128"/>
                  <a:pt x="201" y="128"/>
                </a:cubicBezTo>
                <a:cubicBezTo>
                  <a:pt x="240" y="128"/>
                  <a:pt x="272" y="159"/>
                  <a:pt x="272" y="197"/>
                </a:cubicBezTo>
                <a:cubicBezTo>
                  <a:pt x="272" y="235"/>
                  <a:pt x="240" y="266"/>
                  <a:pt x="201" y="266"/>
                </a:cubicBezTo>
                <a:close/>
                <a:moveTo>
                  <a:pt x="201" y="266"/>
                </a:moveTo>
                <a:cubicBezTo>
                  <a:pt x="201" y="266"/>
                  <a:pt x="201" y="266"/>
                  <a:pt x="201" y="266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" name="Freeform 12"/>
          <p:cNvSpPr>
            <a:spLocks noEditPoints="1"/>
          </p:cNvSpPr>
          <p:nvPr/>
        </p:nvSpPr>
        <p:spPr bwMode="auto">
          <a:xfrm>
            <a:off x="10087112" y="6024894"/>
            <a:ext cx="2050524" cy="2014256"/>
          </a:xfrm>
          <a:custGeom>
            <a:avLst/>
            <a:gdLst>
              <a:gd name="T0" fmla="*/ 317 w 367"/>
              <a:gd name="T1" fmla="*/ 135 h 360"/>
              <a:gd name="T2" fmla="*/ 311 w 367"/>
              <a:gd name="T3" fmla="*/ 120 h 360"/>
              <a:gd name="T4" fmla="*/ 327 w 367"/>
              <a:gd name="T5" fmla="*/ 66 h 360"/>
              <a:gd name="T6" fmla="*/ 299 w 367"/>
              <a:gd name="T7" fmla="*/ 39 h 360"/>
              <a:gd name="T8" fmla="*/ 297 w 367"/>
              <a:gd name="T9" fmla="*/ 37 h 360"/>
              <a:gd name="T10" fmla="*/ 293 w 367"/>
              <a:gd name="T11" fmla="*/ 37 h 360"/>
              <a:gd name="T12" fmla="*/ 245 w 367"/>
              <a:gd name="T13" fmla="*/ 56 h 360"/>
              <a:gd name="T14" fmla="*/ 230 w 367"/>
              <a:gd name="T15" fmla="*/ 50 h 360"/>
              <a:gd name="T16" fmla="*/ 202 w 367"/>
              <a:gd name="T17" fmla="*/ 0 h 360"/>
              <a:gd name="T18" fmla="*/ 164 w 367"/>
              <a:gd name="T19" fmla="*/ 0 h 360"/>
              <a:gd name="T20" fmla="*/ 137 w 367"/>
              <a:gd name="T21" fmla="*/ 50 h 360"/>
              <a:gd name="T22" fmla="*/ 122 w 367"/>
              <a:gd name="T23" fmla="*/ 56 h 360"/>
              <a:gd name="T24" fmla="*/ 73 w 367"/>
              <a:gd name="T25" fmla="*/ 38 h 360"/>
              <a:gd name="T26" fmla="*/ 69 w 367"/>
              <a:gd name="T27" fmla="*/ 38 h 360"/>
              <a:gd name="T28" fmla="*/ 40 w 367"/>
              <a:gd name="T29" fmla="*/ 67 h 360"/>
              <a:gd name="T30" fmla="*/ 57 w 367"/>
              <a:gd name="T31" fmla="*/ 120 h 360"/>
              <a:gd name="T32" fmla="*/ 50 w 367"/>
              <a:gd name="T33" fmla="*/ 135 h 360"/>
              <a:gd name="T34" fmla="*/ 0 w 367"/>
              <a:gd name="T35" fmla="*/ 162 h 360"/>
              <a:gd name="T36" fmla="*/ 0 w 367"/>
              <a:gd name="T37" fmla="*/ 200 h 360"/>
              <a:gd name="T38" fmla="*/ 51 w 367"/>
              <a:gd name="T39" fmla="*/ 226 h 360"/>
              <a:gd name="T40" fmla="*/ 57 w 367"/>
              <a:gd name="T41" fmla="*/ 241 h 360"/>
              <a:gd name="T42" fmla="*/ 41 w 367"/>
              <a:gd name="T43" fmla="*/ 295 h 360"/>
              <a:gd name="T44" fmla="*/ 68 w 367"/>
              <a:gd name="T45" fmla="*/ 322 h 360"/>
              <a:gd name="T46" fmla="*/ 71 w 367"/>
              <a:gd name="T47" fmla="*/ 324 h 360"/>
              <a:gd name="T48" fmla="*/ 74 w 367"/>
              <a:gd name="T49" fmla="*/ 324 h 360"/>
              <a:gd name="T50" fmla="*/ 122 w 367"/>
              <a:gd name="T51" fmla="*/ 305 h 360"/>
              <a:gd name="T52" fmla="*/ 138 w 367"/>
              <a:gd name="T53" fmla="*/ 311 h 360"/>
              <a:gd name="T54" fmla="*/ 165 w 367"/>
              <a:gd name="T55" fmla="*/ 360 h 360"/>
              <a:gd name="T56" fmla="*/ 204 w 367"/>
              <a:gd name="T57" fmla="*/ 360 h 360"/>
              <a:gd name="T58" fmla="*/ 230 w 367"/>
              <a:gd name="T59" fmla="*/ 311 h 360"/>
              <a:gd name="T60" fmla="*/ 246 w 367"/>
              <a:gd name="T61" fmla="*/ 305 h 360"/>
              <a:gd name="T62" fmla="*/ 294 w 367"/>
              <a:gd name="T63" fmla="*/ 323 h 360"/>
              <a:gd name="T64" fmla="*/ 298 w 367"/>
              <a:gd name="T65" fmla="*/ 323 h 360"/>
              <a:gd name="T66" fmla="*/ 328 w 367"/>
              <a:gd name="T67" fmla="*/ 294 h 360"/>
              <a:gd name="T68" fmla="*/ 311 w 367"/>
              <a:gd name="T69" fmla="*/ 240 h 360"/>
              <a:gd name="T70" fmla="*/ 317 w 367"/>
              <a:gd name="T71" fmla="*/ 226 h 360"/>
              <a:gd name="T72" fmla="*/ 367 w 367"/>
              <a:gd name="T73" fmla="*/ 198 h 360"/>
              <a:gd name="T74" fmla="*/ 367 w 367"/>
              <a:gd name="T75" fmla="*/ 161 h 360"/>
              <a:gd name="T76" fmla="*/ 317 w 367"/>
              <a:gd name="T77" fmla="*/ 135 h 360"/>
              <a:gd name="T78" fmla="*/ 184 w 367"/>
              <a:gd name="T79" fmla="*/ 243 h 360"/>
              <a:gd name="T80" fmla="*/ 120 w 367"/>
              <a:gd name="T81" fmla="*/ 180 h 360"/>
              <a:gd name="T82" fmla="*/ 184 w 367"/>
              <a:gd name="T83" fmla="*/ 117 h 360"/>
              <a:gd name="T84" fmla="*/ 248 w 367"/>
              <a:gd name="T85" fmla="*/ 180 h 360"/>
              <a:gd name="T86" fmla="*/ 184 w 367"/>
              <a:gd name="T87" fmla="*/ 243 h 360"/>
              <a:gd name="T88" fmla="*/ 184 w 367"/>
              <a:gd name="T89" fmla="*/ 243 h 360"/>
              <a:gd name="T90" fmla="*/ 184 w 367"/>
              <a:gd name="T91" fmla="*/ 243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67" h="360">
                <a:moveTo>
                  <a:pt x="317" y="135"/>
                </a:moveTo>
                <a:cubicBezTo>
                  <a:pt x="311" y="120"/>
                  <a:pt x="311" y="120"/>
                  <a:pt x="311" y="120"/>
                </a:cubicBezTo>
                <a:cubicBezTo>
                  <a:pt x="332" y="71"/>
                  <a:pt x="331" y="70"/>
                  <a:pt x="327" y="66"/>
                </a:cubicBezTo>
                <a:cubicBezTo>
                  <a:pt x="299" y="39"/>
                  <a:pt x="299" y="39"/>
                  <a:pt x="299" y="39"/>
                </a:cubicBezTo>
                <a:cubicBezTo>
                  <a:pt x="297" y="37"/>
                  <a:pt x="297" y="37"/>
                  <a:pt x="297" y="37"/>
                </a:cubicBezTo>
                <a:cubicBezTo>
                  <a:pt x="293" y="37"/>
                  <a:pt x="293" y="37"/>
                  <a:pt x="293" y="37"/>
                </a:cubicBezTo>
                <a:cubicBezTo>
                  <a:pt x="292" y="37"/>
                  <a:pt x="287" y="37"/>
                  <a:pt x="245" y="56"/>
                </a:cubicBezTo>
                <a:cubicBezTo>
                  <a:pt x="230" y="50"/>
                  <a:pt x="230" y="50"/>
                  <a:pt x="230" y="50"/>
                </a:cubicBezTo>
                <a:cubicBezTo>
                  <a:pt x="210" y="0"/>
                  <a:pt x="208" y="0"/>
                  <a:pt x="202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158" y="0"/>
                  <a:pt x="156" y="0"/>
                  <a:pt x="137" y="50"/>
                </a:cubicBezTo>
                <a:cubicBezTo>
                  <a:pt x="122" y="56"/>
                  <a:pt x="122" y="56"/>
                  <a:pt x="122" y="56"/>
                </a:cubicBezTo>
                <a:cubicBezTo>
                  <a:pt x="94" y="44"/>
                  <a:pt x="77" y="38"/>
                  <a:pt x="73" y="38"/>
                </a:cubicBezTo>
                <a:cubicBezTo>
                  <a:pt x="69" y="38"/>
                  <a:pt x="69" y="38"/>
                  <a:pt x="69" y="38"/>
                </a:cubicBezTo>
                <a:cubicBezTo>
                  <a:pt x="40" y="67"/>
                  <a:pt x="40" y="67"/>
                  <a:pt x="40" y="67"/>
                </a:cubicBezTo>
                <a:cubicBezTo>
                  <a:pt x="35" y="71"/>
                  <a:pt x="34" y="73"/>
                  <a:pt x="57" y="120"/>
                </a:cubicBezTo>
                <a:cubicBezTo>
                  <a:pt x="50" y="135"/>
                  <a:pt x="50" y="135"/>
                  <a:pt x="50" y="135"/>
                </a:cubicBezTo>
                <a:cubicBezTo>
                  <a:pt x="0" y="154"/>
                  <a:pt x="0" y="156"/>
                  <a:pt x="0" y="162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06"/>
                  <a:pt x="0" y="208"/>
                  <a:pt x="51" y="226"/>
                </a:cubicBezTo>
                <a:cubicBezTo>
                  <a:pt x="57" y="241"/>
                  <a:pt x="57" y="241"/>
                  <a:pt x="57" y="241"/>
                </a:cubicBezTo>
                <a:cubicBezTo>
                  <a:pt x="35" y="289"/>
                  <a:pt x="37" y="291"/>
                  <a:pt x="41" y="295"/>
                </a:cubicBezTo>
                <a:cubicBezTo>
                  <a:pt x="68" y="322"/>
                  <a:pt x="68" y="322"/>
                  <a:pt x="68" y="322"/>
                </a:cubicBezTo>
                <a:cubicBezTo>
                  <a:pt x="71" y="324"/>
                  <a:pt x="71" y="324"/>
                  <a:pt x="71" y="324"/>
                </a:cubicBezTo>
                <a:cubicBezTo>
                  <a:pt x="74" y="324"/>
                  <a:pt x="74" y="324"/>
                  <a:pt x="74" y="324"/>
                </a:cubicBezTo>
                <a:cubicBezTo>
                  <a:pt x="76" y="324"/>
                  <a:pt x="81" y="324"/>
                  <a:pt x="122" y="305"/>
                </a:cubicBezTo>
                <a:cubicBezTo>
                  <a:pt x="138" y="311"/>
                  <a:pt x="138" y="311"/>
                  <a:pt x="138" y="311"/>
                </a:cubicBezTo>
                <a:cubicBezTo>
                  <a:pt x="157" y="360"/>
                  <a:pt x="159" y="360"/>
                  <a:pt x="165" y="360"/>
                </a:cubicBezTo>
                <a:cubicBezTo>
                  <a:pt x="204" y="360"/>
                  <a:pt x="204" y="360"/>
                  <a:pt x="204" y="360"/>
                </a:cubicBezTo>
                <a:cubicBezTo>
                  <a:pt x="210" y="360"/>
                  <a:pt x="212" y="360"/>
                  <a:pt x="230" y="311"/>
                </a:cubicBezTo>
                <a:cubicBezTo>
                  <a:pt x="246" y="305"/>
                  <a:pt x="246" y="305"/>
                  <a:pt x="246" y="305"/>
                </a:cubicBezTo>
                <a:cubicBezTo>
                  <a:pt x="274" y="317"/>
                  <a:pt x="290" y="323"/>
                  <a:pt x="294" y="323"/>
                </a:cubicBezTo>
                <a:cubicBezTo>
                  <a:pt x="298" y="323"/>
                  <a:pt x="298" y="323"/>
                  <a:pt x="298" y="323"/>
                </a:cubicBezTo>
                <a:cubicBezTo>
                  <a:pt x="328" y="294"/>
                  <a:pt x="328" y="294"/>
                  <a:pt x="328" y="294"/>
                </a:cubicBezTo>
                <a:cubicBezTo>
                  <a:pt x="332" y="289"/>
                  <a:pt x="333" y="288"/>
                  <a:pt x="311" y="240"/>
                </a:cubicBezTo>
                <a:cubicBezTo>
                  <a:pt x="317" y="226"/>
                  <a:pt x="317" y="226"/>
                  <a:pt x="317" y="226"/>
                </a:cubicBezTo>
                <a:cubicBezTo>
                  <a:pt x="367" y="206"/>
                  <a:pt x="367" y="204"/>
                  <a:pt x="367" y="198"/>
                </a:cubicBezTo>
                <a:cubicBezTo>
                  <a:pt x="367" y="161"/>
                  <a:pt x="367" y="161"/>
                  <a:pt x="367" y="161"/>
                </a:cubicBezTo>
                <a:cubicBezTo>
                  <a:pt x="367" y="155"/>
                  <a:pt x="367" y="153"/>
                  <a:pt x="317" y="135"/>
                </a:cubicBezTo>
                <a:close/>
                <a:moveTo>
                  <a:pt x="184" y="243"/>
                </a:moveTo>
                <a:cubicBezTo>
                  <a:pt x="148" y="243"/>
                  <a:pt x="120" y="215"/>
                  <a:pt x="120" y="180"/>
                </a:cubicBezTo>
                <a:cubicBezTo>
                  <a:pt x="120" y="146"/>
                  <a:pt x="148" y="117"/>
                  <a:pt x="184" y="117"/>
                </a:cubicBezTo>
                <a:cubicBezTo>
                  <a:pt x="219" y="117"/>
                  <a:pt x="248" y="146"/>
                  <a:pt x="248" y="180"/>
                </a:cubicBezTo>
                <a:cubicBezTo>
                  <a:pt x="248" y="215"/>
                  <a:pt x="219" y="243"/>
                  <a:pt x="184" y="243"/>
                </a:cubicBezTo>
                <a:close/>
                <a:moveTo>
                  <a:pt x="184" y="243"/>
                </a:moveTo>
                <a:cubicBezTo>
                  <a:pt x="184" y="243"/>
                  <a:pt x="184" y="243"/>
                  <a:pt x="184" y="243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4" name="Freeform 13"/>
          <p:cNvSpPr>
            <a:spLocks noEditPoints="1"/>
          </p:cNvSpPr>
          <p:nvPr/>
        </p:nvSpPr>
        <p:spPr bwMode="auto">
          <a:xfrm>
            <a:off x="11018914" y="8226066"/>
            <a:ext cx="1286112" cy="1258212"/>
          </a:xfrm>
          <a:custGeom>
            <a:avLst/>
            <a:gdLst>
              <a:gd name="T0" fmla="*/ 199 w 230"/>
              <a:gd name="T1" fmla="*/ 84 h 225"/>
              <a:gd name="T2" fmla="*/ 195 w 230"/>
              <a:gd name="T3" fmla="*/ 74 h 225"/>
              <a:gd name="T4" fmla="*/ 205 w 230"/>
              <a:gd name="T5" fmla="*/ 41 h 225"/>
              <a:gd name="T6" fmla="*/ 188 w 230"/>
              <a:gd name="T7" fmla="*/ 24 h 225"/>
              <a:gd name="T8" fmla="*/ 186 w 230"/>
              <a:gd name="T9" fmla="*/ 22 h 225"/>
              <a:gd name="T10" fmla="*/ 184 w 230"/>
              <a:gd name="T11" fmla="*/ 22 h 225"/>
              <a:gd name="T12" fmla="*/ 154 w 230"/>
              <a:gd name="T13" fmla="*/ 34 h 225"/>
              <a:gd name="T14" fmla="*/ 144 w 230"/>
              <a:gd name="T15" fmla="*/ 30 h 225"/>
              <a:gd name="T16" fmla="*/ 127 w 230"/>
              <a:gd name="T17" fmla="*/ 0 h 225"/>
              <a:gd name="T18" fmla="*/ 103 w 230"/>
              <a:gd name="T19" fmla="*/ 0 h 225"/>
              <a:gd name="T20" fmla="*/ 86 w 230"/>
              <a:gd name="T21" fmla="*/ 30 h 225"/>
              <a:gd name="T22" fmla="*/ 77 w 230"/>
              <a:gd name="T23" fmla="*/ 34 h 225"/>
              <a:gd name="T24" fmla="*/ 46 w 230"/>
              <a:gd name="T25" fmla="*/ 23 h 225"/>
              <a:gd name="T26" fmla="*/ 44 w 230"/>
              <a:gd name="T27" fmla="*/ 23 h 225"/>
              <a:gd name="T28" fmla="*/ 25 w 230"/>
              <a:gd name="T29" fmla="*/ 41 h 225"/>
              <a:gd name="T30" fmla="*/ 36 w 230"/>
              <a:gd name="T31" fmla="*/ 75 h 225"/>
              <a:gd name="T32" fmla="*/ 32 w 230"/>
              <a:gd name="T33" fmla="*/ 84 h 225"/>
              <a:gd name="T34" fmla="*/ 0 w 230"/>
              <a:gd name="T35" fmla="*/ 101 h 225"/>
              <a:gd name="T36" fmla="*/ 0 w 230"/>
              <a:gd name="T37" fmla="*/ 125 h 225"/>
              <a:gd name="T38" fmla="*/ 32 w 230"/>
              <a:gd name="T39" fmla="*/ 141 h 225"/>
              <a:gd name="T40" fmla="*/ 36 w 230"/>
              <a:gd name="T41" fmla="*/ 150 h 225"/>
              <a:gd name="T42" fmla="*/ 26 w 230"/>
              <a:gd name="T43" fmla="*/ 184 h 225"/>
              <a:gd name="T44" fmla="*/ 43 w 230"/>
              <a:gd name="T45" fmla="*/ 201 h 225"/>
              <a:gd name="T46" fmla="*/ 45 w 230"/>
              <a:gd name="T47" fmla="*/ 202 h 225"/>
              <a:gd name="T48" fmla="*/ 47 w 230"/>
              <a:gd name="T49" fmla="*/ 202 h 225"/>
              <a:gd name="T50" fmla="*/ 77 w 230"/>
              <a:gd name="T51" fmla="*/ 190 h 225"/>
              <a:gd name="T52" fmla="*/ 87 w 230"/>
              <a:gd name="T53" fmla="*/ 194 h 225"/>
              <a:gd name="T54" fmla="*/ 104 w 230"/>
              <a:gd name="T55" fmla="*/ 225 h 225"/>
              <a:gd name="T56" fmla="*/ 128 w 230"/>
              <a:gd name="T57" fmla="*/ 225 h 225"/>
              <a:gd name="T58" fmla="*/ 145 w 230"/>
              <a:gd name="T59" fmla="*/ 194 h 225"/>
              <a:gd name="T60" fmla="*/ 154 w 230"/>
              <a:gd name="T61" fmla="*/ 190 h 225"/>
              <a:gd name="T62" fmla="*/ 185 w 230"/>
              <a:gd name="T63" fmla="*/ 201 h 225"/>
              <a:gd name="T64" fmla="*/ 187 w 230"/>
              <a:gd name="T65" fmla="*/ 201 h 225"/>
              <a:gd name="T66" fmla="*/ 206 w 230"/>
              <a:gd name="T67" fmla="*/ 183 h 225"/>
              <a:gd name="T68" fmla="*/ 195 w 230"/>
              <a:gd name="T69" fmla="*/ 150 h 225"/>
              <a:gd name="T70" fmla="*/ 199 w 230"/>
              <a:gd name="T71" fmla="*/ 141 h 225"/>
              <a:gd name="T72" fmla="*/ 230 w 230"/>
              <a:gd name="T73" fmla="*/ 124 h 225"/>
              <a:gd name="T74" fmla="*/ 230 w 230"/>
              <a:gd name="T75" fmla="*/ 100 h 225"/>
              <a:gd name="T76" fmla="*/ 199 w 230"/>
              <a:gd name="T77" fmla="*/ 84 h 225"/>
              <a:gd name="T78" fmla="*/ 115 w 230"/>
              <a:gd name="T79" fmla="*/ 152 h 225"/>
              <a:gd name="T80" fmla="*/ 75 w 230"/>
              <a:gd name="T81" fmla="*/ 112 h 225"/>
              <a:gd name="T82" fmla="*/ 115 w 230"/>
              <a:gd name="T83" fmla="*/ 73 h 225"/>
              <a:gd name="T84" fmla="*/ 156 w 230"/>
              <a:gd name="T85" fmla="*/ 112 h 225"/>
              <a:gd name="T86" fmla="*/ 115 w 230"/>
              <a:gd name="T87" fmla="*/ 152 h 225"/>
              <a:gd name="T88" fmla="*/ 115 w 230"/>
              <a:gd name="T89" fmla="*/ 152 h 225"/>
              <a:gd name="T90" fmla="*/ 115 w 230"/>
              <a:gd name="T91" fmla="*/ 152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30" h="225">
                <a:moveTo>
                  <a:pt x="199" y="84"/>
                </a:moveTo>
                <a:cubicBezTo>
                  <a:pt x="195" y="74"/>
                  <a:pt x="195" y="74"/>
                  <a:pt x="195" y="74"/>
                </a:cubicBezTo>
                <a:cubicBezTo>
                  <a:pt x="208" y="44"/>
                  <a:pt x="207" y="43"/>
                  <a:pt x="205" y="41"/>
                </a:cubicBezTo>
                <a:cubicBezTo>
                  <a:pt x="188" y="24"/>
                  <a:pt x="188" y="24"/>
                  <a:pt x="188" y="24"/>
                </a:cubicBezTo>
                <a:cubicBezTo>
                  <a:pt x="186" y="22"/>
                  <a:pt x="186" y="22"/>
                  <a:pt x="186" y="22"/>
                </a:cubicBezTo>
                <a:cubicBezTo>
                  <a:pt x="184" y="22"/>
                  <a:pt x="184" y="22"/>
                  <a:pt x="184" y="22"/>
                </a:cubicBezTo>
                <a:cubicBezTo>
                  <a:pt x="183" y="22"/>
                  <a:pt x="180" y="22"/>
                  <a:pt x="154" y="34"/>
                </a:cubicBezTo>
                <a:cubicBezTo>
                  <a:pt x="144" y="30"/>
                  <a:pt x="144" y="30"/>
                  <a:pt x="144" y="30"/>
                </a:cubicBezTo>
                <a:cubicBezTo>
                  <a:pt x="132" y="0"/>
                  <a:pt x="131" y="0"/>
                  <a:pt x="127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99" y="0"/>
                  <a:pt x="98" y="0"/>
                  <a:pt x="86" y="30"/>
                </a:cubicBezTo>
                <a:cubicBezTo>
                  <a:pt x="77" y="34"/>
                  <a:pt x="77" y="34"/>
                  <a:pt x="77" y="34"/>
                </a:cubicBezTo>
                <a:cubicBezTo>
                  <a:pt x="59" y="27"/>
                  <a:pt x="49" y="23"/>
                  <a:pt x="46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25" y="41"/>
                  <a:pt x="25" y="41"/>
                  <a:pt x="25" y="41"/>
                </a:cubicBezTo>
                <a:cubicBezTo>
                  <a:pt x="23" y="44"/>
                  <a:pt x="22" y="45"/>
                  <a:pt x="36" y="75"/>
                </a:cubicBezTo>
                <a:cubicBezTo>
                  <a:pt x="32" y="84"/>
                  <a:pt x="32" y="84"/>
                  <a:pt x="32" y="84"/>
                </a:cubicBezTo>
                <a:cubicBezTo>
                  <a:pt x="0" y="96"/>
                  <a:pt x="0" y="97"/>
                  <a:pt x="0" y="101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28"/>
                  <a:pt x="0" y="130"/>
                  <a:pt x="32" y="141"/>
                </a:cubicBezTo>
                <a:cubicBezTo>
                  <a:pt x="36" y="150"/>
                  <a:pt x="36" y="150"/>
                  <a:pt x="36" y="150"/>
                </a:cubicBezTo>
                <a:cubicBezTo>
                  <a:pt x="22" y="180"/>
                  <a:pt x="23" y="181"/>
                  <a:pt x="26" y="184"/>
                </a:cubicBezTo>
                <a:cubicBezTo>
                  <a:pt x="43" y="201"/>
                  <a:pt x="43" y="201"/>
                  <a:pt x="43" y="201"/>
                </a:cubicBezTo>
                <a:cubicBezTo>
                  <a:pt x="45" y="202"/>
                  <a:pt x="45" y="202"/>
                  <a:pt x="45" y="202"/>
                </a:cubicBezTo>
                <a:cubicBezTo>
                  <a:pt x="47" y="202"/>
                  <a:pt x="47" y="202"/>
                  <a:pt x="47" y="202"/>
                </a:cubicBezTo>
                <a:cubicBezTo>
                  <a:pt x="48" y="202"/>
                  <a:pt x="51" y="202"/>
                  <a:pt x="77" y="190"/>
                </a:cubicBezTo>
                <a:cubicBezTo>
                  <a:pt x="87" y="194"/>
                  <a:pt x="87" y="194"/>
                  <a:pt x="87" y="194"/>
                </a:cubicBezTo>
                <a:cubicBezTo>
                  <a:pt x="99" y="225"/>
                  <a:pt x="100" y="225"/>
                  <a:pt x="104" y="225"/>
                </a:cubicBezTo>
                <a:cubicBezTo>
                  <a:pt x="128" y="225"/>
                  <a:pt x="128" y="225"/>
                  <a:pt x="128" y="225"/>
                </a:cubicBezTo>
                <a:cubicBezTo>
                  <a:pt x="132" y="225"/>
                  <a:pt x="133" y="225"/>
                  <a:pt x="145" y="194"/>
                </a:cubicBezTo>
                <a:cubicBezTo>
                  <a:pt x="154" y="190"/>
                  <a:pt x="154" y="190"/>
                  <a:pt x="154" y="190"/>
                </a:cubicBezTo>
                <a:cubicBezTo>
                  <a:pt x="172" y="198"/>
                  <a:pt x="182" y="201"/>
                  <a:pt x="185" y="201"/>
                </a:cubicBezTo>
                <a:cubicBezTo>
                  <a:pt x="187" y="201"/>
                  <a:pt x="187" y="201"/>
                  <a:pt x="187" y="201"/>
                </a:cubicBezTo>
                <a:cubicBezTo>
                  <a:pt x="206" y="183"/>
                  <a:pt x="206" y="183"/>
                  <a:pt x="206" y="183"/>
                </a:cubicBezTo>
                <a:cubicBezTo>
                  <a:pt x="208" y="180"/>
                  <a:pt x="209" y="180"/>
                  <a:pt x="195" y="150"/>
                </a:cubicBezTo>
                <a:cubicBezTo>
                  <a:pt x="199" y="141"/>
                  <a:pt x="199" y="141"/>
                  <a:pt x="199" y="141"/>
                </a:cubicBezTo>
                <a:cubicBezTo>
                  <a:pt x="230" y="128"/>
                  <a:pt x="230" y="127"/>
                  <a:pt x="230" y="124"/>
                </a:cubicBezTo>
                <a:cubicBezTo>
                  <a:pt x="230" y="100"/>
                  <a:pt x="230" y="100"/>
                  <a:pt x="230" y="100"/>
                </a:cubicBezTo>
                <a:cubicBezTo>
                  <a:pt x="230" y="96"/>
                  <a:pt x="230" y="95"/>
                  <a:pt x="199" y="84"/>
                </a:cubicBezTo>
                <a:close/>
                <a:moveTo>
                  <a:pt x="115" y="152"/>
                </a:moveTo>
                <a:cubicBezTo>
                  <a:pt x="93" y="152"/>
                  <a:pt x="75" y="134"/>
                  <a:pt x="75" y="112"/>
                </a:cubicBezTo>
                <a:cubicBezTo>
                  <a:pt x="75" y="90"/>
                  <a:pt x="93" y="73"/>
                  <a:pt x="115" y="73"/>
                </a:cubicBezTo>
                <a:cubicBezTo>
                  <a:pt x="138" y="73"/>
                  <a:pt x="156" y="90"/>
                  <a:pt x="156" y="112"/>
                </a:cubicBezTo>
                <a:cubicBezTo>
                  <a:pt x="156" y="134"/>
                  <a:pt x="138" y="152"/>
                  <a:pt x="115" y="152"/>
                </a:cubicBezTo>
                <a:close/>
                <a:moveTo>
                  <a:pt x="115" y="152"/>
                </a:moveTo>
                <a:cubicBezTo>
                  <a:pt x="115" y="152"/>
                  <a:pt x="115" y="152"/>
                  <a:pt x="115" y="15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5" name="Freeform 14"/>
          <p:cNvSpPr>
            <a:spLocks noEditPoints="1"/>
          </p:cNvSpPr>
          <p:nvPr/>
        </p:nvSpPr>
        <p:spPr bwMode="auto">
          <a:xfrm>
            <a:off x="13713888" y="5790548"/>
            <a:ext cx="1032236" cy="1007128"/>
          </a:xfrm>
          <a:custGeom>
            <a:avLst/>
            <a:gdLst>
              <a:gd name="T0" fmla="*/ 159 w 185"/>
              <a:gd name="T1" fmla="*/ 67 h 180"/>
              <a:gd name="T2" fmla="*/ 156 w 185"/>
              <a:gd name="T3" fmla="*/ 60 h 180"/>
              <a:gd name="T4" fmla="*/ 164 w 185"/>
              <a:gd name="T5" fmla="*/ 32 h 180"/>
              <a:gd name="T6" fmla="*/ 150 w 185"/>
              <a:gd name="T7" fmla="*/ 19 h 180"/>
              <a:gd name="T8" fmla="*/ 149 w 185"/>
              <a:gd name="T9" fmla="*/ 18 h 180"/>
              <a:gd name="T10" fmla="*/ 148 w 185"/>
              <a:gd name="T11" fmla="*/ 18 h 180"/>
              <a:gd name="T12" fmla="*/ 123 w 185"/>
              <a:gd name="T13" fmla="*/ 27 h 180"/>
              <a:gd name="T14" fmla="*/ 116 w 185"/>
              <a:gd name="T15" fmla="*/ 24 h 180"/>
              <a:gd name="T16" fmla="*/ 102 w 185"/>
              <a:gd name="T17" fmla="*/ 0 h 180"/>
              <a:gd name="T18" fmla="*/ 82 w 185"/>
              <a:gd name="T19" fmla="*/ 0 h 180"/>
              <a:gd name="T20" fmla="*/ 69 w 185"/>
              <a:gd name="T21" fmla="*/ 24 h 180"/>
              <a:gd name="T22" fmla="*/ 62 w 185"/>
              <a:gd name="T23" fmla="*/ 27 h 180"/>
              <a:gd name="T24" fmla="*/ 37 w 185"/>
              <a:gd name="T25" fmla="*/ 18 h 180"/>
              <a:gd name="T26" fmla="*/ 35 w 185"/>
              <a:gd name="T27" fmla="*/ 18 h 180"/>
              <a:gd name="T28" fmla="*/ 20 w 185"/>
              <a:gd name="T29" fmla="*/ 33 h 180"/>
              <a:gd name="T30" fmla="*/ 29 w 185"/>
              <a:gd name="T31" fmla="*/ 60 h 180"/>
              <a:gd name="T32" fmla="*/ 25 w 185"/>
              <a:gd name="T33" fmla="*/ 67 h 180"/>
              <a:gd name="T34" fmla="*/ 0 w 185"/>
              <a:gd name="T35" fmla="*/ 81 h 180"/>
              <a:gd name="T36" fmla="*/ 0 w 185"/>
              <a:gd name="T37" fmla="*/ 100 h 180"/>
              <a:gd name="T38" fmla="*/ 26 w 185"/>
              <a:gd name="T39" fmla="*/ 113 h 180"/>
              <a:gd name="T40" fmla="*/ 29 w 185"/>
              <a:gd name="T41" fmla="*/ 120 h 180"/>
              <a:gd name="T42" fmla="*/ 21 w 185"/>
              <a:gd name="T43" fmla="*/ 147 h 180"/>
              <a:gd name="T44" fmla="*/ 35 w 185"/>
              <a:gd name="T45" fmla="*/ 161 h 180"/>
              <a:gd name="T46" fmla="*/ 36 w 185"/>
              <a:gd name="T47" fmla="*/ 162 h 180"/>
              <a:gd name="T48" fmla="*/ 37 w 185"/>
              <a:gd name="T49" fmla="*/ 162 h 180"/>
              <a:gd name="T50" fmla="*/ 62 w 185"/>
              <a:gd name="T51" fmla="*/ 152 h 180"/>
              <a:gd name="T52" fmla="*/ 69 w 185"/>
              <a:gd name="T53" fmla="*/ 156 h 180"/>
              <a:gd name="T54" fmla="*/ 83 w 185"/>
              <a:gd name="T55" fmla="*/ 180 h 180"/>
              <a:gd name="T56" fmla="*/ 103 w 185"/>
              <a:gd name="T57" fmla="*/ 180 h 180"/>
              <a:gd name="T58" fmla="*/ 116 w 185"/>
              <a:gd name="T59" fmla="*/ 156 h 180"/>
              <a:gd name="T60" fmla="*/ 124 w 185"/>
              <a:gd name="T61" fmla="*/ 152 h 180"/>
              <a:gd name="T62" fmla="*/ 148 w 185"/>
              <a:gd name="T63" fmla="*/ 161 h 180"/>
              <a:gd name="T64" fmla="*/ 150 w 185"/>
              <a:gd name="T65" fmla="*/ 161 h 180"/>
              <a:gd name="T66" fmla="*/ 165 w 185"/>
              <a:gd name="T67" fmla="*/ 147 h 180"/>
              <a:gd name="T68" fmla="*/ 156 w 185"/>
              <a:gd name="T69" fmla="*/ 120 h 180"/>
              <a:gd name="T70" fmla="*/ 159 w 185"/>
              <a:gd name="T71" fmla="*/ 113 h 180"/>
              <a:gd name="T72" fmla="*/ 185 w 185"/>
              <a:gd name="T73" fmla="*/ 99 h 180"/>
              <a:gd name="T74" fmla="*/ 185 w 185"/>
              <a:gd name="T75" fmla="*/ 80 h 180"/>
              <a:gd name="T76" fmla="*/ 159 w 185"/>
              <a:gd name="T77" fmla="*/ 67 h 180"/>
              <a:gd name="T78" fmla="*/ 93 w 185"/>
              <a:gd name="T79" fmla="*/ 121 h 180"/>
              <a:gd name="T80" fmla="*/ 60 w 185"/>
              <a:gd name="T81" fmla="*/ 90 h 180"/>
              <a:gd name="T82" fmla="*/ 93 w 185"/>
              <a:gd name="T83" fmla="*/ 58 h 180"/>
              <a:gd name="T84" fmla="*/ 125 w 185"/>
              <a:gd name="T85" fmla="*/ 90 h 180"/>
              <a:gd name="T86" fmla="*/ 93 w 185"/>
              <a:gd name="T87" fmla="*/ 121 h 180"/>
              <a:gd name="T88" fmla="*/ 93 w 185"/>
              <a:gd name="T89" fmla="*/ 121 h 180"/>
              <a:gd name="T90" fmla="*/ 93 w 185"/>
              <a:gd name="T91" fmla="*/ 12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5" h="180">
                <a:moveTo>
                  <a:pt x="159" y="67"/>
                </a:moveTo>
                <a:cubicBezTo>
                  <a:pt x="156" y="60"/>
                  <a:pt x="156" y="60"/>
                  <a:pt x="156" y="60"/>
                </a:cubicBezTo>
                <a:cubicBezTo>
                  <a:pt x="167" y="35"/>
                  <a:pt x="166" y="34"/>
                  <a:pt x="164" y="32"/>
                </a:cubicBezTo>
                <a:cubicBezTo>
                  <a:pt x="150" y="19"/>
                  <a:pt x="150" y="19"/>
                  <a:pt x="150" y="19"/>
                </a:cubicBezTo>
                <a:cubicBezTo>
                  <a:pt x="149" y="18"/>
                  <a:pt x="149" y="18"/>
                  <a:pt x="149" y="18"/>
                </a:cubicBezTo>
                <a:cubicBezTo>
                  <a:pt x="148" y="18"/>
                  <a:pt x="148" y="18"/>
                  <a:pt x="148" y="18"/>
                </a:cubicBezTo>
                <a:cubicBezTo>
                  <a:pt x="147" y="18"/>
                  <a:pt x="144" y="18"/>
                  <a:pt x="123" y="27"/>
                </a:cubicBezTo>
                <a:cubicBezTo>
                  <a:pt x="116" y="24"/>
                  <a:pt x="116" y="24"/>
                  <a:pt x="116" y="24"/>
                </a:cubicBezTo>
                <a:cubicBezTo>
                  <a:pt x="106" y="0"/>
                  <a:pt x="105" y="0"/>
                  <a:pt x="102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79" y="0"/>
                  <a:pt x="78" y="0"/>
                  <a:pt x="69" y="24"/>
                </a:cubicBezTo>
                <a:cubicBezTo>
                  <a:pt x="62" y="27"/>
                  <a:pt x="62" y="27"/>
                  <a:pt x="62" y="27"/>
                </a:cubicBezTo>
                <a:cubicBezTo>
                  <a:pt x="47" y="21"/>
                  <a:pt x="39" y="18"/>
                  <a:pt x="37" y="18"/>
                </a:cubicBezTo>
                <a:cubicBezTo>
                  <a:pt x="35" y="18"/>
                  <a:pt x="35" y="18"/>
                  <a:pt x="35" y="18"/>
                </a:cubicBezTo>
                <a:cubicBezTo>
                  <a:pt x="20" y="33"/>
                  <a:pt x="20" y="33"/>
                  <a:pt x="20" y="33"/>
                </a:cubicBezTo>
                <a:cubicBezTo>
                  <a:pt x="18" y="35"/>
                  <a:pt x="17" y="36"/>
                  <a:pt x="29" y="60"/>
                </a:cubicBezTo>
                <a:cubicBezTo>
                  <a:pt x="25" y="67"/>
                  <a:pt x="25" y="67"/>
                  <a:pt x="25" y="67"/>
                </a:cubicBezTo>
                <a:cubicBezTo>
                  <a:pt x="0" y="77"/>
                  <a:pt x="0" y="78"/>
                  <a:pt x="0" y="81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3"/>
                  <a:pt x="0" y="104"/>
                  <a:pt x="26" y="113"/>
                </a:cubicBezTo>
                <a:cubicBezTo>
                  <a:pt x="29" y="120"/>
                  <a:pt x="29" y="120"/>
                  <a:pt x="29" y="120"/>
                </a:cubicBezTo>
                <a:cubicBezTo>
                  <a:pt x="18" y="145"/>
                  <a:pt x="19" y="145"/>
                  <a:pt x="21" y="147"/>
                </a:cubicBezTo>
                <a:cubicBezTo>
                  <a:pt x="35" y="161"/>
                  <a:pt x="35" y="161"/>
                  <a:pt x="35" y="161"/>
                </a:cubicBezTo>
                <a:cubicBezTo>
                  <a:pt x="36" y="162"/>
                  <a:pt x="36" y="162"/>
                  <a:pt x="36" y="162"/>
                </a:cubicBezTo>
                <a:cubicBezTo>
                  <a:pt x="37" y="162"/>
                  <a:pt x="37" y="162"/>
                  <a:pt x="37" y="162"/>
                </a:cubicBezTo>
                <a:cubicBezTo>
                  <a:pt x="38" y="162"/>
                  <a:pt x="41" y="162"/>
                  <a:pt x="62" y="152"/>
                </a:cubicBezTo>
                <a:cubicBezTo>
                  <a:pt x="69" y="156"/>
                  <a:pt x="69" y="156"/>
                  <a:pt x="69" y="156"/>
                </a:cubicBezTo>
                <a:cubicBezTo>
                  <a:pt x="79" y="180"/>
                  <a:pt x="80" y="180"/>
                  <a:pt x="83" y="180"/>
                </a:cubicBezTo>
                <a:cubicBezTo>
                  <a:pt x="103" y="180"/>
                  <a:pt x="103" y="180"/>
                  <a:pt x="103" y="180"/>
                </a:cubicBezTo>
                <a:cubicBezTo>
                  <a:pt x="106" y="180"/>
                  <a:pt x="107" y="180"/>
                  <a:pt x="116" y="156"/>
                </a:cubicBezTo>
                <a:cubicBezTo>
                  <a:pt x="124" y="152"/>
                  <a:pt x="124" y="152"/>
                  <a:pt x="124" y="152"/>
                </a:cubicBezTo>
                <a:cubicBezTo>
                  <a:pt x="138" y="158"/>
                  <a:pt x="146" y="161"/>
                  <a:pt x="148" y="161"/>
                </a:cubicBezTo>
                <a:cubicBezTo>
                  <a:pt x="150" y="161"/>
                  <a:pt x="150" y="161"/>
                  <a:pt x="150" y="161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167" y="145"/>
                  <a:pt x="168" y="144"/>
                  <a:pt x="156" y="120"/>
                </a:cubicBezTo>
                <a:cubicBezTo>
                  <a:pt x="159" y="113"/>
                  <a:pt x="159" y="113"/>
                  <a:pt x="159" y="113"/>
                </a:cubicBezTo>
                <a:cubicBezTo>
                  <a:pt x="185" y="103"/>
                  <a:pt x="185" y="102"/>
                  <a:pt x="185" y="99"/>
                </a:cubicBezTo>
                <a:cubicBezTo>
                  <a:pt x="185" y="80"/>
                  <a:pt x="185" y="80"/>
                  <a:pt x="185" y="80"/>
                </a:cubicBezTo>
                <a:cubicBezTo>
                  <a:pt x="185" y="77"/>
                  <a:pt x="185" y="76"/>
                  <a:pt x="159" y="67"/>
                </a:cubicBezTo>
                <a:close/>
                <a:moveTo>
                  <a:pt x="93" y="121"/>
                </a:moveTo>
                <a:cubicBezTo>
                  <a:pt x="75" y="121"/>
                  <a:pt x="60" y="107"/>
                  <a:pt x="60" y="90"/>
                </a:cubicBezTo>
                <a:cubicBezTo>
                  <a:pt x="60" y="72"/>
                  <a:pt x="75" y="58"/>
                  <a:pt x="93" y="58"/>
                </a:cubicBezTo>
                <a:cubicBezTo>
                  <a:pt x="110" y="58"/>
                  <a:pt x="125" y="72"/>
                  <a:pt x="125" y="90"/>
                </a:cubicBezTo>
                <a:cubicBezTo>
                  <a:pt x="125" y="107"/>
                  <a:pt x="110" y="121"/>
                  <a:pt x="93" y="121"/>
                </a:cubicBezTo>
                <a:close/>
                <a:moveTo>
                  <a:pt x="93" y="121"/>
                </a:moveTo>
                <a:cubicBezTo>
                  <a:pt x="93" y="121"/>
                  <a:pt x="93" y="121"/>
                  <a:pt x="93" y="121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6" name="Freeform 15"/>
          <p:cNvSpPr>
            <a:spLocks noEditPoints="1"/>
          </p:cNvSpPr>
          <p:nvPr/>
        </p:nvSpPr>
        <p:spPr bwMode="auto">
          <a:xfrm>
            <a:off x="10578123" y="4950811"/>
            <a:ext cx="990390" cy="973650"/>
          </a:xfrm>
          <a:custGeom>
            <a:avLst/>
            <a:gdLst>
              <a:gd name="T0" fmla="*/ 153 w 177"/>
              <a:gd name="T1" fmla="*/ 65 h 174"/>
              <a:gd name="T2" fmla="*/ 150 w 177"/>
              <a:gd name="T3" fmla="*/ 57 h 174"/>
              <a:gd name="T4" fmla="*/ 158 w 177"/>
              <a:gd name="T5" fmla="*/ 31 h 174"/>
              <a:gd name="T6" fmla="*/ 145 w 177"/>
              <a:gd name="T7" fmla="*/ 18 h 174"/>
              <a:gd name="T8" fmla="*/ 143 w 177"/>
              <a:gd name="T9" fmla="*/ 17 h 174"/>
              <a:gd name="T10" fmla="*/ 142 w 177"/>
              <a:gd name="T11" fmla="*/ 17 h 174"/>
              <a:gd name="T12" fmla="*/ 118 w 177"/>
              <a:gd name="T13" fmla="*/ 26 h 174"/>
              <a:gd name="T14" fmla="*/ 111 w 177"/>
              <a:gd name="T15" fmla="*/ 24 h 174"/>
              <a:gd name="T16" fmla="*/ 98 w 177"/>
              <a:gd name="T17" fmla="*/ 0 h 174"/>
              <a:gd name="T18" fmla="*/ 79 w 177"/>
              <a:gd name="T19" fmla="*/ 0 h 174"/>
              <a:gd name="T20" fmla="*/ 66 w 177"/>
              <a:gd name="T21" fmla="*/ 24 h 174"/>
              <a:gd name="T22" fmla="*/ 59 w 177"/>
              <a:gd name="T23" fmla="*/ 27 h 174"/>
              <a:gd name="T24" fmla="*/ 35 w 177"/>
              <a:gd name="T25" fmla="*/ 18 h 174"/>
              <a:gd name="T26" fmla="*/ 34 w 177"/>
              <a:gd name="T27" fmla="*/ 18 h 174"/>
              <a:gd name="T28" fmla="*/ 19 w 177"/>
              <a:gd name="T29" fmla="*/ 32 h 174"/>
              <a:gd name="T30" fmla="*/ 27 w 177"/>
              <a:gd name="T31" fmla="*/ 58 h 174"/>
              <a:gd name="T32" fmla="*/ 24 w 177"/>
              <a:gd name="T33" fmla="*/ 65 h 174"/>
              <a:gd name="T34" fmla="*/ 0 w 177"/>
              <a:gd name="T35" fmla="*/ 78 h 174"/>
              <a:gd name="T36" fmla="*/ 0 w 177"/>
              <a:gd name="T37" fmla="*/ 96 h 174"/>
              <a:gd name="T38" fmla="*/ 24 w 177"/>
              <a:gd name="T39" fmla="*/ 109 h 174"/>
              <a:gd name="T40" fmla="*/ 27 w 177"/>
              <a:gd name="T41" fmla="*/ 116 h 174"/>
              <a:gd name="T42" fmla="*/ 20 w 177"/>
              <a:gd name="T43" fmla="*/ 142 h 174"/>
              <a:gd name="T44" fmla="*/ 33 w 177"/>
              <a:gd name="T45" fmla="*/ 155 h 174"/>
              <a:gd name="T46" fmla="*/ 34 w 177"/>
              <a:gd name="T47" fmla="*/ 156 h 174"/>
              <a:gd name="T48" fmla="*/ 36 w 177"/>
              <a:gd name="T49" fmla="*/ 156 h 174"/>
              <a:gd name="T50" fmla="*/ 59 w 177"/>
              <a:gd name="T51" fmla="*/ 147 h 174"/>
              <a:gd name="T52" fmla="*/ 66 w 177"/>
              <a:gd name="T53" fmla="*/ 150 h 174"/>
              <a:gd name="T54" fmla="*/ 80 w 177"/>
              <a:gd name="T55" fmla="*/ 174 h 174"/>
              <a:gd name="T56" fmla="*/ 98 w 177"/>
              <a:gd name="T57" fmla="*/ 174 h 174"/>
              <a:gd name="T58" fmla="*/ 111 w 177"/>
              <a:gd name="T59" fmla="*/ 150 h 174"/>
              <a:gd name="T60" fmla="*/ 119 w 177"/>
              <a:gd name="T61" fmla="*/ 147 h 174"/>
              <a:gd name="T62" fmla="*/ 142 w 177"/>
              <a:gd name="T63" fmla="*/ 155 h 174"/>
              <a:gd name="T64" fmla="*/ 144 w 177"/>
              <a:gd name="T65" fmla="*/ 155 h 174"/>
              <a:gd name="T66" fmla="*/ 158 w 177"/>
              <a:gd name="T67" fmla="*/ 141 h 174"/>
              <a:gd name="T68" fmla="*/ 150 w 177"/>
              <a:gd name="T69" fmla="*/ 116 h 174"/>
              <a:gd name="T70" fmla="*/ 153 w 177"/>
              <a:gd name="T71" fmla="*/ 109 h 174"/>
              <a:gd name="T72" fmla="*/ 177 w 177"/>
              <a:gd name="T73" fmla="*/ 95 h 174"/>
              <a:gd name="T74" fmla="*/ 177 w 177"/>
              <a:gd name="T75" fmla="*/ 77 h 174"/>
              <a:gd name="T76" fmla="*/ 153 w 177"/>
              <a:gd name="T77" fmla="*/ 65 h 174"/>
              <a:gd name="T78" fmla="*/ 89 w 177"/>
              <a:gd name="T79" fmla="*/ 117 h 174"/>
              <a:gd name="T80" fmla="*/ 58 w 177"/>
              <a:gd name="T81" fmla="*/ 87 h 174"/>
              <a:gd name="T82" fmla="*/ 89 w 177"/>
              <a:gd name="T83" fmla="*/ 56 h 174"/>
              <a:gd name="T84" fmla="*/ 120 w 177"/>
              <a:gd name="T85" fmla="*/ 87 h 174"/>
              <a:gd name="T86" fmla="*/ 89 w 177"/>
              <a:gd name="T87" fmla="*/ 117 h 174"/>
              <a:gd name="T88" fmla="*/ 89 w 177"/>
              <a:gd name="T89" fmla="*/ 117 h 174"/>
              <a:gd name="T90" fmla="*/ 89 w 177"/>
              <a:gd name="T91" fmla="*/ 117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7" h="174">
                <a:moveTo>
                  <a:pt x="153" y="65"/>
                </a:moveTo>
                <a:cubicBezTo>
                  <a:pt x="150" y="57"/>
                  <a:pt x="150" y="57"/>
                  <a:pt x="150" y="57"/>
                </a:cubicBezTo>
                <a:cubicBezTo>
                  <a:pt x="160" y="34"/>
                  <a:pt x="160" y="33"/>
                  <a:pt x="158" y="3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43" y="17"/>
                  <a:pt x="143" y="17"/>
                  <a:pt x="143" y="17"/>
                </a:cubicBezTo>
                <a:cubicBezTo>
                  <a:pt x="142" y="17"/>
                  <a:pt x="142" y="17"/>
                  <a:pt x="142" y="17"/>
                </a:cubicBezTo>
                <a:cubicBezTo>
                  <a:pt x="141" y="17"/>
                  <a:pt x="138" y="17"/>
                  <a:pt x="118" y="26"/>
                </a:cubicBezTo>
                <a:cubicBezTo>
                  <a:pt x="111" y="24"/>
                  <a:pt x="111" y="24"/>
                  <a:pt x="111" y="24"/>
                </a:cubicBezTo>
                <a:cubicBezTo>
                  <a:pt x="101" y="0"/>
                  <a:pt x="100" y="0"/>
                  <a:pt x="98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76" y="0"/>
                  <a:pt x="75" y="0"/>
                  <a:pt x="66" y="24"/>
                </a:cubicBezTo>
                <a:cubicBezTo>
                  <a:pt x="59" y="27"/>
                  <a:pt x="59" y="27"/>
                  <a:pt x="59" y="27"/>
                </a:cubicBezTo>
                <a:cubicBezTo>
                  <a:pt x="45" y="21"/>
                  <a:pt x="37" y="18"/>
                  <a:pt x="35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19" y="32"/>
                  <a:pt x="19" y="32"/>
                  <a:pt x="19" y="32"/>
                </a:cubicBezTo>
                <a:cubicBezTo>
                  <a:pt x="17" y="34"/>
                  <a:pt x="16" y="35"/>
                  <a:pt x="27" y="58"/>
                </a:cubicBezTo>
                <a:cubicBezTo>
                  <a:pt x="24" y="65"/>
                  <a:pt x="24" y="65"/>
                  <a:pt x="24" y="65"/>
                </a:cubicBezTo>
                <a:cubicBezTo>
                  <a:pt x="0" y="74"/>
                  <a:pt x="0" y="75"/>
                  <a:pt x="0" y="78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9"/>
                  <a:pt x="0" y="100"/>
                  <a:pt x="24" y="109"/>
                </a:cubicBezTo>
                <a:cubicBezTo>
                  <a:pt x="27" y="116"/>
                  <a:pt x="27" y="116"/>
                  <a:pt x="27" y="116"/>
                </a:cubicBezTo>
                <a:cubicBezTo>
                  <a:pt x="17" y="139"/>
                  <a:pt x="18" y="140"/>
                  <a:pt x="20" y="142"/>
                </a:cubicBezTo>
                <a:cubicBezTo>
                  <a:pt x="33" y="155"/>
                  <a:pt x="33" y="155"/>
                  <a:pt x="33" y="155"/>
                </a:cubicBezTo>
                <a:cubicBezTo>
                  <a:pt x="34" y="156"/>
                  <a:pt x="34" y="156"/>
                  <a:pt x="34" y="156"/>
                </a:cubicBezTo>
                <a:cubicBezTo>
                  <a:pt x="36" y="156"/>
                  <a:pt x="36" y="156"/>
                  <a:pt x="36" y="156"/>
                </a:cubicBezTo>
                <a:cubicBezTo>
                  <a:pt x="37" y="156"/>
                  <a:pt x="39" y="156"/>
                  <a:pt x="59" y="147"/>
                </a:cubicBezTo>
                <a:cubicBezTo>
                  <a:pt x="66" y="150"/>
                  <a:pt x="66" y="150"/>
                  <a:pt x="66" y="150"/>
                </a:cubicBezTo>
                <a:cubicBezTo>
                  <a:pt x="76" y="174"/>
                  <a:pt x="77" y="174"/>
                  <a:pt x="80" y="174"/>
                </a:cubicBezTo>
                <a:cubicBezTo>
                  <a:pt x="98" y="174"/>
                  <a:pt x="98" y="174"/>
                  <a:pt x="98" y="174"/>
                </a:cubicBezTo>
                <a:cubicBezTo>
                  <a:pt x="101" y="174"/>
                  <a:pt x="102" y="174"/>
                  <a:pt x="111" y="150"/>
                </a:cubicBezTo>
                <a:cubicBezTo>
                  <a:pt x="119" y="147"/>
                  <a:pt x="119" y="147"/>
                  <a:pt x="119" y="147"/>
                </a:cubicBezTo>
                <a:cubicBezTo>
                  <a:pt x="132" y="153"/>
                  <a:pt x="140" y="155"/>
                  <a:pt x="142" y="155"/>
                </a:cubicBezTo>
                <a:cubicBezTo>
                  <a:pt x="144" y="155"/>
                  <a:pt x="144" y="155"/>
                  <a:pt x="144" y="155"/>
                </a:cubicBezTo>
                <a:cubicBezTo>
                  <a:pt x="158" y="141"/>
                  <a:pt x="158" y="141"/>
                  <a:pt x="158" y="141"/>
                </a:cubicBezTo>
                <a:cubicBezTo>
                  <a:pt x="160" y="139"/>
                  <a:pt x="161" y="139"/>
                  <a:pt x="150" y="116"/>
                </a:cubicBezTo>
                <a:cubicBezTo>
                  <a:pt x="153" y="109"/>
                  <a:pt x="153" y="109"/>
                  <a:pt x="153" y="109"/>
                </a:cubicBezTo>
                <a:cubicBezTo>
                  <a:pt x="177" y="99"/>
                  <a:pt x="177" y="98"/>
                  <a:pt x="177" y="95"/>
                </a:cubicBezTo>
                <a:cubicBezTo>
                  <a:pt x="177" y="77"/>
                  <a:pt x="177" y="77"/>
                  <a:pt x="177" y="77"/>
                </a:cubicBezTo>
                <a:cubicBezTo>
                  <a:pt x="177" y="74"/>
                  <a:pt x="177" y="73"/>
                  <a:pt x="153" y="65"/>
                </a:cubicBezTo>
                <a:close/>
                <a:moveTo>
                  <a:pt x="89" y="117"/>
                </a:moveTo>
                <a:cubicBezTo>
                  <a:pt x="72" y="117"/>
                  <a:pt x="58" y="103"/>
                  <a:pt x="58" y="87"/>
                </a:cubicBezTo>
                <a:cubicBezTo>
                  <a:pt x="58" y="70"/>
                  <a:pt x="72" y="56"/>
                  <a:pt x="89" y="56"/>
                </a:cubicBezTo>
                <a:cubicBezTo>
                  <a:pt x="106" y="56"/>
                  <a:pt x="120" y="70"/>
                  <a:pt x="120" y="87"/>
                </a:cubicBezTo>
                <a:cubicBezTo>
                  <a:pt x="120" y="103"/>
                  <a:pt x="106" y="117"/>
                  <a:pt x="89" y="117"/>
                </a:cubicBezTo>
                <a:close/>
                <a:moveTo>
                  <a:pt x="89" y="117"/>
                </a:moveTo>
                <a:cubicBezTo>
                  <a:pt x="89" y="117"/>
                  <a:pt x="89" y="117"/>
                  <a:pt x="89" y="11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7" name="Freeform 16"/>
          <p:cNvSpPr>
            <a:spLocks noEditPoints="1"/>
          </p:cNvSpPr>
          <p:nvPr/>
        </p:nvSpPr>
        <p:spPr bwMode="auto">
          <a:xfrm>
            <a:off x="12226911" y="8962582"/>
            <a:ext cx="1380966" cy="1355856"/>
          </a:xfrm>
          <a:custGeom>
            <a:avLst/>
            <a:gdLst>
              <a:gd name="T0" fmla="*/ 213 w 247"/>
              <a:gd name="T1" fmla="*/ 90 h 242"/>
              <a:gd name="T2" fmla="*/ 209 w 247"/>
              <a:gd name="T3" fmla="*/ 80 h 242"/>
              <a:gd name="T4" fmla="*/ 219 w 247"/>
              <a:gd name="T5" fmla="*/ 44 h 242"/>
              <a:gd name="T6" fmla="*/ 201 w 247"/>
              <a:gd name="T7" fmla="*/ 26 h 242"/>
              <a:gd name="T8" fmla="*/ 199 w 247"/>
              <a:gd name="T9" fmla="*/ 24 h 242"/>
              <a:gd name="T10" fmla="*/ 197 w 247"/>
              <a:gd name="T11" fmla="*/ 24 h 242"/>
              <a:gd name="T12" fmla="*/ 165 w 247"/>
              <a:gd name="T13" fmla="*/ 37 h 242"/>
              <a:gd name="T14" fmla="*/ 154 w 247"/>
              <a:gd name="T15" fmla="*/ 33 h 242"/>
              <a:gd name="T16" fmla="*/ 136 w 247"/>
              <a:gd name="T17" fmla="*/ 0 h 242"/>
              <a:gd name="T18" fmla="*/ 110 w 247"/>
              <a:gd name="T19" fmla="*/ 0 h 242"/>
              <a:gd name="T20" fmla="*/ 92 w 247"/>
              <a:gd name="T21" fmla="*/ 33 h 242"/>
              <a:gd name="T22" fmla="*/ 82 w 247"/>
              <a:gd name="T23" fmla="*/ 37 h 242"/>
              <a:gd name="T24" fmla="*/ 49 w 247"/>
              <a:gd name="T25" fmla="*/ 25 h 242"/>
              <a:gd name="T26" fmla="*/ 46 w 247"/>
              <a:gd name="T27" fmla="*/ 25 h 242"/>
              <a:gd name="T28" fmla="*/ 26 w 247"/>
              <a:gd name="T29" fmla="*/ 45 h 242"/>
              <a:gd name="T30" fmla="*/ 37 w 247"/>
              <a:gd name="T31" fmla="*/ 80 h 242"/>
              <a:gd name="T32" fmla="*/ 33 w 247"/>
              <a:gd name="T33" fmla="*/ 90 h 242"/>
              <a:gd name="T34" fmla="*/ 0 w 247"/>
              <a:gd name="T35" fmla="*/ 109 h 242"/>
              <a:gd name="T36" fmla="*/ 0 w 247"/>
              <a:gd name="T37" fmla="*/ 134 h 242"/>
              <a:gd name="T38" fmla="*/ 33 w 247"/>
              <a:gd name="T39" fmla="*/ 152 h 242"/>
              <a:gd name="T40" fmla="*/ 38 w 247"/>
              <a:gd name="T41" fmla="*/ 162 h 242"/>
              <a:gd name="T42" fmla="*/ 27 w 247"/>
              <a:gd name="T43" fmla="*/ 198 h 242"/>
              <a:gd name="T44" fmla="*/ 45 w 247"/>
              <a:gd name="T45" fmla="*/ 216 h 242"/>
              <a:gd name="T46" fmla="*/ 47 w 247"/>
              <a:gd name="T47" fmla="*/ 218 h 242"/>
              <a:gd name="T48" fmla="*/ 49 w 247"/>
              <a:gd name="T49" fmla="*/ 218 h 242"/>
              <a:gd name="T50" fmla="*/ 82 w 247"/>
              <a:gd name="T51" fmla="*/ 205 h 242"/>
              <a:gd name="T52" fmla="*/ 92 w 247"/>
              <a:gd name="T53" fmla="*/ 209 h 242"/>
              <a:gd name="T54" fmla="*/ 111 w 247"/>
              <a:gd name="T55" fmla="*/ 242 h 242"/>
              <a:gd name="T56" fmla="*/ 137 w 247"/>
              <a:gd name="T57" fmla="*/ 242 h 242"/>
              <a:gd name="T58" fmla="*/ 155 w 247"/>
              <a:gd name="T59" fmla="*/ 209 h 242"/>
              <a:gd name="T60" fmla="*/ 165 w 247"/>
              <a:gd name="T61" fmla="*/ 205 h 242"/>
              <a:gd name="T62" fmla="*/ 198 w 247"/>
              <a:gd name="T63" fmla="*/ 217 h 242"/>
              <a:gd name="T64" fmla="*/ 200 w 247"/>
              <a:gd name="T65" fmla="*/ 217 h 242"/>
              <a:gd name="T66" fmla="*/ 220 w 247"/>
              <a:gd name="T67" fmla="*/ 197 h 242"/>
              <a:gd name="T68" fmla="*/ 209 w 247"/>
              <a:gd name="T69" fmla="*/ 161 h 242"/>
              <a:gd name="T70" fmla="*/ 213 w 247"/>
              <a:gd name="T71" fmla="*/ 151 h 242"/>
              <a:gd name="T72" fmla="*/ 247 w 247"/>
              <a:gd name="T73" fmla="*/ 133 h 242"/>
              <a:gd name="T74" fmla="*/ 247 w 247"/>
              <a:gd name="T75" fmla="*/ 108 h 242"/>
              <a:gd name="T76" fmla="*/ 213 w 247"/>
              <a:gd name="T77" fmla="*/ 90 h 242"/>
              <a:gd name="T78" fmla="*/ 123 w 247"/>
              <a:gd name="T79" fmla="*/ 163 h 242"/>
              <a:gd name="T80" fmla="*/ 80 w 247"/>
              <a:gd name="T81" fmla="*/ 121 h 242"/>
              <a:gd name="T82" fmla="*/ 123 w 247"/>
              <a:gd name="T83" fmla="*/ 79 h 242"/>
              <a:gd name="T84" fmla="*/ 166 w 247"/>
              <a:gd name="T85" fmla="*/ 121 h 242"/>
              <a:gd name="T86" fmla="*/ 123 w 247"/>
              <a:gd name="T87" fmla="*/ 163 h 242"/>
              <a:gd name="T88" fmla="*/ 123 w 247"/>
              <a:gd name="T89" fmla="*/ 163 h 242"/>
              <a:gd name="T90" fmla="*/ 123 w 247"/>
              <a:gd name="T91" fmla="*/ 163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47" h="242">
                <a:moveTo>
                  <a:pt x="213" y="90"/>
                </a:moveTo>
                <a:cubicBezTo>
                  <a:pt x="209" y="80"/>
                  <a:pt x="209" y="80"/>
                  <a:pt x="209" y="80"/>
                </a:cubicBezTo>
                <a:cubicBezTo>
                  <a:pt x="223" y="48"/>
                  <a:pt x="222" y="47"/>
                  <a:pt x="219" y="44"/>
                </a:cubicBezTo>
                <a:cubicBezTo>
                  <a:pt x="201" y="26"/>
                  <a:pt x="201" y="26"/>
                  <a:pt x="201" y="26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97" y="24"/>
                  <a:pt x="197" y="24"/>
                  <a:pt x="197" y="24"/>
                </a:cubicBezTo>
                <a:cubicBezTo>
                  <a:pt x="196" y="24"/>
                  <a:pt x="193" y="24"/>
                  <a:pt x="165" y="37"/>
                </a:cubicBezTo>
                <a:cubicBezTo>
                  <a:pt x="154" y="33"/>
                  <a:pt x="154" y="33"/>
                  <a:pt x="154" y="33"/>
                </a:cubicBezTo>
                <a:cubicBezTo>
                  <a:pt x="141" y="0"/>
                  <a:pt x="140" y="0"/>
                  <a:pt x="136" y="0"/>
                </a:cubicBezTo>
                <a:cubicBezTo>
                  <a:pt x="110" y="0"/>
                  <a:pt x="110" y="0"/>
                  <a:pt x="110" y="0"/>
                </a:cubicBezTo>
                <a:cubicBezTo>
                  <a:pt x="106" y="0"/>
                  <a:pt x="104" y="0"/>
                  <a:pt x="92" y="33"/>
                </a:cubicBezTo>
                <a:cubicBezTo>
                  <a:pt x="82" y="37"/>
                  <a:pt x="82" y="37"/>
                  <a:pt x="82" y="37"/>
                </a:cubicBezTo>
                <a:cubicBezTo>
                  <a:pt x="63" y="29"/>
                  <a:pt x="52" y="25"/>
                  <a:pt x="49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26" y="45"/>
                  <a:pt x="26" y="45"/>
                  <a:pt x="26" y="45"/>
                </a:cubicBezTo>
                <a:cubicBezTo>
                  <a:pt x="23" y="47"/>
                  <a:pt x="22" y="48"/>
                  <a:pt x="37" y="80"/>
                </a:cubicBezTo>
                <a:cubicBezTo>
                  <a:pt x="33" y="90"/>
                  <a:pt x="33" y="90"/>
                  <a:pt x="33" y="90"/>
                </a:cubicBezTo>
                <a:cubicBezTo>
                  <a:pt x="0" y="103"/>
                  <a:pt x="0" y="105"/>
                  <a:pt x="0" y="109"/>
                </a:cubicBezTo>
                <a:cubicBezTo>
                  <a:pt x="0" y="134"/>
                  <a:pt x="0" y="134"/>
                  <a:pt x="0" y="134"/>
                </a:cubicBezTo>
                <a:cubicBezTo>
                  <a:pt x="0" y="138"/>
                  <a:pt x="0" y="140"/>
                  <a:pt x="33" y="152"/>
                </a:cubicBezTo>
                <a:cubicBezTo>
                  <a:pt x="38" y="162"/>
                  <a:pt x="38" y="162"/>
                  <a:pt x="38" y="162"/>
                </a:cubicBezTo>
                <a:cubicBezTo>
                  <a:pt x="23" y="194"/>
                  <a:pt x="24" y="195"/>
                  <a:pt x="27" y="198"/>
                </a:cubicBezTo>
                <a:cubicBezTo>
                  <a:pt x="45" y="216"/>
                  <a:pt x="45" y="216"/>
                  <a:pt x="45" y="216"/>
                </a:cubicBezTo>
                <a:cubicBezTo>
                  <a:pt x="47" y="218"/>
                  <a:pt x="47" y="218"/>
                  <a:pt x="47" y="218"/>
                </a:cubicBezTo>
                <a:cubicBezTo>
                  <a:pt x="49" y="218"/>
                  <a:pt x="49" y="218"/>
                  <a:pt x="49" y="218"/>
                </a:cubicBezTo>
                <a:cubicBezTo>
                  <a:pt x="50" y="218"/>
                  <a:pt x="54" y="218"/>
                  <a:pt x="82" y="205"/>
                </a:cubicBezTo>
                <a:cubicBezTo>
                  <a:pt x="92" y="209"/>
                  <a:pt x="92" y="209"/>
                  <a:pt x="92" y="209"/>
                </a:cubicBezTo>
                <a:cubicBezTo>
                  <a:pt x="105" y="242"/>
                  <a:pt x="107" y="242"/>
                  <a:pt x="111" y="242"/>
                </a:cubicBezTo>
                <a:cubicBezTo>
                  <a:pt x="137" y="242"/>
                  <a:pt x="137" y="242"/>
                  <a:pt x="137" y="242"/>
                </a:cubicBezTo>
                <a:cubicBezTo>
                  <a:pt x="141" y="242"/>
                  <a:pt x="142" y="242"/>
                  <a:pt x="155" y="209"/>
                </a:cubicBezTo>
                <a:cubicBezTo>
                  <a:pt x="165" y="205"/>
                  <a:pt x="165" y="205"/>
                  <a:pt x="165" y="205"/>
                </a:cubicBezTo>
                <a:cubicBezTo>
                  <a:pt x="184" y="213"/>
                  <a:pt x="195" y="217"/>
                  <a:pt x="198" y="217"/>
                </a:cubicBezTo>
                <a:cubicBezTo>
                  <a:pt x="200" y="217"/>
                  <a:pt x="200" y="217"/>
                  <a:pt x="200" y="217"/>
                </a:cubicBezTo>
                <a:cubicBezTo>
                  <a:pt x="220" y="197"/>
                  <a:pt x="220" y="197"/>
                  <a:pt x="220" y="197"/>
                </a:cubicBezTo>
                <a:cubicBezTo>
                  <a:pt x="223" y="194"/>
                  <a:pt x="224" y="193"/>
                  <a:pt x="209" y="161"/>
                </a:cubicBezTo>
                <a:cubicBezTo>
                  <a:pt x="213" y="151"/>
                  <a:pt x="213" y="151"/>
                  <a:pt x="213" y="151"/>
                </a:cubicBezTo>
                <a:cubicBezTo>
                  <a:pt x="247" y="138"/>
                  <a:pt x="247" y="137"/>
                  <a:pt x="247" y="133"/>
                </a:cubicBezTo>
                <a:cubicBezTo>
                  <a:pt x="247" y="108"/>
                  <a:pt x="247" y="108"/>
                  <a:pt x="247" y="108"/>
                </a:cubicBezTo>
                <a:cubicBezTo>
                  <a:pt x="247" y="104"/>
                  <a:pt x="247" y="102"/>
                  <a:pt x="213" y="90"/>
                </a:cubicBezTo>
                <a:close/>
                <a:moveTo>
                  <a:pt x="123" y="163"/>
                </a:moveTo>
                <a:cubicBezTo>
                  <a:pt x="99" y="163"/>
                  <a:pt x="80" y="144"/>
                  <a:pt x="80" y="121"/>
                </a:cubicBezTo>
                <a:cubicBezTo>
                  <a:pt x="80" y="98"/>
                  <a:pt x="99" y="79"/>
                  <a:pt x="123" y="79"/>
                </a:cubicBezTo>
                <a:cubicBezTo>
                  <a:pt x="147" y="79"/>
                  <a:pt x="166" y="98"/>
                  <a:pt x="166" y="121"/>
                </a:cubicBezTo>
                <a:cubicBezTo>
                  <a:pt x="166" y="144"/>
                  <a:pt x="147" y="163"/>
                  <a:pt x="123" y="163"/>
                </a:cubicBezTo>
                <a:close/>
                <a:moveTo>
                  <a:pt x="123" y="163"/>
                </a:moveTo>
                <a:cubicBezTo>
                  <a:pt x="123" y="163"/>
                  <a:pt x="123" y="163"/>
                  <a:pt x="123" y="16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8" name="Freeform 17"/>
          <p:cNvSpPr>
            <a:spLocks noEditPoints="1"/>
          </p:cNvSpPr>
          <p:nvPr/>
        </p:nvSpPr>
        <p:spPr bwMode="auto">
          <a:xfrm>
            <a:off x="11328587" y="9685149"/>
            <a:ext cx="669558" cy="661190"/>
          </a:xfrm>
          <a:custGeom>
            <a:avLst/>
            <a:gdLst>
              <a:gd name="T0" fmla="*/ 104 w 120"/>
              <a:gd name="T1" fmla="*/ 44 h 118"/>
              <a:gd name="T2" fmla="*/ 102 w 120"/>
              <a:gd name="T3" fmla="*/ 39 h 118"/>
              <a:gd name="T4" fmla="*/ 107 w 120"/>
              <a:gd name="T5" fmla="*/ 22 h 118"/>
              <a:gd name="T6" fmla="*/ 98 w 120"/>
              <a:gd name="T7" fmla="*/ 13 h 118"/>
              <a:gd name="T8" fmla="*/ 97 w 120"/>
              <a:gd name="T9" fmla="*/ 12 h 118"/>
              <a:gd name="T10" fmla="*/ 96 w 120"/>
              <a:gd name="T11" fmla="*/ 12 h 118"/>
              <a:gd name="T12" fmla="*/ 80 w 120"/>
              <a:gd name="T13" fmla="*/ 18 h 118"/>
              <a:gd name="T14" fmla="*/ 75 w 120"/>
              <a:gd name="T15" fmla="*/ 16 h 118"/>
              <a:gd name="T16" fmla="*/ 66 w 120"/>
              <a:gd name="T17" fmla="*/ 0 h 118"/>
              <a:gd name="T18" fmla="*/ 54 w 120"/>
              <a:gd name="T19" fmla="*/ 0 h 118"/>
              <a:gd name="T20" fmla="*/ 45 w 120"/>
              <a:gd name="T21" fmla="*/ 16 h 118"/>
              <a:gd name="T22" fmla="*/ 40 w 120"/>
              <a:gd name="T23" fmla="*/ 18 h 118"/>
              <a:gd name="T24" fmla="*/ 24 w 120"/>
              <a:gd name="T25" fmla="*/ 12 h 118"/>
              <a:gd name="T26" fmla="*/ 23 w 120"/>
              <a:gd name="T27" fmla="*/ 13 h 118"/>
              <a:gd name="T28" fmla="*/ 13 w 120"/>
              <a:gd name="T29" fmla="*/ 22 h 118"/>
              <a:gd name="T30" fmla="*/ 19 w 120"/>
              <a:gd name="T31" fmla="*/ 39 h 118"/>
              <a:gd name="T32" fmla="*/ 17 w 120"/>
              <a:gd name="T33" fmla="*/ 44 h 118"/>
              <a:gd name="T34" fmla="*/ 0 w 120"/>
              <a:gd name="T35" fmla="*/ 53 h 118"/>
              <a:gd name="T36" fmla="*/ 0 w 120"/>
              <a:gd name="T37" fmla="*/ 65 h 118"/>
              <a:gd name="T38" fmla="*/ 17 w 120"/>
              <a:gd name="T39" fmla="*/ 74 h 118"/>
              <a:gd name="T40" fmla="*/ 19 w 120"/>
              <a:gd name="T41" fmla="*/ 79 h 118"/>
              <a:gd name="T42" fmla="*/ 14 w 120"/>
              <a:gd name="T43" fmla="*/ 96 h 118"/>
              <a:gd name="T44" fmla="*/ 23 w 120"/>
              <a:gd name="T45" fmla="*/ 105 h 118"/>
              <a:gd name="T46" fmla="*/ 24 w 120"/>
              <a:gd name="T47" fmla="*/ 106 h 118"/>
              <a:gd name="T48" fmla="*/ 25 w 120"/>
              <a:gd name="T49" fmla="*/ 106 h 118"/>
              <a:gd name="T50" fmla="*/ 40 w 120"/>
              <a:gd name="T51" fmla="*/ 100 h 118"/>
              <a:gd name="T52" fmla="*/ 45 w 120"/>
              <a:gd name="T53" fmla="*/ 102 h 118"/>
              <a:gd name="T54" fmla="*/ 54 w 120"/>
              <a:gd name="T55" fmla="*/ 118 h 118"/>
              <a:gd name="T56" fmla="*/ 67 w 120"/>
              <a:gd name="T57" fmla="*/ 118 h 118"/>
              <a:gd name="T58" fmla="*/ 76 w 120"/>
              <a:gd name="T59" fmla="*/ 102 h 118"/>
              <a:gd name="T60" fmla="*/ 81 w 120"/>
              <a:gd name="T61" fmla="*/ 100 h 118"/>
              <a:gd name="T62" fmla="*/ 97 w 120"/>
              <a:gd name="T63" fmla="*/ 106 h 118"/>
              <a:gd name="T64" fmla="*/ 98 w 120"/>
              <a:gd name="T65" fmla="*/ 106 h 118"/>
              <a:gd name="T66" fmla="*/ 107 w 120"/>
              <a:gd name="T67" fmla="*/ 96 h 118"/>
              <a:gd name="T68" fmla="*/ 102 w 120"/>
              <a:gd name="T69" fmla="*/ 79 h 118"/>
              <a:gd name="T70" fmla="*/ 104 w 120"/>
              <a:gd name="T71" fmla="*/ 74 h 118"/>
              <a:gd name="T72" fmla="*/ 120 w 120"/>
              <a:gd name="T73" fmla="*/ 65 h 118"/>
              <a:gd name="T74" fmla="*/ 120 w 120"/>
              <a:gd name="T75" fmla="*/ 53 h 118"/>
              <a:gd name="T76" fmla="*/ 104 w 120"/>
              <a:gd name="T77" fmla="*/ 44 h 118"/>
              <a:gd name="T78" fmla="*/ 60 w 120"/>
              <a:gd name="T79" fmla="*/ 80 h 118"/>
              <a:gd name="T80" fmla="*/ 39 w 120"/>
              <a:gd name="T81" fmla="*/ 59 h 118"/>
              <a:gd name="T82" fmla="*/ 60 w 120"/>
              <a:gd name="T83" fmla="*/ 38 h 118"/>
              <a:gd name="T84" fmla="*/ 81 w 120"/>
              <a:gd name="T85" fmla="*/ 59 h 118"/>
              <a:gd name="T86" fmla="*/ 60 w 120"/>
              <a:gd name="T87" fmla="*/ 80 h 118"/>
              <a:gd name="T88" fmla="*/ 60 w 120"/>
              <a:gd name="T89" fmla="*/ 80 h 118"/>
              <a:gd name="T90" fmla="*/ 60 w 120"/>
              <a:gd name="T91" fmla="*/ 8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0" h="118">
                <a:moveTo>
                  <a:pt x="104" y="44"/>
                </a:moveTo>
                <a:cubicBezTo>
                  <a:pt x="102" y="39"/>
                  <a:pt x="102" y="39"/>
                  <a:pt x="102" y="39"/>
                </a:cubicBezTo>
                <a:cubicBezTo>
                  <a:pt x="109" y="23"/>
                  <a:pt x="108" y="23"/>
                  <a:pt x="107" y="22"/>
                </a:cubicBezTo>
                <a:cubicBezTo>
                  <a:pt x="98" y="13"/>
                  <a:pt x="98" y="13"/>
                  <a:pt x="98" y="13"/>
                </a:cubicBezTo>
                <a:cubicBezTo>
                  <a:pt x="97" y="12"/>
                  <a:pt x="97" y="12"/>
                  <a:pt x="97" y="12"/>
                </a:cubicBezTo>
                <a:cubicBezTo>
                  <a:pt x="96" y="12"/>
                  <a:pt x="96" y="12"/>
                  <a:pt x="96" y="12"/>
                </a:cubicBezTo>
                <a:cubicBezTo>
                  <a:pt x="96" y="12"/>
                  <a:pt x="94" y="12"/>
                  <a:pt x="80" y="18"/>
                </a:cubicBezTo>
                <a:cubicBezTo>
                  <a:pt x="75" y="16"/>
                  <a:pt x="75" y="16"/>
                  <a:pt x="75" y="16"/>
                </a:cubicBezTo>
                <a:cubicBezTo>
                  <a:pt x="69" y="0"/>
                  <a:pt x="68" y="0"/>
                  <a:pt x="66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2" y="0"/>
                  <a:pt x="51" y="0"/>
                  <a:pt x="45" y="16"/>
                </a:cubicBezTo>
                <a:cubicBezTo>
                  <a:pt x="40" y="18"/>
                  <a:pt x="40" y="18"/>
                  <a:pt x="40" y="18"/>
                </a:cubicBezTo>
                <a:cubicBezTo>
                  <a:pt x="31" y="14"/>
                  <a:pt x="26" y="12"/>
                  <a:pt x="24" y="12"/>
                </a:cubicBezTo>
                <a:cubicBezTo>
                  <a:pt x="23" y="13"/>
                  <a:pt x="23" y="13"/>
                  <a:pt x="23" y="13"/>
                </a:cubicBezTo>
                <a:cubicBezTo>
                  <a:pt x="13" y="22"/>
                  <a:pt x="13" y="22"/>
                  <a:pt x="13" y="22"/>
                </a:cubicBezTo>
                <a:cubicBezTo>
                  <a:pt x="12" y="23"/>
                  <a:pt x="11" y="24"/>
                  <a:pt x="19" y="39"/>
                </a:cubicBezTo>
                <a:cubicBezTo>
                  <a:pt x="17" y="44"/>
                  <a:pt x="17" y="44"/>
                  <a:pt x="17" y="44"/>
                </a:cubicBezTo>
                <a:cubicBezTo>
                  <a:pt x="0" y="51"/>
                  <a:pt x="0" y="51"/>
                  <a:pt x="0" y="53"/>
                </a:cubicBezTo>
                <a:cubicBezTo>
                  <a:pt x="0" y="65"/>
                  <a:pt x="0" y="65"/>
                  <a:pt x="0" y="65"/>
                </a:cubicBezTo>
                <a:cubicBezTo>
                  <a:pt x="0" y="67"/>
                  <a:pt x="0" y="68"/>
                  <a:pt x="17" y="74"/>
                </a:cubicBezTo>
                <a:cubicBezTo>
                  <a:pt x="19" y="79"/>
                  <a:pt x="19" y="79"/>
                  <a:pt x="19" y="79"/>
                </a:cubicBezTo>
                <a:cubicBezTo>
                  <a:pt x="12" y="95"/>
                  <a:pt x="12" y="95"/>
                  <a:pt x="14" y="96"/>
                </a:cubicBezTo>
                <a:cubicBezTo>
                  <a:pt x="23" y="105"/>
                  <a:pt x="23" y="105"/>
                  <a:pt x="23" y="105"/>
                </a:cubicBezTo>
                <a:cubicBezTo>
                  <a:pt x="24" y="106"/>
                  <a:pt x="24" y="106"/>
                  <a:pt x="24" y="106"/>
                </a:cubicBezTo>
                <a:cubicBezTo>
                  <a:pt x="25" y="106"/>
                  <a:pt x="25" y="106"/>
                  <a:pt x="25" y="106"/>
                </a:cubicBezTo>
                <a:cubicBezTo>
                  <a:pt x="25" y="106"/>
                  <a:pt x="27" y="106"/>
                  <a:pt x="40" y="100"/>
                </a:cubicBezTo>
                <a:cubicBezTo>
                  <a:pt x="45" y="102"/>
                  <a:pt x="45" y="102"/>
                  <a:pt x="45" y="102"/>
                </a:cubicBezTo>
                <a:cubicBezTo>
                  <a:pt x="52" y="118"/>
                  <a:pt x="52" y="118"/>
                  <a:pt x="54" y="118"/>
                </a:cubicBezTo>
                <a:cubicBezTo>
                  <a:pt x="67" y="118"/>
                  <a:pt x="67" y="118"/>
                  <a:pt x="67" y="118"/>
                </a:cubicBezTo>
                <a:cubicBezTo>
                  <a:pt x="69" y="118"/>
                  <a:pt x="70" y="118"/>
                  <a:pt x="76" y="102"/>
                </a:cubicBezTo>
                <a:cubicBezTo>
                  <a:pt x="81" y="100"/>
                  <a:pt x="81" y="100"/>
                  <a:pt x="81" y="100"/>
                </a:cubicBezTo>
                <a:cubicBezTo>
                  <a:pt x="90" y="104"/>
                  <a:pt x="95" y="106"/>
                  <a:pt x="97" y="106"/>
                </a:cubicBezTo>
                <a:cubicBezTo>
                  <a:pt x="98" y="106"/>
                  <a:pt x="98" y="106"/>
                  <a:pt x="98" y="106"/>
                </a:cubicBezTo>
                <a:cubicBezTo>
                  <a:pt x="107" y="96"/>
                  <a:pt x="107" y="96"/>
                  <a:pt x="107" y="96"/>
                </a:cubicBezTo>
                <a:cubicBezTo>
                  <a:pt x="109" y="95"/>
                  <a:pt x="109" y="94"/>
                  <a:pt x="102" y="79"/>
                </a:cubicBezTo>
                <a:cubicBezTo>
                  <a:pt x="104" y="74"/>
                  <a:pt x="104" y="74"/>
                  <a:pt x="104" y="74"/>
                </a:cubicBezTo>
                <a:cubicBezTo>
                  <a:pt x="120" y="67"/>
                  <a:pt x="120" y="67"/>
                  <a:pt x="120" y="65"/>
                </a:cubicBezTo>
                <a:cubicBezTo>
                  <a:pt x="120" y="53"/>
                  <a:pt x="120" y="53"/>
                  <a:pt x="120" y="53"/>
                </a:cubicBezTo>
                <a:cubicBezTo>
                  <a:pt x="120" y="51"/>
                  <a:pt x="120" y="50"/>
                  <a:pt x="104" y="44"/>
                </a:cubicBezTo>
                <a:close/>
                <a:moveTo>
                  <a:pt x="60" y="80"/>
                </a:moveTo>
                <a:cubicBezTo>
                  <a:pt x="49" y="80"/>
                  <a:pt x="39" y="70"/>
                  <a:pt x="39" y="59"/>
                </a:cubicBezTo>
                <a:cubicBezTo>
                  <a:pt x="39" y="48"/>
                  <a:pt x="49" y="38"/>
                  <a:pt x="60" y="38"/>
                </a:cubicBezTo>
                <a:cubicBezTo>
                  <a:pt x="72" y="38"/>
                  <a:pt x="81" y="48"/>
                  <a:pt x="81" y="59"/>
                </a:cubicBezTo>
                <a:cubicBezTo>
                  <a:pt x="81" y="70"/>
                  <a:pt x="72" y="80"/>
                  <a:pt x="60" y="80"/>
                </a:cubicBezTo>
                <a:close/>
                <a:moveTo>
                  <a:pt x="60" y="80"/>
                </a:moveTo>
                <a:cubicBezTo>
                  <a:pt x="60" y="80"/>
                  <a:pt x="60" y="80"/>
                  <a:pt x="60" y="80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9" name="Freeform 18"/>
          <p:cNvSpPr>
            <a:spLocks noEditPoints="1"/>
          </p:cNvSpPr>
          <p:nvPr/>
        </p:nvSpPr>
        <p:spPr bwMode="auto">
          <a:xfrm>
            <a:off x="11730321" y="4392845"/>
            <a:ext cx="290142" cy="284562"/>
          </a:xfrm>
          <a:custGeom>
            <a:avLst/>
            <a:gdLst>
              <a:gd name="T0" fmla="*/ 45 w 52"/>
              <a:gd name="T1" fmla="*/ 19 h 51"/>
              <a:gd name="T2" fmla="*/ 44 w 52"/>
              <a:gd name="T3" fmla="*/ 17 h 51"/>
              <a:gd name="T4" fmla="*/ 46 w 52"/>
              <a:gd name="T5" fmla="*/ 9 h 51"/>
              <a:gd name="T6" fmla="*/ 42 w 52"/>
              <a:gd name="T7" fmla="*/ 6 h 51"/>
              <a:gd name="T8" fmla="*/ 42 w 52"/>
              <a:gd name="T9" fmla="*/ 5 h 51"/>
              <a:gd name="T10" fmla="*/ 42 w 52"/>
              <a:gd name="T11" fmla="*/ 5 h 51"/>
              <a:gd name="T12" fmla="*/ 35 w 52"/>
              <a:gd name="T13" fmla="*/ 8 h 51"/>
              <a:gd name="T14" fmla="*/ 32 w 52"/>
              <a:gd name="T15" fmla="*/ 7 h 51"/>
              <a:gd name="T16" fmla="*/ 29 w 52"/>
              <a:gd name="T17" fmla="*/ 0 h 51"/>
              <a:gd name="T18" fmla="*/ 23 w 52"/>
              <a:gd name="T19" fmla="*/ 0 h 51"/>
              <a:gd name="T20" fmla="*/ 19 w 52"/>
              <a:gd name="T21" fmla="*/ 7 h 51"/>
              <a:gd name="T22" fmla="*/ 17 w 52"/>
              <a:gd name="T23" fmla="*/ 8 h 51"/>
              <a:gd name="T24" fmla="*/ 10 w 52"/>
              <a:gd name="T25" fmla="*/ 5 h 51"/>
              <a:gd name="T26" fmla="*/ 10 w 52"/>
              <a:gd name="T27" fmla="*/ 5 h 51"/>
              <a:gd name="T28" fmla="*/ 5 w 52"/>
              <a:gd name="T29" fmla="*/ 10 h 51"/>
              <a:gd name="T30" fmla="*/ 8 w 52"/>
              <a:gd name="T31" fmla="*/ 17 h 51"/>
              <a:gd name="T32" fmla="*/ 7 w 52"/>
              <a:gd name="T33" fmla="*/ 19 h 51"/>
              <a:gd name="T34" fmla="*/ 0 w 52"/>
              <a:gd name="T35" fmla="*/ 23 h 51"/>
              <a:gd name="T36" fmla="*/ 0 w 52"/>
              <a:gd name="T37" fmla="*/ 28 h 51"/>
              <a:gd name="T38" fmla="*/ 7 w 52"/>
              <a:gd name="T39" fmla="*/ 32 h 51"/>
              <a:gd name="T40" fmla="*/ 8 w 52"/>
              <a:gd name="T41" fmla="*/ 34 h 51"/>
              <a:gd name="T42" fmla="*/ 6 w 52"/>
              <a:gd name="T43" fmla="*/ 42 h 51"/>
              <a:gd name="T44" fmla="*/ 9 w 52"/>
              <a:gd name="T45" fmla="*/ 46 h 51"/>
              <a:gd name="T46" fmla="*/ 10 w 52"/>
              <a:gd name="T47" fmla="*/ 46 h 51"/>
              <a:gd name="T48" fmla="*/ 10 w 52"/>
              <a:gd name="T49" fmla="*/ 46 h 51"/>
              <a:gd name="T50" fmla="*/ 17 w 52"/>
              <a:gd name="T51" fmla="*/ 43 h 51"/>
              <a:gd name="T52" fmla="*/ 19 w 52"/>
              <a:gd name="T53" fmla="*/ 44 h 51"/>
              <a:gd name="T54" fmla="*/ 23 w 52"/>
              <a:gd name="T55" fmla="*/ 51 h 51"/>
              <a:gd name="T56" fmla="*/ 29 w 52"/>
              <a:gd name="T57" fmla="*/ 51 h 51"/>
              <a:gd name="T58" fmla="*/ 33 w 52"/>
              <a:gd name="T59" fmla="*/ 44 h 51"/>
              <a:gd name="T60" fmla="*/ 35 w 52"/>
              <a:gd name="T61" fmla="*/ 43 h 51"/>
              <a:gd name="T62" fmla="*/ 42 w 52"/>
              <a:gd name="T63" fmla="*/ 46 h 51"/>
              <a:gd name="T64" fmla="*/ 42 w 52"/>
              <a:gd name="T65" fmla="*/ 46 h 51"/>
              <a:gd name="T66" fmla="*/ 46 w 52"/>
              <a:gd name="T67" fmla="*/ 42 h 51"/>
              <a:gd name="T68" fmla="*/ 44 w 52"/>
              <a:gd name="T69" fmla="*/ 34 h 51"/>
              <a:gd name="T70" fmla="*/ 45 w 52"/>
              <a:gd name="T71" fmla="*/ 32 h 51"/>
              <a:gd name="T72" fmla="*/ 52 w 52"/>
              <a:gd name="T73" fmla="*/ 28 h 51"/>
              <a:gd name="T74" fmla="*/ 52 w 52"/>
              <a:gd name="T75" fmla="*/ 23 h 51"/>
              <a:gd name="T76" fmla="*/ 45 w 52"/>
              <a:gd name="T77" fmla="*/ 19 h 51"/>
              <a:gd name="T78" fmla="*/ 26 w 52"/>
              <a:gd name="T79" fmla="*/ 35 h 51"/>
              <a:gd name="T80" fmla="*/ 17 w 52"/>
              <a:gd name="T81" fmla="*/ 26 h 51"/>
              <a:gd name="T82" fmla="*/ 26 w 52"/>
              <a:gd name="T83" fmla="*/ 17 h 51"/>
              <a:gd name="T84" fmla="*/ 35 w 52"/>
              <a:gd name="T85" fmla="*/ 26 h 51"/>
              <a:gd name="T86" fmla="*/ 26 w 52"/>
              <a:gd name="T87" fmla="*/ 35 h 51"/>
              <a:gd name="T88" fmla="*/ 26 w 52"/>
              <a:gd name="T89" fmla="*/ 35 h 51"/>
              <a:gd name="T90" fmla="*/ 26 w 52"/>
              <a:gd name="T91" fmla="*/ 35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2" h="51">
                <a:moveTo>
                  <a:pt x="45" y="19"/>
                </a:moveTo>
                <a:cubicBezTo>
                  <a:pt x="44" y="17"/>
                  <a:pt x="44" y="17"/>
                  <a:pt x="44" y="17"/>
                </a:cubicBezTo>
                <a:cubicBezTo>
                  <a:pt x="47" y="10"/>
                  <a:pt x="47" y="10"/>
                  <a:pt x="46" y="9"/>
                </a:cubicBezTo>
                <a:cubicBezTo>
                  <a:pt x="42" y="6"/>
                  <a:pt x="42" y="6"/>
                  <a:pt x="42" y="6"/>
                </a:cubicBezTo>
                <a:cubicBezTo>
                  <a:pt x="42" y="5"/>
                  <a:pt x="42" y="5"/>
                  <a:pt x="42" y="5"/>
                </a:cubicBezTo>
                <a:cubicBezTo>
                  <a:pt x="42" y="5"/>
                  <a:pt x="42" y="5"/>
                  <a:pt x="42" y="5"/>
                </a:cubicBezTo>
                <a:cubicBezTo>
                  <a:pt x="41" y="5"/>
                  <a:pt x="41" y="5"/>
                  <a:pt x="35" y="8"/>
                </a:cubicBezTo>
                <a:cubicBezTo>
                  <a:pt x="32" y="7"/>
                  <a:pt x="32" y="7"/>
                  <a:pt x="32" y="7"/>
                </a:cubicBezTo>
                <a:cubicBezTo>
                  <a:pt x="30" y="0"/>
                  <a:pt x="29" y="0"/>
                  <a:pt x="29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2" y="0"/>
                  <a:pt x="22" y="0"/>
                  <a:pt x="19" y="7"/>
                </a:cubicBezTo>
                <a:cubicBezTo>
                  <a:pt x="17" y="8"/>
                  <a:pt x="17" y="8"/>
                  <a:pt x="17" y="8"/>
                </a:cubicBezTo>
                <a:cubicBezTo>
                  <a:pt x="13" y="6"/>
                  <a:pt x="11" y="5"/>
                  <a:pt x="10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5" y="10"/>
                  <a:pt x="5" y="10"/>
                  <a:pt x="5" y="10"/>
                </a:cubicBezTo>
                <a:cubicBezTo>
                  <a:pt x="5" y="10"/>
                  <a:pt x="5" y="10"/>
                  <a:pt x="8" y="17"/>
                </a:cubicBezTo>
                <a:cubicBezTo>
                  <a:pt x="7" y="19"/>
                  <a:pt x="7" y="19"/>
                  <a:pt x="7" y="19"/>
                </a:cubicBezTo>
                <a:cubicBezTo>
                  <a:pt x="0" y="22"/>
                  <a:pt x="0" y="22"/>
                  <a:pt x="0" y="23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9"/>
                  <a:pt x="0" y="30"/>
                  <a:pt x="7" y="32"/>
                </a:cubicBezTo>
                <a:cubicBezTo>
                  <a:pt x="8" y="34"/>
                  <a:pt x="8" y="34"/>
                  <a:pt x="8" y="34"/>
                </a:cubicBezTo>
                <a:cubicBezTo>
                  <a:pt x="5" y="41"/>
                  <a:pt x="5" y="41"/>
                  <a:pt x="6" y="42"/>
                </a:cubicBezTo>
                <a:cubicBezTo>
                  <a:pt x="9" y="46"/>
                  <a:pt x="9" y="46"/>
                  <a:pt x="9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1" y="46"/>
                  <a:pt x="11" y="46"/>
                  <a:pt x="17" y="43"/>
                </a:cubicBezTo>
                <a:cubicBezTo>
                  <a:pt x="19" y="44"/>
                  <a:pt x="19" y="44"/>
                  <a:pt x="19" y="44"/>
                </a:cubicBezTo>
                <a:cubicBezTo>
                  <a:pt x="22" y="51"/>
                  <a:pt x="22" y="51"/>
                  <a:pt x="23" y="51"/>
                </a:cubicBezTo>
                <a:cubicBezTo>
                  <a:pt x="29" y="51"/>
                  <a:pt x="29" y="51"/>
                  <a:pt x="29" y="51"/>
                </a:cubicBezTo>
                <a:cubicBezTo>
                  <a:pt x="30" y="51"/>
                  <a:pt x="30" y="51"/>
                  <a:pt x="33" y="44"/>
                </a:cubicBezTo>
                <a:cubicBezTo>
                  <a:pt x="35" y="43"/>
                  <a:pt x="35" y="43"/>
                  <a:pt x="35" y="43"/>
                </a:cubicBezTo>
                <a:cubicBezTo>
                  <a:pt x="39" y="45"/>
                  <a:pt x="41" y="46"/>
                  <a:pt x="42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6" y="42"/>
                  <a:pt x="46" y="42"/>
                  <a:pt x="46" y="42"/>
                </a:cubicBezTo>
                <a:cubicBezTo>
                  <a:pt x="47" y="41"/>
                  <a:pt x="47" y="41"/>
                  <a:pt x="44" y="34"/>
                </a:cubicBezTo>
                <a:cubicBezTo>
                  <a:pt x="45" y="32"/>
                  <a:pt x="45" y="32"/>
                  <a:pt x="45" y="32"/>
                </a:cubicBezTo>
                <a:cubicBezTo>
                  <a:pt x="52" y="29"/>
                  <a:pt x="52" y="29"/>
                  <a:pt x="52" y="28"/>
                </a:cubicBezTo>
                <a:cubicBezTo>
                  <a:pt x="52" y="23"/>
                  <a:pt x="52" y="23"/>
                  <a:pt x="52" y="23"/>
                </a:cubicBezTo>
                <a:cubicBezTo>
                  <a:pt x="52" y="22"/>
                  <a:pt x="52" y="22"/>
                  <a:pt x="45" y="19"/>
                </a:cubicBezTo>
                <a:close/>
                <a:moveTo>
                  <a:pt x="26" y="35"/>
                </a:moveTo>
                <a:cubicBezTo>
                  <a:pt x="21" y="35"/>
                  <a:pt x="17" y="31"/>
                  <a:pt x="17" y="26"/>
                </a:cubicBezTo>
                <a:cubicBezTo>
                  <a:pt x="17" y="21"/>
                  <a:pt x="21" y="17"/>
                  <a:pt x="26" y="17"/>
                </a:cubicBezTo>
                <a:cubicBezTo>
                  <a:pt x="31" y="17"/>
                  <a:pt x="35" y="21"/>
                  <a:pt x="35" y="26"/>
                </a:cubicBezTo>
                <a:cubicBezTo>
                  <a:pt x="35" y="31"/>
                  <a:pt x="31" y="35"/>
                  <a:pt x="26" y="35"/>
                </a:cubicBezTo>
                <a:close/>
                <a:moveTo>
                  <a:pt x="26" y="35"/>
                </a:moveTo>
                <a:cubicBezTo>
                  <a:pt x="26" y="35"/>
                  <a:pt x="26" y="35"/>
                  <a:pt x="26" y="35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0" name="Freeform 19"/>
          <p:cNvSpPr>
            <a:spLocks noEditPoints="1"/>
          </p:cNvSpPr>
          <p:nvPr/>
        </p:nvSpPr>
        <p:spPr bwMode="auto">
          <a:xfrm>
            <a:off x="12684443" y="6619127"/>
            <a:ext cx="290142" cy="290142"/>
          </a:xfrm>
          <a:custGeom>
            <a:avLst/>
            <a:gdLst>
              <a:gd name="T0" fmla="*/ 45 w 52"/>
              <a:gd name="T1" fmla="*/ 19 h 52"/>
              <a:gd name="T2" fmla="*/ 44 w 52"/>
              <a:gd name="T3" fmla="*/ 17 h 52"/>
              <a:gd name="T4" fmla="*/ 46 w 52"/>
              <a:gd name="T5" fmla="*/ 10 h 52"/>
              <a:gd name="T6" fmla="*/ 42 w 52"/>
              <a:gd name="T7" fmla="*/ 6 h 52"/>
              <a:gd name="T8" fmla="*/ 42 w 52"/>
              <a:gd name="T9" fmla="*/ 5 h 52"/>
              <a:gd name="T10" fmla="*/ 41 w 52"/>
              <a:gd name="T11" fmla="*/ 5 h 52"/>
              <a:gd name="T12" fmla="*/ 34 w 52"/>
              <a:gd name="T13" fmla="*/ 8 h 52"/>
              <a:gd name="T14" fmla="*/ 32 w 52"/>
              <a:gd name="T15" fmla="*/ 7 h 52"/>
              <a:gd name="T16" fmla="*/ 28 w 52"/>
              <a:gd name="T17" fmla="*/ 0 h 52"/>
              <a:gd name="T18" fmla="*/ 23 w 52"/>
              <a:gd name="T19" fmla="*/ 0 h 52"/>
              <a:gd name="T20" fmla="*/ 19 w 52"/>
              <a:gd name="T21" fmla="*/ 7 h 52"/>
              <a:gd name="T22" fmla="*/ 17 w 52"/>
              <a:gd name="T23" fmla="*/ 8 h 52"/>
              <a:gd name="T24" fmla="*/ 10 w 52"/>
              <a:gd name="T25" fmla="*/ 6 h 52"/>
              <a:gd name="T26" fmla="*/ 9 w 52"/>
              <a:gd name="T27" fmla="*/ 6 h 52"/>
              <a:gd name="T28" fmla="*/ 5 w 52"/>
              <a:gd name="T29" fmla="*/ 10 h 52"/>
              <a:gd name="T30" fmla="*/ 8 w 52"/>
              <a:gd name="T31" fmla="*/ 17 h 52"/>
              <a:gd name="T32" fmla="*/ 7 w 52"/>
              <a:gd name="T33" fmla="*/ 19 h 52"/>
              <a:gd name="T34" fmla="*/ 0 w 52"/>
              <a:gd name="T35" fmla="*/ 23 h 52"/>
              <a:gd name="T36" fmla="*/ 0 w 52"/>
              <a:gd name="T37" fmla="*/ 29 h 52"/>
              <a:gd name="T38" fmla="*/ 7 w 52"/>
              <a:gd name="T39" fmla="*/ 32 h 52"/>
              <a:gd name="T40" fmla="*/ 8 w 52"/>
              <a:gd name="T41" fmla="*/ 35 h 52"/>
              <a:gd name="T42" fmla="*/ 5 w 52"/>
              <a:gd name="T43" fmla="*/ 42 h 52"/>
              <a:gd name="T44" fmla="*/ 9 w 52"/>
              <a:gd name="T45" fmla="*/ 46 h 52"/>
              <a:gd name="T46" fmla="*/ 10 w 52"/>
              <a:gd name="T47" fmla="*/ 46 h 52"/>
              <a:gd name="T48" fmla="*/ 10 w 52"/>
              <a:gd name="T49" fmla="*/ 46 h 52"/>
              <a:gd name="T50" fmla="*/ 17 w 52"/>
              <a:gd name="T51" fmla="*/ 44 h 52"/>
              <a:gd name="T52" fmla="*/ 19 w 52"/>
              <a:gd name="T53" fmla="*/ 45 h 52"/>
              <a:gd name="T54" fmla="*/ 23 w 52"/>
              <a:gd name="T55" fmla="*/ 52 h 52"/>
              <a:gd name="T56" fmla="*/ 29 w 52"/>
              <a:gd name="T57" fmla="*/ 52 h 52"/>
              <a:gd name="T58" fmla="*/ 32 w 52"/>
              <a:gd name="T59" fmla="*/ 45 h 52"/>
              <a:gd name="T60" fmla="*/ 35 w 52"/>
              <a:gd name="T61" fmla="*/ 44 h 52"/>
              <a:gd name="T62" fmla="*/ 42 w 52"/>
              <a:gd name="T63" fmla="*/ 46 h 52"/>
              <a:gd name="T64" fmla="*/ 42 w 52"/>
              <a:gd name="T65" fmla="*/ 46 h 52"/>
              <a:gd name="T66" fmla="*/ 46 w 52"/>
              <a:gd name="T67" fmla="*/ 42 h 52"/>
              <a:gd name="T68" fmla="*/ 44 w 52"/>
              <a:gd name="T69" fmla="*/ 34 h 52"/>
              <a:gd name="T70" fmla="*/ 45 w 52"/>
              <a:gd name="T71" fmla="*/ 32 h 52"/>
              <a:gd name="T72" fmla="*/ 52 w 52"/>
              <a:gd name="T73" fmla="*/ 29 h 52"/>
              <a:gd name="T74" fmla="*/ 52 w 52"/>
              <a:gd name="T75" fmla="*/ 23 h 52"/>
              <a:gd name="T76" fmla="*/ 45 w 52"/>
              <a:gd name="T77" fmla="*/ 19 h 52"/>
              <a:gd name="T78" fmla="*/ 26 w 52"/>
              <a:gd name="T79" fmla="*/ 35 h 52"/>
              <a:gd name="T80" fmla="*/ 17 w 52"/>
              <a:gd name="T81" fmla="*/ 26 h 52"/>
              <a:gd name="T82" fmla="*/ 26 w 52"/>
              <a:gd name="T83" fmla="*/ 17 h 52"/>
              <a:gd name="T84" fmla="*/ 35 w 52"/>
              <a:gd name="T85" fmla="*/ 26 h 52"/>
              <a:gd name="T86" fmla="*/ 26 w 52"/>
              <a:gd name="T87" fmla="*/ 35 h 52"/>
              <a:gd name="T88" fmla="*/ 26 w 52"/>
              <a:gd name="T89" fmla="*/ 35 h 52"/>
              <a:gd name="T90" fmla="*/ 26 w 52"/>
              <a:gd name="T91" fmla="*/ 35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2" h="52">
                <a:moveTo>
                  <a:pt x="45" y="19"/>
                </a:moveTo>
                <a:cubicBezTo>
                  <a:pt x="44" y="17"/>
                  <a:pt x="44" y="17"/>
                  <a:pt x="44" y="17"/>
                </a:cubicBezTo>
                <a:cubicBezTo>
                  <a:pt x="47" y="10"/>
                  <a:pt x="47" y="10"/>
                  <a:pt x="46" y="10"/>
                </a:cubicBezTo>
                <a:cubicBezTo>
                  <a:pt x="42" y="6"/>
                  <a:pt x="42" y="6"/>
                  <a:pt x="42" y="6"/>
                </a:cubicBezTo>
                <a:cubicBezTo>
                  <a:pt x="42" y="5"/>
                  <a:pt x="42" y="5"/>
                  <a:pt x="42" y="5"/>
                </a:cubicBezTo>
                <a:cubicBezTo>
                  <a:pt x="41" y="5"/>
                  <a:pt x="41" y="5"/>
                  <a:pt x="41" y="5"/>
                </a:cubicBezTo>
                <a:cubicBezTo>
                  <a:pt x="41" y="5"/>
                  <a:pt x="40" y="5"/>
                  <a:pt x="34" y="8"/>
                </a:cubicBezTo>
                <a:cubicBezTo>
                  <a:pt x="32" y="7"/>
                  <a:pt x="32" y="7"/>
                  <a:pt x="32" y="7"/>
                </a:cubicBezTo>
                <a:cubicBezTo>
                  <a:pt x="29" y="0"/>
                  <a:pt x="29" y="0"/>
                  <a:pt x="28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2" y="0"/>
                  <a:pt x="22" y="0"/>
                  <a:pt x="19" y="7"/>
                </a:cubicBezTo>
                <a:cubicBezTo>
                  <a:pt x="17" y="8"/>
                  <a:pt x="17" y="8"/>
                  <a:pt x="17" y="8"/>
                </a:cubicBezTo>
                <a:cubicBezTo>
                  <a:pt x="13" y="6"/>
                  <a:pt x="11" y="6"/>
                  <a:pt x="10" y="6"/>
                </a:cubicBezTo>
                <a:cubicBezTo>
                  <a:pt x="9" y="6"/>
                  <a:pt x="9" y="6"/>
                  <a:pt x="9" y="6"/>
                </a:cubicBezTo>
                <a:cubicBezTo>
                  <a:pt x="5" y="10"/>
                  <a:pt x="5" y="10"/>
                  <a:pt x="5" y="10"/>
                </a:cubicBezTo>
                <a:cubicBezTo>
                  <a:pt x="5" y="10"/>
                  <a:pt x="4" y="11"/>
                  <a:pt x="8" y="17"/>
                </a:cubicBezTo>
                <a:cubicBezTo>
                  <a:pt x="7" y="19"/>
                  <a:pt x="7" y="19"/>
                  <a:pt x="7" y="19"/>
                </a:cubicBezTo>
                <a:cubicBezTo>
                  <a:pt x="0" y="22"/>
                  <a:pt x="0" y="22"/>
                  <a:pt x="0" y="23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30"/>
                  <a:pt x="0" y="30"/>
                  <a:pt x="7" y="32"/>
                </a:cubicBezTo>
                <a:cubicBezTo>
                  <a:pt x="8" y="35"/>
                  <a:pt x="8" y="35"/>
                  <a:pt x="8" y="35"/>
                </a:cubicBezTo>
                <a:cubicBezTo>
                  <a:pt x="5" y="41"/>
                  <a:pt x="5" y="42"/>
                  <a:pt x="5" y="42"/>
                </a:cubicBezTo>
                <a:cubicBezTo>
                  <a:pt x="9" y="46"/>
                  <a:pt x="9" y="46"/>
                  <a:pt x="9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46"/>
                  <a:pt x="11" y="46"/>
                  <a:pt x="17" y="44"/>
                </a:cubicBezTo>
                <a:cubicBezTo>
                  <a:pt x="19" y="45"/>
                  <a:pt x="19" y="45"/>
                  <a:pt x="19" y="45"/>
                </a:cubicBezTo>
                <a:cubicBezTo>
                  <a:pt x="22" y="52"/>
                  <a:pt x="22" y="52"/>
                  <a:pt x="23" y="52"/>
                </a:cubicBezTo>
                <a:cubicBezTo>
                  <a:pt x="29" y="52"/>
                  <a:pt x="29" y="52"/>
                  <a:pt x="29" y="52"/>
                </a:cubicBezTo>
                <a:cubicBezTo>
                  <a:pt x="29" y="52"/>
                  <a:pt x="30" y="52"/>
                  <a:pt x="32" y="45"/>
                </a:cubicBezTo>
                <a:cubicBezTo>
                  <a:pt x="35" y="44"/>
                  <a:pt x="35" y="44"/>
                  <a:pt x="35" y="44"/>
                </a:cubicBezTo>
                <a:cubicBezTo>
                  <a:pt x="39" y="45"/>
                  <a:pt x="41" y="46"/>
                  <a:pt x="42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6" y="42"/>
                  <a:pt x="46" y="42"/>
                  <a:pt x="46" y="42"/>
                </a:cubicBezTo>
                <a:cubicBezTo>
                  <a:pt x="47" y="41"/>
                  <a:pt x="47" y="41"/>
                  <a:pt x="44" y="34"/>
                </a:cubicBezTo>
                <a:cubicBezTo>
                  <a:pt x="45" y="32"/>
                  <a:pt x="45" y="32"/>
                  <a:pt x="45" y="32"/>
                </a:cubicBezTo>
                <a:cubicBezTo>
                  <a:pt x="52" y="30"/>
                  <a:pt x="52" y="29"/>
                  <a:pt x="52" y="29"/>
                </a:cubicBezTo>
                <a:cubicBezTo>
                  <a:pt x="52" y="23"/>
                  <a:pt x="52" y="23"/>
                  <a:pt x="52" y="23"/>
                </a:cubicBezTo>
                <a:cubicBezTo>
                  <a:pt x="52" y="22"/>
                  <a:pt x="52" y="22"/>
                  <a:pt x="45" y="19"/>
                </a:cubicBezTo>
                <a:close/>
                <a:moveTo>
                  <a:pt x="26" y="35"/>
                </a:moveTo>
                <a:cubicBezTo>
                  <a:pt x="21" y="35"/>
                  <a:pt x="17" y="31"/>
                  <a:pt x="17" y="26"/>
                </a:cubicBezTo>
                <a:cubicBezTo>
                  <a:pt x="17" y="21"/>
                  <a:pt x="21" y="17"/>
                  <a:pt x="26" y="17"/>
                </a:cubicBezTo>
                <a:cubicBezTo>
                  <a:pt x="31" y="17"/>
                  <a:pt x="35" y="21"/>
                  <a:pt x="35" y="26"/>
                </a:cubicBezTo>
                <a:cubicBezTo>
                  <a:pt x="35" y="31"/>
                  <a:pt x="31" y="35"/>
                  <a:pt x="26" y="35"/>
                </a:cubicBezTo>
                <a:close/>
                <a:moveTo>
                  <a:pt x="26" y="35"/>
                </a:moveTo>
                <a:cubicBezTo>
                  <a:pt x="26" y="35"/>
                  <a:pt x="26" y="35"/>
                  <a:pt x="26" y="35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1" name="Freeform 20"/>
          <p:cNvSpPr>
            <a:spLocks noEditPoints="1"/>
          </p:cNvSpPr>
          <p:nvPr/>
        </p:nvSpPr>
        <p:spPr bwMode="auto">
          <a:xfrm>
            <a:off x="13370740" y="6368043"/>
            <a:ext cx="292932" cy="290142"/>
          </a:xfrm>
          <a:custGeom>
            <a:avLst/>
            <a:gdLst>
              <a:gd name="T0" fmla="*/ 45 w 52"/>
              <a:gd name="T1" fmla="*/ 20 h 52"/>
              <a:gd name="T2" fmla="*/ 44 w 52"/>
              <a:gd name="T3" fmla="*/ 17 h 52"/>
              <a:gd name="T4" fmla="*/ 46 w 52"/>
              <a:gd name="T5" fmla="*/ 10 h 52"/>
              <a:gd name="T6" fmla="*/ 42 w 52"/>
              <a:gd name="T7" fmla="*/ 6 h 52"/>
              <a:gd name="T8" fmla="*/ 42 w 52"/>
              <a:gd name="T9" fmla="*/ 6 h 52"/>
              <a:gd name="T10" fmla="*/ 41 w 52"/>
              <a:gd name="T11" fmla="*/ 6 h 52"/>
              <a:gd name="T12" fmla="*/ 34 w 52"/>
              <a:gd name="T13" fmla="*/ 8 h 52"/>
              <a:gd name="T14" fmla="*/ 32 w 52"/>
              <a:gd name="T15" fmla="*/ 7 h 52"/>
              <a:gd name="T16" fmla="*/ 28 w 52"/>
              <a:gd name="T17" fmla="*/ 0 h 52"/>
              <a:gd name="T18" fmla="*/ 23 w 52"/>
              <a:gd name="T19" fmla="*/ 0 h 52"/>
              <a:gd name="T20" fmla="*/ 19 w 52"/>
              <a:gd name="T21" fmla="*/ 7 h 52"/>
              <a:gd name="T22" fmla="*/ 17 w 52"/>
              <a:gd name="T23" fmla="*/ 8 h 52"/>
              <a:gd name="T24" fmla="*/ 10 w 52"/>
              <a:gd name="T25" fmla="*/ 6 h 52"/>
              <a:gd name="T26" fmla="*/ 9 w 52"/>
              <a:gd name="T27" fmla="*/ 6 h 52"/>
              <a:gd name="T28" fmla="*/ 5 w 52"/>
              <a:gd name="T29" fmla="*/ 10 h 52"/>
              <a:gd name="T30" fmla="*/ 8 w 52"/>
              <a:gd name="T31" fmla="*/ 17 h 52"/>
              <a:gd name="T32" fmla="*/ 7 w 52"/>
              <a:gd name="T33" fmla="*/ 20 h 52"/>
              <a:gd name="T34" fmla="*/ 0 w 52"/>
              <a:gd name="T35" fmla="*/ 23 h 52"/>
              <a:gd name="T36" fmla="*/ 0 w 52"/>
              <a:gd name="T37" fmla="*/ 29 h 52"/>
              <a:gd name="T38" fmla="*/ 7 w 52"/>
              <a:gd name="T39" fmla="*/ 33 h 52"/>
              <a:gd name="T40" fmla="*/ 8 w 52"/>
              <a:gd name="T41" fmla="*/ 35 h 52"/>
              <a:gd name="T42" fmla="*/ 5 w 52"/>
              <a:gd name="T43" fmla="*/ 42 h 52"/>
              <a:gd name="T44" fmla="*/ 9 w 52"/>
              <a:gd name="T45" fmla="*/ 46 h 52"/>
              <a:gd name="T46" fmla="*/ 10 w 52"/>
              <a:gd name="T47" fmla="*/ 46 h 52"/>
              <a:gd name="T48" fmla="*/ 10 w 52"/>
              <a:gd name="T49" fmla="*/ 46 h 52"/>
              <a:gd name="T50" fmla="*/ 17 w 52"/>
              <a:gd name="T51" fmla="*/ 44 h 52"/>
              <a:gd name="T52" fmla="*/ 19 w 52"/>
              <a:gd name="T53" fmla="*/ 45 h 52"/>
              <a:gd name="T54" fmla="*/ 23 w 52"/>
              <a:gd name="T55" fmla="*/ 52 h 52"/>
              <a:gd name="T56" fmla="*/ 29 w 52"/>
              <a:gd name="T57" fmla="*/ 52 h 52"/>
              <a:gd name="T58" fmla="*/ 32 w 52"/>
              <a:gd name="T59" fmla="*/ 45 h 52"/>
              <a:gd name="T60" fmla="*/ 34 w 52"/>
              <a:gd name="T61" fmla="*/ 44 h 52"/>
              <a:gd name="T62" fmla="*/ 41 w 52"/>
              <a:gd name="T63" fmla="*/ 46 h 52"/>
              <a:gd name="T64" fmla="*/ 42 w 52"/>
              <a:gd name="T65" fmla="*/ 46 h 52"/>
              <a:gd name="T66" fmla="*/ 46 w 52"/>
              <a:gd name="T67" fmla="*/ 42 h 52"/>
              <a:gd name="T68" fmla="*/ 44 w 52"/>
              <a:gd name="T69" fmla="*/ 35 h 52"/>
              <a:gd name="T70" fmla="*/ 45 w 52"/>
              <a:gd name="T71" fmla="*/ 32 h 52"/>
              <a:gd name="T72" fmla="*/ 52 w 52"/>
              <a:gd name="T73" fmla="*/ 29 h 52"/>
              <a:gd name="T74" fmla="*/ 52 w 52"/>
              <a:gd name="T75" fmla="*/ 23 h 52"/>
              <a:gd name="T76" fmla="*/ 45 w 52"/>
              <a:gd name="T77" fmla="*/ 20 h 52"/>
              <a:gd name="T78" fmla="*/ 26 w 52"/>
              <a:gd name="T79" fmla="*/ 35 h 52"/>
              <a:gd name="T80" fmla="*/ 17 w 52"/>
              <a:gd name="T81" fmla="*/ 26 h 52"/>
              <a:gd name="T82" fmla="*/ 26 w 52"/>
              <a:gd name="T83" fmla="*/ 17 h 52"/>
              <a:gd name="T84" fmla="*/ 35 w 52"/>
              <a:gd name="T85" fmla="*/ 26 h 52"/>
              <a:gd name="T86" fmla="*/ 26 w 52"/>
              <a:gd name="T87" fmla="*/ 35 h 52"/>
              <a:gd name="T88" fmla="*/ 26 w 52"/>
              <a:gd name="T89" fmla="*/ 35 h 52"/>
              <a:gd name="T90" fmla="*/ 26 w 52"/>
              <a:gd name="T91" fmla="*/ 35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2" h="52">
                <a:moveTo>
                  <a:pt x="45" y="20"/>
                </a:moveTo>
                <a:cubicBezTo>
                  <a:pt x="44" y="17"/>
                  <a:pt x="44" y="17"/>
                  <a:pt x="44" y="17"/>
                </a:cubicBezTo>
                <a:cubicBezTo>
                  <a:pt x="47" y="10"/>
                  <a:pt x="47" y="10"/>
                  <a:pt x="46" y="10"/>
                </a:cubicBezTo>
                <a:cubicBezTo>
                  <a:pt x="42" y="6"/>
                  <a:pt x="42" y="6"/>
                  <a:pt x="42" y="6"/>
                </a:cubicBezTo>
                <a:cubicBezTo>
                  <a:pt x="42" y="6"/>
                  <a:pt x="42" y="6"/>
                  <a:pt x="42" y="6"/>
                </a:cubicBezTo>
                <a:cubicBezTo>
                  <a:pt x="41" y="6"/>
                  <a:pt x="41" y="6"/>
                  <a:pt x="41" y="6"/>
                </a:cubicBezTo>
                <a:cubicBezTo>
                  <a:pt x="41" y="6"/>
                  <a:pt x="40" y="6"/>
                  <a:pt x="34" y="8"/>
                </a:cubicBezTo>
                <a:cubicBezTo>
                  <a:pt x="32" y="7"/>
                  <a:pt x="32" y="7"/>
                  <a:pt x="32" y="7"/>
                </a:cubicBezTo>
                <a:cubicBezTo>
                  <a:pt x="29" y="0"/>
                  <a:pt x="29" y="0"/>
                  <a:pt x="28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2" y="0"/>
                  <a:pt x="22" y="0"/>
                  <a:pt x="19" y="7"/>
                </a:cubicBezTo>
                <a:cubicBezTo>
                  <a:pt x="17" y="8"/>
                  <a:pt x="17" y="8"/>
                  <a:pt x="17" y="8"/>
                </a:cubicBezTo>
                <a:cubicBezTo>
                  <a:pt x="13" y="7"/>
                  <a:pt x="11" y="6"/>
                  <a:pt x="10" y="6"/>
                </a:cubicBezTo>
                <a:cubicBezTo>
                  <a:pt x="9" y="6"/>
                  <a:pt x="9" y="6"/>
                  <a:pt x="9" y="6"/>
                </a:cubicBezTo>
                <a:cubicBezTo>
                  <a:pt x="5" y="10"/>
                  <a:pt x="5" y="10"/>
                  <a:pt x="5" y="10"/>
                </a:cubicBezTo>
                <a:cubicBezTo>
                  <a:pt x="5" y="10"/>
                  <a:pt x="4" y="11"/>
                  <a:pt x="8" y="17"/>
                </a:cubicBezTo>
                <a:cubicBezTo>
                  <a:pt x="7" y="20"/>
                  <a:pt x="7" y="20"/>
                  <a:pt x="7" y="20"/>
                </a:cubicBezTo>
                <a:cubicBezTo>
                  <a:pt x="0" y="22"/>
                  <a:pt x="0" y="23"/>
                  <a:pt x="0" y="23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30"/>
                  <a:pt x="0" y="30"/>
                  <a:pt x="7" y="33"/>
                </a:cubicBezTo>
                <a:cubicBezTo>
                  <a:pt x="8" y="35"/>
                  <a:pt x="8" y="35"/>
                  <a:pt x="8" y="35"/>
                </a:cubicBezTo>
                <a:cubicBezTo>
                  <a:pt x="5" y="42"/>
                  <a:pt x="5" y="42"/>
                  <a:pt x="5" y="42"/>
                </a:cubicBezTo>
                <a:cubicBezTo>
                  <a:pt x="9" y="46"/>
                  <a:pt x="9" y="46"/>
                  <a:pt x="9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46"/>
                  <a:pt x="11" y="46"/>
                  <a:pt x="17" y="44"/>
                </a:cubicBezTo>
                <a:cubicBezTo>
                  <a:pt x="19" y="45"/>
                  <a:pt x="19" y="45"/>
                  <a:pt x="19" y="45"/>
                </a:cubicBezTo>
                <a:cubicBezTo>
                  <a:pt x="22" y="52"/>
                  <a:pt x="22" y="52"/>
                  <a:pt x="23" y="52"/>
                </a:cubicBezTo>
                <a:cubicBezTo>
                  <a:pt x="29" y="52"/>
                  <a:pt x="29" y="52"/>
                  <a:pt x="29" y="52"/>
                </a:cubicBezTo>
                <a:cubicBezTo>
                  <a:pt x="29" y="52"/>
                  <a:pt x="30" y="52"/>
                  <a:pt x="32" y="45"/>
                </a:cubicBezTo>
                <a:cubicBezTo>
                  <a:pt x="34" y="44"/>
                  <a:pt x="34" y="44"/>
                  <a:pt x="34" y="44"/>
                </a:cubicBezTo>
                <a:cubicBezTo>
                  <a:pt x="38" y="45"/>
                  <a:pt x="41" y="46"/>
                  <a:pt x="41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6" y="42"/>
                  <a:pt x="46" y="42"/>
                  <a:pt x="46" y="42"/>
                </a:cubicBezTo>
                <a:cubicBezTo>
                  <a:pt x="47" y="42"/>
                  <a:pt x="47" y="41"/>
                  <a:pt x="44" y="35"/>
                </a:cubicBezTo>
                <a:cubicBezTo>
                  <a:pt x="45" y="32"/>
                  <a:pt x="45" y="32"/>
                  <a:pt x="45" y="32"/>
                </a:cubicBezTo>
                <a:cubicBezTo>
                  <a:pt x="52" y="30"/>
                  <a:pt x="52" y="29"/>
                  <a:pt x="52" y="29"/>
                </a:cubicBezTo>
                <a:cubicBezTo>
                  <a:pt x="52" y="23"/>
                  <a:pt x="52" y="23"/>
                  <a:pt x="52" y="23"/>
                </a:cubicBezTo>
                <a:cubicBezTo>
                  <a:pt x="52" y="22"/>
                  <a:pt x="52" y="22"/>
                  <a:pt x="45" y="20"/>
                </a:cubicBezTo>
                <a:close/>
                <a:moveTo>
                  <a:pt x="26" y="35"/>
                </a:moveTo>
                <a:cubicBezTo>
                  <a:pt x="21" y="35"/>
                  <a:pt x="17" y="31"/>
                  <a:pt x="17" y="26"/>
                </a:cubicBezTo>
                <a:cubicBezTo>
                  <a:pt x="17" y="21"/>
                  <a:pt x="21" y="17"/>
                  <a:pt x="26" y="17"/>
                </a:cubicBezTo>
                <a:cubicBezTo>
                  <a:pt x="31" y="17"/>
                  <a:pt x="35" y="21"/>
                  <a:pt x="35" y="26"/>
                </a:cubicBezTo>
                <a:cubicBezTo>
                  <a:pt x="35" y="31"/>
                  <a:pt x="31" y="35"/>
                  <a:pt x="26" y="35"/>
                </a:cubicBezTo>
                <a:close/>
                <a:moveTo>
                  <a:pt x="26" y="35"/>
                </a:moveTo>
                <a:cubicBezTo>
                  <a:pt x="26" y="35"/>
                  <a:pt x="26" y="35"/>
                  <a:pt x="26" y="35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2" name="Freeform 21"/>
          <p:cNvSpPr>
            <a:spLocks noEditPoints="1"/>
          </p:cNvSpPr>
          <p:nvPr/>
        </p:nvSpPr>
        <p:spPr bwMode="auto">
          <a:xfrm>
            <a:off x="11412280" y="5790548"/>
            <a:ext cx="390576" cy="382208"/>
          </a:xfrm>
          <a:custGeom>
            <a:avLst/>
            <a:gdLst>
              <a:gd name="T0" fmla="*/ 61 w 70"/>
              <a:gd name="T1" fmla="*/ 25 h 68"/>
              <a:gd name="T2" fmla="*/ 59 w 70"/>
              <a:gd name="T3" fmla="*/ 22 h 68"/>
              <a:gd name="T4" fmla="*/ 62 w 70"/>
              <a:gd name="T5" fmla="*/ 12 h 68"/>
              <a:gd name="T6" fmla="*/ 57 w 70"/>
              <a:gd name="T7" fmla="*/ 7 h 68"/>
              <a:gd name="T8" fmla="*/ 57 w 70"/>
              <a:gd name="T9" fmla="*/ 7 h 68"/>
              <a:gd name="T10" fmla="*/ 56 w 70"/>
              <a:gd name="T11" fmla="*/ 7 h 68"/>
              <a:gd name="T12" fmla="*/ 47 w 70"/>
              <a:gd name="T13" fmla="*/ 10 h 68"/>
              <a:gd name="T14" fmla="*/ 44 w 70"/>
              <a:gd name="T15" fmla="*/ 9 h 68"/>
              <a:gd name="T16" fmla="*/ 39 w 70"/>
              <a:gd name="T17" fmla="*/ 0 h 68"/>
              <a:gd name="T18" fmla="*/ 31 w 70"/>
              <a:gd name="T19" fmla="*/ 0 h 68"/>
              <a:gd name="T20" fmla="*/ 26 w 70"/>
              <a:gd name="T21" fmla="*/ 9 h 68"/>
              <a:gd name="T22" fmla="*/ 23 w 70"/>
              <a:gd name="T23" fmla="*/ 10 h 68"/>
              <a:gd name="T24" fmla="*/ 14 w 70"/>
              <a:gd name="T25" fmla="*/ 7 h 68"/>
              <a:gd name="T26" fmla="*/ 13 w 70"/>
              <a:gd name="T27" fmla="*/ 7 h 68"/>
              <a:gd name="T28" fmla="*/ 8 w 70"/>
              <a:gd name="T29" fmla="*/ 12 h 68"/>
              <a:gd name="T30" fmla="*/ 11 w 70"/>
              <a:gd name="T31" fmla="*/ 22 h 68"/>
              <a:gd name="T32" fmla="*/ 10 w 70"/>
              <a:gd name="T33" fmla="*/ 25 h 68"/>
              <a:gd name="T34" fmla="*/ 0 w 70"/>
              <a:gd name="T35" fmla="*/ 31 h 68"/>
              <a:gd name="T36" fmla="*/ 0 w 70"/>
              <a:gd name="T37" fmla="*/ 38 h 68"/>
              <a:gd name="T38" fmla="*/ 10 w 70"/>
              <a:gd name="T39" fmla="*/ 43 h 68"/>
              <a:gd name="T40" fmla="*/ 11 w 70"/>
              <a:gd name="T41" fmla="*/ 46 h 68"/>
              <a:gd name="T42" fmla="*/ 8 w 70"/>
              <a:gd name="T43" fmla="*/ 56 h 68"/>
              <a:gd name="T44" fmla="*/ 13 w 70"/>
              <a:gd name="T45" fmla="*/ 61 h 68"/>
              <a:gd name="T46" fmla="*/ 13 w 70"/>
              <a:gd name="T47" fmla="*/ 61 h 68"/>
              <a:gd name="T48" fmla="*/ 14 w 70"/>
              <a:gd name="T49" fmla="*/ 61 h 68"/>
              <a:gd name="T50" fmla="*/ 23 w 70"/>
              <a:gd name="T51" fmla="*/ 58 h 68"/>
              <a:gd name="T52" fmla="*/ 26 w 70"/>
              <a:gd name="T53" fmla="*/ 59 h 68"/>
              <a:gd name="T54" fmla="*/ 32 w 70"/>
              <a:gd name="T55" fmla="*/ 68 h 68"/>
              <a:gd name="T56" fmla="*/ 39 w 70"/>
              <a:gd name="T57" fmla="*/ 68 h 68"/>
              <a:gd name="T58" fmla="*/ 44 w 70"/>
              <a:gd name="T59" fmla="*/ 59 h 68"/>
              <a:gd name="T60" fmla="*/ 47 w 70"/>
              <a:gd name="T61" fmla="*/ 58 h 68"/>
              <a:gd name="T62" fmla="*/ 56 w 70"/>
              <a:gd name="T63" fmla="*/ 61 h 68"/>
              <a:gd name="T64" fmla="*/ 57 w 70"/>
              <a:gd name="T65" fmla="*/ 61 h 68"/>
              <a:gd name="T66" fmla="*/ 63 w 70"/>
              <a:gd name="T67" fmla="*/ 56 h 68"/>
              <a:gd name="T68" fmla="*/ 59 w 70"/>
              <a:gd name="T69" fmla="*/ 45 h 68"/>
              <a:gd name="T70" fmla="*/ 61 w 70"/>
              <a:gd name="T71" fmla="*/ 43 h 68"/>
              <a:gd name="T72" fmla="*/ 70 w 70"/>
              <a:gd name="T73" fmla="*/ 37 h 68"/>
              <a:gd name="T74" fmla="*/ 70 w 70"/>
              <a:gd name="T75" fmla="*/ 30 h 68"/>
              <a:gd name="T76" fmla="*/ 61 w 70"/>
              <a:gd name="T77" fmla="*/ 25 h 68"/>
              <a:gd name="T78" fmla="*/ 35 w 70"/>
              <a:gd name="T79" fmla="*/ 46 h 68"/>
              <a:gd name="T80" fmla="*/ 23 w 70"/>
              <a:gd name="T81" fmla="*/ 34 h 68"/>
              <a:gd name="T82" fmla="*/ 35 w 70"/>
              <a:gd name="T83" fmla="*/ 22 h 68"/>
              <a:gd name="T84" fmla="*/ 47 w 70"/>
              <a:gd name="T85" fmla="*/ 34 h 68"/>
              <a:gd name="T86" fmla="*/ 35 w 70"/>
              <a:gd name="T87" fmla="*/ 46 h 68"/>
              <a:gd name="T88" fmla="*/ 35 w 70"/>
              <a:gd name="T89" fmla="*/ 46 h 68"/>
              <a:gd name="T90" fmla="*/ 35 w 70"/>
              <a:gd name="T91" fmla="*/ 46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" h="68">
                <a:moveTo>
                  <a:pt x="61" y="25"/>
                </a:moveTo>
                <a:cubicBezTo>
                  <a:pt x="59" y="22"/>
                  <a:pt x="59" y="22"/>
                  <a:pt x="59" y="22"/>
                </a:cubicBezTo>
                <a:cubicBezTo>
                  <a:pt x="63" y="13"/>
                  <a:pt x="63" y="13"/>
                  <a:pt x="62" y="12"/>
                </a:cubicBezTo>
                <a:cubicBezTo>
                  <a:pt x="57" y="7"/>
                  <a:pt x="57" y="7"/>
                  <a:pt x="57" y="7"/>
                </a:cubicBezTo>
                <a:cubicBezTo>
                  <a:pt x="57" y="7"/>
                  <a:pt x="57" y="7"/>
                  <a:pt x="57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5" y="7"/>
                  <a:pt x="47" y="10"/>
                </a:cubicBezTo>
                <a:cubicBezTo>
                  <a:pt x="44" y="9"/>
                  <a:pt x="44" y="9"/>
                  <a:pt x="44" y="9"/>
                </a:cubicBezTo>
                <a:cubicBezTo>
                  <a:pt x="40" y="0"/>
                  <a:pt x="40" y="0"/>
                  <a:pt x="39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0" y="0"/>
                  <a:pt x="30" y="0"/>
                  <a:pt x="26" y="9"/>
                </a:cubicBezTo>
                <a:cubicBezTo>
                  <a:pt x="23" y="10"/>
                  <a:pt x="23" y="10"/>
                  <a:pt x="23" y="10"/>
                </a:cubicBezTo>
                <a:cubicBezTo>
                  <a:pt x="18" y="8"/>
                  <a:pt x="15" y="7"/>
                  <a:pt x="14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8" y="12"/>
                  <a:pt x="8" y="12"/>
                  <a:pt x="8" y="12"/>
                </a:cubicBezTo>
                <a:cubicBezTo>
                  <a:pt x="7" y="13"/>
                  <a:pt x="6" y="13"/>
                  <a:pt x="11" y="22"/>
                </a:cubicBezTo>
                <a:cubicBezTo>
                  <a:pt x="10" y="25"/>
                  <a:pt x="10" y="25"/>
                  <a:pt x="10" y="25"/>
                </a:cubicBezTo>
                <a:cubicBezTo>
                  <a:pt x="0" y="29"/>
                  <a:pt x="0" y="29"/>
                  <a:pt x="0" y="31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0" y="39"/>
                  <a:pt x="10" y="43"/>
                </a:cubicBezTo>
                <a:cubicBezTo>
                  <a:pt x="11" y="46"/>
                  <a:pt x="11" y="46"/>
                  <a:pt x="11" y="46"/>
                </a:cubicBezTo>
                <a:cubicBezTo>
                  <a:pt x="7" y="55"/>
                  <a:pt x="7" y="55"/>
                  <a:pt x="8" y="56"/>
                </a:cubicBezTo>
                <a:cubicBezTo>
                  <a:pt x="13" y="61"/>
                  <a:pt x="13" y="61"/>
                  <a:pt x="13" y="61"/>
                </a:cubicBezTo>
                <a:cubicBezTo>
                  <a:pt x="13" y="61"/>
                  <a:pt x="13" y="61"/>
                  <a:pt x="13" y="61"/>
                </a:cubicBezTo>
                <a:cubicBezTo>
                  <a:pt x="14" y="61"/>
                  <a:pt x="14" y="61"/>
                  <a:pt x="14" y="61"/>
                </a:cubicBezTo>
                <a:cubicBezTo>
                  <a:pt x="14" y="61"/>
                  <a:pt x="15" y="61"/>
                  <a:pt x="23" y="58"/>
                </a:cubicBezTo>
                <a:cubicBezTo>
                  <a:pt x="26" y="59"/>
                  <a:pt x="26" y="59"/>
                  <a:pt x="26" y="59"/>
                </a:cubicBezTo>
                <a:cubicBezTo>
                  <a:pt x="30" y="68"/>
                  <a:pt x="30" y="68"/>
                  <a:pt x="32" y="68"/>
                </a:cubicBezTo>
                <a:cubicBezTo>
                  <a:pt x="39" y="68"/>
                  <a:pt x="39" y="68"/>
                  <a:pt x="39" y="68"/>
                </a:cubicBezTo>
                <a:cubicBezTo>
                  <a:pt x="40" y="68"/>
                  <a:pt x="40" y="68"/>
                  <a:pt x="44" y="59"/>
                </a:cubicBezTo>
                <a:cubicBezTo>
                  <a:pt x="47" y="58"/>
                  <a:pt x="47" y="58"/>
                  <a:pt x="47" y="58"/>
                </a:cubicBezTo>
                <a:cubicBezTo>
                  <a:pt x="52" y="60"/>
                  <a:pt x="55" y="61"/>
                  <a:pt x="56" y="61"/>
                </a:cubicBezTo>
                <a:cubicBezTo>
                  <a:pt x="57" y="61"/>
                  <a:pt x="57" y="61"/>
                  <a:pt x="57" y="61"/>
                </a:cubicBezTo>
                <a:cubicBezTo>
                  <a:pt x="63" y="56"/>
                  <a:pt x="63" y="56"/>
                  <a:pt x="63" y="56"/>
                </a:cubicBezTo>
                <a:cubicBezTo>
                  <a:pt x="63" y="55"/>
                  <a:pt x="64" y="55"/>
                  <a:pt x="59" y="45"/>
                </a:cubicBezTo>
                <a:cubicBezTo>
                  <a:pt x="61" y="43"/>
                  <a:pt x="61" y="43"/>
                  <a:pt x="61" y="43"/>
                </a:cubicBezTo>
                <a:cubicBezTo>
                  <a:pt x="70" y="39"/>
                  <a:pt x="70" y="39"/>
                  <a:pt x="70" y="37"/>
                </a:cubicBezTo>
                <a:cubicBezTo>
                  <a:pt x="70" y="30"/>
                  <a:pt x="70" y="30"/>
                  <a:pt x="70" y="30"/>
                </a:cubicBezTo>
                <a:cubicBezTo>
                  <a:pt x="70" y="29"/>
                  <a:pt x="70" y="29"/>
                  <a:pt x="61" y="25"/>
                </a:cubicBezTo>
                <a:close/>
                <a:moveTo>
                  <a:pt x="35" y="46"/>
                </a:moveTo>
                <a:cubicBezTo>
                  <a:pt x="28" y="46"/>
                  <a:pt x="23" y="41"/>
                  <a:pt x="23" y="34"/>
                </a:cubicBezTo>
                <a:cubicBezTo>
                  <a:pt x="23" y="27"/>
                  <a:pt x="28" y="22"/>
                  <a:pt x="35" y="22"/>
                </a:cubicBezTo>
                <a:cubicBezTo>
                  <a:pt x="42" y="22"/>
                  <a:pt x="47" y="27"/>
                  <a:pt x="47" y="34"/>
                </a:cubicBezTo>
                <a:cubicBezTo>
                  <a:pt x="47" y="41"/>
                  <a:pt x="42" y="46"/>
                  <a:pt x="35" y="46"/>
                </a:cubicBezTo>
                <a:close/>
                <a:moveTo>
                  <a:pt x="35" y="46"/>
                </a:moveTo>
                <a:cubicBezTo>
                  <a:pt x="35" y="46"/>
                  <a:pt x="35" y="46"/>
                  <a:pt x="35" y="46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3" name="Freeform 22"/>
          <p:cNvSpPr>
            <a:spLocks noEditPoints="1"/>
          </p:cNvSpPr>
          <p:nvPr/>
        </p:nvSpPr>
        <p:spPr bwMode="auto">
          <a:xfrm>
            <a:off x="12137636" y="6513112"/>
            <a:ext cx="396156" cy="384996"/>
          </a:xfrm>
          <a:custGeom>
            <a:avLst/>
            <a:gdLst>
              <a:gd name="T0" fmla="*/ 61 w 71"/>
              <a:gd name="T1" fmla="*/ 26 h 69"/>
              <a:gd name="T2" fmla="*/ 60 w 71"/>
              <a:gd name="T3" fmla="*/ 23 h 69"/>
              <a:gd name="T4" fmla="*/ 63 w 71"/>
              <a:gd name="T5" fmla="*/ 13 h 69"/>
              <a:gd name="T6" fmla="*/ 58 w 71"/>
              <a:gd name="T7" fmla="*/ 7 h 69"/>
              <a:gd name="T8" fmla="*/ 57 w 71"/>
              <a:gd name="T9" fmla="*/ 7 h 69"/>
              <a:gd name="T10" fmla="*/ 56 w 71"/>
              <a:gd name="T11" fmla="*/ 7 h 69"/>
              <a:gd name="T12" fmla="*/ 47 w 71"/>
              <a:gd name="T13" fmla="*/ 11 h 69"/>
              <a:gd name="T14" fmla="*/ 44 w 71"/>
              <a:gd name="T15" fmla="*/ 9 h 69"/>
              <a:gd name="T16" fmla="*/ 39 w 71"/>
              <a:gd name="T17" fmla="*/ 0 h 69"/>
              <a:gd name="T18" fmla="*/ 32 w 71"/>
              <a:gd name="T19" fmla="*/ 0 h 69"/>
              <a:gd name="T20" fmla="*/ 27 w 71"/>
              <a:gd name="T21" fmla="*/ 9 h 69"/>
              <a:gd name="T22" fmla="*/ 24 w 71"/>
              <a:gd name="T23" fmla="*/ 11 h 69"/>
              <a:gd name="T24" fmla="*/ 14 w 71"/>
              <a:gd name="T25" fmla="*/ 7 h 69"/>
              <a:gd name="T26" fmla="*/ 14 w 71"/>
              <a:gd name="T27" fmla="*/ 7 h 69"/>
              <a:gd name="T28" fmla="*/ 8 w 71"/>
              <a:gd name="T29" fmla="*/ 13 h 69"/>
              <a:gd name="T30" fmla="*/ 11 w 71"/>
              <a:gd name="T31" fmla="*/ 23 h 69"/>
              <a:gd name="T32" fmla="*/ 10 w 71"/>
              <a:gd name="T33" fmla="*/ 26 h 69"/>
              <a:gd name="T34" fmla="*/ 0 w 71"/>
              <a:gd name="T35" fmla="*/ 31 h 69"/>
              <a:gd name="T36" fmla="*/ 0 w 71"/>
              <a:gd name="T37" fmla="*/ 38 h 69"/>
              <a:gd name="T38" fmla="*/ 10 w 71"/>
              <a:gd name="T39" fmla="*/ 43 h 69"/>
              <a:gd name="T40" fmla="*/ 11 w 71"/>
              <a:gd name="T41" fmla="*/ 46 h 69"/>
              <a:gd name="T42" fmla="*/ 8 w 71"/>
              <a:gd name="T43" fmla="*/ 56 h 69"/>
              <a:gd name="T44" fmla="*/ 13 w 71"/>
              <a:gd name="T45" fmla="*/ 61 h 69"/>
              <a:gd name="T46" fmla="*/ 14 w 71"/>
              <a:gd name="T47" fmla="*/ 62 h 69"/>
              <a:gd name="T48" fmla="*/ 14 w 71"/>
              <a:gd name="T49" fmla="*/ 62 h 69"/>
              <a:gd name="T50" fmla="*/ 24 w 71"/>
              <a:gd name="T51" fmla="*/ 58 h 69"/>
              <a:gd name="T52" fmla="*/ 27 w 71"/>
              <a:gd name="T53" fmla="*/ 59 h 69"/>
              <a:gd name="T54" fmla="*/ 32 w 71"/>
              <a:gd name="T55" fmla="*/ 69 h 69"/>
              <a:gd name="T56" fmla="*/ 39 w 71"/>
              <a:gd name="T57" fmla="*/ 69 h 69"/>
              <a:gd name="T58" fmla="*/ 44 w 71"/>
              <a:gd name="T59" fmla="*/ 59 h 69"/>
              <a:gd name="T60" fmla="*/ 47 w 71"/>
              <a:gd name="T61" fmla="*/ 58 h 69"/>
              <a:gd name="T62" fmla="*/ 57 w 71"/>
              <a:gd name="T63" fmla="*/ 62 h 69"/>
              <a:gd name="T64" fmla="*/ 57 w 71"/>
              <a:gd name="T65" fmla="*/ 62 h 69"/>
              <a:gd name="T66" fmla="*/ 63 w 71"/>
              <a:gd name="T67" fmla="*/ 56 h 69"/>
              <a:gd name="T68" fmla="*/ 60 w 71"/>
              <a:gd name="T69" fmla="*/ 46 h 69"/>
              <a:gd name="T70" fmla="*/ 61 w 71"/>
              <a:gd name="T71" fmla="*/ 43 h 69"/>
              <a:gd name="T72" fmla="*/ 71 w 71"/>
              <a:gd name="T73" fmla="*/ 38 h 69"/>
              <a:gd name="T74" fmla="*/ 71 w 71"/>
              <a:gd name="T75" fmla="*/ 31 h 69"/>
              <a:gd name="T76" fmla="*/ 61 w 71"/>
              <a:gd name="T77" fmla="*/ 26 h 69"/>
              <a:gd name="T78" fmla="*/ 35 w 71"/>
              <a:gd name="T79" fmla="*/ 46 h 69"/>
              <a:gd name="T80" fmla="*/ 23 w 71"/>
              <a:gd name="T81" fmla="*/ 34 h 69"/>
              <a:gd name="T82" fmla="*/ 35 w 71"/>
              <a:gd name="T83" fmla="*/ 22 h 69"/>
              <a:gd name="T84" fmla="*/ 48 w 71"/>
              <a:gd name="T85" fmla="*/ 34 h 69"/>
              <a:gd name="T86" fmla="*/ 35 w 71"/>
              <a:gd name="T87" fmla="*/ 46 h 69"/>
              <a:gd name="T88" fmla="*/ 35 w 71"/>
              <a:gd name="T89" fmla="*/ 46 h 69"/>
              <a:gd name="T90" fmla="*/ 35 w 71"/>
              <a:gd name="T91" fmla="*/ 4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" h="69">
                <a:moveTo>
                  <a:pt x="61" y="26"/>
                </a:moveTo>
                <a:cubicBezTo>
                  <a:pt x="60" y="23"/>
                  <a:pt x="60" y="23"/>
                  <a:pt x="60" y="23"/>
                </a:cubicBezTo>
                <a:cubicBezTo>
                  <a:pt x="64" y="14"/>
                  <a:pt x="64" y="13"/>
                  <a:pt x="63" y="13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7"/>
                  <a:pt x="57" y="7"/>
                  <a:pt x="57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5" y="7"/>
                  <a:pt x="47" y="11"/>
                </a:cubicBezTo>
                <a:cubicBezTo>
                  <a:pt x="44" y="9"/>
                  <a:pt x="44" y="9"/>
                  <a:pt x="44" y="9"/>
                </a:cubicBezTo>
                <a:cubicBezTo>
                  <a:pt x="40" y="0"/>
                  <a:pt x="40" y="0"/>
                  <a:pt x="39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0" y="0"/>
                  <a:pt x="30" y="0"/>
                  <a:pt x="27" y="9"/>
                </a:cubicBezTo>
                <a:cubicBezTo>
                  <a:pt x="24" y="11"/>
                  <a:pt x="24" y="11"/>
                  <a:pt x="24" y="11"/>
                </a:cubicBezTo>
                <a:cubicBezTo>
                  <a:pt x="18" y="8"/>
                  <a:pt x="15" y="7"/>
                  <a:pt x="14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8" y="13"/>
                  <a:pt x="8" y="13"/>
                  <a:pt x="8" y="13"/>
                </a:cubicBezTo>
                <a:cubicBezTo>
                  <a:pt x="7" y="14"/>
                  <a:pt x="7" y="14"/>
                  <a:pt x="11" y="23"/>
                </a:cubicBezTo>
                <a:cubicBezTo>
                  <a:pt x="10" y="26"/>
                  <a:pt x="10" y="26"/>
                  <a:pt x="10" y="26"/>
                </a:cubicBezTo>
                <a:cubicBezTo>
                  <a:pt x="0" y="29"/>
                  <a:pt x="0" y="30"/>
                  <a:pt x="0" y="31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0" y="40"/>
                  <a:pt x="10" y="43"/>
                </a:cubicBezTo>
                <a:cubicBezTo>
                  <a:pt x="11" y="46"/>
                  <a:pt x="11" y="46"/>
                  <a:pt x="11" y="46"/>
                </a:cubicBezTo>
                <a:cubicBezTo>
                  <a:pt x="7" y="55"/>
                  <a:pt x="7" y="56"/>
                  <a:pt x="8" y="56"/>
                </a:cubicBezTo>
                <a:cubicBezTo>
                  <a:pt x="13" y="61"/>
                  <a:pt x="13" y="61"/>
                  <a:pt x="13" y="61"/>
                </a:cubicBezTo>
                <a:cubicBezTo>
                  <a:pt x="14" y="62"/>
                  <a:pt x="14" y="62"/>
                  <a:pt x="14" y="62"/>
                </a:cubicBezTo>
                <a:cubicBezTo>
                  <a:pt x="14" y="62"/>
                  <a:pt x="14" y="62"/>
                  <a:pt x="14" y="62"/>
                </a:cubicBezTo>
                <a:cubicBezTo>
                  <a:pt x="15" y="62"/>
                  <a:pt x="16" y="62"/>
                  <a:pt x="24" y="58"/>
                </a:cubicBezTo>
                <a:cubicBezTo>
                  <a:pt x="27" y="59"/>
                  <a:pt x="27" y="59"/>
                  <a:pt x="27" y="59"/>
                </a:cubicBezTo>
                <a:cubicBezTo>
                  <a:pt x="30" y="69"/>
                  <a:pt x="31" y="69"/>
                  <a:pt x="32" y="69"/>
                </a:cubicBezTo>
                <a:cubicBezTo>
                  <a:pt x="39" y="69"/>
                  <a:pt x="39" y="69"/>
                  <a:pt x="39" y="69"/>
                </a:cubicBezTo>
                <a:cubicBezTo>
                  <a:pt x="40" y="69"/>
                  <a:pt x="41" y="69"/>
                  <a:pt x="44" y="59"/>
                </a:cubicBezTo>
                <a:cubicBezTo>
                  <a:pt x="47" y="58"/>
                  <a:pt x="47" y="58"/>
                  <a:pt x="47" y="58"/>
                </a:cubicBezTo>
                <a:cubicBezTo>
                  <a:pt x="53" y="61"/>
                  <a:pt x="56" y="62"/>
                  <a:pt x="57" y="62"/>
                </a:cubicBezTo>
                <a:cubicBezTo>
                  <a:pt x="57" y="62"/>
                  <a:pt x="57" y="62"/>
                  <a:pt x="57" y="62"/>
                </a:cubicBezTo>
                <a:cubicBezTo>
                  <a:pt x="63" y="56"/>
                  <a:pt x="63" y="56"/>
                  <a:pt x="63" y="56"/>
                </a:cubicBezTo>
                <a:cubicBezTo>
                  <a:pt x="64" y="55"/>
                  <a:pt x="64" y="55"/>
                  <a:pt x="60" y="46"/>
                </a:cubicBezTo>
                <a:cubicBezTo>
                  <a:pt x="61" y="43"/>
                  <a:pt x="61" y="43"/>
                  <a:pt x="61" y="43"/>
                </a:cubicBezTo>
                <a:cubicBezTo>
                  <a:pt x="71" y="39"/>
                  <a:pt x="71" y="39"/>
                  <a:pt x="71" y="38"/>
                </a:cubicBezTo>
                <a:cubicBezTo>
                  <a:pt x="71" y="31"/>
                  <a:pt x="71" y="31"/>
                  <a:pt x="71" y="31"/>
                </a:cubicBezTo>
                <a:cubicBezTo>
                  <a:pt x="71" y="30"/>
                  <a:pt x="71" y="29"/>
                  <a:pt x="61" y="26"/>
                </a:cubicBezTo>
                <a:close/>
                <a:moveTo>
                  <a:pt x="35" y="46"/>
                </a:moveTo>
                <a:cubicBezTo>
                  <a:pt x="29" y="46"/>
                  <a:pt x="23" y="41"/>
                  <a:pt x="23" y="34"/>
                </a:cubicBezTo>
                <a:cubicBezTo>
                  <a:pt x="23" y="28"/>
                  <a:pt x="29" y="22"/>
                  <a:pt x="35" y="22"/>
                </a:cubicBezTo>
                <a:cubicBezTo>
                  <a:pt x="42" y="22"/>
                  <a:pt x="48" y="28"/>
                  <a:pt x="48" y="34"/>
                </a:cubicBezTo>
                <a:cubicBezTo>
                  <a:pt x="48" y="41"/>
                  <a:pt x="42" y="46"/>
                  <a:pt x="35" y="46"/>
                </a:cubicBezTo>
                <a:close/>
                <a:moveTo>
                  <a:pt x="35" y="46"/>
                </a:moveTo>
                <a:cubicBezTo>
                  <a:pt x="35" y="46"/>
                  <a:pt x="35" y="46"/>
                  <a:pt x="35" y="46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4" name="Freeform 23"/>
          <p:cNvSpPr>
            <a:spLocks noEditPoints="1"/>
          </p:cNvSpPr>
          <p:nvPr/>
        </p:nvSpPr>
        <p:spPr bwMode="auto">
          <a:xfrm>
            <a:off x="11735900" y="7860601"/>
            <a:ext cx="396156" cy="387786"/>
          </a:xfrm>
          <a:custGeom>
            <a:avLst/>
            <a:gdLst>
              <a:gd name="T0" fmla="*/ 61 w 71"/>
              <a:gd name="T1" fmla="*/ 26 h 69"/>
              <a:gd name="T2" fmla="*/ 60 w 71"/>
              <a:gd name="T3" fmla="*/ 23 h 69"/>
              <a:gd name="T4" fmla="*/ 63 w 71"/>
              <a:gd name="T5" fmla="*/ 12 h 69"/>
              <a:gd name="T6" fmla="*/ 58 w 71"/>
              <a:gd name="T7" fmla="*/ 7 h 69"/>
              <a:gd name="T8" fmla="*/ 57 w 71"/>
              <a:gd name="T9" fmla="*/ 7 h 69"/>
              <a:gd name="T10" fmla="*/ 56 w 71"/>
              <a:gd name="T11" fmla="*/ 7 h 69"/>
              <a:gd name="T12" fmla="*/ 47 w 71"/>
              <a:gd name="T13" fmla="*/ 10 h 69"/>
              <a:gd name="T14" fmla="*/ 44 w 71"/>
              <a:gd name="T15" fmla="*/ 9 h 69"/>
              <a:gd name="T16" fmla="*/ 39 w 71"/>
              <a:gd name="T17" fmla="*/ 0 h 69"/>
              <a:gd name="T18" fmla="*/ 32 w 71"/>
              <a:gd name="T19" fmla="*/ 0 h 69"/>
              <a:gd name="T20" fmla="*/ 27 w 71"/>
              <a:gd name="T21" fmla="*/ 9 h 69"/>
              <a:gd name="T22" fmla="*/ 24 w 71"/>
              <a:gd name="T23" fmla="*/ 11 h 69"/>
              <a:gd name="T24" fmla="*/ 14 w 71"/>
              <a:gd name="T25" fmla="*/ 7 h 69"/>
              <a:gd name="T26" fmla="*/ 14 w 71"/>
              <a:gd name="T27" fmla="*/ 7 h 69"/>
              <a:gd name="T28" fmla="*/ 8 w 71"/>
              <a:gd name="T29" fmla="*/ 13 h 69"/>
              <a:gd name="T30" fmla="*/ 11 w 71"/>
              <a:gd name="T31" fmla="*/ 23 h 69"/>
              <a:gd name="T32" fmla="*/ 10 w 71"/>
              <a:gd name="T33" fmla="*/ 26 h 69"/>
              <a:gd name="T34" fmla="*/ 0 w 71"/>
              <a:gd name="T35" fmla="*/ 31 h 69"/>
              <a:gd name="T36" fmla="*/ 0 w 71"/>
              <a:gd name="T37" fmla="*/ 38 h 69"/>
              <a:gd name="T38" fmla="*/ 10 w 71"/>
              <a:gd name="T39" fmla="*/ 43 h 69"/>
              <a:gd name="T40" fmla="*/ 11 w 71"/>
              <a:gd name="T41" fmla="*/ 46 h 69"/>
              <a:gd name="T42" fmla="*/ 8 w 71"/>
              <a:gd name="T43" fmla="*/ 56 h 69"/>
              <a:gd name="T44" fmla="*/ 13 w 71"/>
              <a:gd name="T45" fmla="*/ 61 h 69"/>
              <a:gd name="T46" fmla="*/ 14 w 71"/>
              <a:gd name="T47" fmla="*/ 62 h 69"/>
              <a:gd name="T48" fmla="*/ 14 w 71"/>
              <a:gd name="T49" fmla="*/ 62 h 69"/>
              <a:gd name="T50" fmla="*/ 24 w 71"/>
              <a:gd name="T51" fmla="*/ 58 h 69"/>
              <a:gd name="T52" fmla="*/ 27 w 71"/>
              <a:gd name="T53" fmla="*/ 59 h 69"/>
              <a:gd name="T54" fmla="*/ 32 w 71"/>
              <a:gd name="T55" fmla="*/ 69 h 69"/>
              <a:gd name="T56" fmla="*/ 39 w 71"/>
              <a:gd name="T57" fmla="*/ 69 h 69"/>
              <a:gd name="T58" fmla="*/ 44 w 71"/>
              <a:gd name="T59" fmla="*/ 59 h 69"/>
              <a:gd name="T60" fmla="*/ 47 w 71"/>
              <a:gd name="T61" fmla="*/ 58 h 69"/>
              <a:gd name="T62" fmla="*/ 57 w 71"/>
              <a:gd name="T63" fmla="*/ 62 h 69"/>
              <a:gd name="T64" fmla="*/ 57 w 71"/>
              <a:gd name="T65" fmla="*/ 62 h 69"/>
              <a:gd name="T66" fmla="*/ 63 w 71"/>
              <a:gd name="T67" fmla="*/ 56 h 69"/>
              <a:gd name="T68" fmla="*/ 60 w 71"/>
              <a:gd name="T69" fmla="*/ 46 h 69"/>
              <a:gd name="T70" fmla="*/ 61 w 71"/>
              <a:gd name="T71" fmla="*/ 43 h 69"/>
              <a:gd name="T72" fmla="*/ 71 w 71"/>
              <a:gd name="T73" fmla="*/ 38 h 69"/>
              <a:gd name="T74" fmla="*/ 71 w 71"/>
              <a:gd name="T75" fmla="*/ 31 h 69"/>
              <a:gd name="T76" fmla="*/ 61 w 71"/>
              <a:gd name="T77" fmla="*/ 26 h 69"/>
              <a:gd name="T78" fmla="*/ 35 w 71"/>
              <a:gd name="T79" fmla="*/ 46 h 69"/>
              <a:gd name="T80" fmla="*/ 23 w 71"/>
              <a:gd name="T81" fmla="*/ 34 h 69"/>
              <a:gd name="T82" fmla="*/ 35 w 71"/>
              <a:gd name="T83" fmla="*/ 22 h 69"/>
              <a:gd name="T84" fmla="*/ 48 w 71"/>
              <a:gd name="T85" fmla="*/ 34 h 69"/>
              <a:gd name="T86" fmla="*/ 35 w 71"/>
              <a:gd name="T87" fmla="*/ 46 h 69"/>
              <a:gd name="T88" fmla="*/ 35 w 71"/>
              <a:gd name="T89" fmla="*/ 46 h 69"/>
              <a:gd name="T90" fmla="*/ 35 w 71"/>
              <a:gd name="T91" fmla="*/ 4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" h="69">
                <a:moveTo>
                  <a:pt x="61" y="26"/>
                </a:moveTo>
                <a:cubicBezTo>
                  <a:pt x="60" y="23"/>
                  <a:pt x="60" y="23"/>
                  <a:pt x="60" y="23"/>
                </a:cubicBezTo>
                <a:cubicBezTo>
                  <a:pt x="64" y="13"/>
                  <a:pt x="64" y="13"/>
                  <a:pt x="63" y="12"/>
                </a:cubicBezTo>
                <a:cubicBezTo>
                  <a:pt x="58" y="7"/>
                  <a:pt x="58" y="7"/>
                  <a:pt x="58" y="7"/>
                </a:cubicBezTo>
                <a:cubicBezTo>
                  <a:pt x="57" y="7"/>
                  <a:pt x="57" y="7"/>
                  <a:pt x="57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5" y="7"/>
                  <a:pt x="47" y="10"/>
                </a:cubicBezTo>
                <a:cubicBezTo>
                  <a:pt x="44" y="9"/>
                  <a:pt x="44" y="9"/>
                  <a:pt x="44" y="9"/>
                </a:cubicBezTo>
                <a:cubicBezTo>
                  <a:pt x="40" y="0"/>
                  <a:pt x="40" y="0"/>
                  <a:pt x="39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0" y="0"/>
                  <a:pt x="30" y="0"/>
                  <a:pt x="27" y="9"/>
                </a:cubicBezTo>
                <a:cubicBezTo>
                  <a:pt x="24" y="11"/>
                  <a:pt x="24" y="11"/>
                  <a:pt x="24" y="11"/>
                </a:cubicBezTo>
                <a:cubicBezTo>
                  <a:pt x="18" y="8"/>
                  <a:pt x="15" y="7"/>
                  <a:pt x="14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8" y="13"/>
                  <a:pt x="8" y="13"/>
                  <a:pt x="8" y="13"/>
                </a:cubicBezTo>
                <a:cubicBezTo>
                  <a:pt x="7" y="13"/>
                  <a:pt x="7" y="14"/>
                  <a:pt x="11" y="23"/>
                </a:cubicBezTo>
                <a:cubicBezTo>
                  <a:pt x="10" y="26"/>
                  <a:pt x="10" y="26"/>
                  <a:pt x="10" y="26"/>
                </a:cubicBezTo>
                <a:cubicBezTo>
                  <a:pt x="0" y="29"/>
                  <a:pt x="0" y="30"/>
                  <a:pt x="0" y="31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0" y="40"/>
                  <a:pt x="10" y="43"/>
                </a:cubicBezTo>
                <a:cubicBezTo>
                  <a:pt x="11" y="46"/>
                  <a:pt x="11" y="46"/>
                  <a:pt x="11" y="46"/>
                </a:cubicBezTo>
                <a:cubicBezTo>
                  <a:pt x="7" y="55"/>
                  <a:pt x="7" y="55"/>
                  <a:pt x="8" y="56"/>
                </a:cubicBezTo>
                <a:cubicBezTo>
                  <a:pt x="13" y="61"/>
                  <a:pt x="13" y="61"/>
                  <a:pt x="13" y="61"/>
                </a:cubicBezTo>
                <a:cubicBezTo>
                  <a:pt x="14" y="62"/>
                  <a:pt x="14" y="62"/>
                  <a:pt x="14" y="62"/>
                </a:cubicBezTo>
                <a:cubicBezTo>
                  <a:pt x="14" y="62"/>
                  <a:pt x="14" y="62"/>
                  <a:pt x="14" y="62"/>
                </a:cubicBezTo>
                <a:cubicBezTo>
                  <a:pt x="15" y="62"/>
                  <a:pt x="16" y="62"/>
                  <a:pt x="24" y="58"/>
                </a:cubicBezTo>
                <a:cubicBezTo>
                  <a:pt x="27" y="59"/>
                  <a:pt x="27" y="59"/>
                  <a:pt x="27" y="59"/>
                </a:cubicBezTo>
                <a:cubicBezTo>
                  <a:pt x="30" y="69"/>
                  <a:pt x="31" y="69"/>
                  <a:pt x="32" y="69"/>
                </a:cubicBezTo>
                <a:cubicBezTo>
                  <a:pt x="39" y="69"/>
                  <a:pt x="39" y="69"/>
                  <a:pt x="39" y="69"/>
                </a:cubicBezTo>
                <a:cubicBezTo>
                  <a:pt x="40" y="69"/>
                  <a:pt x="41" y="69"/>
                  <a:pt x="44" y="59"/>
                </a:cubicBezTo>
                <a:cubicBezTo>
                  <a:pt x="47" y="58"/>
                  <a:pt x="47" y="58"/>
                  <a:pt x="47" y="58"/>
                </a:cubicBezTo>
                <a:cubicBezTo>
                  <a:pt x="53" y="60"/>
                  <a:pt x="56" y="62"/>
                  <a:pt x="57" y="62"/>
                </a:cubicBezTo>
                <a:cubicBezTo>
                  <a:pt x="57" y="62"/>
                  <a:pt x="57" y="62"/>
                  <a:pt x="57" y="62"/>
                </a:cubicBezTo>
                <a:cubicBezTo>
                  <a:pt x="63" y="56"/>
                  <a:pt x="63" y="56"/>
                  <a:pt x="63" y="56"/>
                </a:cubicBezTo>
                <a:cubicBezTo>
                  <a:pt x="64" y="55"/>
                  <a:pt x="64" y="55"/>
                  <a:pt x="60" y="46"/>
                </a:cubicBezTo>
                <a:cubicBezTo>
                  <a:pt x="61" y="43"/>
                  <a:pt x="61" y="43"/>
                  <a:pt x="61" y="43"/>
                </a:cubicBezTo>
                <a:cubicBezTo>
                  <a:pt x="71" y="39"/>
                  <a:pt x="71" y="39"/>
                  <a:pt x="71" y="38"/>
                </a:cubicBezTo>
                <a:cubicBezTo>
                  <a:pt x="71" y="31"/>
                  <a:pt x="71" y="31"/>
                  <a:pt x="71" y="31"/>
                </a:cubicBezTo>
                <a:cubicBezTo>
                  <a:pt x="71" y="29"/>
                  <a:pt x="71" y="29"/>
                  <a:pt x="61" y="26"/>
                </a:cubicBezTo>
                <a:close/>
                <a:moveTo>
                  <a:pt x="35" y="46"/>
                </a:moveTo>
                <a:cubicBezTo>
                  <a:pt x="29" y="46"/>
                  <a:pt x="23" y="41"/>
                  <a:pt x="23" y="34"/>
                </a:cubicBezTo>
                <a:cubicBezTo>
                  <a:pt x="23" y="28"/>
                  <a:pt x="29" y="22"/>
                  <a:pt x="35" y="22"/>
                </a:cubicBezTo>
                <a:cubicBezTo>
                  <a:pt x="42" y="22"/>
                  <a:pt x="48" y="28"/>
                  <a:pt x="48" y="34"/>
                </a:cubicBezTo>
                <a:cubicBezTo>
                  <a:pt x="48" y="41"/>
                  <a:pt x="42" y="46"/>
                  <a:pt x="35" y="46"/>
                </a:cubicBezTo>
                <a:close/>
                <a:moveTo>
                  <a:pt x="35" y="46"/>
                </a:moveTo>
                <a:cubicBezTo>
                  <a:pt x="35" y="46"/>
                  <a:pt x="35" y="46"/>
                  <a:pt x="35" y="46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5" name="Freeform 24"/>
          <p:cNvSpPr>
            <a:spLocks noEditPoints="1"/>
          </p:cNvSpPr>
          <p:nvPr/>
        </p:nvSpPr>
        <p:spPr bwMode="auto">
          <a:xfrm>
            <a:off x="12394300" y="8661280"/>
            <a:ext cx="390576" cy="384996"/>
          </a:xfrm>
          <a:custGeom>
            <a:avLst/>
            <a:gdLst>
              <a:gd name="T0" fmla="*/ 61 w 70"/>
              <a:gd name="T1" fmla="*/ 26 h 69"/>
              <a:gd name="T2" fmla="*/ 60 w 70"/>
              <a:gd name="T3" fmla="*/ 23 h 69"/>
              <a:gd name="T4" fmla="*/ 63 w 70"/>
              <a:gd name="T5" fmla="*/ 12 h 69"/>
              <a:gd name="T6" fmla="*/ 57 w 70"/>
              <a:gd name="T7" fmla="*/ 7 h 69"/>
              <a:gd name="T8" fmla="*/ 57 w 70"/>
              <a:gd name="T9" fmla="*/ 7 h 69"/>
              <a:gd name="T10" fmla="*/ 56 w 70"/>
              <a:gd name="T11" fmla="*/ 7 h 69"/>
              <a:gd name="T12" fmla="*/ 47 w 70"/>
              <a:gd name="T13" fmla="*/ 10 h 69"/>
              <a:gd name="T14" fmla="*/ 44 w 70"/>
              <a:gd name="T15" fmla="*/ 9 h 69"/>
              <a:gd name="T16" fmla="*/ 39 w 70"/>
              <a:gd name="T17" fmla="*/ 0 h 69"/>
              <a:gd name="T18" fmla="*/ 31 w 70"/>
              <a:gd name="T19" fmla="*/ 0 h 69"/>
              <a:gd name="T20" fmla="*/ 26 w 70"/>
              <a:gd name="T21" fmla="*/ 9 h 69"/>
              <a:gd name="T22" fmla="*/ 24 w 70"/>
              <a:gd name="T23" fmla="*/ 10 h 69"/>
              <a:gd name="T24" fmla="*/ 14 w 70"/>
              <a:gd name="T25" fmla="*/ 7 h 69"/>
              <a:gd name="T26" fmla="*/ 13 w 70"/>
              <a:gd name="T27" fmla="*/ 7 h 69"/>
              <a:gd name="T28" fmla="*/ 8 w 70"/>
              <a:gd name="T29" fmla="*/ 13 h 69"/>
              <a:gd name="T30" fmla="*/ 11 w 70"/>
              <a:gd name="T31" fmla="*/ 23 h 69"/>
              <a:gd name="T32" fmla="*/ 10 w 70"/>
              <a:gd name="T33" fmla="*/ 26 h 69"/>
              <a:gd name="T34" fmla="*/ 0 w 70"/>
              <a:gd name="T35" fmla="*/ 31 h 69"/>
              <a:gd name="T36" fmla="*/ 0 w 70"/>
              <a:gd name="T37" fmla="*/ 38 h 69"/>
              <a:gd name="T38" fmla="*/ 10 w 70"/>
              <a:gd name="T39" fmla="*/ 43 h 69"/>
              <a:gd name="T40" fmla="*/ 11 w 70"/>
              <a:gd name="T41" fmla="*/ 46 h 69"/>
              <a:gd name="T42" fmla="*/ 8 w 70"/>
              <a:gd name="T43" fmla="*/ 56 h 69"/>
              <a:gd name="T44" fmla="*/ 13 w 70"/>
              <a:gd name="T45" fmla="*/ 61 h 69"/>
              <a:gd name="T46" fmla="*/ 14 w 70"/>
              <a:gd name="T47" fmla="*/ 62 h 69"/>
              <a:gd name="T48" fmla="*/ 14 w 70"/>
              <a:gd name="T49" fmla="*/ 62 h 69"/>
              <a:gd name="T50" fmla="*/ 24 w 70"/>
              <a:gd name="T51" fmla="*/ 58 h 69"/>
              <a:gd name="T52" fmla="*/ 26 w 70"/>
              <a:gd name="T53" fmla="*/ 59 h 69"/>
              <a:gd name="T54" fmla="*/ 32 w 70"/>
              <a:gd name="T55" fmla="*/ 69 h 69"/>
              <a:gd name="T56" fmla="*/ 39 w 70"/>
              <a:gd name="T57" fmla="*/ 69 h 69"/>
              <a:gd name="T58" fmla="*/ 44 w 70"/>
              <a:gd name="T59" fmla="*/ 59 h 69"/>
              <a:gd name="T60" fmla="*/ 47 w 70"/>
              <a:gd name="T61" fmla="*/ 58 h 69"/>
              <a:gd name="T62" fmla="*/ 56 w 70"/>
              <a:gd name="T63" fmla="*/ 61 h 69"/>
              <a:gd name="T64" fmla="*/ 57 w 70"/>
              <a:gd name="T65" fmla="*/ 61 h 69"/>
              <a:gd name="T66" fmla="*/ 63 w 70"/>
              <a:gd name="T67" fmla="*/ 56 h 69"/>
              <a:gd name="T68" fmla="*/ 60 w 70"/>
              <a:gd name="T69" fmla="*/ 46 h 69"/>
              <a:gd name="T70" fmla="*/ 61 w 70"/>
              <a:gd name="T71" fmla="*/ 43 h 69"/>
              <a:gd name="T72" fmla="*/ 70 w 70"/>
              <a:gd name="T73" fmla="*/ 38 h 69"/>
              <a:gd name="T74" fmla="*/ 70 w 70"/>
              <a:gd name="T75" fmla="*/ 30 h 69"/>
              <a:gd name="T76" fmla="*/ 61 w 70"/>
              <a:gd name="T77" fmla="*/ 26 h 69"/>
              <a:gd name="T78" fmla="*/ 35 w 70"/>
              <a:gd name="T79" fmla="*/ 46 h 69"/>
              <a:gd name="T80" fmla="*/ 23 w 70"/>
              <a:gd name="T81" fmla="*/ 34 h 69"/>
              <a:gd name="T82" fmla="*/ 35 w 70"/>
              <a:gd name="T83" fmla="*/ 22 h 69"/>
              <a:gd name="T84" fmla="*/ 48 w 70"/>
              <a:gd name="T85" fmla="*/ 34 h 69"/>
              <a:gd name="T86" fmla="*/ 35 w 70"/>
              <a:gd name="T87" fmla="*/ 46 h 69"/>
              <a:gd name="T88" fmla="*/ 35 w 70"/>
              <a:gd name="T89" fmla="*/ 46 h 69"/>
              <a:gd name="T90" fmla="*/ 35 w 70"/>
              <a:gd name="T91" fmla="*/ 4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" h="69">
                <a:moveTo>
                  <a:pt x="61" y="26"/>
                </a:moveTo>
                <a:cubicBezTo>
                  <a:pt x="60" y="23"/>
                  <a:pt x="60" y="23"/>
                  <a:pt x="60" y="23"/>
                </a:cubicBezTo>
                <a:cubicBezTo>
                  <a:pt x="64" y="13"/>
                  <a:pt x="63" y="13"/>
                  <a:pt x="63" y="12"/>
                </a:cubicBezTo>
                <a:cubicBezTo>
                  <a:pt x="57" y="7"/>
                  <a:pt x="57" y="7"/>
                  <a:pt x="57" y="7"/>
                </a:cubicBezTo>
                <a:cubicBezTo>
                  <a:pt x="57" y="7"/>
                  <a:pt x="57" y="7"/>
                  <a:pt x="57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5" y="7"/>
                  <a:pt x="47" y="10"/>
                </a:cubicBezTo>
                <a:cubicBezTo>
                  <a:pt x="44" y="9"/>
                  <a:pt x="44" y="9"/>
                  <a:pt x="44" y="9"/>
                </a:cubicBezTo>
                <a:cubicBezTo>
                  <a:pt x="40" y="0"/>
                  <a:pt x="40" y="0"/>
                  <a:pt x="39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0" y="0"/>
                  <a:pt x="30" y="0"/>
                  <a:pt x="26" y="9"/>
                </a:cubicBezTo>
                <a:cubicBezTo>
                  <a:pt x="24" y="10"/>
                  <a:pt x="24" y="10"/>
                  <a:pt x="24" y="10"/>
                </a:cubicBezTo>
                <a:cubicBezTo>
                  <a:pt x="18" y="8"/>
                  <a:pt x="15" y="7"/>
                  <a:pt x="14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8" y="13"/>
                  <a:pt x="8" y="13"/>
                  <a:pt x="8" y="13"/>
                </a:cubicBezTo>
                <a:cubicBezTo>
                  <a:pt x="7" y="13"/>
                  <a:pt x="7" y="14"/>
                  <a:pt x="11" y="23"/>
                </a:cubicBezTo>
                <a:cubicBezTo>
                  <a:pt x="10" y="26"/>
                  <a:pt x="10" y="26"/>
                  <a:pt x="10" y="26"/>
                </a:cubicBezTo>
                <a:cubicBezTo>
                  <a:pt x="0" y="29"/>
                  <a:pt x="0" y="30"/>
                  <a:pt x="0" y="31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0" y="40"/>
                  <a:pt x="10" y="43"/>
                </a:cubicBezTo>
                <a:cubicBezTo>
                  <a:pt x="11" y="46"/>
                  <a:pt x="11" y="46"/>
                  <a:pt x="11" y="46"/>
                </a:cubicBezTo>
                <a:cubicBezTo>
                  <a:pt x="7" y="55"/>
                  <a:pt x="7" y="55"/>
                  <a:pt x="8" y="56"/>
                </a:cubicBezTo>
                <a:cubicBezTo>
                  <a:pt x="13" y="61"/>
                  <a:pt x="13" y="61"/>
                  <a:pt x="13" y="61"/>
                </a:cubicBezTo>
                <a:cubicBezTo>
                  <a:pt x="14" y="62"/>
                  <a:pt x="14" y="62"/>
                  <a:pt x="14" y="62"/>
                </a:cubicBezTo>
                <a:cubicBezTo>
                  <a:pt x="14" y="62"/>
                  <a:pt x="14" y="62"/>
                  <a:pt x="14" y="62"/>
                </a:cubicBezTo>
                <a:cubicBezTo>
                  <a:pt x="15" y="62"/>
                  <a:pt x="16" y="62"/>
                  <a:pt x="24" y="58"/>
                </a:cubicBezTo>
                <a:cubicBezTo>
                  <a:pt x="26" y="59"/>
                  <a:pt x="26" y="59"/>
                  <a:pt x="26" y="59"/>
                </a:cubicBezTo>
                <a:cubicBezTo>
                  <a:pt x="30" y="69"/>
                  <a:pt x="31" y="69"/>
                  <a:pt x="32" y="69"/>
                </a:cubicBezTo>
                <a:cubicBezTo>
                  <a:pt x="39" y="69"/>
                  <a:pt x="39" y="69"/>
                  <a:pt x="39" y="69"/>
                </a:cubicBezTo>
                <a:cubicBezTo>
                  <a:pt x="40" y="69"/>
                  <a:pt x="41" y="69"/>
                  <a:pt x="44" y="59"/>
                </a:cubicBezTo>
                <a:cubicBezTo>
                  <a:pt x="47" y="58"/>
                  <a:pt x="47" y="58"/>
                  <a:pt x="47" y="58"/>
                </a:cubicBezTo>
                <a:cubicBezTo>
                  <a:pt x="53" y="60"/>
                  <a:pt x="56" y="61"/>
                  <a:pt x="56" y="61"/>
                </a:cubicBezTo>
                <a:cubicBezTo>
                  <a:pt x="57" y="61"/>
                  <a:pt x="57" y="61"/>
                  <a:pt x="57" y="61"/>
                </a:cubicBezTo>
                <a:cubicBezTo>
                  <a:pt x="63" y="56"/>
                  <a:pt x="63" y="56"/>
                  <a:pt x="63" y="56"/>
                </a:cubicBezTo>
                <a:cubicBezTo>
                  <a:pt x="64" y="55"/>
                  <a:pt x="64" y="55"/>
                  <a:pt x="60" y="46"/>
                </a:cubicBezTo>
                <a:cubicBezTo>
                  <a:pt x="61" y="43"/>
                  <a:pt x="61" y="43"/>
                  <a:pt x="61" y="43"/>
                </a:cubicBezTo>
                <a:cubicBezTo>
                  <a:pt x="70" y="39"/>
                  <a:pt x="70" y="39"/>
                  <a:pt x="70" y="38"/>
                </a:cubicBezTo>
                <a:cubicBezTo>
                  <a:pt x="70" y="30"/>
                  <a:pt x="70" y="30"/>
                  <a:pt x="70" y="30"/>
                </a:cubicBezTo>
                <a:cubicBezTo>
                  <a:pt x="70" y="29"/>
                  <a:pt x="70" y="29"/>
                  <a:pt x="61" y="26"/>
                </a:cubicBezTo>
                <a:close/>
                <a:moveTo>
                  <a:pt x="35" y="46"/>
                </a:moveTo>
                <a:cubicBezTo>
                  <a:pt x="29" y="46"/>
                  <a:pt x="23" y="41"/>
                  <a:pt x="23" y="34"/>
                </a:cubicBezTo>
                <a:cubicBezTo>
                  <a:pt x="23" y="28"/>
                  <a:pt x="29" y="22"/>
                  <a:pt x="35" y="22"/>
                </a:cubicBezTo>
                <a:cubicBezTo>
                  <a:pt x="42" y="22"/>
                  <a:pt x="48" y="28"/>
                  <a:pt x="48" y="34"/>
                </a:cubicBezTo>
                <a:cubicBezTo>
                  <a:pt x="48" y="41"/>
                  <a:pt x="42" y="46"/>
                  <a:pt x="35" y="46"/>
                </a:cubicBezTo>
                <a:close/>
                <a:moveTo>
                  <a:pt x="35" y="46"/>
                </a:moveTo>
                <a:cubicBezTo>
                  <a:pt x="35" y="46"/>
                  <a:pt x="35" y="46"/>
                  <a:pt x="35" y="46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6" name="Freeform 25"/>
          <p:cNvSpPr>
            <a:spLocks noEditPoints="1"/>
          </p:cNvSpPr>
          <p:nvPr/>
        </p:nvSpPr>
        <p:spPr bwMode="auto">
          <a:xfrm>
            <a:off x="13468382" y="8850989"/>
            <a:ext cx="390576" cy="387786"/>
          </a:xfrm>
          <a:custGeom>
            <a:avLst/>
            <a:gdLst>
              <a:gd name="T0" fmla="*/ 60 w 70"/>
              <a:gd name="T1" fmla="*/ 26 h 69"/>
              <a:gd name="T2" fmla="*/ 59 w 70"/>
              <a:gd name="T3" fmla="*/ 23 h 69"/>
              <a:gd name="T4" fmla="*/ 62 w 70"/>
              <a:gd name="T5" fmla="*/ 13 h 69"/>
              <a:gd name="T6" fmla="*/ 57 w 70"/>
              <a:gd name="T7" fmla="*/ 8 h 69"/>
              <a:gd name="T8" fmla="*/ 56 w 70"/>
              <a:gd name="T9" fmla="*/ 7 h 69"/>
              <a:gd name="T10" fmla="*/ 56 w 70"/>
              <a:gd name="T11" fmla="*/ 7 h 69"/>
              <a:gd name="T12" fmla="*/ 47 w 70"/>
              <a:gd name="T13" fmla="*/ 11 h 69"/>
              <a:gd name="T14" fmla="*/ 44 w 70"/>
              <a:gd name="T15" fmla="*/ 10 h 69"/>
              <a:gd name="T16" fmla="*/ 38 w 70"/>
              <a:gd name="T17" fmla="*/ 0 h 69"/>
              <a:gd name="T18" fmla="*/ 31 w 70"/>
              <a:gd name="T19" fmla="*/ 0 h 69"/>
              <a:gd name="T20" fmla="*/ 26 w 70"/>
              <a:gd name="T21" fmla="*/ 10 h 69"/>
              <a:gd name="T22" fmla="*/ 23 w 70"/>
              <a:gd name="T23" fmla="*/ 11 h 69"/>
              <a:gd name="T24" fmla="*/ 14 w 70"/>
              <a:gd name="T25" fmla="*/ 7 h 69"/>
              <a:gd name="T26" fmla="*/ 13 w 70"/>
              <a:gd name="T27" fmla="*/ 7 h 69"/>
              <a:gd name="T28" fmla="*/ 7 w 70"/>
              <a:gd name="T29" fmla="*/ 13 h 69"/>
              <a:gd name="T30" fmla="*/ 11 w 70"/>
              <a:gd name="T31" fmla="*/ 23 h 69"/>
              <a:gd name="T32" fmla="*/ 9 w 70"/>
              <a:gd name="T33" fmla="*/ 26 h 69"/>
              <a:gd name="T34" fmla="*/ 0 w 70"/>
              <a:gd name="T35" fmla="*/ 31 h 69"/>
              <a:gd name="T36" fmla="*/ 0 w 70"/>
              <a:gd name="T37" fmla="*/ 38 h 69"/>
              <a:gd name="T38" fmla="*/ 9 w 70"/>
              <a:gd name="T39" fmla="*/ 43 h 69"/>
              <a:gd name="T40" fmla="*/ 11 w 70"/>
              <a:gd name="T41" fmla="*/ 46 h 69"/>
              <a:gd name="T42" fmla="*/ 8 w 70"/>
              <a:gd name="T43" fmla="*/ 57 h 69"/>
              <a:gd name="T44" fmla="*/ 13 w 70"/>
              <a:gd name="T45" fmla="*/ 62 h 69"/>
              <a:gd name="T46" fmla="*/ 13 w 70"/>
              <a:gd name="T47" fmla="*/ 62 h 69"/>
              <a:gd name="T48" fmla="*/ 14 w 70"/>
              <a:gd name="T49" fmla="*/ 62 h 69"/>
              <a:gd name="T50" fmla="*/ 23 w 70"/>
              <a:gd name="T51" fmla="*/ 58 h 69"/>
              <a:gd name="T52" fmla="*/ 26 w 70"/>
              <a:gd name="T53" fmla="*/ 60 h 69"/>
              <a:gd name="T54" fmla="*/ 31 w 70"/>
              <a:gd name="T55" fmla="*/ 69 h 69"/>
              <a:gd name="T56" fmla="*/ 39 w 70"/>
              <a:gd name="T57" fmla="*/ 69 h 69"/>
              <a:gd name="T58" fmla="*/ 44 w 70"/>
              <a:gd name="T59" fmla="*/ 60 h 69"/>
              <a:gd name="T60" fmla="*/ 47 w 70"/>
              <a:gd name="T61" fmla="*/ 58 h 69"/>
              <a:gd name="T62" fmla="*/ 56 w 70"/>
              <a:gd name="T63" fmla="*/ 62 h 69"/>
              <a:gd name="T64" fmla="*/ 57 w 70"/>
              <a:gd name="T65" fmla="*/ 62 h 69"/>
              <a:gd name="T66" fmla="*/ 62 w 70"/>
              <a:gd name="T67" fmla="*/ 56 h 69"/>
              <a:gd name="T68" fmla="*/ 59 w 70"/>
              <a:gd name="T69" fmla="*/ 46 h 69"/>
              <a:gd name="T70" fmla="*/ 60 w 70"/>
              <a:gd name="T71" fmla="*/ 43 h 69"/>
              <a:gd name="T72" fmla="*/ 70 w 70"/>
              <a:gd name="T73" fmla="*/ 38 h 69"/>
              <a:gd name="T74" fmla="*/ 70 w 70"/>
              <a:gd name="T75" fmla="*/ 31 h 69"/>
              <a:gd name="T76" fmla="*/ 60 w 70"/>
              <a:gd name="T77" fmla="*/ 26 h 69"/>
              <a:gd name="T78" fmla="*/ 35 w 70"/>
              <a:gd name="T79" fmla="*/ 47 h 69"/>
              <a:gd name="T80" fmla="*/ 23 w 70"/>
              <a:gd name="T81" fmla="*/ 35 h 69"/>
              <a:gd name="T82" fmla="*/ 35 w 70"/>
              <a:gd name="T83" fmla="*/ 23 h 69"/>
              <a:gd name="T84" fmla="*/ 47 w 70"/>
              <a:gd name="T85" fmla="*/ 35 h 69"/>
              <a:gd name="T86" fmla="*/ 35 w 70"/>
              <a:gd name="T87" fmla="*/ 47 h 69"/>
              <a:gd name="T88" fmla="*/ 35 w 70"/>
              <a:gd name="T89" fmla="*/ 47 h 69"/>
              <a:gd name="T90" fmla="*/ 35 w 70"/>
              <a:gd name="T91" fmla="*/ 47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" h="69">
                <a:moveTo>
                  <a:pt x="60" y="26"/>
                </a:moveTo>
                <a:cubicBezTo>
                  <a:pt x="59" y="23"/>
                  <a:pt x="59" y="23"/>
                  <a:pt x="59" y="23"/>
                </a:cubicBezTo>
                <a:cubicBezTo>
                  <a:pt x="63" y="14"/>
                  <a:pt x="63" y="14"/>
                  <a:pt x="62" y="13"/>
                </a:cubicBezTo>
                <a:cubicBezTo>
                  <a:pt x="57" y="8"/>
                  <a:pt x="57" y="8"/>
                  <a:pt x="57" y="8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5" y="7"/>
                  <a:pt x="55" y="7"/>
                  <a:pt x="47" y="11"/>
                </a:cubicBezTo>
                <a:cubicBezTo>
                  <a:pt x="44" y="10"/>
                  <a:pt x="44" y="10"/>
                  <a:pt x="44" y="10"/>
                </a:cubicBezTo>
                <a:cubicBezTo>
                  <a:pt x="40" y="0"/>
                  <a:pt x="39" y="0"/>
                  <a:pt x="38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0" y="0"/>
                  <a:pt x="29" y="0"/>
                  <a:pt x="26" y="10"/>
                </a:cubicBezTo>
                <a:cubicBezTo>
                  <a:pt x="23" y="11"/>
                  <a:pt x="23" y="11"/>
                  <a:pt x="23" y="11"/>
                </a:cubicBezTo>
                <a:cubicBezTo>
                  <a:pt x="18" y="9"/>
                  <a:pt x="15" y="7"/>
                  <a:pt x="14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7" y="13"/>
                  <a:pt x="7" y="13"/>
                  <a:pt x="7" y="13"/>
                </a:cubicBezTo>
                <a:cubicBezTo>
                  <a:pt x="6" y="14"/>
                  <a:pt x="6" y="14"/>
                  <a:pt x="11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0" y="30"/>
                  <a:pt x="0" y="30"/>
                  <a:pt x="0" y="31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40"/>
                  <a:pt x="0" y="40"/>
                  <a:pt x="9" y="43"/>
                </a:cubicBezTo>
                <a:cubicBezTo>
                  <a:pt x="11" y="46"/>
                  <a:pt x="11" y="46"/>
                  <a:pt x="11" y="46"/>
                </a:cubicBezTo>
                <a:cubicBezTo>
                  <a:pt x="6" y="55"/>
                  <a:pt x="7" y="56"/>
                  <a:pt x="8" y="57"/>
                </a:cubicBezTo>
                <a:cubicBezTo>
                  <a:pt x="13" y="62"/>
                  <a:pt x="13" y="62"/>
                  <a:pt x="13" y="62"/>
                </a:cubicBezTo>
                <a:cubicBezTo>
                  <a:pt x="13" y="62"/>
                  <a:pt x="13" y="62"/>
                  <a:pt x="13" y="62"/>
                </a:cubicBezTo>
                <a:cubicBezTo>
                  <a:pt x="14" y="62"/>
                  <a:pt x="14" y="62"/>
                  <a:pt x="14" y="62"/>
                </a:cubicBezTo>
                <a:cubicBezTo>
                  <a:pt x="14" y="62"/>
                  <a:pt x="15" y="62"/>
                  <a:pt x="23" y="58"/>
                </a:cubicBezTo>
                <a:cubicBezTo>
                  <a:pt x="26" y="60"/>
                  <a:pt x="26" y="60"/>
                  <a:pt x="26" y="60"/>
                </a:cubicBezTo>
                <a:cubicBezTo>
                  <a:pt x="30" y="69"/>
                  <a:pt x="30" y="69"/>
                  <a:pt x="31" y="69"/>
                </a:cubicBezTo>
                <a:cubicBezTo>
                  <a:pt x="39" y="69"/>
                  <a:pt x="39" y="69"/>
                  <a:pt x="39" y="69"/>
                </a:cubicBezTo>
                <a:cubicBezTo>
                  <a:pt x="40" y="69"/>
                  <a:pt x="40" y="69"/>
                  <a:pt x="44" y="60"/>
                </a:cubicBezTo>
                <a:cubicBezTo>
                  <a:pt x="47" y="58"/>
                  <a:pt x="47" y="58"/>
                  <a:pt x="47" y="58"/>
                </a:cubicBezTo>
                <a:cubicBezTo>
                  <a:pt x="52" y="61"/>
                  <a:pt x="55" y="62"/>
                  <a:pt x="56" y="62"/>
                </a:cubicBezTo>
                <a:cubicBezTo>
                  <a:pt x="57" y="62"/>
                  <a:pt x="57" y="62"/>
                  <a:pt x="57" y="62"/>
                </a:cubicBezTo>
                <a:cubicBezTo>
                  <a:pt x="62" y="56"/>
                  <a:pt x="62" y="56"/>
                  <a:pt x="62" y="56"/>
                </a:cubicBezTo>
                <a:cubicBezTo>
                  <a:pt x="63" y="55"/>
                  <a:pt x="63" y="55"/>
                  <a:pt x="59" y="46"/>
                </a:cubicBezTo>
                <a:cubicBezTo>
                  <a:pt x="60" y="43"/>
                  <a:pt x="60" y="43"/>
                  <a:pt x="60" y="43"/>
                </a:cubicBezTo>
                <a:cubicBezTo>
                  <a:pt x="70" y="40"/>
                  <a:pt x="70" y="39"/>
                  <a:pt x="70" y="38"/>
                </a:cubicBezTo>
                <a:cubicBezTo>
                  <a:pt x="70" y="31"/>
                  <a:pt x="70" y="31"/>
                  <a:pt x="70" y="31"/>
                </a:cubicBezTo>
                <a:cubicBezTo>
                  <a:pt x="70" y="30"/>
                  <a:pt x="70" y="29"/>
                  <a:pt x="60" y="26"/>
                </a:cubicBezTo>
                <a:close/>
                <a:moveTo>
                  <a:pt x="35" y="47"/>
                </a:moveTo>
                <a:cubicBezTo>
                  <a:pt x="28" y="47"/>
                  <a:pt x="23" y="41"/>
                  <a:pt x="23" y="35"/>
                </a:cubicBezTo>
                <a:cubicBezTo>
                  <a:pt x="23" y="28"/>
                  <a:pt x="28" y="23"/>
                  <a:pt x="35" y="23"/>
                </a:cubicBezTo>
                <a:cubicBezTo>
                  <a:pt x="42" y="23"/>
                  <a:pt x="47" y="28"/>
                  <a:pt x="47" y="35"/>
                </a:cubicBezTo>
                <a:cubicBezTo>
                  <a:pt x="47" y="41"/>
                  <a:pt x="42" y="47"/>
                  <a:pt x="35" y="47"/>
                </a:cubicBezTo>
                <a:close/>
                <a:moveTo>
                  <a:pt x="35" y="47"/>
                </a:moveTo>
                <a:cubicBezTo>
                  <a:pt x="35" y="47"/>
                  <a:pt x="35" y="47"/>
                  <a:pt x="35" y="47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7" name="Freeform 26"/>
          <p:cNvSpPr>
            <a:spLocks noEditPoints="1"/>
          </p:cNvSpPr>
          <p:nvPr/>
        </p:nvSpPr>
        <p:spPr bwMode="auto">
          <a:xfrm>
            <a:off x="11808436" y="9367106"/>
            <a:ext cx="390576" cy="384996"/>
          </a:xfrm>
          <a:custGeom>
            <a:avLst/>
            <a:gdLst>
              <a:gd name="T0" fmla="*/ 60 w 70"/>
              <a:gd name="T1" fmla="*/ 26 h 69"/>
              <a:gd name="T2" fmla="*/ 59 w 70"/>
              <a:gd name="T3" fmla="*/ 23 h 69"/>
              <a:gd name="T4" fmla="*/ 62 w 70"/>
              <a:gd name="T5" fmla="*/ 12 h 69"/>
              <a:gd name="T6" fmla="*/ 57 w 70"/>
              <a:gd name="T7" fmla="*/ 7 h 69"/>
              <a:gd name="T8" fmla="*/ 56 w 70"/>
              <a:gd name="T9" fmla="*/ 7 h 69"/>
              <a:gd name="T10" fmla="*/ 56 w 70"/>
              <a:gd name="T11" fmla="*/ 7 h 69"/>
              <a:gd name="T12" fmla="*/ 46 w 70"/>
              <a:gd name="T13" fmla="*/ 10 h 69"/>
              <a:gd name="T14" fmla="*/ 44 w 70"/>
              <a:gd name="T15" fmla="*/ 9 h 69"/>
              <a:gd name="T16" fmla="*/ 38 w 70"/>
              <a:gd name="T17" fmla="*/ 0 h 69"/>
              <a:gd name="T18" fmla="*/ 31 w 70"/>
              <a:gd name="T19" fmla="*/ 0 h 69"/>
              <a:gd name="T20" fmla="*/ 26 w 70"/>
              <a:gd name="T21" fmla="*/ 9 h 69"/>
              <a:gd name="T22" fmla="*/ 23 w 70"/>
              <a:gd name="T23" fmla="*/ 10 h 69"/>
              <a:gd name="T24" fmla="*/ 14 w 70"/>
              <a:gd name="T25" fmla="*/ 7 h 69"/>
              <a:gd name="T26" fmla="*/ 13 w 70"/>
              <a:gd name="T27" fmla="*/ 7 h 69"/>
              <a:gd name="T28" fmla="*/ 7 w 70"/>
              <a:gd name="T29" fmla="*/ 13 h 69"/>
              <a:gd name="T30" fmla="*/ 10 w 70"/>
              <a:gd name="T31" fmla="*/ 23 h 69"/>
              <a:gd name="T32" fmla="*/ 9 w 70"/>
              <a:gd name="T33" fmla="*/ 26 h 69"/>
              <a:gd name="T34" fmla="*/ 0 w 70"/>
              <a:gd name="T35" fmla="*/ 31 h 69"/>
              <a:gd name="T36" fmla="*/ 0 w 70"/>
              <a:gd name="T37" fmla="*/ 38 h 69"/>
              <a:gd name="T38" fmla="*/ 9 w 70"/>
              <a:gd name="T39" fmla="*/ 43 h 69"/>
              <a:gd name="T40" fmla="*/ 10 w 70"/>
              <a:gd name="T41" fmla="*/ 46 h 69"/>
              <a:gd name="T42" fmla="*/ 7 w 70"/>
              <a:gd name="T43" fmla="*/ 56 h 69"/>
              <a:gd name="T44" fmla="*/ 13 w 70"/>
              <a:gd name="T45" fmla="*/ 61 h 69"/>
              <a:gd name="T46" fmla="*/ 13 w 70"/>
              <a:gd name="T47" fmla="*/ 62 h 69"/>
              <a:gd name="T48" fmla="*/ 14 w 70"/>
              <a:gd name="T49" fmla="*/ 62 h 69"/>
              <a:gd name="T50" fmla="*/ 23 w 70"/>
              <a:gd name="T51" fmla="*/ 58 h 69"/>
              <a:gd name="T52" fmla="*/ 26 w 70"/>
              <a:gd name="T53" fmla="*/ 59 h 69"/>
              <a:gd name="T54" fmla="*/ 31 w 70"/>
              <a:gd name="T55" fmla="*/ 69 h 69"/>
              <a:gd name="T56" fmla="*/ 39 w 70"/>
              <a:gd name="T57" fmla="*/ 69 h 69"/>
              <a:gd name="T58" fmla="*/ 44 w 70"/>
              <a:gd name="T59" fmla="*/ 59 h 69"/>
              <a:gd name="T60" fmla="*/ 47 w 70"/>
              <a:gd name="T61" fmla="*/ 58 h 69"/>
              <a:gd name="T62" fmla="*/ 56 w 70"/>
              <a:gd name="T63" fmla="*/ 62 h 69"/>
              <a:gd name="T64" fmla="*/ 57 w 70"/>
              <a:gd name="T65" fmla="*/ 61 h 69"/>
              <a:gd name="T66" fmla="*/ 62 w 70"/>
              <a:gd name="T67" fmla="*/ 56 h 69"/>
              <a:gd name="T68" fmla="*/ 59 w 70"/>
              <a:gd name="T69" fmla="*/ 46 h 69"/>
              <a:gd name="T70" fmla="*/ 60 w 70"/>
              <a:gd name="T71" fmla="*/ 43 h 69"/>
              <a:gd name="T72" fmla="*/ 70 w 70"/>
              <a:gd name="T73" fmla="*/ 38 h 69"/>
              <a:gd name="T74" fmla="*/ 70 w 70"/>
              <a:gd name="T75" fmla="*/ 30 h 69"/>
              <a:gd name="T76" fmla="*/ 60 w 70"/>
              <a:gd name="T77" fmla="*/ 26 h 69"/>
              <a:gd name="T78" fmla="*/ 35 w 70"/>
              <a:gd name="T79" fmla="*/ 46 h 69"/>
              <a:gd name="T80" fmla="*/ 22 w 70"/>
              <a:gd name="T81" fmla="*/ 34 h 69"/>
              <a:gd name="T82" fmla="*/ 35 w 70"/>
              <a:gd name="T83" fmla="*/ 22 h 69"/>
              <a:gd name="T84" fmla="*/ 47 w 70"/>
              <a:gd name="T85" fmla="*/ 34 h 69"/>
              <a:gd name="T86" fmla="*/ 35 w 70"/>
              <a:gd name="T87" fmla="*/ 46 h 69"/>
              <a:gd name="T88" fmla="*/ 35 w 70"/>
              <a:gd name="T89" fmla="*/ 46 h 69"/>
              <a:gd name="T90" fmla="*/ 35 w 70"/>
              <a:gd name="T91" fmla="*/ 4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" h="69">
                <a:moveTo>
                  <a:pt x="60" y="26"/>
                </a:moveTo>
                <a:cubicBezTo>
                  <a:pt x="59" y="23"/>
                  <a:pt x="59" y="23"/>
                  <a:pt x="59" y="23"/>
                </a:cubicBezTo>
                <a:cubicBezTo>
                  <a:pt x="63" y="13"/>
                  <a:pt x="63" y="13"/>
                  <a:pt x="62" y="12"/>
                </a:cubicBezTo>
                <a:cubicBezTo>
                  <a:pt x="57" y="7"/>
                  <a:pt x="57" y="7"/>
                  <a:pt x="57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5" y="7"/>
                  <a:pt x="54" y="7"/>
                  <a:pt x="46" y="10"/>
                </a:cubicBezTo>
                <a:cubicBezTo>
                  <a:pt x="44" y="9"/>
                  <a:pt x="44" y="9"/>
                  <a:pt x="44" y="9"/>
                </a:cubicBezTo>
                <a:cubicBezTo>
                  <a:pt x="40" y="0"/>
                  <a:pt x="39" y="0"/>
                  <a:pt x="38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0" y="0"/>
                  <a:pt x="29" y="0"/>
                  <a:pt x="26" y="9"/>
                </a:cubicBezTo>
                <a:cubicBezTo>
                  <a:pt x="23" y="10"/>
                  <a:pt x="23" y="10"/>
                  <a:pt x="23" y="10"/>
                </a:cubicBezTo>
                <a:cubicBezTo>
                  <a:pt x="18" y="8"/>
                  <a:pt x="14" y="7"/>
                  <a:pt x="14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7" y="13"/>
                  <a:pt x="7" y="13"/>
                  <a:pt x="7" y="13"/>
                </a:cubicBezTo>
                <a:cubicBezTo>
                  <a:pt x="6" y="13"/>
                  <a:pt x="6" y="14"/>
                  <a:pt x="10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0" y="29"/>
                  <a:pt x="0" y="30"/>
                  <a:pt x="0" y="31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0" y="40"/>
                  <a:pt x="9" y="43"/>
                </a:cubicBezTo>
                <a:cubicBezTo>
                  <a:pt x="10" y="46"/>
                  <a:pt x="10" y="46"/>
                  <a:pt x="10" y="46"/>
                </a:cubicBezTo>
                <a:cubicBezTo>
                  <a:pt x="6" y="55"/>
                  <a:pt x="7" y="55"/>
                  <a:pt x="7" y="56"/>
                </a:cubicBezTo>
                <a:cubicBezTo>
                  <a:pt x="13" y="61"/>
                  <a:pt x="13" y="61"/>
                  <a:pt x="13" y="61"/>
                </a:cubicBezTo>
                <a:cubicBezTo>
                  <a:pt x="13" y="62"/>
                  <a:pt x="13" y="62"/>
                  <a:pt x="13" y="62"/>
                </a:cubicBezTo>
                <a:cubicBezTo>
                  <a:pt x="14" y="62"/>
                  <a:pt x="14" y="62"/>
                  <a:pt x="14" y="62"/>
                </a:cubicBezTo>
                <a:cubicBezTo>
                  <a:pt x="14" y="62"/>
                  <a:pt x="15" y="62"/>
                  <a:pt x="23" y="58"/>
                </a:cubicBezTo>
                <a:cubicBezTo>
                  <a:pt x="26" y="59"/>
                  <a:pt x="26" y="59"/>
                  <a:pt x="26" y="59"/>
                </a:cubicBezTo>
                <a:cubicBezTo>
                  <a:pt x="30" y="69"/>
                  <a:pt x="30" y="69"/>
                  <a:pt x="31" y="69"/>
                </a:cubicBezTo>
                <a:cubicBezTo>
                  <a:pt x="39" y="69"/>
                  <a:pt x="39" y="69"/>
                  <a:pt x="39" y="69"/>
                </a:cubicBezTo>
                <a:cubicBezTo>
                  <a:pt x="40" y="69"/>
                  <a:pt x="40" y="69"/>
                  <a:pt x="44" y="59"/>
                </a:cubicBezTo>
                <a:cubicBezTo>
                  <a:pt x="47" y="58"/>
                  <a:pt x="47" y="58"/>
                  <a:pt x="47" y="58"/>
                </a:cubicBezTo>
                <a:cubicBezTo>
                  <a:pt x="52" y="60"/>
                  <a:pt x="55" y="62"/>
                  <a:pt x="56" y="62"/>
                </a:cubicBezTo>
                <a:cubicBezTo>
                  <a:pt x="57" y="61"/>
                  <a:pt x="57" y="61"/>
                  <a:pt x="57" y="61"/>
                </a:cubicBezTo>
                <a:cubicBezTo>
                  <a:pt x="62" y="56"/>
                  <a:pt x="62" y="56"/>
                  <a:pt x="62" y="56"/>
                </a:cubicBezTo>
                <a:cubicBezTo>
                  <a:pt x="63" y="55"/>
                  <a:pt x="63" y="55"/>
                  <a:pt x="59" y="46"/>
                </a:cubicBezTo>
                <a:cubicBezTo>
                  <a:pt x="60" y="43"/>
                  <a:pt x="60" y="43"/>
                  <a:pt x="60" y="43"/>
                </a:cubicBezTo>
                <a:cubicBezTo>
                  <a:pt x="70" y="39"/>
                  <a:pt x="70" y="39"/>
                  <a:pt x="70" y="38"/>
                </a:cubicBezTo>
                <a:cubicBezTo>
                  <a:pt x="70" y="30"/>
                  <a:pt x="70" y="30"/>
                  <a:pt x="70" y="30"/>
                </a:cubicBezTo>
                <a:cubicBezTo>
                  <a:pt x="70" y="29"/>
                  <a:pt x="70" y="29"/>
                  <a:pt x="60" y="26"/>
                </a:cubicBezTo>
                <a:close/>
                <a:moveTo>
                  <a:pt x="35" y="46"/>
                </a:moveTo>
                <a:cubicBezTo>
                  <a:pt x="28" y="46"/>
                  <a:pt x="22" y="41"/>
                  <a:pt x="22" y="34"/>
                </a:cubicBezTo>
                <a:cubicBezTo>
                  <a:pt x="22" y="28"/>
                  <a:pt x="28" y="22"/>
                  <a:pt x="35" y="22"/>
                </a:cubicBezTo>
                <a:cubicBezTo>
                  <a:pt x="41" y="22"/>
                  <a:pt x="47" y="28"/>
                  <a:pt x="47" y="34"/>
                </a:cubicBezTo>
                <a:cubicBezTo>
                  <a:pt x="47" y="41"/>
                  <a:pt x="41" y="46"/>
                  <a:pt x="35" y="46"/>
                </a:cubicBezTo>
                <a:close/>
                <a:moveTo>
                  <a:pt x="35" y="46"/>
                </a:moveTo>
                <a:cubicBezTo>
                  <a:pt x="35" y="46"/>
                  <a:pt x="35" y="46"/>
                  <a:pt x="35" y="46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8" name="Freeform 27"/>
          <p:cNvSpPr>
            <a:spLocks noEditPoints="1"/>
          </p:cNvSpPr>
          <p:nvPr/>
        </p:nvSpPr>
        <p:spPr bwMode="auto">
          <a:xfrm>
            <a:off x="13976131" y="5232583"/>
            <a:ext cx="418474" cy="412894"/>
          </a:xfrm>
          <a:custGeom>
            <a:avLst/>
            <a:gdLst>
              <a:gd name="T0" fmla="*/ 65 w 75"/>
              <a:gd name="T1" fmla="*/ 27 h 74"/>
              <a:gd name="T2" fmla="*/ 64 w 75"/>
              <a:gd name="T3" fmla="*/ 24 h 74"/>
              <a:gd name="T4" fmla="*/ 67 w 75"/>
              <a:gd name="T5" fmla="*/ 13 h 74"/>
              <a:gd name="T6" fmla="*/ 61 w 75"/>
              <a:gd name="T7" fmla="*/ 8 h 74"/>
              <a:gd name="T8" fmla="*/ 61 w 75"/>
              <a:gd name="T9" fmla="*/ 7 h 74"/>
              <a:gd name="T10" fmla="*/ 60 w 75"/>
              <a:gd name="T11" fmla="*/ 7 h 74"/>
              <a:gd name="T12" fmla="*/ 50 w 75"/>
              <a:gd name="T13" fmla="*/ 11 h 74"/>
              <a:gd name="T14" fmla="*/ 47 w 75"/>
              <a:gd name="T15" fmla="*/ 10 h 74"/>
              <a:gd name="T16" fmla="*/ 41 w 75"/>
              <a:gd name="T17" fmla="*/ 0 h 74"/>
              <a:gd name="T18" fmla="*/ 33 w 75"/>
              <a:gd name="T19" fmla="*/ 0 h 74"/>
              <a:gd name="T20" fmla="*/ 28 w 75"/>
              <a:gd name="T21" fmla="*/ 10 h 74"/>
              <a:gd name="T22" fmla="*/ 25 w 75"/>
              <a:gd name="T23" fmla="*/ 11 h 74"/>
              <a:gd name="T24" fmla="*/ 15 w 75"/>
              <a:gd name="T25" fmla="*/ 7 h 74"/>
              <a:gd name="T26" fmla="*/ 14 w 75"/>
              <a:gd name="T27" fmla="*/ 7 h 74"/>
              <a:gd name="T28" fmla="*/ 8 w 75"/>
              <a:gd name="T29" fmla="*/ 13 h 74"/>
              <a:gd name="T30" fmla="*/ 11 w 75"/>
              <a:gd name="T31" fmla="*/ 24 h 74"/>
              <a:gd name="T32" fmla="*/ 10 w 75"/>
              <a:gd name="T33" fmla="*/ 27 h 74"/>
              <a:gd name="T34" fmla="*/ 0 w 75"/>
              <a:gd name="T35" fmla="*/ 33 h 74"/>
              <a:gd name="T36" fmla="*/ 0 w 75"/>
              <a:gd name="T37" fmla="*/ 41 h 74"/>
              <a:gd name="T38" fmla="*/ 10 w 75"/>
              <a:gd name="T39" fmla="*/ 46 h 74"/>
              <a:gd name="T40" fmla="*/ 11 w 75"/>
              <a:gd name="T41" fmla="*/ 49 h 74"/>
              <a:gd name="T42" fmla="*/ 8 w 75"/>
              <a:gd name="T43" fmla="*/ 60 h 74"/>
              <a:gd name="T44" fmla="*/ 14 w 75"/>
              <a:gd name="T45" fmla="*/ 66 h 74"/>
              <a:gd name="T46" fmla="*/ 14 w 75"/>
              <a:gd name="T47" fmla="*/ 66 h 74"/>
              <a:gd name="T48" fmla="*/ 15 w 75"/>
              <a:gd name="T49" fmla="*/ 66 h 74"/>
              <a:gd name="T50" fmla="*/ 25 w 75"/>
              <a:gd name="T51" fmla="*/ 62 h 74"/>
              <a:gd name="T52" fmla="*/ 28 w 75"/>
              <a:gd name="T53" fmla="*/ 64 h 74"/>
              <a:gd name="T54" fmla="*/ 34 w 75"/>
              <a:gd name="T55" fmla="*/ 74 h 74"/>
              <a:gd name="T56" fmla="*/ 42 w 75"/>
              <a:gd name="T57" fmla="*/ 74 h 74"/>
              <a:gd name="T58" fmla="*/ 47 w 75"/>
              <a:gd name="T59" fmla="*/ 64 h 74"/>
              <a:gd name="T60" fmla="*/ 50 w 75"/>
              <a:gd name="T61" fmla="*/ 62 h 74"/>
              <a:gd name="T62" fmla="*/ 60 w 75"/>
              <a:gd name="T63" fmla="*/ 66 h 74"/>
              <a:gd name="T64" fmla="*/ 61 w 75"/>
              <a:gd name="T65" fmla="*/ 66 h 74"/>
              <a:gd name="T66" fmla="*/ 67 w 75"/>
              <a:gd name="T67" fmla="*/ 60 h 74"/>
              <a:gd name="T68" fmla="*/ 64 w 75"/>
              <a:gd name="T69" fmla="*/ 49 h 74"/>
              <a:gd name="T70" fmla="*/ 65 w 75"/>
              <a:gd name="T71" fmla="*/ 46 h 74"/>
              <a:gd name="T72" fmla="*/ 75 w 75"/>
              <a:gd name="T73" fmla="*/ 40 h 74"/>
              <a:gd name="T74" fmla="*/ 75 w 75"/>
              <a:gd name="T75" fmla="*/ 33 h 74"/>
              <a:gd name="T76" fmla="*/ 65 w 75"/>
              <a:gd name="T77" fmla="*/ 27 h 74"/>
              <a:gd name="T78" fmla="*/ 37 w 75"/>
              <a:gd name="T79" fmla="*/ 50 h 74"/>
              <a:gd name="T80" fmla="*/ 24 w 75"/>
              <a:gd name="T81" fmla="*/ 37 h 74"/>
              <a:gd name="T82" fmla="*/ 37 w 75"/>
              <a:gd name="T83" fmla="*/ 24 h 74"/>
              <a:gd name="T84" fmla="*/ 51 w 75"/>
              <a:gd name="T85" fmla="*/ 37 h 74"/>
              <a:gd name="T86" fmla="*/ 37 w 75"/>
              <a:gd name="T87" fmla="*/ 50 h 74"/>
              <a:gd name="T88" fmla="*/ 37 w 75"/>
              <a:gd name="T89" fmla="*/ 50 h 74"/>
              <a:gd name="T90" fmla="*/ 37 w 75"/>
              <a:gd name="T91" fmla="*/ 5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5" h="74">
                <a:moveTo>
                  <a:pt x="65" y="27"/>
                </a:moveTo>
                <a:cubicBezTo>
                  <a:pt x="64" y="24"/>
                  <a:pt x="64" y="24"/>
                  <a:pt x="64" y="24"/>
                </a:cubicBezTo>
                <a:cubicBezTo>
                  <a:pt x="68" y="14"/>
                  <a:pt x="68" y="14"/>
                  <a:pt x="67" y="13"/>
                </a:cubicBezTo>
                <a:cubicBezTo>
                  <a:pt x="61" y="8"/>
                  <a:pt x="61" y="8"/>
                  <a:pt x="61" y="8"/>
                </a:cubicBezTo>
                <a:cubicBezTo>
                  <a:pt x="61" y="7"/>
                  <a:pt x="61" y="7"/>
                  <a:pt x="61" y="7"/>
                </a:cubicBezTo>
                <a:cubicBezTo>
                  <a:pt x="60" y="7"/>
                  <a:pt x="60" y="7"/>
                  <a:pt x="60" y="7"/>
                </a:cubicBezTo>
                <a:cubicBezTo>
                  <a:pt x="60" y="7"/>
                  <a:pt x="59" y="7"/>
                  <a:pt x="50" y="11"/>
                </a:cubicBezTo>
                <a:cubicBezTo>
                  <a:pt x="47" y="10"/>
                  <a:pt x="47" y="10"/>
                  <a:pt x="47" y="10"/>
                </a:cubicBezTo>
                <a:cubicBezTo>
                  <a:pt x="43" y="0"/>
                  <a:pt x="42" y="0"/>
                  <a:pt x="41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2" y="0"/>
                  <a:pt x="32" y="0"/>
                  <a:pt x="28" y="10"/>
                </a:cubicBezTo>
                <a:cubicBezTo>
                  <a:pt x="25" y="11"/>
                  <a:pt x="25" y="11"/>
                  <a:pt x="25" y="11"/>
                </a:cubicBezTo>
                <a:cubicBezTo>
                  <a:pt x="19" y="9"/>
                  <a:pt x="15" y="7"/>
                  <a:pt x="15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8" y="13"/>
                  <a:pt x="8" y="13"/>
                  <a:pt x="8" y="13"/>
                </a:cubicBezTo>
                <a:cubicBezTo>
                  <a:pt x="7" y="14"/>
                  <a:pt x="7" y="15"/>
                  <a:pt x="11" y="24"/>
                </a:cubicBezTo>
                <a:cubicBezTo>
                  <a:pt x="10" y="27"/>
                  <a:pt x="10" y="27"/>
                  <a:pt x="10" y="27"/>
                </a:cubicBezTo>
                <a:cubicBezTo>
                  <a:pt x="0" y="31"/>
                  <a:pt x="0" y="32"/>
                  <a:pt x="0" y="33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2"/>
                  <a:pt x="0" y="42"/>
                  <a:pt x="10" y="46"/>
                </a:cubicBezTo>
                <a:cubicBezTo>
                  <a:pt x="11" y="49"/>
                  <a:pt x="11" y="49"/>
                  <a:pt x="11" y="49"/>
                </a:cubicBezTo>
                <a:cubicBezTo>
                  <a:pt x="7" y="59"/>
                  <a:pt x="7" y="59"/>
                  <a:pt x="8" y="60"/>
                </a:cubicBezTo>
                <a:cubicBezTo>
                  <a:pt x="14" y="66"/>
                  <a:pt x="14" y="66"/>
                  <a:pt x="14" y="66"/>
                </a:cubicBezTo>
                <a:cubicBezTo>
                  <a:pt x="14" y="66"/>
                  <a:pt x="14" y="66"/>
                  <a:pt x="14" y="66"/>
                </a:cubicBezTo>
                <a:cubicBezTo>
                  <a:pt x="15" y="66"/>
                  <a:pt x="15" y="66"/>
                  <a:pt x="15" y="66"/>
                </a:cubicBezTo>
                <a:cubicBezTo>
                  <a:pt x="15" y="66"/>
                  <a:pt x="16" y="66"/>
                  <a:pt x="25" y="62"/>
                </a:cubicBezTo>
                <a:cubicBezTo>
                  <a:pt x="28" y="64"/>
                  <a:pt x="28" y="64"/>
                  <a:pt x="28" y="64"/>
                </a:cubicBezTo>
                <a:cubicBezTo>
                  <a:pt x="32" y="74"/>
                  <a:pt x="32" y="74"/>
                  <a:pt x="34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3" y="74"/>
                  <a:pt x="43" y="74"/>
                  <a:pt x="47" y="64"/>
                </a:cubicBezTo>
                <a:cubicBezTo>
                  <a:pt x="50" y="62"/>
                  <a:pt x="50" y="62"/>
                  <a:pt x="50" y="62"/>
                </a:cubicBezTo>
                <a:cubicBezTo>
                  <a:pt x="56" y="65"/>
                  <a:pt x="59" y="66"/>
                  <a:pt x="60" y="66"/>
                </a:cubicBezTo>
                <a:cubicBezTo>
                  <a:pt x="61" y="66"/>
                  <a:pt x="61" y="66"/>
                  <a:pt x="61" y="66"/>
                </a:cubicBezTo>
                <a:cubicBezTo>
                  <a:pt x="67" y="60"/>
                  <a:pt x="67" y="60"/>
                  <a:pt x="67" y="60"/>
                </a:cubicBezTo>
                <a:cubicBezTo>
                  <a:pt x="68" y="59"/>
                  <a:pt x="68" y="59"/>
                  <a:pt x="64" y="49"/>
                </a:cubicBezTo>
                <a:cubicBezTo>
                  <a:pt x="65" y="46"/>
                  <a:pt x="65" y="46"/>
                  <a:pt x="65" y="46"/>
                </a:cubicBezTo>
                <a:cubicBezTo>
                  <a:pt x="75" y="42"/>
                  <a:pt x="75" y="42"/>
                  <a:pt x="75" y="40"/>
                </a:cubicBezTo>
                <a:cubicBezTo>
                  <a:pt x="75" y="33"/>
                  <a:pt x="75" y="33"/>
                  <a:pt x="75" y="33"/>
                </a:cubicBezTo>
                <a:cubicBezTo>
                  <a:pt x="75" y="31"/>
                  <a:pt x="75" y="31"/>
                  <a:pt x="65" y="27"/>
                </a:cubicBezTo>
                <a:close/>
                <a:moveTo>
                  <a:pt x="37" y="50"/>
                </a:moveTo>
                <a:cubicBezTo>
                  <a:pt x="30" y="50"/>
                  <a:pt x="24" y="44"/>
                  <a:pt x="24" y="37"/>
                </a:cubicBezTo>
                <a:cubicBezTo>
                  <a:pt x="24" y="30"/>
                  <a:pt x="30" y="24"/>
                  <a:pt x="37" y="24"/>
                </a:cubicBezTo>
                <a:cubicBezTo>
                  <a:pt x="45" y="24"/>
                  <a:pt x="51" y="30"/>
                  <a:pt x="51" y="37"/>
                </a:cubicBezTo>
                <a:cubicBezTo>
                  <a:pt x="51" y="44"/>
                  <a:pt x="45" y="50"/>
                  <a:pt x="37" y="50"/>
                </a:cubicBezTo>
                <a:close/>
                <a:moveTo>
                  <a:pt x="37" y="50"/>
                </a:moveTo>
                <a:cubicBezTo>
                  <a:pt x="37" y="50"/>
                  <a:pt x="37" y="50"/>
                  <a:pt x="37" y="50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9" name="Freeform 28"/>
          <p:cNvSpPr>
            <a:spLocks noEditPoints="1"/>
          </p:cNvSpPr>
          <p:nvPr/>
        </p:nvSpPr>
        <p:spPr bwMode="auto">
          <a:xfrm>
            <a:off x="13713888" y="4744362"/>
            <a:ext cx="195288" cy="189708"/>
          </a:xfrm>
          <a:custGeom>
            <a:avLst/>
            <a:gdLst>
              <a:gd name="T0" fmla="*/ 30 w 35"/>
              <a:gd name="T1" fmla="*/ 12 h 34"/>
              <a:gd name="T2" fmla="*/ 30 w 35"/>
              <a:gd name="T3" fmla="*/ 11 h 34"/>
              <a:gd name="T4" fmla="*/ 31 w 35"/>
              <a:gd name="T5" fmla="*/ 6 h 34"/>
              <a:gd name="T6" fmla="*/ 29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4 h 34"/>
              <a:gd name="T22" fmla="*/ 12 w 35"/>
              <a:gd name="T23" fmla="*/ 5 h 34"/>
              <a:gd name="T24" fmla="*/ 7 w 35"/>
              <a:gd name="T25" fmla="*/ 3 h 34"/>
              <a:gd name="T26" fmla="*/ 7 w 35"/>
              <a:gd name="T27" fmla="*/ 3 h 34"/>
              <a:gd name="T28" fmla="*/ 4 w 35"/>
              <a:gd name="T29" fmla="*/ 6 h 34"/>
              <a:gd name="T30" fmla="*/ 6 w 35"/>
              <a:gd name="T31" fmla="*/ 11 h 34"/>
              <a:gd name="T32" fmla="*/ 5 w 35"/>
              <a:gd name="T33" fmla="*/ 12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6 w 35"/>
              <a:gd name="T41" fmla="*/ 22 h 34"/>
              <a:gd name="T42" fmla="*/ 4 w 35"/>
              <a:gd name="T43" fmla="*/ 28 h 34"/>
              <a:gd name="T44" fmla="*/ 7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2 w 35"/>
              <a:gd name="T51" fmla="*/ 29 h 34"/>
              <a:gd name="T52" fmla="*/ 13 w 35"/>
              <a:gd name="T53" fmla="*/ 29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29 h 34"/>
              <a:gd name="T60" fmla="*/ 24 w 35"/>
              <a:gd name="T61" fmla="*/ 29 h 34"/>
              <a:gd name="T62" fmla="*/ 28 w 35"/>
              <a:gd name="T63" fmla="*/ 30 h 34"/>
              <a:gd name="T64" fmla="*/ 29 w 35"/>
              <a:gd name="T65" fmla="*/ 30 h 34"/>
              <a:gd name="T66" fmla="*/ 31 w 35"/>
              <a:gd name="T67" fmla="*/ 27 h 34"/>
              <a:gd name="T68" fmla="*/ 30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8 w 35"/>
              <a:gd name="T79" fmla="*/ 23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30" y="11"/>
                  <a:pt x="30" y="11"/>
                  <a:pt x="30" y="11"/>
                </a:cubicBezTo>
                <a:cubicBezTo>
                  <a:pt x="32" y="6"/>
                  <a:pt x="32" y="6"/>
                  <a:pt x="31" y="6"/>
                </a:cubicBezTo>
                <a:cubicBezTo>
                  <a:pt x="29" y="3"/>
                  <a:pt x="29" y="3"/>
                  <a:pt x="29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8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4" y="6"/>
                  <a:pt x="4" y="6"/>
                  <a:pt x="4" y="6"/>
                </a:cubicBezTo>
                <a:cubicBezTo>
                  <a:pt x="4" y="6"/>
                  <a:pt x="4" y="7"/>
                  <a:pt x="6" y="11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4"/>
                  <a:pt x="0" y="14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5" y="21"/>
                </a:cubicBezTo>
                <a:cubicBezTo>
                  <a:pt x="6" y="22"/>
                  <a:pt x="6" y="22"/>
                  <a:pt x="6" y="22"/>
                </a:cubicBezTo>
                <a:cubicBezTo>
                  <a:pt x="4" y="27"/>
                  <a:pt x="4" y="27"/>
                  <a:pt x="4" y="28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2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4" y="29"/>
                  <a:pt x="24" y="29"/>
                  <a:pt x="24" y="29"/>
                </a:cubicBezTo>
                <a:cubicBezTo>
                  <a:pt x="26" y="30"/>
                  <a:pt x="28" y="30"/>
                  <a:pt x="28" y="30"/>
                </a:cubicBezTo>
                <a:cubicBezTo>
                  <a:pt x="29" y="30"/>
                  <a:pt x="29" y="30"/>
                  <a:pt x="29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7"/>
                  <a:pt x="32" y="27"/>
                  <a:pt x="30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8" y="23"/>
                </a:moveTo>
                <a:cubicBezTo>
                  <a:pt x="14" y="23"/>
                  <a:pt x="12" y="20"/>
                  <a:pt x="12" y="17"/>
                </a:cubicBezTo>
                <a:cubicBezTo>
                  <a:pt x="12" y="13"/>
                  <a:pt x="14" y="11"/>
                  <a:pt x="18" y="11"/>
                </a:cubicBezTo>
                <a:cubicBezTo>
                  <a:pt x="21" y="11"/>
                  <a:pt x="24" y="13"/>
                  <a:pt x="24" y="17"/>
                </a:cubicBezTo>
                <a:cubicBezTo>
                  <a:pt x="24" y="20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0" name="Freeform 29"/>
          <p:cNvSpPr>
            <a:spLocks noEditPoints="1"/>
          </p:cNvSpPr>
          <p:nvPr/>
        </p:nvSpPr>
        <p:spPr bwMode="auto">
          <a:xfrm>
            <a:off x="12042782" y="7285896"/>
            <a:ext cx="195288" cy="189708"/>
          </a:xfrm>
          <a:custGeom>
            <a:avLst/>
            <a:gdLst>
              <a:gd name="T0" fmla="*/ 30 w 35"/>
              <a:gd name="T1" fmla="*/ 12 h 34"/>
              <a:gd name="T2" fmla="*/ 29 w 35"/>
              <a:gd name="T3" fmla="*/ 11 h 34"/>
              <a:gd name="T4" fmla="*/ 31 w 35"/>
              <a:gd name="T5" fmla="*/ 6 h 34"/>
              <a:gd name="T6" fmla="*/ 28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5 w 35"/>
              <a:gd name="T19" fmla="*/ 0 h 34"/>
              <a:gd name="T20" fmla="*/ 13 w 35"/>
              <a:gd name="T21" fmla="*/ 4 h 34"/>
              <a:gd name="T22" fmla="*/ 11 w 35"/>
              <a:gd name="T23" fmla="*/ 5 h 34"/>
              <a:gd name="T24" fmla="*/ 7 w 35"/>
              <a:gd name="T25" fmla="*/ 3 h 34"/>
              <a:gd name="T26" fmla="*/ 7 w 35"/>
              <a:gd name="T27" fmla="*/ 3 h 34"/>
              <a:gd name="T28" fmla="*/ 4 w 35"/>
              <a:gd name="T29" fmla="*/ 6 h 34"/>
              <a:gd name="T30" fmla="*/ 5 w 35"/>
              <a:gd name="T31" fmla="*/ 11 h 34"/>
              <a:gd name="T32" fmla="*/ 5 w 35"/>
              <a:gd name="T33" fmla="*/ 12 h 34"/>
              <a:gd name="T34" fmla="*/ 0 w 35"/>
              <a:gd name="T35" fmla="*/ 15 h 34"/>
              <a:gd name="T36" fmla="*/ 0 w 35"/>
              <a:gd name="T37" fmla="*/ 18 h 34"/>
              <a:gd name="T38" fmla="*/ 5 w 35"/>
              <a:gd name="T39" fmla="*/ 21 h 34"/>
              <a:gd name="T40" fmla="*/ 5 w 35"/>
              <a:gd name="T41" fmla="*/ 22 h 34"/>
              <a:gd name="T42" fmla="*/ 4 w 35"/>
              <a:gd name="T43" fmla="*/ 27 h 34"/>
              <a:gd name="T44" fmla="*/ 6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2 w 35"/>
              <a:gd name="T51" fmla="*/ 28 h 34"/>
              <a:gd name="T52" fmla="*/ 13 w 35"/>
              <a:gd name="T53" fmla="*/ 29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29 h 34"/>
              <a:gd name="T60" fmla="*/ 23 w 35"/>
              <a:gd name="T61" fmla="*/ 28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7 h 34"/>
              <a:gd name="T68" fmla="*/ 29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7 w 35"/>
              <a:gd name="T79" fmla="*/ 23 h 34"/>
              <a:gd name="T80" fmla="*/ 11 w 35"/>
              <a:gd name="T81" fmla="*/ 17 h 34"/>
              <a:gd name="T82" fmla="*/ 17 w 35"/>
              <a:gd name="T83" fmla="*/ 11 h 34"/>
              <a:gd name="T84" fmla="*/ 23 w 35"/>
              <a:gd name="T85" fmla="*/ 17 h 34"/>
              <a:gd name="T86" fmla="*/ 17 w 35"/>
              <a:gd name="T87" fmla="*/ 23 h 34"/>
              <a:gd name="T88" fmla="*/ 17 w 35"/>
              <a:gd name="T89" fmla="*/ 23 h 34"/>
              <a:gd name="T90" fmla="*/ 17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6"/>
                  <a:pt x="31" y="6"/>
                  <a:pt x="31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9" y="4"/>
                  <a:pt x="7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6"/>
                  <a:pt x="5" y="11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4"/>
                  <a:pt x="0" y="14"/>
                  <a:pt x="0" y="1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9"/>
                  <a:pt x="0" y="19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3" y="27"/>
                  <a:pt x="3" y="27"/>
                  <a:pt x="4" y="27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2" y="28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8"/>
                  <a:pt x="23" y="28"/>
                  <a:pt x="23" y="28"/>
                </a:cubicBezTo>
                <a:cubicBezTo>
                  <a:pt x="26" y="29"/>
                  <a:pt x="27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1" y="27"/>
                  <a:pt x="29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3"/>
                  <a:pt x="14" y="11"/>
                  <a:pt x="17" y="11"/>
                </a:cubicBezTo>
                <a:cubicBezTo>
                  <a:pt x="21" y="11"/>
                  <a:pt x="23" y="13"/>
                  <a:pt x="23" y="17"/>
                </a:cubicBezTo>
                <a:cubicBezTo>
                  <a:pt x="23" y="20"/>
                  <a:pt x="21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1" name="Freeform 30"/>
          <p:cNvSpPr>
            <a:spLocks noEditPoints="1"/>
          </p:cNvSpPr>
          <p:nvPr/>
        </p:nvSpPr>
        <p:spPr bwMode="auto">
          <a:xfrm>
            <a:off x="12137636" y="8181430"/>
            <a:ext cx="195288" cy="189708"/>
          </a:xfrm>
          <a:custGeom>
            <a:avLst/>
            <a:gdLst>
              <a:gd name="T0" fmla="*/ 30 w 35"/>
              <a:gd name="T1" fmla="*/ 12 h 34"/>
              <a:gd name="T2" fmla="*/ 30 w 35"/>
              <a:gd name="T3" fmla="*/ 11 h 34"/>
              <a:gd name="T4" fmla="*/ 31 w 35"/>
              <a:gd name="T5" fmla="*/ 6 h 34"/>
              <a:gd name="T6" fmla="*/ 29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4 h 34"/>
              <a:gd name="T22" fmla="*/ 12 w 35"/>
              <a:gd name="T23" fmla="*/ 5 h 34"/>
              <a:gd name="T24" fmla="*/ 7 w 35"/>
              <a:gd name="T25" fmla="*/ 3 h 34"/>
              <a:gd name="T26" fmla="*/ 7 w 35"/>
              <a:gd name="T27" fmla="*/ 3 h 34"/>
              <a:gd name="T28" fmla="*/ 4 w 35"/>
              <a:gd name="T29" fmla="*/ 6 h 34"/>
              <a:gd name="T30" fmla="*/ 6 w 35"/>
              <a:gd name="T31" fmla="*/ 11 h 34"/>
              <a:gd name="T32" fmla="*/ 5 w 35"/>
              <a:gd name="T33" fmla="*/ 12 h 34"/>
              <a:gd name="T34" fmla="*/ 0 w 35"/>
              <a:gd name="T35" fmla="*/ 15 h 34"/>
              <a:gd name="T36" fmla="*/ 0 w 35"/>
              <a:gd name="T37" fmla="*/ 18 h 34"/>
              <a:gd name="T38" fmla="*/ 5 w 35"/>
              <a:gd name="T39" fmla="*/ 21 h 34"/>
              <a:gd name="T40" fmla="*/ 6 w 35"/>
              <a:gd name="T41" fmla="*/ 22 h 34"/>
              <a:gd name="T42" fmla="*/ 4 w 35"/>
              <a:gd name="T43" fmla="*/ 27 h 34"/>
              <a:gd name="T44" fmla="*/ 7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2 w 35"/>
              <a:gd name="T51" fmla="*/ 28 h 34"/>
              <a:gd name="T52" fmla="*/ 13 w 35"/>
              <a:gd name="T53" fmla="*/ 29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29 h 34"/>
              <a:gd name="T60" fmla="*/ 24 w 35"/>
              <a:gd name="T61" fmla="*/ 28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7 h 34"/>
              <a:gd name="T68" fmla="*/ 30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8 w 35"/>
              <a:gd name="T79" fmla="*/ 22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2 h 34"/>
              <a:gd name="T88" fmla="*/ 18 w 35"/>
              <a:gd name="T89" fmla="*/ 22 h 34"/>
              <a:gd name="T90" fmla="*/ 18 w 35"/>
              <a:gd name="T91" fmla="*/ 22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30" y="11"/>
                  <a:pt x="30" y="11"/>
                  <a:pt x="30" y="11"/>
                </a:cubicBezTo>
                <a:cubicBezTo>
                  <a:pt x="32" y="6"/>
                  <a:pt x="32" y="6"/>
                  <a:pt x="31" y="6"/>
                </a:cubicBezTo>
                <a:cubicBezTo>
                  <a:pt x="29" y="3"/>
                  <a:pt x="29" y="3"/>
                  <a:pt x="29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8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4" y="6"/>
                  <a:pt x="4" y="6"/>
                  <a:pt x="4" y="6"/>
                </a:cubicBezTo>
                <a:cubicBezTo>
                  <a:pt x="4" y="6"/>
                  <a:pt x="3" y="6"/>
                  <a:pt x="6" y="11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4"/>
                  <a:pt x="0" y="14"/>
                  <a:pt x="0" y="1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9"/>
                  <a:pt x="0" y="19"/>
                  <a:pt x="5" y="21"/>
                </a:cubicBezTo>
                <a:cubicBezTo>
                  <a:pt x="6" y="22"/>
                  <a:pt x="6" y="22"/>
                  <a:pt x="6" y="22"/>
                </a:cubicBezTo>
                <a:cubicBezTo>
                  <a:pt x="4" y="27"/>
                  <a:pt x="4" y="27"/>
                  <a:pt x="4" y="27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2" y="28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4" y="28"/>
                  <a:pt x="24" y="28"/>
                  <a:pt x="24" y="28"/>
                </a:cubicBezTo>
                <a:cubicBezTo>
                  <a:pt x="26" y="29"/>
                  <a:pt x="28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7"/>
                  <a:pt x="32" y="27"/>
                  <a:pt x="30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8" y="22"/>
                </a:moveTo>
                <a:cubicBezTo>
                  <a:pt x="14" y="22"/>
                  <a:pt x="12" y="20"/>
                  <a:pt x="12" y="17"/>
                </a:cubicBezTo>
                <a:cubicBezTo>
                  <a:pt x="12" y="13"/>
                  <a:pt x="14" y="11"/>
                  <a:pt x="18" y="11"/>
                </a:cubicBezTo>
                <a:cubicBezTo>
                  <a:pt x="21" y="11"/>
                  <a:pt x="24" y="13"/>
                  <a:pt x="24" y="17"/>
                </a:cubicBezTo>
                <a:cubicBezTo>
                  <a:pt x="24" y="20"/>
                  <a:pt x="21" y="22"/>
                  <a:pt x="18" y="22"/>
                </a:cubicBezTo>
                <a:close/>
                <a:moveTo>
                  <a:pt x="18" y="22"/>
                </a:moveTo>
                <a:cubicBezTo>
                  <a:pt x="18" y="22"/>
                  <a:pt x="18" y="22"/>
                  <a:pt x="18" y="22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2" name="Freeform 31"/>
          <p:cNvSpPr>
            <a:spLocks noEditPoints="1"/>
          </p:cNvSpPr>
          <p:nvPr/>
        </p:nvSpPr>
        <p:spPr bwMode="auto">
          <a:xfrm>
            <a:off x="11412280" y="7921977"/>
            <a:ext cx="195288" cy="192498"/>
          </a:xfrm>
          <a:custGeom>
            <a:avLst/>
            <a:gdLst>
              <a:gd name="T0" fmla="*/ 30 w 35"/>
              <a:gd name="T1" fmla="*/ 12 h 34"/>
              <a:gd name="T2" fmla="*/ 29 w 35"/>
              <a:gd name="T3" fmla="*/ 11 h 34"/>
              <a:gd name="T4" fmla="*/ 31 w 35"/>
              <a:gd name="T5" fmla="*/ 6 h 34"/>
              <a:gd name="T6" fmla="*/ 28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5 w 35"/>
              <a:gd name="T19" fmla="*/ 0 h 34"/>
              <a:gd name="T20" fmla="*/ 13 w 35"/>
              <a:gd name="T21" fmla="*/ 4 h 34"/>
              <a:gd name="T22" fmla="*/ 11 w 35"/>
              <a:gd name="T23" fmla="*/ 5 h 34"/>
              <a:gd name="T24" fmla="*/ 7 w 35"/>
              <a:gd name="T25" fmla="*/ 3 h 34"/>
              <a:gd name="T26" fmla="*/ 6 w 35"/>
              <a:gd name="T27" fmla="*/ 3 h 34"/>
              <a:gd name="T28" fmla="*/ 4 w 35"/>
              <a:gd name="T29" fmla="*/ 6 h 34"/>
              <a:gd name="T30" fmla="*/ 5 w 35"/>
              <a:gd name="T31" fmla="*/ 11 h 34"/>
              <a:gd name="T32" fmla="*/ 5 w 35"/>
              <a:gd name="T33" fmla="*/ 12 h 34"/>
              <a:gd name="T34" fmla="*/ 0 w 35"/>
              <a:gd name="T35" fmla="*/ 15 h 34"/>
              <a:gd name="T36" fmla="*/ 0 w 35"/>
              <a:gd name="T37" fmla="*/ 18 h 34"/>
              <a:gd name="T38" fmla="*/ 5 w 35"/>
              <a:gd name="T39" fmla="*/ 21 h 34"/>
              <a:gd name="T40" fmla="*/ 5 w 35"/>
              <a:gd name="T41" fmla="*/ 22 h 34"/>
              <a:gd name="T42" fmla="*/ 4 w 35"/>
              <a:gd name="T43" fmla="*/ 27 h 34"/>
              <a:gd name="T44" fmla="*/ 6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2 w 35"/>
              <a:gd name="T51" fmla="*/ 28 h 34"/>
              <a:gd name="T52" fmla="*/ 13 w 35"/>
              <a:gd name="T53" fmla="*/ 29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29 h 34"/>
              <a:gd name="T60" fmla="*/ 23 w 35"/>
              <a:gd name="T61" fmla="*/ 28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7 h 34"/>
              <a:gd name="T68" fmla="*/ 29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7 w 35"/>
              <a:gd name="T79" fmla="*/ 22 h 34"/>
              <a:gd name="T80" fmla="*/ 11 w 35"/>
              <a:gd name="T81" fmla="*/ 17 h 34"/>
              <a:gd name="T82" fmla="*/ 17 w 35"/>
              <a:gd name="T83" fmla="*/ 11 h 34"/>
              <a:gd name="T84" fmla="*/ 23 w 35"/>
              <a:gd name="T85" fmla="*/ 17 h 34"/>
              <a:gd name="T86" fmla="*/ 17 w 35"/>
              <a:gd name="T87" fmla="*/ 22 h 34"/>
              <a:gd name="T88" fmla="*/ 17 w 35"/>
              <a:gd name="T89" fmla="*/ 22 h 34"/>
              <a:gd name="T90" fmla="*/ 17 w 35"/>
              <a:gd name="T91" fmla="*/ 22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6"/>
                  <a:pt x="31" y="6"/>
                  <a:pt x="31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9" y="4"/>
                  <a:pt x="7" y="3"/>
                  <a:pt x="7" y="3"/>
                </a:cubicBezTo>
                <a:cubicBezTo>
                  <a:pt x="6" y="3"/>
                  <a:pt x="6" y="3"/>
                  <a:pt x="6" y="3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6"/>
                  <a:pt x="5" y="11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4"/>
                  <a:pt x="0" y="14"/>
                  <a:pt x="0" y="1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9"/>
                  <a:pt x="0" y="19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3" y="27"/>
                  <a:pt x="3" y="27"/>
                  <a:pt x="4" y="27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2" y="28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8"/>
                  <a:pt x="23" y="28"/>
                  <a:pt x="23" y="28"/>
                </a:cubicBezTo>
                <a:cubicBezTo>
                  <a:pt x="26" y="29"/>
                  <a:pt x="27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1" y="27"/>
                  <a:pt x="29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7" y="22"/>
                </a:moveTo>
                <a:cubicBezTo>
                  <a:pt x="14" y="22"/>
                  <a:pt x="11" y="20"/>
                  <a:pt x="11" y="17"/>
                </a:cubicBezTo>
                <a:cubicBezTo>
                  <a:pt x="11" y="13"/>
                  <a:pt x="14" y="11"/>
                  <a:pt x="17" y="11"/>
                </a:cubicBezTo>
                <a:cubicBezTo>
                  <a:pt x="21" y="11"/>
                  <a:pt x="23" y="13"/>
                  <a:pt x="23" y="17"/>
                </a:cubicBezTo>
                <a:cubicBezTo>
                  <a:pt x="23" y="20"/>
                  <a:pt x="21" y="22"/>
                  <a:pt x="17" y="22"/>
                </a:cubicBezTo>
                <a:close/>
                <a:moveTo>
                  <a:pt x="17" y="22"/>
                </a:moveTo>
                <a:cubicBezTo>
                  <a:pt x="17" y="22"/>
                  <a:pt x="17" y="22"/>
                  <a:pt x="17" y="22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3" name="Freeform 32"/>
          <p:cNvSpPr>
            <a:spLocks noEditPoints="1"/>
          </p:cNvSpPr>
          <p:nvPr/>
        </p:nvSpPr>
        <p:spPr bwMode="auto">
          <a:xfrm>
            <a:off x="13563236" y="6702820"/>
            <a:ext cx="195288" cy="18970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1 h 34"/>
              <a:gd name="T4" fmla="*/ 31 w 35"/>
              <a:gd name="T5" fmla="*/ 6 h 34"/>
              <a:gd name="T6" fmla="*/ 29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4 w 35"/>
              <a:gd name="T13" fmla="*/ 5 h 34"/>
              <a:gd name="T14" fmla="*/ 22 w 35"/>
              <a:gd name="T15" fmla="*/ 5 h 34"/>
              <a:gd name="T16" fmla="*/ 20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5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6 h 34"/>
              <a:gd name="T30" fmla="*/ 6 w 35"/>
              <a:gd name="T31" fmla="*/ 12 h 34"/>
              <a:gd name="T32" fmla="*/ 5 w 35"/>
              <a:gd name="T33" fmla="*/ 13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2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1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30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30 h 34"/>
              <a:gd name="T60" fmla="*/ 24 w 35"/>
              <a:gd name="T61" fmla="*/ 29 h 34"/>
              <a:gd name="T62" fmla="*/ 28 w 35"/>
              <a:gd name="T63" fmla="*/ 31 h 34"/>
              <a:gd name="T64" fmla="*/ 29 w 35"/>
              <a:gd name="T65" fmla="*/ 31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1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8 w 35"/>
              <a:gd name="T79" fmla="*/ 23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1"/>
                  <a:pt x="30" y="11"/>
                  <a:pt x="30" y="11"/>
                </a:cubicBezTo>
                <a:cubicBezTo>
                  <a:pt x="32" y="7"/>
                  <a:pt x="32" y="7"/>
                  <a:pt x="31" y="6"/>
                </a:cubicBezTo>
                <a:cubicBezTo>
                  <a:pt x="29" y="4"/>
                  <a:pt x="29" y="4"/>
                  <a:pt x="29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4" y="5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2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8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6"/>
                  <a:pt x="4" y="6"/>
                  <a:pt x="4" y="6"/>
                </a:cubicBezTo>
                <a:cubicBezTo>
                  <a:pt x="4" y="7"/>
                  <a:pt x="4" y="7"/>
                  <a:pt x="6" y="12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5" y="22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7"/>
                  <a:pt x="4" y="28"/>
                  <a:pt x="4" y="28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8" y="31"/>
                  <a:pt x="8" y="31"/>
                  <a:pt x="12" y="29"/>
                </a:cubicBezTo>
                <a:cubicBezTo>
                  <a:pt x="13" y="30"/>
                  <a:pt x="13" y="30"/>
                  <a:pt x="13" y="30"/>
                </a:cubicBezTo>
                <a:cubicBezTo>
                  <a:pt x="15" y="34"/>
                  <a:pt x="16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30"/>
                </a:cubicBezTo>
                <a:cubicBezTo>
                  <a:pt x="24" y="29"/>
                  <a:pt x="24" y="29"/>
                  <a:pt x="24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9" y="31"/>
                  <a:pt x="29" y="31"/>
                  <a:pt x="29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7"/>
                  <a:pt x="32" y="27"/>
                  <a:pt x="30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20"/>
                  <a:pt x="35" y="19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5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2" y="20"/>
                  <a:pt x="12" y="17"/>
                </a:cubicBezTo>
                <a:cubicBezTo>
                  <a:pt x="12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0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4" name="Freeform 33"/>
          <p:cNvSpPr>
            <a:spLocks noEditPoints="1"/>
          </p:cNvSpPr>
          <p:nvPr/>
        </p:nvSpPr>
        <p:spPr bwMode="auto">
          <a:xfrm>
            <a:off x="13097336" y="6362462"/>
            <a:ext cx="195288" cy="18970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2 h 34"/>
              <a:gd name="T4" fmla="*/ 31 w 35"/>
              <a:gd name="T5" fmla="*/ 7 h 34"/>
              <a:gd name="T6" fmla="*/ 28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3 w 35"/>
              <a:gd name="T13" fmla="*/ 6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6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7 h 34"/>
              <a:gd name="T30" fmla="*/ 6 w 35"/>
              <a:gd name="T31" fmla="*/ 12 h 34"/>
              <a:gd name="T32" fmla="*/ 5 w 35"/>
              <a:gd name="T33" fmla="*/ 13 h 34"/>
              <a:gd name="T34" fmla="*/ 0 w 35"/>
              <a:gd name="T35" fmla="*/ 16 h 34"/>
              <a:gd name="T36" fmla="*/ 0 w 35"/>
              <a:gd name="T37" fmla="*/ 19 h 34"/>
              <a:gd name="T38" fmla="*/ 5 w 35"/>
              <a:gd name="T39" fmla="*/ 22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1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30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30 h 34"/>
              <a:gd name="T60" fmla="*/ 23 w 35"/>
              <a:gd name="T61" fmla="*/ 29 h 34"/>
              <a:gd name="T62" fmla="*/ 28 w 35"/>
              <a:gd name="T63" fmla="*/ 31 h 34"/>
              <a:gd name="T64" fmla="*/ 28 w 35"/>
              <a:gd name="T65" fmla="*/ 31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2 h 34"/>
              <a:gd name="T72" fmla="*/ 35 w 35"/>
              <a:gd name="T73" fmla="*/ 19 h 34"/>
              <a:gd name="T74" fmla="*/ 35 w 35"/>
              <a:gd name="T75" fmla="*/ 16 h 34"/>
              <a:gd name="T76" fmla="*/ 30 w 35"/>
              <a:gd name="T77" fmla="*/ 13 h 34"/>
              <a:gd name="T78" fmla="*/ 18 w 35"/>
              <a:gd name="T79" fmla="*/ 23 h 34"/>
              <a:gd name="T80" fmla="*/ 11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2"/>
                  <a:pt x="30" y="12"/>
                  <a:pt x="30" y="12"/>
                </a:cubicBezTo>
                <a:cubicBezTo>
                  <a:pt x="32" y="7"/>
                  <a:pt x="31" y="7"/>
                  <a:pt x="31" y="7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7" y="4"/>
                  <a:pt x="23" y="6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6"/>
                  <a:pt x="12" y="6"/>
                  <a:pt x="12" y="6"/>
                </a:cubicBezTo>
                <a:cubicBezTo>
                  <a:pt x="9" y="5"/>
                  <a:pt x="8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7"/>
                  <a:pt x="4" y="7"/>
                  <a:pt x="4" y="7"/>
                </a:cubicBezTo>
                <a:cubicBezTo>
                  <a:pt x="4" y="7"/>
                  <a:pt x="3" y="7"/>
                  <a:pt x="6" y="12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5" y="22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8"/>
                  <a:pt x="4" y="28"/>
                  <a:pt x="4" y="28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8" y="31"/>
                  <a:pt x="12" y="29"/>
                </a:cubicBezTo>
                <a:cubicBezTo>
                  <a:pt x="13" y="30"/>
                  <a:pt x="13" y="30"/>
                  <a:pt x="13" y="30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30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8"/>
                  <a:pt x="32" y="28"/>
                  <a:pt x="30" y="23"/>
                </a:cubicBezTo>
                <a:cubicBezTo>
                  <a:pt x="30" y="22"/>
                  <a:pt x="30" y="22"/>
                  <a:pt x="30" y="22"/>
                </a:cubicBezTo>
                <a:cubicBezTo>
                  <a:pt x="35" y="20"/>
                  <a:pt x="35" y="20"/>
                  <a:pt x="35" y="19"/>
                </a:cubicBezTo>
                <a:cubicBezTo>
                  <a:pt x="35" y="16"/>
                  <a:pt x="35" y="16"/>
                  <a:pt x="35" y="16"/>
                </a:cubicBezTo>
                <a:cubicBezTo>
                  <a:pt x="35" y="15"/>
                  <a:pt x="35" y="15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1" y="21"/>
                  <a:pt x="11" y="17"/>
                </a:cubicBezTo>
                <a:cubicBezTo>
                  <a:pt x="11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1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5" name="Freeform 34"/>
          <p:cNvSpPr>
            <a:spLocks noEditPoints="1"/>
          </p:cNvSpPr>
          <p:nvPr/>
        </p:nvSpPr>
        <p:spPr bwMode="auto">
          <a:xfrm>
            <a:off x="13764104" y="8661280"/>
            <a:ext cx="189708" cy="189708"/>
          </a:xfrm>
          <a:custGeom>
            <a:avLst/>
            <a:gdLst>
              <a:gd name="T0" fmla="*/ 30 w 34"/>
              <a:gd name="T1" fmla="*/ 13 h 34"/>
              <a:gd name="T2" fmla="*/ 29 w 34"/>
              <a:gd name="T3" fmla="*/ 11 h 34"/>
              <a:gd name="T4" fmla="*/ 30 w 34"/>
              <a:gd name="T5" fmla="*/ 6 h 34"/>
              <a:gd name="T6" fmla="*/ 28 w 34"/>
              <a:gd name="T7" fmla="*/ 3 h 34"/>
              <a:gd name="T8" fmla="*/ 28 w 34"/>
              <a:gd name="T9" fmla="*/ 3 h 34"/>
              <a:gd name="T10" fmla="*/ 27 w 34"/>
              <a:gd name="T11" fmla="*/ 3 h 34"/>
              <a:gd name="T12" fmla="*/ 23 w 34"/>
              <a:gd name="T13" fmla="*/ 5 h 34"/>
              <a:gd name="T14" fmla="*/ 21 w 34"/>
              <a:gd name="T15" fmla="*/ 4 h 34"/>
              <a:gd name="T16" fmla="*/ 19 w 34"/>
              <a:gd name="T17" fmla="*/ 0 h 34"/>
              <a:gd name="T18" fmla="*/ 15 w 34"/>
              <a:gd name="T19" fmla="*/ 0 h 34"/>
              <a:gd name="T20" fmla="*/ 13 w 34"/>
              <a:gd name="T21" fmla="*/ 4 h 34"/>
              <a:gd name="T22" fmla="*/ 11 w 34"/>
              <a:gd name="T23" fmla="*/ 5 h 34"/>
              <a:gd name="T24" fmla="*/ 6 w 34"/>
              <a:gd name="T25" fmla="*/ 3 h 34"/>
              <a:gd name="T26" fmla="*/ 6 w 34"/>
              <a:gd name="T27" fmla="*/ 3 h 34"/>
              <a:gd name="T28" fmla="*/ 3 w 34"/>
              <a:gd name="T29" fmla="*/ 6 h 34"/>
              <a:gd name="T30" fmla="*/ 5 w 34"/>
              <a:gd name="T31" fmla="*/ 11 h 34"/>
              <a:gd name="T32" fmla="*/ 4 w 34"/>
              <a:gd name="T33" fmla="*/ 13 h 34"/>
              <a:gd name="T34" fmla="*/ 0 w 34"/>
              <a:gd name="T35" fmla="*/ 15 h 34"/>
              <a:gd name="T36" fmla="*/ 0 w 34"/>
              <a:gd name="T37" fmla="*/ 19 h 34"/>
              <a:gd name="T38" fmla="*/ 4 w 34"/>
              <a:gd name="T39" fmla="*/ 21 h 34"/>
              <a:gd name="T40" fmla="*/ 5 w 34"/>
              <a:gd name="T41" fmla="*/ 23 h 34"/>
              <a:gd name="T42" fmla="*/ 3 w 34"/>
              <a:gd name="T43" fmla="*/ 28 h 34"/>
              <a:gd name="T44" fmla="*/ 6 w 34"/>
              <a:gd name="T45" fmla="*/ 30 h 34"/>
              <a:gd name="T46" fmla="*/ 6 w 34"/>
              <a:gd name="T47" fmla="*/ 30 h 34"/>
              <a:gd name="T48" fmla="*/ 7 w 34"/>
              <a:gd name="T49" fmla="*/ 30 h 34"/>
              <a:gd name="T50" fmla="*/ 11 w 34"/>
              <a:gd name="T51" fmla="*/ 29 h 34"/>
              <a:gd name="T52" fmla="*/ 13 w 34"/>
              <a:gd name="T53" fmla="*/ 29 h 34"/>
              <a:gd name="T54" fmla="*/ 15 w 34"/>
              <a:gd name="T55" fmla="*/ 34 h 34"/>
              <a:gd name="T56" fmla="*/ 19 w 34"/>
              <a:gd name="T57" fmla="*/ 34 h 34"/>
              <a:gd name="T58" fmla="*/ 21 w 34"/>
              <a:gd name="T59" fmla="*/ 29 h 34"/>
              <a:gd name="T60" fmla="*/ 23 w 34"/>
              <a:gd name="T61" fmla="*/ 29 h 34"/>
              <a:gd name="T62" fmla="*/ 27 w 34"/>
              <a:gd name="T63" fmla="*/ 30 h 34"/>
              <a:gd name="T64" fmla="*/ 28 w 34"/>
              <a:gd name="T65" fmla="*/ 30 h 34"/>
              <a:gd name="T66" fmla="*/ 31 w 34"/>
              <a:gd name="T67" fmla="*/ 28 h 34"/>
              <a:gd name="T68" fmla="*/ 29 w 34"/>
              <a:gd name="T69" fmla="*/ 23 h 34"/>
              <a:gd name="T70" fmla="*/ 30 w 34"/>
              <a:gd name="T71" fmla="*/ 21 h 34"/>
              <a:gd name="T72" fmla="*/ 34 w 34"/>
              <a:gd name="T73" fmla="*/ 19 h 34"/>
              <a:gd name="T74" fmla="*/ 34 w 34"/>
              <a:gd name="T75" fmla="*/ 15 h 34"/>
              <a:gd name="T76" fmla="*/ 30 w 34"/>
              <a:gd name="T77" fmla="*/ 13 h 34"/>
              <a:gd name="T78" fmla="*/ 17 w 34"/>
              <a:gd name="T79" fmla="*/ 23 h 34"/>
              <a:gd name="T80" fmla="*/ 11 w 34"/>
              <a:gd name="T81" fmla="*/ 17 h 34"/>
              <a:gd name="T82" fmla="*/ 17 w 34"/>
              <a:gd name="T83" fmla="*/ 11 h 34"/>
              <a:gd name="T84" fmla="*/ 23 w 34"/>
              <a:gd name="T85" fmla="*/ 17 h 34"/>
              <a:gd name="T86" fmla="*/ 17 w 34"/>
              <a:gd name="T87" fmla="*/ 23 h 34"/>
              <a:gd name="T88" fmla="*/ 17 w 34"/>
              <a:gd name="T89" fmla="*/ 23 h 34"/>
              <a:gd name="T90" fmla="*/ 17 w 34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" h="34">
                <a:moveTo>
                  <a:pt x="30" y="13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7"/>
                  <a:pt x="31" y="6"/>
                  <a:pt x="30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7" y="3"/>
                  <a:pt x="23" y="5"/>
                </a:cubicBezTo>
                <a:cubicBezTo>
                  <a:pt x="21" y="4"/>
                  <a:pt x="21" y="4"/>
                  <a:pt x="21" y="4"/>
                </a:cubicBezTo>
                <a:cubicBezTo>
                  <a:pt x="19" y="0"/>
                  <a:pt x="19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4" y="0"/>
                  <a:pt x="13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8" y="4"/>
                  <a:pt x="7" y="3"/>
                  <a:pt x="6" y="3"/>
                </a:cubicBezTo>
                <a:cubicBezTo>
                  <a:pt x="6" y="3"/>
                  <a:pt x="6" y="3"/>
                  <a:pt x="6" y="3"/>
                </a:cubicBezTo>
                <a:cubicBezTo>
                  <a:pt x="3" y="6"/>
                  <a:pt x="3" y="6"/>
                  <a:pt x="3" y="6"/>
                </a:cubicBezTo>
                <a:cubicBezTo>
                  <a:pt x="3" y="7"/>
                  <a:pt x="3" y="7"/>
                  <a:pt x="5" y="11"/>
                </a:cubicBezTo>
                <a:cubicBezTo>
                  <a:pt x="4" y="13"/>
                  <a:pt x="4" y="13"/>
                  <a:pt x="4" y="13"/>
                </a:cubicBezTo>
                <a:cubicBezTo>
                  <a:pt x="0" y="14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4" y="21"/>
                </a:cubicBezTo>
                <a:cubicBezTo>
                  <a:pt x="5" y="23"/>
                  <a:pt x="5" y="23"/>
                  <a:pt x="5" y="23"/>
                </a:cubicBezTo>
                <a:cubicBezTo>
                  <a:pt x="3" y="27"/>
                  <a:pt x="3" y="27"/>
                  <a:pt x="3" y="28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11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4" y="34"/>
                  <a:pt x="15" y="34"/>
                  <a:pt x="15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19" y="34"/>
                  <a:pt x="20" y="34"/>
                  <a:pt x="21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5" y="30"/>
                  <a:pt x="27" y="30"/>
                  <a:pt x="27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7"/>
                  <a:pt x="31" y="27"/>
                  <a:pt x="29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15"/>
                  <a:pt x="34" y="15"/>
                  <a:pt x="34" y="15"/>
                </a:cubicBezTo>
                <a:cubicBezTo>
                  <a:pt x="34" y="14"/>
                  <a:pt x="34" y="14"/>
                  <a:pt x="30" y="13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4"/>
                  <a:pt x="14" y="11"/>
                  <a:pt x="17" y="11"/>
                </a:cubicBezTo>
                <a:cubicBezTo>
                  <a:pt x="20" y="11"/>
                  <a:pt x="23" y="14"/>
                  <a:pt x="23" y="17"/>
                </a:cubicBezTo>
                <a:cubicBezTo>
                  <a:pt x="23" y="20"/>
                  <a:pt x="20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Freeform 35"/>
          <p:cNvSpPr>
            <a:spLocks noEditPoints="1"/>
          </p:cNvSpPr>
          <p:nvPr/>
        </p:nvSpPr>
        <p:spPr bwMode="auto">
          <a:xfrm>
            <a:off x="13513020" y="9272252"/>
            <a:ext cx="189708" cy="189708"/>
          </a:xfrm>
          <a:custGeom>
            <a:avLst/>
            <a:gdLst>
              <a:gd name="T0" fmla="*/ 29 w 34"/>
              <a:gd name="T1" fmla="*/ 13 h 34"/>
              <a:gd name="T2" fmla="*/ 29 w 34"/>
              <a:gd name="T3" fmla="*/ 11 h 34"/>
              <a:gd name="T4" fmla="*/ 30 w 34"/>
              <a:gd name="T5" fmla="*/ 6 h 34"/>
              <a:gd name="T6" fmla="*/ 28 w 34"/>
              <a:gd name="T7" fmla="*/ 4 h 34"/>
              <a:gd name="T8" fmla="*/ 28 w 34"/>
              <a:gd name="T9" fmla="*/ 3 h 34"/>
              <a:gd name="T10" fmla="*/ 27 w 34"/>
              <a:gd name="T11" fmla="*/ 3 h 34"/>
              <a:gd name="T12" fmla="*/ 23 w 34"/>
              <a:gd name="T13" fmla="*/ 5 h 34"/>
              <a:gd name="T14" fmla="*/ 21 w 34"/>
              <a:gd name="T15" fmla="*/ 4 h 34"/>
              <a:gd name="T16" fmla="*/ 19 w 34"/>
              <a:gd name="T17" fmla="*/ 0 h 34"/>
              <a:gd name="T18" fmla="*/ 15 w 34"/>
              <a:gd name="T19" fmla="*/ 0 h 34"/>
              <a:gd name="T20" fmla="*/ 13 w 34"/>
              <a:gd name="T21" fmla="*/ 5 h 34"/>
              <a:gd name="T22" fmla="*/ 11 w 34"/>
              <a:gd name="T23" fmla="*/ 5 h 34"/>
              <a:gd name="T24" fmla="*/ 6 w 34"/>
              <a:gd name="T25" fmla="*/ 3 h 34"/>
              <a:gd name="T26" fmla="*/ 6 w 34"/>
              <a:gd name="T27" fmla="*/ 3 h 34"/>
              <a:gd name="T28" fmla="*/ 3 w 34"/>
              <a:gd name="T29" fmla="*/ 6 h 34"/>
              <a:gd name="T30" fmla="*/ 5 w 34"/>
              <a:gd name="T31" fmla="*/ 11 h 34"/>
              <a:gd name="T32" fmla="*/ 4 w 34"/>
              <a:gd name="T33" fmla="*/ 13 h 34"/>
              <a:gd name="T34" fmla="*/ 0 w 34"/>
              <a:gd name="T35" fmla="*/ 15 h 34"/>
              <a:gd name="T36" fmla="*/ 0 w 34"/>
              <a:gd name="T37" fmla="*/ 19 h 34"/>
              <a:gd name="T38" fmla="*/ 4 w 34"/>
              <a:gd name="T39" fmla="*/ 21 h 34"/>
              <a:gd name="T40" fmla="*/ 5 w 34"/>
              <a:gd name="T41" fmla="*/ 23 h 34"/>
              <a:gd name="T42" fmla="*/ 3 w 34"/>
              <a:gd name="T43" fmla="*/ 28 h 34"/>
              <a:gd name="T44" fmla="*/ 6 w 34"/>
              <a:gd name="T45" fmla="*/ 30 h 34"/>
              <a:gd name="T46" fmla="*/ 6 w 34"/>
              <a:gd name="T47" fmla="*/ 30 h 34"/>
              <a:gd name="T48" fmla="*/ 7 w 34"/>
              <a:gd name="T49" fmla="*/ 30 h 34"/>
              <a:gd name="T50" fmla="*/ 11 w 34"/>
              <a:gd name="T51" fmla="*/ 29 h 34"/>
              <a:gd name="T52" fmla="*/ 13 w 34"/>
              <a:gd name="T53" fmla="*/ 29 h 34"/>
              <a:gd name="T54" fmla="*/ 15 w 34"/>
              <a:gd name="T55" fmla="*/ 34 h 34"/>
              <a:gd name="T56" fmla="*/ 19 w 34"/>
              <a:gd name="T57" fmla="*/ 34 h 34"/>
              <a:gd name="T58" fmla="*/ 21 w 34"/>
              <a:gd name="T59" fmla="*/ 29 h 34"/>
              <a:gd name="T60" fmla="*/ 23 w 34"/>
              <a:gd name="T61" fmla="*/ 29 h 34"/>
              <a:gd name="T62" fmla="*/ 27 w 34"/>
              <a:gd name="T63" fmla="*/ 30 h 34"/>
              <a:gd name="T64" fmla="*/ 28 w 34"/>
              <a:gd name="T65" fmla="*/ 30 h 34"/>
              <a:gd name="T66" fmla="*/ 31 w 34"/>
              <a:gd name="T67" fmla="*/ 28 h 34"/>
              <a:gd name="T68" fmla="*/ 29 w 34"/>
              <a:gd name="T69" fmla="*/ 23 h 34"/>
              <a:gd name="T70" fmla="*/ 30 w 34"/>
              <a:gd name="T71" fmla="*/ 21 h 34"/>
              <a:gd name="T72" fmla="*/ 34 w 34"/>
              <a:gd name="T73" fmla="*/ 19 h 34"/>
              <a:gd name="T74" fmla="*/ 34 w 34"/>
              <a:gd name="T75" fmla="*/ 15 h 34"/>
              <a:gd name="T76" fmla="*/ 29 w 34"/>
              <a:gd name="T77" fmla="*/ 13 h 34"/>
              <a:gd name="T78" fmla="*/ 17 w 34"/>
              <a:gd name="T79" fmla="*/ 23 h 34"/>
              <a:gd name="T80" fmla="*/ 11 w 34"/>
              <a:gd name="T81" fmla="*/ 17 h 34"/>
              <a:gd name="T82" fmla="*/ 17 w 34"/>
              <a:gd name="T83" fmla="*/ 11 h 34"/>
              <a:gd name="T84" fmla="*/ 23 w 34"/>
              <a:gd name="T85" fmla="*/ 17 h 34"/>
              <a:gd name="T86" fmla="*/ 17 w 34"/>
              <a:gd name="T87" fmla="*/ 23 h 34"/>
              <a:gd name="T88" fmla="*/ 17 w 34"/>
              <a:gd name="T89" fmla="*/ 23 h 34"/>
              <a:gd name="T90" fmla="*/ 17 w 34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" h="34">
                <a:moveTo>
                  <a:pt x="29" y="13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7"/>
                  <a:pt x="31" y="6"/>
                  <a:pt x="30" y="6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7" y="3"/>
                  <a:pt x="23" y="5"/>
                </a:cubicBezTo>
                <a:cubicBezTo>
                  <a:pt x="21" y="4"/>
                  <a:pt x="21" y="4"/>
                  <a:pt x="21" y="4"/>
                </a:cubicBezTo>
                <a:cubicBezTo>
                  <a:pt x="19" y="0"/>
                  <a:pt x="19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4" y="0"/>
                  <a:pt x="14" y="0"/>
                  <a:pt x="13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8" y="4"/>
                  <a:pt x="7" y="3"/>
                  <a:pt x="6" y="3"/>
                </a:cubicBezTo>
                <a:cubicBezTo>
                  <a:pt x="6" y="3"/>
                  <a:pt x="6" y="3"/>
                  <a:pt x="6" y="3"/>
                </a:cubicBezTo>
                <a:cubicBezTo>
                  <a:pt x="3" y="6"/>
                  <a:pt x="3" y="6"/>
                  <a:pt x="3" y="6"/>
                </a:cubicBezTo>
                <a:cubicBezTo>
                  <a:pt x="3" y="7"/>
                  <a:pt x="3" y="7"/>
                  <a:pt x="5" y="11"/>
                </a:cubicBezTo>
                <a:cubicBezTo>
                  <a:pt x="4" y="13"/>
                  <a:pt x="4" y="13"/>
                  <a:pt x="4" y="13"/>
                </a:cubicBezTo>
                <a:cubicBezTo>
                  <a:pt x="0" y="14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4" y="21"/>
                </a:cubicBezTo>
                <a:cubicBezTo>
                  <a:pt x="5" y="23"/>
                  <a:pt x="5" y="23"/>
                  <a:pt x="5" y="23"/>
                </a:cubicBezTo>
                <a:cubicBezTo>
                  <a:pt x="3" y="27"/>
                  <a:pt x="3" y="27"/>
                  <a:pt x="3" y="28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11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4" y="34"/>
                  <a:pt x="15" y="34"/>
                  <a:pt x="15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19" y="34"/>
                  <a:pt x="20" y="34"/>
                  <a:pt x="21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5" y="30"/>
                  <a:pt x="27" y="30"/>
                  <a:pt x="27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7"/>
                  <a:pt x="31" y="27"/>
                  <a:pt x="29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15"/>
                  <a:pt x="34" y="15"/>
                  <a:pt x="34" y="15"/>
                </a:cubicBezTo>
                <a:cubicBezTo>
                  <a:pt x="34" y="14"/>
                  <a:pt x="34" y="14"/>
                  <a:pt x="29" y="13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4"/>
                  <a:pt x="14" y="11"/>
                  <a:pt x="17" y="11"/>
                </a:cubicBezTo>
                <a:cubicBezTo>
                  <a:pt x="20" y="11"/>
                  <a:pt x="23" y="14"/>
                  <a:pt x="23" y="17"/>
                </a:cubicBezTo>
                <a:cubicBezTo>
                  <a:pt x="23" y="20"/>
                  <a:pt x="20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7" name="Freeform 36"/>
          <p:cNvSpPr>
            <a:spLocks noEditPoints="1"/>
          </p:cNvSpPr>
          <p:nvPr/>
        </p:nvSpPr>
        <p:spPr bwMode="auto">
          <a:xfrm>
            <a:off x="13097336" y="8906785"/>
            <a:ext cx="195288" cy="19249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2 h 34"/>
              <a:gd name="T4" fmla="*/ 31 w 35"/>
              <a:gd name="T5" fmla="*/ 7 h 34"/>
              <a:gd name="T6" fmla="*/ 28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3 w 35"/>
              <a:gd name="T13" fmla="*/ 6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6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7 h 34"/>
              <a:gd name="T30" fmla="*/ 6 w 35"/>
              <a:gd name="T31" fmla="*/ 12 h 34"/>
              <a:gd name="T32" fmla="*/ 5 w 35"/>
              <a:gd name="T33" fmla="*/ 13 h 34"/>
              <a:gd name="T34" fmla="*/ 0 w 35"/>
              <a:gd name="T35" fmla="*/ 16 h 34"/>
              <a:gd name="T36" fmla="*/ 0 w 35"/>
              <a:gd name="T37" fmla="*/ 19 h 34"/>
              <a:gd name="T38" fmla="*/ 5 w 35"/>
              <a:gd name="T39" fmla="*/ 22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1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30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30 h 34"/>
              <a:gd name="T60" fmla="*/ 23 w 35"/>
              <a:gd name="T61" fmla="*/ 29 h 34"/>
              <a:gd name="T62" fmla="*/ 28 w 35"/>
              <a:gd name="T63" fmla="*/ 31 h 34"/>
              <a:gd name="T64" fmla="*/ 28 w 35"/>
              <a:gd name="T65" fmla="*/ 31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2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8 w 35"/>
              <a:gd name="T79" fmla="*/ 23 h 34"/>
              <a:gd name="T80" fmla="*/ 11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2"/>
                  <a:pt x="30" y="12"/>
                  <a:pt x="30" y="12"/>
                </a:cubicBezTo>
                <a:cubicBezTo>
                  <a:pt x="32" y="7"/>
                  <a:pt x="31" y="7"/>
                  <a:pt x="31" y="7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7" y="4"/>
                  <a:pt x="23" y="6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6"/>
                  <a:pt x="12" y="6"/>
                  <a:pt x="12" y="6"/>
                </a:cubicBezTo>
                <a:cubicBezTo>
                  <a:pt x="9" y="4"/>
                  <a:pt x="8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7"/>
                  <a:pt x="4" y="7"/>
                  <a:pt x="4" y="7"/>
                </a:cubicBezTo>
                <a:cubicBezTo>
                  <a:pt x="4" y="7"/>
                  <a:pt x="3" y="7"/>
                  <a:pt x="6" y="12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5" y="22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8"/>
                  <a:pt x="4" y="28"/>
                  <a:pt x="4" y="28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8" y="31"/>
                  <a:pt x="12" y="29"/>
                </a:cubicBezTo>
                <a:cubicBezTo>
                  <a:pt x="13" y="30"/>
                  <a:pt x="13" y="30"/>
                  <a:pt x="13" y="30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30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8"/>
                  <a:pt x="32" y="28"/>
                  <a:pt x="30" y="23"/>
                </a:cubicBezTo>
                <a:cubicBezTo>
                  <a:pt x="30" y="22"/>
                  <a:pt x="30" y="22"/>
                  <a:pt x="30" y="22"/>
                </a:cubicBezTo>
                <a:cubicBezTo>
                  <a:pt x="35" y="20"/>
                  <a:pt x="35" y="20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5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1" y="21"/>
                  <a:pt x="11" y="17"/>
                </a:cubicBezTo>
                <a:cubicBezTo>
                  <a:pt x="11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1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8" name="Freeform 37"/>
          <p:cNvSpPr>
            <a:spLocks noEditPoints="1"/>
          </p:cNvSpPr>
          <p:nvPr/>
        </p:nvSpPr>
        <p:spPr bwMode="auto">
          <a:xfrm>
            <a:off x="12098578" y="9824638"/>
            <a:ext cx="195288" cy="18970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1 h 34"/>
              <a:gd name="T4" fmla="*/ 31 w 35"/>
              <a:gd name="T5" fmla="*/ 6 h 34"/>
              <a:gd name="T6" fmla="*/ 29 w 35"/>
              <a:gd name="T7" fmla="*/ 4 h 34"/>
              <a:gd name="T8" fmla="*/ 28 w 35"/>
              <a:gd name="T9" fmla="*/ 3 h 34"/>
              <a:gd name="T10" fmla="*/ 28 w 35"/>
              <a:gd name="T11" fmla="*/ 3 h 34"/>
              <a:gd name="T12" fmla="*/ 24 w 35"/>
              <a:gd name="T13" fmla="*/ 5 h 34"/>
              <a:gd name="T14" fmla="*/ 22 w 35"/>
              <a:gd name="T15" fmla="*/ 5 h 34"/>
              <a:gd name="T16" fmla="*/ 20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5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6 h 34"/>
              <a:gd name="T30" fmla="*/ 6 w 35"/>
              <a:gd name="T31" fmla="*/ 11 h 34"/>
              <a:gd name="T32" fmla="*/ 5 w 35"/>
              <a:gd name="T33" fmla="*/ 13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0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29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29 h 34"/>
              <a:gd name="T60" fmla="*/ 24 w 35"/>
              <a:gd name="T61" fmla="*/ 29 h 34"/>
              <a:gd name="T62" fmla="*/ 28 w 35"/>
              <a:gd name="T63" fmla="*/ 30 h 34"/>
              <a:gd name="T64" fmla="*/ 29 w 35"/>
              <a:gd name="T65" fmla="*/ 30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1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8 w 35"/>
              <a:gd name="T79" fmla="*/ 23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1"/>
                  <a:pt x="30" y="11"/>
                  <a:pt x="30" y="11"/>
                </a:cubicBezTo>
                <a:cubicBezTo>
                  <a:pt x="32" y="7"/>
                  <a:pt x="32" y="7"/>
                  <a:pt x="31" y="6"/>
                </a:cubicBezTo>
                <a:cubicBezTo>
                  <a:pt x="29" y="4"/>
                  <a:pt x="29" y="4"/>
                  <a:pt x="29" y="4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4" y="5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2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8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6"/>
                  <a:pt x="4" y="6"/>
                  <a:pt x="4" y="6"/>
                </a:cubicBezTo>
                <a:cubicBezTo>
                  <a:pt x="4" y="7"/>
                  <a:pt x="4" y="7"/>
                  <a:pt x="6" y="11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20"/>
                  <a:pt x="5" y="21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7"/>
                  <a:pt x="4" y="27"/>
                  <a:pt x="4" y="28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8" y="31"/>
                  <a:pt x="8" y="31"/>
                  <a:pt x="12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6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4" y="29"/>
                  <a:pt x="24" y="29"/>
                  <a:pt x="24" y="29"/>
                </a:cubicBezTo>
                <a:cubicBezTo>
                  <a:pt x="26" y="30"/>
                  <a:pt x="28" y="30"/>
                  <a:pt x="28" y="30"/>
                </a:cubicBezTo>
                <a:cubicBezTo>
                  <a:pt x="29" y="30"/>
                  <a:pt x="29" y="30"/>
                  <a:pt x="29" y="30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7"/>
                  <a:pt x="32" y="27"/>
                  <a:pt x="30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4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2" y="20"/>
                  <a:pt x="12" y="17"/>
                </a:cubicBezTo>
                <a:cubicBezTo>
                  <a:pt x="12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0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9" name="Freeform 38"/>
          <p:cNvSpPr>
            <a:spLocks noEditPoints="1"/>
          </p:cNvSpPr>
          <p:nvPr/>
        </p:nvSpPr>
        <p:spPr bwMode="auto">
          <a:xfrm>
            <a:off x="11258841" y="9495438"/>
            <a:ext cx="198078" cy="189708"/>
          </a:xfrm>
          <a:custGeom>
            <a:avLst/>
            <a:gdLst>
              <a:gd name="T0" fmla="*/ 30 w 35"/>
              <a:gd name="T1" fmla="*/ 13 h 34"/>
              <a:gd name="T2" fmla="*/ 29 w 35"/>
              <a:gd name="T3" fmla="*/ 11 h 34"/>
              <a:gd name="T4" fmla="*/ 31 w 35"/>
              <a:gd name="T5" fmla="*/ 6 h 34"/>
              <a:gd name="T6" fmla="*/ 28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3 w 35"/>
              <a:gd name="T13" fmla="*/ 5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5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6 h 34"/>
              <a:gd name="T30" fmla="*/ 5 w 35"/>
              <a:gd name="T31" fmla="*/ 11 h 34"/>
              <a:gd name="T32" fmla="*/ 5 w 35"/>
              <a:gd name="T33" fmla="*/ 13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5 w 35"/>
              <a:gd name="T41" fmla="*/ 23 h 34"/>
              <a:gd name="T42" fmla="*/ 4 w 35"/>
              <a:gd name="T43" fmla="*/ 28 h 34"/>
              <a:gd name="T44" fmla="*/ 7 w 35"/>
              <a:gd name="T45" fmla="*/ 30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29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29 h 34"/>
              <a:gd name="T60" fmla="*/ 23 w 35"/>
              <a:gd name="T61" fmla="*/ 29 h 34"/>
              <a:gd name="T62" fmla="*/ 28 w 35"/>
              <a:gd name="T63" fmla="*/ 31 h 34"/>
              <a:gd name="T64" fmla="*/ 28 w 35"/>
              <a:gd name="T65" fmla="*/ 31 h 34"/>
              <a:gd name="T66" fmla="*/ 31 w 35"/>
              <a:gd name="T67" fmla="*/ 28 h 34"/>
              <a:gd name="T68" fmla="*/ 29 w 35"/>
              <a:gd name="T69" fmla="*/ 23 h 34"/>
              <a:gd name="T70" fmla="*/ 30 w 35"/>
              <a:gd name="T71" fmla="*/ 21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7 w 35"/>
              <a:gd name="T79" fmla="*/ 23 h 34"/>
              <a:gd name="T80" fmla="*/ 11 w 35"/>
              <a:gd name="T81" fmla="*/ 17 h 34"/>
              <a:gd name="T82" fmla="*/ 17 w 35"/>
              <a:gd name="T83" fmla="*/ 11 h 34"/>
              <a:gd name="T84" fmla="*/ 24 w 35"/>
              <a:gd name="T85" fmla="*/ 17 h 34"/>
              <a:gd name="T86" fmla="*/ 17 w 35"/>
              <a:gd name="T87" fmla="*/ 23 h 34"/>
              <a:gd name="T88" fmla="*/ 17 w 35"/>
              <a:gd name="T89" fmla="*/ 23 h 34"/>
              <a:gd name="T90" fmla="*/ 17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7"/>
                  <a:pt x="31" y="7"/>
                  <a:pt x="31" y="6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7" y="4"/>
                  <a:pt x="23" y="5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7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6"/>
                  <a:pt x="4" y="6"/>
                  <a:pt x="4" y="6"/>
                </a:cubicBezTo>
                <a:cubicBezTo>
                  <a:pt x="3" y="7"/>
                  <a:pt x="3" y="7"/>
                  <a:pt x="5" y="11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20"/>
                  <a:pt x="5" y="21"/>
                </a:cubicBezTo>
                <a:cubicBezTo>
                  <a:pt x="5" y="23"/>
                  <a:pt x="5" y="23"/>
                  <a:pt x="5" y="23"/>
                </a:cubicBezTo>
                <a:cubicBezTo>
                  <a:pt x="3" y="27"/>
                  <a:pt x="4" y="27"/>
                  <a:pt x="4" y="28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8" y="31"/>
                  <a:pt x="12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7"/>
                  <a:pt x="32" y="27"/>
                  <a:pt x="29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20"/>
                  <a:pt x="35" y="19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4"/>
                  <a:pt x="30" y="13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4"/>
                  <a:pt x="14" y="11"/>
                  <a:pt x="17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0"/>
                  <a:pt x="21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0" name="Freeform 39"/>
          <p:cNvSpPr>
            <a:spLocks noEditPoints="1"/>
          </p:cNvSpPr>
          <p:nvPr/>
        </p:nvSpPr>
        <p:spPr bwMode="auto">
          <a:xfrm>
            <a:off x="11191885" y="8120054"/>
            <a:ext cx="198078" cy="189708"/>
          </a:xfrm>
          <a:custGeom>
            <a:avLst/>
            <a:gdLst>
              <a:gd name="T0" fmla="*/ 30 w 35"/>
              <a:gd name="T1" fmla="*/ 13 h 34"/>
              <a:gd name="T2" fmla="*/ 29 w 35"/>
              <a:gd name="T3" fmla="*/ 12 h 34"/>
              <a:gd name="T4" fmla="*/ 31 w 35"/>
              <a:gd name="T5" fmla="*/ 7 h 34"/>
              <a:gd name="T6" fmla="*/ 28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3 w 35"/>
              <a:gd name="T13" fmla="*/ 6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6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7 h 34"/>
              <a:gd name="T30" fmla="*/ 5 w 35"/>
              <a:gd name="T31" fmla="*/ 12 h 34"/>
              <a:gd name="T32" fmla="*/ 5 w 35"/>
              <a:gd name="T33" fmla="*/ 13 h 34"/>
              <a:gd name="T34" fmla="*/ 0 w 35"/>
              <a:gd name="T35" fmla="*/ 16 h 34"/>
              <a:gd name="T36" fmla="*/ 0 w 35"/>
              <a:gd name="T37" fmla="*/ 19 h 34"/>
              <a:gd name="T38" fmla="*/ 5 w 35"/>
              <a:gd name="T39" fmla="*/ 22 h 34"/>
              <a:gd name="T40" fmla="*/ 5 w 35"/>
              <a:gd name="T41" fmla="*/ 23 h 34"/>
              <a:gd name="T42" fmla="*/ 4 w 35"/>
              <a:gd name="T43" fmla="*/ 28 h 34"/>
              <a:gd name="T44" fmla="*/ 7 w 35"/>
              <a:gd name="T45" fmla="*/ 31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30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30 h 34"/>
              <a:gd name="T60" fmla="*/ 23 w 35"/>
              <a:gd name="T61" fmla="*/ 29 h 34"/>
              <a:gd name="T62" fmla="*/ 28 w 35"/>
              <a:gd name="T63" fmla="*/ 31 h 34"/>
              <a:gd name="T64" fmla="*/ 28 w 35"/>
              <a:gd name="T65" fmla="*/ 31 h 34"/>
              <a:gd name="T66" fmla="*/ 31 w 35"/>
              <a:gd name="T67" fmla="*/ 28 h 34"/>
              <a:gd name="T68" fmla="*/ 29 w 35"/>
              <a:gd name="T69" fmla="*/ 23 h 34"/>
              <a:gd name="T70" fmla="*/ 30 w 35"/>
              <a:gd name="T71" fmla="*/ 22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7 w 35"/>
              <a:gd name="T79" fmla="*/ 23 h 34"/>
              <a:gd name="T80" fmla="*/ 11 w 35"/>
              <a:gd name="T81" fmla="*/ 17 h 34"/>
              <a:gd name="T82" fmla="*/ 17 w 35"/>
              <a:gd name="T83" fmla="*/ 11 h 34"/>
              <a:gd name="T84" fmla="*/ 24 w 35"/>
              <a:gd name="T85" fmla="*/ 17 h 34"/>
              <a:gd name="T86" fmla="*/ 17 w 35"/>
              <a:gd name="T87" fmla="*/ 23 h 34"/>
              <a:gd name="T88" fmla="*/ 17 w 35"/>
              <a:gd name="T89" fmla="*/ 23 h 34"/>
              <a:gd name="T90" fmla="*/ 17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29" y="12"/>
                  <a:pt x="29" y="12"/>
                  <a:pt x="29" y="12"/>
                </a:cubicBezTo>
                <a:cubicBezTo>
                  <a:pt x="31" y="7"/>
                  <a:pt x="31" y="7"/>
                  <a:pt x="31" y="7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7" y="4"/>
                  <a:pt x="23" y="6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6"/>
                  <a:pt x="12" y="6"/>
                  <a:pt x="12" y="6"/>
                </a:cubicBezTo>
                <a:cubicBezTo>
                  <a:pt x="9" y="4"/>
                  <a:pt x="7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7"/>
                  <a:pt x="4" y="7"/>
                  <a:pt x="4" y="7"/>
                </a:cubicBezTo>
                <a:cubicBezTo>
                  <a:pt x="3" y="7"/>
                  <a:pt x="3" y="7"/>
                  <a:pt x="5" y="12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5" y="22"/>
                </a:cubicBezTo>
                <a:cubicBezTo>
                  <a:pt x="5" y="23"/>
                  <a:pt x="5" y="23"/>
                  <a:pt x="5" y="23"/>
                </a:cubicBezTo>
                <a:cubicBezTo>
                  <a:pt x="3" y="28"/>
                  <a:pt x="4" y="28"/>
                  <a:pt x="4" y="28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8" y="31"/>
                  <a:pt x="12" y="29"/>
                </a:cubicBezTo>
                <a:cubicBezTo>
                  <a:pt x="13" y="30"/>
                  <a:pt x="13" y="30"/>
                  <a:pt x="13" y="30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30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7" y="31"/>
                  <a:pt x="28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8"/>
                  <a:pt x="32" y="28"/>
                  <a:pt x="29" y="23"/>
                </a:cubicBezTo>
                <a:cubicBezTo>
                  <a:pt x="30" y="22"/>
                  <a:pt x="30" y="22"/>
                  <a:pt x="30" y="22"/>
                </a:cubicBezTo>
                <a:cubicBezTo>
                  <a:pt x="35" y="20"/>
                  <a:pt x="35" y="20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5"/>
                  <a:pt x="30" y="13"/>
                </a:cubicBezTo>
                <a:close/>
                <a:moveTo>
                  <a:pt x="17" y="23"/>
                </a:moveTo>
                <a:cubicBezTo>
                  <a:pt x="14" y="23"/>
                  <a:pt x="11" y="21"/>
                  <a:pt x="11" y="17"/>
                </a:cubicBezTo>
                <a:cubicBezTo>
                  <a:pt x="11" y="14"/>
                  <a:pt x="14" y="11"/>
                  <a:pt x="17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1"/>
                  <a:pt x="21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1" name="Freeform 40"/>
          <p:cNvSpPr>
            <a:spLocks noEditPoints="1"/>
          </p:cNvSpPr>
          <p:nvPr/>
        </p:nvSpPr>
        <p:spPr bwMode="auto">
          <a:xfrm>
            <a:off x="10505586" y="8022411"/>
            <a:ext cx="195288" cy="192498"/>
          </a:xfrm>
          <a:custGeom>
            <a:avLst/>
            <a:gdLst>
              <a:gd name="T0" fmla="*/ 30 w 35"/>
              <a:gd name="T1" fmla="*/ 13 h 34"/>
              <a:gd name="T2" fmla="*/ 29 w 35"/>
              <a:gd name="T3" fmla="*/ 12 h 34"/>
              <a:gd name="T4" fmla="*/ 31 w 35"/>
              <a:gd name="T5" fmla="*/ 7 h 34"/>
              <a:gd name="T6" fmla="*/ 28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3 w 35"/>
              <a:gd name="T13" fmla="*/ 6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6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7 h 34"/>
              <a:gd name="T30" fmla="*/ 5 w 35"/>
              <a:gd name="T31" fmla="*/ 12 h 34"/>
              <a:gd name="T32" fmla="*/ 5 w 35"/>
              <a:gd name="T33" fmla="*/ 13 h 34"/>
              <a:gd name="T34" fmla="*/ 0 w 35"/>
              <a:gd name="T35" fmla="*/ 16 h 34"/>
              <a:gd name="T36" fmla="*/ 0 w 35"/>
              <a:gd name="T37" fmla="*/ 19 h 34"/>
              <a:gd name="T38" fmla="*/ 5 w 35"/>
              <a:gd name="T39" fmla="*/ 22 h 34"/>
              <a:gd name="T40" fmla="*/ 5 w 35"/>
              <a:gd name="T41" fmla="*/ 23 h 34"/>
              <a:gd name="T42" fmla="*/ 4 w 35"/>
              <a:gd name="T43" fmla="*/ 28 h 34"/>
              <a:gd name="T44" fmla="*/ 7 w 35"/>
              <a:gd name="T45" fmla="*/ 31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30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30 h 34"/>
              <a:gd name="T60" fmla="*/ 23 w 35"/>
              <a:gd name="T61" fmla="*/ 29 h 34"/>
              <a:gd name="T62" fmla="*/ 28 w 35"/>
              <a:gd name="T63" fmla="*/ 31 h 34"/>
              <a:gd name="T64" fmla="*/ 28 w 35"/>
              <a:gd name="T65" fmla="*/ 31 h 34"/>
              <a:gd name="T66" fmla="*/ 31 w 35"/>
              <a:gd name="T67" fmla="*/ 28 h 34"/>
              <a:gd name="T68" fmla="*/ 29 w 35"/>
              <a:gd name="T69" fmla="*/ 23 h 34"/>
              <a:gd name="T70" fmla="*/ 30 w 35"/>
              <a:gd name="T71" fmla="*/ 22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7 w 35"/>
              <a:gd name="T79" fmla="*/ 23 h 34"/>
              <a:gd name="T80" fmla="*/ 11 w 35"/>
              <a:gd name="T81" fmla="*/ 17 h 34"/>
              <a:gd name="T82" fmla="*/ 17 w 35"/>
              <a:gd name="T83" fmla="*/ 11 h 34"/>
              <a:gd name="T84" fmla="*/ 24 w 35"/>
              <a:gd name="T85" fmla="*/ 17 h 34"/>
              <a:gd name="T86" fmla="*/ 17 w 35"/>
              <a:gd name="T87" fmla="*/ 23 h 34"/>
              <a:gd name="T88" fmla="*/ 17 w 35"/>
              <a:gd name="T89" fmla="*/ 23 h 34"/>
              <a:gd name="T90" fmla="*/ 17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29" y="12"/>
                  <a:pt x="29" y="12"/>
                  <a:pt x="29" y="12"/>
                </a:cubicBezTo>
                <a:cubicBezTo>
                  <a:pt x="31" y="7"/>
                  <a:pt x="31" y="7"/>
                  <a:pt x="31" y="7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7" y="4"/>
                  <a:pt x="23" y="6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6"/>
                  <a:pt x="12" y="6"/>
                  <a:pt x="12" y="6"/>
                </a:cubicBezTo>
                <a:cubicBezTo>
                  <a:pt x="9" y="4"/>
                  <a:pt x="7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7"/>
                  <a:pt x="4" y="7"/>
                  <a:pt x="4" y="7"/>
                </a:cubicBezTo>
                <a:cubicBezTo>
                  <a:pt x="3" y="7"/>
                  <a:pt x="3" y="7"/>
                  <a:pt x="5" y="12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5" y="22"/>
                </a:cubicBezTo>
                <a:cubicBezTo>
                  <a:pt x="5" y="23"/>
                  <a:pt x="5" y="23"/>
                  <a:pt x="5" y="23"/>
                </a:cubicBezTo>
                <a:cubicBezTo>
                  <a:pt x="3" y="28"/>
                  <a:pt x="4" y="28"/>
                  <a:pt x="4" y="28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8" y="31"/>
                  <a:pt x="12" y="29"/>
                </a:cubicBezTo>
                <a:cubicBezTo>
                  <a:pt x="13" y="30"/>
                  <a:pt x="13" y="30"/>
                  <a:pt x="13" y="30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30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8"/>
                  <a:pt x="32" y="28"/>
                  <a:pt x="29" y="23"/>
                </a:cubicBezTo>
                <a:cubicBezTo>
                  <a:pt x="30" y="22"/>
                  <a:pt x="30" y="22"/>
                  <a:pt x="30" y="22"/>
                </a:cubicBezTo>
                <a:cubicBezTo>
                  <a:pt x="35" y="20"/>
                  <a:pt x="35" y="20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5"/>
                  <a:pt x="30" y="13"/>
                </a:cubicBezTo>
                <a:close/>
                <a:moveTo>
                  <a:pt x="17" y="23"/>
                </a:moveTo>
                <a:cubicBezTo>
                  <a:pt x="14" y="23"/>
                  <a:pt x="11" y="21"/>
                  <a:pt x="11" y="17"/>
                </a:cubicBezTo>
                <a:cubicBezTo>
                  <a:pt x="11" y="14"/>
                  <a:pt x="14" y="11"/>
                  <a:pt x="17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1"/>
                  <a:pt x="21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2" name="Freeform 41"/>
          <p:cNvSpPr>
            <a:spLocks noEditPoints="1"/>
          </p:cNvSpPr>
          <p:nvPr/>
        </p:nvSpPr>
        <p:spPr bwMode="auto">
          <a:xfrm>
            <a:off x="10639498" y="7827122"/>
            <a:ext cx="195288" cy="189708"/>
          </a:xfrm>
          <a:custGeom>
            <a:avLst/>
            <a:gdLst>
              <a:gd name="T0" fmla="*/ 30 w 35"/>
              <a:gd name="T1" fmla="*/ 12 h 34"/>
              <a:gd name="T2" fmla="*/ 29 w 35"/>
              <a:gd name="T3" fmla="*/ 11 h 34"/>
              <a:gd name="T4" fmla="*/ 31 w 35"/>
              <a:gd name="T5" fmla="*/ 6 h 34"/>
              <a:gd name="T6" fmla="*/ 28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5 w 35"/>
              <a:gd name="T19" fmla="*/ 0 h 34"/>
              <a:gd name="T20" fmla="*/ 13 w 35"/>
              <a:gd name="T21" fmla="*/ 4 h 34"/>
              <a:gd name="T22" fmla="*/ 11 w 35"/>
              <a:gd name="T23" fmla="*/ 5 h 34"/>
              <a:gd name="T24" fmla="*/ 7 w 35"/>
              <a:gd name="T25" fmla="*/ 3 h 34"/>
              <a:gd name="T26" fmla="*/ 6 w 35"/>
              <a:gd name="T27" fmla="*/ 3 h 34"/>
              <a:gd name="T28" fmla="*/ 4 w 35"/>
              <a:gd name="T29" fmla="*/ 6 h 34"/>
              <a:gd name="T30" fmla="*/ 5 w 35"/>
              <a:gd name="T31" fmla="*/ 11 h 34"/>
              <a:gd name="T32" fmla="*/ 5 w 35"/>
              <a:gd name="T33" fmla="*/ 12 h 34"/>
              <a:gd name="T34" fmla="*/ 0 w 35"/>
              <a:gd name="T35" fmla="*/ 15 h 34"/>
              <a:gd name="T36" fmla="*/ 0 w 35"/>
              <a:gd name="T37" fmla="*/ 18 h 34"/>
              <a:gd name="T38" fmla="*/ 5 w 35"/>
              <a:gd name="T39" fmla="*/ 21 h 34"/>
              <a:gd name="T40" fmla="*/ 5 w 35"/>
              <a:gd name="T41" fmla="*/ 22 h 34"/>
              <a:gd name="T42" fmla="*/ 4 w 35"/>
              <a:gd name="T43" fmla="*/ 27 h 34"/>
              <a:gd name="T44" fmla="*/ 6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1 w 35"/>
              <a:gd name="T51" fmla="*/ 28 h 34"/>
              <a:gd name="T52" fmla="*/ 13 w 35"/>
              <a:gd name="T53" fmla="*/ 29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29 h 34"/>
              <a:gd name="T60" fmla="*/ 23 w 35"/>
              <a:gd name="T61" fmla="*/ 28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7 h 34"/>
              <a:gd name="T68" fmla="*/ 29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7 w 35"/>
              <a:gd name="T79" fmla="*/ 22 h 34"/>
              <a:gd name="T80" fmla="*/ 11 w 35"/>
              <a:gd name="T81" fmla="*/ 17 h 34"/>
              <a:gd name="T82" fmla="*/ 17 w 35"/>
              <a:gd name="T83" fmla="*/ 11 h 34"/>
              <a:gd name="T84" fmla="*/ 23 w 35"/>
              <a:gd name="T85" fmla="*/ 17 h 34"/>
              <a:gd name="T86" fmla="*/ 17 w 35"/>
              <a:gd name="T87" fmla="*/ 22 h 34"/>
              <a:gd name="T88" fmla="*/ 17 w 35"/>
              <a:gd name="T89" fmla="*/ 22 h 34"/>
              <a:gd name="T90" fmla="*/ 17 w 35"/>
              <a:gd name="T91" fmla="*/ 22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6"/>
                  <a:pt x="31" y="6"/>
                  <a:pt x="31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9" y="4"/>
                  <a:pt x="7" y="3"/>
                  <a:pt x="7" y="3"/>
                </a:cubicBezTo>
                <a:cubicBezTo>
                  <a:pt x="6" y="3"/>
                  <a:pt x="6" y="3"/>
                  <a:pt x="6" y="3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6"/>
                  <a:pt x="5" y="11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14"/>
                  <a:pt x="0" y="14"/>
                  <a:pt x="0" y="1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9"/>
                  <a:pt x="0" y="19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3" y="27"/>
                  <a:pt x="3" y="27"/>
                  <a:pt x="4" y="27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1" y="28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8"/>
                  <a:pt x="23" y="28"/>
                  <a:pt x="23" y="28"/>
                </a:cubicBezTo>
                <a:cubicBezTo>
                  <a:pt x="26" y="29"/>
                  <a:pt x="27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1" y="27"/>
                  <a:pt x="29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7" y="22"/>
                </a:moveTo>
                <a:cubicBezTo>
                  <a:pt x="14" y="22"/>
                  <a:pt x="11" y="20"/>
                  <a:pt x="11" y="17"/>
                </a:cubicBezTo>
                <a:cubicBezTo>
                  <a:pt x="11" y="13"/>
                  <a:pt x="14" y="11"/>
                  <a:pt x="17" y="11"/>
                </a:cubicBezTo>
                <a:cubicBezTo>
                  <a:pt x="21" y="11"/>
                  <a:pt x="23" y="13"/>
                  <a:pt x="23" y="17"/>
                </a:cubicBezTo>
                <a:cubicBezTo>
                  <a:pt x="23" y="20"/>
                  <a:pt x="21" y="22"/>
                  <a:pt x="17" y="22"/>
                </a:cubicBezTo>
                <a:close/>
                <a:moveTo>
                  <a:pt x="17" y="22"/>
                </a:moveTo>
                <a:cubicBezTo>
                  <a:pt x="17" y="22"/>
                  <a:pt x="17" y="22"/>
                  <a:pt x="17" y="22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3" name="Freeform 42"/>
          <p:cNvSpPr>
            <a:spLocks noEditPoints="1"/>
          </p:cNvSpPr>
          <p:nvPr/>
        </p:nvSpPr>
        <p:spPr bwMode="auto">
          <a:xfrm>
            <a:off x="10020156" y="6446156"/>
            <a:ext cx="189708" cy="189708"/>
          </a:xfrm>
          <a:custGeom>
            <a:avLst/>
            <a:gdLst>
              <a:gd name="T0" fmla="*/ 30 w 34"/>
              <a:gd name="T1" fmla="*/ 12 h 34"/>
              <a:gd name="T2" fmla="*/ 29 w 34"/>
              <a:gd name="T3" fmla="*/ 11 h 34"/>
              <a:gd name="T4" fmla="*/ 31 w 34"/>
              <a:gd name="T5" fmla="*/ 6 h 34"/>
              <a:gd name="T6" fmla="*/ 28 w 34"/>
              <a:gd name="T7" fmla="*/ 3 h 34"/>
              <a:gd name="T8" fmla="*/ 28 w 34"/>
              <a:gd name="T9" fmla="*/ 3 h 34"/>
              <a:gd name="T10" fmla="*/ 27 w 34"/>
              <a:gd name="T11" fmla="*/ 3 h 34"/>
              <a:gd name="T12" fmla="*/ 23 w 34"/>
              <a:gd name="T13" fmla="*/ 5 h 34"/>
              <a:gd name="T14" fmla="*/ 21 w 34"/>
              <a:gd name="T15" fmla="*/ 4 h 34"/>
              <a:gd name="T16" fmla="*/ 19 w 34"/>
              <a:gd name="T17" fmla="*/ 0 h 34"/>
              <a:gd name="T18" fmla="*/ 15 w 34"/>
              <a:gd name="T19" fmla="*/ 0 h 34"/>
              <a:gd name="T20" fmla="*/ 13 w 34"/>
              <a:gd name="T21" fmla="*/ 4 h 34"/>
              <a:gd name="T22" fmla="*/ 11 w 34"/>
              <a:gd name="T23" fmla="*/ 5 h 34"/>
              <a:gd name="T24" fmla="*/ 7 w 34"/>
              <a:gd name="T25" fmla="*/ 3 h 34"/>
              <a:gd name="T26" fmla="*/ 6 w 34"/>
              <a:gd name="T27" fmla="*/ 3 h 34"/>
              <a:gd name="T28" fmla="*/ 4 w 34"/>
              <a:gd name="T29" fmla="*/ 6 h 34"/>
              <a:gd name="T30" fmla="*/ 5 w 34"/>
              <a:gd name="T31" fmla="*/ 11 h 34"/>
              <a:gd name="T32" fmla="*/ 4 w 34"/>
              <a:gd name="T33" fmla="*/ 12 h 34"/>
              <a:gd name="T34" fmla="*/ 0 w 34"/>
              <a:gd name="T35" fmla="*/ 15 h 34"/>
              <a:gd name="T36" fmla="*/ 0 w 34"/>
              <a:gd name="T37" fmla="*/ 19 h 34"/>
              <a:gd name="T38" fmla="*/ 5 w 34"/>
              <a:gd name="T39" fmla="*/ 21 h 34"/>
              <a:gd name="T40" fmla="*/ 5 w 34"/>
              <a:gd name="T41" fmla="*/ 22 h 34"/>
              <a:gd name="T42" fmla="*/ 4 w 34"/>
              <a:gd name="T43" fmla="*/ 28 h 34"/>
              <a:gd name="T44" fmla="*/ 6 w 34"/>
              <a:gd name="T45" fmla="*/ 30 h 34"/>
              <a:gd name="T46" fmla="*/ 6 w 34"/>
              <a:gd name="T47" fmla="*/ 30 h 34"/>
              <a:gd name="T48" fmla="*/ 7 w 34"/>
              <a:gd name="T49" fmla="*/ 30 h 34"/>
              <a:gd name="T50" fmla="*/ 11 w 34"/>
              <a:gd name="T51" fmla="*/ 28 h 34"/>
              <a:gd name="T52" fmla="*/ 13 w 34"/>
              <a:gd name="T53" fmla="*/ 29 h 34"/>
              <a:gd name="T54" fmla="*/ 15 w 34"/>
              <a:gd name="T55" fmla="*/ 34 h 34"/>
              <a:gd name="T56" fmla="*/ 19 w 34"/>
              <a:gd name="T57" fmla="*/ 34 h 34"/>
              <a:gd name="T58" fmla="*/ 22 w 34"/>
              <a:gd name="T59" fmla="*/ 29 h 34"/>
              <a:gd name="T60" fmla="*/ 23 w 34"/>
              <a:gd name="T61" fmla="*/ 28 h 34"/>
              <a:gd name="T62" fmla="*/ 28 w 34"/>
              <a:gd name="T63" fmla="*/ 30 h 34"/>
              <a:gd name="T64" fmla="*/ 28 w 34"/>
              <a:gd name="T65" fmla="*/ 30 h 34"/>
              <a:gd name="T66" fmla="*/ 31 w 34"/>
              <a:gd name="T67" fmla="*/ 27 h 34"/>
              <a:gd name="T68" fmla="*/ 29 w 34"/>
              <a:gd name="T69" fmla="*/ 22 h 34"/>
              <a:gd name="T70" fmla="*/ 30 w 34"/>
              <a:gd name="T71" fmla="*/ 21 h 34"/>
              <a:gd name="T72" fmla="*/ 34 w 34"/>
              <a:gd name="T73" fmla="*/ 18 h 34"/>
              <a:gd name="T74" fmla="*/ 34 w 34"/>
              <a:gd name="T75" fmla="*/ 15 h 34"/>
              <a:gd name="T76" fmla="*/ 30 w 34"/>
              <a:gd name="T77" fmla="*/ 12 h 34"/>
              <a:gd name="T78" fmla="*/ 17 w 34"/>
              <a:gd name="T79" fmla="*/ 23 h 34"/>
              <a:gd name="T80" fmla="*/ 11 w 34"/>
              <a:gd name="T81" fmla="*/ 17 h 34"/>
              <a:gd name="T82" fmla="*/ 17 w 34"/>
              <a:gd name="T83" fmla="*/ 11 h 34"/>
              <a:gd name="T84" fmla="*/ 23 w 34"/>
              <a:gd name="T85" fmla="*/ 17 h 34"/>
              <a:gd name="T86" fmla="*/ 17 w 34"/>
              <a:gd name="T87" fmla="*/ 23 h 34"/>
              <a:gd name="T88" fmla="*/ 17 w 34"/>
              <a:gd name="T89" fmla="*/ 23 h 34"/>
              <a:gd name="T90" fmla="*/ 17 w 34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" h="34">
                <a:moveTo>
                  <a:pt x="30" y="12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6"/>
                  <a:pt x="31" y="6"/>
                  <a:pt x="31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7" y="3"/>
                  <a:pt x="23" y="5"/>
                </a:cubicBezTo>
                <a:cubicBezTo>
                  <a:pt x="21" y="4"/>
                  <a:pt x="21" y="4"/>
                  <a:pt x="21" y="4"/>
                </a:cubicBezTo>
                <a:cubicBezTo>
                  <a:pt x="20" y="0"/>
                  <a:pt x="19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4" y="0"/>
                  <a:pt x="13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9" y="4"/>
                  <a:pt x="7" y="3"/>
                  <a:pt x="7" y="3"/>
                </a:cubicBezTo>
                <a:cubicBezTo>
                  <a:pt x="6" y="3"/>
                  <a:pt x="6" y="3"/>
                  <a:pt x="6" y="3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7"/>
                  <a:pt x="5" y="11"/>
                </a:cubicBezTo>
                <a:cubicBezTo>
                  <a:pt x="4" y="12"/>
                  <a:pt x="4" y="12"/>
                  <a:pt x="4" y="12"/>
                </a:cubicBezTo>
                <a:cubicBezTo>
                  <a:pt x="0" y="14"/>
                  <a:pt x="0" y="14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3" y="27"/>
                  <a:pt x="3" y="27"/>
                  <a:pt x="4" y="28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11" y="28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5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8"/>
                  <a:pt x="23" y="28"/>
                  <a:pt x="23" y="28"/>
                </a:cubicBezTo>
                <a:cubicBezTo>
                  <a:pt x="26" y="30"/>
                  <a:pt x="27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1" y="27"/>
                  <a:pt x="29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4" y="19"/>
                  <a:pt x="34" y="19"/>
                  <a:pt x="34" y="18"/>
                </a:cubicBezTo>
                <a:cubicBezTo>
                  <a:pt x="34" y="15"/>
                  <a:pt x="34" y="15"/>
                  <a:pt x="34" y="15"/>
                </a:cubicBezTo>
                <a:cubicBezTo>
                  <a:pt x="34" y="14"/>
                  <a:pt x="34" y="14"/>
                  <a:pt x="30" y="12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3"/>
                  <a:pt x="14" y="11"/>
                  <a:pt x="17" y="11"/>
                </a:cubicBezTo>
                <a:cubicBezTo>
                  <a:pt x="20" y="11"/>
                  <a:pt x="23" y="13"/>
                  <a:pt x="23" y="17"/>
                </a:cubicBezTo>
                <a:cubicBezTo>
                  <a:pt x="23" y="20"/>
                  <a:pt x="20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4" name="Freeform 43"/>
          <p:cNvSpPr>
            <a:spLocks noEditPoints="1"/>
          </p:cNvSpPr>
          <p:nvPr/>
        </p:nvSpPr>
        <p:spPr bwMode="auto">
          <a:xfrm>
            <a:off x="10087112" y="6172754"/>
            <a:ext cx="195288" cy="18970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2 h 34"/>
              <a:gd name="T4" fmla="*/ 31 w 35"/>
              <a:gd name="T5" fmla="*/ 7 h 34"/>
              <a:gd name="T6" fmla="*/ 29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3 w 35"/>
              <a:gd name="T13" fmla="*/ 6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6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7 h 34"/>
              <a:gd name="T30" fmla="*/ 6 w 35"/>
              <a:gd name="T31" fmla="*/ 12 h 34"/>
              <a:gd name="T32" fmla="*/ 5 w 35"/>
              <a:gd name="T33" fmla="*/ 13 h 34"/>
              <a:gd name="T34" fmla="*/ 0 w 35"/>
              <a:gd name="T35" fmla="*/ 16 h 34"/>
              <a:gd name="T36" fmla="*/ 0 w 35"/>
              <a:gd name="T37" fmla="*/ 19 h 34"/>
              <a:gd name="T38" fmla="*/ 5 w 35"/>
              <a:gd name="T39" fmla="*/ 22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1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30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30 h 34"/>
              <a:gd name="T60" fmla="*/ 23 w 35"/>
              <a:gd name="T61" fmla="*/ 29 h 34"/>
              <a:gd name="T62" fmla="*/ 28 w 35"/>
              <a:gd name="T63" fmla="*/ 31 h 34"/>
              <a:gd name="T64" fmla="*/ 28 w 35"/>
              <a:gd name="T65" fmla="*/ 31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2 h 34"/>
              <a:gd name="T72" fmla="*/ 35 w 35"/>
              <a:gd name="T73" fmla="*/ 19 h 34"/>
              <a:gd name="T74" fmla="*/ 35 w 35"/>
              <a:gd name="T75" fmla="*/ 16 h 34"/>
              <a:gd name="T76" fmla="*/ 30 w 35"/>
              <a:gd name="T77" fmla="*/ 13 h 34"/>
              <a:gd name="T78" fmla="*/ 18 w 35"/>
              <a:gd name="T79" fmla="*/ 23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2"/>
                  <a:pt x="30" y="12"/>
                  <a:pt x="30" y="12"/>
                </a:cubicBezTo>
                <a:cubicBezTo>
                  <a:pt x="32" y="7"/>
                  <a:pt x="31" y="7"/>
                  <a:pt x="31" y="7"/>
                </a:cubicBezTo>
                <a:cubicBezTo>
                  <a:pt x="29" y="4"/>
                  <a:pt x="29" y="4"/>
                  <a:pt x="29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7" y="4"/>
                  <a:pt x="23" y="6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6"/>
                  <a:pt x="12" y="6"/>
                  <a:pt x="12" y="6"/>
                </a:cubicBezTo>
                <a:cubicBezTo>
                  <a:pt x="9" y="5"/>
                  <a:pt x="8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7"/>
                  <a:pt x="4" y="7"/>
                  <a:pt x="4" y="7"/>
                </a:cubicBezTo>
                <a:cubicBezTo>
                  <a:pt x="4" y="7"/>
                  <a:pt x="3" y="7"/>
                  <a:pt x="6" y="12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5" y="22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8"/>
                  <a:pt x="4" y="28"/>
                  <a:pt x="4" y="28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8" y="31"/>
                  <a:pt x="12" y="29"/>
                </a:cubicBezTo>
                <a:cubicBezTo>
                  <a:pt x="13" y="30"/>
                  <a:pt x="13" y="30"/>
                  <a:pt x="13" y="30"/>
                </a:cubicBezTo>
                <a:cubicBezTo>
                  <a:pt x="15" y="34"/>
                  <a:pt x="15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30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8"/>
                  <a:pt x="32" y="28"/>
                  <a:pt x="30" y="23"/>
                </a:cubicBezTo>
                <a:cubicBezTo>
                  <a:pt x="30" y="22"/>
                  <a:pt x="30" y="22"/>
                  <a:pt x="30" y="22"/>
                </a:cubicBezTo>
                <a:cubicBezTo>
                  <a:pt x="35" y="20"/>
                  <a:pt x="35" y="20"/>
                  <a:pt x="35" y="19"/>
                </a:cubicBezTo>
                <a:cubicBezTo>
                  <a:pt x="35" y="16"/>
                  <a:pt x="35" y="16"/>
                  <a:pt x="35" y="16"/>
                </a:cubicBezTo>
                <a:cubicBezTo>
                  <a:pt x="35" y="15"/>
                  <a:pt x="35" y="15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2" y="21"/>
                  <a:pt x="12" y="17"/>
                </a:cubicBezTo>
                <a:cubicBezTo>
                  <a:pt x="12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1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Freeform 44"/>
          <p:cNvSpPr>
            <a:spLocks noEditPoints="1"/>
          </p:cNvSpPr>
          <p:nvPr/>
        </p:nvSpPr>
        <p:spPr bwMode="auto">
          <a:xfrm>
            <a:off x="10327038" y="5455770"/>
            <a:ext cx="195288" cy="189708"/>
          </a:xfrm>
          <a:custGeom>
            <a:avLst/>
            <a:gdLst>
              <a:gd name="T0" fmla="*/ 30 w 35"/>
              <a:gd name="T1" fmla="*/ 12 h 34"/>
              <a:gd name="T2" fmla="*/ 29 w 35"/>
              <a:gd name="T3" fmla="*/ 11 h 34"/>
              <a:gd name="T4" fmla="*/ 31 w 35"/>
              <a:gd name="T5" fmla="*/ 6 h 34"/>
              <a:gd name="T6" fmla="*/ 28 w 35"/>
              <a:gd name="T7" fmla="*/ 3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4 h 34"/>
              <a:gd name="T16" fmla="*/ 19 w 35"/>
              <a:gd name="T17" fmla="*/ 0 h 34"/>
              <a:gd name="T18" fmla="*/ 15 w 35"/>
              <a:gd name="T19" fmla="*/ 0 h 34"/>
              <a:gd name="T20" fmla="*/ 13 w 35"/>
              <a:gd name="T21" fmla="*/ 4 h 34"/>
              <a:gd name="T22" fmla="*/ 11 w 35"/>
              <a:gd name="T23" fmla="*/ 5 h 34"/>
              <a:gd name="T24" fmla="*/ 7 w 35"/>
              <a:gd name="T25" fmla="*/ 3 h 34"/>
              <a:gd name="T26" fmla="*/ 6 w 35"/>
              <a:gd name="T27" fmla="*/ 3 h 34"/>
              <a:gd name="T28" fmla="*/ 4 w 35"/>
              <a:gd name="T29" fmla="*/ 6 h 34"/>
              <a:gd name="T30" fmla="*/ 5 w 35"/>
              <a:gd name="T31" fmla="*/ 11 h 34"/>
              <a:gd name="T32" fmla="*/ 5 w 35"/>
              <a:gd name="T33" fmla="*/ 13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5 w 35"/>
              <a:gd name="T41" fmla="*/ 22 h 34"/>
              <a:gd name="T42" fmla="*/ 4 w 35"/>
              <a:gd name="T43" fmla="*/ 28 h 34"/>
              <a:gd name="T44" fmla="*/ 6 w 35"/>
              <a:gd name="T45" fmla="*/ 30 h 34"/>
              <a:gd name="T46" fmla="*/ 7 w 35"/>
              <a:gd name="T47" fmla="*/ 30 h 34"/>
              <a:gd name="T48" fmla="*/ 7 w 35"/>
              <a:gd name="T49" fmla="*/ 30 h 34"/>
              <a:gd name="T50" fmla="*/ 11 w 35"/>
              <a:gd name="T51" fmla="*/ 29 h 34"/>
              <a:gd name="T52" fmla="*/ 13 w 35"/>
              <a:gd name="T53" fmla="*/ 29 h 34"/>
              <a:gd name="T54" fmla="*/ 16 w 35"/>
              <a:gd name="T55" fmla="*/ 34 h 34"/>
              <a:gd name="T56" fmla="*/ 19 w 35"/>
              <a:gd name="T57" fmla="*/ 34 h 34"/>
              <a:gd name="T58" fmla="*/ 22 w 35"/>
              <a:gd name="T59" fmla="*/ 29 h 34"/>
              <a:gd name="T60" fmla="*/ 23 w 35"/>
              <a:gd name="T61" fmla="*/ 29 h 34"/>
              <a:gd name="T62" fmla="*/ 28 w 35"/>
              <a:gd name="T63" fmla="*/ 30 h 34"/>
              <a:gd name="T64" fmla="*/ 28 w 35"/>
              <a:gd name="T65" fmla="*/ 30 h 34"/>
              <a:gd name="T66" fmla="*/ 31 w 35"/>
              <a:gd name="T67" fmla="*/ 27 h 34"/>
              <a:gd name="T68" fmla="*/ 29 w 35"/>
              <a:gd name="T69" fmla="*/ 22 h 34"/>
              <a:gd name="T70" fmla="*/ 30 w 35"/>
              <a:gd name="T71" fmla="*/ 21 h 34"/>
              <a:gd name="T72" fmla="*/ 35 w 35"/>
              <a:gd name="T73" fmla="*/ 18 h 34"/>
              <a:gd name="T74" fmla="*/ 35 w 35"/>
              <a:gd name="T75" fmla="*/ 15 h 34"/>
              <a:gd name="T76" fmla="*/ 30 w 35"/>
              <a:gd name="T77" fmla="*/ 12 h 34"/>
              <a:gd name="T78" fmla="*/ 17 w 35"/>
              <a:gd name="T79" fmla="*/ 23 h 34"/>
              <a:gd name="T80" fmla="*/ 11 w 35"/>
              <a:gd name="T81" fmla="*/ 17 h 34"/>
              <a:gd name="T82" fmla="*/ 17 w 35"/>
              <a:gd name="T83" fmla="*/ 11 h 34"/>
              <a:gd name="T84" fmla="*/ 23 w 35"/>
              <a:gd name="T85" fmla="*/ 17 h 34"/>
              <a:gd name="T86" fmla="*/ 17 w 35"/>
              <a:gd name="T87" fmla="*/ 23 h 34"/>
              <a:gd name="T88" fmla="*/ 17 w 35"/>
              <a:gd name="T89" fmla="*/ 23 h 34"/>
              <a:gd name="T90" fmla="*/ 17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2"/>
                </a:moveTo>
                <a:cubicBezTo>
                  <a:pt x="29" y="11"/>
                  <a:pt x="29" y="11"/>
                  <a:pt x="29" y="11"/>
                </a:cubicBezTo>
                <a:cubicBezTo>
                  <a:pt x="31" y="6"/>
                  <a:pt x="31" y="6"/>
                  <a:pt x="31" y="6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3" y="5"/>
                </a:cubicBezTo>
                <a:cubicBezTo>
                  <a:pt x="22" y="4"/>
                  <a:pt x="22" y="4"/>
                  <a:pt x="22" y="4"/>
                </a:cubicBezTo>
                <a:cubicBezTo>
                  <a:pt x="20" y="0"/>
                  <a:pt x="20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15" y="0"/>
                  <a:pt x="13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9" y="4"/>
                  <a:pt x="7" y="3"/>
                  <a:pt x="7" y="3"/>
                </a:cubicBezTo>
                <a:cubicBezTo>
                  <a:pt x="6" y="3"/>
                  <a:pt x="6" y="3"/>
                  <a:pt x="6" y="3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7"/>
                  <a:pt x="5" y="11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4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19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3" y="27"/>
                  <a:pt x="3" y="27"/>
                  <a:pt x="4" y="28"/>
                </a:cubicBezTo>
                <a:cubicBezTo>
                  <a:pt x="6" y="30"/>
                  <a:pt x="6" y="30"/>
                  <a:pt x="6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0"/>
                  <a:pt x="8" y="30"/>
                  <a:pt x="11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3" y="29"/>
                  <a:pt x="23" y="29"/>
                  <a:pt x="23" y="29"/>
                </a:cubicBezTo>
                <a:cubicBezTo>
                  <a:pt x="26" y="30"/>
                  <a:pt x="27" y="30"/>
                  <a:pt x="28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7"/>
                  <a:pt x="31" y="27"/>
                  <a:pt x="29" y="2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8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4"/>
                  <a:pt x="35" y="14"/>
                  <a:pt x="30" y="12"/>
                </a:cubicBezTo>
                <a:close/>
                <a:moveTo>
                  <a:pt x="17" y="23"/>
                </a:moveTo>
                <a:cubicBezTo>
                  <a:pt x="14" y="23"/>
                  <a:pt x="11" y="20"/>
                  <a:pt x="11" y="17"/>
                </a:cubicBezTo>
                <a:cubicBezTo>
                  <a:pt x="11" y="13"/>
                  <a:pt x="14" y="11"/>
                  <a:pt x="17" y="11"/>
                </a:cubicBezTo>
                <a:cubicBezTo>
                  <a:pt x="21" y="11"/>
                  <a:pt x="23" y="13"/>
                  <a:pt x="23" y="17"/>
                </a:cubicBezTo>
                <a:cubicBezTo>
                  <a:pt x="23" y="20"/>
                  <a:pt x="21" y="23"/>
                  <a:pt x="17" y="23"/>
                </a:cubicBezTo>
                <a:close/>
                <a:moveTo>
                  <a:pt x="17" y="23"/>
                </a:moveTo>
                <a:cubicBezTo>
                  <a:pt x="17" y="23"/>
                  <a:pt x="17" y="23"/>
                  <a:pt x="17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6" name="Freeform 45"/>
          <p:cNvSpPr>
            <a:spLocks noEditPoints="1"/>
          </p:cNvSpPr>
          <p:nvPr/>
        </p:nvSpPr>
        <p:spPr bwMode="auto">
          <a:xfrm>
            <a:off x="11013334" y="4710884"/>
            <a:ext cx="195288" cy="18970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2 h 34"/>
              <a:gd name="T4" fmla="*/ 31 w 35"/>
              <a:gd name="T5" fmla="*/ 7 h 34"/>
              <a:gd name="T6" fmla="*/ 29 w 35"/>
              <a:gd name="T7" fmla="*/ 4 h 34"/>
              <a:gd name="T8" fmla="*/ 28 w 35"/>
              <a:gd name="T9" fmla="*/ 4 h 34"/>
              <a:gd name="T10" fmla="*/ 28 w 35"/>
              <a:gd name="T11" fmla="*/ 4 h 34"/>
              <a:gd name="T12" fmla="*/ 24 w 35"/>
              <a:gd name="T13" fmla="*/ 6 h 34"/>
              <a:gd name="T14" fmla="*/ 22 w 35"/>
              <a:gd name="T15" fmla="*/ 5 h 34"/>
              <a:gd name="T16" fmla="*/ 20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6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7 h 34"/>
              <a:gd name="T30" fmla="*/ 6 w 35"/>
              <a:gd name="T31" fmla="*/ 12 h 34"/>
              <a:gd name="T32" fmla="*/ 5 w 35"/>
              <a:gd name="T33" fmla="*/ 13 h 34"/>
              <a:gd name="T34" fmla="*/ 0 w 35"/>
              <a:gd name="T35" fmla="*/ 16 h 34"/>
              <a:gd name="T36" fmla="*/ 0 w 35"/>
              <a:gd name="T37" fmla="*/ 19 h 34"/>
              <a:gd name="T38" fmla="*/ 5 w 35"/>
              <a:gd name="T39" fmla="*/ 22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1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30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30 h 34"/>
              <a:gd name="T60" fmla="*/ 24 w 35"/>
              <a:gd name="T61" fmla="*/ 29 h 34"/>
              <a:gd name="T62" fmla="*/ 28 w 35"/>
              <a:gd name="T63" fmla="*/ 31 h 34"/>
              <a:gd name="T64" fmla="*/ 29 w 35"/>
              <a:gd name="T65" fmla="*/ 31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2 h 34"/>
              <a:gd name="T72" fmla="*/ 35 w 35"/>
              <a:gd name="T73" fmla="*/ 19 h 34"/>
              <a:gd name="T74" fmla="*/ 35 w 35"/>
              <a:gd name="T75" fmla="*/ 16 h 34"/>
              <a:gd name="T76" fmla="*/ 30 w 35"/>
              <a:gd name="T77" fmla="*/ 13 h 34"/>
              <a:gd name="T78" fmla="*/ 18 w 35"/>
              <a:gd name="T79" fmla="*/ 23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2"/>
                  <a:pt x="30" y="12"/>
                  <a:pt x="30" y="12"/>
                </a:cubicBezTo>
                <a:cubicBezTo>
                  <a:pt x="32" y="7"/>
                  <a:pt x="32" y="7"/>
                  <a:pt x="31" y="7"/>
                </a:cubicBezTo>
                <a:cubicBezTo>
                  <a:pt x="29" y="4"/>
                  <a:pt x="29" y="4"/>
                  <a:pt x="29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8" y="4"/>
                  <a:pt x="24" y="6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2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6"/>
                  <a:pt x="12" y="6"/>
                  <a:pt x="12" y="6"/>
                </a:cubicBezTo>
                <a:cubicBezTo>
                  <a:pt x="9" y="4"/>
                  <a:pt x="8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7"/>
                  <a:pt x="4" y="7"/>
                  <a:pt x="4" y="7"/>
                </a:cubicBezTo>
                <a:cubicBezTo>
                  <a:pt x="4" y="7"/>
                  <a:pt x="4" y="7"/>
                  <a:pt x="6" y="12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5" y="22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8"/>
                  <a:pt x="4" y="28"/>
                  <a:pt x="4" y="28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8" y="31"/>
                  <a:pt x="8" y="31"/>
                  <a:pt x="12" y="29"/>
                </a:cubicBezTo>
                <a:cubicBezTo>
                  <a:pt x="13" y="30"/>
                  <a:pt x="13" y="30"/>
                  <a:pt x="13" y="30"/>
                </a:cubicBezTo>
                <a:cubicBezTo>
                  <a:pt x="15" y="34"/>
                  <a:pt x="15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30"/>
                </a:cubicBezTo>
                <a:cubicBezTo>
                  <a:pt x="24" y="29"/>
                  <a:pt x="24" y="29"/>
                  <a:pt x="24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9" y="31"/>
                  <a:pt x="29" y="31"/>
                  <a:pt x="29" y="31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8"/>
                  <a:pt x="32" y="28"/>
                  <a:pt x="30" y="23"/>
                </a:cubicBezTo>
                <a:cubicBezTo>
                  <a:pt x="30" y="22"/>
                  <a:pt x="30" y="22"/>
                  <a:pt x="30" y="22"/>
                </a:cubicBezTo>
                <a:cubicBezTo>
                  <a:pt x="35" y="20"/>
                  <a:pt x="35" y="20"/>
                  <a:pt x="35" y="19"/>
                </a:cubicBezTo>
                <a:cubicBezTo>
                  <a:pt x="35" y="16"/>
                  <a:pt x="35" y="16"/>
                  <a:pt x="35" y="16"/>
                </a:cubicBezTo>
                <a:cubicBezTo>
                  <a:pt x="35" y="15"/>
                  <a:pt x="35" y="15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2" y="21"/>
                  <a:pt x="12" y="17"/>
                </a:cubicBezTo>
                <a:cubicBezTo>
                  <a:pt x="12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1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7" name="Freeform 46"/>
          <p:cNvSpPr>
            <a:spLocks noEditPoints="1"/>
          </p:cNvSpPr>
          <p:nvPr/>
        </p:nvSpPr>
        <p:spPr bwMode="auto">
          <a:xfrm>
            <a:off x="12137636" y="4297990"/>
            <a:ext cx="195288" cy="189708"/>
          </a:xfrm>
          <a:custGeom>
            <a:avLst/>
            <a:gdLst>
              <a:gd name="T0" fmla="*/ 30 w 35"/>
              <a:gd name="T1" fmla="*/ 13 h 34"/>
              <a:gd name="T2" fmla="*/ 30 w 35"/>
              <a:gd name="T3" fmla="*/ 11 h 34"/>
              <a:gd name="T4" fmla="*/ 31 w 35"/>
              <a:gd name="T5" fmla="*/ 6 h 34"/>
              <a:gd name="T6" fmla="*/ 29 w 35"/>
              <a:gd name="T7" fmla="*/ 4 h 34"/>
              <a:gd name="T8" fmla="*/ 28 w 35"/>
              <a:gd name="T9" fmla="*/ 3 h 34"/>
              <a:gd name="T10" fmla="*/ 28 w 35"/>
              <a:gd name="T11" fmla="*/ 3 h 34"/>
              <a:gd name="T12" fmla="*/ 23 w 35"/>
              <a:gd name="T13" fmla="*/ 5 h 34"/>
              <a:gd name="T14" fmla="*/ 22 w 35"/>
              <a:gd name="T15" fmla="*/ 5 h 34"/>
              <a:gd name="T16" fmla="*/ 19 w 35"/>
              <a:gd name="T17" fmla="*/ 0 h 34"/>
              <a:gd name="T18" fmla="*/ 16 w 35"/>
              <a:gd name="T19" fmla="*/ 0 h 34"/>
              <a:gd name="T20" fmla="*/ 13 w 35"/>
              <a:gd name="T21" fmla="*/ 5 h 34"/>
              <a:gd name="T22" fmla="*/ 12 w 35"/>
              <a:gd name="T23" fmla="*/ 5 h 34"/>
              <a:gd name="T24" fmla="*/ 7 w 35"/>
              <a:gd name="T25" fmla="*/ 4 h 34"/>
              <a:gd name="T26" fmla="*/ 7 w 35"/>
              <a:gd name="T27" fmla="*/ 4 h 34"/>
              <a:gd name="T28" fmla="*/ 4 w 35"/>
              <a:gd name="T29" fmla="*/ 6 h 34"/>
              <a:gd name="T30" fmla="*/ 6 w 35"/>
              <a:gd name="T31" fmla="*/ 11 h 34"/>
              <a:gd name="T32" fmla="*/ 5 w 35"/>
              <a:gd name="T33" fmla="*/ 13 h 34"/>
              <a:gd name="T34" fmla="*/ 0 w 35"/>
              <a:gd name="T35" fmla="*/ 15 h 34"/>
              <a:gd name="T36" fmla="*/ 0 w 35"/>
              <a:gd name="T37" fmla="*/ 19 h 34"/>
              <a:gd name="T38" fmla="*/ 5 w 35"/>
              <a:gd name="T39" fmla="*/ 21 h 34"/>
              <a:gd name="T40" fmla="*/ 6 w 35"/>
              <a:gd name="T41" fmla="*/ 23 h 34"/>
              <a:gd name="T42" fmla="*/ 4 w 35"/>
              <a:gd name="T43" fmla="*/ 28 h 34"/>
              <a:gd name="T44" fmla="*/ 7 w 35"/>
              <a:gd name="T45" fmla="*/ 30 h 34"/>
              <a:gd name="T46" fmla="*/ 7 w 35"/>
              <a:gd name="T47" fmla="*/ 31 h 34"/>
              <a:gd name="T48" fmla="*/ 7 w 35"/>
              <a:gd name="T49" fmla="*/ 31 h 34"/>
              <a:gd name="T50" fmla="*/ 12 w 35"/>
              <a:gd name="T51" fmla="*/ 29 h 34"/>
              <a:gd name="T52" fmla="*/ 13 w 35"/>
              <a:gd name="T53" fmla="*/ 29 h 34"/>
              <a:gd name="T54" fmla="*/ 16 w 35"/>
              <a:gd name="T55" fmla="*/ 34 h 34"/>
              <a:gd name="T56" fmla="*/ 20 w 35"/>
              <a:gd name="T57" fmla="*/ 34 h 34"/>
              <a:gd name="T58" fmla="*/ 22 w 35"/>
              <a:gd name="T59" fmla="*/ 29 h 34"/>
              <a:gd name="T60" fmla="*/ 24 w 35"/>
              <a:gd name="T61" fmla="*/ 29 h 34"/>
              <a:gd name="T62" fmla="*/ 28 w 35"/>
              <a:gd name="T63" fmla="*/ 31 h 34"/>
              <a:gd name="T64" fmla="*/ 28 w 35"/>
              <a:gd name="T65" fmla="*/ 30 h 34"/>
              <a:gd name="T66" fmla="*/ 31 w 35"/>
              <a:gd name="T67" fmla="*/ 28 h 34"/>
              <a:gd name="T68" fmla="*/ 30 w 35"/>
              <a:gd name="T69" fmla="*/ 23 h 34"/>
              <a:gd name="T70" fmla="*/ 30 w 35"/>
              <a:gd name="T71" fmla="*/ 21 h 34"/>
              <a:gd name="T72" fmla="*/ 35 w 35"/>
              <a:gd name="T73" fmla="*/ 19 h 34"/>
              <a:gd name="T74" fmla="*/ 35 w 35"/>
              <a:gd name="T75" fmla="*/ 15 h 34"/>
              <a:gd name="T76" fmla="*/ 30 w 35"/>
              <a:gd name="T77" fmla="*/ 13 h 34"/>
              <a:gd name="T78" fmla="*/ 18 w 35"/>
              <a:gd name="T79" fmla="*/ 23 h 34"/>
              <a:gd name="T80" fmla="*/ 12 w 35"/>
              <a:gd name="T81" fmla="*/ 17 h 34"/>
              <a:gd name="T82" fmla="*/ 18 w 35"/>
              <a:gd name="T83" fmla="*/ 11 h 34"/>
              <a:gd name="T84" fmla="*/ 24 w 35"/>
              <a:gd name="T85" fmla="*/ 17 h 34"/>
              <a:gd name="T86" fmla="*/ 18 w 35"/>
              <a:gd name="T87" fmla="*/ 23 h 34"/>
              <a:gd name="T88" fmla="*/ 18 w 35"/>
              <a:gd name="T89" fmla="*/ 23 h 34"/>
              <a:gd name="T90" fmla="*/ 18 w 35"/>
              <a:gd name="T9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5" h="34">
                <a:moveTo>
                  <a:pt x="30" y="13"/>
                </a:moveTo>
                <a:cubicBezTo>
                  <a:pt x="30" y="11"/>
                  <a:pt x="30" y="11"/>
                  <a:pt x="30" y="11"/>
                </a:cubicBezTo>
                <a:cubicBezTo>
                  <a:pt x="32" y="7"/>
                  <a:pt x="32" y="7"/>
                  <a:pt x="31" y="6"/>
                </a:cubicBezTo>
                <a:cubicBezTo>
                  <a:pt x="29" y="4"/>
                  <a:pt x="29" y="4"/>
                  <a:pt x="29" y="4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8" y="3"/>
                  <a:pt x="27" y="3"/>
                  <a:pt x="23" y="5"/>
                </a:cubicBezTo>
                <a:cubicBezTo>
                  <a:pt x="22" y="5"/>
                  <a:pt x="22" y="5"/>
                  <a:pt x="22" y="5"/>
                </a:cubicBezTo>
                <a:cubicBezTo>
                  <a:pt x="20" y="0"/>
                  <a:pt x="20" y="0"/>
                  <a:pt x="1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0"/>
                  <a:pt x="15" y="0"/>
                  <a:pt x="13" y="5"/>
                </a:cubicBezTo>
                <a:cubicBezTo>
                  <a:pt x="12" y="5"/>
                  <a:pt x="12" y="5"/>
                  <a:pt x="12" y="5"/>
                </a:cubicBezTo>
                <a:cubicBezTo>
                  <a:pt x="9" y="4"/>
                  <a:pt x="8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4" y="6"/>
                  <a:pt x="4" y="6"/>
                  <a:pt x="4" y="6"/>
                </a:cubicBezTo>
                <a:cubicBezTo>
                  <a:pt x="4" y="7"/>
                  <a:pt x="3" y="7"/>
                  <a:pt x="6" y="11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9"/>
                  <a:pt x="0" y="20"/>
                  <a:pt x="5" y="21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7"/>
                  <a:pt x="4" y="27"/>
                  <a:pt x="4" y="28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8" y="31"/>
                  <a:pt x="12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5" y="34"/>
                  <a:pt x="15" y="34"/>
                  <a:pt x="16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4"/>
                  <a:pt x="22" y="29"/>
                </a:cubicBezTo>
                <a:cubicBezTo>
                  <a:pt x="24" y="29"/>
                  <a:pt x="24" y="29"/>
                  <a:pt x="24" y="29"/>
                </a:cubicBezTo>
                <a:cubicBezTo>
                  <a:pt x="26" y="30"/>
                  <a:pt x="28" y="31"/>
                  <a:pt x="28" y="31"/>
                </a:cubicBezTo>
                <a:cubicBezTo>
                  <a:pt x="28" y="30"/>
                  <a:pt x="28" y="30"/>
                  <a:pt x="28" y="30"/>
                </a:cubicBezTo>
                <a:cubicBezTo>
                  <a:pt x="31" y="28"/>
                  <a:pt x="31" y="28"/>
                  <a:pt x="31" y="28"/>
                </a:cubicBezTo>
                <a:cubicBezTo>
                  <a:pt x="32" y="27"/>
                  <a:pt x="32" y="27"/>
                  <a:pt x="30" y="23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9"/>
                  <a:pt x="35" y="19"/>
                  <a:pt x="35" y="19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15"/>
                  <a:pt x="35" y="14"/>
                  <a:pt x="30" y="13"/>
                </a:cubicBezTo>
                <a:close/>
                <a:moveTo>
                  <a:pt x="18" y="23"/>
                </a:moveTo>
                <a:cubicBezTo>
                  <a:pt x="14" y="23"/>
                  <a:pt x="12" y="20"/>
                  <a:pt x="12" y="17"/>
                </a:cubicBezTo>
                <a:cubicBezTo>
                  <a:pt x="12" y="14"/>
                  <a:pt x="14" y="11"/>
                  <a:pt x="18" y="11"/>
                </a:cubicBezTo>
                <a:cubicBezTo>
                  <a:pt x="21" y="11"/>
                  <a:pt x="24" y="14"/>
                  <a:pt x="24" y="17"/>
                </a:cubicBezTo>
                <a:cubicBezTo>
                  <a:pt x="24" y="20"/>
                  <a:pt x="21" y="23"/>
                  <a:pt x="18" y="23"/>
                </a:cubicBezTo>
                <a:close/>
                <a:moveTo>
                  <a:pt x="18" y="23"/>
                </a:moveTo>
                <a:cubicBezTo>
                  <a:pt x="18" y="23"/>
                  <a:pt x="18" y="23"/>
                  <a:pt x="18" y="23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8" name="Freeform 47"/>
          <p:cNvSpPr>
            <a:spLocks noEditPoints="1"/>
          </p:cNvSpPr>
          <p:nvPr/>
        </p:nvSpPr>
        <p:spPr bwMode="auto">
          <a:xfrm>
            <a:off x="12003724" y="10095250"/>
            <a:ext cx="267824" cy="256664"/>
          </a:xfrm>
          <a:custGeom>
            <a:avLst/>
            <a:gdLst>
              <a:gd name="T0" fmla="*/ 42 w 48"/>
              <a:gd name="T1" fmla="*/ 17 h 46"/>
              <a:gd name="T2" fmla="*/ 41 w 48"/>
              <a:gd name="T3" fmla="*/ 15 h 46"/>
              <a:gd name="T4" fmla="*/ 43 w 48"/>
              <a:gd name="T5" fmla="*/ 8 h 46"/>
              <a:gd name="T6" fmla="*/ 39 w 48"/>
              <a:gd name="T7" fmla="*/ 5 h 46"/>
              <a:gd name="T8" fmla="*/ 39 w 48"/>
              <a:gd name="T9" fmla="*/ 4 h 46"/>
              <a:gd name="T10" fmla="*/ 39 w 48"/>
              <a:gd name="T11" fmla="*/ 4 h 46"/>
              <a:gd name="T12" fmla="*/ 32 w 48"/>
              <a:gd name="T13" fmla="*/ 7 h 46"/>
              <a:gd name="T14" fmla="*/ 30 w 48"/>
              <a:gd name="T15" fmla="*/ 6 h 46"/>
              <a:gd name="T16" fmla="*/ 27 w 48"/>
              <a:gd name="T17" fmla="*/ 0 h 46"/>
              <a:gd name="T18" fmla="*/ 22 w 48"/>
              <a:gd name="T19" fmla="*/ 0 h 46"/>
              <a:gd name="T20" fmla="*/ 18 w 48"/>
              <a:gd name="T21" fmla="*/ 6 h 46"/>
              <a:gd name="T22" fmla="*/ 16 w 48"/>
              <a:gd name="T23" fmla="*/ 7 h 46"/>
              <a:gd name="T24" fmla="*/ 10 w 48"/>
              <a:gd name="T25" fmla="*/ 4 h 46"/>
              <a:gd name="T26" fmla="*/ 9 w 48"/>
              <a:gd name="T27" fmla="*/ 4 h 46"/>
              <a:gd name="T28" fmla="*/ 6 w 48"/>
              <a:gd name="T29" fmla="*/ 8 h 46"/>
              <a:gd name="T30" fmla="*/ 8 w 48"/>
              <a:gd name="T31" fmla="*/ 15 h 46"/>
              <a:gd name="T32" fmla="*/ 7 w 48"/>
              <a:gd name="T33" fmla="*/ 17 h 46"/>
              <a:gd name="T34" fmla="*/ 0 w 48"/>
              <a:gd name="T35" fmla="*/ 21 h 46"/>
              <a:gd name="T36" fmla="*/ 0 w 48"/>
              <a:gd name="T37" fmla="*/ 26 h 46"/>
              <a:gd name="T38" fmla="*/ 7 w 48"/>
              <a:gd name="T39" fmla="*/ 29 h 46"/>
              <a:gd name="T40" fmla="*/ 8 w 48"/>
              <a:gd name="T41" fmla="*/ 31 h 46"/>
              <a:gd name="T42" fmla="*/ 6 w 48"/>
              <a:gd name="T43" fmla="*/ 38 h 46"/>
              <a:gd name="T44" fmla="*/ 9 w 48"/>
              <a:gd name="T45" fmla="*/ 41 h 46"/>
              <a:gd name="T46" fmla="*/ 10 w 48"/>
              <a:gd name="T47" fmla="*/ 42 h 46"/>
              <a:gd name="T48" fmla="*/ 10 w 48"/>
              <a:gd name="T49" fmla="*/ 42 h 46"/>
              <a:gd name="T50" fmla="*/ 16 w 48"/>
              <a:gd name="T51" fmla="*/ 39 h 46"/>
              <a:gd name="T52" fmla="*/ 18 w 48"/>
              <a:gd name="T53" fmla="*/ 40 h 46"/>
              <a:gd name="T54" fmla="*/ 22 w 48"/>
              <a:gd name="T55" fmla="*/ 46 h 46"/>
              <a:gd name="T56" fmla="*/ 27 w 48"/>
              <a:gd name="T57" fmla="*/ 46 h 46"/>
              <a:gd name="T58" fmla="*/ 30 w 48"/>
              <a:gd name="T59" fmla="*/ 40 h 46"/>
              <a:gd name="T60" fmla="*/ 32 w 48"/>
              <a:gd name="T61" fmla="*/ 39 h 46"/>
              <a:gd name="T62" fmla="*/ 39 w 48"/>
              <a:gd name="T63" fmla="*/ 42 h 46"/>
              <a:gd name="T64" fmla="*/ 39 w 48"/>
              <a:gd name="T65" fmla="*/ 42 h 46"/>
              <a:gd name="T66" fmla="*/ 43 w 48"/>
              <a:gd name="T67" fmla="*/ 38 h 46"/>
              <a:gd name="T68" fmla="*/ 41 w 48"/>
              <a:gd name="T69" fmla="*/ 31 h 46"/>
              <a:gd name="T70" fmla="*/ 42 w 48"/>
              <a:gd name="T71" fmla="*/ 29 h 46"/>
              <a:gd name="T72" fmla="*/ 48 w 48"/>
              <a:gd name="T73" fmla="*/ 25 h 46"/>
              <a:gd name="T74" fmla="*/ 48 w 48"/>
              <a:gd name="T75" fmla="*/ 20 h 46"/>
              <a:gd name="T76" fmla="*/ 42 w 48"/>
              <a:gd name="T77" fmla="*/ 17 h 46"/>
              <a:gd name="T78" fmla="*/ 24 w 48"/>
              <a:gd name="T79" fmla="*/ 31 h 46"/>
              <a:gd name="T80" fmla="*/ 16 w 48"/>
              <a:gd name="T81" fmla="*/ 23 h 46"/>
              <a:gd name="T82" fmla="*/ 24 w 48"/>
              <a:gd name="T83" fmla="*/ 15 h 46"/>
              <a:gd name="T84" fmla="*/ 33 w 48"/>
              <a:gd name="T85" fmla="*/ 23 h 46"/>
              <a:gd name="T86" fmla="*/ 24 w 48"/>
              <a:gd name="T87" fmla="*/ 31 h 46"/>
              <a:gd name="T88" fmla="*/ 24 w 48"/>
              <a:gd name="T89" fmla="*/ 31 h 46"/>
              <a:gd name="T90" fmla="*/ 24 w 48"/>
              <a:gd name="T91" fmla="*/ 3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" h="46">
                <a:moveTo>
                  <a:pt x="42" y="17"/>
                </a:moveTo>
                <a:cubicBezTo>
                  <a:pt x="41" y="15"/>
                  <a:pt x="41" y="15"/>
                  <a:pt x="41" y="15"/>
                </a:cubicBezTo>
                <a:cubicBezTo>
                  <a:pt x="44" y="9"/>
                  <a:pt x="43" y="9"/>
                  <a:pt x="43" y="8"/>
                </a:cubicBezTo>
                <a:cubicBezTo>
                  <a:pt x="39" y="5"/>
                  <a:pt x="39" y="5"/>
                  <a:pt x="39" y="5"/>
                </a:cubicBezTo>
                <a:cubicBezTo>
                  <a:pt x="39" y="4"/>
                  <a:pt x="39" y="4"/>
                  <a:pt x="39" y="4"/>
                </a:cubicBezTo>
                <a:cubicBezTo>
                  <a:pt x="39" y="4"/>
                  <a:pt x="39" y="4"/>
                  <a:pt x="39" y="4"/>
                </a:cubicBezTo>
                <a:cubicBezTo>
                  <a:pt x="38" y="4"/>
                  <a:pt x="38" y="4"/>
                  <a:pt x="32" y="7"/>
                </a:cubicBezTo>
                <a:cubicBezTo>
                  <a:pt x="30" y="6"/>
                  <a:pt x="30" y="6"/>
                  <a:pt x="30" y="6"/>
                </a:cubicBezTo>
                <a:cubicBezTo>
                  <a:pt x="28" y="0"/>
                  <a:pt x="27" y="0"/>
                  <a:pt x="27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1" y="0"/>
                  <a:pt x="21" y="0"/>
                  <a:pt x="18" y="6"/>
                </a:cubicBezTo>
                <a:cubicBezTo>
                  <a:pt x="16" y="7"/>
                  <a:pt x="16" y="7"/>
                  <a:pt x="16" y="7"/>
                </a:cubicBezTo>
                <a:cubicBezTo>
                  <a:pt x="13" y="5"/>
                  <a:pt x="10" y="4"/>
                  <a:pt x="10" y="4"/>
                </a:cubicBezTo>
                <a:cubicBezTo>
                  <a:pt x="9" y="4"/>
                  <a:pt x="9" y="4"/>
                  <a:pt x="9" y="4"/>
                </a:cubicBezTo>
                <a:cubicBezTo>
                  <a:pt x="6" y="8"/>
                  <a:pt x="6" y="8"/>
                  <a:pt x="6" y="8"/>
                </a:cubicBezTo>
                <a:cubicBezTo>
                  <a:pt x="5" y="9"/>
                  <a:pt x="5" y="9"/>
                  <a:pt x="8" y="15"/>
                </a:cubicBezTo>
                <a:cubicBezTo>
                  <a:pt x="7" y="17"/>
                  <a:pt x="7" y="17"/>
                  <a:pt x="7" y="17"/>
                </a:cubicBezTo>
                <a:cubicBezTo>
                  <a:pt x="0" y="20"/>
                  <a:pt x="0" y="20"/>
                  <a:pt x="0" y="21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6"/>
                  <a:pt x="0" y="27"/>
                  <a:pt x="7" y="29"/>
                </a:cubicBezTo>
                <a:cubicBezTo>
                  <a:pt x="8" y="31"/>
                  <a:pt x="8" y="31"/>
                  <a:pt x="8" y="31"/>
                </a:cubicBezTo>
                <a:cubicBezTo>
                  <a:pt x="5" y="37"/>
                  <a:pt x="5" y="37"/>
                  <a:pt x="6" y="38"/>
                </a:cubicBezTo>
                <a:cubicBezTo>
                  <a:pt x="9" y="41"/>
                  <a:pt x="9" y="41"/>
                  <a:pt x="9" y="41"/>
                </a:cubicBezTo>
                <a:cubicBezTo>
                  <a:pt x="10" y="42"/>
                  <a:pt x="10" y="42"/>
                  <a:pt x="10" y="42"/>
                </a:cubicBezTo>
                <a:cubicBezTo>
                  <a:pt x="10" y="42"/>
                  <a:pt x="10" y="42"/>
                  <a:pt x="10" y="42"/>
                </a:cubicBezTo>
                <a:cubicBezTo>
                  <a:pt x="10" y="42"/>
                  <a:pt x="11" y="42"/>
                  <a:pt x="16" y="39"/>
                </a:cubicBezTo>
                <a:cubicBezTo>
                  <a:pt x="18" y="40"/>
                  <a:pt x="18" y="40"/>
                  <a:pt x="18" y="40"/>
                </a:cubicBezTo>
                <a:cubicBezTo>
                  <a:pt x="21" y="46"/>
                  <a:pt x="21" y="46"/>
                  <a:pt x="22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8" y="46"/>
                  <a:pt x="28" y="46"/>
                  <a:pt x="30" y="40"/>
                </a:cubicBezTo>
                <a:cubicBezTo>
                  <a:pt x="32" y="39"/>
                  <a:pt x="32" y="39"/>
                  <a:pt x="32" y="39"/>
                </a:cubicBezTo>
                <a:cubicBezTo>
                  <a:pt x="36" y="41"/>
                  <a:pt x="38" y="42"/>
                  <a:pt x="39" y="42"/>
                </a:cubicBezTo>
                <a:cubicBezTo>
                  <a:pt x="39" y="42"/>
                  <a:pt x="39" y="42"/>
                  <a:pt x="39" y="42"/>
                </a:cubicBezTo>
                <a:cubicBezTo>
                  <a:pt x="43" y="38"/>
                  <a:pt x="43" y="38"/>
                  <a:pt x="43" y="38"/>
                </a:cubicBezTo>
                <a:cubicBezTo>
                  <a:pt x="44" y="37"/>
                  <a:pt x="44" y="37"/>
                  <a:pt x="41" y="31"/>
                </a:cubicBezTo>
                <a:cubicBezTo>
                  <a:pt x="42" y="29"/>
                  <a:pt x="42" y="29"/>
                  <a:pt x="42" y="29"/>
                </a:cubicBezTo>
                <a:cubicBezTo>
                  <a:pt x="48" y="26"/>
                  <a:pt x="48" y="26"/>
                  <a:pt x="48" y="25"/>
                </a:cubicBezTo>
                <a:cubicBezTo>
                  <a:pt x="48" y="20"/>
                  <a:pt x="48" y="20"/>
                  <a:pt x="48" y="20"/>
                </a:cubicBezTo>
                <a:cubicBezTo>
                  <a:pt x="48" y="20"/>
                  <a:pt x="48" y="19"/>
                  <a:pt x="42" y="17"/>
                </a:cubicBezTo>
                <a:close/>
                <a:moveTo>
                  <a:pt x="24" y="31"/>
                </a:moveTo>
                <a:cubicBezTo>
                  <a:pt x="20" y="31"/>
                  <a:pt x="16" y="28"/>
                  <a:pt x="16" y="23"/>
                </a:cubicBezTo>
                <a:cubicBezTo>
                  <a:pt x="16" y="18"/>
                  <a:pt x="20" y="15"/>
                  <a:pt x="24" y="15"/>
                </a:cubicBezTo>
                <a:cubicBezTo>
                  <a:pt x="29" y="15"/>
                  <a:pt x="33" y="18"/>
                  <a:pt x="33" y="23"/>
                </a:cubicBezTo>
                <a:cubicBezTo>
                  <a:pt x="33" y="28"/>
                  <a:pt x="29" y="31"/>
                  <a:pt x="24" y="31"/>
                </a:cubicBezTo>
                <a:close/>
                <a:moveTo>
                  <a:pt x="24" y="31"/>
                </a:moveTo>
                <a:cubicBezTo>
                  <a:pt x="24" y="31"/>
                  <a:pt x="24" y="31"/>
                  <a:pt x="24" y="31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9" name="Freeform 48"/>
          <p:cNvSpPr>
            <a:spLocks noEditPoints="1"/>
          </p:cNvSpPr>
          <p:nvPr/>
        </p:nvSpPr>
        <p:spPr bwMode="auto">
          <a:xfrm>
            <a:off x="11300689" y="4537915"/>
            <a:ext cx="424054" cy="412894"/>
          </a:xfrm>
          <a:custGeom>
            <a:avLst/>
            <a:gdLst>
              <a:gd name="T0" fmla="*/ 65 w 76"/>
              <a:gd name="T1" fmla="*/ 27 h 74"/>
              <a:gd name="T2" fmla="*/ 64 w 76"/>
              <a:gd name="T3" fmla="*/ 24 h 74"/>
              <a:gd name="T4" fmla="*/ 67 w 76"/>
              <a:gd name="T5" fmla="*/ 13 h 74"/>
              <a:gd name="T6" fmla="*/ 62 w 76"/>
              <a:gd name="T7" fmla="*/ 8 h 74"/>
              <a:gd name="T8" fmla="*/ 61 w 76"/>
              <a:gd name="T9" fmla="*/ 7 h 74"/>
              <a:gd name="T10" fmla="*/ 61 w 76"/>
              <a:gd name="T11" fmla="*/ 7 h 74"/>
              <a:gd name="T12" fmla="*/ 51 w 76"/>
              <a:gd name="T13" fmla="*/ 11 h 74"/>
              <a:gd name="T14" fmla="*/ 47 w 76"/>
              <a:gd name="T15" fmla="*/ 10 h 74"/>
              <a:gd name="T16" fmla="*/ 42 w 76"/>
              <a:gd name="T17" fmla="*/ 0 h 74"/>
              <a:gd name="T18" fmla="*/ 34 w 76"/>
              <a:gd name="T19" fmla="*/ 0 h 74"/>
              <a:gd name="T20" fmla="*/ 28 w 76"/>
              <a:gd name="T21" fmla="*/ 10 h 74"/>
              <a:gd name="T22" fmla="*/ 25 w 76"/>
              <a:gd name="T23" fmla="*/ 11 h 74"/>
              <a:gd name="T24" fmla="*/ 15 w 76"/>
              <a:gd name="T25" fmla="*/ 7 h 74"/>
              <a:gd name="T26" fmla="*/ 14 w 76"/>
              <a:gd name="T27" fmla="*/ 7 h 74"/>
              <a:gd name="T28" fmla="*/ 8 w 76"/>
              <a:gd name="T29" fmla="*/ 13 h 74"/>
              <a:gd name="T30" fmla="*/ 12 w 76"/>
              <a:gd name="T31" fmla="*/ 24 h 74"/>
              <a:gd name="T32" fmla="*/ 10 w 76"/>
              <a:gd name="T33" fmla="*/ 27 h 74"/>
              <a:gd name="T34" fmla="*/ 0 w 76"/>
              <a:gd name="T35" fmla="*/ 33 h 74"/>
              <a:gd name="T36" fmla="*/ 0 w 76"/>
              <a:gd name="T37" fmla="*/ 41 h 74"/>
              <a:gd name="T38" fmla="*/ 10 w 76"/>
              <a:gd name="T39" fmla="*/ 46 h 74"/>
              <a:gd name="T40" fmla="*/ 12 w 76"/>
              <a:gd name="T41" fmla="*/ 49 h 74"/>
              <a:gd name="T42" fmla="*/ 8 w 76"/>
              <a:gd name="T43" fmla="*/ 60 h 74"/>
              <a:gd name="T44" fmla="*/ 14 w 76"/>
              <a:gd name="T45" fmla="*/ 66 h 74"/>
              <a:gd name="T46" fmla="*/ 15 w 76"/>
              <a:gd name="T47" fmla="*/ 66 h 74"/>
              <a:gd name="T48" fmla="*/ 15 w 76"/>
              <a:gd name="T49" fmla="*/ 66 h 74"/>
              <a:gd name="T50" fmla="*/ 25 w 76"/>
              <a:gd name="T51" fmla="*/ 62 h 74"/>
              <a:gd name="T52" fmla="*/ 28 w 76"/>
              <a:gd name="T53" fmla="*/ 64 h 74"/>
              <a:gd name="T54" fmla="*/ 34 w 76"/>
              <a:gd name="T55" fmla="*/ 74 h 74"/>
              <a:gd name="T56" fmla="*/ 42 w 76"/>
              <a:gd name="T57" fmla="*/ 74 h 74"/>
              <a:gd name="T58" fmla="*/ 48 w 76"/>
              <a:gd name="T59" fmla="*/ 64 h 74"/>
              <a:gd name="T60" fmla="*/ 51 w 76"/>
              <a:gd name="T61" fmla="*/ 62 h 74"/>
              <a:gd name="T62" fmla="*/ 61 w 76"/>
              <a:gd name="T63" fmla="*/ 66 h 74"/>
              <a:gd name="T64" fmla="*/ 62 w 76"/>
              <a:gd name="T65" fmla="*/ 66 h 74"/>
              <a:gd name="T66" fmla="*/ 68 w 76"/>
              <a:gd name="T67" fmla="*/ 60 h 74"/>
              <a:gd name="T68" fmla="*/ 64 w 76"/>
              <a:gd name="T69" fmla="*/ 49 h 74"/>
              <a:gd name="T70" fmla="*/ 65 w 76"/>
              <a:gd name="T71" fmla="*/ 46 h 74"/>
              <a:gd name="T72" fmla="*/ 76 w 76"/>
              <a:gd name="T73" fmla="*/ 40 h 74"/>
              <a:gd name="T74" fmla="*/ 76 w 76"/>
              <a:gd name="T75" fmla="*/ 33 h 74"/>
              <a:gd name="T76" fmla="*/ 65 w 76"/>
              <a:gd name="T77" fmla="*/ 27 h 74"/>
              <a:gd name="T78" fmla="*/ 38 w 76"/>
              <a:gd name="T79" fmla="*/ 50 h 74"/>
              <a:gd name="T80" fmla="*/ 25 w 76"/>
              <a:gd name="T81" fmla="*/ 37 h 74"/>
              <a:gd name="T82" fmla="*/ 38 w 76"/>
              <a:gd name="T83" fmla="*/ 24 h 74"/>
              <a:gd name="T84" fmla="*/ 51 w 76"/>
              <a:gd name="T85" fmla="*/ 37 h 74"/>
              <a:gd name="T86" fmla="*/ 38 w 76"/>
              <a:gd name="T87" fmla="*/ 50 h 74"/>
              <a:gd name="T88" fmla="*/ 38 w 76"/>
              <a:gd name="T89" fmla="*/ 50 h 74"/>
              <a:gd name="T90" fmla="*/ 38 w 76"/>
              <a:gd name="T91" fmla="*/ 5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6" h="74">
                <a:moveTo>
                  <a:pt x="65" y="27"/>
                </a:moveTo>
                <a:cubicBezTo>
                  <a:pt x="64" y="24"/>
                  <a:pt x="64" y="24"/>
                  <a:pt x="64" y="24"/>
                </a:cubicBezTo>
                <a:cubicBezTo>
                  <a:pt x="69" y="14"/>
                  <a:pt x="68" y="14"/>
                  <a:pt x="67" y="13"/>
                </a:cubicBezTo>
                <a:cubicBezTo>
                  <a:pt x="62" y="8"/>
                  <a:pt x="62" y="8"/>
                  <a:pt x="62" y="8"/>
                </a:cubicBezTo>
                <a:cubicBezTo>
                  <a:pt x="61" y="7"/>
                  <a:pt x="61" y="7"/>
                  <a:pt x="61" y="7"/>
                </a:cubicBezTo>
                <a:cubicBezTo>
                  <a:pt x="61" y="7"/>
                  <a:pt x="61" y="7"/>
                  <a:pt x="61" y="7"/>
                </a:cubicBezTo>
                <a:cubicBezTo>
                  <a:pt x="60" y="7"/>
                  <a:pt x="59" y="7"/>
                  <a:pt x="51" y="11"/>
                </a:cubicBezTo>
                <a:cubicBezTo>
                  <a:pt x="47" y="10"/>
                  <a:pt x="47" y="10"/>
                  <a:pt x="47" y="10"/>
                </a:cubicBezTo>
                <a:cubicBezTo>
                  <a:pt x="43" y="0"/>
                  <a:pt x="43" y="0"/>
                  <a:pt x="42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3" y="0"/>
                  <a:pt x="32" y="0"/>
                  <a:pt x="28" y="10"/>
                </a:cubicBezTo>
                <a:cubicBezTo>
                  <a:pt x="25" y="11"/>
                  <a:pt x="25" y="11"/>
                  <a:pt x="25" y="11"/>
                </a:cubicBezTo>
                <a:cubicBezTo>
                  <a:pt x="19" y="9"/>
                  <a:pt x="16" y="7"/>
                  <a:pt x="15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8" y="13"/>
                  <a:pt x="8" y="13"/>
                  <a:pt x="8" y="13"/>
                </a:cubicBezTo>
                <a:cubicBezTo>
                  <a:pt x="7" y="14"/>
                  <a:pt x="7" y="15"/>
                  <a:pt x="12" y="24"/>
                </a:cubicBezTo>
                <a:cubicBezTo>
                  <a:pt x="10" y="27"/>
                  <a:pt x="10" y="27"/>
                  <a:pt x="10" y="27"/>
                </a:cubicBezTo>
                <a:cubicBezTo>
                  <a:pt x="0" y="31"/>
                  <a:pt x="0" y="32"/>
                  <a:pt x="0" y="33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2"/>
                  <a:pt x="0" y="42"/>
                  <a:pt x="10" y="46"/>
                </a:cubicBezTo>
                <a:cubicBezTo>
                  <a:pt x="12" y="49"/>
                  <a:pt x="12" y="49"/>
                  <a:pt x="12" y="49"/>
                </a:cubicBezTo>
                <a:cubicBezTo>
                  <a:pt x="7" y="59"/>
                  <a:pt x="8" y="59"/>
                  <a:pt x="8" y="60"/>
                </a:cubicBezTo>
                <a:cubicBezTo>
                  <a:pt x="14" y="66"/>
                  <a:pt x="14" y="66"/>
                  <a:pt x="14" y="66"/>
                </a:cubicBezTo>
                <a:cubicBezTo>
                  <a:pt x="15" y="66"/>
                  <a:pt x="15" y="66"/>
                  <a:pt x="15" y="66"/>
                </a:cubicBezTo>
                <a:cubicBezTo>
                  <a:pt x="15" y="66"/>
                  <a:pt x="15" y="66"/>
                  <a:pt x="15" y="66"/>
                </a:cubicBezTo>
                <a:cubicBezTo>
                  <a:pt x="16" y="66"/>
                  <a:pt x="17" y="66"/>
                  <a:pt x="25" y="62"/>
                </a:cubicBezTo>
                <a:cubicBezTo>
                  <a:pt x="28" y="64"/>
                  <a:pt x="28" y="64"/>
                  <a:pt x="28" y="64"/>
                </a:cubicBezTo>
                <a:cubicBezTo>
                  <a:pt x="32" y="74"/>
                  <a:pt x="33" y="74"/>
                  <a:pt x="34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3" y="74"/>
                  <a:pt x="44" y="74"/>
                  <a:pt x="48" y="64"/>
                </a:cubicBezTo>
                <a:cubicBezTo>
                  <a:pt x="51" y="62"/>
                  <a:pt x="51" y="62"/>
                  <a:pt x="51" y="62"/>
                </a:cubicBezTo>
                <a:cubicBezTo>
                  <a:pt x="56" y="65"/>
                  <a:pt x="60" y="66"/>
                  <a:pt x="61" y="66"/>
                </a:cubicBezTo>
                <a:cubicBezTo>
                  <a:pt x="62" y="66"/>
                  <a:pt x="62" y="66"/>
                  <a:pt x="62" y="66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59"/>
                  <a:pt x="69" y="59"/>
                  <a:pt x="64" y="49"/>
                </a:cubicBezTo>
                <a:cubicBezTo>
                  <a:pt x="65" y="46"/>
                  <a:pt x="65" y="46"/>
                  <a:pt x="65" y="46"/>
                </a:cubicBezTo>
                <a:cubicBezTo>
                  <a:pt x="76" y="42"/>
                  <a:pt x="76" y="42"/>
                  <a:pt x="76" y="40"/>
                </a:cubicBezTo>
                <a:cubicBezTo>
                  <a:pt x="76" y="33"/>
                  <a:pt x="76" y="33"/>
                  <a:pt x="76" y="33"/>
                </a:cubicBezTo>
                <a:cubicBezTo>
                  <a:pt x="76" y="31"/>
                  <a:pt x="76" y="31"/>
                  <a:pt x="65" y="27"/>
                </a:cubicBezTo>
                <a:close/>
                <a:moveTo>
                  <a:pt x="38" y="50"/>
                </a:moveTo>
                <a:cubicBezTo>
                  <a:pt x="31" y="50"/>
                  <a:pt x="25" y="44"/>
                  <a:pt x="25" y="37"/>
                </a:cubicBezTo>
                <a:cubicBezTo>
                  <a:pt x="25" y="30"/>
                  <a:pt x="31" y="24"/>
                  <a:pt x="38" y="24"/>
                </a:cubicBezTo>
                <a:cubicBezTo>
                  <a:pt x="45" y="24"/>
                  <a:pt x="51" y="30"/>
                  <a:pt x="51" y="37"/>
                </a:cubicBezTo>
                <a:cubicBezTo>
                  <a:pt x="51" y="44"/>
                  <a:pt x="45" y="50"/>
                  <a:pt x="38" y="50"/>
                </a:cubicBezTo>
                <a:close/>
                <a:moveTo>
                  <a:pt x="38" y="50"/>
                </a:moveTo>
                <a:cubicBezTo>
                  <a:pt x="38" y="50"/>
                  <a:pt x="38" y="50"/>
                  <a:pt x="38" y="50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0" name="Freeform 49"/>
          <p:cNvSpPr>
            <a:spLocks noEditPoints="1"/>
          </p:cNvSpPr>
          <p:nvPr/>
        </p:nvSpPr>
        <p:spPr bwMode="auto">
          <a:xfrm>
            <a:off x="10734353" y="8120055"/>
            <a:ext cx="424054" cy="418474"/>
          </a:xfrm>
          <a:custGeom>
            <a:avLst/>
            <a:gdLst>
              <a:gd name="T0" fmla="*/ 66 w 76"/>
              <a:gd name="T1" fmla="*/ 28 h 75"/>
              <a:gd name="T2" fmla="*/ 64 w 76"/>
              <a:gd name="T3" fmla="*/ 25 h 75"/>
              <a:gd name="T4" fmla="*/ 68 w 76"/>
              <a:gd name="T5" fmla="*/ 14 h 75"/>
              <a:gd name="T6" fmla="*/ 62 w 76"/>
              <a:gd name="T7" fmla="*/ 8 h 75"/>
              <a:gd name="T8" fmla="*/ 61 w 76"/>
              <a:gd name="T9" fmla="*/ 8 h 75"/>
              <a:gd name="T10" fmla="*/ 61 w 76"/>
              <a:gd name="T11" fmla="*/ 8 h 75"/>
              <a:gd name="T12" fmla="*/ 51 w 76"/>
              <a:gd name="T13" fmla="*/ 12 h 75"/>
              <a:gd name="T14" fmla="*/ 48 w 76"/>
              <a:gd name="T15" fmla="*/ 10 h 75"/>
              <a:gd name="T16" fmla="*/ 42 w 76"/>
              <a:gd name="T17" fmla="*/ 0 h 75"/>
              <a:gd name="T18" fmla="*/ 34 w 76"/>
              <a:gd name="T19" fmla="*/ 0 h 75"/>
              <a:gd name="T20" fmla="*/ 29 w 76"/>
              <a:gd name="T21" fmla="*/ 10 h 75"/>
              <a:gd name="T22" fmla="*/ 25 w 76"/>
              <a:gd name="T23" fmla="*/ 12 h 75"/>
              <a:gd name="T24" fmla="*/ 15 w 76"/>
              <a:gd name="T25" fmla="*/ 8 h 75"/>
              <a:gd name="T26" fmla="*/ 15 w 76"/>
              <a:gd name="T27" fmla="*/ 8 h 75"/>
              <a:gd name="T28" fmla="*/ 8 w 76"/>
              <a:gd name="T29" fmla="*/ 14 h 75"/>
              <a:gd name="T30" fmla="*/ 12 w 76"/>
              <a:gd name="T31" fmla="*/ 25 h 75"/>
              <a:gd name="T32" fmla="*/ 11 w 76"/>
              <a:gd name="T33" fmla="*/ 28 h 75"/>
              <a:gd name="T34" fmla="*/ 0 w 76"/>
              <a:gd name="T35" fmla="*/ 34 h 75"/>
              <a:gd name="T36" fmla="*/ 0 w 76"/>
              <a:gd name="T37" fmla="*/ 41 h 75"/>
              <a:gd name="T38" fmla="*/ 11 w 76"/>
              <a:gd name="T39" fmla="*/ 47 h 75"/>
              <a:gd name="T40" fmla="*/ 12 w 76"/>
              <a:gd name="T41" fmla="*/ 50 h 75"/>
              <a:gd name="T42" fmla="*/ 9 w 76"/>
              <a:gd name="T43" fmla="*/ 61 h 75"/>
              <a:gd name="T44" fmla="*/ 14 w 76"/>
              <a:gd name="T45" fmla="*/ 67 h 75"/>
              <a:gd name="T46" fmla="*/ 15 w 76"/>
              <a:gd name="T47" fmla="*/ 67 h 75"/>
              <a:gd name="T48" fmla="*/ 16 w 76"/>
              <a:gd name="T49" fmla="*/ 67 h 75"/>
              <a:gd name="T50" fmla="*/ 25 w 76"/>
              <a:gd name="T51" fmla="*/ 63 h 75"/>
              <a:gd name="T52" fmla="*/ 29 w 76"/>
              <a:gd name="T53" fmla="*/ 64 h 75"/>
              <a:gd name="T54" fmla="*/ 34 w 76"/>
              <a:gd name="T55" fmla="*/ 75 h 75"/>
              <a:gd name="T56" fmla="*/ 42 w 76"/>
              <a:gd name="T57" fmla="*/ 75 h 75"/>
              <a:gd name="T58" fmla="*/ 48 w 76"/>
              <a:gd name="T59" fmla="*/ 64 h 75"/>
              <a:gd name="T60" fmla="*/ 51 w 76"/>
              <a:gd name="T61" fmla="*/ 63 h 75"/>
              <a:gd name="T62" fmla="*/ 61 w 76"/>
              <a:gd name="T63" fmla="*/ 67 h 75"/>
              <a:gd name="T64" fmla="*/ 62 w 76"/>
              <a:gd name="T65" fmla="*/ 67 h 75"/>
              <a:gd name="T66" fmla="*/ 68 w 76"/>
              <a:gd name="T67" fmla="*/ 61 h 75"/>
              <a:gd name="T68" fmla="*/ 64 w 76"/>
              <a:gd name="T69" fmla="*/ 50 h 75"/>
              <a:gd name="T70" fmla="*/ 66 w 76"/>
              <a:gd name="T71" fmla="*/ 47 h 75"/>
              <a:gd name="T72" fmla="*/ 76 w 76"/>
              <a:gd name="T73" fmla="*/ 41 h 75"/>
              <a:gd name="T74" fmla="*/ 76 w 76"/>
              <a:gd name="T75" fmla="*/ 33 h 75"/>
              <a:gd name="T76" fmla="*/ 66 w 76"/>
              <a:gd name="T77" fmla="*/ 28 h 75"/>
              <a:gd name="T78" fmla="*/ 38 w 76"/>
              <a:gd name="T79" fmla="*/ 50 h 75"/>
              <a:gd name="T80" fmla="*/ 25 w 76"/>
              <a:gd name="T81" fmla="*/ 37 h 75"/>
              <a:gd name="T82" fmla="*/ 38 w 76"/>
              <a:gd name="T83" fmla="*/ 24 h 75"/>
              <a:gd name="T84" fmla="*/ 51 w 76"/>
              <a:gd name="T85" fmla="*/ 37 h 75"/>
              <a:gd name="T86" fmla="*/ 38 w 76"/>
              <a:gd name="T87" fmla="*/ 50 h 75"/>
              <a:gd name="T88" fmla="*/ 38 w 76"/>
              <a:gd name="T89" fmla="*/ 50 h 75"/>
              <a:gd name="T90" fmla="*/ 38 w 76"/>
              <a:gd name="T91" fmla="*/ 5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6" h="75">
                <a:moveTo>
                  <a:pt x="66" y="28"/>
                </a:moveTo>
                <a:cubicBezTo>
                  <a:pt x="64" y="25"/>
                  <a:pt x="64" y="25"/>
                  <a:pt x="64" y="25"/>
                </a:cubicBezTo>
                <a:cubicBezTo>
                  <a:pt x="69" y="15"/>
                  <a:pt x="68" y="15"/>
                  <a:pt x="68" y="14"/>
                </a:cubicBezTo>
                <a:cubicBezTo>
                  <a:pt x="62" y="8"/>
                  <a:pt x="62" y="8"/>
                  <a:pt x="62" y="8"/>
                </a:cubicBezTo>
                <a:cubicBezTo>
                  <a:pt x="61" y="8"/>
                  <a:pt x="61" y="8"/>
                  <a:pt x="61" y="8"/>
                </a:cubicBezTo>
                <a:cubicBezTo>
                  <a:pt x="61" y="8"/>
                  <a:pt x="61" y="8"/>
                  <a:pt x="61" y="8"/>
                </a:cubicBezTo>
                <a:cubicBezTo>
                  <a:pt x="60" y="8"/>
                  <a:pt x="59" y="8"/>
                  <a:pt x="51" y="12"/>
                </a:cubicBezTo>
                <a:cubicBezTo>
                  <a:pt x="48" y="10"/>
                  <a:pt x="48" y="10"/>
                  <a:pt x="48" y="10"/>
                </a:cubicBezTo>
                <a:cubicBezTo>
                  <a:pt x="44" y="0"/>
                  <a:pt x="43" y="0"/>
                  <a:pt x="42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3" y="0"/>
                  <a:pt x="32" y="0"/>
                  <a:pt x="29" y="10"/>
                </a:cubicBezTo>
                <a:cubicBezTo>
                  <a:pt x="25" y="12"/>
                  <a:pt x="25" y="12"/>
                  <a:pt x="25" y="12"/>
                </a:cubicBezTo>
                <a:cubicBezTo>
                  <a:pt x="20" y="9"/>
                  <a:pt x="16" y="8"/>
                  <a:pt x="15" y="8"/>
                </a:cubicBezTo>
                <a:cubicBezTo>
                  <a:pt x="15" y="8"/>
                  <a:pt x="15" y="8"/>
                  <a:pt x="15" y="8"/>
                </a:cubicBezTo>
                <a:cubicBezTo>
                  <a:pt x="8" y="14"/>
                  <a:pt x="8" y="14"/>
                  <a:pt x="8" y="14"/>
                </a:cubicBezTo>
                <a:cubicBezTo>
                  <a:pt x="8" y="15"/>
                  <a:pt x="7" y="15"/>
                  <a:pt x="12" y="25"/>
                </a:cubicBezTo>
                <a:cubicBezTo>
                  <a:pt x="11" y="28"/>
                  <a:pt x="11" y="28"/>
                  <a:pt x="11" y="28"/>
                </a:cubicBezTo>
                <a:cubicBezTo>
                  <a:pt x="0" y="32"/>
                  <a:pt x="0" y="32"/>
                  <a:pt x="0" y="34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3"/>
                  <a:pt x="0" y="43"/>
                  <a:pt x="11" y="47"/>
                </a:cubicBezTo>
                <a:cubicBezTo>
                  <a:pt x="12" y="50"/>
                  <a:pt x="12" y="50"/>
                  <a:pt x="12" y="50"/>
                </a:cubicBezTo>
                <a:cubicBezTo>
                  <a:pt x="8" y="60"/>
                  <a:pt x="8" y="60"/>
                  <a:pt x="9" y="61"/>
                </a:cubicBezTo>
                <a:cubicBezTo>
                  <a:pt x="14" y="67"/>
                  <a:pt x="14" y="67"/>
                  <a:pt x="14" y="67"/>
                </a:cubicBezTo>
                <a:cubicBezTo>
                  <a:pt x="15" y="67"/>
                  <a:pt x="15" y="67"/>
                  <a:pt x="15" y="67"/>
                </a:cubicBezTo>
                <a:cubicBezTo>
                  <a:pt x="16" y="67"/>
                  <a:pt x="16" y="67"/>
                  <a:pt x="16" y="67"/>
                </a:cubicBezTo>
                <a:cubicBezTo>
                  <a:pt x="16" y="67"/>
                  <a:pt x="17" y="67"/>
                  <a:pt x="25" y="63"/>
                </a:cubicBezTo>
                <a:cubicBezTo>
                  <a:pt x="29" y="64"/>
                  <a:pt x="29" y="64"/>
                  <a:pt x="29" y="64"/>
                </a:cubicBezTo>
                <a:cubicBezTo>
                  <a:pt x="33" y="75"/>
                  <a:pt x="33" y="75"/>
                  <a:pt x="34" y="75"/>
                </a:cubicBezTo>
                <a:cubicBezTo>
                  <a:pt x="42" y="75"/>
                  <a:pt x="42" y="75"/>
                  <a:pt x="42" y="75"/>
                </a:cubicBezTo>
                <a:cubicBezTo>
                  <a:pt x="43" y="75"/>
                  <a:pt x="44" y="75"/>
                  <a:pt x="48" y="64"/>
                </a:cubicBezTo>
                <a:cubicBezTo>
                  <a:pt x="51" y="63"/>
                  <a:pt x="51" y="63"/>
                  <a:pt x="51" y="63"/>
                </a:cubicBezTo>
                <a:cubicBezTo>
                  <a:pt x="57" y="66"/>
                  <a:pt x="60" y="67"/>
                  <a:pt x="61" y="67"/>
                </a:cubicBezTo>
                <a:cubicBezTo>
                  <a:pt x="62" y="67"/>
                  <a:pt x="62" y="67"/>
                  <a:pt x="62" y="67"/>
                </a:cubicBezTo>
                <a:cubicBezTo>
                  <a:pt x="68" y="61"/>
                  <a:pt x="68" y="61"/>
                  <a:pt x="68" y="61"/>
                </a:cubicBezTo>
                <a:cubicBezTo>
                  <a:pt x="69" y="60"/>
                  <a:pt x="69" y="60"/>
                  <a:pt x="64" y="50"/>
                </a:cubicBezTo>
                <a:cubicBezTo>
                  <a:pt x="66" y="47"/>
                  <a:pt x="66" y="47"/>
                  <a:pt x="66" y="47"/>
                </a:cubicBezTo>
                <a:cubicBezTo>
                  <a:pt x="76" y="43"/>
                  <a:pt x="76" y="42"/>
                  <a:pt x="76" y="41"/>
                </a:cubicBezTo>
                <a:cubicBezTo>
                  <a:pt x="76" y="33"/>
                  <a:pt x="76" y="33"/>
                  <a:pt x="76" y="33"/>
                </a:cubicBezTo>
                <a:cubicBezTo>
                  <a:pt x="76" y="32"/>
                  <a:pt x="76" y="32"/>
                  <a:pt x="66" y="28"/>
                </a:cubicBezTo>
                <a:close/>
                <a:moveTo>
                  <a:pt x="38" y="50"/>
                </a:moveTo>
                <a:cubicBezTo>
                  <a:pt x="31" y="50"/>
                  <a:pt x="25" y="45"/>
                  <a:pt x="25" y="37"/>
                </a:cubicBezTo>
                <a:cubicBezTo>
                  <a:pt x="25" y="30"/>
                  <a:pt x="31" y="24"/>
                  <a:pt x="38" y="24"/>
                </a:cubicBezTo>
                <a:cubicBezTo>
                  <a:pt x="45" y="24"/>
                  <a:pt x="51" y="30"/>
                  <a:pt x="51" y="37"/>
                </a:cubicBezTo>
                <a:cubicBezTo>
                  <a:pt x="51" y="45"/>
                  <a:pt x="45" y="50"/>
                  <a:pt x="38" y="50"/>
                </a:cubicBezTo>
                <a:close/>
                <a:moveTo>
                  <a:pt x="38" y="50"/>
                </a:moveTo>
                <a:cubicBezTo>
                  <a:pt x="38" y="50"/>
                  <a:pt x="38" y="50"/>
                  <a:pt x="38" y="50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1" name="Freeform 50"/>
          <p:cNvSpPr>
            <a:spLocks noEditPoints="1"/>
          </p:cNvSpPr>
          <p:nvPr/>
        </p:nvSpPr>
        <p:spPr bwMode="auto">
          <a:xfrm>
            <a:off x="10209865" y="5718013"/>
            <a:ext cx="424054" cy="415686"/>
          </a:xfrm>
          <a:custGeom>
            <a:avLst/>
            <a:gdLst>
              <a:gd name="T0" fmla="*/ 66 w 76"/>
              <a:gd name="T1" fmla="*/ 27 h 74"/>
              <a:gd name="T2" fmla="*/ 64 w 76"/>
              <a:gd name="T3" fmla="*/ 24 h 74"/>
              <a:gd name="T4" fmla="*/ 68 w 76"/>
              <a:gd name="T5" fmla="*/ 13 h 74"/>
              <a:gd name="T6" fmla="*/ 62 w 76"/>
              <a:gd name="T7" fmla="*/ 7 h 74"/>
              <a:gd name="T8" fmla="*/ 62 w 76"/>
              <a:gd name="T9" fmla="*/ 7 h 74"/>
              <a:gd name="T10" fmla="*/ 61 w 76"/>
              <a:gd name="T11" fmla="*/ 7 h 74"/>
              <a:gd name="T12" fmla="*/ 51 w 76"/>
              <a:gd name="T13" fmla="*/ 11 h 74"/>
              <a:gd name="T14" fmla="*/ 48 w 76"/>
              <a:gd name="T15" fmla="*/ 10 h 74"/>
              <a:gd name="T16" fmla="*/ 42 w 76"/>
              <a:gd name="T17" fmla="*/ 0 h 74"/>
              <a:gd name="T18" fmla="*/ 34 w 76"/>
              <a:gd name="T19" fmla="*/ 0 h 74"/>
              <a:gd name="T20" fmla="*/ 29 w 76"/>
              <a:gd name="T21" fmla="*/ 10 h 74"/>
              <a:gd name="T22" fmla="*/ 26 w 76"/>
              <a:gd name="T23" fmla="*/ 11 h 74"/>
              <a:gd name="T24" fmla="*/ 15 w 76"/>
              <a:gd name="T25" fmla="*/ 7 h 74"/>
              <a:gd name="T26" fmla="*/ 15 w 76"/>
              <a:gd name="T27" fmla="*/ 7 h 74"/>
              <a:gd name="T28" fmla="*/ 9 w 76"/>
              <a:gd name="T29" fmla="*/ 13 h 74"/>
              <a:gd name="T30" fmla="*/ 12 w 76"/>
              <a:gd name="T31" fmla="*/ 24 h 74"/>
              <a:gd name="T32" fmla="*/ 11 w 76"/>
              <a:gd name="T33" fmla="*/ 27 h 74"/>
              <a:gd name="T34" fmla="*/ 0 w 76"/>
              <a:gd name="T35" fmla="*/ 33 h 74"/>
              <a:gd name="T36" fmla="*/ 0 w 76"/>
              <a:gd name="T37" fmla="*/ 41 h 74"/>
              <a:gd name="T38" fmla="*/ 11 w 76"/>
              <a:gd name="T39" fmla="*/ 46 h 74"/>
              <a:gd name="T40" fmla="*/ 12 w 76"/>
              <a:gd name="T41" fmla="*/ 49 h 74"/>
              <a:gd name="T42" fmla="*/ 9 w 76"/>
              <a:gd name="T43" fmla="*/ 60 h 74"/>
              <a:gd name="T44" fmla="*/ 14 w 76"/>
              <a:gd name="T45" fmla="*/ 66 h 74"/>
              <a:gd name="T46" fmla="*/ 15 w 76"/>
              <a:gd name="T47" fmla="*/ 66 h 74"/>
              <a:gd name="T48" fmla="*/ 16 w 76"/>
              <a:gd name="T49" fmla="*/ 66 h 74"/>
              <a:gd name="T50" fmla="*/ 26 w 76"/>
              <a:gd name="T51" fmla="*/ 62 h 74"/>
              <a:gd name="T52" fmla="*/ 29 w 76"/>
              <a:gd name="T53" fmla="*/ 64 h 74"/>
              <a:gd name="T54" fmla="*/ 34 w 76"/>
              <a:gd name="T55" fmla="*/ 74 h 74"/>
              <a:gd name="T56" fmla="*/ 42 w 76"/>
              <a:gd name="T57" fmla="*/ 74 h 74"/>
              <a:gd name="T58" fmla="*/ 48 w 76"/>
              <a:gd name="T59" fmla="*/ 64 h 74"/>
              <a:gd name="T60" fmla="*/ 51 w 76"/>
              <a:gd name="T61" fmla="*/ 62 h 74"/>
              <a:gd name="T62" fmla="*/ 61 w 76"/>
              <a:gd name="T63" fmla="*/ 66 h 74"/>
              <a:gd name="T64" fmla="*/ 62 w 76"/>
              <a:gd name="T65" fmla="*/ 66 h 74"/>
              <a:gd name="T66" fmla="*/ 68 w 76"/>
              <a:gd name="T67" fmla="*/ 60 h 74"/>
              <a:gd name="T68" fmla="*/ 65 w 76"/>
              <a:gd name="T69" fmla="*/ 49 h 74"/>
              <a:gd name="T70" fmla="*/ 66 w 76"/>
              <a:gd name="T71" fmla="*/ 46 h 74"/>
              <a:gd name="T72" fmla="*/ 76 w 76"/>
              <a:gd name="T73" fmla="*/ 40 h 74"/>
              <a:gd name="T74" fmla="*/ 76 w 76"/>
              <a:gd name="T75" fmla="*/ 33 h 74"/>
              <a:gd name="T76" fmla="*/ 66 w 76"/>
              <a:gd name="T77" fmla="*/ 27 h 74"/>
              <a:gd name="T78" fmla="*/ 38 w 76"/>
              <a:gd name="T79" fmla="*/ 50 h 74"/>
              <a:gd name="T80" fmla="*/ 25 w 76"/>
              <a:gd name="T81" fmla="*/ 37 h 74"/>
              <a:gd name="T82" fmla="*/ 38 w 76"/>
              <a:gd name="T83" fmla="*/ 24 h 74"/>
              <a:gd name="T84" fmla="*/ 52 w 76"/>
              <a:gd name="T85" fmla="*/ 37 h 74"/>
              <a:gd name="T86" fmla="*/ 38 w 76"/>
              <a:gd name="T87" fmla="*/ 50 h 74"/>
              <a:gd name="T88" fmla="*/ 38 w 76"/>
              <a:gd name="T89" fmla="*/ 50 h 74"/>
              <a:gd name="T90" fmla="*/ 38 w 76"/>
              <a:gd name="T91" fmla="*/ 5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6" h="74">
                <a:moveTo>
                  <a:pt x="66" y="27"/>
                </a:moveTo>
                <a:cubicBezTo>
                  <a:pt x="64" y="24"/>
                  <a:pt x="64" y="24"/>
                  <a:pt x="64" y="24"/>
                </a:cubicBezTo>
                <a:cubicBezTo>
                  <a:pt x="69" y="14"/>
                  <a:pt x="69" y="14"/>
                  <a:pt x="68" y="13"/>
                </a:cubicBezTo>
                <a:cubicBezTo>
                  <a:pt x="62" y="7"/>
                  <a:pt x="62" y="7"/>
                  <a:pt x="62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1" y="7"/>
                  <a:pt x="61" y="7"/>
                  <a:pt x="61" y="7"/>
                </a:cubicBezTo>
                <a:cubicBezTo>
                  <a:pt x="61" y="7"/>
                  <a:pt x="60" y="7"/>
                  <a:pt x="51" y="11"/>
                </a:cubicBezTo>
                <a:cubicBezTo>
                  <a:pt x="48" y="10"/>
                  <a:pt x="48" y="10"/>
                  <a:pt x="48" y="10"/>
                </a:cubicBezTo>
                <a:cubicBezTo>
                  <a:pt x="44" y="0"/>
                  <a:pt x="43" y="0"/>
                  <a:pt x="42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3" y="0"/>
                  <a:pt x="32" y="0"/>
                  <a:pt x="29" y="10"/>
                </a:cubicBezTo>
                <a:cubicBezTo>
                  <a:pt x="26" y="11"/>
                  <a:pt x="26" y="11"/>
                  <a:pt x="26" y="11"/>
                </a:cubicBezTo>
                <a:cubicBezTo>
                  <a:pt x="20" y="8"/>
                  <a:pt x="16" y="7"/>
                  <a:pt x="15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9" y="13"/>
                  <a:pt x="9" y="13"/>
                  <a:pt x="9" y="13"/>
                </a:cubicBezTo>
                <a:cubicBezTo>
                  <a:pt x="8" y="14"/>
                  <a:pt x="7" y="14"/>
                  <a:pt x="12" y="24"/>
                </a:cubicBezTo>
                <a:cubicBezTo>
                  <a:pt x="11" y="27"/>
                  <a:pt x="11" y="27"/>
                  <a:pt x="11" y="27"/>
                </a:cubicBezTo>
                <a:cubicBezTo>
                  <a:pt x="0" y="31"/>
                  <a:pt x="0" y="32"/>
                  <a:pt x="0" y="33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2"/>
                  <a:pt x="0" y="42"/>
                  <a:pt x="11" y="46"/>
                </a:cubicBezTo>
                <a:cubicBezTo>
                  <a:pt x="12" y="49"/>
                  <a:pt x="12" y="49"/>
                  <a:pt x="12" y="49"/>
                </a:cubicBezTo>
                <a:cubicBezTo>
                  <a:pt x="8" y="59"/>
                  <a:pt x="8" y="59"/>
                  <a:pt x="9" y="60"/>
                </a:cubicBezTo>
                <a:cubicBezTo>
                  <a:pt x="14" y="66"/>
                  <a:pt x="14" y="66"/>
                  <a:pt x="14" y="66"/>
                </a:cubicBezTo>
                <a:cubicBezTo>
                  <a:pt x="15" y="66"/>
                  <a:pt x="15" y="66"/>
                  <a:pt x="15" y="66"/>
                </a:cubicBezTo>
                <a:cubicBezTo>
                  <a:pt x="16" y="66"/>
                  <a:pt x="16" y="66"/>
                  <a:pt x="16" y="66"/>
                </a:cubicBezTo>
                <a:cubicBezTo>
                  <a:pt x="16" y="66"/>
                  <a:pt x="17" y="66"/>
                  <a:pt x="26" y="62"/>
                </a:cubicBezTo>
                <a:cubicBezTo>
                  <a:pt x="29" y="64"/>
                  <a:pt x="29" y="64"/>
                  <a:pt x="29" y="64"/>
                </a:cubicBezTo>
                <a:cubicBezTo>
                  <a:pt x="33" y="74"/>
                  <a:pt x="33" y="74"/>
                  <a:pt x="34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4" y="74"/>
                  <a:pt x="44" y="74"/>
                  <a:pt x="48" y="64"/>
                </a:cubicBezTo>
                <a:cubicBezTo>
                  <a:pt x="51" y="62"/>
                  <a:pt x="51" y="62"/>
                  <a:pt x="51" y="62"/>
                </a:cubicBezTo>
                <a:cubicBezTo>
                  <a:pt x="57" y="65"/>
                  <a:pt x="60" y="66"/>
                  <a:pt x="61" y="66"/>
                </a:cubicBezTo>
                <a:cubicBezTo>
                  <a:pt x="62" y="66"/>
                  <a:pt x="62" y="66"/>
                  <a:pt x="62" y="66"/>
                </a:cubicBezTo>
                <a:cubicBezTo>
                  <a:pt x="68" y="60"/>
                  <a:pt x="68" y="60"/>
                  <a:pt x="68" y="60"/>
                </a:cubicBezTo>
                <a:cubicBezTo>
                  <a:pt x="69" y="59"/>
                  <a:pt x="69" y="59"/>
                  <a:pt x="65" y="49"/>
                </a:cubicBezTo>
                <a:cubicBezTo>
                  <a:pt x="66" y="46"/>
                  <a:pt x="66" y="46"/>
                  <a:pt x="66" y="46"/>
                </a:cubicBezTo>
                <a:cubicBezTo>
                  <a:pt x="76" y="42"/>
                  <a:pt x="76" y="42"/>
                  <a:pt x="76" y="40"/>
                </a:cubicBezTo>
                <a:cubicBezTo>
                  <a:pt x="76" y="33"/>
                  <a:pt x="76" y="33"/>
                  <a:pt x="76" y="33"/>
                </a:cubicBezTo>
                <a:cubicBezTo>
                  <a:pt x="76" y="31"/>
                  <a:pt x="76" y="31"/>
                  <a:pt x="66" y="27"/>
                </a:cubicBezTo>
                <a:close/>
                <a:moveTo>
                  <a:pt x="38" y="50"/>
                </a:moveTo>
                <a:cubicBezTo>
                  <a:pt x="31" y="50"/>
                  <a:pt x="25" y="44"/>
                  <a:pt x="25" y="37"/>
                </a:cubicBezTo>
                <a:cubicBezTo>
                  <a:pt x="25" y="29"/>
                  <a:pt x="31" y="24"/>
                  <a:pt x="38" y="24"/>
                </a:cubicBezTo>
                <a:cubicBezTo>
                  <a:pt x="46" y="24"/>
                  <a:pt x="52" y="29"/>
                  <a:pt x="52" y="37"/>
                </a:cubicBezTo>
                <a:cubicBezTo>
                  <a:pt x="52" y="44"/>
                  <a:pt x="46" y="50"/>
                  <a:pt x="38" y="50"/>
                </a:cubicBezTo>
                <a:close/>
                <a:moveTo>
                  <a:pt x="38" y="50"/>
                </a:moveTo>
                <a:cubicBezTo>
                  <a:pt x="38" y="50"/>
                  <a:pt x="38" y="50"/>
                  <a:pt x="38" y="50"/>
                </a:cubicBez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11378803" y="10452348"/>
            <a:ext cx="2156538" cy="1629260"/>
          </a:xfrm>
          <a:custGeom>
            <a:avLst/>
            <a:gdLst>
              <a:gd name="T0" fmla="*/ 364 w 386"/>
              <a:gd name="T1" fmla="*/ 105 h 291"/>
              <a:gd name="T2" fmla="*/ 386 w 386"/>
              <a:gd name="T3" fmla="*/ 83 h 291"/>
              <a:gd name="T4" fmla="*/ 364 w 386"/>
              <a:gd name="T5" fmla="*/ 61 h 291"/>
              <a:gd name="T6" fmla="*/ 363 w 386"/>
              <a:gd name="T7" fmla="*/ 61 h 291"/>
              <a:gd name="T8" fmla="*/ 363 w 386"/>
              <a:gd name="T9" fmla="*/ 45 h 291"/>
              <a:gd name="T10" fmla="*/ 364 w 386"/>
              <a:gd name="T11" fmla="*/ 45 h 291"/>
              <a:gd name="T12" fmla="*/ 386 w 386"/>
              <a:gd name="T13" fmla="*/ 23 h 291"/>
              <a:gd name="T14" fmla="*/ 364 w 386"/>
              <a:gd name="T15" fmla="*/ 1 h 291"/>
              <a:gd name="T16" fmla="*/ 344 w 386"/>
              <a:gd name="T17" fmla="*/ 1 h 291"/>
              <a:gd name="T18" fmla="*/ 336 w 386"/>
              <a:gd name="T19" fmla="*/ 0 h 291"/>
              <a:gd name="T20" fmla="*/ 50 w 386"/>
              <a:gd name="T21" fmla="*/ 0 h 291"/>
              <a:gd name="T22" fmla="*/ 42 w 386"/>
              <a:gd name="T23" fmla="*/ 1 h 291"/>
              <a:gd name="T24" fmla="*/ 22 w 386"/>
              <a:gd name="T25" fmla="*/ 1 h 291"/>
              <a:gd name="T26" fmla="*/ 0 w 386"/>
              <a:gd name="T27" fmla="*/ 23 h 291"/>
              <a:gd name="T28" fmla="*/ 22 w 386"/>
              <a:gd name="T29" fmla="*/ 45 h 291"/>
              <a:gd name="T30" fmla="*/ 23 w 386"/>
              <a:gd name="T31" fmla="*/ 45 h 291"/>
              <a:gd name="T32" fmla="*/ 23 w 386"/>
              <a:gd name="T33" fmla="*/ 61 h 291"/>
              <a:gd name="T34" fmla="*/ 22 w 386"/>
              <a:gd name="T35" fmla="*/ 61 h 291"/>
              <a:gd name="T36" fmla="*/ 0 w 386"/>
              <a:gd name="T37" fmla="*/ 83 h 291"/>
              <a:gd name="T38" fmla="*/ 22 w 386"/>
              <a:gd name="T39" fmla="*/ 105 h 291"/>
              <a:gd name="T40" fmla="*/ 23 w 386"/>
              <a:gd name="T41" fmla="*/ 105 h 291"/>
              <a:gd name="T42" fmla="*/ 23 w 386"/>
              <a:gd name="T43" fmla="*/ 121 h 291"/>
              <a:gd name="T44" fmla="*/ 22 w 386"/>
              <a:gd name="T45" fmla="*/ 121 h 291"/>
              <a:gd name="T46" fmla="*/ 0 w 386"/>
              <a:gd name="T47" fmla="*/ 143 h 291"/>
              <a:gd name="T48" fmla="*/ 22 w 386"/>
              <a:gd name="T49" fmla="*/ 165 h 291"/>
              <a:gd name="T50" fmla="*/ 23 w 386"/>
              <a:gd name="T51" fmla="*/ 165 h 291"/>
              <a:gd name="T52" fmla="*/ 23 w 386"/>
              <a:gd name="T53" fmla="*/ 183 h 291"/>
              <a:gd name="T54" fmla="*/ 50 w 386"/>
              <a:gd name="T55" fmla="*/ 210 h 291"/>
              <a:gd name="T56" fmla="*/ 171 w 386"/>
              <a:gd name="T57" fmla="*/ 291 h 291"/>
              <a:gd name="T58" fmla="*/ 192 w 386"/>
              <a:gd name="T59" fmla="*/ 291 h 291"/>
              <a:gd name="T60" fmla="*/ 193 w 386"/>
              <a:gd name="T61" fmla="*/ 291 h 291"/>
              <a:gd name="T62" fmla="*/ 195 w 386"/>
              <a:gd name="T63" fmla="*/ 291 h 291"/>
              <a:gd name="T64" fmla="*/ 215 w 386"/>
              <a:gd name="T65" fmla="*/ 291 h 291"/>
              <a:gd name="T66" fmla="*/ 336 w 386"/>
              <a:gd name="T67" fmla="*/ 210 h 291"/>
              <a:gd name="T68" fmla="*/ 363 w 386"/>
              <a:gd name="T69" fmla="*/ 183 h 291"/>
              <a:gd name="T70" fmla="*/ 363 w 386"/>
              <a:gd name="T71" fmla="*/ 165 h 291"/>
              <a:gd name="T72" fmla="*/ 364 w 386"/>
              <a:gd name="T73" fmla="*/ 165 h 291"/>
              <a:gd name="T74" fmla="*/ 386 w 386"/>
              <a:gd name="T75" fmla="*/ 143 h 291"/>
              <a:gd name="T76" fmla="*/ 364 w 386"/>
              <a:gd name="T77" fmla="*/ 121 h 291"/>
              <a:gd name="T78" fmla="*/ 363 w 386"/>
              <a:gd name="T79" fmla="*/ 121 h 291"/>
              <a:gd name="T80" fmla="*/ 363 w 386"/>
              <a:gd name="T81" fmla="*/ 105 h 291"/>
              <a:gd name="T82" fmla="*/ 364 w 386"/>
              <a:gd name="T83" fmla="*/ 105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6" h="291">
                <a:moveTo>
                  <a:pt x="364" y="105"/>
                </a:moveTo>
                <a:cubicBezTo>
                  <a:pt x="376" y="105"/>
                  <a:pt x="386" y="95"/>
                  <a:pt x="386" y="83"/>
                </a:cubicBezTo>
                <a:cubicBezTo>
                  <a:pt x="386" y="71"/>
                  <a:pt x="376" y="61"/>
                  <a:pt x="364" y="61"/>
                </a:cubicBezTo>
                <a:cubicBezTo>
                  <a:pt x="363" y="61"/>
                  <a:pt x="363" y="61"/>
                  <a:pt x="363" y="61"/>
                </a:cubicBezTo>
                <a:cubicBezTo>
                  <a:pt x="363" y="45"/>
                  <a:pt x="363" y="45"/>
                  <a:pt x="363" y="45"/>
                </a:cubicBezTo>
                <a:cubicBezTo>
                  <a:pt x="364" y="45"/>
                  <a:pt x="364" y="45"/>
                  <a:pt x="364" y="45"/>
                </a:cubicBezTo>
                <a:cubicBezTo>
                  <a:pt x="376" y="45"/>
                  <a:pt x="386" y="35"/>
                  <a:pt x="386" y="23"/>
                </a:cubicBezTo>
                <a:cubicBezTo>
                  <a:pt x="386" y="11"/>
                  <a:pt x="376" y="1"/>
                  <a:pt x="364" y="1"/>
                </a:cubicBezTo>
                <a:cubicBezTo>
                  <a:pt x="344" y="1"/>
                  <a:pt x="344" y="1"/>
                  <a:pt x="344" y="1"/>
                </a:cubicBezTo>
                <a:cubicBezTo>
                  <a:pt x="341" y="0"/>
                  <a:pt x="339" y="0"/>
                  <a:pt x="336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48" y="0"/>
                  <a:pt x="45" y="0"/>
                  <a:pt x="42" y="1"/>
                </a:cubicBezTo>
                <a:cubicBezTo>
                  <a:pt x="22" y="1"/>
                  <a:pt x="22" y="1"/>
                  <a:pt x="22" y="1"/>
                </a:cubicBezTo>
                <a:cubicBezTo>
                  <a:pt x="10" y="1"/>
                  <a:pt x="0" y="11"/>
                  <a:pt x="0" y="23"/>
                </a:cubicBezTo>
                <a:cubicBezTo>
                  <a:pt x="0" y="35"/>
                  <a:pt x="10" y="45"/>
                  <a:pt x="22" y="45"/>
                </a:cubicBezTo>
                <a:cubicBezTo>
                  <a:pt x="23" y="45"/>
                  <a:pt x="23" y="45"/>
                  <a:pt x="23" y="45"/>
                </a:cubicBezTo>
                <a:cubicBezTo>
                  <a:pt x="23" y="61"/>
                  <a:pt x="23" y="61"/>
                  <a:pt x="23" y="61"/>
                </a:cubicBezTo>
                <a:cubicBezTo>
                  <a:pt x="22" y="61"/>
                  <a:pt x="22" y="61"/>
                  <a:pt x="22" y="61"/>
                </a:cubicBezTo>
                <a:cubicBezTo>
                  <a:pt x="10" y="61"/>
                  <a:pt x="0" y="71"/>
                  <a:pt x="0" y="83"/>
                </a:cubicBezTo>
                <a:cubicBezTo>
                  <a:pt x="0" y="95"/>
                  <a:pt x="10" y="105"/>
                  <a:pt x="22" y="105"/>
                </a:cubicBezTo>
                <a:cubicBezTo>
                  <a:pt x="23" y="105"/>
                  <a:pt x="23" y="105"/>
                  <a:pt x="23" y="105"/>
                </a:cubicBezTo>
                <a:cubicBezTo>
                  <a:pt x="23" y="121"/>
                  <a:pt x="23" y="121"/>
                  <a:pt x="23" y="121"/>
                </a:cubicBezTo>
                <a:cubicBezTo>
                  <a:pt x="22" y="121"/>
                  <a:pt x="22" y="121"/>
                  <a:pt x="22" y="121"/>
                </a:cubicBezTo>
                <a:cubicBezTo>
                  <a:pt x="10" y="121"/>
                  <a:pt x="0" y="131"/>
                  <a:pt x="0" y="143"/>
                </a:cubicBezTo>
                <a:cubicBezTo>
                  <a:pt x="0" y="155"/>
                  <a:pt x="10" y="165"/>
                  <a:pt x="22" y="165"/>
                </a:cubicBezTo>
                <a:cubicBezTo>
                  <a:pt x="23" y="165"/>
                  <a:pt x="23" y="165"/>
                  <a:pt x="23" y="165"/>
                </a:cubicBezTo>
                <a:cubicBezTo>
                  <a:pt x="23" y="183"/>
                  <a:pt x="23" y="183"/>
                  <a:pt x="23" y="183"/>
                </a:cubicBezTo>
                <a:cubicBezTo>
                  <a:pt x="23" y="198"/>
                  <a:pt x="36" y="210"/>
                  <a:pt x="50" y="210"/>
                </a:cubicBezTo>
                <a:cubicBezTo>
                  <a:pt x="50" y="210"/>
                  <a:pt x="139" y="291"/>
                  <a:pt x="171" y="291"/>
                </a:cubicBezTo>
                <a:cubicBezTo>
                  <a:pt x="182" y="291"/>
                  <a:pt x="188" y="291"/>
                  <a:pt x="192" y="291"/>
                </a:cubicBezTo>
                <a:cubicBezTo>
                  <a:pt x="192" y="291"/>
                  <a:pt x="193" y="291"/>
                  <a:pt x="193" y="291"/>
                </a:cubicBezTo>
                <a:cubicBezTo>
                  <a:pt x="194" y="291"/>
                  <a:pt x="195" y="291"/>
                  <a:pt x="195" y="291"/>
                </a:cubicBezTo>
                <a:cubicBezTo>
                  <a:pt x="198" y="291"/>
                  <a:pt x="204" y="291"/>
                  <a:pt x="215" y="291"/>
                </a:cubicBezTo>
                <a:cubicBezTo>
                  <a:pt x="248" y="291"/>
                  <a:pt x="336" y="210"/>
                  <a:pt x="336" y="210"/>
                </a:cubicBezTo>
                <a:cubicBezTo>
                  <a:pt x="351" y="210"/>
                  <a:pt x="363" y="198"/>
                  <a:pt x="363" y="183"/>
                </a:cubicBezTo>
                <a:cubicBezTo>
                  <a:pt x="363" y="165"/>
                  <a:pt x="363" y="165"/>
                  <a:pt x="363" y="165"/>
                </a:cubicBezTo>
                <a:cubicBezTo>
                  <a:pt x="364" y="165"/>
                  <a:pt x="364" y="165"/>
                  <a:pt x="364" y="165"/>
                </a:cubicBezTo>
                <a:cubicBezTo>
                  <a:pt x="376" y="165"/>
                  <a:pt x="386" y="155"/>
                  <a:pt x="386" y="143"/>
                </a:cubicBezTo>
                <a:cubicBezTo>
                  <a:pt x="386" y="131"/>
                  <a:pt x="376" y="121"/>
                  <a:pt x="364" y="121"/>
                </a:cubicBezTo>
                <a:cubicBezTo>
                  <a:pt x="363" y="121"/>
                  <a:pt x="363" y="121"/>
                  <a:pt x="363" y="121"/>
                </a:cubicBezTo>
                <a:cubicBezTo>
                  <a:pt x="363" y="105"/>
                  <a:pt x="363" y="105"/>
                  <a:pt x="363" y="105"/>
                </a:cubicBezTo>
                <a:lnTo>
                  <a:pt x="364" y="105"/>
                </a:ln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3" name="Line 72"/>
          <p:cNvSpPr>
            <a:spLocks noChangeShapeType="1"/>
          </p:cNvSpPr>
          <p:nvPr/>
        </p:nvSpPr>
        <p:spPr bwMode="auto">
          <a:xfrm flipH="1" flipV="1">
            <a:off x="13976131" y="8477152"/>
            <a:ext cx="1389334" cy="1274952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4" name="Line 73"/>
          <p:cNvSpPr>
            <a:spLocks noChangeShapeType="1"/>
          </p:cNvSpPr>
          <p:nvPr/>
        </p:nvSpPr>
        <p:spPr bwMode="auto">
          <a:xfrm flipH="1" flipV="1">
            <a:off x="14637720" y="6273476"/>
            <a:ext cx="1771544" cy="267536"/>
          </a:xfrm>
          <a:prstGeom prst="line">
            <a:avLst/>
          </a:prstGeom>
          <a:noFill/>
          <a:ln w="22225" cap="flat">
            <a:solidFill>
              <a:schemeClr val="accent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5" name="Line 74"/>
          <p:cNvSpPr>
            <a:spLocks noChangeShapeType="1"/>
          </p:cNvSpPr>
          <p:nvPr/>
        </p:nvSpPr>
        <p:spPr bwMode="auto">
          <a:xfrm>
            <a:off x="9300381" y="5062402"/>
            <a:ext cx="1400494" cy="246900"/>
          </a:xfrm>
          <a:prstGeom prst="line">
            <a:avLst/>
          </a:prstGeom>
          <a:noFill/>
          <a:ln w="22225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6" name="Line 75"/>
          <p:cNvSpPr>
            <a:spLocks noChangeShapeType="1"/>
          </p:cNvSpPr>
          <p:nvPr/>
        </p:nvSpPr>
        <p:spPr bwMode="auto">
          <a:xfrm flipV="1">
            <a:off x="9635160" y="9272253"/>
            <a:ext cx="1654368" cy="742094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7" name="Freeform 76"/>
          <p:cNvSpPr>
            <a:spLocks/>
          </p:cNvSpPr>
          <p:nvPr/>
        </p:nvSpPr>
        <p:spPr bwMode="auto">
          <a:xfrm>
            <a:off x="8163527" y="4285937"/>
            <a:ext cx="1230314" cy="1230314"/>
          </a:xfrm>
          <a:custGeom>
            <a:avLst/>
            <a:gdLst>
              <a:gd name="T0" fmla="*/ 181 w 220"/>
              <a:gd name="T1" fmla="*/ 39 h 220"/>
              <a:gd name="T2" fmla="*/ 181 w 220"/>
              <a:gd name="T3" fmla="*/ 181 h 220"/>
              <a:gd name="T4" fmla="*/ 39 w 220"/>
              <a:gd name="T5" fmla="*/ 181 h 220"/>
              <a:gd name="T6" fmla="*/ 39 w 220"/>
              <a:gd name="T7" fmla="*/ 39 h 220"/>
              <a:gd name="T8" fmla="*/ 181 w 220"/>
              <a:gd name="T9" fmla="*/ 39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" h="220">
                <a:moveTo>
                  <a:pt x="181" y="39"/>
                </a:moveTo>
                <a:cubicBezTo>
                  <a:pt x="220" y="78"/>
                  <a:pt x="220" y="142"/>
                  <a:pt x="181" y="181"/>
                </a:cubicBezTo>
                <a:cubicBezTo>
                  <a:pt x="142" y="220"/>
                  <a:pt x="78" y="220"/>
                  <a:pt x="39" y="181"/>
                </a:cubicBezTo>
                <a:cubicBezTo>
                  <a:pt x="0" y="142"/>
                  <a:pt x="0" y="78"/>
                  <a:pt x="39" y="39"/>
                </a:cubicBezTo>
                <a:cubicBezTo>
                  <a:pt x="78" y="0"/>
                  <a:pt x="142" y="0"/>
                  <a:pt x="181" y="3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8" name="Freeform 77"/>
          <p:cNvSpPr>
            <a:spLocks/>
          </p:cNvSpPr>
          <p:nvPr/>
        </p:nvSpPr>
        <p:spPr bwMode="auto">
          <a:xfrm>
            <a:off x="16218793" y="6029511"/>
            <a:ext cx="1224734" cy="1230314"/>
          </a:xfrm>
          <a:custGeom>
            <a:avLst/>
            <a:gdLst>
              <a:gd name="T0" fmla="*/ 180 w 219"/>
              <a:gd name="T1" fmla="*/ 39 h 220"/>
              <a:gd name="T2" fmla="*/ 180 w 219"/>
              <a:gd name="T3" fmla="*/ 181 h 220"/>
              <a:gd name="T4" fmla="*/ 39 w 219"/>
              <a:gd name="T5" fmla="*/ 181 h 220"/>
              <a:gd name="T6" fmla="*/ 39 w 219"/>
              <a:gd name="T7" fmla="*/ 39 h 220"/>
              <a:gd name="T8" fmla="*/ 180 w 219"/>
              <a:gd name="T9" fmla="*/ 39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9" h="220">
                <a:moveTo>
                  <a:pt x="180" y="39"/>
                </a:moveTo>
                <a:cubicBezTo>
                  <a:pt x="219" y="78"/>
                  <a:pt x="219" y="142"/>
                  <a:pt x="180" y="181"/>
                </a:cubicBezTo>
                <a:cubicBezTo>
                  <a:pt x="141" y="220"/>
                  <a:pt x="78" y="220"/>
                  <a:pt x="39" y="181"/>
                </a:cubicBezTo>
                <a:cubicBezTo>
                  <a:pt x="0" y="142"/>
                  <a:pt x="0" y="78"/>
                  <a:pt x="39" y="39"/>
                </a:cubicBezTo>
                <a:cubicBezTo>
                  <a:pt x="78" y="0"/>
                  <a:pt x="141" y="0"/>
                  <a:pt x="180" y="3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9" name="Freeform 78"/>
          <p:cNvSpPr>
            <a:spLocks/>
          </p:cNvSpPr>
          <p:nvPr/>
        </p:nvSpPr>
        <p:spPr bwMode="auto">
          <a:xfrm>
            <a:off x="15080903" y="9551237"/>
            <a:ext cx="1224734" cy="1230314"/>
          </a:xfrm>
          <a:custGeom>
            <a:avLst/>
            <a:gdLst>
              <a:gd name="T0" fmla="*/ 180 w 219"/>
              <a:gd name="T1" fmla="*/ 39 h 220"/>
              <a:gd name="T2" fmla="*/ 180 w 219"/>
              <a:gd name="T3" fmla="*/ 181 h 220"/>
              <a:gd name="T4" fmla="*/ 39 w 219"/>
              <a:gd name="T5" fmla="*/ 181 h 220"/>
              <a:gd name="T6" fmla="*/ 39 w 219"/>
              <a:gd name="T7" fmla="*/ 39 h 220"/>
              <a:gd name="T8" fmla="*/ 180 w 219"/>
              <a:gd name="T9" fmla="*/ 39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9" h="220">
                <a:moveTo>
                  <a:pt x="180" y="39"/>
                </a:moveTo>
                <a:cubicBezTo>
                  <a:pt x="219" y="78"/>
                  <a:pt x="219" y="141"/>
                  <a:pt x="180" y="181"/>
                </a:cubicBezTo>
                <a:cubicBezTo>
                  <a:pt x="141" y="220"/>
                  <a:pt x="78" y="220"/>
                  <a:pt x="39" y="181"/>
                </a:cubicBezTo>
                <a:cubicBezTo>
                  <a:pt x="0" y="141"/>
                  <a:pt x="0" y="78"/>
                  <a:pt x="39" y="39"/>
                </a:cubicBezTo>
                <a:cubicBezTo>
                  <a:pt x="78" y="0"/>
                  <a:pt x="141" y="0"/>
                  <a:pt x="180" y="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0" name="Freeform 79"/>
          <p:cNvSpPr>
            <a:spLocks/>
          </p:cNvSpPr>
          <p:nvPr/>
        </p:nvSpPr>
        <p:spPr bwMode="auto">
          <a:xfrm>
            <a:off x="8549919" y="9551237"/>
            <a:ext cx="1230314" cy="1230314"/>
          </a:xfrm>
          <a:custGeom>
            <a:avLst/>
            <a:gdLst>
              <a:gd name="T0" fmla="*/ 181 w 220"/>
              <a:gd name="T1" fmla="*/ 39 h 220"/>
              <a:gd name="T2" fmla="*/ 181 w 220"/>
              <a:gd name="T3" fmla="*/ 181 h 220"/>
              <a:gd name="T4" fmla="*/ 39 w 220"/>
              <a:gd name="T5" fmla="*/ 181 h 220"/>
              <a:gd name="T6" fmla="*/ 39 w 220"/>
              <a:gd name="T7" fmla="*/ 39 h 220"/>
              <a:gd name="T8" fmla="*/ 181 w 220"/>
              <a:gd name="T9" fmla="*/ 39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" h="220">
                <a:moveTo>
                  <a:pt x="181" y="39"/>
                </a:moveTo>
                <a:cubicBezTo>
                  <a:pt x="220" y="78"/>
                  <a:pt x="220" y="141"/>
                  <a:pt x="181" y="181"/>
                </a:cubicBezTo>
                <a:cubicBezTo>
                  <a:pt x="142" y="220"/>
                  <a:pt x="78" y="220"/>
                  <a:pt x="39" y="181"/>
                </a:cubicBezTo>
                <a:cubicBezTo>
                  <a:pt x="0" y="141"/>
                  <a:pt x="0" y="78"/>
                  <a:pt x="39" y="39"/>
                </a:cubicBezTo>
                <a:cubicBezTo>
                  <a:pt x="78" y="0"/>
                  <a:pt x="142" y="0"/>
                  <a:pt x="181" y="3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1" name="Line 74"/>
          <p:cNvSpPr>
            <a:spLocks noChangeShapeType="1"/>
          </p:cNvSpPr>
          <p:nvPr/>
        </p:nvSpPr>
        <p:spPr bwMode="auto">
          <a:xfrm flipV="1">
            <a:off x="7795234" y="7078053"/>
            <a:ext cx="2472824" cy="89866"/>
          </a:xfrm>
          <a:prstGeom prst="line">
            <a:avLst/>
          </a:prstGeom>
          <a:noFill/>
          <a:ln w="222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4" name="Line 73"/>
          <p:cNvSpPr>
            <a:spLocks noChangeShapeType="1"/>
          </p:cNvSpPr>
          <p:nvPr/>
        </p:nvSpPr>
        <p:spPr bwMode="auto">
          <a:xfrm flipH="1">
            <a:off x="13426465" y="3876728"/>
            <a:ext cx="1650254" cy="815344"/>
          </a:xfrm>
          <a:prstGeom prst="line">
            <a:avLst/>
          </a:prstGeom>
          <a:noFill/>
          <a:ln w="22225" cap="flat">
            <a:solidFill>
              <a:schemeClr val="accent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057946" y="4027670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3376435" y="4487698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6013825" y="3164236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6013828" y="3624264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5391924" y="6419492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710413" y="6879520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7719171" y="6133886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7719174" y="6593914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6611450" y="9554320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3929939" y="10014346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16150783" y="9653492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16150786" y="10113520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97" name="Freeform 77"/>
          <p:cNvSpPr>
            <a:spLocks/>
          </p:cNvSpPr>
          <p:nvPr/>
        </p:nvSpPr>
        <p:spPr bwMode="auto">
          <a:xfrm>
            <a:off x="14750313" y="3178437"/>
            <a:ext cx="1224734" cy="1230314"/>
          </a:xfrm>
          <a:custGeom>
            <a:avLst/>
            <a:gdLst>
              <a:gd name="T0" fmla="*/ 180 w 219"/>
              <a:gd name="T1" fmla="*/ 39 h 220"/>
              <a:gd name="T2" fmla="*/ 180 w 219"/>
              <a:gd name="T3" fmla="*/ 181 h 220"/>
              <a:gd name="T4" fmla="*/ 39 w 219"/>
              <a:gd name="T5" fmla="*/ 181 h 220"/>
              <a:gd name="T6" fmla="*/ 39 w 219"/>
              <a:gd name="T7" fmla="*/ 39 h 220"/>
              <a:gd name="T8" fmla="*/ 180 w 219"/>
              <a:gd name="T9" fmla="*/ 39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9" h="220">
                <a:moveTo>
                  <a:pt x="180" y="39"/>
                </a:moveTo>
                <a:cubicBezTo>
                  <a:pt x="219" y="78"/>
                  <a:pt x="219" y="142"/>
                  <a:pt x="180" y="181"/>
                </a:cubicBezTo>
                <a:cubicBezTo>
                  <a:pt x="141" y="220"/>
                  <a:pt x="78" y="220"/>
                  <a:pt x="39" y="181"/>
                </a:cubicBezTo>
                <a:cubicBezTo>
                  <a:pt x="0" y="142"/>
                  <a:pt x="0" y="78"/>
                  <a:pt x="39" y="39"/>
                </a:cubicBezTo>
                <a:cubicBezTo>
                  <a:pt x="78" y="0"/>
                  <a:pt x="141" y="0"/>
                  <a:pt x="180" y="3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98" name="Freeform 77"/>
          <p:cNvSpPr>
            <a:spLocks/>
          </p:cNvSpPr>
          <p:nvPr/>
        </p:nvSpPr>
        <p:spPr bwMode="auto">
          <a:xfrm>
            <a:off x="7277193" y="6546435"/>
            <a:ext cx="1224734" cy="1230314"/>
          </a:xfrm>
          <a:custGeom>
            <a:avLst/>
            <a:gdLst>
              <a:gd name="T0" fmla="*/ 180 w 219"/>
              <a:gd name="T1" fmla="*/ 39 h 220"/>
              <a:gd name="T2" fmla="*/ 180 w 219"/>
              <a:gd name="T3" fmla="*/ 181 h 220"/>
              <a:gd name="T4" fmla="*/ 39 w 219"/>
              <a:gd name="T5" fmla="*/ 181 h 220"/>
              <a:gd name="T6" fmla="*/ 39 w 219"/>
              <a:gd name="T7" fmla="*/ 39 h 220"/>
              <a:gd name="T8" fmla="*/ 180 w 219"/>
              <a:gd name="T9" fmla="*/ 39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9" h="220">
                <a:moveTo>
                  <a:pt x="180" y="39"/>
                </a:moveTo>
                <a:cubicBezTo>
                  <a:pt x="219" y="78"/>
                  <a:pt x="219" y="142"/>
                  <a:pt x="180" y="181"/>
                </a:cubicBezTo>
                <a:cubicBezTo>
                  <a:pt x="141" y="220"/>
                  <a:pt x="78" y="220"/>
                  <a:pt x="39" y="181"/>
                </a:cubicBezTo>
                <a:cubicBezTo>
                  <a:pt x="0" y="142"/>
                  <a:pt x="0" y="78"/>
                  <a:pt x="39" y="39"/>
                </a:cubicBezTo>
                <a:cubicBezTo>
                  <a:pt x="78" y="0"/>
                  <a:pt x="141" y="0"/>
                  <a:pt x="180" y="3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99" name="Freeform 49"/>
          <p:cNvSpPr>
            <a:spLocks noEditPoints="1"/>
          </p:cNvSpPr>
          <p:nvPr/>
        </p:nvSpPr>
        <p:spPr bwMode="auto">
          <a:xfrm>
            <a:off x="7565339" y="6834404"/>
            <a:ext cx="619062" cy="661008"/>
          </a:xfrm>
          <a:custGeom>
            <a:avLst/>
            <a:gdLst>
              <a:gd name="T0" fmla="*/ 178 w 181"/>
              <a:gd name="T1" fmla="*/ 20 h 193"/>
              <a:gd name="T2" fmla="*/ 161 w 181"/>
              <a:gd name="T3" fmla="*/ 2 h 193"/>
              <a:gd name="T4" fmla="*/ 153 w 181"/>
              <a:gd name="T5" fmla="*/ 2 h 193"/>
              <a:gd name="T6" fmla="*/ 55 w 181"/>
              <a:gd name="T7" fmla="*/ 83 h 193"/>
              <a:gd name="T8" fmla="*/ 27 w 181"/>
              <a:gd name="T9" fmla="*/ 125 h 193"/>
              <a:gd name="T10" fmla="*/ 27 w 181"/>
              <a:gd name="T11" fmla="*/ 127 h 193"/>
              <a:gd name="T12" fmla="*/ 10 w 181"/>
              <a:gd name="T13" fmla="*/ 135 h 193"/>
              <a:gd name="T14" fmla="*/ 16 w 181"/>
              <a:gd name="T15" fmla="*/ 174 h 193"/>
              <a:gd name="T16" fmla="*/ 19 w 181"/>
              <a:gd name="T17" fmla="*/ 181 h 193"/>
              <a:gd name="T18" fmla="*/ 18 w 181"/>
              <a:gd name="T19" fmla="*/ 186 h 193"/>
              <a:gd name="T20" fmla="*/ 23 w 181"/>
              <a:gd name="T21" fmla="*/ 183 h 193"/>
              <a:gd name="T22" fmla="*/ 20 w 181"/>
              <a:gd name="T23" fmla="*/ 162 h 193"/>
              <a:gd name="T24" fmla="*/ 26 w 181"/>
              <a:gd name="T25" fmla="*/ 151 h 193"/>
              <a:gd name="T26" fmla="*/ 23 w 181"/>
              <a:gd name="T27" fmla="*/ 163 h 193"/>
              <a:gd name="T28" fmla="*/ 25 w 181"/>
              <a:gd name="T29" fmla="*/ 187 h 193"/>
              <a:gd name="T30" fmla="*/ 14 w 181"/>
              <a:gd name="T31" fmla="*/ 190 h 193"/>
              <a:gd name="T32" fmla="*/ 17 w 181"/>
              <a:gd name="T33" fmla="*/ 191 h 193"/>
              <a:gd name="T34" fmla="*/ 34 w 181"/>
              <a:gd name="T35" fmla="*/ 184 h 193"/>
              <a:gd name="T36" fmla="*/ 35 w 181"/>
              <a:gd name="T37" fmla="*/ 175 h 193"/>
              <a:gd name="T38" fmla="*/ 38 w 181"/>
              <a:gd name="T39" fmla="*/ 168 h 193"/>
              <a:gd name="T40" fmla="*/ 41 w 181"/>
              <a:gd name="T41" fmla="*/ 166 h 193"/>
              <a:gd name="T42" fmla="*/ 52 w 181"/>
              <a:gd name="T43" fmla="*/ 155 h 193"/>
              <a:gd name="T44" fmla="*/ 52 w 181"/>
              <a:gd name="T45" fmla="*/ 154 h 193"/>
              <a:gd name="T46" fmla="*/ 54 w 181"/>
              <a:gd name="T47" fmla="*/ 154 h 193"/>
              <a:gd name="T48" fmla="*/ 56 w 181"/>
              <a:gd name="T49" fmla="*/ 153 h 193"/>
              <a:gd name="T50" fmla="*/ 97 w 181"/>
              <a:gd name="T51" fmla="*/ 126 h 193"/>
              <a:gd name="T52" fmla="*/ 179 w 181"/>
              <a:gd name="T53" fmla="*/ 28 h 193"/>
              <a:gd name="T54" fmla="*/ 178 w 181"/>
              <a:gd name="T55" fmla="*/ 20 h 193"/>
              <a:gd name="T56" fmla="*/ 34 w 181"/>
              <a:gd name="T57" fmla="*/ 157 h 193"/>
              <a:gd name="T58" fmla="*/ 30 w 181"/>
              <a:gd name="T59" fmla="*/ 170 h 193"/>
              <a:gd name="T60" fmla="*/ 30 w 181"/>
              <a:gd name="T61" fmla="*/ 157 h 193"/>
              <a:gd name="T62" fmla="*/ 40 w 181"/>
              <a:gd name="T63" fmla="*/ 150 h 193"/>
              <a:gd name="T64" fmla="*/ 42 w 181"/>
              <a:gd name="T65" fmla="*/ 144 h 193"/>
              <a:gd name="T66" fmla="*/ 46 w 181"/>
              <a:gd name="T67" fmla="*/ 148 h 193"/>
              <a:gd name="T68" fmla="*/ 45 w 181"/>
              <a:gd name="T69" fmla="*/ 150 h 193"/>
              <a:gd name="T70" fmla="*/ 34 w 181"/>
              <a:gd name="T71" fmla="*/ 157 h 193"/>
              <a:gd name="T72" fmla="*/ 54 w 181"/>
              <a:gd name="T73" fmla="*/ 145 h 193"/>
              <a:gd name="T74" fmla="*/ 50 w 181"/>
              <a:gd name="T75" fmla="*/ 141 h 193"/>
              <a:gd name="T76" fmla="*/ 75 w 181"/>
              <a:gd name="T77" fmla="*/ 121 h 193"/>
              <a:gd name="T78" fmla="*/ 76 w 181"/>
              <a:gd name="T79" fmla="*/ 118 h 193"/>
              <a:gd name="T80" fmla="*/ 73 w 181"/>
              <a:gd name="T81" fmla="*/ 118 h 193"/>
              <a:gd name="T82" fmla="*/ 48 w 181"/>
              <a:gd name="T83" fmla="*/ 138 h 193"/>
              <a:gd name="T84" fmla="*/ 36 w 181"/>
              <a:gd name="T85" fmla="*/ 127 h 193"/>
              <a:gd name="T86" fmla="*/ 58 w 181"/>
              <a:gd name="T87" fmla="*/ 96 h 193"/>
              <a:gd name="T88" fmla="*/ 85 w 181"/>
              <a:gd name="T89" fmla="*/ 123 h 193"/>
              <a:gd name="T90" fmla="*/ 54 w 181"/>
              <a:gd name="T91" fmla="*/ 14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" h="193">
                <a:moveTo>
                  <a:pt x="178" y="20"/>
                </a:moveTo>
                <a:cubicBezTo>
                  <a:pt x="161" y="2"/>
                  <a:pt x="161" y="2"/>
                  <a:pt x="161" y="2"/>
                </a:cubicBezTo>
                <a:cubicBezTo>
                  <a:pt x="159" y="0"/>
                  <a:pt x="155" y="0"/>
                  <a:pt x="153" y="2"/>
                </a:cubicBezTo>
                <a:cubicBezTo>
                  <a:pt x="55" y="83"/>
                  <a:pt x="55" y="83"/>
                  <a:pt x="55" y="83"/>
                </a:cubicBezTo>
                <a:cubicBezTo>
                  <a:pt x="53" y="84"/>
                  <a:pt x="27" y="125"/>
                  <a:pt x="27" y="125"/>
                </a:cubicBezTo>
                <a:cubicBezTo>
                  <a:pt x="27" y="125"/>
                  <a:pt x="27" y="127"/>
                  <a:pt x="27" y="127"/>
                </a:cubicBezTo>
                <a:cubicBezTo>
                  <a:pt x="22" y="128"/>
                  <a:pt x="15" y="130"/>
                  <a:pt x="10" y="135"/>
                </a:cubicBezTo>
                <a:cubicBezTo>
                  <a:pt x="0" y="145"/>
                  <a:pt x="10" y="164"/>
                  <a:pt x="16" y="174"/>
                </a:cubicBezTo>
                <a:cubicBezTo>
                  <a:pt x="17" y="177"/>
                  <a:pt x="19" y="180"/>
                  <a:pt x="19" y="181"/>
                </a:cubicBezTo>
                <a:cubicBezTo>
                  <a:pt x="20" y="184"/>
                  <a:pt x="19" y="185"/>
                  <a:pt x="18" y="186"/>
                </a:cubicBezTo>
                <a:cubicBezTo>
                  <a:pt x="21" y="186"/>
                  <a:pt x="23" y="185"/>
                  <a:pt x="23" y="183"/>
                </a:cubicBezTo>
                <a:cubicBezTo>
                  <a:pt x="24" y="178"/>
                  <a:pt x="20" y="171"/>
                  <a:pt x="20" y="162"/>
                </a:cubicBezTo>
                <a:cubicBezTo>
                  <a:pt x="21" y="154"/>
                  <a:pt x="26" y="151"/>
                  <a:pt x="26" y="151"/>
                </a:cubicBezTo>
                <a:cubicBezTo>
                  <a:pt x="26" y="151"/>
                  <a:pt x="23" y="154"/>
                  <a:pt x="23" y="163"/>
                </a:cubicBezTo>
                <a:cubicBezTo>
                  <a:pt x="23" y="173"/>
                  <a:pt x="30" y="182"/>
                  <a:pt x="25" y="187"/>
                </a:cubicBezTo>
                <a:cubicBezTo>
                  <a:pt x="21" y="190"/>
                  <a:pt x="17" y="190"/>
                  <a:pt x="14" y="190"/>
                </a:cubicBezTo>
                <a:cubicBezTo>
                  <a:pt x="17" y="191"/>
                  <a:pt x="17" y="191"/>
                  <a:pt x="17" y="191"/>
                </a:cubicBezTo>
                <a:cubicBezTo>
                  <a:pt x="22" y="192"/>
                  <a:pt x="32" y="193"/>
                  <a:pt x="34" y="184"/>
                </a:cubicBezTo>
                <a:cubicBezTo>
                  <a:pt x="35" y="181"/>
                  <a:pt x="35" y="178"/>
                  <a:pt x="35" y="175"/>
                </a:cubicBezTo>
                <a:cubicBezTo>
                  <a:pt x="36" y="172"/>
                  <a:pt x="36" y="170"/>
                  <a:pt x="38" y="168"/>
                </a:cubicBezTo>
                <a:cubicBezTo>
                  <a:pt x="38" y="167"/>
                  <a:pt x="40" y="167"/>
                  <a:pt x="41" y="166"/>
                </a:cubicBezTo>
                <a:cubicBezTo>
                  <a:pt x="45" y="165"/>
                  <a:pt x="50" y="164"/>
                  <a:pt x="52" y="155"/>
                </a:cubicBezTo>
                <a:cubicBezTo>
                  <a:pt x="52" y="155"/>
                  <a:pt x="52" y="154"/>
                  <a:pt x="52" y="154"/>
                </a:cubicBezTo>
                <a:cubicBezTo>
                  <a:pt x="52" y="154"/>
                  <a:pt x="53" y="154"/>
                  <a:pt x="54" y="154"/>
                </a:cubicBezTo>
                <a:cubicBezTo>
                  <a:pt x="54" y="154"/>
                  <a:pt x="55" y="154"/>
                  <a:pt x="56" y="153"/>
                </a:cubicBezTo>
                <a:cubicBezTo>
                  <a:pt x="56" y="153"/>
                  <a:pt x="96" y="127"/>
                  <a:pt x="97" y="126"/>
                </a:cubicBezTo>
                <a:cubicBezTo>
                  <a:pt x="179" y="28"/>
                  <a:pt x="179" y="28"/>
                  <a:pt x="179" y="28"/>
                </a:cubicBezTo>
                <a:cubicBezTo>
                  <a:pt x="181" y="25"/>
                  <a:pt x="181" y="22"/>
                  <a:pt x="178" y="20"/>
                </a:cubicBezTo>
                <a:close/>
                <a:moveTo>
                  <a:pt x="34" y="157"/>
                </a:moveTo>
                <a:cubicBezTo>
                  <a:pt x="30" y="159"/>
                  <a:pt x="30" y="170"/>
                  <a:pt x="30" y="170"/>
                </a:cubicBezTo>
                <a:cubicBezTo>
                  <a:pt x="30" y="170"/>
                  <a:pt x="28" y="162"/>
                  <a:pt x="30" y="157"/>
                </a:cubicBezTo>
                <a:cubicBezTo>
                  <a:pt x="32" y="153"/>
                  <a:pt x="37" y="154"/>
                  <a:pt x="40" y="150"/>
                </a:cubicBezTo>
                <a:cubicBezTo>
                  <a:pt x="41" y="149"/>
                  <a:pt x="41" y="146"/>
                  <a:pt x="42" y="144"/>
                </a:cubicBezTo>
                <a:cubicBezTo>
                  <a:pt x="46" y="148"/>
                  <a:pt x="46" y="148"/>
                  <a:pt x="46" y="148"/>
                </a:cubicBezTo>
                <a:cubicBezTo>
                  <a:pt x="46" y="149"/>
                  <a:pt x="45" y="150"/>
                  <a:pt x="45" y="150"/>
                </a:cubicBezTo>
                <a:cubicBezTo>
                  <a:pt x="42" y="157"/>
                  <a:pt x="38" y="155"/>
                  <a:pt x="34" y="157"/>
                </a:cubicBezTo>
                <a:close/>
                <a:moveTo>
                  <a:pt x="54" y="145"/>
                </a:moveTo>
                <a:cubicBezTo>
                  <a:pt x="50" y="141"/>
                  <a:pt x="50" y="141"/>
                  <a:pt x="50" y="141"/>
                </a:cubicBezTo>
                <a:cubicBezTo>
                  <a:pt x="75" y="121"/>
                  <a:pt x="75" y="121"/>
                  <a:pt x="75" y="121"/>
                </a:cubicBezTo>
                <a:cubicBezTo>
                  <a:pt x="76" y="120"/>
                  <a:pt x="76" y="119"/>
                  <a:pt x="76" y="118"/>
                </a:cubicBezTo>
                <a:cubicBezTo>
                  <a:pt x="75" y="117"/>
                  <a:pt x="74" y="117"/>
                  <a:pt x="73" y="118"/>
                </a:cubicBezTo>
                <a:cubicBezTo>
                  <a:pt x="48" y="138"/>
                  <a:pt x="48" y="138"/>
                  <a:pt x="48" y="138"/>
                </a:cubicBezTo>
                <a:cubicBezTo>
                  <a:pt x="36" y="127"/>
                  <a:pt x="36" y="127"/>
                  <a:pt x="36" y="127"/>
                </a:cubicBezTo>
                <a:cubicBezTo>
                  <a:pt x="58" y="96"/>
                  <a:pt x="58" y="96"/>
                  <a:pt x="58" y="96"/>
                </a:cubicBezTo>
                <a:cubicBezTo>
                  <a:pt x="85" y="123"/>
                  <a:pt x="85" y="123"/>
                  <a:pt x="85" y="123"/>
                </a:cubicBezTo>
                <a:lnTo>
                  <a:pt x="54" y="14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365760" tIns="182880" rIns="365760" bIns="18288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144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0" name="Freeform 52"/>
          <p:cNvSpPr>
            <a:spLocks noEditPoints="1"/>
          </p:cNvSpPr>
          <p:nvPr/>
        </p:nvSpPr>
        <p:spPr bwMode="auto">
          <a:xfrm>
            <a:off x="8481342" y="4586439"/>
            <a:ext cx="569612" cy="690238"/>
          </a:xfrm>
          <a:custGeom>
            <a:avLst/>
            <a:gdLst>
              <a:gd name="T0" fmla="*/ 6 w 144"/>
              <a:gd name="T1" fmla="*/ 37 h 174"/>
              <a:gd name="T2" fmla="*/ 5 w 144"/>
              <a:gd name="T3" fmla="*/ 50 h 174"/>
              <a:gd name="T4" fmla="*/ 29 w 144"/>
              <a:gd name="T5" fmla="*/ 79 h 174"/>
              <a:gd name="T6" fmla="*/ 30 w 144"/>
              <a:gd name="T7" fmla="*/ 78 h 174"/>
              <a:gd name="T8" fmla="*/ 45 w 144"/>
              <a:gd name="T9" fmla="*/ 70 h 174"/>
              <a:gd name="T10" fmla="*/ 0 w 144"/>
              <a:gd name="T11" fmla="*/ 14 h 174"/>
              <a:gd name="T12" fmla="*/ 29 w 144"/>
              <a:gd name="T13" fmla="*/ 79 h 174"/>
              <a:gd name="T14" fmla="*/ 72 w 144"/>
              <a:gd name="T15" fmla="*/ 38 h 174"/>
              <a:gd name="T16" fmla="*/ 82 w 144"/>
              <a:gd name="T17" fmla="*/ 43 h 174"/>
              <a:gd name="T18" fmla="*/ 119 w 144"/>
              <a:gd name="T19" fmla="*/ 73 h 174"/>
              <a:gd name="T20" fmla="*/ 92 w 144"/>
              <a:gd name="T21" fmla="*/ 35 h 174"/>
              <a:gd name="T22" fmla="*/ 93 w 144"/>
              <a:gd name="T23" fmla="*/ 19 h 174"/>
              <a:gd name="T24" fmla="*/ 96 w 144"/>
              <a:gd name="T25" fmla="*/ 12 h 174"/>
              <a:gd name="T26" fmla="*/ 89 w 144"/>
              <a:gd name="T27" fmla="*/ 8 h 174"/>
              <a:gd name="T28" fmla="*/ 76 w 144"/>
              <a:gd name="T29" fmla="*/ 5 h 174"/>
              <a:gd name="T30" fmla="*/ 70 w 144"/>
              <a:gd name="T31" fmla="*/ 7 h 174"/>
              <a:gd name="T32" fmla="*/ 62 w 144"/>
              <a:gd name="T33" fmla="*/ 11 h 174"/>
              <a:gd name="T34" fmla="*/ 32 w 144"/>
              <a:gd name="T35" fmla="*/ 4 h 174"/>
              <a:gd name="T36" fmla="*/ 48 w 144"/>
              <a:gd name="T37" fmla="*/ 68 h 174"/>
              <a:gd name="T38" fmla="*/ 126 w 144"/>
              <a:gd name="T39" fmla="*/ 163 h 174"/>
              <a:gd name="T40" fmla="*/ 11 w 144"/>
              <a:gd name="T41" fmla="*/ 167 h 174"/>
              <a:gd name="T42" fmla="*/ 14 w 144"/>
              <a:gd name="T43" fmla="*/ 174 h 174"/>
              <a:gd name="T44" fmla="*/ 126 w 144"/>
              <a:gd name="T45" fmla="*/ 174 h 174"/>
              <a:gd name="T46" fmla="*/ 130 w 144"/>
              <a:gd name="T47" fmla="*/ 167 h 174"/>
              <a:gd name="T48" fmla="*/ 139 w 144"/>
              <a:gd name="T49" fmla="*/ 76 h 174"/>
              <a:gd name="T50" fmla="*/ 122 w 144"/>
              <a:gd name="T51" fmla="*/ 93 h 174"/>
              <a:gd name="T52" fmla="*/ 139 w 144"/>
              <a:gd name="T53" fmla="*/ 76 h 174"/>
              <a:gd name="T54" fmla="*/ 71 w 144"/>
              <a:gd name="T55" fmla="*/ 135 h 174"/>
              <a:gd name="T56" fmla="*/ 70 w 144"/>
              <a:gd name="T57" fmla="*/ 135 h 174"/>
              <a:gd name="T58" fmla="*/ 61 w 144"/>
              <a:gd name="T59" fmla="*/ 136 h 174"/>
              <a:gd name="T60" fmla="*/ 57 w 144"/>
              <a:gd name="T61" fmla="*/ 137 h 174"/>
              <a:gd name="T62" fmla="*/ 49 w 144"/>
              <a:gd name="T63" fmla="*/ 139 h 174"/>
              <a:gd name="T64" fmla="*/ 49 w 144"/>
              <a:gd name="T65" fmla="*/ 139 h 174"/>
              <a:gd name="T66" fmla="*/ 48 w 144"/>
              <a:gd name="T67" fmla="*/ 135 h 174"/>
              <a:gd name="T68" fmla="*/ 39 w 144"/>
              <a:gd name="T69" fmla="*/ 136 h 174"/>
              <a:gd name="T70" fmla="*/ 39 w 144"/>
              <a:gd name="T71" fmla="*/ 144 h 174"/>
              <a:gd name="T72" fmla="*/ 39 w 144"/>
              <a:gd name="T73" fmla="*/ 144 h 174"/>
              <a:gd name="T74" fmla="*/ 39 w 144"/>
              <a:gd name="T75" fmla="*/ 144 h 174"/>
              <a:gd name="T76" fmla="*/ 28 w 144"/>
              <a:gd name="T77" fmla="*/ 155 h 174"/>
              <a:gd name="T78" fmla="*/ 115 w 144"/>
              <a:gd name="T79" fmla="*/ 159 h 174"/>
              <a:gd name="T80" fmla="*/ 113 w 144"/>
              <a:gd name="T81" fmla="*/ 155 h 174"/>
              <a:gd name="T82" fmla="*/ 110 w 144"/>
              <a:gd name="T83" fmla="*/ 152 h 174"/>
              <a:gd name="T84" fmla="*/ 107 w 144"/>
              <a:gd name="T85" fmla="*/ 149 h 174"/>
              <a:gd name="T86" fmla="*/ 104 w 144"/>
              <a:gd name="T87" fmla="*/ 146 h 174"/>
              <a:gd name="T88" fmla="*/ 101 w 144"/>
              <a:gd name="T89" fmla="*/ 144 h 174"/>
              <a:gd name="T90" fmla="*/ 96 w 144"/>
              <a:gd name="T91" fmla="*/ 141 h 174"/>
              <a:gd name="T92" fmla="*/ 92 w 144"/>
              <a:gd name="T93" fmla="*/ 139 h 174"/>
              <a:gd name="T94" fmla="*/ 128 w 144"/>
              <a:gd name="T95" fmla="*/ 101 h 174"/>
              <a:gd name="T96" fmla="*/ 117 w 144"/>
              <a:gd name="T97" fmla="*/ 94 h 174"/>
              <a:gd name="T98" fmla="*/ 116 w 144"/>
              <a:gd name="T99" fmla="*/ 77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44" h="174">
                <a:moveTo>
                  <a:pt x="5" y="50"/>
                </a:moveTo>
                <a:cubicBezTo>
                  <a:pt x="4" y="46"/>
                  <a:pt x="4" y="41"/>
                  <a:pt x="6" y="37"/>
                </a:cubicBezTo>
                <a:cubicBezTo>
                  <a:pt x="15" y="59"/>
                  <a:pt x="15" y="59"/>
                  <a:pt x="15" y="59"/>
                </a:cubicBezTo>
                <a:cubicBezTo>
                  <a:pt x="11" y="58"/>
                  <a:pt x="7" y="55"/>
                  <a:pt x="5" y="50"/>
                </a:cubicBezTo>
                <a:close/>
                <a:moveTo>
                  <a:pt x="29" y="79"/>
                </a:moveTo>
                <a:cubicBezTo>
                  <a:pt x="29" y="79"/>
                  <a:pt x="29" y="79"/>
                  <a:pt x="29" y="79"/>
                </a:cubicBezTo>
                <a:cubicBezTo>
                  <a:pt x="29" y="79"/>
                  <a:pt x="29" y="79"/>
                  <a:pt x="30" y="78"/>
                </a:cubicBezTo>
                <a:cubicBezTo>
                  <a:pt x="30" y="78"/>
                  <a:pt x="30" y="78"/>
                  <a:pt x="30" y="78"/>
                </a:cubicBezTo>
                <a:cubicBezTo>
                  <a:pt x="30" y="78"/>
                  <a:pt x="30" y="78"/>
                  <a:pt x="30" y="78"/>
                </a:cubicBezTo>
                <a:cubicBezTo>
                  <a:pt x="32" y="77"/>
                  <a:pt x="36" y="74"/>
                  <a:pt x="45" y="70"/>
                </a:cubicBezTo>
                <a:cubicBezTo>
                  <a:pt x="18" y="9"/>
                  <a:pt x="18" y="9"/>
                  <a:pt x="18" y="9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4"/>
                  <a:pt x="0" y="14"/>
                  <a:pt x="28" y="79"/>
                </a:cubicBezTo>
                <a:cubicBezTo>
                  <a:pt x="28" y="79"/>
                  <a:pt x="28" y="79"/>
                  <a:pt x="29" y="79"/>
                </a:cubicBezTo>
                <a:close/>
                <a:moveTo>
                  <a:pt x="58" y="63"/>
                </a:moveTo>
                <a:cubicBezTo>
                  <a:pt x="67" y="58"/>
                  <a:pt x="72" y="48"/>
                  <a:pt x="72" y="38"/>
                </a:cubicBezTo>
                <a:cubicBezTo>
                  <a:pt x="73" y="39"/>
                  <a:pt x="73" y="40"/>
                  <a:pt x="74" y="40"/>
                </a:cubicBezTo>
                <a:cubicBezTo>
                  <a:pt x="76" y="43"/>
                  <a:pt x="79" y="44"/>
                  <a:pt x="82" y="43"/>
                </a:cubicBezTo>
                <a:cubicBezTo>
                  <a:pt x="82" y="43"/>
                  <a:pt x="111" y="71"/>
                  <a:pt x="116" y="77"/>
                </a:cubicBezTo>
                <a:cubicBezTo>
                  <a:pt x="117" y="76"/>
                  <a:pt x="118" y="74"/>
                  <a:pt x="119" y="73"/>
                </a:cubicBezTo>
                <a:cubicBezTo>
                  <a:pt x="121" y="71"/>
                  <a:pt x="123" y="70"/>
                  <a:pt x="126" y="69"/>
                </a:cubicBezTo>
                <a:cubicBezTo>
                  <a:pt x="92" y="35"/>
                  <a:pt x="92" y="35"/>
                  <a:pt x="92" y="35"/>
                </a:cubicBezTo>
                <a:cubicBezTo>
                  <a:pt x="92" y="32"/>
                  <a:pt x="92" y="29"/>
                  <a:pt x="90" y="27"/>
                </a:cubicBezTo>
                <a:cubicBezTo>
                  <a:pt x="92" y="25"/>
                  <a:pt x="93" y="22"/>
                  <a:pt x="93" y="19"/>
                </a:cubicBezTo>
                <a:cubicBezTo>
                  <a:pt x="93" y="18"/>
                  <a:pt x="93" y="18"/>
                  <a:pt x="93" y="18"/>
                </a:cubicBezTo>
                <a:cubicBezTo>
                  <a:pt x="96" y="17"/>
                  <a:pt x="97" y="15"/>
                  <a:pt x="96" y="12"/>
                </a:cubicBezTo>
                <a:cubicBezTo>
                  <a:pt x="96" y="12"/>
                  <a:pt x="96" y="12"/>
                  <a:pt x="95" y="10"/>
                </a:cubicBezTo>
                <a:cubicBezTo>
                  <a:pt x="94" y="8"/>
                  <a:pt x="91" y="7"/>
                  <a:pt x="89" y="8"/>
                </a:cubicBezTo>
                <a:cubicBezTo>
                  <a:pt x="89" y="8"/>
                  <a:pt x="89" y="8"/>
                  <a:pt x="88" y="8"/>
                </a:cubicBezTo>
                <a:cubicBezTo>
                  <a:pt x="85" y="5"/>
                  <a:pt x="80" y="3"/>
                  <a:pt x="76" y="5"/>
                </a:cubicBezTo>
                <a:cubicBezTo>
                  <a:pt x="76" y="5"/>
                  <a:pt x="76" y="5"/>
                  <a:pt x="70" y="8"/>
                </a:cubicBezTo>
                <a:cubicBezTo>
                  <a:pt x="70" y="7"/>
                  <a:pt x="70" y="7"/>
                  <a:pt x="70" y="7"/>
                </a:cubicBezTo>
                <a:cubicBezTo>
                  <a:pt x="62" y="11"/>
                  <a:pt x="62" y="11"/>
                  <a:pt x="62" y="11"/>
                </a:cubicBezTo>
                <a:cubicBezTo>
                  <a:pt x="62" y="11"/>
                  <a:pt x="62" y="11"/>
                  <a:pt x="62" y="11"/>
                </a:cubicBezTo>
                <a:cubicBezTo>
                  <a:pt x="61" y="11"/>
                  <a:pt x="61" y="11"/>
                  <a:pt x="61" y="11"/>
                </a:cubicBezTo>
                <a:cubicBezTo>
                  <a:pt x="54" y="4"/>
                  <a:pt x="43" y="0"/>
                  <a:pt x="32" y="4"/>
                </a:cubicBezTo>
                <a:cubicBezTo>
                  <a:pt x="22" y="7"/>
                  <a:pt x="22" y="7"/>
                  <a:pt x="22" y="7"/>
                </a:cubicBezTo>
                <a:cubicBezTo>
                  <a:pt x="48" y="68"/>
                  <a:pt x="48" y="68"/>
                  <a:pt x="48" y="68"/>
                </a:cubicBezTo>
                <a:cubicBezTo>
                  <a:pt x="51" y="66"/>
                  <a:pt x="54" y="65"/>
                  <a:pt x="58" y="63"/>
                </a:cubicBezTo>
                <a:close/>
                <a:moveTo>
                  <a:pt x="126" y="163"/>
                </a:moveTo>
                <a:cubicBezTo>
                  <a:pt x="122" y="163"/>
                  <a:pt x="14" y="163"/>
                  <a:pt x="14" y="163"/>
                </a:cubicBezTo>
                <a:cubicBezTo>
                  <a:pt x="12" y="163"/>
                  <a:pt x="11" y="165"/>
                  <a:pt x="11" y="167"/>
                </a:cubicBezTo>
                <a:cubicBezTo>
                  <a:pt x="11" y="170"/>
                  <a:pt x="11" y="170"/>
                  <a:pt x="11" y="170"/>
                </a:cubicBezTo>
                <a:cubicBezTo>
                  <a:pt x="11" y="172"/>
                  <a:pt x="12" y="174"/>
                  <a:pt x="14" y="174"/>
                </a:cubicBezTo>
                <a:cubicBezTo>
                  <a:pt x="37" y="174"/>
                  <a:pt x="56" y="174"/>
                  <a:pt x="70" y="174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8" y="174"/>
                  <a:pt x="130" y="172"/>
                  <a:pt x="130" y="170"/>
                </a:cubicBezTo>
                <a:cubicBezTo>
                  <a:pt x="130" y="167"/>
                  <a:pt x="130" y="167"/>
                  <a:pt x="130" y="167"/>
                </a:cubicBezTo>
                <a:cubicBezTo>
                  <a:pt x="130" y="165"/>
                  <a:pt x="128" y="163"/>
                  <a:pt x="126" y="163"/>
                </a:cubicBezTo>
                <a:close/>
                <a:moveTo>
                  <a:pt x="139" y="76"/>
                </a:moveTo>
                <a:cubicBezTo>
                  <a:pt x="134" y="71"/>
                  <a:pt x="126" y="71"/>
                  <a:pt x="122" y="76"/>
                </a:cubicBezTo>
                <a:cubicBezTo>
                  <a:pt x="117" y="81"/>
                  <a:pt x="117" y="88"/>
                  <a:pt x="122" y="93"/>
                </a:cubicBezTo>
                <a:cubicBezTo>
                  <a:pt x="126" y="98"/>
                  <a:pt x="134" y="98"/>
                  <a:pt x="139" y="93"/>
                </a:cubicBezTo>
                <a:cubicBezTo>
                  <a:pt x="144" y="88"/>
                  <a:pt x="144" y="81"/>
                  <a:pt x="139" y="76"/>
                </a:cubicBezTo>
                <a:close/>
                <a:moveTo>
                  <a:pt x="117" y="94"/>
                </a:moveTo>
                <a:cubicBezTo>
                  <a:pt x="71" y="135"/>
                  <a:pt x="71" y="135"/>
                  <a:pt x="71" y="135"/>
                </a:cubicBezTo>
                <a:cubicBezTo>
                  <a:pt x="71" y="135"/>
                  <a:pt x="70" y="135"/>
                  <a:pt x="70" y="135"/>
                </a:cubicBezTo>
                <a:cubicBezTo>
                  <a:pt x="70" y="135"/>
                  <a:pt x="70" y="135"/>
                  <a:pt x="70" y="135"/>
                </a:cubicBezTo>
                <a:cubicBezTo>
                  <a:pt x="68" y="135"/>
                  <a:pt x="66" y="135"/>
                  <a:pt x="65" y="135"/>
                </a:cubicBezTo>
                <a:cubicBezTo>
                  <a:pt x="64" y="135"/>
                  <a:pt x="62" y="136"/>
                  <a:pt x="61" y="136"/>
                </a:cubicBezTo>
                <a:cubicBezTo>
                  <a:pt x="60" y="136"/>
                  <a:pt x="58" y="136"/>
                  <a:pt x="57" y="137"/>
                </a:cubicBezTo>
                <a:cubicBezTo>
                  <a:pt x="57" y="137"/>
                  <a:pt x="57" y="137"/>
                  <a:pt x="57" y="137"/>
                </a:cubicBezTo>
                <a:cubicBezTo>
                  <a:pt x="54" y="137"/>
                  <a:pt x="52" y="138"/>
                  <a:pt x="49" y="139"/>
                </a:cubicBezTo>
                <a:cubicBezTo>
                  <a:pt x="49" y="139"/>
                  <a:pt x="49" y="139"/>
                  <a:pt x="49" y="139"/>
                </a:cubicBezTo>
                <a:cubicBezTo>
                  <a:pt x="50" y="139"/>
                  <a:pt x="50" y="139"/>
                  <a:pt x="50" y="140"/>
                </a:cubicBezTo>
                <a:cubicBezTo>
                  <a:pt x="50" y="139"/>
                  <a:pt x="49" y="139"/>
                  <a:pt x="49" y="139"/>
                </a:cubicBezTo>
                <a:cubicBezTo>
                  <a:pt x="49" y="139"/>
                  <a:pt x="49" y="139"/>
                  <a:pt x="49" y="139"/>
                </a:cubicBezTo>
                <a:cubicBezTo>
                  <a:pt x="49" y="139"/>
                  <a:pt x="49" y="139"/>
                  <a:pt x="48" y="135"/>
                </a:cubicBezTo>
                <a:cubicBezTo>
                  <a:pt x="47" y="134"/>
                  <a:pt x="45" y="133"/>
                  <a:pt x="43" y="134"/>
                </a:cubicBezTo>
                <a:cubicBezTo>
                  <a:pt x="43" y="134"/>
                  <a:pt x="43" y="134"/>
                  <a:pt x="39" y="136"/>
                </a:cubicBezTo>
                <a:cubicBezTo>
                  <a:pt x="37" y="137"/>
                  <a:pt x="36" y="139"/>
                  <a:pt x="37" y="141"/>
                </a:cubicBezTo>
                <a:cubicBezTo>
                  <a:pt x="37" y="141"/>
                  <a:pt x="37" y="141"/>
                  <a:pt x="39" y="144"/>
                </a:cubicBezTo>
                <a:cubicBezTo>
                  <a:pt x="39" y="144"/>
                  <a:pt x="39" y="144"/>
                  <a:pt x="39" y="144"/>
                </a:cubicBezTo>
                <a:cubicBezTo>
                  <a:pt x="39" y="144"/>
                  <a:pt x="39" y="144"/>
                  <a:pt x="39" y="144"/>
                </a:cubicBezTo>
                <a:cubicBezTo>
                  <a:pt x="39" y="144"/>
                  <a:pt x="39" y="144"/>
                  <a:pt x="39" y="144"/>
                </a:cubicBezTo>
                <a:cubicBezTo>
                  <a:pt x="39" y="144"/>
                  <a:pt x="39" y="144"/>
                  <a:pt x="39" y="144"/>
                </a:cubicBezTo>
                <a:cubicBezTo>
                  <a:pt x="36" y="146"/>
                  <a:pt x="33" y="149"/>
                  <a:pt x="31" y="151"/>
                </a:cubicBezTo>
                <a:cubicBezTo>
                  <a:pt x="30" y="152"/>
                  <a:pt x="29" y="154"/>
                  <a:pt x="28" y="155"/>
                </a:cubicBezTo>
                <a:cubicBezTo>
                  <a:pt x="27" y="156"/>
                  <a:pt x="26" y="158"/>
                  <a:pt x="25" y="159"/>
                </a:cubicBezTo>
                <a:cubicBezTo>
                  <a:pt x="115" y="159"/>
                  <a:pt x="115" y="159"/>
                  <a:pt x="115" y="159"/>
                </a:cubicBezTo>
                <a:cubicBezTo>
                  <a:pt x="114" y="158"/>
                  <a:pt x="114" y="157"/>
                  <a:pt x="113" y="156"/>
                </a:cubicBezTo>
                <a:cubicBezTo>
                  <a:pt x="113" y="156"/>
                  <a:pt x="113" y="155"/>
                  <a:pt x="113" y="155"/>
                </a:cubicBezTo>
                <a:cubicBezTo>
                  <a:pt x="112" y="154"/>
                  <a:pt x="111" y="153"/>
                  <a:pt x="111" y="153"/>
                </a:cubicBezTo>
                <a:cubicBezTo>
                  <a:pt x="111" y="152"/>
                  <a:pt x="110" y="152"/>
                  <a:pt x="110" y="152"/>
                </a:cubicBezTo>
                <a:cubicBezTo>
                  <a:pt x="109" y="151"/>
                  <a:pt x="109" y="150"/>
                  <a:pt x="108" y="149"/>
                </a:cubicBezTo>
                <a:cubicBezTo>
                  <a:pt x="108" y="149"/>
                  <a:pt x="107" y="149"/>
                  <a:pt x="107" y="149"/>
                </a:cubicBezTo>
                <a:cubicBezTo>
                  <a:pt x="106" y="148"/>
                  <a:pt x="106" y="147"/>
                  <a:pt x="105" y="147"/>
                </a:cubicBezTo>
                <a:cubicBezTo>
                  <a:pt x="104" y="146"/>
                  <a:pt x="104" y="146"/>
                  <a:pt x="104" y="146"/>
                </a:cubicBezTo>
                <a:cubicBezTo>
                  <a:pt x="103" y="145"/>
                  <a:pt x="102" y="144"/>
                  <a:pt x="101" y="144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99" y="143"/>
                  <a:pt x="98" y="142"/>
                  <a:pt x="97" y="142"/>
                </a:cubicBezTo>
                <a:cubicBezTo>
                  <a:pt x="97" y="141"/>
                  <a:pt x="96" y="141"/>
                  <a:pt x="96" y="141"/>
                </a:cubicBezTo>
                <a:cubicBezTo>
                  <a:pt x="95" y="141"/>
                  <a:pt x="94" y="140"/>
                  <a:pt x="93" y="140"/>
                </a:cubicBezTo>
                <a:cubicBezTo>
                  <a:pt x="93" y="140"/>
                  <a:pt x="92" y="139"/>
                  <a:pt x="92" y="139"/>
                </a:cubicBezTo>
                <a:cubicBezTo>
                  <a:pt x="91" y="139"/>
                  <a:pt x="90" y="138"/>
                  <a:pt x="88" y="138"/>
                </a:cubicBezTo>
                <a:cubicBezTo>
                  <a:pt x="128" y="101"/>
                  <a:pt x="128" y="101"/>
                  <a:pt x="128" y="101"/>
                </a:cubicBezTo>
                <a:cubicBezTo>
                  <a:pt x="125" y="100"/>
                  <a:pt x="121" y="98"/>
                  <a:pt x="119" y="96"/>
                </a:cubicBezTo>
                <a:cubicBezTo>
                  <a:pt x="118" y="95"/>
                  <a:pt x="118" y="94"/>
                  <a:pt x="117" y="94"/>
                </a:cubicBezTo>
                <a:close/>
                <a:moveTo>
                  <a:pt x="82" y="43"/>
                </a:moveTo>
                <a:cubicBezTo>
                  <a:pt x="116" y="77"/>
                  <a:pt x="116" y="77"/>
                  <a:pt x="116" y="77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365760" tIns="182880" rIns="365760" bIns="18288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144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1" name="Freeform 54"/>
          <p:cNvSpPr>
            <a:spLocks noEditPoints="1"/>
          </p:cNvSpPr>
          <p:nvPr/>
        </p:nvSpPr>
        <p:spPr bwMode="auto">
          <a:xfrm>
            <a:off x="8758960" y="9883271"/>
            <a:ext cx="789084" cy="539458"/>
          </a:xfrm>
          <a:custGeom>
            <a:avLst/>
            <a:gdLst>
              <a:gd name="T0" fmla="*/ 99 w 199"/>
              <a:gd name="T1" fmla="*/ 101 h 136"/>
              <a:gd name="T2" fmla="*/ 0 w 199"/>
              <a:gd name="T3" fmla="*/ 51 h 136"/>
              <a:gd name="T4" fmla="*/ 99 w 199"/>
              <a:gd name="T5" fmla="*/ 0 h 136"/>
              <a:gd name="T6" fmla="*/ 199 w 199"/>
              <a:gd name="T7" fmla="*/ 51 h 136"/>
              <a:gd name="T8" fmla="*/ 157 w 199"/>
              <a:gd name="T9" fmla="*/ 72 h 136"/>
              <a:gd name="T10" fmla="*/ 157 w 199"/>
              <a:gd name="T11" fmla="*/ 71 h 136"/>
              <a:gd name="T12" fmla="*/ 107 w 199"/>
              <a:gd name="T13" fmla="*/ 46 h 136"/>
              <a:gd name="T14" fmla="*/ 101 w 199"/>
              <a:gd name="T15" fmla="*/ 44 h 136"/>
              <a:gd name="T16" fmla="*/ 95 w 199"/>
              <a:gd name="T17" fmla="*/ 46 h 136"/>
              <a:gd name="T18" fmla="*/ 93 w 199"/>
              <a:gd name="T19" fmla="*/ 52 h 136"/>
              <a:gd name="T20" fmla="*/ 97 w 199"/>
              <a:gd name="T21" fmla="*/ 59 h 136"/>
              <a:gd name="T22" fmla="*/ 140 w 199"/>
              <a:gd name="T23" fmla="*/ 80 h 136"/>
              <a:gd name="T24" fmla="*/ 99 w 199"/>
              <a:gd name="T25" fmla="*/ 101 h 136"/>
              <a:gd name="T26" fmla="*/ 153 w 199"/>
              <a:gd name="T27" fmla="*/ 117 h 136"/>
              <a:gd name="T28" fmla="*/ 155 w 199"/>
              <a:gd name="T29" fmla="*/ 114 h 136"/>
              <a:gd name="T30" fmla="*/ 153 w 199"/>
              <a:gd name="T31" fmla="*/ 111 h 136"/>
              <a:gd name="T32" fmla="*/ 153 w 199"/>
              <a:gd name="T33" fmla="*/ 74 h 136"/>
              <a:gd name="T34" fmla="*/ 105 w 199"/>
              <a:gd name="T35" fmla="*/ 49 h 136"/>
              <a:gd name="T36" fmla="*/ 98 w 199"/>
              <a:gd name="T37" fmla="*/ 49 h 136"/>
              <a:gd name="T38" fmla="*/ 99 w 199"/>
              <a:gd name="T39" fmla="*/ 55 h 136"/>
              <a:gd name="T40" fmla="*/ 145 w 199"/>
              <a:gd name="T41" fmla="*/ 78 h 136"/>
              <a:gd name="T42" fmla="*/ 145 w 199"/>
              <a:gd name="T43" fmla="*/ 111 h 136"/>
              <a:gd name="T44" fmla="*/ 143 w 199"/>
              <a:gd name="T45" fmla="*/ 114 h 136"/>
              <a:gd name="T46" fmla="*/ 145 w 199"/>
              <a:gd name="T47" fmla="*/ 117 h 136"/>
              <a:gd name="T48" fmla="*/ 142 w 199"/>
              <a:gd name="T49" fmla="*/ 125 h 136"/>
              <a:gd name="T50" fmla="*/ 147 w 199"/>
              <a:gd name="T51" fmla="*/ 132 h 136"/>
              <a:gd name="T52" fmla="*/ 146 w 199"/>
              <a:gd name="T53" fmla="*/ 136 h 136"/>
              <a:gd name="T54" fmla="*/ 157 w 199"/>
              <a:gd name="T55" fmla="*/ 124 h 136"/>
              <a:gd name="T56" fmla="*/ 153 w 199"/>
              <a:gd name="T57" fmla="*/ 117 h 136"/>
              <a:gd name="T58" fmla="*/ 34 w 199"/>
              <a:gd name="T59" fmla="*/ 75 h 136"/>
              <a:gd name="T60" fmla="*/ 34 w 199"/>
              <a:gd name="T61" fmla="*/ 117 h 136"/>
              <a:gd name="T62" fmla="*/ 35 w 199"/>
              <a:gd name="T63" fmla="*/ 117 h 136"/>
              <a:gd name="T64" fmla="*/ 100 w 199"/>
              <a:gd name="T65" fmla="*/ 135 h 136"/>
              <a:gd name="T66" fmla="*/ 139 w 199"/>
              <a:gd name="T67" fmla="*/ 129 h 136"/>
              <a:gd name="T68" fmla="*/ 138 w 199"/>
              <a:gd name="T69" fmla="*/ 125 h 136"/>
              <a:gd name="T70" fmla="*/ 140 w 199"/>
              <a:gd name="T71" fmla="*/ 117 h 136"/>
              <a:gd name="T72" fmla="*/ 139 w 199"/>
              <a:gd name="T73" fmla="*/ 114 h 136"/>
              <a:gd name="T74" fmla="*/ 141 w 199"/>
              <a:gd name="T75" fmla="*/ 109 h 136"/>
              <a:gd name="T76" fmla="*/ 141 w 199"/>
              <a:gd name="T77" fmla="*/ 87 h 136"/>
              <a:gd name="T78" fmla="*/ 99 w 199"/>
              <a:gd name="T79" fmla="*/ 108 h 136"/>
              <a:gd name="T80" fmla="*/ 34 w 199"/>
              <a:gd name="T81" fmla="*/ 75 h 136"/>
              <a:gd name="T82" fmla="*/ 157 w 199"/>
              <a:gd name="T83" fmla="*/ 109 h 136"/>
              <a:gd name="T84" fmla="*/ 159 w 199"/>
              <a:gd name="T85" fmla="*/ 114 h 136"/>
              <a:gd name="T86" fmla="*/ 158 w 199"/>
              <a:gd name="T87" fmla="*/ 117 h 136"/>
              <a:gd name="T88" fmla="*/ 160 w 199"/>
              <a:gd name="T89" fmla="*/ 120 h 136"/>
              <a:gd name="T90" fmla="*/ 164 w 199"/>
              <a:gd name="T91" fmla="*/ 117 h 136"/>
              <a:gd name="T92" fmla="*/ 165 w 199"/>
              <a:gd name="T93" fmla="*/ 117 h 136"/>
              <a:gd name="T94" fmla="*/ 165 w 199"/>
              <a:gd name="T95" fmla="*/ 75 h 136"/>
              <a:gd name="T96" fmla="*/ 157 w 199"/>
              <a:gd name="T97" fmla="*/ 79 h 136"/>
              <a:gd name="T98" fmla="*/ 157 w 199"/>
              <a:gd name="T99" fmla="*/ 109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9" h="136">
                <a:moveTo>
                  <a:pt x="99" y="101"/>
                </a:moveTo>
                <a:cubicBezTo>
                  <a:pt x="0" y="51"/>
                  <a:pt x="0" y="51"/>
                  <a:pt x="0" y="51"/>
                </a:cubicBezTo>
                <a:cubicBezTo>
                  <a:pt x="99" y="0"/>
                  <a:pt x="99" y="0"/>
                  <a:pt x="99" y="0"/>
                </a:cubicBezTo>
                <a:cubicBezTo>
                  <a:pt x="199" y="51"/>
                  <a:pt x="199" y="51"/>
                  <a:pt x="199" y="51"/>
                </a:cubicBezTo>
                <a:cubicBezTo>
                  <a:pt x="157" y="72"/>
                  <a:pt x="157" y="72"/>
                  <a:pt x="157" y="72"/>
                </a:cubicBezTo>
                <a:cubicBezTo>
                  <a:pt x="157" y="71"/>
                  <a:pt x="157" y="71"/>
                  <a:pt x="157" y="71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6" y="45"/>
                  <a:pt x="104" y="44"/>
                  <a:pt x="101" y="44"/>
                </a:cubicBezTo>
                <a:cubicBezTo>
                  <a:pt x="99" y="44"/>
                  <a:pt x="97" y="44"/>
                  <a:pt x="95" y="46"/>
                </a:cubicBezTo>
                <a:cubicBezTo>
                  <a:pt x="93" y="48"/>
                  <a:pt x="92" y="51"/>
                  <a:pt x="93" y="52"/>
                </a:cubicBezTo>
                <a:cubicBezTo>
                  <a:pt x="93" y="56"/>
                  <a:pt x="96" y="58"/>
                  <a:pt x="97" y="59"/>
                </a:cubicBezTo>
                <a:cubicBezTo>
                  <a:pt x="140" y="80"/>
                  <a:pt x="140" y="80"/>
                  <a:pt x="140" y="80"/>
                </a:cubicBezTo>
                <a:lnTo>
                  <a:pt x="99" y="101"/>
                </a:lnTo>
                <a:close/>
                <a:moveTo>
                  <a:pt x="153" y="117"/>
                </a:moveTo>
                <a:cubicBezTo>
                  <a:pt x="154" y="117"/>
                  <a:pt x="155" y="115"/>
                  <a:pt x="155" y="114"/>
                </a:cubicBezTo>
                <a:cubicBezTo>
                  <a:pt x="155" y="113"/>
                  <a:pt x="154" y="112"/>
                  <a:pt x="153" y="111"/>
                </a:cubicBezTo>
                <a:cubicBezTo>
                  <a:pt x="153" y="74"/>
                  <a:pt x="153" y="74"/>
                  <a:pt x="153" y="74"/>
                </a:cubicBezTo>
                <a:cubicBezTo>
                  <a:pt x="105" y="49"/>
                  <a:pt x="105" y="49"/>
                  <a:pt x="105" y="49"/>
                </a:cubicBezTo>
                <a:cubicBezTo>
                  <a:pt x="105" y="49"/>
                  <a:pt x="101" y="46"/>
                  <a:pt x="98" y="49"/>
                </a:cubicBezTo>
                <a:cubicBezTo>
                  <a:pt x="94" y="52"/>
                  <a:pt x="99" y="55"/>
                  <a:pt x="99" y="55"/>
                </a:cubicBezTo>
                <a:cubicBezTo>
                  <a:pt x="145" y="78"/>
                  <a:pt x="145" y="78"/>
                  <a:pt x="145" y="78"/>
                </a:cubicBezTo>
                <a:cubicBezTo>
                  <a:pt x="145" y="111"/>
                  <a:pt x="145" y="111"/>
                  <a:pt x="145" y="111"/>
                </a:cubicBezTo>
                <a:cubicBezTo>
                  <a:pt x="144" y="112"/>
                  <a:pt x="143" y="113"/>
                  <a:pt x="143" y="114"/>
                </a:cubicBezTo>
                <a:cubicBezTo>
                  <a:pt x="143" y="115"/>
                  <a:pt x="144" y="117"/>
                  <a:pt x="145" y="117"/>
                </a:cubicBezTo>
                <a:cubicBezTo>
                  <a:pt x="144" y="118"/>
                  <a:pt x="142" y="121"/>
                  <a:pt x="142" y="125"/>
                </a:cubicBezTo>
                <a:cubicBezTo>
                  <a:pt x="142" y="129"/>
                  <a:pt x="147" y="129"/>
                  <a:pt x="147" y="132"/>
                </a:cubicBezTo>
                <a:cubicBezTo>
                  <a:pt x="147" y="134"/>
                  <a:pt x="146" y="136"/>
                  <a:pt x="146" y="136"/>
                </a:cubicBezTo>
                <a:cubicBezTo>
                  <a:pt x="146" y="136"/>
                  <a:pt x="157" y="132"/>
                  <a:pt x="157" y="124"/>
                </a:cubicBezTo>
                <a:cubicBezTo>
                  <a:pt x="157" y="120"/>
                  <a:pt x="154" y="118"/>
                  <a:pt x="153" y="117"/>
                </a:cubicBezTo>
                <a:close/>
                <a:moveTo>
                  <a:pt x="34" y="75"/>
                </a:moveTo>
                <a:cubicBezTo>
                  <a:pt x="34" y="117"/>
                  <a:pt x="34" y="117"/>
                  <a:pt x="34" y="117"/>
                </a:cubicBezTo>
                <a:cubicBezTo>
                  <a:pt x="35" y="117"/>
                  <a:pt x="35" y="117"/>
                  <a:pt x="35" y="117"/>
                </a:cubicBezTo>
                <a:cubicBezTo>
                  <a:pt x="53" y="129"/>
                  <a:pt x="76" y="135"/>
                  <a:pt x="100" y="135"/>
                </a:cubicBezTo>
                <a:cubicBezTo>
                  <a:pt x="113" y="135"/>
                  <a:pt x="127" y="133"/>
                  <a:pt x="139" y="129"/>
                </a:cubicBezTo>
                <a:cubicBezTo>
                  <a:pt x="138" y="128"/>
                  <a:pt x="138" y="126"/>
                  <a:pt x="138" y="125"/>
                </a:cubicBezTo>
                <a:cubicBezTo>
                  <a:pt x="138" y="122"/>
                  <a:pt x="139" y="119"/>
                  <a:pt x="140" y="117"/>
                </a:cubicBezTo>
                <a:cubicBezTo>
                  <a:pt x="139" y="116"/>
                  <a:pt x="139" y="115"/>
                  <a:pt x="139" y="114"/>
                </a:cubicBezTo>
                <a:cubicBezTo>
                  <a:pt x="139" y="112"/>
                  <a:pt x="140" y="110"/>
                  <a:pt x="141" y="109"/>
                </a:cubicBezTo>
                <a:cubicBezTo>
                  <a:pt x="141" y="87"/>
                  <a:pt x="141" y="87"/>
                  <a:pt x="141" y="87"/>
                </a:cubicBezTo>
                <a:cubicBezTo>
                  <a:pt x="99" y="108"/>
                  <a:pt x="99" y="108"/>
                  <a:pt x="99" y="108"/>
                </a:cubicBezTo>
                <a:lnTo>
                  <a:pt x="34" y="75"/>
                </a:lnTo>
                <a:close/>
                <a:moveTo>
                  <a:pt x="157" y="109"/>
                </a:moveTo>
                <a:cubicBezTo>
                  <a:pt x="158" y="111"/>
                  <a:pt x="159" y="112"/>
                  <a:pt x="159" y="114"/>
                </a:cubicBezTo>
                <a:cubicBezTo>
                  <a:pt x="159" y="115"/>
                  <a:pt x="159" y="116"/>
                  <a:pt x="158" y="117"/>
                </a:cubicBezTo>
                <a:cubicBezTo>
                  <a:pt x="159" y="118"/>
                  <a:pt x="159" y="119"/>
                  <a:pt x="160" y="120"/>
                </a:cubicBezTo>
                <a:cubicBezTo>
                  <a:pt x="161" y="119"/>
                  <a:pt x="163" y="118"/>
                  <a:pt x="164" y="117"/>
                </a:cubicBezTo>
                <a:cubicBezTo>
                  <a:pt x="165" y="117"/>
                  <a:pt x="165" y="117"/>
                  <a:pt x="165" y="117"/>
                </a:cubicBezTo>
                <a:cubicBezTo>
                  <a:pt x="165" y="75"/>
                  <a:pt x="165" y="75"/>
                  <a:pt x="165" y="75"/>
                </a:cubicBezTo>
                <a:cubicBezTo>
                  <a:pt x="157" y="79"/>
                  <a:pt x="157" y="79"/>
                  <a:pt x="157" y="79"/>
                </a:cubicBezTo>
                <a:lnTo>
                  <a:pt x="157" y="1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365760" tIns="182880" rIns="365760" bIns="18288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144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2" name="Freeform 56"/>
          <p:cNvSpPr>
            <a:spLocks noEditPoints="1"/>
          </p:cNvSpPr>
          <p:nvPr/>
        </p:nvSpPr>
        <p:spPr bwMode="auto">
          <a:xfrm>
            <a:off x="15376624" y="9907814"/>
            <a:ext cx="637200" cy="479348"/>
          </a:xfrm>
          <a:custGeom>
            <a:avLst/>
            <a:gdLst>
              <a:gd name="T0" fmla="*/ 56 w 186"/>
              <a:gd name="T1" fmla="*/ 67 h 140"/>
              <a:gd name="T2" fmla="*/ 34 w 186"/>
              <a:gd name="T3" fmla="*/ 77 h 140"/>
              <a:gd name="T4" fmla="*/ 15 w 186"/>
              <a:gd name="T5" fmla="*/ 87 h 140"/>
              <a:gd name="T6" fmla="*/ 50 w 186"/>
              <a:gd name="T7" fmla="*/ 61 h 140"/>
              <a:gd name="T8" fmla="*/ 68 w 186"/>
              <a:gd name="T9" fmla="*/ 67 h 140"/>
              <a:gd name="T10" fmla="*/ 59 w 186"/>
              <a:gd name="T11" fmla="*/ 81 h 140"/>
              <a:gd name="T12" fmla="*/ 82 w 186"/>
              <a:gd name="T13" fmla="*/ 68 h 140"/>
              <a:gd name="T14" fmla="*/ 68 w 186"/>
              <a:gd name="T15" fmla="*/ 67 h 140"/>
              <a:gd name="T16" fmla="*/ 82 w 186"/>
              <a:gd name="T17" fmla="*/ 27 h 140"/>
              <a:gd name="T18" fmla="*/ 64 w 186"/>
              <a:gd name="T19" fmla="*/ 40 h 140"/>
              <a:gd name="T20" fmla="*/ 36 w 186"/>
              <a:gd name="T21" fmla="*/ 36 h 140"/>
              <a:gd name="T22" fmla="*/ 15 w 186"/>
              <a:gd name="T23" fmla="*/ 27 h 140"/>
              <a:gd name="T24" fmla="*/ 72 w 186"/>
              <a:gd name="T25" fmla="*/ 40 h 140"/>
              <a:gd name="T26" fmla="*/ 72 w 186"/>
              <a:gd name="T27" fmla="*/ 26 h 140"/>
              <a:gd name="T28" fmla="*/ 106 w 186"/>
              <a:gd name="T29" fmla="*/ 95 h 140"/>
              <a:gd name="T30" fmla="*/ 144 w 186"/>
              <a:gd name="T31" fmla="*/ 95 h 140"/>
              <a:gd name="T32" fmla="*/ 106 w 186"/>
              <a:gd name="T33" fmla="*/ 95 h 140"/>
              <a:gd name="T34" fmla="*/ 106 w 186"/>
              <a:gd name="T35" fmla="*/ 72 h 140"/>
              <a:gd name="T36" fmla="*/ 170 w 186"/>
              <a:gd name="T37" fmla="*/ 68 h 140"/>
              <a:gd name="T38" fmla="*/ 126 w 186"/>
              <a:gd name="T39" fmla="*/ 24 h 140"/>
              <a:gd name="T40" fmla="*/ 170 w 186"/>
              <a:gd name="T41" fmla="*/ 31 h 140"/>
              <a:gd name="T42" fmla="*/ 126 w 186"/>
              <a:gd name="T43" fmla="*/ 24 h 140"/>
              <a:gd name="T44" fmla="*/ 106 w 186"/>
              <a:gd name="T45" fmla="*/ 45 h 140"/>
              <a:gd name="T46" fmla="*/ 170 w 186"/>
              <a:gd name="T47" fmla="*/ 40 h 140"/>
              <a:gd name="T48" fmla="*/ 106 w 186"/>
              <a:gd name="T49" fmla="*/ 81 h 140"/>
              <a:gd name="T50" fmla="*/ 170 w 186"/>
              <a:gd name="T51" fmla="*/ 86 h 140"/>
              <a:gd name="T52" fmla="*/ 106 w 186"/>
              <a:gd name="T53" fmla="*/ 81 h 140"/>
              <a:gd name="T54" fmla="*/ 106 w 186"/>
              <a:gd name="T55" fmla="*/ 59 h 140"/>
              <a:gd name="T56" fmla="*/ 170 w 186"/>
              <a:gd name="T57" fmla="*/ 54 h 140"/>
              <a:gd name="T58" fmla="*/ 186 w 186"/>
              <a:gd name="T59" fmla="*/ 9 h 140"/>
              <a:gd name="T60" fmla="*/ 186 w 186"/>
              <a:gd name="T61" fmla="*/ 134 h 140"/>
              <a:gd name="T62" fmla="*/ 142 w 186"/>
              <a:gd name="T63" fmla="*/ 128 h 140"/>
              <a:gd name="T64" fmla="*/ 93 w 186"/>
              <a:gd name="T65" fmla="*/ 140 h 140"/>
              <a:gd name="T66" fmla="*/ 44 w 186"/>
              <a:gd name="T67" fmla="*/ 128 h 140"/>
              <a:gd name="T68" fmla="*/ 0 w 186"/>
              <a:gd name="T69" fmla="*/ 134 h 140"/>
              <a:gd name="T70" fmla="*/ 0 w 186"/>
              <a:gd name="T71" fmla="*/ 9 h 140"/>
              <a:gd name="T72" fmla="*/ 44 w 186"/>
              <a:gd name="T73" fmla="*/ 0 h 140"/>
              <a:gd name="T74" fmla="*/ 142 w 186"/>
              <a:gd name="T75" fmla="*/ 0 h 140"/>
              <a:gd name="T76" fmla="*/ 186 w 186"/>
              <a:gd name="T77" fmla="*/ 9 h 140"/>
              <a:gd name="T78" fmla="*/ 44 w 186"/>
              <a:gd name="T79" fmla="*/ 8 h 140"/>
              <a:gd name="T80" fmla="*/ 8 w 186"/>
              <a:gd name="T81" fmla="*/ 118 h 140"/>
              <a:gd name="T82" fmla="*/ 89 w 186"/>
              <a:gd name="T83" fmla="*/ 121 h 140"/>
              <a:gd name="T84" fmla="*/ 178 w 186"/>
              <a:gd name="T85" fmla="*/ 14 h 140"/>
              <a:gd name="T86" fmla="*/ 97 w 186"/>
              <a:gd name="T87" fmla="*/ 18 h 140"/>
              <a:gd name="T88" fmla="*/ 142 w 186"/>
              <a:gd name="T89" fmla="*/ 112 h 140"/>
              <a:gd name="T90" fmla="*/ 178 w 186"/>
              <a:gd name="T91" fmla="*/ 14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6" h="140">
                <a:moveTo>
                  <a:pt x="56" y="66"/>
                </a:moveTo>
                <a:cubicBezTo>
                  <a:pt x="56" y="66"/>
                  <a:pt x="56" y="67"/>
                  <a:pt x="56" y="67"/>
                </a:cubicBezTo>
                <a:cubicBezTo>
                  <a:pt x="54" y="69"/>
                  <a:pt x="50" y="70"/>
                  <a:pt x="46" y="71"/>
                </a:cubicBezTo>
                <a:cubicBezTo>
                  <a:pt x="41" y="72"/>
                  <a:pt x="37" y="73"/>
                  <a:pt x="34" y="77"/>
                </a:cubicBezTo>
                <a:cubicBezTo>
                  <a:pt x="32" y="79"/>
                  <a:pt x="31" y="80"/>
                  <a:pt x="29" y="82"/>
                </a:cubicBezTo>
                <a:cubicBezTo>
                  <a:pt x="24" y="83"/>
                  <a:pt x="19" y="85"/>
                  <a:pt x="15" y="87"/>
                </a:cubicBezTo>
                <a:cubicBezTo>
                  <a:pt x="15" y="80"/>
                  <a:pt x="15" y="74"/>
                  <a:pt x="15" y="68"/>
                </a:cubicBezTo>
                <a:cubicBezTo>
                  <a:pt x="26" y="63"/>
                  <a:pt x="38" y="61"/>
                  <a:pt x="50" y="61"/>
                </a:cubicBezTo>
                <a:cubicBezTo>
                  <a:pt x="52" y="62"/>
                  <a:pt x="56" y="64"/>
                  <a:pt x="56" y="66"/>
                </a:cubicBezTo>
                <a:close/>
                <a:moveTo>
                  <a:pt x="68" y="67"/>
                </a:moveTo>
                <a:cubicBezTo>
                  <a:pt x="70" y="73"/>
                  <a:pt x="67" y="75"/>
                  <a:pt x="62" y="77"/>
                </a:cubicBezTo>
                <a:cubicBezTo>
                  <a:pt x="60" y="78"/>
                  <a:pt x="59" y="80"/>
                  <a:pt x="59" y="81"/>
                </a:cubicBezTo>
                <a:cubicBezTo>
                  <a:pt x="67" y="82"/>
                  <a:pt x="74" y="84"/>
                  <a:pt x="82" y="87"/>
                </a:cubicBezTo>
                <a:cubicBezTo>
                  <a:pt x="82" y="80"/>
                  <a:pt x="82" y="74"/>
                  <a:pt x="82" y="68"/>
                </a:cubicBezTo>
                <a:cubicBezTo>
                  <a:pt x="76" y="66"/>
                  <a:pt x="71" y="64"/>
                  <a:pt x="65" y="63"/>
                </a:cubicBezTo>
                <a:cubicBezTo>
                  <a:pt x="66" y="64"/>
                  <a:pt x="67" y="66"/>
                  <a:pt x="68" y="67"/>
                </a:cubicBezTo>
                <a:close/>
                <a:moveTo>
                  <a:pt x="15" y="27"/>
                </a:moveTo>
                <a:cubicBezTo>
                  <a:pt x="36" y="19"/>
                  <a:pt x="60" y="19"/>
                  <a:pt x="82" y="27"/>
                </a:cubicBezTo>
                <a:cubicBezTo>
                  <a:pt x="82" y="39"/>
                  <a:pt x="82" y="51"/>
                  <a:pt x="82" y="63"/>
                </a:cubicBezTo>
                <a:cubicBezTo>
                  <a:pt x="76" y="55"/>
                  <a:pt x="70" y="47"/>
                  <a:pt x="64" y="40"/>
                </a:cubicBezTo>
                <a:cubicBezTo>
                  <a:pt x="60" y="43"/>
                  <a:pt x="55" y="47"/>
                  <a:pt x="51" y="51"/>
                </a:cubicBezTo>
                <a:cubicBezTo>
                  <a:pt x="46" y="45"/>
                  <a:pt x="41" y="41"/>
                  <a:pt x="36" y="36"/>
                </a:cubicBezTo>
                <a:cubicBezTo>
                  <a:pt x="29" y="44"/>
                  <a:pt x="22" y="53"/>
                  <a:pt x="15" y="63"/>
                </a:cubicBezTo>
                <a:cubicBezTo>
                  <a:pt x="15" y="51"/>
                  <a:pt x="15" y="39"/>
                  <a:pt x="15" y="27"/>
                </a:cubicBezTo>
                <a:close/>
                <a:moveTo>
                  <a:pt x="65" y="32"/>
                </a:moveTo>
                <a:cubicBezTo>
                  <a:pt x="65" y="35"/>
                  <a:pt x="68" y="39"/>
                  <a:pt x="72" y="40"/>
                </a:cubicBezTo>
                <a:cubicBezTo>
                  <a:pt x="75" y="41"/>
                  <a:pt x="78" y="39"/>
                  <a:pt x="78" y="35"/>
                </a:cubicBezTo>
                <a:cubicBezTo>
                  <a:pt x="78" y="31"/>
                  <a:pt x="75" y="27"/>
                  <a:pt x="72" y="26"/>
                </a:cubicBezTo>
                <a:cubicBezTo>
                  <a:pt x="68" y="25"/>
                  <a:pt x="65" y="28"/>
                  <a:pt x="65" y="32"/>
                </a:cubicBezTo>
                <a:close/>
                <a:moveTo>
                  <a:pt x="106" y="95"/>
                </a:moveTo>
                <a:cubicBezTo>
                  <a:pt x="106" y="99"/>
                  <a:pt x="106" y="99"/>
                  <a:pt x="106" y="99"/>
                </a:cubicBezTo>
                <a:cubicBezTo>
                  <a:pt x="118" y="96"/>
                  <a:pt x="131" y="95"/>
                  <a:pt x="144" y="95"/>
                </a:cubicBezTo>
                <a:cubicBezTo>
                  <a:pt x="144" y="91"/>
                  <a:pt x="144" y="91"/>
                  <a:pt x="144" y="91"/>
                </a:cubicBezTo>
                <a:cubicBezTo>
                  <a:pt x="131" y="90"/>
                  <a:pt x="118" y="92"/>
                  <a:pt x="106" y="95"/>
                </a:cubicBezTo>
                <a:close/>
                <a:moveTo>
                  <a:pt x="106" y="68"/>
                </a:moveTo>
                <a:cubicBezTo>
                  <a:pt x="106" y="72"/>
                  <a:pt x="106" y="72"/>
                  <a:pt x="106" y="72"/>
                </a:cubicBezTo>
                <a:cubicBezTo>
                  <a:pt x="126" y="66"/>
                  <a:pt x="150" y="66"/>
                  <a:pt x="170" y="72"/>
                </a:cubicBezTo>
                <a:cubicBezTo>
                  <a:pt x="170" y="68"/>
                  <a:pt x="170" y="68"/>
                  <a:pt x="170" y="68"/>
                </a:cubicBezTo>
                <a:cubicBezTo>
                  <a:pt x="149" y="62"/>
                  <a:pt x="127" y="62"/>
                  <a:pt x="106" y="68"/>
                </a:cubicBezTo>
                <a:close/>
                <a:moveTo>
                  <a:pt x="126" y="24"/>
                </a:moveTo>
                <a:cubicBezTo>
                  <a:pt x="126" y="28"/>
                  <a:pt x="126" y="28"/>
                  <a:pt x="126" y="28"/>
                </a:cubicBezTo>
                <a:cubicBezTo>
                  <a:pt x="140" y="26"/>
                  <a:pt x="156" y="27"/>
                  <a:pt x="170" y="31"/>
                </a:cubicBezTo>
                <a:cubicBezTo>
                  <a:pt x="170" y="27"/>
                  <a:pt x="170" y="27"/>
                  <a:pt x="170" y="27"/>
                </a:cubicBezTo>
                <a:cubicBezTo>
                  <a:pt x="156" y="23"/>
                  <a:pt x="140" y="22"/>
                  <a:pt x="126" y="24"/>
                </a:cubicBezTo>
                <a:close/>
                <a:moveTo>
                  <a:pt x="106" y="41"/>
                </a:moveTo>
                <a:cubicBezTo>
                  <a:pt x="106" y="45"/>
                  <a:pt x="106" y="45"/>
                  <a:pt x="106" y="45"/>
                </a:cubicBezTo>
                <a:cubicBezTo>
                  <a:pt x="126" y="39"/>
                  <a:pt x="150" y="39"/>
                  <a:pt x="170" y="45"/>
                </a:cubicBezTo>
                <a:cubicBezTo>
                  <a:pt x="170" y="40"/>
                  <a:pt x="170" y="40"/>
                  <a:pt x="170" y="40"/>
                </a:cubicBezTo>
                <a:cubicBezTo>
                  <a:pt x="149" y="35"/>
                  <a:pt x="127" y="35"/>
                  <a:pt x="106" y="41"/>
                </a:cubicBezTo>
                <a:close/>
                <a:moveTo>
                  <a:pt x="106" y="81"/>
                </a:moveTo>
                <a:cubicBezTo>
                  <a:pt x="106" y="86"/>
                  <a:pt x="106" y="86"/>
                  <a:pt x="106" y="86"/>
                </a:cubicBezTo>
                <a:cubicBezTo>
                  <a:pt x="126" y="80"/>
                  <a:pt x="150" y="80"/>
                  <a:pt x="170" y="86"/>
                </a:cubicBezTo>
                <a:cubicBezTo>
                  <a:pt x="170" y="81"/>
                  <a:pt x="170" y="81"/>
                  <a:pt x="170" y="81"/>
                </a:cubicBezTo>
                <a:cubicBezTo>
                  <a:pt x="149" y="76"/>
                  <a:pt x="127" y="76"/>
                  <a:pt x="106" y="81"/>
                </a:cubicBezTo>
                <a:close/>
                <a:moveTo>
                  <a:pt x="106" y="54"/>
                </a:moveTo>
                <a:cubicBezTo>
                  <a:pt x="106" y="59"/>
                  <a:pt x="106" y="59"/>
                  <a:pt x="106" y="59"/>
                </a:cubicBezTo>
                <a:cubicBezTo>
                  <a:pt x="126" y="53"/>
                  <a:pt x="150" y="53"/>
                  <a:pt x="170" y="59"/>
                </a:cubicBezTo>
                <a:cubicBezTo>
                  <a:pt x="170" y="54"/>
                  <a:pt x="170" y="54"/>
                  <a:pt x="170" y="54"/>
                </a:cubicBezTo>
                <a:cubicBezTo>
                  <a:pt x="149" y="48"/>
                  <a:pt x="127" y="49"/>
                  <a:pt x="106" y="54"/>
                </a:cubicBezTo>
                <a:close/>
                <a:moveTo>
                  <a:pt x="186" y="9"/>
                </a:moveTo>
                <a:cubicBezTo>
                  <a:pt x="186" y="126"/>
                  <a:pt x="186" y="126"/>
                  <a:pt x="186" y="126"/>
                </a:cubicBezTo>
                <a:cubicBezTo>
                  <a:pt x="186" y="134"/>
                  <a:pt x="186" y="134"/>
                  <a:pt x="186" y="134"/>
                </a:cubicBezTo>
                <a:cubicBezTo>
                  <a:pt x="184" y="136"/>
                  <a:pt x="182" y="136"/>
                  <a:pt x="180" y="135"/>
                </a:cubicBezTo>
                <a:cubicBezTo>
                  <a:pt x="168" y="131"/>
                  <a:pt x="155" y="128"/>
                  <a:pt x="142" y="128"/>
                </a:cubicBezTo>
                <a:cubicBezTo>
                  <a:pt x="126" y="128"/>
                  <a:pt x="110" y="132"/>
                  <a:pt x="96" y="139"/>
                </a:cubicBezTo>
                <a:cubicBezTo>
                  <a:pt x="95" y="140"/>
                  <a:pt x="94" y="140"/>
                  <a:pt x="93" y="140"/>
                </a:cubicBezTo>
                <a:cubicBezTo>
                  <a:pt x="92" y="140"/>
                  <a:pt x="91" y="140"/>
                  <a:pt x="91" y="139"/>
                </a:cubicBezTo>
                <a:cubicBezTo>
                  <a:pt x="76" y="132"/>
                  <a:pt x="60" y="128"/>
                  <a:pt x="44" y="128"/>
                </a:cubicBezTo>
                <a:cubicBezTo>
                  <a:pt x="31" y="128"/>
                  <a:pt x="18" y="131"/>
                  <a:pt x="6" y="135"/>
                </a:cubicBezTo>
                <a:cubicBezTo>
                  <a:pt x="4" y="136"/>
                  <a:pt x="2" y="136"/>
                  <a:pt x="0" y="134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9"/>
                  <a:pt x="0" y="9"/>
                  <a:pt x="0" y="9"/>
                </a:cubicBezTo>
                <a:cubicBezTo>
                  <a:pt x="3" y="8"/>
                  <a:pt x="3" y="8"/>
                  <a:pt x="3" y="8"/>
                </a:cubicBezTo>
                <a:cubicBezTo>
                  <a:pt x="16" y="3"/>
                  <a:pt x="30" y="0"/>
                  <a:pt x="44" y="0"/>
                </a:cubicBezTo>
                <a:cubicBezTo>
                  <a:pt x="61" y="0"/>
                  <a:pt x="78" y="4"/>
                  <a:pt x="93" y="11"/>
                </a:cubicBezTo>
                <a:cubicBezTo>
                  <a:pt x="108" y="4"/>
                  <a:pt x="125" y="0"/>
                  <a:pt x="142" y="0"/>
                </a:cubicBezTo>
                <a:cubicBezTo>
                  <a:pt x="157" y="0"/>
                  <a:pt x="170" y="3"/>
                  <a:pt x="183" y="8"/>
                </a:cubicBezTo>
                <a:lnTo>
                  <a:pt x="186" y="9"/>
                </a:lnTo>
                <a:close/>
                <a:moveTo>
                  <a:pt x="89" y="18"/>
                </a:moveTo>
                <a:cubicBezTo>
                  <a:pt x="75" y="11"/>
                  <a:pt x="60" y="8"/>
                  <a:pt x="44" y="8"/>
                </a:cubicBezTo>
                <a:cubicBezTo>
                  <a:pt x="31" y="8"/>
                  <a:pt x="19" y="10"/>
                  <a:pt x="8" y="14"/>
                </a:cubicBezTo>
                <a:cubicBezTo>
                  <a:pt x="8" y="118"/>
                  <a:pt x="8" y="118"/>
                  <a:pt x="8" y="118"/>
                </a:cubicBezTo>
                <a:cubicBezTo>
                  <a:pt x="19" y="114"/>
                  <a:pt x="31" y="112"/>
                  <a:pt x="44" y="112"/>
                </a:cubicBezTo>
                <a:cubicBezTo>
                  <a:pt x="60" y="112"/>
                  <a:pt x="75" y="115"/>
                  <a:pt x="89" y="121"/>
                </a:cubicBezTo>
                <a:lnTo>
                  <a:pt x="89" y="18"/>
                </a:lnTo>
                <a:close/>
                <a:moveTo>
                  <a:pt x="178" y="14"/>
                </a:moveTo>
                <a:cubicBezTo>
                  <a:pt x="167" y="10"/>
                  <a:pt x="155" y="8"/>
                  <a:pt x="142" y="8"/>
                </a:cubicBezTo>
                <a:cubicBezTo>
                  <a:pt x="126" y="8"/>
                  <a:pt x="111" y="11"/>
                  <a:pt x="97" y="18"/>
                </a:cubicBezTo>
                <a:cubicBezTo>
                  <a:pt x="97" y="121"/>
                  <a:pt x="97" y="121"/>
                  <a:pt x="97" y="121"/>
                </a:cubicBezTo>
                <a:cubicBezTo>
                  <a:pt x="111" y="115"/>
                  <a:pt x="127" y="112"/>
                  <a:pt x="142" y="112"/>
                </a:cubicBezTo>
                <a:cubicBezTo>
                  <a:pt x="155" y="112"/>
                  <a:pt x="167" y="114"/>
                  <a:pt x="178" y="118"/>
                </a:cubicBezTo>
                <a:lnTo>
                  <a:pt x="178" y="1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365760" tIns="182880" rIns="365760" bIns="18288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144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3" name="Freeform 57"/>
          <p:cNvSpPr>
            <a:spLocks noEditPoints="1"/>
          </p:cNvSpPr>
          <p:nvPr/>
        </p:nvSpPr>
        <p:spPr bwMode="auto">
          <a:xfrm>
            <a:off x="16582664" y="6336727"/>
            <a:ext cx="550088" cy="620974"/>
          </a:xfrm>
          <a:custGeom>
            <a:avLst/>
            <a:gdLst>
              <a:gd name="T0" fmla="*/ 50 w 164"/>
              <a:gd name="T1" fmla="*/ 67 h 185"/>
              <a:gd name="T2" fmla="*/ 46 w 164"/>
              <a:gd name="T3" fmla="*/ 67 h 185"/>
              <a:gd name="T4" fmla="*/ 42 w 164"/>
              <a:gd name="T5" fmla="*/ 59 h 185"/>
              <a:gd name="T6" fmla="*/ 50 w 164"/>
              <a:gd name="T7" fmla="*/ 63 h 185"/>
              <a:gd name="T8" fmla="*/ 79 w 164"/>
              <a:gd name="T9" fmla="*/ 148 h 185"/>
              <a:gd name="T10" fmla="*/ 82 w 164"/>
              <a:gd name="T11" fmla="*/ 156 h 185"/>
              <a:gd name="T12" fmla="*/ 85 w 164"/>
              <a:gd name="T13" fmla="*/ 148 h 185"/>
              <a:gd name="T14" fmla="*/ 46 w 164"/>
              <a:gd name="T15" fmla="*/ 132 h 185"/>
              <a:gd name="T16" fmla="*/ 42 w 164"/>
              <a:gd name="T17" fmla="*/ 140 h 185"/>
              <a:gd name="T18" fmla="*/ 46 w 164"/>
              <a:gd name="T19" fmla="*/ 140 h 185"/>
              <a:gd name="T20" fmla="*/ 50 w 164"/>
              <a:gd name="T21" fmla="*/ 132 h 185"/>
              <a:gd name="T22" fmla="*/ 33 w 164"/>
              <a:gd name="T23" fmla="*/ 97 h 185"/>
              <a:gd name="T24" fmla="*/ 25 w 164"/>
              <a:gd name="T25" fmla="*/ 100 h 185"/>
              <a:gd name="T26" fmla="*/ 33 w 164"/>
              <a:gd name="T27" fmla="*/ 102 h 185"/>
              <a:gd name="T28" fmla="*/ 33 w 164"/>
              <a:gd name="T29" fmla="*/ 97 h 185"/>
              <a:gd name="T30" fmla="*/ 85 w 164"/>
              <a:gd name="T31" fmla="*/ 51 h 185"/>
              <a:gd name="T32" fmla="*/ 82 w 164"/>
              <a:gd name="T33" fmla="*/ 43 h 185"/>
              <a:gd name="T34" fmla="*/ 79 w 164"/>
              <a:gd name="T35" fmla="*/ 51 h 185"/>
              <a:gd name="T36" fmla="*/ 119 w 164"/>
              <a:gd name="T37" fmla="*/ 132 h 185"/>
              <a:gd name="T38" fmla="*/ 114 w 164"/>
              <a:gd name="T39" fmla="*/ 136 h 185"/>
              <a:gd name="T40" fmla="*/ 120 w 164"/>
              <a:gd name="T41" fmla="*/ 141 h 185"/>
              <a:gd name="T42" fmla="*/ 122 w 164"/>
              <a:gd name="T43" fmla="*/ 136 h 185"/>
              <a:gd name="T44" fmla="*/ 131 w 164"/>
              <a:gd name="T45" fmla="*/ 102 h 185"/>
              <a:gd name="T46" fmla="*/ 139 w 164"/>
              <a:gd name="T47" fmla="*/ 100 h 185"/>
              <a:gd name="T48" fmla="*/ 131 w 164"/>
              <a:gd name="T49" fmla="*/ 97 h 185"/>
              <a:gd name="T50" fmla="*/ 131 w 164"/>
              <a:gd name="T51" fmla="*/ 102 h 185"/>
              <a:gd name="T52" fmla="*/ 111 w 164"/>
              <a:gd name="T53" fmla="*/ 97 h 185"/>
              <a:gd name="T54" fmla="*/ 84 w 164"/>
              <a:gd name="T55" fmla="*/ 95 h 185"/>
              <a:gd name="T56" fmla="*/ 82 w 164"/>
              <a:gd name="T57" fmla="*/ 59 h 185"/>
              <a:gd name="T58" fmla="*/ 80 w 164"/>
              <a:gd name="T59" fmla="*/ 95 h 185"/>
              <a:gd name="T60" fmla="*/ 82 w 164"/>
              <a:gd name="T61" fmla="*/ 105 h 185"/>
              <a:gd name="T62" fmla="*/ 111 w 164"/>
              <a:gd name="T63" fmla="*/ 102 h 185"/>
              <a:gd name="T64" fmla="*/ 159 w 164"/>
              <a:gd name="T65" fmla="*/ 100 h 185"/>
              <a:gd name="T66" fmla="*/ 148 w 164"/>
              <a:gd name="T67" fmla="*/ 170 h 185"/>
              <a:gd name="T68" fmla="*/ 142 w 164"/>
              <a:gd name="T69" fmla="*/ 184 h 185"/>
              <a:gd name="T70" fmla="*/ 128 w 164"/>
              <a:gd name="T71" fmla="*/ 179 h 185"/>
              <a:gd name="T72" fmla="*/ 82 w 164"/>
              <a:gd name="T73" fmla="*/ 177 h 185"/>
              <a:gd name="T74" fmla="*/ 36 w 164"/>
              <a:gd name="T75" fmla="*/ 179 h 185"/>
              <a:gd name="T76" fmla="*/ 22 w 164"/>
              <a:gd name="T77" fmla="*/ 184 h 185"/>
              <a:gd name="T78" fmla="*/ 16 w 164"/>
              <a:gd name="T79" fmla="*/ 170 h 185"/>
              <a:gd name="T80" fmla="*/ 5 w 164"/>
              <a:gd name="T81" fmla="*/ 100 h 185"/>
              <a:gd name="T82" fmla="*/ 159 w 164"/>
              <a:gd name="T83" fmla="*/ 100 h 185"/>
              <a:gd name="T84" fmla="*/ 148 w 164"/>
              <a:gd name="T85" fmla="*/ 100 h 185"/>
              <a:gd name="T86" fmla="*/ 16 w 164"/>
              <a:gd name="T87" fmla="*/ 100 h 185"/>
              <a:gd name="T88" fmla="*/ 118 w 164"/>
              <a:gd name="T89" fmla="*/ 59 h 185"/>
              <a:gd name="T90" fmla="*/ 114 w 164"/>
              <a:gd name="T91" fmla="*/ 67 h 185"/>
              <a:gd name="T92" fmla="*/ 119 w 164"/>
              <a:gd name="T93" fmla="*/ 67 h 185"/>
              <a:gd name="T94" fmla="*/ 122 w 164"/>
              <a:gd name="T95" fmla="*/ 59 h 185"/>
              <a:gd name="T96" fmla="*/ 156 w 164"/>
              <a:gd name="T97" fmla="*/ 47 h 185"/>
              <a:gd name="T98" fmla="*/ 141 w 164"/>
              <a:gd name="T99" fmla="*/ 7 h 185"/>
              <a:gd name="T100" fmla="*/ 110 w 164"/>
              <a:gd name="T101" fmla="*/ 17 h 185"/>
              <a:gd name="T102" fmla="*/ 156 w 164"/>
              <a:gd name="T103" fmla="*/ 47 h 185"/>
              <a:gd name="T104" fmla="*/ 54 w 164"/>
              <a:gd name="T105" fmla="*/ 17 h 185"/>
              <a:gd name="T106" fmla="*/ 23 w 164"/>
              <a:gd name="T107" fmla="*/ 7 h 185"/>
              <a:gd name="T108" fmla="*/ 8 w 164"/>
              <a:gd name="T109" fmla="*/ 4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85">
                <a:moveTo>
                  <a:pt x="50" y="63"/>
                </a:moveTo>
                <a:cubicBezTo>
                  <a:pt x="51" y="64"/>
                  <a:pt x="51" y="66"/>
                  <a:pt x="50" y="67"/>
                </a:cubicBezTo>
                <a:cubicBezTo>
                  <a:pt x="49" y="68"/>
                  <a:pt x="48" y="68"/>
                  <a:pt x="48" y="68"/>
                </a:cubicBezTo>
                <a:cubicBezTo>
                  <a:pt x="47" y="68"/>
                  <a:pt x="46" y="68"/>
                  <a:pt x="46" y="67"/>
                </a:cubicBezTo>
                <a:cubicBezTo>
                  <a:pt x="42" y="63"/>
                  <a:pt x="42" y="63"/>
                  <a:pt x="42" y="63"/>
                </a:cubicBezTo>
                <a:cubicBezTo>
                  <a:pt x="41" y="62"/>
                  <a:pt x="41" y="60"/>
                  <a:pt x="42" y="59"/>
                </a:cubicBezTo>
                <a:cubicBezTo>
                  <a:pt x="43" y="58"/>
                  <a:pt x="45" y="58"/>
                  <a:pt x="46" y="59"/>
                </a:cubicBezTo>
                <a:lnTo>
                  <a:pt x="50" y="63"/>
                </a:lnTo>
                <a:close/>
                <a:moveTo>
                  <a:pt x="82" y="145"/>
                </a:moveTo>
                <a:cubicBezTo>
                  <a:pt x="80" y="145"/>
                  <a:pt x="79" y="147"/>
                  <a:pt x="79" y="148"/>
                </a:cubicBezTo>
                <a:cubicBezTo>
                  <a:pt x="79" y="153"/>
                  <a:pt x="79" y="153"/>
                  <a:pt x="79" y="153"/>
                </a:cubicBezTo>
                <a:cubicBezTo>
                  <a:pt x="79" y="155"/>
                  <a:pt x="80" y="156"/>
                  <a:pt x="82" y="156"/>
                </a:cubicBezTo>
                <a:cubicBezTo>
                  <a:pt x="84" y="156"/>
                  <a:pt x="85" y="155"/>
                  <a:pt x="85" y="153"/>
                </a:cubicBezTo>
                <a:cubicBezTo>
                  <a:pt x="85" y="148"/>
                  <a:pt x="85" y="148"/>
                  <a:pt x="85" y="148"/>
                </a:cubicBezTo>
                <a:cubicBezTo>
                  <a:pt x="85" y="147"/>
                  <a:pt x="84" y="145"/>
                  <a:pt x="82" y="145"/>
                </a:cubicBezTo>
                <a:close/>
                <a:moveTo>
                  <a:pt x="46" y="132"/>
                </a:moveTo>
                <a:cubicBezTo>
                  <a:pt x="42" y="136"/>
                  <a:pt x="42" y="136"/>
                  <a:pt x="42" y="136"/>
                </a:cubicBezTo>
                <a:cubicBezTo>
                  <a:pt x="41" y="137"/>
                  <a:pt x="41" y="139"/>
                  <a:pt x="42" y="140"/>
                </a:cubicBezTo>
                <a:cubicBezTo>
                  <a:pt x="42" y="140"/>
                  <a:pt x="43" y="141"/>
                  <a:pt x="44" y="141"/>
                </a:cubicBezTo>
                <a:cubicBezTo>
                  <a:pt x="45" y="141"/>
                  <a:pt x="45" y="140"/>
                  <a:pt x="46" y="140"/>
                </a:cubicBezTo>
                <a:cubicBezTo>
                  <a:pt x="50" y="136"/>
                  <a:pt x="50" y="136"/>
                  <a:pt x="50" y="136"/>
                </a:cubicBezTo>
                <a:cubicBezTo>
                  <a:pt x="51" y="135"/>
                  <a:pt x="51" y="133"/>
                  <a:pt x="50" y="132"/>
                </a:cubicBezTo>
                <a:cubicBezTo>
                  <a:pt x="49" y="131"/>
                  <a:pt x="47" y="131"/>
                  <a:pt x="46" y="132"/>
                </a:cubicBezTo>
                <a:close/>
                <a:moveTo>
                  <a:pt x="33" y="97"/>
                </a:moveTo>
                <a:cubicBezTo>
                  <a:pt x="28" y="97"/>
                  <a:pt x="28" y="97"/>
                  <a:pt x="28" y="97"/>
                </a:cubicBezTo>
                <a:cubicBezTo>
                  <a:pt x="26" y="97"/>
                  <a:pt x="25" y="98"/>
                  <a:pt x="25" y="100"/>
                </a:cubicBezTo>
                <a:cubicBezTo>
                  <a:pt x="25" y="101"/>
                  <a:pt x="26" y="102"/>
                  <a:pt x="28" y="102"/>
                </a:cubicBezTo>
                <a:cubicBezTo>
                  <a:pt x="33" y="102"/>
                  <a:pt x="33" y="102"/>
                  <a:pt x="33" y="102"/>
                </a:cubicBezTo>
                <a:cubicBezTo>
                  <a:pt x="35" y="102"/>
                  <a:pt x="36" y="101"/>
                  <a:pt x="36" y="100"/>
                </a:cubicBezTo>
                <a:cubicBezTo>
                  <a:pt x="36" y="98"/>
                  <a:pt x="35" y="97"/>
                  <a:pt x="33" y="97"/>
                </a:cubicBezTo>
                <a:close/>
                <a:moveTo>
                  <a:pt x="82" y="54"/>
                </a:moveTo>
                <a:cubicBezTo>
                  <a:pt x="84" y="54"/>
                  <a:pt x="85" y="52"/>
                  <a:pt x="85" y="51"/>
                </a:cubicBezTo>
                <a:cubicBezTo>
                  <a:pt x="85" y="46"/>
                  <a:pt x="85" y="46"/>
                  <a:pt x="85" y="46"/>
                </a:cubicBezTo>
                <a:cubicBezTo>
                  <a:pt x="85" y="44"/>
                  <a:pt x="84" y="43"/>
                  <a:pt x="82" y="43"/>
                </a:cubicBezTo>
                <a:cubicBezTo>
                  <a:pt x="80" y="43"/>
                  <a:pt x="79" y="44"/>
                  <a:pt x="79" y="46"/>
                </a:cubicBezTo>
                <a:cubicBezTo>
                  <a:pt x="79" y="51"/>
                  <a:pt x="79" y="51"/>
                  <a:pt x="79" y="51"/>
                </a:cubicBezTo>
                <a:cubicBezTo>
                  <a:pt x="79" y="52"/>
                  <a:pt x="80" y="54"/>
                  <a:pt x="82" y="54"/>
                </a:cubicBezTo>
                <a:close/>
                <a:moveTo>
                  <a:pt x="119" y="132"/>
                </a:moveTo>
                <a:cubicBezTo>
                  <a:pt x="117" y="131"/>
                  <a:pt x="116" y="131"/>
                  <a:pt x="114" y="132"/>
                </a:cubicBezTo>
                <a:cubicBezTo>
                  <a:pt x="113" y="133"/>
                  <a:pt x="113" y="135"/>
                  <a:pt x="114" y="136"/>
                </a:cubicBezTo>
                <a:cubicBezTo>
                  <a:pt x="118" y="140"/>
                  <a:pt x="118" y="140"/>
                  <a:pt x="118" y="140"/>
                </a:cubicBezTo>
                <a:cubicBezTo>
                  <a:pt x="119" y="140"/>
                  <a:pt x="119" y="141"/>
                  <a:pt x="120" y="141"/>
                </a:cubicBezTo>
                <a:cubicBezTo>
                  <a:pt x="121" y="141"/>
                  <a:pt x="122" y="140"/>
                  <a:pt x="122" y="140"/>
                </a:cubicBezTo>
                <a:cubicBezTo>
                  <a:pt x="123" y="139"/>
                  <a:pt x="123" y="137"/>
                  <a:pt x="122" y="136"/>
                </a:cubicBezTo>
                <a:lnTo>
                  <a:pt x="119" y="132"/>
                </a:lnTo>
                <a:close/>
                <a:moveTo>
                  <a:pt x="131" y="102"/>
                </a:moveTo>
                <a:cubicBezTo>
                  <a:pt x="136" y="102"/>
                  <a:pt x="136" y="102"/>
                  <a:pt x="136" y="102"/>
                </a:cubicBezTo>
                <a:cubicBezTo>
                  <a:pt x="138" y="102"/>
                  <a:pt x="139" y="101"/>
                  <a:pt x="139" y="100"/>
                </a:cubicBezTo>
                <a:cubicBezTo>
                  <a:pt x="139" y="98"/>
                  <a:pt x="138" y="97"/>
                  <a:pt x="136" y="97"/>
                </a:cubicBezTo>
                <a:cubicBezTo>
                  <a:pt x="131" y="97"/>
                  <a:pt x="131" y="97"/>
                  <a:pt x="131" y="97"/>
                </a:cubicBezTo>
                <a:cubicBezTo>
                  <a:pt x="129" y="97"/>
                  <a:pt x="128" y="98"/>
                  <a:pt x="128" y="100"/>
                </a:cubicBezTo>
                <a:cubicBezTo>
                  <a:pt x="128" y="101"/>
                  <a:pt x="129" y="102"/>
                  <a:pt x="131" y="102"/>
                </a:cubicBezTo>
                <a:close/>
                <a:moveTo>
                  <a:pt x="114" y="100"/>
                </a:moveTo>
                <a:cubicBezTo>
                  <a:pt x="114" y="98"/>
                  <a:pt x="113" y="97"/>
                  <a:pt x="111" y="97"/>
                </a:cubicBezTo>
                <a:cubicBezTo>
                  <a:pt x="87" y="97"/>
                  <a:pt x="87" y="97"/>
                  <a:pt x="87" y="97"/>
                </a:cubicBezTo>
                <a:cubicBezTo>
                  <a:pt x="86" y="96"/>
                  <a:pt x="85" y="95"/>
                  <a:pt x="84" y="95"/>
                </a:cubicBezTo>
                <a:cubicBezTo>
                  <a:pt x="84" y="61"/>
                  <a:pt x="84" y="61"/>
                  <a:pt x="84" y="61"/>
                </a:cubicBezTo>
                <a:cubicBezTo>
                  <a:pt x="84" y="60"/>
                  <a:pt x="83" y="59"/>
                  <a:pt x="82" y="59"/>
                </a:cubicBezTo>
                <a:cubicBezTo>
                  <a:pt x="81" y="59"/>
                  <a:pt x="80" y="60"/>
                  <a:pt x="80" y="61"/>
                </a:cubicBezTo>
                <a:cubicBezTo>
                  <a:pt x="80" y="95"/>
                  <a:pt x="80" y="95"/>
                  <a:pt x="80" y="95"/>
                </a:cubicBezTo>
                <a:cubicBezTo>
                  <a:pt x="78" y="95"/>
                  <a:pt x="77" y="97"/>
                  <a:pt x="77" y="100"/>
                </a:cubicBezTo>
                <a:cubicBezTo>
                  <a:pt x="77" y="103"/>
                  <a:pt x="79" y="105"/>
                  <a:pt x="82" y="105"/>
                </a:cubicBezTo>
                <a:cubicBezTo>
                  <a:pt x="84" y="105"/>
                  <a:pt x="86" y="104"/>
                  <a:pt x="87" y="102"/>
                </a:cubicBezTo>
                <a:cubicBezTo>
                  <a:pt x="111" y="102"/>
                  <a:pt x="111" y="102"/>
                  <a:pt x="111" y="102"/>
                </a:cubicBezTo>
                <a:cubicBezTo>
                  <a:pt x="113" y="102"/>
                  <a:pt x="114" y="101"/>
                  <a:pt x="114" y="100"/>
                </a:cubicBezTo>
                <a:close/>
                <a:moveTo>
                  <a:pt x="159" y="100"/>
                </a:moveTo>
                <a:cubicBezTo>
                  <a:pt x="159" y="119"/>
                  <a:pt x="152" y="138"/>
                  <a:pt x="139" y="151"/>
                </a:cubicBezTo>
                <a:cubicBezTo>
                  <a:pt x="148" y="170"/>
                  <a:pt x="148" y="170"/>
                  <a:pt x="148" y="170"/>
                </a:cubicBezTo>
                <a:cubicBezTo>
                  <a:pt x="149" y="172"/>
                  <a:pt x="149" y="175"/>
                  <a:pt x="148" y="178"/>
                </a:cubicBezTo>
                <a:cubicBezTo>
                  <a:pt x="147" y="181"/>
                  <a:pt x="145" y="183"/>
                  <a:pt x="142" y="184"/>
                </a:cubicBezTo>
                <a:cubicBezTo>
                  <a:pt x="141" y="184"/>
                  <a:pt x="139" y="185"/>
                  <a:pt x="138" y="185"/>
                </a:cubicBezTo>
                <a:cubicBezTo>
                  <a:pt x="134" y="185"/>
                  <a:pt x="130" y="182"/>
                  <a:pt x="128" y="179"/>
                </a:cubicBezTo>
                <a:cubicBezTo>
                  <a:pt x="122" y="165"/>
                  <a:pt x="122" y="165"/>
                  <a:pt x="122" y="165"/>
                </a:cubicBezTo>
                <a:cubicBezTo>
                  <a:pt x="111" y="172"/>
                  <a:pt x="97" y="177"/>
                  <a:pt x="82" y="177"/>
                </a:cubicBezTo>
                <a:cubicBezTo>
                  <a:pt x="67" y="177"/>
                  <a:pt x="53" y="172"/>
                  <a:pt x="42" y="165"/>
                </a:cubicBezTo>
                <a:cubicBezTo>
                  <a:pt x="36" y="179"/>
                  <a:pt x="36" y="179"/>
                  <a:pt x="36" y="179"/>
                </a:cubicBezTo>
                <a:cubicBezTo>
                  <a:pt x="34" y="182"/>
                  <a:pt x="30" y="185"/>
                  <a:pt x="26" y="185"/>
                </a:cubicBezTo>
                <a:cubicBezTo>
                  <a:pt x="25" y="185"/>
                  <a:pt x="23" y="184"/>
                  <a:pt x="22" y="184"/>
                </a:cubicBezTo>
                <a:cubicBezTo>
                  <a:pt x="19" y="183"/>
                  <a:pt x="17" y="181"/>
                  <a:pt x="16" y="178"/>
                </a:cubicBezTo>
                <a:cubicBezTo>
                  <a:pt x="15" y="175"/>
                  <a:pt x="15" y="172"/>
                  <a:pt x="16" y="170"/>
                </a:cubicBezTo>
                <a:cubicBezTo>
                  <a:pt x="25" y="151"/>
                  <a:pt x="25" y="151"/>
                  <a:pt x="25" y="151"/>
                </a:cubicBezTo>
                <a:cubicBezTo>
                  <a:pt x="12" y="138"/>
                  <a:pt x="5" y="119"/>
                  <a:pt x="5" y="100"/>
                </a:cubicBezTo>
                <a:cubicBezTo>
                  <a:pt x="5" y="57"/>
                  <a:pt x="39" y="22"/>
                  <a:pt x="82" y="22"/>
                </a:cubicBezTo>
                <a:cubicBezTo>
                  <a:pt x="125" y="22"/>
                  <a:pt x="159" y="57"/>
                  <a:pt x="159" y="100"/>
                </a:cubicBezTo>
                <a:close/>
                <a:moveTo>
                  <a:pt x="82" y="165"/>
                </a:moveTo>
                <a:cubicBezTo>
                  <a:pt x="118" y="165"/>
                  <a:pt x="148" y="136"/>
                  <a:pt x="148" y="100"/>
                </a:cubicBezTo>
                <a:cubicBezTo>
                  <a:pt x="148" y="63"/>
                  <a:pt x="118" y="34"/>
                  <a:pt x="82" y="34"/>
                </a:cubicBezTo>
                <a:cubicBezTo>
                  <a:pt x="46" y="34"/>
                  <a:pt x="16" y="63"/>
                  <a:pt x="16" y="100"/>
                </a:cubicBezTo>
                <a:cubicBezTo>
                  <a:pt x="16" y="136"/>
                  <a:pt x="46" y="165"/>
                  <a:pt x="82" y="165"/>
                </a:cubicBezTo>
                <a:close/>
                <a:moveTo>
                  <a:pt x="118" y="59"/>
                </a:moveTo>
                <a:cubicBezTo>
                  <a:pt x="114" y="63"/>
                  <a:pt x="114" y="63"/>
                  <a:pt x="114" y="63"/>
                </a:cubicBezTo>
                <a:cubicBezTo>
                  <a:pt x="113" y="64"/>
                  <a:pt x="113" y="66"/>
                  <a:pt x="114" y="67"/>
                </a:cubicBezTo>
                <a:cubicBezTo>
                  <a:pt x="115" y="68"/>
                  <a:pt x="116" y="68"/>
                  <a:pt x="116" y="68"/>
                </a:cubicBezTo>
                <a:cubicBezTo>
                  <a:pt x="117" y="68"/>
                  <a:pt x="118" y="68"/>
                  <a:pt x="119" y="67"/>
                </a:cubicBezTo>
                <a:cubicBezTo>
                  <a:pt x="122" y="63"/>
                  <a:pt x="122" y="63"/>
                  <a:pt x="122" y="63"/>
                </a:cubicBezTo>
                <a:cubicBezTo>
                  <a:pt x="123" y="62"/>
                  <a:pt x="123" y="60"/>
                  <a:pt x="122" y="59"/>
                </a:cubicBezTo>
                <a:cubicBezTo>
                  <a:pt x="121" y="58"/>
                  <a:pt x="119" y="58"/>
                  <a:pt x="118" y="59"/>
                </a:cubicBezTo>
                <a:close/>
                <a:moveTo>
                  <a:pt x="156" y="47"/>
                </a:moveTo>
                <a:cubicBezTo>
                  <a:pt x="164" y="37"/>
                  <a:pt x="163" y="24"/>
                  <a:pt x="155" y="17"/>
                </a:cubicBezTo>
                <a:cubicBezTo>
                  <a:pt x="141" y="7"/>
                  <a:pt x="141" y="7"/>
                  <a:pt x="141" y="7"/>
                </a:cubicBezTo>
                <a:cubicBezTo>
                  <a:pt x="132" y="0"/>
                  <a:pt x="119" y="4"/>
                  <a:pt x="112" y="14"/>
                </a:cubicBezTo>
                <a:cubicBezTo>
                  <a:pt x="110" y="17"/>
                  <a:pt x="110" y="17"/>
                  <a:pt x="110" y="17"/>
                </a:cubicBezTo>
                <a:cubicBezTo>
                  <a:pt x="154" y="50"/>
                  <a:pt x="154" y="50"/>
                  <a:pt x="154" y="50"/>
                </a:cubicBezTo>
                <a:lnTo>
                  <a:pt x="156" y="47"/>
                </a:lnTo>
                <a:close/>
                <a:moveTo>
                  <a:pt x="10" y="50"/>
                </a:moveTo>
                <a:cubicBezTo>
                  <a:pt x="54" y="17"/>
                  <a:pt x="54" y="17"/>
                  <a:pt x="54" y="17"/>
                </a:cubicBezTo>
                <a:cubicBezTo>
                  <a:pt x="52" y="14"/>
                  <a:pt x="52" y="14"/>
                  <a:pt x="52" y="14"/>
                </a:cubicBezTo>
                <a:cubicBezTo>
                  <a:pt x="45" y="4"/>
                  <a:pt x="32" y="0"/>
                  <a:pt x="23" y="7"/>
                </a:cubicBezTo>
                <a:cubicBezTo>
                  <a:pt x="9" y="17"/>
                  <a:pt x="9" y="17"/>
                  <a:pt x="9" y="17"/>
                </a:cubicBezTo>
                <a:cubicBezTo>
                  <a:pt x="1" y="24"/>
                  <a:pt x="0" y="37"/>
                  <a:pt x="8" y="47"/>
                </a:cubicBezTo>
                <a:lnTo>
                  <a:pt x="10" y="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365760" tIns="182880" rIns="365760" bIns="18288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144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4" name="Freeform 58"/>
          <p:cNvSpPr>
            <a:spLocks noEditPoints="1"/>
          </p:cNvSpPr>
          <p:nvPr/>
        </p:nvSpPr>
        <p:spPr bwMode="auto">
          <a:xfrm>
            <a:off x="15030881" y="3500332"/>
            <a:ext cx="660082" cy="564588"/>
          </a:xfrm>
          <a:custGeom>
            <a:avLst/>
            <a:gdLst>
              <a:gd name="T0" fmla="*/ 394 w 394"/>
              <a:gd name="T1" fmla="*/ 0 h 337"/>
              <a:gd name="T2" fmla="*/ 298 w 394"/>
              <a:gd name="T3" fmla="*/ 337 h 337"/>
              <a:gd name="T4" fmla="*/ 132 w 394"/>
              <a:gd name="T5" fmla="*/ 218 h 337"/>
              <a:gd name="T6" fmla="*/ 394 w 394"/>
              <a:gd name="T7" fmla="*/ 0 h 337"/>
              <a:gd name="T8" fmla="*/ 113 w 394"/>
              <a:gd name="T9" fmla="*/ 204 h 337"/>
              <a:gd name="T10" fmla="*/ 394 w 394"/>
              <a:gd name="T11" fmla="*/ 0 h 337"/>
              <a:gd name="T12" fmla="*/ 0 w 394"/>
              <a:gd name="T13" fmla="*/ 123 h 337"/>
              <a:gd name="T14" fmla="*/ 113 w 394"/>
              <a:gd name="T15" fmla="*/ 204 h 337"/>
              <a:gd name="T16" fmla="*/ 132 w 394"/>
              <a:gd name="T17" fmla="*/ 322 h 337"/>
              <a:gd name="T18" fmla="*/ 177 w 394"/>
              <a:gd name="T19" fmla="*/ 268 h 337"/>
              <a:gd name="T20" fmla="*/ 132 w 394"/>
              <a:gd name="T21" fmla="*/ 237 h 337"/>
              <a:gd name="T22" fmla="*/ 132 w 394"/>
              <a:gd name="T23" fmla="*/ 322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4" h="337">
                <a:moveTo>
                  <a:pt x="394" y="0"/>
                </a:moveTo>
                <a:lnTo>
                  <a:pt x="298" y="337"/>
                </a:lnTo>
                <a:lnTo>
                  <a:pt x="132" y="218"/>
                </a:lnTo>
                <a:lnTo>
                  <a:pt x="394" y="0"/>
                </a:lnTo>
                <a:close/>
                <a:moveTo>
                  <a:pt x="113" y="204"/>
                </a:moveTo>
                <a:lnTo>
                  <a:pt x="394" y="0"/>
                </a:lnTo>
                <a:lnTo>
                  <a:pt x="0" y="123"/>
                </a:lnTo>
                <a:lnTo>
                  <a:pt x="113" y="204"/>
                </a:lnTo>
                <a:close/>
                <a:moveTo>
                  <a:pt x="132" y="322"/>
                </a:moveTo>
                <a:lnTo>
                  <a:pt x="177" y="268"/>
                </a:lnTo>
                <a:lnTo>
                  <a:pt x="132" y="237"/>
                </a:lnTo>
                <a:lnTo>
                  <a:pt x="132" y="32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365760" tIns="182880" rIns="365760" bIns="18288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14400" kern="1200">
              <a:solidFill>
                <a:srgbClr val="3F3F3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9703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/>
          </p:cNvSpPr>
          <p:nvPr/>
        </p:nvSpPr>
        <p:spPr bwMode="auto">
          <a:xfrm>
            <a:off x="8385176" y="4997450"/>
            <a:ext cx="7607300" cy="8737600"/>
          </a:xfrm>
          <a:custGeom>
            <a:avLst/>
            <a:gdLst>
              <a:gd name="T0" fmla="*/ 22 w 1487"/>
              <a:gd name="T1" fmla="*/ 888 h 1707"/>
              <a:gd name="T2" fmla="*/ 60 w 1487"/>
              <a:gd name="T3" fmla="*/ 794 h 1707"/>
              <a:gd name="T4" fmla="*/ 88 w 1487"/>
              <a:gd name="T5" fmla="*/ 701 h 1707"/>
              <a:gd name="T6" fmla="*/ 73 w 1487"/>
              <a:gd name="T7" fmla="*/ 659 h 1707"/>
              <a:gd name="T8" fmla="*/ 84 w 1487"/>
              <a:gd name="T9" fmla="*/ 591 h 1707"/>
              <a:gd name="T10" fmla="*/ 109 w 1487"/>
              <a:gd name="T11" fmla="*/ 509 h 1707"/>
              <a:gd name="T12" fmla="*/ 140 w 1487"/>
              <a:gd name="T13" fmla="*/ 428 h 1707"/>
              <a:gd name="T14" fmla="*/ 178 w 1487"/>
              <a:gd name="T15" fmla="*/ 352 h 1707"/>
              <a:gd name="T16" fmla="*/ 168 w 1487"/>
              <a:gd name="T17" fmla="*/ 283 h 1707"/>
              <a:gd name="T18" fmla="*/ 213 w 1487"/>
              <a:gd name="T19" fmla="*/ 222 h 1707"/>
              <a:gd name="T20" fmla="*/ 260 w 1487"/>
              <a:gd name="T21" fmla="*/ 174 h 1707"/>
              <a:gd name="T22" fmla="*/ 259 w 1487"/>
              <a:gd name="T23" fmla="*/ 134 h 1707"/>
              <a:gd name="T24" fmla="*/ 314 w 1487"/>
              <a:gd name="T25" fmla="*/ 99 h 1707"/>
              <a:gd name="T26" fmla="*/ 374 w 1487"/>
              <a:gd name="T27" fmla="*/ 71 h 1707"/>
              <a:gd name="T28" fmla="*/ 438 w 1487"/>
              <a:gd name="T29" fmla="*/ 46 h 1707"/>
              <a:gd name="T30" fmla="*/ 515 w 1487"/>
              <a:gd name="T31" fmla="*/ 24 h 1707"/>
              <a:gd name="T32" fmla="*/ 593 w 1487"/>
              <a:gd name="T33" fmla="*/ 9 h 1707"/>
              <a:gd name="T34" fmla="*/ 673 w 1487"/>
              <a:gd name="T35" fmla="*/ 1 h 1707"/>
              <a:gd name="T36" fmla="*/ 753 w 1487"/>
              <a:gd name="T37" fmla="*/ 1 h 1707"/>
              <a:gd name="T38" fmla="*/ 833 w 1487"/>
              <a:gd name="T39" fmla="*/ 5 h 1707"/>
              <a:gd name="T40" fmla="*/ 914 w 1487"/>
              <a:gd name="T41" fmla="*/ 18 h 1707"/>
              <a:gd name="T42" fmla="*/ 996 w 1487"/>
              <a:gd name="T43" fmla="*/ 37 h 1707"/>
              <a:gd name="T44" fmla="*/ 1077 w 1487"/>
              <a:gd name="T45" fmla="*/ 62 h 1707"/>
              <a:gd name="T46" fmla="*/ 1154 w 1487"/>
              <a:gd name="T47" fmla="*/ 96 h 1707"/>
              <a:gd name="T48" fmla="*/ 1226 w 1487"/>
              <a:gd name="T49" fmla="*/ 137 h 1707"/>
              <a:gd name="T50" fmla="*/ 1289 w 1487"/>
              <a:gd name="T51" fmla="*/ 187 h 1707"/>
              <a:gd name="T52" fmla="*/ 1343 w 1487"/>
              <a:gd name="T53" fmla="*/ 243 h 1707"/>
              <a:gd name="T54" fmla="*/ 1390 w 1487"/>
              <a:gd name="T55" fmla="*/ 307 h 1707"/>
              <a:gd name="T56" fmla="*/ 1429 w 1487"/>
              <a:gd name="T57" fmla="*/ 376 h 1707"/>
              <a:gd name="T58" fmla="*/ 1458 w 1487"/>
              <a:gd name="T59" fmla="*/ 448 h 1707"/>
              <a:gd name="T60" fmla="*/ 1477 w 1487"/>
              <a:gd name="T61" fmla="*/ 522 h 1707"/>
              <a:gd name="T62" fmla="*/ 1486 w 1487"/>
              <a:gd name="T63" fmla="*/ 678 h 1707"/>
              <a:gd name="T64" fmla="*/ 1459 w 1487"/>
              <a:gd name="T65" fmla="*/ 829 h 1707"/>
              <a:gd name="T66" fmla="*/ 1104 w 1487"/>
              <a:gd name="T67" fmla="*/ 1528 h 1707"/>
              <a:gd name="T68" fmla="*/ 359 w 1487"/>
              <a:gd name="T69" fmla="*/ 1707 h 1707"/>
              <a:gd name="T70" fmla="*/ 355 w 1487"/>
              <a:gd name="T71" fmla="*/ 1606 h 1707"/>
              <a:gd name="T72" fmla="*/ 344 w 1487"/>
              <a:gd name="T73" fmla="*/ 1449 h 1707"/>
              <a:gd name="T74" fmla="*/ 328 w 1487"/>
              <a:gd name="T75" fmla="*/ 1425 h 1707"/>
              <a:gd name="T76" fmla="*/ 297 w 1487"/>
              <a:gd name="T77" fmla="*/ 1413 h 1707"/>
              <a:gd name="T78" fmla="*/ 255 w 1487"/>
              <a:gd name="T79" fmla="*/ 1409 h 1707"/>
              <a:gd name="T80" fmla="*/ 223 w 1487"/>
              <a:gd name="T81" fmla="*/ 1411 h 1707"/>
              <a:gd name="T82" fmla="*/ 180 w 1487"/>
              <a:gd name="T83" fmla="*/ 1416 h 1707"/>
              <a:gd name="T84" fmla="*/ 186 w 1487"/>
              <a:gd name="T85" fmla="*/ 1420 h 1707"/>
              <a:gd name="T86" fmla="*/ 142 w 1487"/>
              <a:gd name="T87" fmla="*/ 1421 h 1707"/>
              <a:gd name="T88" fmla="*/ 109 w 1487"/>
              <a:gd name="T89" fmla="*/ 1409 h 1707"/>
              <a:gd name="T90" fmla="*/ 83 w 1487"/>
              <a:gd name="T91" fmla="*/ 1386 h 1707"/>
              <a:gd name="T92" fmla="*/ 75 w 1487"/>
              <a:gd name="T93" fmla="*/ 1338 h 1707"/>
              <a:gd name="T94" fmla="*/ 76 w 1487"/>
              <a:gd name="T95" fmla="*/ 1290 h 1707"/>
              <a:gd name="T96" fmla="*/ 62 w 1487"/>
              <a:gd name="T97" fmla="*/ 1268 h 1707"/>
              <a:gd name="T98" fmla="*/ 50 w 1487"/>
              <a:gd name="T99" fmla="*/ 1246 h 1707"/>
              <a:gd name="T100" fmla="*/ 51 w 1487"/>
              <a:gd name="T101" fmla="*/ 1220 h 1707"/>
              <a:gd name="T102" fmla="*/ 64 w 1487"/>
              <a:gd name="T103" fmla="*/ 1195 h 1707"/>
              <a:gd name="T104" fmla="*/ 88 w 1487"/>
              <a:gd name="T105" fmla="*/ 1176 h 1707"/>
              <a:gd name="T106" fmla="*/ 59 w 1487"/>
              <a:gd name="T107" fmla="*/ 1158 h 1707"/>
              <a:gd name="T108" fmla="*/ 43 w 1487"/>
              <a:gd name="T109" fmla="*/ 1136 h 1707"/>
              <a:gd name="T110" fmla="*/ 52 w 1487"/>
              <a:gd name="T111" fmla="*/ 1090 h 1707"/>
              <a:gd name="T112" fmla="*/ 62 w 1487"/>
              <a:gd name="T113" fmla="*/ 1012 h 1707"/>
              <a:gd name="T114" fmla="*/ 23 w 1487"/>
              <a:gd name="T115" fmla="*/ 995 h 1707"/>
              <a:gd name="T116" fmla="*/ 3 w 1487"/>
              <a:gd name="T117" fmla="*/ 973 h 17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87" h="1707">
                <a:moveTo>
                  <a:pt x="1" y="956"/>
                </a:moveTo>
                <a:cubicBezTo>
                  <a:pt x="11" y="921"/>
                  <a:pt x="11" y="921"/>
                  <a:pt x="11" y="921"/>
                </a:cubicBezTo>
                <a:cubicBezTo>
                  <a:pt x="22" y="888"/>
                  <a:pt x="22" y="888"/>
                  <a:pt x="22" y="888"/>
                </a:cubicBezTo>
                <a:cubicBezTo>
                  <a:pt x="35" y="856"/>
                  <a:pt x="35" y="856"/>
                  <a:pt x="35" y="856"/>
                </a:cubicBezTo>
                <a:cubicBezTo>
                  <a:pt x="47" y="825"/>
                  <a:pt x="47" y="825"/>
                  <a:pt x="47" y="825"/>
                </a:cubicBezTo>
                <a:cubicBezTo>
                  <a:pt x="60" y="794"/>
                  <a:pt x="60" y="794"/>
                  <a:pt x="60" y="794"/>
                </a:cubicBezTo>
                <a:cubicBezTo>
                  <a:pt x="71" y="764"/>
                  <a:pt x="71" y="764"/>
                  <a:pt x="71" y="764"/>
                </a:cubicBezTo>
                <a:cubicBezTo>
                  <a:pt x="80" y="733"/>
                  <a:pt x="80" y="733"/>
                  <a:pt x="80" y="733"/>
                </a:cubicBezTo>
                <a:cubicBezTo>
                  <a:pt x="88" y="701"/>
                  <a:pt x="88" y="701"/>
                  <a:pt x="88" y="701"/>
                </a:cubicBezTo>
                <a:cubicBezTo>
                  <a:pt x="86" y="687"/>
                  <a:pt x="86" y="687"/>
                  <a:pt x="86" y="687"/>
                </a:cubicBezTo>
                <a:cubicBezTo>
                  <a:pt x="80" y="673"/>
                  <a:pt x="80" y="673"/>
                  <a:pt x="80" y="673"/>
                </a:cubicBezTo>
                <a:cubicBezTo>
                  <a:pt x="73" y="659"/>
                  <a:pt x="73" y="659"/>
                  <a:pt x="73" y="659"/>
                </a:cubicBezTo>
                <a:cubicBezTo>
                  <a:pt x="71" y="645"/>
                  <a:pt x="71" y="645"/>
                  <a:pt x="71" y="645"/>
                </a:cubicBezTo>
                <a:cubicBezTo>
                  <a:pt x="77" y="618"/>
                  <a:pt x="77" y="618"/>
                  <a:pt x="77" y="618"/>
                </a:cubicBezTo>
                <a:cubicBezTo>
                  <a:pt x="84" y="591"/>
                  <a:pt x="84" y="591"/>
                  <a:pt x="84" y="591"/>
                </a:cubicBezTo>
                <a:cubicBezTo>
                  <a:pt x="91" y="563"/>
                  <a:pt x="91" y="563"/>
                  <a:pt x="91" y="563"/>
                </a:cubicBezTo>
                <a:cubicBezTo>
                  <a:pt x="100" y="536"/>
                  <a:pt x="100" y="536"/>
                  <a:pt x="100" y="536"/>
                </a:cubicBezTo>
                <a:cubicBezTo>
                  <a:pt x="109" y="509"/>
                  <a:pt x="109" y="509"/>
                  <a:pt x="109" y="509"/>
                </a:cubicBezTo>
                <a:cubicBezTo>
                  <a:pt x="119" y="482"/>
                  <a:pt x="119" y="482"/>
                  <a:pt x="119" y="482"/>
                </a:cubicBezTo>
                <a:cubicBezTo>
                  <a:pt x="129" y="455"/>
                  <a:pt x="129" y="455"/>
                  <a:pt x="129" y="455"/>
                </a:cubicBezTo>
                <a:cubicBezTo>
                  <a:pt x="140" y="428"/>
                  <a:pt x="140" y="428"/>
                  <a:pt x="140" y="428"/>
                </a:cubicBezTo>
                <a:cubicBezTo>
                  <a:pt x="152" y="403"/>
                  <a:pt x="152" y="403"/>
                  <a:pt x="152" y="403"/>
                </a:cubicBezTo>
                <a:cubicBezTo>
                  <a:pt x="165" y="377"/>
                  <a:pt x="165" y="377"/>
                  <a:pt x="165" y="377"/>
                </a:cubicBezTo>
                <a:cubicBezTo>
                  <a:pt x="178" y="352"/>
                  <a:pt x="178" y="352"/>
                  <a:pt x="178" y="352"/>
                </a:cubicBezTo>
                <a:cubicBezTo>
                  <a:pt x="138" y="328"/>
                  <a:pt x="138" y="328"/>
                  <a:pt x="138" y="328"/>
                </a:cubicBezTo>
                <a:cubicBezTo>
                  <a:pt x="152" y="305"/>
                  <a:pt x="152" y="305"/>
                  <a:pt x="152" y="305"/>
                </a:cubicBezTo>
                <a:cubicBezTo>
                  <a:pt x="168" y="283"/>
                  <a:pt x="168" y="283"/>
                  <a:pt x="168" y="283"/>
                </a:cubicBezTo>
                <a:cubicBezTo>
                  <a:pt x="183" y="261"/>
                  <a:pt x="183" y="261"/>
                  <a:pt x="183" y="261"/>
                </a:cubicBezTo>
                <a:cubicBezTo>
                  <a:pt x="198" y="240"/>
                  <a:pt x="198" y="240"/>
                  <a:pt x="198" y="240"/>
                </a:cubicBezTo>
                <a:cubicBezTo>
                  <a:pt x="213" y="222"/>
                  <a:pt x="213" y="222"/>
                  <a:pt x="213" y="222"/>
                </a:cubicBezTo>
                <a:cubicBezTo>
                  <a:pt x="228" y="205"/>
                  <a:pt x="228" y="205"/>
                  <a:pt x="228" y="205"/>
                </a:cubicBezTo>
                <a:cubicBezTo>
                  <a:pt x="244" y="190"/>
                  <a:pt x="244" y="190"/>
                  <a:pt x="244" y="190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76" y="160"/>
                  <a:pt x="276" y="160"/>
                  <a:pt x="276" y="160"/>
                </a:cubicBezTo>
                <a:cubicBezTo>
                  <a:pt x="240" y="147"/>
                  <a:pt x="240" y="147"/>
                  <a:pt x="240" y="147"/>
                </a:cubicBezTo>
                <a:cubicBezTo>
                  <a:pt x="259" y="134"/>
                  <a:pt x="259" y="134"/>
                  <a:pt x="259" y="134"/>
                </a:cubicBezTo>
                <a:cubicBezTo>
                  <a:pt x="276" y="121"/>
                  <a:pt x="276" y="121"/>
                  <a:pt x="276" y="121"/>
                </a:cubicBezTo>
                <a:cubicBezTo>
                  <a:pt x="295" y="110"/>
                  <a:pt x="295" y="110"/>
                  <a:pt x="295" y="110"/>
                </a:cubicBezTo>
                <a:cubicBezTo>
                  <a:pt x="314" y="99"/>
                  <a:pt x="314" y="99"/>
                  <a:pt x="314" y="99"/>
                </a:cubicBezTo>
                <a:cubicBezTo>
                  <a:pt x="334" y="89"/>
                  <a:pt x="334" y="89"/>
                  <a:pt x="334" y="89"/>
                </a:cubicBezTo>
                <a:cubicBezTo>
                  <a:pt x="353" y="80"/>
                  <a:pt x="353" y="80"/>
                  <a:pt x="353" y="80"/>
                </a:cubicBezTo>
                <a:cubicBezTo>
                  <a:pt x="374" y="71"/>
                  <a:pt x="374" y="71"/>
                  <a:pt x="374" y="71"/>
                </a:cubicBezTo>
                <a:cubicBezTo>
                  <a:pt x="395" y="62"/>
                  <a:pt x="395" y="62"/>
                  <a:pt x="395" y="62"/>
                </a:cubicBezTo>
                <a:cubicBezTo>
                  <a:pt x="416" y="54"/>
                  <a:pt x="416" y="54"/>
                  <a:pt x="416" y="54"/>
                </a:cubicBezTo>
                <a:cubicBezTo>
                  <a:pt x="438" y="46"/>
                  <a:pt x="438" y="46"/>
                  <a:pt x="438" y="46"/>
                </a:cubicBezTo>
                <a:cubicBezTo>
                  <a:pt x="464" y="38"/>
                  <a:pt x="464" y="38"/>
                  <a:pt x="464" y="38"/>
                </a:cubicBezTo>
                <a:cubicBezTo>
                  <a:pt x="489" y="31"/>
                  <a:pt x="489" y="31"/>
                  <a:pt x="489" y="31"/>
                </a:cubicBezTo>
                <a:cubicBezTo>
                  <a:pt x="515" y="24"/>
                  <a:pt x="515" y="24"/>
                  <a:pt x="515" y="24"/>
                </a:cubicBezTo>
                <a:cubicBezTo>
                  <a:pt x="540" y="18"/>
                  <a:pt x="540" y="18"/>
                  <a:pt x="540" y="18"/>
                </a:cubicBezTo>
                <a:cubicBezTo>
                  <a:pt x="567" y="13"/>
                  <a:pt x="567" y="13"/>
                  <a:pt x="567" y="13"/>
                </a:cubicBezTo>
                <a:cubicBezTo>
                  <a:pt x="593" y="9"/>
                  <a:pt x="593" y="9"/>
                  <a:pt x="593" y="9"/>
                </a:cubicBezTo>
                <a:cubicBezTo>
                  <a:pt x="620" y="5"/>
                  <a:pt x="620" y="5"/>
                  <a:pt x="620" y="5"/>
                </a:cubicBezTo>
                <a:cubicBezTo>
                  <a:pt x="646" y="3"/>
                  <a:pt x="646" y="3"/>
                  <a:pt x="646" y="3"/>
                </a:cubicBezTo>
                <a:cubicBezTo>
                  <a:pt x="673" y="1"/>
                  <a:pt x="673" y="1"/>
                  <a:pt x="673" y="1"/>
                </a:cubicBezTo>
                <a:cubicBezTo>
                  <a:pt x="699" y="1"/>
                  <a:pt x="699" y="1"/>
                  <a:pt x="699" y="1"/>
                </a:cubicBezTo>
                <a:cubicBezTo>
                  <a:pt x="726" y="0"/>
                  <a:pt x="726" y="0"/>
                  <a:pt x="726" y="0"/>
                </a:cubicBezTo>
                <a:cubicBezTo>
                  <a:pt x="753" y="1"/>
                  <a:pt x="753" y="1"/>
                  <a:pt x="753" y="1"/>
                </a:cubicBezTo>
                <a:cubicBezTo>
                  <a:pt x="780" y="1"/>
                  <a:pt x="780" y="1"/>
                  <a:pt x="780" y="1"/>
                </a:cubicBezTo>
                <a:cubicBezTo>
                  <a:pt x="806" y="3"/>
                  <a:pt x="806" y="3"/>
                  <a:pt x="806" y="3"/>
                </a:cubicBezTo>
                <a:cubicBezTo>
                  <a:pt x="833" y="5"/>
                  <a:pt x="833" y="5"/>
                  <a:pt x="833" y="5"/>
                </a:cubicBezTo>
                <a:cubicBezTo>
                  <a:pt x="859" y="9"/>
                  <a:pt x="859" y="9"/>
                  <a:pt x="859" y="9"/>
                </a:cubicBezTo>
                <a:cubicBezTo>
                  <a:pt x="886" y="13"/>
                  <a:pt x="886" y="13"/>
                  <a:pt x="886" y="13"/>
                </a:cubicBezTo>
                <a:cubicBezTo>
                  <a:pt x="914" y="18"/>
                  <a:pt x="914" y="18"/>
                  <a:pt x="914" y="18"/>
                </a:cubicBezTo>
                <a:cubicBezTo>
                  <a:pt x="941" y="23"/>
                  <a:pt x="941" y="23"/>
                  <a:pt x="941" y="23"/>
                </a:cubicBezTo>
                <a:cubicBezTo>
                  <a:pt x="968" y="29"/>
                  <a:pt x="968" y="29"/>
                  <a:pt x="968" y="29"/>
                </a:cubicBezTo>
                <a:cubicBezTo>
                  <a:pt x="996" y="37"/>
                  <a:pt x="996" y="37"/>
                  <a:pt x="996" y="37"/>
                </a:cubicBezTo>
                <a:cubicBezTo>
                  <a:pt x="1023" y="44"/>
                  <a:pt x="1023" y="44"/>
                  <a:pt x="1023" y="44"/>
                </a:cubicBezTo>
                <a:cubicBezTo>
                  <a:pt x="1050" y="53"/>
                  <a:pt x="1050" y="53"/>
                  <a:pt x="1050" y="53"/>
                </a:cubicBezTo>
                <a:cubicBezTo>
                  <a:pt x="1077" y="62"/>
                  <a:pt x="1077" y="62"/>
                  <a:pt x="1077" y="62"/>
                </a:cubicBezTo>
                <a:cubicBezTo>
                  <a:pt x="1103" y="72"/>
                  <a:pt x="1103" y="72"/>
                  <a:pt x="1103" y="72"/>
                </a:cubicBezTo>
                <a:cubicBezTo>
                  <a:pt x="1128" y="84"/>
                  <a:pt x="1128" y="84"/>
                  <a:pt x="1128" y="84"/>
                </a:cubicBezTo>
                <a:cubicBezTo>
                  <a:pt x="1154" y="96"/>
                  <a:pt x="1154" y="96"/>
                  <a:pt x="1154" y="96"/>
                </a:cubicBezTo>
                <a:cubicBezTo>
                  <a:pt x="1179" y="108"/>
                  <a:pt x="1179" y="108"/>
                  <a:pt x="1179" y="108"/>
                </a:cubicBezTo>
                <a:cubicBezTo>
                  <a:pt x="1203" y="123"/>
                  <a:pt x="1203" y="123"/>
                  <a:pt x="1203" y="123"/>
                </a:cubicBezTo>
                <a:cubicBezTo>
                  <a:pt x="1226" y="137"/>
                  <a:pt x="1226" y="137"/>
                  <a:pt x="1226" y="137"/>
                </a:cubicBezTo>
                <a:cubicBezTo>
                  <a:pt x="1248" y="153"/>
                  <a:pt x="1248" y="153"/>
                  <a:pt x="1248" y="153"/>
                </a:cubicBezTo>
                <a:cubicBezTo>
                  <a:pt x="1269" y="170"/>
                  <a:pt x="1269" y="170"/>
                  <a:pt x="1269" y="170"/>
                </a:cubicBezTo>
                <a:cubicBezTo>
                  <a:pt x="1289" y="187"/>
                  <a:pt x="1289" y="187"/>
                  <a:pt x="1289" y="187"/>
                </a:cubicBezTo>
                <a:cubicBezTo>
                  <a:pt x="1308" y="205"/>
                  <a:pt x="1308" y="205"/>
                  <a:pt x="1308" y="205"/>
                </a:cubicBezTo>
                <a:cubicBezTo>
                  <a:pt x="1325" y="224"/>
                  <a:pt x="1325" y="224"/>
                  <a:pt x="1325" y="224"/>
                </a:cubicBezTo>
                <a:cubicBezTo>
                  <a:pt x="1343" y="243"/>
                  <a:pt x="1343" y="243"/>
                  <a:pt x="1343" y="243"/>
                </a:cubicBezTo>
                <a:cubicBezTo>
                  <a:pt x="1359" y="264"/>
                  <a:pt x="1359" y="264"/>
                  <a:pt x="1359" y="264"/>
                </a:cubicBezTo>
                <a:cubicBezTo>
                  <a:pt x="1375" y="285"/>
                  <a:pt x="1375" y="285"/>
                  <a:pt x="1375" y="285"/>
                </a:cubicBezTo>
                <a:cubicBezTo>
                  <a:pt x="1390" y="307"/>
                  <a:pt x="1390" y="307"/>
                  <a:pt x="1390" y="307"/>
                </a:cubicBezTo>
                <a:cubicBezTo>
                  <a:pt x="1404" y="329"/>
                  <a:pt x="1404" y="329"/>
                  <a:pt x="1404" y="329"/>
                </a:cubicBezTo>
                <a:cubicBezTo>
                  <a:pt x="1417" y="352"/>
                  <a:pt x="1417" y="352"/>
                  <a:pt x="1417" y="352"/>
                </a:cubicBezTo>
                <a:cubicBezTo>
                  <a:pt x="1429" y="376"/>
                  <a:pt x="1429" y="376"/>
                  <a:pt x="1429" y="376"/>
                </a:cubicBezTo>
                <a:cubicBezTo>
                  <a:pt x="1439" y="400"/>
                  <a:pt x="1439" y="400"/>
                  <a:pt x="1439" y="400"/>
                </a:cubicBezTo>
                <a:cubicBezTo>
                  <a:pt x="1449" y="423"/>
                  <a:pt x="1449" y="423"/>
                  <a:pt x="1449" y="423"/>
                </a:cubicBezTo>
                <a:cubicBezTo>
                  <a:pt x="1458" y="448"/>
                  <a:pt x="1458" y="448"/>
                  <a:pt x="1458" y="448"/>
                </a:cubicBezTo>
                <a:cubicBezTo>
                  <a:pt x="1465" y="472"/>
                  <a:pt x="1465" y="472"/>
                  <a:pt x="1465" y="472"/>
                </a:cubicBezTo>
                <a:cubicBezTo>
                  <a:pt x="1472" y="498"/>
                  <a:pt x="1472" y="498"/>
                  <a:pt x="1472" y="498"/>
                </a:cubicBezTo>
                <a:cubicBezTo>
                  <a:pt x="1477" y="522"/>
                  <a:pt x="1477" y="522"/>
                  <a:pt x="1477" y="522"/>
                </a:cubicBezTo>
                <a:cubicBezTo>
                  <a:pt x="1484" y="575"/>
                  <a:pt x="1484" y="575"/>
                  <a:pt x="1484" y="575"/>
                </a:cubicBezTo>
                <a:cubicBezTo>
                  <a:pt x="1487" y="626"/>
                  <a:pt x="1487" y="626"/>
                  <a:pt x="1487" y="626"/>
                </a:cubicBezTo>
                <a:cubicBezTo>
                  <a:pt x="1486" y="678"/>
                  <a:pt x="1486" y="678"/>
                  <a:pt x="1486" y="678"/>
                </a:cubicBezTo>
                <a:cubicBezTo>
                  <a:pt x="1481" y="728"/>
                  <a:pt x="1481" y="728"/>
                  <a:pt x="1481" y="728"/>
                </a:cubicBezTo>
                <a:cubicBezTo>
                  <a:pt x="1473" y="779"/>
                  <a:pt x="1473" y="779"/>
                  <a:pt x="1473" y="779"/>
                </a:cubicBezTo>
                <a:cubicBezTo>
                  <a:pt x="1459" y="829"/>
                  <a:pt x="1459" y="829"/>
                  <a:pt x="1459" y="829"/>
                </a:cubicBezTo>
                <a:cubicBezTo>
                  <a:pt x="1442" y="877"/>
                  <a:pt x="1442" y="877"/>
                  <a:pt x="1442" y="877"/>
                </a:cubicBezTo>
                <a:cubicBezTo>
                  <a:pt x="1313" y="1084"/>
                  <a:pt x="1313" y="1084"/>
                  <a:pt x="1313" y="1084"/>
                </a:cubicBezTo>
                <a:cubicBezTo>
                  <a:pt x="1095" y="1306"/>
                  <a:pt x="1104" y="1528"/>
                  <a:pt x="1104" y="1528"/>
                </a:cubicBezTo>
                <a:cubicBezTo>
                  <a:pt x="1104" y="1572"/>
                  <a:pt x="1104" y="1572"/>
                  <a:pt x="1104" y="1572"/>
                </a:cubicBezTo>
                <a:cubicBezTo>
                  <a:pt x="1102" y="1707"/>
                  <a:pt x="1102" y="1707"/>
                  <a:pt x="1102" y="1707"/>
                </a:cubicBezTo>
                <a:cubicBezTo>
                  <a:pt x="359" y="1707"/>
                  <a:pt x="359" y="1707"/>
                  <a:pt x="359" y="1707"/>
                </a:cubicBezTo>
                <a:cubicBezTo>
                  <a:pt x="356" y="1693"/>
                  <a:pt x="356" y="1693"/>
                  <a:pt x="356" y="1693"/>
                </a:cubicBezTo>
                <a:cubicBezTo>
                  <a:pt x="356" y="1650"/>
                  <a:pt x="356" y="1650"/>
                  <a:pt x="356" y="1650"/>
                </a:cubicBezTo>
                <a:cubicBezTo>
                  <a:pt x="355" y="1606"/>
                  <a:pt x="355" y="1606"/>
                  <a:pt x="355" y="1606"/>
                </a:cubicBezTo>
                <a:cubicBezTo>
                  <a:pt x="351" y="1510"/>
                  <a:pt x="351" y="1510"/>
                  <a:pt x="351" y="1510"/>
                </a:cubicBezTo>
                <a:cubicBezTo>
                  <a:pt x="346" y="1461"/>
                  <a:pt x="346" y="1461"/>
                  <a:pt x="346" y="1461"/>
                </a:cubicBezTo>
                <a:cubicBezTo>
                  <a:pt x="344" y="1449"/>
                  <a:pt x="344" y="1449"/>
                  <a:pt x="344" y="1449"/>
                </a:cubicBezTo>
                <a:cubicBezTo>
                  <a:pt x="339" y="1440"/>
                  <a:pt x="339" y="1440"/>
                  <a:pt x="339" y="1440"/>
                </a:cubicBezTo>
                <a:cubicBezTo>
                  <a:pt x="334" y="1432"/>
                  <a:pt x="334" y="1432"/>
                  <a:pt x="334" y="1432"/>
                </a:cubicBezTo>
                <a:cubicBezTo>
                  <a:pt x="328" y="1425"/>
                  <a:pt x="328" y="1425"/>
                  <a:pt x="328" y="1425"/>
                </a:cubicBezTo>
                <a:cubicBezTo>
                  <a:pt x="319" y="1420"/>
                  <a:pt x="319" y="1420"/>
                  <a:pt x="319" y="1420"/>
                </a:cubicBezTo>
                <a:cubicBezTo>
                  <a:pt x="309" y="1416"/>
                  <a:pt x="309" y="1416"/>
                  <a:pt x="309" y="1416"/>
                </a:cubicBezTo>
                <a:cubicBezTo>
                  <a:pt x="297" y="1413"/>
                  <a:pt x="297" y="1413"/>
                  <a:pt x="297" y="1413"/>
                </a:cubicBezTo>
                <a:cubicBezTo>
                  <a:pt x="285" y="1411"/>
                  <a:pt x="285" y="1411"/>
                  <a:pt x="285" y="1411"/>
                </a:cubicBezTo>
                <a:cubicBezTo>
                  <a:pt x="270" y="1409"/>
                  <a:pt x="270" y="1409"/>
                  <a:pt x="270" y="1409"/>
                </a:cubicBezTo>
                <a:cubicBezTo>
                  <a:pt x="255" y="1409"/>
                  <a:pt x="255" y="1409"/>
                  <a:pt x="255" y="1409"/>
                </a:cubicBezTo>
                <a:cubicBezTo>
                  <a:pt x="252" y="1409"/>
                  <a:pt x="252" y="1409"/>
                  <a:pt x="252" y="1409"/>
                </a:cubicBezTo>
                <a:cubicBezTo>
                  <a:pt x="237" y="1410"/>
                  <a:pt x="237" y="1410"/>
                  <a:pt x="237" y="1410"/>
                </a:cubicBezTo>
                <a:cubicBezTo>
                  <a:pt x="223" y="1411"/>
                  <a:pt x="223" y="1411"/>
                  <a:pt x="223" y="1411"/>
                </a:cubicBezTo>
                <a:cubicBezTo>
                  <a:pt x="209" y="1413"/>
                  <a:pt x="209" y="1413"/>
                  <a:pt x="209" y="1413"/>
                </a:cubicBezTo>
                <a:cubicBezTo>
                  <a:pt x="196" y="1414"/>
                  <a:pt x="196" y="1414"/>
                  <a:pt x="196" y="1414"/>
                </a:cubicBezTo>
                <a:cubicBezTo>
                  <a:pt x="180" y="1416"/>
                  <a:pt x="180" y="1416"/>
                  <a:pt x="180" y="1416"/>
                </a:cubicBezTo>
                <a:cubicBezTo>
                  <a:pt x="166" y="1417"/>
                  <a:pt x="166" y="1417"/>
                  <a:pt x="166" y="1417"/>
                </a:cubicBezTo>
                <a:cubicBezTo>
                  <a:pt x="202" y="1418"/>
                  <a:pt x="202" y="1418"/>
                  <a:pt x="202" y="1418"/>
                </a:cubicBezTo>
                <a:cubicBezTo>
                  <a:pt x="186" y="1420"/>
                  <a:pt x="186" y="1420"/>
                  <a:pt x="186" y="1420"/>
                </a:cubicBezTo>
                <a:cubicBezTo>
                  <a:pt x="170" y="1421"/>
                  <a:pt x="170" y="1421"/>
                  <a:pt x="170" y="1421"/>
                </a:cubicBezTo>
                <a:cubicBezTo>
                  <a:pt x="152" y="1421"/>
                  <a:pt x="152" y="1421"/>
                  <a:pt x="152" y="1421"/>
                </a:cubicBezTo>
                <a:cubicBezTo>
                  <a:pt x="142" y="1421"/>
                  <a:pt x="142" y="1421"/>
                  <a:pt x="142" y="1421"/>
                </a:cubicBezTo>
                <a:cubicBezTo>
                  <a:pt x="131" y="1418"/>
                  <a:pt x="131" y="1418"/>
                  <a:pt x="131" y="1418"/>
                </a:cubicBezTo>
                <a:cubicBezTo>
                  <a:pt x="120" y="1414"/>
                  <a:pt x="120" y="1414"/>
                  <a:pt x="120" y="1414"/>
                </a:cubicBezTo>
                <a:cubicBezTo>
                  <a:pt x="109" y="1409"/>
                  <a:pt x="109" y="1409"/>
                  <a:pt x="109" y="1409"/>
                </a:cubicBezTo>
                <a:cubicBezTo>
                  <a:pt x="99" y="1402"/>
                  <a:pt x="99" y="1402"/>
                  <a:pt x="99" y="1402"/>
                </a:cubicBezTo>
                <a:cubicBezTo>
                  <a:pt x="90" y="1394"/>
                  <a:pt x="90" y="1394"/>
                  <a:pt x="90" y="1394"/>
                </a:cubicBezTo>
                <a:cubicBezTo>
                  <a:pt x="83" y="1386"/>
                  <a:pt x="83" y="1386"/>
                  <a:pt x="83" y="1386"/>
                </a:cubicBezTo>
                <a:cubicBezTo>
                  <a:pt x="77" y="1377"/>
                  <a:pt x="77" y="1377"/>
                  <a:pt x="77" y="1377"/>
                </a:cubicBezTo>
                <a:cubicBezTo>
                  <a:pt x="73" y="1358"/>
                  <a:pt x="73" y="1358"/>
                  <a:pt x="73" y="1358"/>
                </a:cubicBezTo>
                <a:cubicBezTo>
                  <a:pt x="75" y="1338"/>
                  <a:pt x="75" y="1338"/>
                  <a:pt x="75" y="1338"/>
                </a:cubicBezTo>
                <a:cubicBezTo>
                  <a:pt x="79" y="1318"/>
                  <a:pt x="79" y="1318"/>
                  <a:pt x="79" y="1318"/>
                </a:cubicBezTo>
                <a:cubicBezTo>
                  <a:pt x="79" y="1299"/>
                  <a:pt x="79" y="1299"/>
                  <a:pt x="79" y="1299"/>
                </a:cubicBezTo>
                <a:cubicBezTo>
                  <a:pt x="76" y="1290"/>
                  <a:pt x="76" y="1290"/>
                  <a:pt x="76" y="1290"/>
                </a:cubicBezTo>
                <a:cubicBezTo>
                  <a:pt x="72" y="1283"/>
                  <a:pt x="72" y="1283"/>
                  <a:pt x="72" y="1283"/>
                </a:cubicBezTo>
                <a:cubicBezTo>
                  <a:pt x="68" y="1275"/>
                  <a:pt x="68" y="1275"/>
                  <a:pt x="68" y="1275"/>
                </a:cubicBezTo>
                <a:cubicBezTo>
                  <a:pt x="62" y="1268"/>
                  <a:pt x="62" y="1268"/>
                  <a:pt x="62" y="1268"/>
                </a:cubicBezTo>
                <a:cubicBezTo>
                  <a:pt x="57" y="1261"/>
                  <a:pt x="57" y="1261"/>
                  <a:pt x="57" y="1261"/>
                </a:cubicBezTo>
                <a:cubicBezTo>
                  <a:pt x="53" y="1254"/>
                  <a:pt x="53" y="1254"/>
                  <a:pt x="53" y="1254"/>
                </a:cubicBezTo>
                <a:cubicBezTo>
                  <a:pt x="50" y="1246"/>
                  <a:pt x="50" y="1246"/>
                  <a:pt x="50" y="1246"/>
                </a:cubicBezTo>
                <a:cubicBezTo>
                  <a:pt x="49" y="1238"/>
                  <a:pt x="49" y="1238"/>
                  <a:pt x="49" y="1238"/>
                </a:cubicBezTo>
                <a:cubicBezTo>
                  <a:pt x="50" y="1229"/>
                  <a:pt x="50" y="1229"/>
                  <a:pt x="50" y="1229"/>
                </a:cubicBezTo>
                <a:cubicBezTo>
                  <a:pt x="51" y="1220"/>
                  <a:pt x="51" y="1220"/>
                  <a:pt x="51" y="1220"/>
                </a:cubicBezTo>
                <a:cubicBezTo>
                  <a:pt x="54" y="1211"/>
                  <a:pt x="54" y="1211"/>
                  <a:pt x="54" y="1211"/>
                </a:cubicBezTo>
                <a:cubicBezTo>
                  <a:pt x="58" y="1203"/>
                  <a:pt x="58" y="1203"/>
                  <a:pt x="58" y="1203"/>
                </a:cubicBezTo>
                <a:cubicBezTo>
                  <a:pt x="64" y="1195"/>
                  <a:pt x="64" y="1195"/>
                  <a:pt x="64" y="1195"/>
                </a:cubicBezTo>
                <a:cubicBezTo>
                  <a:pt x="71" y="1188"/>
                  <a:pt x="71" y="1188"/>
                  <a:pt x="71" y="1188"/>
                </a:cubicBezTo>
                <a:cubicBezTo>
                  <a:pt x="79" y="1182"/>
                  <a:pt x="79" y="1182"/>
                  <a:pt x="79" y="1182"/>
                </a:cubicBezTo>
                <a:cubicBezTo>
                  <a:pt x="88" y="1176"/>
                  <a:pt x="88" y="1176"/>
                  <a:pt x="88" y="1176"/>
                </a:cubicBezTo>
                <a:cubicBezTo>
                  <a:pt x="78" y="1171"/>
                  <a:pt x="78" y="1171"/>
                  <a:pt x="78" y="1171"/>
                </a:cubicBezTo>
                <a:cubicBezTo>
                  <a:pt x="69" y="1165"/>
                  <a:pt x="69" y="1165"/>
                  <a:pt x="69" y="1165"/>
                </a:cubicBezTo>
                <a:cubicBezTo>
                  <a:pt x="59" y="1158"/>
                  <a:pt x="59" y="1158"/>
                  <a:pt x="59" y="1158"/>
                </a:cubicBezTo>
                <a:cubicBezTo>
                  <a:pt x="52" y="1152"/>
                  <a:pt x="52" y="1152"/>
                  <a:pt x="52" y="1152"/>
                </a:cubicBezTo>
                <a:cubicBezTo>
                  <a:pt x="46" y="1144"/>
                  <a:pt x="46" y="1144"/>
                  <a:pt x="46" y="1144"/>
                </a:cubicBezTo>
                <a:cubicBezTo>
                  <a:pt x="43" y="1136"/>
                  <a:pt x="43" y="1136"/>
                  <a:pt x="43" y="1136"/>
                </a:cubicBezTo>
                <a:cubicBezTo>
                  <a:pt x="41" y="1128"/>
                  <a:pt x="41" y="1128"/>
                  <a:pt x="41" y="1128"/>
                </a:cubicBezTo>
                <a:cubicBezTo>
                  <a:pt x="43" y="1120"/>
                  <a:pt x="43" y="1120"/>
                  <a:pt x="43" y="1120"/>
                </a:cubicBezTo>
                <a:cubicBezTo>
                  <a:pt x="52" y="1090"/>
                  <a:pt x="52" y="1090"/>
                  <a:pt x="52" y="1090"/>
                </a:cubicBezTo>
                <a:cubicBezTo>
                  <a:pt x="58" y="1062"/>
                  <a:pt x="58" y="1062"/>
                  <a:pt x="58" y="1062"/>
                </a:cubicBezTo>
                <a:cubicBezTo>
                  <a:pt x="62" y="1037"/>
                  <a:pt x="62" y="1037"/>
                  <a:pt x="62" y="1037"/>
                </a:cubicBezTo>
                <a:cubicBezTo>
                  <a:pt x="62" y="1012"/>
                  <a:pt x="62" y="1012"/>
                  <a:pt x="62" y="1012"/>
                </a:cubicBezTo>
                <a:cubicBezTo>
                  <a:pt x="47" y="1007"/>
                  <a:pt x="47" y="1007"/>
                  <a:pt x="47" y="1007"/>
                </a:cubicBezTo>
                <a:cubicBezTo>
                  <a:pt x="34" y="1001"/>
                  <a:pt x="34" y="1001"/>
                  <a:pt x="34" y="1001"/>
                </a:cubicBezTo>
                <a:cubicBezTo>
                  <a:pt x="23" y="995"/>
                  <a:pt x="23" y="995"/>
                  <a:pt x="23" y="995"/>
                </a:cubicBezTo>
                <a:cubicBezTo>
                  <a:pt x="14" y="988"/>
                  <a:pt x="14" y="988"/>
                  <a:pt x="14" y="988"/>
                </a:cubicBezTo>
                <a:cubicBezTo>
                  <a:pt x="7" y="981"/>
                  <a:pt x="7" y="981"/>
                  <a:pt x="7" y="981"/>
                </a:cubicBezTo>
                <a:cubicBezTo>
                  <a:pt x="3" y="973"/>
                  <a:pt x="3" y="973"/>
                  <a:pt x="3" y="973"/>
                </a:cubicBezTo>
                <a:cubicBezTo>
                  <a:pt x="0" y="965"/>
                  <a:pt x="0" y="965"/>
                  <a:pt x="0" y="965"/>
                </a:cubicBezTo>
                <a:lnTo>
                  <a:pt x="1" y="956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V="1">
            <a:off x="13712429" y="5387324"/>
            <a:ext cx="3746606" cy="2624368"/>
          </a:xfrm>
          <a:prstGeom prst="line">
            <a:avLst/>
          </a:prstGeom>
          <a:ln w="254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IN GEAR</a:t>
            </a:r>
          </a:p>
        </p:txBody>
      </p:sp>
      <p:sp>
        <p:nvSpPr>
          <p:cNvPr id="23" name="Freeform 9"/>
          <p:cNvSpPr>
            <a:spLocks noEditPoints="1"/>
          </p:cNvSpPr>
          <p:nvPr/>
        </p:nvSpPr>
        <p:spPr bwMode="auto">
          <a:xfrm rot="1196645">
            <a:off x="14157421" y="8422198"/>
            <a:ext cx="915298" cy="887596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4" name="Freeform 9"/>
          <p:cNvSpPr>
            <a:spLocks noEditPoints="1"/>
          </p:cNvSpPr>
          <p:nvPr/>
        </p:nvSpPr>
        <p:spPr bwMode="auto">
          <a:xfrm rot="1196645">
            <a:off x="9882377" y="7466580"/>
            <a:ext cx="915298" cy="887596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5" name="Freeform 9"/>
          <p:cNvSpPr>
            <a:spLocks noEditPoints="1"/>
          </p:cNvSpPr>
          <p:nvPr/>
        </p:nvSpPr>
        <p:spPr bwMode="auto">
          <a:xfrm rot="1196645">
            <a:off x="11933545" y="5516814"/>
            <a:ext cx="915298" cy="887596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6" name="Freeform 9"/>
          <p:cNvSpPr>
            <a:spLocks noEditPoints="1"/>
          </p:cNvSpPr>
          <p:nvPr/>
        </p:nvSpPr>
        <p:spPr bwMode="auto">
          <a:xfrm rot="1196645">
            <a:off x="12774711" y="5328368"/>
            <a:ext cx="915298" cy="887596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 flipV="1">
            <a:off x="13232359" y="4705176"/>
            <a:ext cx="3746606" cy="2137020"/>
          </a:xfrm>
          <a:prstGeom prst="line">
            <a:avLst/>
          </a:prstGeom>
          <a:ln w="254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9"/>
          <p:cNvSpPr>
            <a:spLocks noEditPoints="1"/>
          </p:cNvSpPr>
          <p:nvPr/>
        </p:nvSpPr>
        <p:spPr bwMode="auto">
          <a:xfrm>
            <a:off x="12388167" y="5994400"/>
            <a:ext cx="2855010" cy="2768600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3" name="Freeform 9"/>
          <p:cNvSpPr>
            <a:spLocks noEditPoints="1"/>
          </p:cNvSpPr>
          <p:nvPr/>
        </p:nvSpPr>
        <p:spPr bwMode="auto">
          <a:xfrm>
            <a:off x="16574058" y="4277461"/>
            <a:ext cx="1484920" cy="1439978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13354024" y="9960067"/>
            <a:ext cx="4304924" cy="45862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13606775" y="9092886"/>
            <a:ext cx="4071626" cy="336864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eform 9"/>
          <p:cNvSpPr>
            <a:spLocks noEditPoints="1"/>
          </p:cNvSpPr>
          <p:nvPr/>
        </p:nvSpPr>
        <p:spPr bwMode="auto">
          <a:xfrm rot="21073929">
            <a:off x="12516967" y="8609764"/>
            <a:ext cx="1946558" cy="1887644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1" name="Freeform 9"/>
          <p:cNvSpPr>
            <a:spLocks noEditPoints="1"/>
          </p:cNvSpPr>
          <p:nvPr/>
        </p:nvSpPr>
        <p:spPr bwMode="auto">
          <a:xfrm rot="21073929">
            <a:off x="17057045" y="9066058"/>
            <a:ext cx="1471310" cy="1426780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42" name="Straight Connector 41"/>
          <p:cNvCxnSpPr>
            <a:cxnSpLocks/>
          </p:cNvCxnSpPr>
          <p:nvPr/>
        </p:nvCxnSpPr>
        <p:spPr>
          <a:xfrm flipH="1" flipV="1">
            <a:off x="9097024" y="4648428"/>
            <a:ext cx="2513392" cy="1762544"/>
          </a:xfrm>
          <a:prstGeom prst="line">
            <a:avLst/>
          </a:prstGeom>
          <a:ln w="2540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>
          <a:xfrm flipH="1" flipV="1">
            <a:off x="8288426" y="4997449"/>
            <a:ext cx="2771884" cy="2012954"/>
          </a:xfrm>
          <a:prstGeom prst="line">
            <a:avLst/>
          </a:prstGeom>
          <a:ln w="2540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 9"/>
          <p:cNvSpPr>
            <a:spLocks noEditPoints="1"/>
          </p:cNvSpPr>
          <p:nvPr/>
        </p:nvSpPr>
        <p:spPr bwMode="auto">
          <a:xfrm rot="21073929">
            <a:off x="10263539" y="5731448"/>
            <a:ext cx="1946558" cy="1887644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9" name="Freeform 9"/>
          <p:cNvSpPr>
            <a:spLocks noEditPoints="1"/>
          </p:cNvSpPr>
          <p:nvPr/>
        </p:nvSpPr>
        <p:spPr bwMode="auto">
          <a:xfrm rot="21073929">
            <a:off x="7859233" y="3992782"/>
            <a:ext cx="1515442" cy="1469576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50" name="Straight Connector 49"/>
          <p:cNvCxnSpPr>
            <a:cxnSpLocks/>
          </p:cNvCxnSpPr>
          <p:nvPr/>
        </p:nvCxnSpPr>
        <p:spPr>
          <a:xfrm flipH="1" flipV="1">
            <a:off x="5999824" y="7233215"/>
            <a:ext cx="5974540" cy="959594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 flipH="1" flipV="1">
            <a:off x="5892002" y="7860299"/>
            <a:ext cx="5528048" cy="1101958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9"/>
          <p:cNvSpPr>
            <a:spLocks noEditPoints="1"/>
          </p:cNvSpPr>
          <p:nvPr/>
        </p:nvSpPr>
        <p:spPr bwMode="auto">
          <a:xfrm rot="183561">
            <a:off x="10534601" y="7419975"/>
            <a:ext cx="2455570" cy="2381250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0" name="Freeform 9"/>
          <p:cNvSpPr>
            <a:spLocks noEditPoints="1"/>
          </p:cNvSpPr>
          <p:nvPr/>
        </p:nvSpPr>
        <p:spPr bwMode="auto">
          <a:xfrm rot="183561">
            <a:off x="5148142" y="6743691"/>
            <a:ext cx="1699664" cy="1648222"/>
          </a:xfrm>
          <a:custGeom>
            <a:avLst/>
            <a:gdLst>
              <a:gd name="T0" fmla="*/ 353 w 410"/>
              <a:gd name="T1" fmla="*/ 153 h 397"/>
              <a:gd name="T2" fmla="*/ 343 w 410"/>
              <a:gd name="T3" fmla="*/ 129 h 397"/>
              <a:gd name="T4" fmla="*/ 365 w 410"/>
              <a:gd name="T5" fmla="*/ 73 h 397"/>
              <a:gd name="T6" fmla="*/ 333 w 410"/>
              <a:gd name="T7" fmla="*/ 42 h 397"/>
              <a:gd name="T8" fmla="*/ 277 w 410"/>
              <a:gd name="T9" fmla="*/ 65 h 397"/>
              <a:gd name="T10" fmla="*/ 252 w 410"/>
              <a:gd name="T11" fmla="*/ 55 h 397"/>
              <a:gd name="T12" fmla="*/ 226 w 410"/>
              <a:gd name="T13" fmla="*/ 0 h 397"/>
              <a:gd name="T14" fmla="*/ 181 w 410"/>
              <a:gd name="T15" fmla="*/ 0 h 397"/>
              <a:gd name="T16" fmla="*/ 158 w 410"/>
              <a:gd name="T17" fmla="*/ 55 h 397"/>
              <a:gd name="T18" fmla="*/ 133 w 410"/>
              <a:gd name="T19" fmla="*/ 65 h 397"/>
              <a:gd name="T20" fmla="*/ 75 w 410"/>
              <a:gd name="T21" fmla="*/ 44 h 397"/>
              <a:gd name="T22" fmla="*/ 43 w 410"/>
              <a:gd name="T23" fmla="*/ 74 h 397"/>
              <a:gd name="T24" fmla="*/ 66 w 410"/>
              <a:gd name="T25" fmla="*/ 129 h 397"/>
              <a:gd name="T26" fmla="*/ 56 w 410"/>
              <a:gd name="T27" fmla="*/ 153 h 397"/>
              <a:gd name="T28" fmla="*/ 0 w 410"/>
              <a:gd name="T29" fmla="*/ 178 h 397"/>
              <a:gd name="T30" fmla="*/ 0 w 410"/>
              <a:gd name="T31" fmla="*/ 221 h 397"/>
              <a:gd name="T32" fmla="*/ 0 w 410"/>
              <a:gd name="T33" fmla="*/ 221 h 397"/>
              <a:gd name="T34" fmla="*/ 57 w 410"/>
              <a:gd name="T35" fmla="*/ 244 h 397"/>
              <a:gd name="T36" fmla="*/ 67 w 410"/>
              <a:gd name="T37" fmla="*/ 268 h 397"/>
              <a:gd name="T38" fmla="*/ 45 w 410"/>
              <a:gd name="T39" fmla="*/ 324 h 397"/>
              <a:gd name="T40" fmla="*/ 77 w 410"/>
              <a:gd name="T41" fmla="*/ 355 h 397"/>
              <a:gd name="T42" fmla="*/ 133 w 410"/>
              <a:gd name="T43" fmla="*/ 332 h 397"/>
              <a:gd name="T44" fmla="*/ 158 w 410"/>
              <a:gd name="T45" fmla="*/ 342 h 397"/>
              <a:gd name="T46" fmla="*/ 184 w 410"/>
              <a:gd name="T47" fmla="*/ 397 h 397"/>
              <a:gd name="T48" fmla="*/ 229 w 410"/>
              <a:gd name="T49" fmla="*/ 397 h 397"/>
              <a:gd name="T50" fmla="*/ 252 w 410"/>
              <a:gd name="T51" fmla="*/ 342 h 397"/>
              <a:gd name="T52" fmla="*/ 277 w 410"/>
              <a:gd name="T53" fmla="*/ 332 h 397"/>
              <a:gd name="T54" fmla="*/ 335 w 410"/>
              <a:gd name="T55" fmla="*/ 353 h 397"/>
              <a:gd name="T56" fmla="*/ 366 w 410"/>
              <a:gd name="T57" fmla="*/ 323 h 397"/>
              <a:gd name="T58" fmla="*/ 343 w 410"/>
              <a:gd name="T59" fmla="*/ 268 h 397"/>
              <a:gd name="T60" fmla="*/ 353 w 410"/>
              <a:gd name="T61" fmla="*/ 244 h 397"/>
              <a:gd name="T62" fmla="*/ 410 w 410"/>
              <a:gd name="T63" fmla="*/ 219 h 397"/>
              <a:gd name="T64" fmla="*/ 410 w 410"/>
              <a:gd name="T65" fmla="*/ 176 h 397"/>
              <a:gd name="T66" fmla="*/ 353 w 410"/>
              <a:gd name="T67" fmla="*/ 153 h 397"/>
              <a:gd name="T68" fmla="*/ 205 w 410"/>
              <a:gd name="T69" fmla="*/ 262 h 397"/>
              <a:gd name="T70" fmla="*/ 139 w 410"/>
              <a:gd name="T71" fmla="*/ 199 h 397"/>
              <a:gd name="T72" fmla="*/ 205 w 410"/>
              <a:gd name="T73" fmla="*/ 135 h 397"/>
              <a:gd name="T74" fmla="*/ 270 w 410"/>
              <a:gd name="T75" fmla="*/ 199 h 397"/>
              <a:gd name="T76" fmla="*/ 205 w 410"/>
              <a:gd name="T77" fmla="*/ 262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0" h="397">
                <a:moveTo>
                  <a:pt x="353" y="153"/>
                </a:moveTo>
                <a:cubicBezTo>
                  <a:pt x="343" y="129"/>
                  <a:pt x="343" y="129"/>
                  <a:pt x="343" y="129"/>
                </a:cubicBezTo>
                <a:cubicBezTo>
                  <a:pt x="343" y="129"/>
                  <a:pt x="367" y="75"/>
                  <a:pt x="365" y="73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1" y="40"/>
                  <a:pt x="277" y="65"/>
                  <a:pt x="277" y="6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52" y="55"/>
                  <a:pt x="229" y="0"/>
                  <a:pt x="226" y="0"/>
                </a:cubicBezTo>
                <a:cubicBezTo>
                  <a:pt x="181" y="0"/>
                  <a:pt x="181" y="0"/>
                  <a:pt x="181" y="0"/>
                </a:cubicBezTo>
                <a:cubicBezTo>
                  <a:pt x="178" y="0"/>
                  <a:pt x="158" y="55"/>
                  <a:pt x="158" y="5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133" y="65"/>
                  <a:pt x="77" y="41"/>
                  <a:pt x="75" y="44"/>
                </a:cubicBezTo>
                <a:cubicBezTo>
                  <a:pt x="43" y="74"/>
                  <a:pt x="43" y="74"/>
                  <a:pt x="43" y="74"/>
                </a:cubicBezTo>
                <a:cubicBezTo>
                  <a:pt x="41" y="77"/>
                  <a:pt x="66" y="129"/>
                  <a:pt x="66" y="129"/>
                </a:cubicBezTo>
                <a:cubicBezTo>
                  <a:pt x="56" y="153"/>
                  <a:pt x="56" y="153"/>
                  <a:pt x="56" y="153"/>
                </a:cubicBezTo>
                <a:cubicBezTo>
                  <a:pt x="56" y="153"/>
                  <a:pt x="0" y="175"/>
                  <a:pt x="0" y="178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24"/>
                  <a:pt x="57" y="244"/>
                  <a:pt x="57" y="244"/>
                </a:cubicBezTo>
                <a:cubicBezTo>
                  <a:pt x="67" y="268"/>
                  <a:pt x="67" y="268"/>
                  <a:pt x="67" y="268"/>
                </a:cubicBezTo>
                <a:cubicBezTo>
                  <a:pt x="67" y="268"/>
                  <a:pt x="43" y="322"/>
                  <a:pt x="45" y="324"/>
                </a:cubicBezTo>
                <a:cubicBezTo>
                  <a:pt x="77" y="355"/>
                  <a:pt x="77" y="355"/>
                  <a:pt x="77" y="355"/>
                </a:cubicBezTo>
                <a:cubicBezTo>
                  <a:pt x="79" y="357"/>
                  <a:pt x="133" y="332"/>
                  <a:pt x="133" y="332"/>
                </a:cubicBezTo>
                <a:cubicBezTo>
                  <a:pt x="158" y="342"/>
                  <a:pt x="158" y="342"/>
                  <a:pt x="158" y="342"/>
                </a:cubicBezTo>
                <a:cubicBezTo>
                  <a:pt x="158" y="342"/>
                  <a:pt x="181" y="397"/>
                  <a:pt x="184" y="397"/>
                </a:cubicBezTo>
                <a:cubicBezTo>
                  <a:pt x="229" y="397"/>
                  <a:pt x="229" y="397"/>
                  <a:pt x="229" y="397"/>
                </a:cubicBezTo>
                <a:cubicBezTo>
                  <a:pt x="232" y="397"/>
                  <a:pt x="252" y="342"/>
                  <a:pt x="252" y="342"/>
                </a:cubicBezTo>
                <a:cubicBezTo>
                  <a:pt x="277" y="332"/>
                  <a:pt x="277" y="332"/>
                  <a:pt x="277" y="332"/>
                </a:cubicBezTo>
                <a:cubicBezTo>
                  <a:pt x="277" y="332"/>
                  <a:pt x="332" y="356"/>
                  <a:pt x="335" y="353"/>
                </a:cubicBezTo>
                <a:cubicBezTo>
                  <a:pt x="366" y="323"/>
                  <a:pt x="366" y="323"/>
                  <a:pt x="366" y="323"/>
                </a:cubicBezTo>
                <a:cubicBezTo>
                  <a:pt x="368" y="321"/>
                  <a:pt x="343" y="268"/>
                  <a:pt x="343" y="268"/>
                </a:cubicBezTo>
                <a:cubicBezTo>
                  <a:pt x="353" y="244"/>
                  <a:pt x="353" y="244"/>
                  <a:pt x="353" y="244"/>
                </a:cubicBezTo>
                <a:cubicBezTo>
                  <a:pt x="353" y="244"/>
                  <a:pt x="410" y="222"/>
                  <a:pt x="410" y="219"/>
                </a:cubicBezTo>
                <a:cubicBezTo>
                  <a:pt x="410" y="176"/>
                  <a:pt x="410" y="176"/>
                  <a:pt x="410" y="176"/>
                </a:cubicBezTo>
                <a:cubicBezTo>
                  <a:pt x="410" y="173"/>
                  <a:pt x="353" y="153"/>
                  <a:pt x="353" y="153"/>
                </a:cubicBezTo>
                <a:close/>
                <a:moveTo>
                  <a:pt x="205" y="262"/>
                </a:moveTo>
                <a:cubicBezTo>
                  <a:pt x="169" y="262"/>
                  <a:pt x="139" y="234"/>
                  <a:pt x="139" y="199"/>
                </a:cubicBezTo>
                <a:cubicBezTo>
                  <a:pt x="139" y="164"/>
                  <a:pt x="169" y="135"/>
                  <a:pt x="205" y="135"/>
                </a:cubicBezTo>
                <a:cubicBezTo>
                  <a:pt x="241" y="135"/>
                  <a:pt x="270" y="163"/>
                  <a:pt x="270" y="199"/>
                </a:cubicBezTo>
                <a:cubicBezTo>
                  <a:pt x="270" y="234"/>
                  <a:pt x="241" y="262"/>
                  <a:pt x="205" y="26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852630" y="3741314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171119" y="4201342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18156543" y="4185804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8156546" y="4645832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104220" y="6719744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422709" y="7179772"/>
            <a:ext cx="453330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8640465" y="9088456"/>
            <a:ext cx="1851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kern="1200" dirty="0">
                <a:solidFill>
                  <a:srgbClr val="3F3F3F"/>
                </a:solidFill>
                <a:latin typeface="Poppins"/>
                <a:ea typeface="Raleway" panose="020B0003030101060003" pitchFamily="2" charset="0"/>
              </a:rPr>
              <a:t>Description</a:t>
            </a:r>
            <a:endParaRPr lang="id-ID" sz="2800" kern="1200" dirty="0">
              <a:solidFill>
                <a:srgbClr val="3F3F3F"/>
              </a:solidFill>
              <a:latin typeface="Poppins"/>
              <a:ea typeface="Raleway" panose="020B0003030101060003" pitchFamily="2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18640468" y="9548484"/>
            <a:ext cx="48318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</a:rPr>
              <a:t>Suitable for all categories business and perso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2520326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– 3 MONTH</a:t>
            </a:r>
          </a:p>
        </p:txBody>
      </p:sp>
      <p:graphicFrame>
        <p:nvGraphicFramePr>
          <p:cNvPr id="27" name="Table 26"/>
          <p:cNvGraphicFramePr>
            <a:graphicFrameLocks noGrp="1"/>
          </p:cNvGraphicFramePr>
          <p:nvPr/>
        </p:nvGraphicFramePr>
        <p:xfrm>
          <a:off x="1676408" y="2800772"/>
          <a:ext cx="21031184" cy="1000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1618">
                  <a:extLst>
                    <a:ext uri="{9D8B030D-6E8A-4147-A177-3AD203B41FA5}">
                      <a16:colId xmlns:a16="http://schemas.microsoft.com/office/drawing/2014/main" val="1290667858"/>
                    </a:ext>
                  </a:extLst>
                </a:gridCol>
                <a:gridCol w="4448486">
                  <a:extLst>
                    <a:ext uri="{9D8B030D-6E8A-4147-A177-3AD203B41FA5}">
                      <a16:colId xmlns:a16="http://schemas.microsoft.com/office/drawing/2014/main" val="3981764216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1544520791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3754720166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1694685237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1182051850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1789365695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4029555531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3552529618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2448182294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2003452297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2574785049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3637263203"/>
                    </a:ext>
                  </a:extLst>
                </a:gridCol>
                <a:gridCol w="1150090">
                  <a:extLst>
                    <a:ext uri="{9D8B030D-6E8A-4147-A177-3AD203B41FA5}">
                      <a16:colId xmlns:a16="http://schemas.microsoft.com/office/drawing/2014/main" val="593276705"/>
                    </a:ext>
                  </a:extLst>
                </a:gridCol>
              </a:tblGrid>
              <a:tr h="792000">
                <a:tc rowSpan="2">
                  <a:txBody>
                    <a:bodyPr/>
                    <a:lstStyle/>
                    <a:p>
                      <a:pPr algn="ctr"/>
                      <a:r>
                        <a:rPr lang="id-ID" sz="7200" dirty="0">
                          <a:solidFill>
                            <a:schemeClr val="bg2"/>
                          </a:solidFill>
                          <a:latin typeface="+mj-lt"/>
                        </a:rPr>
                        <a:t>PHASE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id-ID" sz="7200" dirty="0">
                          <a:solidFill>
                            <a:schemeClr val="bg2"/>
                          </a:solidFill>
                          <a:latin typeface="+mj-lt"/>
                        </a:rPr>
                        <a:t>TASK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JANUARY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FEBRUARY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MARCH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0272391"/>
                  </a:ext>
                </a:extLst>
              </a:tr>
              <a:tr h="1585440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bg2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396584"/>
                  </a:ext>
                </a:extLst>
              </a:tr>
              <a:tr h="1280160">
                <a:tc rowSpan="4">
                  <a:txBody>
                    <a:bodyPr/>
                    <a:lstStyle/>
                    <a:p>
                      <a:pPr algn="ctr"/>
                      <a:endParaRPr lang="id-ID" sz="32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32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050661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pPr algn="ctr"/>
                      <a:endParaRPr lang="id-ID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200" dirty="0">
                          <a:solidFill>
                            <a:schemeClr val="tx2"/>
                          </a:solidFill>
                          <a:latin typeface="+mj-lt"/>
                        </a:rPr>
                        <a:t>Task</a:t>
                      </a:r>
                      <a:r>
                        <a:rPr lang="id-ID" sz="3200" baseline="0" dirty="0">
                          <a:solidFill>
                            <a:schemeClr val="tx2"/>
                          </a:solidFill>
                          <a:latin typeface="+mj-lt"/>
                        </a:rPr>
                        <a:t> description</a:t>
                      </a:r>
                      <a:endParaRPr lang="id-ID" sz="32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9058653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pPr algn="ctr"/>
                      <a:endParaRPr lang="id-ID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2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3200" kern="1200" baseline="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32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391300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pPr algn="ctr"/>
                      <a:endParaRPr lang="id-ID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2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3200" kern="1200" baseline="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32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870873"/>
                  </a:ext>
                </a:extLst>
              </a:tr>
              <a:tr h="1280160">
                <a:tc rowSpan="5">
                  <a:txBody>
                    <a:bodyPr/>
                    <a:lstStyle/>
                    <a:p>
                      <a:pPr algn="ctr"/>
                      <a:endParaRPr lang="id-ID" sz="32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32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8938834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pPr algn="ctr"/>
                      <a:endParaRPr lang="id-ID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2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3200" kern="1200" baseline="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32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390710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pPr algn="ctr"/>
                      <a:endParaRPr lang="id-ID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2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3200" kern="1200" baseline="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32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769752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pPr algn="ctr"/>
                      <a:endParaRPr lang="id-ID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2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3200" kern="1200" baseline="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32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721225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pPr algn="ctr"/>
                      <a:endParaRPr lang="id-ID" sz="16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2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3200" kern="1200" baseline="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32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452411"/>
                  </a:ext>
                </a:extLst>
              </a:tr>
            </a:tbl>
          </a:graphicData>
        </a:graphic>
      </p:graphicFrame>
      <p:sp>
        <p:nvSpPr>
          <p:cNvPr id="28" name="Shape 21036"/>
          <p:cNvSpPr/>
          <p:nvPr/>
        </p:nvSpPr>
        <p:spPr>
          <a:xfrm rot="16200000">
            <a:off x="1357575" y="5989512"/>
            <a:ext cx="3542402" cy="5699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3600" b="1" kern="1200" dirty="0">
                <a:solidFill>
                  <a:srgbClr val="313C41"/>
                </a:solidFill>
                <a:latin typeface="Montserrat"/>
              </a:rPr>
              <a:t>PREPERATION</a:t>
            </a:r>
          </a:p>
        </p:txBody>
      </p:sp>
      <p:sp>
        <p:nvSpPr>
          <p:cNvPr id="29" name="Shape 21036"/>
          <p:cNvSpPr/>
          <p:nvPr/>
        </p:nvSpPr>
        <p:spPr>
          <a:xfrm rot="16200000">
            <a:off x="1357573" y="10319280"/>
            <a:ext cx="3542402" cy="5699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lnSpc>
                <a:spcPct val="100000"/>
              </a:lnSpc>
              <a:spcBef>
                <a:spcPts val="0"/>
              </a:spcBef>
            </a:pPr>
            <a:r>
              <a:rPr sz="3600" b="1" kern="1200" dirty="0">
                <a:solidFill>
                  <a:srgbClr val="313C41"/>
                </a:solidFill>
                <a:latin typeface="Montserrat"/>
              </a:rPr>
              <a:t>EXECUTION</a:t>
            </a:r>
          </a:p>
          <a:p>
            <a:pPr defTabSz="1168400" rtl="0">
              <a:lnSpc>
                <a:spcPct val="100000"/>
              </a:lnSpc>
              <a:spcBef>
                <a:spcPts val="0"/>
              </a:spcBef>
            </a:pPr>
            <a:r>
              <a:rPr lang="id-ID" sz="3600" b="1" kern="1200" dirty="0">
                <a:solidFill>
                  <a:srgbClr val="313C41"/>
                </a:solidFill>
                <a:latin typeface="Montserrat"/>
              </a:rPr>
              <a:t>PROJECT</a:t>
            </a:r>
            <a:endParaRPr sz="3600" b="1" kern="1200" dirty="0">
              <a:solidFill>
                <a:srgbClr val="313C41"/>
              </a:solidFill>
              <a:latin typeface="Montserrat"/>
            </a:endParaRPr>
          </a:p>
        </p:txBody>
      </p:sp>
      <p:sp>
        <p:nvSpPr>
          <p:cNvPr id="30" name="Arrow: Pentagon 6"/>
          <p:cNvSpPr/>
          <p:nvPr/>
        </p:nvSpPr>
        <p:spPr>
          <a:xfrm>
            <a:off x="8900160" y="4633034"/>
            <a:ext cx="4450080" cy="392804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1" name="Arrow: Pentagon 7"/>
          <p:cNvSpPr/>
          <p:nvPr/>
        </p:nvSpPr>
        <p:spPr>
          <a:xfrm>
            <a:off x="10206720" y="8453638"/>
            <a:ext cx="12240000" cy="392804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2" name="Arrow: Pentagon 8"/>
          <p:cNvSpPr/>
          <p:nvPr/>
        </p:nvSpPr>
        <p:spPr>
          <a:xfrm>
            <a:off x="8900160" y="6522980"/>
            <a:ext cx="2160000" cy="39280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3" name="Star: 5 Points 9"/>
          <p:cNvSpPr/>
          <p:nvPr/>
        </p:nvSpPr>
        <p:spPr>
          <a:xfrm>
            <a:off x="8717280" y="5623372"/>
            <a:ext cx="392804" cy="392804"/>
          </a:xfrm>
          <a:prstGeom prst="star5">
            <a:avLst>
              <a:gd name="adj" fmla="val 23620"/>
              <a:gd name="hf" fmla="val 105146"/>
              <a:gd name="vf" fmla="val 11055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4" name="Arrow: Pentagon 10"/>
          <p:cNvSpPr/>
          <p:nvPr/>
        </p:nvSpPr>
        <p:spPr>
          <a:xfrm>
            <a:off x="11190240" y="7474494"/>
            <a:ext cx="2160000" cy="39280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5" name="Arrow: Pentagon 11"/>
          <p:cNvSpPr/>
          <p:nvPr/>
        </p:nvSpPr>
        <p:spPr>
          <a:xfrm>
            <a:off x="13491480" y="6522980"/>
            <a:ext cx="720000" cy="39280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6" name="Arrow: Pentagon 12"/>
          <p:cNvSpPr/>
          <p:nvPr/>
        </p:nvSpPr>
        <p:spPr>
          <a:xfrm>
            <a:off x="13491480" y="9356582"/>
            <a:ext cx="1440000" cy="39280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7" name="Arrow: Pentagon 13"/>
          <p:cNvSpPr/>
          <p:nvPr/>
        </p:nvSpPr>
        <p:spPr>
          <a:xfrm>
            <a:off x="14931480" y="10288642"/>
            <a:ext cx="2520000" cy="39280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8" name="Arrow: Pentagon 14"/>
          <p:cNvSpPr/>
          <p:nvPr/>
        </p:nvSpPr>
        <p:spPr>
          <a:xfrm>
            <a:off x="16470720" y="11220702"/>
            <a:ext cx="3384000" cy="39280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9" name="Arrow: Pentagon 15"/>
          <p:cNvSpPr/>
          <p:nvPr/>
        </p:nvSpPr>
        <p:spPr>
          <a:xfrm>
            <a:off x="19854720" y="12138886"/>
            <a:ext cx="2592000" cy="39280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75259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219188" y="2597573"/>
          <a:ext cx="21945612" cy="89086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7188">
                  <a:extLst>
                    <a:ext uri="{9D8B030D-6E8A-4147-A177-3AD203B41FA5}">
                      <a16:colId xmlns:a16="http://schemas.microsoft.com/office/drawing/2014/main" val="3981764216"/>
                    </a:ext>
                  </a:extLst>
                </a:gridCol>
                <a:gridCol w="2728984">
                  <a:extLst>
                    <a:ext uri="{9D8B030D-6E8A-4147-A177-3AD203B41FA5}">
                      <a16:colId xmlns:a16="http://schemas.microsoft.com/office/drawing/2014/main" val="3685122358"/>
                    </a:ext>
                  </a:extLst>
                </a:gridCol>
                <a:gridCol w="1175068">
                  <a:extLst>
                    <a:ext uri="{9D8B030D-6E8A-4147-A177-3AD203B41FA5}">
                      <a16:colId xmlns:a16="http://schemas.microsoft.com/office/drawing/2014/main" val="1544520791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3754720166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1694685237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1182051850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1789365695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4029555531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3552529618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2448182294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2003452297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2574785049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3637263203"/>
                    </a:ext>
                  </a:extLst>
                </a:gridCol>
                <a:gridCol w="1165852">
                  <a:extLst>
                    <a:ext uri="{9D8B030D-6E8A-4147-A177-3AD203B41FA5}">
                      <a16:colId xmlns:a16="http://schemas.microsoft.com/office/drawing/2014/main" val="593276705"/>
                    </a:ext>
                  </a:extLst>
                </a:gridCol>
              </a:tblGrid>
              <a:tr h="615832">
                <a:tc rowSpan="2"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Activity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Progress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JANUARY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FEBRUARY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MARCH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0272391"/>
                  </a:ext>
                </a:extLst>
              </a:tr>
              <a:tr h="615832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396584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algn="l"/>
                      <a:r>
                        <a:rPr lang="en-US" sz="2800" b="1" dirty="0">
                          <a:solidFill>
                            <a:schemeClr val="tx1"/>
                          </a:solidFill>
                          <a:latin typeface="+mj-lt"/>
                        </a:rPr>
                        <a:t>Design/</a:t>
                      </a:r>
                      <a:r>
                        <a:rPr lang="en-US" sz="28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Development</a:t>
                      </a:r>
                      <a:endParaRPr lang="id-ID" sz="2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050661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algn="l"/>
                      <a:r>
                        <a:rPr lang="id-ID" sz="2400" dirty="0">
                          <a:solidFill>
                            <a:schemeClr val="tx1"/>
                          </a:solidFill>
                          <a:latin typeface="+mj-lt"/>
                        </a:rPr>
                        <a:t>Task</a:t>
                      </a:r>
                      <a:r>
                        <a:rPr lang="id-ID" sz="2400" baseline="0" dirty="0">
                          <a:solidFill>
                            <a:schemeClr val="tx1"/>
                          </a:solidFill>
                          <a:latin typeface="+mj-lt"/>
                        </a:rPr>
                        <a:t> description</a:t>
                      </a:r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+mj-lt"/>
                        </a:rPr>
                        <a:t>100%</a:t>
                      </a:r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058653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0%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391300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5%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870873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915347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5998534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MS Improvement</a:t>
                      </a:r>
                      <a:endParaRPr lang="id-ID" sz="2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8938834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0%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2390710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0%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5769752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5721225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45241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809489" y="1183682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92283" y="1183682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835551" y="1183682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1" name="Rounded Rectangle 55"/>
          <p:cNvSpPr/>
          <p:nvPr/>
        </p:nvSpPr>
        <p:spPr>
          <a:xfrm>
            <a:off x="1219188" y="11976660"/>
            <a:ext cx="548640" cy="27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2" name="Rounded Rectangle 56"/>
          <p:cNvSpPr/>
          <p:nvPr/>
        </p:nvSpPr>
        <p:spPr>
          <a:xfrm>
            <a:off x="4191160" y="11976660"/>
            <a:ext cx="54864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3" name="Rounded Rectangle 58"/>
          <p:cNvSpPr/>
          <p:nvPr/>
        </p:nvSpPr>
        <p:spPr>
          <a:xfrm>
            <a:off x="7253476" y="11976660"/>
            <a:ext cx="548640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04536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– 3 MONTH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/>
        </p:nvGraphicFramePr>
        <p:xfrm>
          <a:off x="1101735" y="4988430"/>
          <a:ext cx="22180546" cy="61113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607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1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2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25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53743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59756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763922">
                <a:tc>
                  <a:txBody>
                    <a:bodyPr/>
                    <a:lstStyle/>
                    <a:p>
                      <a:pPr algn="l"/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arket Research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392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pecifications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3922">
                <a:tc>
                  <a:txBody>
                    <a:bodyPr/>
                    <a:lstStyle/>
                    <a:p>
                      <a:pPr algn="l"/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anning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392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sign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3922">
                <a:tc>
                  <a:txBody>
                    <a:bodyPr/>
                    <a:lstStyle/>
                    <a:p>
                      <a:pPr algn="l"/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velopment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392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sting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63922">
                <a:tc>
                  <a:txBody>
                    <a:bodyPr/>
                    <a:lstStyle/>
                    <a:p>
                      <a:pPr algn="l"/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view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6392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</a:t>
                      </a:r>
                      <a:r>
                        <a:rPr lang="id-ID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cumentation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4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4360676" y="3342798"/>
          <a:ext cx="18921600" cy="148667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57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5768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842884">
                <a:tc gridSpan="4">
                  <a:txBody>
                    <a:bodyPr/>
                    <a:lstStyle/>
                    <a:p>
                      <a:pPr algn="ctr"/>
                      <a:r>
                        <a:rPr lang="id-ID" sz="4000" b="1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Month 1</a:t>
                      </a:r>
                      <a:endParaRPr lang="pl-PL" sz="40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l-PL" sz="1200" b="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Bebas Neue" panose="020B0606020202050201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4000" b="1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Month 2</a:t>
                      </a:r>
                      <a:endParaRPr lang="pl-PL" sz="40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200" b="0" cap="none" spc="0" dirty="0">
                        <a:ln w="0"/>
                        <a:solidFill>
                          <a:srgbClr val="404040"/>
                        </a:solidFill>
                        <a:effectLst/>
                        <a:latin typeface="Bebas Neue" panose="020B0606020202050201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4000" b="1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Month 3</a:t>
                      </a:r>
                      <a:endParaRPr lang="pl-PL" sz="40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200" b="0" cap="none" spc="0" dirty="0">
                        <a:ln w="0"/>
                        <a:solidFill>
                          <a:srgbClr val="404040"/>
                        </a:solidFill>
                        <a:effectLst/>
                        <a:latin typeface="Bebas Neue" panose="020B0606020202050201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3788"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</a:t>
                      </a:r>
                      <a:r>
                        <a:rPr lang="id-ID" sz="2400" b="0" cap="none" spc="0" baseline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2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3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4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</a:t>
                      </a:r>
                      <a:r>
                        <a:rPr lang="id-ID" sz="2400" b="0" cap="none" spc="0" baseline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2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3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4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</a:t>
                      </a:r>
                      <a:r>
                        <a:rPr lang="id-ID" sz="2400" b="0" cap="none" spc="0" baseline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2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3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400" b="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 4</a:t>
                      </a:r>
                      <a:endParaRPr lang="pl-PL" sz="2400" b="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5" name="Pentagon 44"/>
          <p:cNvSpPr/>
          <p:nvPr/>
        </p:nvSpPr>
        <p:spPr>
          <a:xfrm>
            <a:off x="4622800" y="5029200"/>
            <a:ext cx="2743200" cy="64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1st – 8th</a:t>
            </a:r>
          </a:p>
        </p:txBody>
      </p:sp>
      <p:sp>
        <p:nvSpPr>
          <p:cNvPr id="46" name="Pentagon 45"/>
          <p:cNvSpPr/>
          <p:nvPr/>
        </p:nvSpPr>
        <p:spPr>
          <a:xfrm>
            <a:off x="7543800" y="5774600"/>
            <a:ext cx="2743200" cy="64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11st – 17th</a:t>
            </a:r>
          </a:p>
        </p:txBody>
      </p:sp>
      <p:sp>
        <p:nvSpPr>
          <p:cNvPr id="47" name="Multiply 46"/>
          <p:cNvSpPr/>
          <p:nvPr/>
        </p:nvSpPr>
        <p:spPr>
          <a:xfrm>
            <a:off x="10160000" y="5698400"/>
            <a:ext cx="635000" cy="774200"/>
          </a:xfrm>
          <a:prstGeom prst="mathMultiply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48" name="Pentagon 47"/>
          <p:cNvSpPr/>
          <p:nvPr/>
        </p:nvSpPr>
        <p:spPr>
          <a:xfrm>
            <a:off x="9207500" y="6591800"/>
            <a:ext cx="2743200" cy="6480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22nd – 5th</a:t>
            </a:r>
          </a:p>
        </p:txBody>
      </p:sp>
      <p:sp>
        <p:nvSpPr>
          <p:cNvPr id="49" name="Pentagon 48"/>
          <p:cNvSpPr/>
          <p:nvPr/>
        </p:nvSpPr>
        <p:spPr>
          <a:xfrm>
            <a:off x="10756900" y="7402200"/>
            <a:ext cx="2743200" cy="6480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6th – 15th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159001" y="11926241"/>
            <a:ext cx="448418" cy="448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607419" y="11842672"/>
            <a:ext cx="21515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id-ID" sz="2800" kern="1200" dirty="0">
                <a:solidFill>
                  <a:srgbClr val="3F3F3F"/>
                </a:solidFill>
                <a:latin typeface="Source Sans Pro"/>
              </a:rPr>
              <a:t>Market Team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586821" y="11926241"/>
            <a:ext cx="448418" cy="4484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035238" y="11842672"/>
            <a:ext cx="24432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id-ID" sz="2800" kern="1200" dirty="0">
                <a:solidFill>
                  <a:srgbClr val="3F3F3F"/>
                </a:solidFill>
                <a:latin typeface="Source Sans Pro"/>
              </a:rPr>
              <a:t>Planning Team</a:t>
            </a:r>
          </a:p>
        </p:txBody>
      </p:sp>
      <p:sp>
        <p:nvSpPr>
          <p:cNvPr id="54" name="Rectangle 53"/>
          <p:cNvSpPr/>
          <p:nvPr/>
        </p:nvSpPr>
        <p:spPr>
          <a:xfrm>
            <a:off x="9265205" y="11926241"/>
            <a:ext cx="448418" cy="44841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713623" y="11842672"/>
            <a:ext cx="31309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id-ID" sz="2800" kern="1200" dirty="0">
                <a:solidFill>
                  <a:srgbClr val="3F3F3F"/>
                </a:solidFill>
                <a:latin typeface="Source Sans Pro"/>
              </a:rPr>
              <a:t>Development Team</a:t>
            </a:r>
          </a:p>
        </p:txBody>
      </p:sp>
      <p:sp>
        <p:nvSpPr>
          <p:cNvPr id="56" name="Multiply 55"/>
          <p:cNvSpPr/>
          <p:nvPr/>
        </p:nvSpPr>
        <p:spPr>
          <a:xfrm>
            <a:off x="13442628" y="11763348"/>
            <a:ext cx="635000" cy="774200"/>
          </a:xfrm>
          <a:prstGeom prst="mathMultiply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4026829" y="11842672"/>
            <a:ext cx="18950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id-ID" sz="2800" kern="1200" dirty="0">
                <a:solidFill>
                  <a:srgbClr val="3F3F3F"/>
                </a:solidFill>
                <a:latin typeface="Source Sans Pro"/>
              </a:rPr>
              <a:t>Milestone 1</a:t>
            </a:r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13442628" y="7344635"/>
            <a:ext cx="622300" cy="592078"/>
          </a:xfrm>
          <a:custGeom>
            <a:avLst/>
            <a:gdLst>
              <a:gd name="T0" fmla="*/ 453 w 906"/>
              <a:gd name="T1" fmla="*/ 695 h 862"/>
              <a:gd name="T2" fmla="*/ 172 w 906"/>
              <a:gd name="T3" fmla="*/ 862 h 862"/>
              <a:gd name="T4" fmla="*/ 243 w 906"/>
              <a:gd name="T5" fmla="*/ 545 h 862"/>
              <a:gd name="T6" fmla="*/ 0 w 906"/>
              <a:gd name="T7" fmla="*/ 329 h 862"/>
              <a:gd name="T8" fmla="*/ 324 w 906"/>
              <a:gd name="T9" fmla="*/ 300 h 862"/>
              <a:gd name="T10" fmla="*/ 453 w 906"/>
              <a:gd name="T11" fmla="*/ 0 h 862"/>
              <a:gd name="T12" fmla="*/ 582 w 906"/>
              <a:gd name="T13" fmla="*/ 300 h 862"/>
              <a:gd name="T14" fmla="*/ 906 w 906"/>
              <a:gd name="T15" fmla="*/ 329 h 862"/>
              <a:gd name="T16" fmla="*/ 660 w 906"/>
              <a:gd name="T17" fmla="*/ 545 h 862"/>
              <a:gd name="T18" fmla="*/ 734 w 906"/>
              <a:gd name="T19" fmla="*/ 862 h 862"/>
              <a:gd name="T20" fmla="*/ 453 w 906"/>
              <a:gd name="T21" fmla="*/ 695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06" h="862">
                <a:moveTo>
                  <a:pt x="453" y="695"/>
                </a:moveTo>
                <a:lnTo>
                  <a:pt x="172" y="862"/>
                </a:lnTo>
                <a:lnTo>
                  <a:pt x="243" y="545"/>
                </a:lnTo>
                <a:lnTo>
                  <a:pt x="0" y="329"/>
                </a:lnTo>
                <a:lnTo>
                  <a:pt x="324" y="300"/>
                </a:lnTo>
                <a:lnTo>
                  <a:pt x="453" y="0"/>
                </a:lnTo>
                <a:lnTo>
                  <a:pt x="582" y="300"/>
                </a:lnTo>
                <a:lnTo>
                  <a:pt x="906" y="329"/>
                </a:lnTo>
                <a:lnTo>
                  <a:pt x="660" y="545"/>
                </a:lnTo>
                <a:lnTo>
                  <a:pt x="734" y="862"/>
                </a:lnTo>
                <a:lnTo>
                  <a:pt x="453" y="69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id-ID" sz="3600" kern="120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16576041" y="11901198"/>
            <a:ext cx="523946" cy="498500"/>
          </a:xfrm>
          <a:custGeom>
            <a:avLst/>
            <a:gdLst>
              <a:gd name="T0" fmla="*/ 453 w 906"/>
              <a:gd name="T1" fmla="*/ 695 h 862"/>
              <a:gd name="T2" fmla="*/ 172 w 906"/>
              <a:gd name="T3" fmla="*/ 862 h 862"/>
              <a:gd name="T4" fmla="*/ 243 w 906"/>
              <a:gd name="T5" fmla="*/ 545 h 862"/>
              <a:gd name="T6" fmla="*/ 0 w 906"/>
              <a:gd name="T7" fmla="*/ 329 h 862"/>
              <a:gd name="T8" fmla="*/ 324 w 906"/>
              <a:gd name="T9" fmla="*/ 300 h 862"/>
              <a:gd name="T10" fmla="*/ 453 w 906"/>
              <a:gd name="T11" fmla="*/ 0 h 862"/>
              <a:gd name="T12" fmla="*/ 582 w 906"/>
              <a:gd name="T13" fmla="*/ 300 h 862"/>
              <a:gd name="T14" fmla="*/ 906 w 906"/>
              <a:gd name="T15" fmla="*/ 329 h 862"/>
              <a:gd name="T16" fmla="*/ 660 w 906"/>
              <a:gd name="T17" fmla="*/ 545 h 862"/>
              <a:gd name="T18" fmla="*/ 734 w 906"/>
              <a:gd name="T19" fmla="*/ 862 h 862"/>
              <a:gd name="T20" fmla="*/ 453 w 906"/>
              <a:gd name="T21" fmla="*/ 695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06" h="862">
                <a:moveTo>
                  <a:pt x="453" y="695"/>
                </a:moveTo>
                <a:lnTo>
                  <a:pt x="172" y="862"/>
                </a:lnTo>
                <a:lnTo>
                  <a:pt x="243" y="545"/>
                </a:lnTo>
                <a:lnTo>
                  <a:pt x="0" y="329"/>
                </a:lnTo>
                <a:lnTo>
                  <a:pt x="324" y="300"/>
                </a:lnTo>
                <a:lnTo>
                  <a:pt x="453" y="0"/>
                </a:lnTo>
                <a:lnTo>
                  <a:pt x="582" y="300"/>
                </a:lnTo>
                <a:lnTo>
                  <a:pt x="906" y="329"/>
                </a:lnTo>
                <a:lnTo>
                  <a:pt x="660" y="545"/>
                </a:lnTo>
                <a:lnTo>
                  <a:pt x="734" y="862"/>
                </a:lnTo>
                <a:lnTo>
                  <a:pt x="453" y="69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id-ID" sz="36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7099987" y="11842672"/>
            <a:ext cx="18950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id-ID" sz="2800" kern="1200" dirty="0">
                <a:solidFill>
                  <a:srgbClr val="3F3F3F"/>
                </a:solidFill>
                <a:latin typeface="Source Sans Pro"/>
              </a:rPr>
              <a:t>Milestone 2</a:t>
            </a:r>
          </a:p>
        </p:txBody>
      </p:sp>
      <p:sp>
        <p:nvSpPr>
          <p:cNvPr id="61" name="Heart 60"/>
          <p:cNvSpPr/>
          <p:nvPr/>
        </p:nvSpPr>
        <p:spPr>
          <a:xfrm>
            <a:off x="19786600" y="11916516"/>
            <a:ext cx="467864" cy="467864"/>
          </a:xfrm>
          <a:prstGeom prst="hear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0277633" y="11842672"/>
            <a:ext cx="18950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id-ID" sz="2800" kern="1200" dirty="0">
                <a:solidFill>
                  <a:srgbClr val="3F3F3F"/>
                </a:solidFill>
                <a:latin typeface="Source Sans Pro"/>
              </a:rPr>
              <a:t>Milestone 3</a:t>
            </a:r>
          </a:p>
        </p:txBody>
      </p:sp>
      <p:sp>
        <p:nvSpPr>
          <p:cNvPr id="63" name="Pentagon 62"/>
          <p:cNvSpPr/>
          <p:nvPr/>
        </p:nvSpPr>
        <p:spPr>
          <a:xfrm>
            <a:off x="12232522" y="8125324"/>
            <a:ext cx="2743200" cy="648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13rd – 22nd</a:t>
            </a:r>
          </a:p>
        </p:txBody>
      </p:sp>
      <p:sp>
        <p:nvSpPr>
          <p:cNvPr id="64" name="Pentagon 63"/>
          <p:cNvSpPr/>
          <p:nvPr/>
        </p:nvSpPr>
        <p:spPr>
          <a:xfrm>
            <a:off x="13864589" y="8902474"/>
            <a:ext cx="6099810" cy="648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24th – 17th</a:t>
            </a:r>
          </a:p>
        </p:txBody>
      </p:sp>
      <p:sp>
        <p:nvSpPr>
          <p:cNvPr id="65" name="Pentagon 64"/>
          <p:cNvSpPr/>
          <p:nvPr/>
        </p:nvSpPr>
        <p:spPr>
          <a:xfrm>
            <a:off x="13864588" y="9658586"/>
            <a:ext cx="2743200" cy="6480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24th – 29th</a:t>
            </a:r>
          </a:p>
        </p:txBody>
      </p:sp>
      <p:sp>
        <p:nvSpPr>
          <p:cNvPr id="66" name="Pentagon 65"/>
          <p:cNvSpPr/>
          <p:nvPr/>
        </p:nvSpPr>
        <p:spPr>
          <a:xfrm>
            <a:off x="17024982" y="9676260"/>
            <a:ext cx="2743200" cy="648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5th – 15th</a:t>
            </a:r>
          </a:p>
        </p:txBody>
      </p:sp>
      <p:sp>
        <p:nvSpPr>
          <p:cNvPr id="67" name="Pentagon 66"/>
          <p:cNvSpPr/>
          <p:nvPr/>
        </p:nvSpPr>
        <p:spPr>
          <a:xfrm>
            <a:off x="20327630" y="10408464"/>
            <a:ext cx="2743200" cy="648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21st – 28th</a:t>
            </a:r>
          </a:p>
        </p:txBody>
      </p:sp>
      <p:sp>
        <p:nvSpPr>
          <p:cNvPr id="68" name="Pentagon 67"/>
          <p:cNvSpPr/>
          <p:nvPr/>
        </p:nvSpPr>
        <p:spPr>
          <a:xfrm>
            <a:off x="12213472" y="5051476"/>
            <a:ext cx="2743200" cy="6480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800" kern="1200" dirty="0">
                <a:solidFill>
                  <a:srgbClr val="FFFFFF"/>
                </a:solidFill>
                <a:latin typeface="Source Sans Pro"/>
              </a:rPr>
              <a:t>15th – 24th</a:t>
            </a:r>
          </a:p>
        </p:txBody>
      </p:sp>
      <p:sp>
        <p:nvSpPr>
          <p:cNvPr id="69" name="Heart 68"/>
          <p:cNvSpPr/>
          <p:nvPr/>
        </p:nvSpPr>
        <p:spPr>
          <a:xfrm>
            <a:off x="19768182" y="8974202"/>
            <a:ext cx="467864" cy="467864"/>
          </a:xfrm>
          <a:prstGeom prst="hear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srgbClr val="FFFFF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64273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6 MONTH</a:t>
            </a:r>
          </a:p>
        </p:txBody>
      </p:sp>
      <p:graphicFrame>
        <p:nvGraphicFramePr>
          <p:cNvPr id="52" name="Table 51"/>
          <p:cNvGraphicFramePr>
            <a:graphicFrameLocks noGrp="1"/>
          </p:cNvGraphicFramePr>
          <p:nvPr/>
        </p:nvGraphicFramePr>
        <p:xfrm>
          <a:off x="691663" y="3276602"/>
          <a:ext cx="22309742" cy="78104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80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993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70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805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370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5594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2616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976312">
                <a:tc>
                  <a:txBody>
                    <a:bodyPr/>
                    <a:lstStyle/>
                    <a:p>
                      <a:pPr algn="l"/>
                      <a:r>
                        <a:rPr lang="en-US" sz="2800" b="1" dirty="0">
                          <a:ln w="38100" cap="flat" cmpd="sng">
                            <a:noFill/>
                          </a:ln>
                          <a:solidFill>
                            <a:schemeClr val="bg2"/>
                          </a:solidFill>
                          <a:latin typeface="+mj-lt"/>
                        </a:rPr>
                        <a:t>TASK</a:t>
                      </a:r>
                      <a:endParaRPr lang="pl-PL" sz="2800" b="1" dirty="0">
                        <a:ln w="38100" cap="flat" cmpd="sng">
                          <a:noFill/>
                        </a:ln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ln w="38100" cap="flat" cmpd="sng">
                            <a:noFill/>
                          </a:ln>
                          <a:solidFill>
                            <a:schemeClr val="bg2"/>
                          </a:solidFill>
                          <a:latin typeface="+mj-lt"/>
                        </a:rPr>
                        <a:t>JANUARY</a:t>
                      </a:r>
                      <a:endParaRPr lang="pl-PL" sz="2800" b="1" dirty="0">
                        <a:ln w="38100" cap="flat" cmpd="sng">
                          <a:noFill/>
                        </a:ln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ln w="38100" cap="flat" cmpd="sng">
                            <a:noFill/>
                          </a:ln>
                          <a:solidFill>
                            <a:schemeClr val="bg2"/>
                          </a:solidFill>
                          <a:latin typeface="+mj-lt"/>
                        </a:rPr>
                        <a:t>FEBRUARY</a:t>
                      </a:r>
                      <a:endParaRPr lang="pl-PL" sz="2800" b="1" dirty="0">
                        <a:ln w="38100" cap="flat" cmpd="sng">
                          <a:noFill/>
                        </a:ln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ln w="38100" cap="flat" cmpd="sng">
                            <a:noFill/>
                          </a:ln>
                          <a:solidFill>
                            <a:schemeClr val="bg2"/>
                          </a:solidFill>
                          <a:latin typeface="+mj-lt"/>
                        </a:rPr>
                        <a:t>MARCH</a:t>
                      </a:r>
                      <a:endParaRPr lang="pl-PL" sz="2800" b="1" dirty="0">
                        <a:ln w="38100" cap="flat" cmpd="sng">
                          <a:noFill/>
                        </a:ln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ln w="38100" cap="flat" cmpd="sng">
                            <a:noFill/>
                          </a:ln>
                          <a:solidFill>
                            <a:schemeClr val="bg2"/>
                          </a:solidFill>
                          <a:latin typeface="+mj-lt"/>
                        </a:rPr>
                        <a:t>APRIL</a:t>
                      </a:r>
                      <a:endParaRPr lang="pl-PL" sz="2800" b="1" dirty="0">
                        <a:ln w="38100" cap="flat" cmpd="sng">
                          <a:noFill/>
                        </a:ln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ln w="38100" cap="flat" cmpd="sng">
                            <a:noFill/>
                          </a:ln>
                          <a:solidFill>
                            <a:schemeClr val="bg2"/>
                          </a:solidFill>
                          <a:latin typeface="+mj-lt"/>
                        </a:rPr>
                        <a:t>MAY</a:t>
                      </a:r>
                      <a:endParaRPr lang="pl-PL" sz="2800" b="1" dirty="0">
                        <a:ln w="38100" cap="flat" cmpd="sng">
                          <a:noFill/>
                        </a:ln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ln w="38100" cap="flat" cmpd="sng">
                            <a:noFill/>
                          </a:ln>
                          <a:solidFill>
                            <a:schemeClr val="bg2"/>
                          </a:solidFill>
                          <a:latin typeface="+mj-lt"/>
                        </a:rPr>
                        <a:t>JUNE</a:t>
                      </a:r>
                      <a:endParaRPr lang="pl-PL" sz="2800" b="1" dirty="0">
                        <a:ln w="38100" cap="flat" cmpd="sng">
                          <a:noFill/>
                        </a:ln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233286" marR="233286" marT="116642" marB="11664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239048"/>
                  </a:ext>
                </a:extLst>
              </a:tr>
              <a:tr h="976312">
                <a:tc>
                  <a:txBody>
                    <a:bodyPr/>
                    <a:lstStyle/>
                    <a:p>
                      <a:pPr algn="l"/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ep One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631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ep Two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6312">
                <a:tc>
                  <a:txBody>
                    <a:bodyPr/>
                    <a:lstStyle/>
                    <a:p>
                      <a:pPr algn="l"/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ep Three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7631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ep Four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6312">
                <a:tc>
                  <a:txBody>
                    <a:bodyPr/>
                    <a:lstStyle/>
                    <a:p>
                      <a:pPr algn="l"/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ep Five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7631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ep Six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312">
                <a:tc>
                  <a:txBody>
                    <a:bodyPr/>
                    <a:lstStyle/>
                    <a:p>
                      <a:pPr algn="l"/>
                      <a:r>
                        <a:rPr lang="pl-PL" sz="26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ep Seven</a:t>
                      </a:r>
                      <a:endParaRPr lang="pl-PL" sz="2600" dirty="0">
                        <a:ln w="38100" cap="flat" cmpd="sng"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33286" marR="233286" marT="116642" marB="116642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 sz="1800" dirty="0">
                        <a:ln w="38100" cmpd="sng">
                          <a:solidFill>
                            <a:schemeClr val="bg1"/>
                          </a:solidFill>
                        </a:ln>
                        <a:latin typeface="+mn-lt"/>
                      </a:endParaRPr>
                    </a:p>
                  </a:txBody>
                  <a:tcPr marL="233286" marR="233286" marT="116642" marB="116642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8013883" y="1174353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0250979" y="1174353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2533429" y="1174353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4851929" y="1174353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8685470" y="11421811"/>
            <a:ext cx="321064" cy="3210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0922566" y="11421811"/>
            <a:ext cx="321064" cy="3210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13205016" y="11421811"/>
            <a:ext cx="321064" cy="3210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5523516" y="11421811"/>
            <a:ext cx="321064" cy="3210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61" name="Pentagon 12"/>
          <p:cNvSpPr/>
          <p:nvPr/>
        </p:nvSpPr>
        <p:spPr>
          <a:xfrm>
            <a:off x="3544479" y="4368018"/>
            <a:ext cx="5769206" cy="652764"/>
          </a:xfrm>
          <a:prstGeom prst="homePlat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400" b="1" kern="1200" dirty="0">
                <a:solidFill>
                  <a:srgbClr val="FFFFFF"/>
                </a:solidFill>
                <a:latin typeface="Source Sans Pro"/>
              </a:rPr>
              <a:t>Descripstion</a:t>
            </a:r>
          </a:p>
        </p:txBody>
      </p:sp>
      <p:sp>
        <p:nvSpPr>
          <p:cNvPr id="62" name="Pentagon 13"/>
          <p:cNvSpPr/>
          <p:nvPr/>
        </p:nvSpPr>
        <p:spPr>
          <a:xfrm>
            <a:off x="7883951" y="5343070"/>
            <a:ext cx="5216166" cy="652764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400" b="1" kern="1200" dirty="0">
                <a:solidFill>
                  <a:srgbClr val="FFFFFF"/>
                </a:solidFill>
                <a:latin typeface="Source Sans Pro"/>
              </a:rPr>
              <a:t>Descripstion</a:t>
            </a:r>
          </a:p>
        </p:txBody>
      </p:sp>
      <p:sp>
        <p:nvSpPr>
          <p:cNvPr id="63" name="Pentagon 14"/>
          <p:cNvSpPr/>
          <p:nvPr/>
        </p:nvSpPr>
        <p:spPr>
          <a:xfrm>
            <a:off x="11186475" y="6382622"/>
            <a:ext cx="5216166" cy="652764"/>
          </a:xfrm>
          <a:prstGeom prst="homePlat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400" b="1" kern="1200" dirty="0">
                <a:solidFill>
                  <a:srgbClr val="FFFFFF"/>
                </a:solidFill>
                <a:latin typeface="Source Sans Pro"/>
              </a:rPr>
              <a:t>Descripstion</a:t>
            </a:r>
          </a:p>
        </p:txBody>
      </p:sp>
      <p:sp>
        <p:nvSpPr>
          <p:cNvPr id="64" name="Pentagon 15"/>
          <p:cNvSpPr/>
          <p:nvPr/>
        </p:nvSpPr>
        <p:spPr>
          <a:xfrm>
            <a:off x="7905947" y="7327606"/>
            <a:ext cx="5216166" cy="652764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400" b="1" kern="1200" dirty="0">
                <a:solidFill>
                  <a:srgbClr val="FFFFFF"/>
                </a:solidFill>
                <a:latin typeface="Source Sans Pro"/>
              </a:rPr>
              <a:t>Descripstion</a:t>
            </a:r>
          </a:p>
        </p:txBody>
      </p:sp>
      <p:sp>
        <p:nvSpPr>
          <p:cNvPr id="65" name="Pentagon 16"/>
          <p:cNvSpPr/>
          <p:nvPr/>
        </p:nvSpPr>
        <p:spPr>
          <a:xfrm>
            <a:off x="14649253" y="8351672"/>
            <a:ext cx="3488154" cy="652764"/>
          </a:xfrm>
          <a:prstGeom prst="homePlat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400" b="1" kern="1200" dirty="0">
                <a:solidFill>
                  <a:srgbClr val="FFFFFF"/>
                </a:solidFill>
                <a:latin typeface="Source Sans Pro"/>
              </a:rPr>
              <a:t>Descripstion</a:t>
            </a:r>
          </a:p>
        </p:txBody>
      </p:sp>
      <p:sp>
        <p:nvSpPr>
          <p:cNvPr id="66" name="Pentagon 17"/>
          <p:cNvSpPr/>
          <p:nvPr/>
        </p:nvSpPr>
        <p:spPr>
          <a:xfrm>
            <a:off x="17518143" y="9335854"/>
            <a:ext cx="3488154" cy="652764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400" b="1" kern="1200" dirty="0">
                <a:solidFill>
                  <a:srgbClr val="FFFFFF"/>
                </a:solidFill>
                <a:latin typeface="Source Sans Pro"/>
              </a:rPr>
              <a:t>Descripstion</a:t>
            </a:r>
          </a:p>
        </p:txBody>
      </p:sp>
      <p:sp>
        <p:nvSpPr>
          <p:cNvPr id="67" name="Pentagon 18"/>
          <p:cNvSpPr/>
          <p:nvPr/>
        </p:nvSpPr>
        <p:spPr>
          <a:xfrm>
            <a:off x="19796682" y="10243836"/>
            <a:ext cx="2400928" cy="652764"/>
          </a:xfrm>
          <a:prstGeom prst="homePlat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r>
              <a:rPr lang="id-ID" sz="2400" b="1" kern="1200" dirty="0">
                <a:solidFill>
                  <a:srgbClr val="FFFFFF"/>
                </a:solidFill>
                <a:latin typeface="Source Sans Pro"/>
              </a:rPr>
              <a:t>Descripstion</a:t>
            </a:r>
          </a:p>
        </p:txBody>
      </p:sp>
    </p:spTree>
    <p:extLst>
      <p:ext uri="{BB962C8B-B14F-4D97-AF65-F5344CB8AC3E}">
        <p14:creationId xmlns:p14="http://schemas.microsoft.com/office/powerpoint/2010/main" val="418535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WITH PERIOD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225548" y="2829982"/>
          <a:ext cx="21939256" cy="949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53852">
                  <a:extLst>
                    <a:ext uri="{9D8B030D-6E8A-4147-A177-3AD203B41FA5}">
                      <a16:colId xmlns:a16="http://schemas.microsoft.com/office/drawing/2014/main" val="805638883"/>
                    </a:ext>
                  </a:extLst>
                </a:gridCol>
                <a:gridCol w="2714234">
                  <a:extLst>
                    <a:ext uri="{9D8B030D-6E8A-4147-A177-3AD203B41FA5}">
                      <a16:colId xmlns:a16="http://schemas.microsoft.com/office/drawing/2014/main" val="3410170819"/>
                    </a:ext>
                  </a:extLst>
                </a:gridCol>
                <a:gridCol w="2714234">
                  <a:extLst>
                    <a:ext uri="{9D8B030D-6E8A-4147-A177-3AD203B41FA5}">
                      <a16:colId xmlns:a16="http://schemas.microsoft.com/office/drawing/2014/main" val="2157989841"/>
                    </a:ext>
                  </a:extLst>
                </a:gridCol>
                <a:gridCol w="2714234">
                  <a:extLst>
                    <a:ext uri="{9D8B030D-6E8A-4147-A177-3AD203B41FA5}">
                      <a16:colId xmlns:a16="http://schemas.microsoft.com/office/drawing/2014/main" val="3628321462"/>
                    </a:ext>
                  </a:extLst>
                </a:gridCol>
                <a:gridCol w="2714234">
                  <a:extLst>
                    <a:ext uri="{9D8B030D-6E8A-4147-A177-3AD203B41FA5}">
                      <a16:colId xmlns:a16="http://schemas.microsoft.com/office/drawing/2014/main" val="709614430"/>
                    </a:ext>
                  </a:extLst>
                </a:gridCol>
                <a:gridCol w="2714234">
                  <a:extLst>
                    <a:ext uri="{9D8B030D-6E8A-4147-A177-3AD203B41FA5}">
                      <a16:colId xmlns:a16="http://schemas.microsoft.com/office/drawing/2014/main" val="3394232004"/>
                    </a:ext>
                  </a:extLst>
                </a:gridCol>
                <a:gridCol w="2714234">
                  <a:extLst>
                    <a:ext uri="{9D8B030D-6E8A-4147-A177-3AD203B41FA5}">
                      <a16:colId xmlns:a16="http://schemas.microsoft.com/office/drawing/2014/main" val="3058196891"/>
                    </a:ext>
                  </a:extLst>
                </a:gridCol>
              </a:tblGrid>
              <a:tr h="791280">
                <a:tc>
                  <a:txBody>
                    <a:bodyPr/>
                    <a:lstStyle/>
                    <a:p>
                      <a:r>
                        <a:rPr lang="en-US" sz="3200" dirty="0">
                          <a:solidFill>
                            <a:schemeClr val="bg1"/>
                          </a:solidFill>
                        </a:rPr>
                        <a:t>Task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chemeClr val="bg1"/>
                          </a:solidFill>
                        </a:rPr>
                        <a:t>Period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chemeClr val="bg1"/>
                          </a:solidFill>
                        </a:rPr>
                        <a:t>OCT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chemeClr val="bg1"/>
                          </a:solidFill>
                        </a:rPr>
                        <a:t>NOV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chemeClr val="bg1"/>
                          </a:solidFill>
                        </a:rPr>
                        <a:t>DEC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534042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bg2"/>
                          </a:solidFill>
                          <a:latin typeface="+mj-lt"/>
                        </a:rPr>
                        <a:t>Project Summary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b="1" dirty="0">
                          <a:solidFill>
                            <a:schemeClr val="bg2"/>
                          </a:solidFill>
                        </a:rPr>
                        <a:t>xxx day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2"/>
                        </a:solidFill>
                      </a:endParaRP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2"/>
                        </a:solidFill>
                      </a:endParaRP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234560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bg2"/>
                          </a:solidFill>
                          <a:latin typeface="+mj-lt"/>
                        </a:rPr>
                        <a:t>Phase One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b="1" dirty="0">
                          <a:solidFill>
                            <a:schemeClr val="bg2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878566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tx2"/>
                          </a:solidFill>
                          <a:latin typeface="+mj-lt"/>
                        </a:rPr>
                        <a:t>Start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dirty="0">
                          <a:solidFill>
                            <a:schemeClr val="tx2"/>
                          </a:solidFill>
                        </a:rPr>
                        <a:t>x</a:t>
                      </a:r>
                      <a:r>
                        <a:rPr lang="en-US" sz="3200" baseline="0" dirty="0">
                          <a:solidFill>
                            <a:schemeClr val="tx2"/>
                          </a:solidFill>
                        </a:rPr>
                        <a:t> days</a:t>
                      </a:r>
                      <a:endParaRPr lang="en-US" sz="3200" dirty="0">
                        <a:solidFill>
                          <a:schemeClr val="tx2"/>
                        </a:solidFill>
                      </a:endParaRP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09417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tx2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dirty="0"/>
                        <a:t>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951231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tx2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dirty="0"/>
                        <a:t>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39287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bg2"/>
                          </a:solidFill>
                          <a:latin typeface="+mj-lt"/>
                        </a:rPr>
                        <a:t>Phase Two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dirty="0">
                          <a:solidFill>
                            <a:schemeClr val="bg2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712404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tx2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dirty="0"/>
                        <a:t>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609389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tx2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dirty="0"/>
                        <a:t>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18647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bg2"/>
                          </a:solidFill>
                          <a:latin typeface="+mj-lt"/>
                        </a:rPr>
                        <a:t>Phase Three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dirty="0">
                          <a:solidFill>
                            <a:schemeClr val="bg2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535172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tx2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dirty="0"/>
                        <a:t>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3201"/>
                  </a:ext>
                </a:extLst>
              </a:tr>
              <a:tr h="79128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tx2"/>
                          </a:solidFill>
                          <a:latin typeface="+mj-lt"/>
                        </a:rPr>
                        <a:t>Finish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dirty="0"/>
                        <a:t>x days</a:t>
                      </a:r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82880" marR="182880" marT="91440" marB="9144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984450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0636900" y="3844211"/>
            <a:ext cx="10524932" cy="411066"/>
            <a:chOff x="5243804" y="1940767"/>
            <a:chExt cx="5262466" cy="205533"/>
          </a:xfrm>
        </p:grpSpPr>
        <p:sp>
          <p:nvSpPr>
            <p:cNvPr id="4" name="Rectangle 3"/>
            <p:cNvSpPr/>
            <p:nvPr/>
          </p:nvSpPr>
          <p:spPr>
            <a:xfrm>
              <a:off x="5243804" y="1940767"/>
              <a:ext cx="5262465" cy="10263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5" name="Right Triangle 4"/>
            <p:cNvSpPr/>
            <p:nvPr/>
          </p:nvSpPr>
          <p:spPr>
            <a:xfrm rot="10800000" flipH="1">
              <a:off x="5243805" y="1940768"/>
              <a:ext cx="115864" cy="205532"/>
            </a:xfrm>
            <a:prstGeom prst="rtTriangl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6" name="Right Triangle 5"/>
            <p:cNvSpPr/>
            <p:nvPr/>
          </p:nvSpPr>
          <p:spPr>
            <a:xfrm rot="10800000">
              <a:off x="10390406" y="1940767"/>
              <a:ext cx="115864" cy="205532"/>
            </a:xfrm>
            <a:prstGeom prst="rtTriangl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0636900" y="4633985"/>
            <a:ext cx="4023360" cy="411066"/>
            <a:chOff x="5309119" y="2316992"/>
            <a:chExt cx="2011680" cy="205533"/>
          </a:xfrm>
        </p:grpSpPr>
        <p:sp>
          <p:nvSpPr>
            <p:cNvPr id="9" name="Rectangle 8"/>
            <p:cNvSpPr/>
            <p:nvPr/>
          </p:nvSpPr>
          <p:spPr>
            <a:xfrm>
              <a:off x="5309119" y="2316992"/>
              <a:ext cx="2011680" cy="102637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10800000" flipH="1">
              <a:off x="5309120" y="2316993"/>
              <a:ext cx="115864" cy="205532"/>
            </a:xfrm>
            <a:prstGeom prst="rtTriangl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11" name="Right Triangle 10"/>
            <p:cNvSpPr/>
            <p:nvPr/>
          </p:nvSpPr>
          <p:spPr>
            <a:xfrm rot="10800000">
              <a:off x="7204935" y="2316992"/>
              <a:ext cx="115864" cy="205532"/>
            </a:xfrm>
            <a:prstGeom prst="rtTriangl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</p:grpSp>
      <p:sp>
        <p:nvSpPr>
          <p:cNvPr id="18" name="Diamond 17"/>
          <p:cNvSpPr/>
          <p:nvPr/>
        </p:nvSpPr>
        <p:spPr>
          <a:xfrm>
            <a:off x="10460689" y="5406613"/>
            <a:ext cx="390526" cy="390526"/>
          </a:xfrm>
          <a:prstGeom prst="diamond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52767" y="5334437"/>
            <a:ext cx="107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12-Aug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21572" y="6249994"/>
            <a:ext cx="2384736" cy="18288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3006308" y="7074122"/>
            <a:ext cx="1653952" cy="18288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912653" y="6051735"/>
            <a:ext cx="1646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4652021" y="6876975"/>
            <a:ext cx="1646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13006309" y="7815007"/>
            <a:ext cx="6480810" cy="411066"/>
            <a:chOff x="6503154" y="3907503"/>
            <a:chExt cx="3240405" cy="205533"/>
          </a:xfrm>
          <a:solidFill>
            <a:schemeClr val="accent3">
              <a:lumMod val="50000"/>
            </a:schemeClr>
          </a:solidFill>
        </p:grpSpPr>
        <p:sp>
          <p:nvSpPr>
            <p:cNvPr id="25" name="Rectangle 24"/>
            <p:cNvSpPr/>
            <p:nvPr/>
          </p:nvSpPr>
          <p:spPr>
            <a:xfrm>
              <a:off x="6503154" y="3907503"/>
              <a:ext cx="3200400" cy="1026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26" name="Right Triangle 25"/>
            <p:cNvSpPr/>
            <p:nvPr/>
          </p:nvSpPr>
          <p:spPr>
            <a:xfrm rot="10800000" flipH="1">
              <a:off x="6503155" y="3907504"/>
              <a:ext cx="115864" cy="20553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27" name="Right Triangle 26"/>
            <p:cNvSpPr/>
            <p:nvPr/>
          </p:nvSpPr>
          <p:spPr>
            <a:xfrm rot="10800000">
              <a:off x="9627695" y="3907503"/>
              <a:ext cx="115864" cy="20553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7780651" y="10173069"/>
            <a:ext cx="3737610" cy="411066"/>
            <a:chOff x="8890325" y="5086534"/>
            <a:chExt cx="1868805" cy="205533"/>
          </a:xfrm>
        </p:grpSpPr>
        <p:sp>
          <p:nvSpPr>
            <p:cNvPr id="30" name="Rectangle 29"/>
            <p:cNvSpPr/>
            <p:nvPr/>
          </p:nvSpPr>
          <p:spPr>
            <a:xfrm>
              <a:off x="8890325" y="5086534"/>
              <a:ext cx="1828800" cy="10263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31" name="Right Triangle 30"/>
            <p:cNvSpPr/>
            <p:nvPr/>
          </p:nvSpPr>
          <p:spPr>
            <a:xfrm rot="10800000" flipH="1">
              <a:off x="8890326" y="5086535"/>
              <a:ext cx="115864" cy="205532"/>
            </a:xfrm>
            <a:prstGeom prst="rtTriangl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32" name="Right Triangle 31"/>
            <p:cNvSpPr/>
            <p:nvPr/>
          </p:nvSpPr>
          <p:spPr>
            <a:xfrm rot="10800000">
              <a:off x="10643266" y="5086534"/>
              <a:ext cx="115864" cy="205532"/>
            </a:xfrm>
            <a:prstGeom prst="rtTriangl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Source Sans Pro"/>
              </a:endParaRPr>
            </a:p>
          </p:txBody>
        </p:sp>
      </p:grpSp>
      <p:sp>
        <p:nvSpPr>
          <p:cNvPr id="33" name="Diamond 32"/>
          <p:cNvSpPr/>
          <p:nvPr/>
        </p:nvSpPr>
        <p:spPr>
          <a:xfrm>
            <a:off x="21337833" y="11669419"/>
            <a:ext cx="390526" cy="390526"/>
          </a:xfrm>
          <a:prstGeom prst="diamond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1629911" y="11597243"/>
            <a:ext cx="107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12-Aug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3006308" y="8690474"/>
            <a:ext cx="4078224" cy="18288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7105544" y="9514602"/>
            <a:ext cx="2377440" cy="18288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7202389" y="8492215"/>
            <a:ext cx="1646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9456107" y="9317455"/>
            <a:ext cx="1646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7780650" y="11100364"/>
            <a:ext cx="3749040" cy="18288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1402397" y="10903217"/>
            <a:ext cx="1646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28958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WITH PERIOD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225549" y="2829987"/>
          <a:ext cx="21939242" cy="9120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6592">
                  <a:extLst>
                    <a:ext uri="{9D8B030D-6E8A-4147-A177-3AD203B41FA5}">
                      <a16:colId xmlns:a16="http://schemas.microsoft.com/office/drawing/2014/main" val="805638883"/>
                    </a:ext>
                  </a:extLst>
                </a:gridCol>
                <a:gridCol w="2072258">
                  <a:extLst>
                    <a:ext uri="{9D8B030D-6E8A-4147-A177-3AD203B41FA5}">
                      <a16:colId xmlns:a16="http://schemas.microsoft.com/office/drawing/2014/main" val="3410170819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2106896822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1076428382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788985629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023206857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2405586063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114151943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935500390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2157989841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628321462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709614430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394232004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058196891"/>
                    </a:ext>
                  </a:extLst>
                </a:gridCol>
              </a:tblGrid>
              <a:tr h="717184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Task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eriod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 MAR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OCT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NOV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DEC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534042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chemeClr val="bg1"/>
                          </a:solidFill>
                          <a:latin typeface="+mj-lt"/>
                        </a:rPr>
                        <a:t>Main Job</a:t>
                      </a:r>
                      <a:endParaRPr lang="en-US" sz="2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xxx day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234560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Phase One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878566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Start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x</a:t>
                      </a:r>
                      <a:r>
                        <a:rPr lang="en-US" sz="2400" baseline="0" dirty="0">
                          <a:solidFill>
                            <a:schemeClr val="tx1"/>
                          </a:solidFill>
                        </a:rPr>
                        <a:t> days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09417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951231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Main Job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39287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Phase Two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712404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609389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18647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Main Job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535172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3201"/>
                  </a:ext>
                </a:extLst>
              </a:tr>
              <a:tr h="763978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</a:rPr>
                        <a:t>Finish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984450"/>
                  </a:ext>
                </a:extLst>
              </a:tr>
            </a:tbl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12959970" y="12132445"/>
            <a:ext cx="9877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Today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3097182" y="11596363"/>
            <a:ext cx="725852" cy="511830"/>
            <a:chOff x="5237316" y="5594468"/>
            <a:chExt cx="591346" cy="416984"/>
          </a:xfrm>
        </p:grpSpPr>
        <p:sp>
          <p:nvSpPr>
            <p:cNvPr id="44" name="Freeform 5"/>
            <p:cNvSpPr>
              <a:spLocks/>
            </p:cNvSpPr>
            <p:nvPr/>
          </p:nvSpPr>
          <p:spPr bwMode="auto">
            <a:xfrm>
              <a:off x="5237316" y="5843847"/>
              <a:ext cx="591346" cy="167605"/>
            </a:xfrm>
            <a:custGeom>
              <a:avLst/>
              <a:gdLst>
                <a:gd name="T0" fmla="*/ 746 w 875"/>
                <a:gd name="T1" fmla="*/ 248 h 248"/>
                <a:gd name="T2" fmla="*/ 128 w 875"/>
                <a:gd name="T3" fmla="*/ 248 h 248"/>
                <a:gd name="T4" fmla="*/ 0 w 875"/>
                <a:gd name="T5" fmla="*/ 0 h 248"/>
                <a:gd name="T6" fmla="*/ 875 w 875"/>
                <a:gd name="T7" fmla="*/ 0 h 248"/>
                <a:gd name="T8" fmla="*/ 746 w 875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248">
                  <a:moveTo>
                    <a:pt x="746" y="248"/>
                  </a:moveTo>
                  <a:lnTo>
                    <a:pt x="128" y="248"/>
                  </a:lnTo>
                  <a:lnTo>
                    <a:pt x="0" y="0"/>
                  </a:lnTo>
                  <a:lnTo>
                    <a:pt x="875" y="0"/>
                  </a:lnTo>
                  <a:lnTo>
                    <a:pt x="746" y="24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5323821" y="5594468"/>
              <a:ext cx="417660" cy="416984"/>
            </a:xfrm>
            <a:custGeom>
              <a:avLst/>
              <a:gdLst>
                <a:gd name="T0" fmla="*/ 308 w 618"/>
                <a:gd name="T1" fmla="*/ 0 h 617"/>
                <a:gd name="T2" fmla="*/ 0 w 618"/>
                <a:gd name="T3" fmla="*/ 235 h 617"/>
                <a:gd name="T4" fmla="*/ 0 w 618"/>
                <a:gd name="T5" fmla="*/ 617 h 617"/>
                <a:gd name="T6" fmla="*/ 618 w 618"/>
                <a:gd name="T7" fmla="*/ 617 h 617"/>
                <a:gd name="T8" fmla="*/ 618 w 618"/>
                <a:gd name="T9" fmla="*/ 235 h 617"/>
                <a:gd name="T10" fmla="*/ 308 w 618"/>
                <a:gd name="T11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8" h="617">
                  <a:moveTo>
                    <a:pt x="308" y="0"/>
                  </a:moveTo>
                  <a:lnTo>
                    <a:pt x="0" y="235"/>
                  </a:lnTo>
                  <a:lnTo>
                    <a:pt x="0" y="617"/>
                  </a:lnTo>
                  <a:lnTo>
                    <a:pt x="618" y="617"/>
                  </a:lnTo>
                  <a:lnTo>
                    <a:pt x="618" y="235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1280211" y="12381737"/>
            <a:ext cx="448418" cy="4484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728628" y="12298169"/>
            <a:ext cx="14414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Complete</a:t>
            </a:r>
            <a:endParaRPr lang="id-ID" sz="2400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708031" y="12381737"/>
            <a:ext cx="448418" cy="44841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156448" y="12298169"/>
            <a:ext cx="16546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Incomplete</a:t>
            </a:r>
            <a:endParaRPr lang="id-ID" sz="2400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8386415" y="12381737"/>
            <a:ext cx="448418" cy="4484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834833" y="12298169"/>
            <a:ext cx="17363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Not  Started</a:t>
            </a:r>
            <a:endParaRPr lang="id-ID" sz="2400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5" name="Progress"/>
          <p:cNvSpPr/>
          <p:nvPr/>
        </p:nvSpPr>
        <p:spPr>
          <a:xfrm>
            <a:off x="10349904" y="3760785"/>
            <a:ext cx="3108960" cy="3516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16" name="Progress"/>
          <p:cNvSpPr/>
          <p:nvPr/>
        </p:nvSpPr>
        <p:spPr>
          <a:xfrm>
            <a:off x="19453616" y="5275647"/>
            <a:ext cx="219456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17" name="Progress"/>
          <p:cNvSpPr/>
          <p:nvPr/>
        </p:nvSpPr>
        <p:spPr>
          <a:xfrm>
            <a:off x="12030956" y="6783435"/>
            <a:ext cx="2194560" cy="3516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18" name="Progress"/>
          <p:cNvSpPr/>
          <p:nvPr/>
        </p:nvSpPr>
        <p:spPr>
          <a:xfrm>
            <a:off x="14156840" y="6783435"/>
            <a:ext cx="3108960" cy="3516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19" name="Progress"/>
          <p:cNvSpPr/>
          <p:nvPr/>
        </p:nvSpPr>
        <p:spPr>
          <a:xfrm>
            <a:off x="18004536" y="8302813"/>
            <a:ext cx="219456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0" name="Progress"/>
          <p:cNvSpPr/>
          <p:nvPr/>
        </p:nvSpPr>
        <p:spPr>
          <a:xfrm>
            <a:off x="8401190" y="4589393"/>
            <a:ext cx="5080224" cy="3516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1" name="Progress"/>
          <p:cNvSpPr/>
          <p:nvPr/>
        </p:nvSpPr>
        <p:spPr>
          <a:xfrm>
            <a:off x="13481414" y="4589393"/>
            <a:ext cx="1828800" cy="3516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2" name="Progress"/>
          <p:cNvSpPr/>
          <p:nvPr/>
        </p:nvSpPr>
        <p:spPr>
          <a:xfrm>
            <a:off x="13451990" y="6006293"/>
            <a:ext cx="3630748" cy="3516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3" name="Progress"/>
          <p:cNvSpPr/>
          <p:nvPr/>
        </p:nvSpPr>
        <p:spPr>
          <a:xfrm>
            <a:off x="17082738" y="6006293"/>
            <a:ext cx="1307012" cy="3516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4" name="Progress"/>
          <p:cNvSpPr/>
          <p:nvPr/>
        </p:nvSpPr>
        <p:spPr>
          <a:xfrm>
            <a:off x="9823005" y="7576203"/>
            <a:ext cx="1763346" cy="3516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5" name="Progress"/>
          <p:cNvSpPr/>
          <p:nvPr/>
        </p:nvSpPr>
        <p:spPr>
          <a:xfrm>
            <a:off x="11531171" y="7576203"/>
            <a:ext cx="2498074" cy="3516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 dirty="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6" name="Progress"/>
          <p:cNvSpPr/>
          <p:nvPr/>
        </p:nvSpPr>
        <p:spPr>
          <a:xfrm>
            <a:off x="8897135" y="9128067"/>
            <a:ext cx="1763346" cy="3516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7" name="Progress"/>
          <p:cNvSpPr/>
          <p:nvPr/>
        </p:nvSpPr>
        <p:spPr>
          <a:xfrm>
            <a:off x="15386414" y="9843551"/>
            <a:ext cx="5080224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8" name="Progress"/>
          <p:cNvSpPr/>
          <p:nvPr/>
        </p:nvSpPr>
        <p:spPr>
          <a:xfrm>
            <a:off x="21518870" y="11420517"/>
            <a:ext cx="164592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 dirty="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9" name="Progress"/>
          <p:cNvSpPr/>
          <p:nvPr/>
        </p:nvSpPr>
        <p:spPr>
          <a:xfrm>
            <a:off x="19704129" y="10647537"/>
            <a:ext cx="1763346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cxnSp>
        <p:nvCxnSpPr>
          <p:cNvPr id="46" name="Straight Connector 45"/>
          <p:cNvCxnSpPr>
            <a:cxnSpLocks/>
            <a:stCxn id="45" idx="0"/>
          </p:cNvCxnSpPr>
          <p:nvPr/>
        </p:nvCxnSpPr>
        <p:spPr>
          <a:xfrm flipV="1">
            <a:off x="13458864" y="3601617"/>
            <a:ext cx="0" cy="7994746"/>
          </a:xfrm>
          <a:prstGeom prst="line">
            <a:avLst/>
          </a:prstGeom>
          <a:ln w="19050">
            <a:solidFill>
              <a:schemeClr val="accent1"/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812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TWO YEAR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225549" y="3012147"/>
          <a:ext cx="21939242" cy="93806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6592">
                  <a:extLst>
                    <a:ext uri="{9D8B030D-6E8A-4147-A177-3AD203B41FA5}">
                      <a16:colId xmlns:a16="http://schemas.microsoft.com/office/drawing/2014/main" val="805638883"/>
                    </a:ext>
                  </a:extLst>
                </a:gridCol>
                <a:gridCol w="2072258">
                  <a:extLst>
                    <a:ext uri="{9D8B030D-6E8A-4147-A177-3AD203B41FA5}">
                      <a16:colId xmlns:a16="http://schemas.microsoft.com/office/drawing/2014/main" val="3410170819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2106896822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1076428382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788985629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023206857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2405586063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114151943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935500390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2157989841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628321462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709614430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394232004"/>
                    </a:ext>
                  </a:extLst>
                </a:gridCol>
                <a:gridCol w="1295866">
                  <a:extLst>
                    <a:ext uri="{9D8B030D-6E8A-4147-A177-3AD203B41FA5}">
                      <a16:colId xmlns:a16="http://schemas.microsoft.com/office/drawing/2014/main" val="3058196891"/>
                    </a:ext>
                  </a:extLst>
                </a:gridCol>
              </a:tblGrid>
              <a:tr h="683836">
                <a:tc gridSpan="2">
                  <a:txBody>
                    <a:bodyPr/>
                    <a:lstStyle/>
                    <a:p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2018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354162"/>
                  </a:ext>
                </a:extLst>
              </a:tr>
              <a:tr h="683836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Task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Period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JUL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AUG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SEP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OCT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NOV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DEC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JA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FEB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 MAR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APR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MAY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+mj-lt"/>
                        </a:rPr>
                        <a:t>JUN</a:t>
                      </a:r>
                    </a:p>
                  </a:txBody>
                  <a:tcPr marL="182880" marR="182880"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534042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Main Job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="1" dirty="0">
                          <a:solidFill>
                            <a:schemeClr val="tx1"/>
                          </a:solidFill>
                        </a:rPr>
                        <a:t>xxx day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234560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Phase One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="1" dirty="0">
                          <a:solidFill>
                            <a:schemeClr val="tx1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0878566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Star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x</a:t>
                      </a:r>
                      <a:r>
                        <a:rPr lang="en-US" sz="2100" baseline="0" dirty="0">
                          <a:solidFill>
                            <a:schemeClr val="tx1"/>
                          </a:solidFill>
                        </a:rPr>
                        <a:t> days</a:t>
                      </a:r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09417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951231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in Job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39287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Phase Two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1" dirty="0">
                          <a:solidFill>
                            <a:schemeClr val="tx1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712404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5609389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18647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in Job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1" dirty="0">
                          <a:solidFill>
                            <a:schemeClr val="tx1"/>
                          </a:solidFill>
                        </a:rPr>
                        <a:t>x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535172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3201"/>
                  </a:ext>
                </a:extLst>
              </a:tr>
              <a:tr h="728454"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  <a:latin typeface="+mj-lt"/>
                        </a:rPr>
                        <a:t>Finish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x day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984450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14272404" y="12627677"/>
            <a:ext cx="9877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Today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14409616" y="12091595"/>
            <a:ext cx="725852" cy="511830"/>
            <a:chOff x="5237316" y="5594468"/>
            <a:chExt cx="591346" cy="416984"/>
          </a:xfrm>
        </p:grpSpPr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5237316" y="5843847"/>
              <a:ext cx="591346" cy="167605"/>
            </a:xfrm>
            <a:custGeom>
              <a:avLst/>
              <a:gdLst>
                <a:gd name="T0" fmla="*/ 746 w 875"/>
                <a:gd name="T1" fmla="*/ 248 h 248"/>
                <a:gd name="T2" fmla="*/ 128 w 875"/>
                <a:gd name="T3" fmla="*/ 248 h 248"/>
                <a:gd name="T4" fmla="*/ 0 w 875"/>
                <a:gd name="T5" fmla="*/ 0 h 248"/>
                <a:gd name="T6" fmla="*/ 875 w 875"/>
                <a:gd name="T7" fmla="*/ 0 h 248"/>
                <a:gd name="T8" fmla="*/ 746 w 875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248">
                  <a:moveTo>
                    <a:pt x="746" y="248"/>
                  </a:moveTo>
                  <a:lnTo>
                    <a:pt x="128" y="248"/>
                  </a:lnTo>
                  <a:lnTo>
                    <a:pt x="0" y="0"/>
                  </a:lnTo>
                  <a:lnTo>
                    <a:pt x="875" y="0"/>
                  </a:lnTo>
                  <a:lnTo>
                    <a:pt x="746" y="24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33" name="Freeform 6"/>
            <p:cNvSpPr>
              <a:spLocks/>
            </p:cNvSpPr>
            <p:nvPr/>
          </p:nvSpPr>
          <p:spPr bwMode="auto">
            <a:xfrm>
              <a:off x="5323821" y="5594468"/>
              <a:ext cx="417660" cy="416984"/>
            </a:xfrm>
            <a:custGeom>
              <a:avLst/>
              <a:gdLst>
                <a:gd name="T0" fmla="*/ 308 w 618"/>
                <a:gd name="T1" fmla="*/ 0 h 617"/>
                <a:gd name="T2" fmla="*/ 0 w 618"/>
                <a:gd name="T3" fmla="*/ 235 h 617"/>
                <a:gd name="T4" fmla="*/ 0 w 618"/>
                <a:gd name="T5" fmla="*/ 617 h 617"/>
                <a:gd name="T6" fmla="*/ 618 w 618"/>
                <a:gd name="T7" fmla="*/ 617 h 617"/>
                <a:gd name="T8" fmla="*/ 618 w 618"/>
                <a:gd name="T9" fmla="*/ 235 h 617"/>
                <a:gd name="T10" fmla="*/ 308 w 618"/>
                <a:gd name="T11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8" h="617">
                  <a:moveTo>
                    <a:pt x="308" y="0"/>
                  </a:moveTo>
                  <a:lnTo>
                    <a:pt x="0" y="235"/>
                  </a:lnTo>
                  <a:lnTo>
                    <a:pt x="0" y="617"/>
                  </a:lnTo>
                  <a:lnTo>
                    <a:pt x="618" y="617"/>
                  </a:lnTo>
                  <a:lnTo>
                    <a:pt x="618" y="235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</p:grpSp>
      <p:cxnSp>
        <p:nvCxnSpPr>
          <p:cNvPr id="34" name="Straight Connector 33"/>
          <p:cNvCxnSpPr>
            <a:cxnSpLocks/>
          </p:cNvCxnSpPr>
          <p:nvPr/>
        </p:nvCxnSpPr>
        <p:spPr>
          <a:xfrm flipV="1">
            <a:off x="14771298" y="4419586"/>
            <a:ext cx="0" cy="7680960"/>
          </a:xfrm>
          <a:prstGeom prst="line">
            <a:avLst/>
          </a:prstGeom>
          <a:ln w="19050">
            <a:solidFill>
              <a:schemeClr val="accent1"/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168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4 QUARTE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219189" y="2597572"/>
          <a:ext cx="21920202" cy="9606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1148">
                  <a:extLst>
                    <a:ext uri="{9D8B030D-6E8A-4147-A177-3AD203B41FA5}">
                      <a16:colId xmlns:a16="http://schemas.microsoft.com/office/drawing/2014/main" val="3981764216"/>
                    </a:ext>
                  </a:extLst>
                </a:gridCol>
                <a:gridCol w="2725826">
                  <a:extLst>
                    <a:ext uri="{9D8B030D-6E8A-4147-A177-3AD203B41FA5}">
                      <a16:colId xmlns:a16="http://schemas.microsoft.com/office/drawing/2014/main" val="3685122358"/>
                    </a:ext>
                  </a:extLst>
                </a:gridCol>
                <a:gridCol w="1173706">
                  <a:extLst>
                    <a:ext uri="{9D8B030D-6E8A-4147-A177-3AD203B41FA5}">
                      <a16:colId xmlns:a16="http://schemas.microsoft.com/office/drawing/2014/main" val="1544520791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3754720166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1694685237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1789365695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4029555531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3552529618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2003452297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2574785049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3637263203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506209885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3410092989"/>
                    </a:ext>
                  </a:extLst>
                </a:gridCol>
                <a:gridCol w="1164502">
                  <a:extLst>
                    <a:ext uri="{9D8B030D-6E8A-4147-A177-3AD203B41FA5}">
                      <a16:colId xmlns:a16="http://schemas.microsoft.com/office/drawing/2014/main" val="2806663260"/>
                    </a:ext>
                  </a:extLst>
                </a:gridCol>
              </a:tblGrid>
              <a:tr h="615832">
                <a:tc rowSpan="2"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Activity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Period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1</a:t>
                      </a:r>
                      <a:r>
                        <a:rPr lang="en-US" sz="2800" baseline="30000" dirty="0">
                          <a:solidFill>
                            <a:schemeClr val="bg2"/>
                          </a:solidFill>
                          <a:latin typeface="+mj-lt"/>
                        </a:rPr>
                        <a:t>st</a:t>
                      </a:r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 Quarter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2800" b="1" kern="1200" baseline="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2800" b="1" kern="1200" baseline="300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28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 Quarter</a:t>
                      </a:r>
                      <a:endParaRPr lang="id-ID" sz="2800" b="1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2800" b="1" kern="1200" baseline="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2800" b="1" kern="1200" baseline="300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rd</a:t>
                      </a:r>
                      <a:r>
                        <a:rPr lang="en-US" sz="28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 Quarter</a:t>
                      </a:r>
                      <a:endParaRPr lang="id-ID" sz="2800" b="1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kern="1200" baseline="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2800" b="1" kern="1200" baseline="300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28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 Quarter</a:t>
                      </a:r>
                      <a:endParaRPr lang="id-ID" sz="2800" b="1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id-ID" sz="1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id-ID" sz="14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0272391"/>
                  </a:ext>
                </a:extLst>
              </a:tr>
              <a:tr h="615832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JAN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FEB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MAR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APR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MAY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JUN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JUL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AUG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SEP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OCT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NOV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2"/>
                          </a:solidFill>
                          <a:latin typeface="+mj-lt"/>
                        </a:rPr>
                        <a:t>DEC</a:t>
                      </a:r>
                      <a:endParaRPr lang="id-ID" sz="280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396584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algn="l"/>
                      <a:r>
                        <a:rPr lang="en-US" sz="2800" b="1" dirty="0">
                          <a:solidFill>
                            <a:schemeClr val="tx1"/>
                          </a:solidFill>
                          <a:latin typeface="+mj-lt"/>
                        </a:rPr>
                        <a:t>Design/</a:t>
                      </a:r>
                      <a:r>
                        <a:rPr lang="en-US" sz="28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Development</a:t>
                      </a:r>
                      <a:endParaRPr lang="id-ID" sz="2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050661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algn="l"/>
                      <a:r>
                        <a:rPr lang="id-ID" sz="2400" dirty="0">
                          <a:solidFill>
                            <a:schemeClr val="tx1"/>
                          </a:solidFill>
                          <a:latin typeface="+mn-lt"/>
                        </a:rPr>
                        <a:t>Task</a:t>
                      </a:r>
                      <a:r>
                        <a:rPr lang="id-ID" sz="2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escription</a:t>
                      </a:r>
                      <a:endParaRPr lang="id-ID" sz="2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058653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F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kumimoji="0" lang="id-ID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391300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F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kumimoji="0" lang="id-ID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870873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F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kumimoji="0" lang="id-ID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915347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MS Improvement</a:t>
                      </a:r>
                      <a:endParaRPr lang="id-ID" sz="2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d-ID" sz="2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998534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8938834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F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kumimoji="0" lang="id-ID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2390710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F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kumimoji="0" lang="id-ID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5769752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aluate</a:t>
                      </a:r>
                      <a:endParaRPr lang="id-ID" sz="2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721225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F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kumimoji="0" lang="id-ID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452411"/>
                  </a:ext>
                </a:extLst>
              </a:tr>
              <a:tr h="6979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id-ID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cription</a:t>
                      </a:r>
                      <a:endParaRPr lang="id-ID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F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 Days</a:t>
                      </a:r>
                      <a:endParaRPr kumimoji="0" lang="id-ID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2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509012"/>
                  </a:ext>
                </a:extLst>
              </a:tr>
            </a:tbl>
          </a:graphicData>
        </a:graphic>
      </p:graphicFrame>
      <p:sp>
        <p:nvSpPr>
          <p:cNvPr id="5" name="Freeform 5"/>
          <p:cNvSpPr>
            <a:spLocks/>
          </p:cNvSpPr>
          <p:nvPr/>
        </p:nvSpPr>
        <p:spPr bwMode="auto">
          <a:xfrm>
            <a:off x="22276283" y="11612032"/>
            <a:ext cx="469418" cy="446620"/>
          </a:xfrm>
          <a:custGeom>
            <a:avLst/>
            <a:gdLst>
              <a:gd name="T0" fmla="*/ 453 w 906"/>
              <a:gd name="T1" fmla="*/ 695 h 862"/>
              <a:gd name="T2" fmla="*/ 172 w 906"/>
              <a:gd name="T3" fmla="*/ 862 h 862"/>
              <a:gd name="T4" fmla="*/ 243 w 906"/>
              <a:gd name="T5" fmla="*/ 545 h 862"/>
              <a:gd name="T6" fmla="*/ 0 w 906"/>
              <a:gd name="T7" fmla="*/ 329 h 862"/>
              <a:gd name="T8" fmla="*/ 324 w 906"/>
              <a:gd name="T9" fmla="*/ 300 h 862"/>
              <a:gd name="T10" fmla="*/ 453 w 906"/>
              <a:gd name="T11" fmla="*/ 0 h 862"/>
              <a:gd name="T12" fmla="*/ 582 w 906"/>
              <a:gd name="T13" fmla="*/ 300 h 862"/>
              <a:gd name="T14" fmla="*/ 906 w 906"/>
              <a:gd name="T15" fmla="*/ 329 h 862"/>
              <a:gd name="T16" fmla="*/ 660 w 906"/>
              <a:gd name="T17" fmla="*/ 545 h 862"/>
              <a:gd name="T18" fmla="*/ 734 w 906"/>
              <a:gd name="T19" fmla="*/ 862 h 862"/>
              <a:gd name="T20" fmla="*/ 453 w 906"/>
              <a:gd name="T21" fmla="*/ 695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06" h="862">
                <a:moveTo>
                  <a:pt x="453" y="695"/>
                </a:moveTo>
                <a:lnTo>
                  <a:pt x="172" y="862"/>
                </a:lnTo>
                <a:lnTo>
                  <a:pt x="243" y="545"/>
                </a:lnTo>
                <a:lnTo>
                  <a:pt x="0" y="329"/>
                </a:lnTo>
                <a:lnTo>
                  <a:pt x="324" y="300"/>
                </a:lnTo>
                <a:lnTo>
                  <a:pt x="453" y="0"/>
                </a:lnTo>
                <a:lnTo>
                  <a:pt x="582" y="300"/>
                </a:lnTo>
                <a:lnTo>
                  <a:pt x="906" y="329"/>
                </a:lnTo>
                <a:lnTo>
                  <a:pt x="660" y="545"/>
                </a:lnTo>
                <a:lnTo>
                  <a:pt x="734" y="862"/>
                </a:lnTo>
                <a:lnTo>
                  <a:pt x="453" y="69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id-ID" sz="3600" kern="120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744074" y="4705351"/>
            <a:ext cx="2238376" cy="43815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6" name="Diamond 5"/>
          <p:cNvSpPr/>
          <p:nvPr/>
        </p:nvSpPr>
        <p:spPr>
          <a:xfrm>
            <a:off x="9505951" y="4705351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8" name="Diamond 7"/>
          <p:cNvSpPr/>
          <p:nvPr/>
        </p:nvSpPr>
        <p:spPr>
          <a:xfrm>
            <a:off x="11744325" y="4705351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744324" y="5359105"/>
            <a:ext cx="3657600" cy="43815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0" name="Diamond 9"/>
          <p:cNvSpPr/>
          <p:nvPr/>
        </p:nvSpPr>
        <p:spPr>
          <a:xfrm>
            <a:off x="11506201" y="5359105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1" name="Diamond 10"/>
          <p:cNvSpPr/>
          <p:nvPr/>
        </p:nvSpPr>
        <p:spPr>
          <a:xfrm>
            <a:off x="15154275" y="5359105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101387" y="6064375"/>
            <a:ext cx="1458914" cy="43815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3" name="Diamond 12"/>
          <p:cNvSpPr/>
          <p:nvPr/>
        </p:nvSpPr>
        <p:spPr>
          <a:xfrm>
            <a:off x="10863263" y="6064375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4" name="Diamond 13"/>
          <p:cNvSpPr/>
          <p:nvPr/>
        </p:nvSpPr>
        <p:spPr>
          <a:xfrm>
            <a:off x="12303125" y="6064375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401925" y="6731125"/>
            <a:ext cx="1458914" cy="4381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6" name="Diamond 15"/>
          <p:cNvSpPr/>
          <p:nvPr/>
        </p:nvSpPr>
        <p:spPr>
          <a:xfrm>
            <a:off x="15163801" y="6731125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7" name="Diamond 16"/>
          <p:cNvSpPr/>
          <p:nvPr/>
        </p:nvSpPr>
        <p:spPr>
          <a:xfrm>
            <a:off x="16603663" y="6731125"/>
            <a:ext cx="476250" cy="438150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982448" y="8130583"/>
            <a:ext cx="2238376" cy="438150"/>
          </a:xfrm>
          <a:prstGeom prst="rect">
            <a:avLst/>
          </a:prstGeom>
          <a:pattFill prst="wdUpDiag">
            <a:fgClr>
              <a:schemeClr val="accent3"/>
            </a:fgClr>
            <a:bgClr>
              <a:schemeClr val="accent3">
                <a:lumMod val="20000"/>
                <a:lumOff val="8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1744325" y="8130580"/>
            <a:ext cx="476250" cy="4754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3982699" y="8130580"/>
            <a:ext cx="476250" cy="4754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6006758" y="9530881"/>
            <a:ext cx="3657600" cy="4381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15768635" y="9530878"/>
            <a:ext cx="476250" cy="4754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9416709" y="9530878"/>
            <a:ext cx="476250" cy="4754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4547845" y="8823153"/>
            <a:ext cx="1458914" cy="438150"/>
          </a:xfrm>
          <a:prstGeom prst="rect">
            <a:avLst/>
          </a:prstGeom>
          <a:pattFill prst="wdUpDiag">
            <a:fgClr>
              <a:schemeClr val="accent3"/>
            </a:fgClr>
            <a:bgClr>
              <a:schemeClr val="accent3">
                <a:lumMod val="20000"/>
                <a:lumOff val="8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4309721" y="8823150"/>
            <a:ext cx="476250" cy="4754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15749583" y="8823150"/>
            <a:ext cx="476250" cy="4754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8799170" y="10911561"/>
            <a:ext cx="2238376" cy="438150"/>
          </a:xfrm>
          <a:prstGeom prst="rect">
            <a:avLst/>
          </a:prstGeom>
          <a:pattFill prst="wdUpDiag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8" name="Flowchart: Off-page Connector 27"/>
          <p:cNvSpPr/>
          <p:nvPr/>
        </p:nvSpPr>
        <p:spPr>
          <a:xfrm>
            <a:off x="18561047" y="10911558"/>
            <a:ext cx="476250" cy="475488"/>
          </a:xfrm>
          <a:prstGeom prst="flowChartOffpageConnec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29" name="Flowchart: Off-page Connector 28"/>
          <p:cNvSpPr/>
          <p:nvPr/>
        </p:nvSpPr>
        <p:spPr>
          <a:xfrm flipV="1">
            <a:off x="20799421" y="10911558"/>
            <a:ext cx="476250" cy="475488"/>
          </a:xfrm>
          <a:prstGeom prst="flowChartOffpageConnec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41702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/>
        </p:nvGrpSpPr>
        <p:grpSpPr>
          <a:xfrm>
            <a:off x="5642980" y="4703502"/>
            <a:ext cx="13057064" cy="5872464"/>
            <a:chOff x="2821490" y="2351751"/>
            <a:chExt cx="6528532" cy="2936232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26" name="Rectangle 25"/>
            <p:cNvSpPr/>
            <p:nvPr/>
          </p:nvSpPr>
          <p:spPr>
            <a:xfrm rot="874805">
              <a:off x="2821490" y="4806047"/>
              <a:ext cx="2777896" cy="4819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 rot="20725195" flipH="1">
              <a:off x="6572126" y="4806047"/>
              <a:ext cx="2777896" cy="4819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4785031" y="2351751"/>
              <a:ext cx="2583666" cy="2777896"/>
              <a:chOff x="4724302" y="2224979"/>
              <a:chExt cx="2583666" cy="2777896"/>
            </a:xfrm>
            <a:grpFill/>
          </p:grpSpPr>
          <p:sp>
            <p:nvSpPr>
              <p:cNvPr id="29" name="Rectangle 28"/>
              <p:cNvSpPr/>
              <p:nvPr/>
            </p:nvSpPr>
            <p:spPr>
              <a:xfrm rot="3386071">
                <a:off x="3576322" y="3372959"/>
                <a:ext cx="2777896" cy="48193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 rot="18213929" flipH="1">
                <a:off x="5678052" y="3372959"/>
                <a:ext cx="2777896" cy="48193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</p:grpSp>
      </p:grpSp>
      <p:sp>
        <p:nvSpPr>
          <p:cNvPr id="37" name="Oval 36"/>
          <p:cNvSpPr/>
          <p:nvPr/>
        </p:nvSpPr>
        <p:spPr>
          <a:xfrm>
            <a:off x="17126533" y="8173281"/>
            <a:ext cx="2575866" cy="257586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4605059" y="8173281"/>
            <a:ext cx="2575866" cy="257586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103497" y="3832729"/>
            <a:ext cx="2575866" cy="257586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14550667" y="3832729"/>
            <a:ext cx="2575866" cy="257586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3" name="Oval 2"/>
          <p:cNvSpPr/>
          <p:nvPr/>
        </p:nvSpPr>
        <p:spPr>
          <a:xfrm>
            <a:off x="10153337" y="8629337"/>
            <a:ext cx="4077326" cy="407732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10703046" y="9179046"/>
            <a:ext cx="2977904" cy="2977904"/>
          </a:xfrm>
          <a:custGeom>
            <a:avLst/>
            <a:gdLst>
              <a:gd name="connsiteX0" fmla="*/ 1862114 w 2623419"/>
              <a:gd name="connsiteY0" fmla="*/ 418274 h 2623419"/>
              <a:gd name="connsiteX1" fmla="*/ 2066174 w 2623419"/>
              <a:gd name="connsiteY1" fmla="*/ 247038 h 2623419"/>
              <a:gd name="connsiteX2" fmla="*/ 2229195 w 2623419"/>
              <a:gd name="connsiteY2" fmla="*/ 383828 h 2623419"/>
              <a:gd name="connsiteX3" fmla="*/ 2095995 w 2623419"/>
              <a:gd name="connsiteY3" fmla="*/ 614523 h 2623419"/>
              <a:gd name="connsiteX4" fmla="*/ 2307633 w 2623419"/>
              <a:gd name="connsiteY4" fmla="*/ 981091 h 2623419"/>
              <a:gd name="connsiteX5" fmla="*/ 2574021 w 2623419"/>
              <a:gd name="connsiteY5" fmla="*/ 981084 h 2623419"/>
              <a:gd name="connsiteX6" fmla="*/ 2610975 w 2623419"/>
              <a:gd name="connsiteY6" fmla="*/ 1190660 h 2623419"/>
              <a:gd name="connsiteX7" fmla="*/ 2360650 w 2623419"/>
              <a:gd name="connsiteY7" fmla="*/ 1281763 h 2623419"/>
              <a:gd name="connsiteX8" fmla="*/ 2287149 w 2623419"/>
              <a:gd name="connsiteY8" fmla="*/ 1698609 h 2623419"/>
              <a:gd name="connsiteX9" fmla="*/ 2491218 w 2623419"/>
              <a:gd name="connsiteY9" fmla="*/ 1869834 h 2623419"/>
              <a:gd name="connsiteX10" fmla="*/ 2384814 w 2623419"/>
              <a:gd name="connsiteY10" fmla="*/ 2054131 h 2623419"/>
              <a:gd name="connsiteX11" fmla="*/ 2134494 w 2623419"/>
              <a:gd name="connsiteY11" fmla="*/ 1963015 h 2623419"/>
              <a:gd name="connsiteX12" fmla="*/ 1810246 w 2623419"/>
              <a:gd name="connsiteY12" fmla="*/ 2235092 h 2623419"/>
              <a:gd name="connsiteX13" fmla="*/ 1856510 w 2623419"/>
              <a:gd name="connsiteY13" fmla="*/ 2497431 h 2623419"/>
              <a:gd name="connsiteX14" fmla="*/ 1656535 w 2623419"/>
              <a:gd name="connsiteY14" fmla="*/ 2570216 h 2623419"/>
              <a:gd name="connsiteX15" fmla="*/ 1523348 w 2623419"/>
              <a:gd name="connsiteY15" fmla="*/ 2339514 h 2623419"/>
              <a:gd name="connsiteX16" fmla="*/ 1100072 w 2623419"/>
              <a:gd name="connsiteY16" fmla="*/ 2339514 h 2623419"/>
              <a:gd name="connsiteX17" fmla="*/ 966884 w 2623419"/>
              <a:gd name="connsiteY17" fmla="*/ 2570216 h 2623419"/>
              <a:gd name="connsiteX18" fmla="*/ 766909 w 2623419"/>
              <a:gd name="connsiteY18" fmla="*/ 2497431 h 2623419"/>
              <a:gd name="connsiteX19" fmla="*/ 813174 w 2623419"/>
              <a:gd name="connsiteY19" fmla="*/ 2235092 h 2623419"/>
              <a:gd name="connsiteX20" fmla="*/ 488925 w 2623419"/>
              <a:gd name="connsiteY20" fmla="*/ 1963015 h 2623419"/>
              <a:gd name="connsiteX21" fmla="*/ 238605 w 2623419"/>
              <a:gd name="connsiteY21" fmla="*/ 2054131 h 2623419"/>
              <a:gd name="connsiteX22" fmla="*/ 132201 w 2623419"/>
              <a:gd name="connsiteY22" fmla="*/ 1869834 h 2623419"/>
              <a:gd name="connsiteX23" fmla="*/ 336270 w 2623419"/>
              <a:gd name="connsiteY23" fmla="*/ 1698609 h 2623419"/>
              <a:gd name="connsiteX24" fmla="*/ 262769 w 2623419"/>
              <a:gd name="connsiteY24" fmla="*/ 1281763 h 2623419"/>
              <a:gd name="connsiteX25" fmla="*/ 12444 w 2623419"/>
              <a:gd name="connsiteY25" fmla="*/ 1190660 h 2623419"/>
              <a:gd name="connsiteX26" fmla="*/ 49398 w 2623419"/>
              <a:gd name="connsiteY26" fmla="*/ 981084 h 2623419"/>
              <a:gd name="connsiteX27" fmla="*/ 315786 w 2623419"/>
              <a:gd name="connsiteY27" fmla="*/ 981091 h 2623419"/>
              <a:gd name="connsiteX28" fmla="*/ 527424 w 2623419"/>
              <a:gd name="connsiteY28" fmla="*/ 614523 h 2623419"/>
              <a:gd name="connsiteX29" fmla="*/ 394224 w 2623419"/>
              <a:gd name="connsiteY29" fmla="*/ 383828 h 2623419"/>
              <a:gd name="connsiteX30" fmla="*/ 557245 w 2623419"/>
              <a:gd name="connsiteY30" fmla="*/ 247038 h 2623419"/>
              <a:gd name="connsiteX31" fmla="*/ 761305 w 2623419"/>
              <a:gd name="connsiteY31" fmla="*/ 418274 h 2623419"/>
              <a:gd name="connsiteX32" fmla="*/ 1159055 w 2623419"/>
              <a:gd name="connsiteY32" fmla="*/ 273505 h 2623419"/>
              <a:gd name="connsiteX33" fmla="*/ 1205305 w 2623419"/>
              <a:gd name="connsiteY33" fmla="*/ 11163 h 2623419"/>
              <a:gd name="connsiteX34" fmla="*/ 1418114 w 2623419"/>
              <a:gd name="connsiteY34" fmla="*/ 11163 h 2623419"/>
              <a:gd name="connsiteX35" fmla="*/ 1464365 w 2623419"/>
              <a:gd name="connsiteY35" fmla="*/ 273505 h 2623419"/>
              <a:gd name="connsiteX36" fmla="*/ 1862115 w 2623419"/>
              <a:gd name="connsiteY36" fmla="*/ 418274 h 2623419"/>
              <a:gd name="connsiteX37" fmla="*/ 1862114 w 2623419"/>
              <a:gd name="connsiteY37" fmla="*/ 418274 h 2623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23419" h="2623419">
                <a:moveTo>
                  <a:pt x="1862114" y="418274"/>
                </a:moveTo>
                <a:lnTo>
                  <a:pt x="2066174" y="247038"/>
                </a:lnTo>
                <a:lnTo>
                  <a:pt x="2229195" y="383828"/>
                </a:lnTo>
                <a:lnTo>
                  <a:pt x="2095995" y="614523"/>
                </a:lnTo>
                <a:cubicBezTo>
                  <a:pt x="2190708" y="721068"/>
                  <a:pt x="2262719" y="845795"/>
                  <a:pt x="2307633" y="981091"/>
                </a:cubicBezTo>
                <a:lnTo>
                  <a:pt x="2574021" y="981084"/>
                </a:lnTo>
                <a:lnTo>
                  <a:pt x="2610975" y="1190660"/>
                </a:lnTo>
                <a:lnTo>
                  <a:pt x="2360650" y="1281763"/>
                </a:lnTo>
                <a:cubicBezTo>
                  <a:pt x="2364718" y="1424262"/>
                  <a:pt x="2339709" y="1566095"/>
                  <a:pt x="2287149" y="1698609"/>
                </a:cubicBezTo>
                <a:lnTo>
                  <a:pt x="2491218" y="1869834"/>
                </a:lnTo>
                <a:lnTo>
                  <a:pt x="2384814" y="2054131"/>
                </a:lnTo>
                <a:lnTo>
                  <a:pt x="2134494" y="1963015"/>
                </a:lnTo>
                <a:cubicBezTo>
                  <a:pt x="2046014" y="2074790"/>
                  <a:pt x="1935687" y="2167366"/>
                  <a:pt x="1810246" y="2235092"/>
                </a:cubicBezTo>
                <a:lnTo>
                  <a:pt x="1856510" y="2497431"/>
                </a:lnTo>
                <a:lnTo>
                  <a:pt x="1656535" y="2570216"/>
                </a:lnTo>
                <a:lnTo>
                  <a:pt x="1523348" y="2339514"/>
                </a:lnTo>
                <a:cubicBezTo>
                  <a:pt x="1383721" y="2368265"/>
                  <a:pt x="1239699" y="2368265"/>
                  <a:pt x="1100072" y="2339514"/>
                </a:cubicBezTo>
                <a:lnTo>
                  <a:pt x="966884" y="2570216"/>
                </a:lnTo>
                <a:lnTo>
                  <a:pt x="766909" y="2497431"/>
                </a:lnTo>
                <a:lnTo>
                  <a:pt x="813174" y="2235092"/>
                </a:lnTo>
                <a:cubicBezTo>
                  <a:pt x="687732" y="2167366"/>
                  <a:pt x="577405" y="2074791"/>
                  <a:pt x="488925" y="1963015"/>
                </a:cubicBezTo>
                <a:lnTo>
                  <a:pt x="238605" y="2054131"/>
                </a:lnTo>
                <a:lnTo>
                  <a:pt x="132201" y="1869834"/>
                </a:lnTo>
                <a:lnTo>
                  <a:pt x="336270" y="1698609"/>
                </a:lnTo>
                <a:cubicBezTo>
                  <a:pt x="283710" y="1566095"/>
                  <a:pt x="258701" y="1424262"/>
                  <a:pt x="262769" y="1281763"/>
                </a:cubicBezTo>
                <a:lnTo>
                  <a:pt x="12444" y="1190660"/>
                </a:lnTo>
                <a:lnTo>
                  <a:pt x="49398" y="981084"/>
                </a:lnTo>
                <a:lnTo>
                  <a:pt x="315786" y="981091"/>
                </a:lnTo>
                <a:cubicBezTo>
                  <a:pt x="360701" y="845795"/>
                  <a:pt x="432711" y="721068"/>
                  <a:pt x="527424" y="614523"/>
                </a:cubicBezTo>
                <a:lnTo>
                  <a:pt x="394224" y="383828"/>
                </a:lnTo>
                <a:lnTo>
                  <a:pt x="557245" y="247038"/>
                </a:lnTo>
                <a:lnTo>
                  <a:pt x="761305" y="418274"/>
                </a:lnTo>
                <a:cubicBezTo>
                  <a:pt x="882678" y="343501"/>
                  <a:pt x="1018014" y="294243"/>
                  <a:pt x="1159055" y="273505"/>
                </a:cubicBezTo>
                <a:lnTo>
                  <a:pt x="1205305" y="11163"/>
                </a:lnTo>
                <a:lnTo>
                  <a:pt x="1418114" y="11163"/>
                </a:lnTo>
                <a:lnTo>
                  <a:pt x="1464365" y="273505"/>
                </a:lnTo>
                <a:cubicBezTo>
                  <a:pt x="1605405" y="294243"/>
                  <a:pt x="1740741" y="343501"/>
                  <a:pt x="1862115" y="418274"/>
                </a:cubicBezTo>
                <a:lnTo>
                  <a:pt x="1862114" y="41827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5328" tIns="1259526" rIns="1085328" bIns="1351288" numCol="1" spcCol="1270" anchor="ctr" anchorCtr="0">
            <a:noAutofit/>
          </a:bodyPr>
          <a:lstStyle/>
          <a:p>
            <a:pPr defTabSz="10668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400" kern="1200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6629524" y="3394461"/>
            <a:ext cx="3523812" cy="3471946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1" name="Oval 6"/>
          <p:cNvSpPr>
            <a:spLocks noChangeArrowheads="1"/>
          </p:cNvSpPr>
          <p:nvPr/>
        </p:nvSpPr>
        <p:spPr bwMode="auto">
          <a:xfrm>
            <a:off x="7551537" y="4290540"/>
            <a:ext cx="1679790" cy="167978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4140716" y="7725243"/>
            <a:ext cx="3523812" cy="3471946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5" name="Oval 6"/>
          <p:cNvSpPr>
            <a:spLocks noChangeArrowheads="1"/>
          </p:cNvSpPr>
          <p:nvPr/>
        </p:nvSpPr>
        <p:spPr bwMode="auto">
          <a:xfrm>
            <a:off x="5062729" y="8621322"/>
            <a:ext cx="1679790" cy="16797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0" name="Freeform 5"/>
          <p:cNvSpPr>
            <a:spLocks noEditPoints="1"/>
          </p:cNvSpPr>
          <p:nvPr/>
        </p:nvSpPr>
        <p:spPr bwMode="auto">
          <a:xfrm>
            <a:off x="14076694" y="3408575"/>
            <a:ext cx="3523812" cy="3471946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1" name="Oval 6"/>
          <p:cNvSpPr>
            <a:spLocks noChangeArrowheads="1"/>
          </p:cNvSpPr>
          <p:nvPr/>
        </p:nvSpPr>
        <p:spPr bwMode="auto">
          <a:xfrm>
            <a:off x="14998707" y="4304654"/>
            <a:ext cx="1679790" cy="16797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3" name="Freeform 5"/>
          <p:cNvSpPr>
            <a:spLocks noEditPoints="1"/>
          </p:cNvSpPr>
          <p:nvPr/>
        </p:nvSpPr>
        <p:spPr bwMode="auto">
          <a:xfrm>
            <a:off x="16678494" y="7725243"/>
            <a:ext cx="3523812" cy="3471946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4" name="Oval 6"/>
          <p:cNvSpPr>
            <a:spLocks noChangeArrowheads="1"/>
          </p:cNvSpPr>
          <p:nvPr/>
        </p:nvSpPr>
        <p:spPr bwMode="auto">
          <a:xfrm>
            <a:off x="17600507" y="8621322"/>
            <a:ext cx="1679790" cy="167978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881110" y="4173677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667776" y="351333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402872" y="8525847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9538" y="786550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9BBB59"/>
                </a:solidFill>
                <a:latin typeface="Poppins"/>
              </a:rPr>
              <a:t>DATA TAMPL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7590716" y="4125941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8377382" y="3465596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20129900" y="8430377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916566" y="777003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srgbClr val="41B176"/>
                </a:solidFill>
                <a:latin typeface="Poppins"/>
              </a:rPr>
              <a:t>DATA TAMPL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1264075" y="10109066"/>
            <a:ext cx="18448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prstClr val="white"/>
                </a:solidFill>
                <a:latin typeface="Poppins"/>
              </a:rPr>
              <a:t>DATA TAMPLE</a:t>
            </a:r>
          </a:p>
        </p:txBody>
      </p:sp>
      <p:grpSp>
        <p:nvGrpSpPr>
          <p:cNvPr id="67" name="Group 66"/>
          <p:cNvGrpSpPr/>
          <p:nvPr/>
        </p:nvGrpSpPr>
        <p:grpSpPr>
          <a:xfrm>
            <a:off x="5632039" y="9103632"/>
            <a:ext cx="521746" cy="775120"/>
            <a:chOff x="1299545" y="2435356"/>
            <a:chExt cx="402565" cy="598061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68" name="Oval 35"/>
            <p:cNvSpPr>
              <a:spLocks noChangeArrowheads="1"/>
            </p:cNvSpPr>
            <p:nvPr/>
          </p:nvSpPr>
          <p:spPr bwMode="auto">
            <a:xfrm>
              <a:off x="1339415" y="2435356"/>
              <a:ext cx="322824" cy="32025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69" name="Freeform 36"/>
            <p:cNvSpPr>
              <a:spLocks/>
            </p:cNvSpPr>
            <p:nvPr/>
          </p:nvSpPr>
          <p:spPr bwMode="auto">
            <a:xfrm>
              <a:off x="1299545" y="2762039"/>
              <a:ext cx="402565" cy="271378"/>
            </a:xfrm>
            <a:custGeom>
              <a:avLst/>
              <a:gdLst>
                <a:gd name="T0" fmla="*/ 65 w 130"/>
                <a:gd name="T1" fmla="*/ 12 h 88"/>
                <a:gd name="T2" fmla="*/ 24 w 130"/>
                <a:gd name="T3" fmla="*/ 0 h 88"/>
                <a:gd name="T4" fmla="*/ 0 w 130"/>
                <a:gd name="T5" fmla="*/ 88 h 88"/>
                <a:gd name="T6" fmla="*/ 130 w 130"/>
                <a:gd name="T7" fmla="*/ 88 h 88"/>
                <a:gd name="T8" fmla="*/ 106 w 130"/>
                <a:gd name="T9" fmla="*/ 0 h 88"/>
                <a:gd name="T10" fmla="*/ 65 w 130"/>
                <a:gd name="T11" fmla="*/ 1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8">
                  <a:moveTo>
                    <a:pt x="65" y="12"/>
                  </a:moveTo>
                  <a:cubicBezTo>
                    <a:pt x="50" y="12"/>
                    <a:pt x="36" y="7"/>
                    <a:pt x="24" y="0"/>
                  </a:cubicBezTo>
                  <a:cubicBezTo>
                    <a:pt x="10" y="20"/>
                    <a:pt x="0" y="52"/>
                    <a:pt x="0" y="88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30" y="52"/>
                    <a:pt x="120" y="20"/>
                    <a:pt x="106" y="0"/>
                  </a:cubicBezTo>
                  <a:cubicBezTo>
                    <a:pt x="94" y="7"/>
                    <a:pt x="80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8073634" y="4709831"/>
            <a:ext cx="652812" cy="826658"/>
            <a:chOff x="3660259" y="2415473"/>
            <a:chExt cx="503691" cy="637826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71" name="Oval 40"/>
            <p:cNvSpPr>
              <a:spLocks noChangeArrowheads="1"/>
            </p:cNvSpPr>
            <p:nvPr/>
          </p:nvSpPr>
          <p:spPr bwMode="auto">
            <a:xfrm>
              <a:off x="3706796" y="2415473"/>
              <a:ext cx="339444" cy="34218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2" name="Freeform 41"/>
            <p:cNvSpPr>
              <a:spLocks/>
            </p:cNvSpPr>
            <p:nvPr/>
          </p:nvSpPr>
          <p:spPr bwMode="auto">
            <a:xfrm>
              <a:off x="3660259" y="2760392"/>
              <a:ext cx="395562" cy="292907"/>
            </a:xfrm>
            <a:custGeom>
              <a:avLst/>
              <a:gdLst>
                <a:gd name="T0" fmla="*/ 86 w 120"/>
                <a:gd name="T1" fmla="*/ 50 h 89"/>
                <a:gd name="T2" fmla="*/ 114 w 120"/>
                <a:gd name="T3" fmla="*/ 13 h 89"/>
                <a:gd name="T4" fmla="*/ 106 w 120"/>
                <a:gd name="T5" fmla="*/ 0 h 89"/>
                <a:gd name="T6" fmla="*/ 65 w 120"/>
                <a:gd name="T7" fmla="*/ 12 h 89"/>
                <a:gd name="T8" fmla="*/ 24 w 120"/>
                <a:gd name="T9" fmla="*/ 0 h 89"/>
                <a:gd name="T10" fmla="*/ 0 w 120"/>
                <a:gd name="T11" fmla="*/ 89 h 89"/>
                <a:gd name="T12" fmla="*/ 120 w 120"/>
                <a:gd name="T13" fmla="*/ 89 h 89"/>
                <a:gd name="T14" fmla="*/ 86 w 120"/>
                <a:gd name="T15" fmla="*/ 5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89">
                  <a:moveTo>
                    <a:pt x="86" y="50"/>
                  </a:moveTo>
                  <a:cubicBezTo>
                    <a:pt x="86" y="33"/>
                    <a:pt x="98" y="18"/>
                    <a:pt x="114" y="13"/>
                  </a:cubicBezTo>
                  <a:cubicBezTo>
                    <a:pt x="112" y="8"/>
                    <a:pt x="109" y="4"/>
                    <a:pt x="106" y="0"/>
                  </a:cubicBezTo>
                  <a:cubicBezTo>
                    <a:pt x="95" y="8"/>
                    <a:pt x="80" y="12"/>
                    <a:pt x="65" y="12"/>
                  </a:cubicBezTo>
                  <a:cubicBezTo>
                    <a:pt x="50" y="12"/>
                    <a:pt x="36" y="8"/>
                    <a:pt x="24" y="0"/>
                  </a:cubicBezTo>
                  <a:cubicBezTo>
                    <a:pt x="10" y="21"/>
                    <a:pt x="1" y="53"/>
                    <a:pt x="0" y="89"/>
                  </a:cubicBezTo>
                  <a:cubicBezTo>
                    <a:pt x="120" y="89"/>
                    <a:pt x="120" y="89"/>
                    <a:pt x="120" y="89"/>
                  </a:cubicBezTo>
                  <a:cubicBezTo>
                    <a:pt x="101" y="86"/>
                    <a:pt x="86" y="70"/>
                    <a:pt x="8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3" name="Freeform 42"/>
            <p:cNvSpPr>
              <a:spLocks noEditPoints="1"/>
            </p:cNvSpPr>
            <p:nvPr/>
          </p:nvSpPr>
          <p:spPr bwMode="auto">
            <a:xfrm>
              <a:off x="3980541" y="2832935"/>
              <a:ext cx="183409" cy="184778"/>
            </a:xfrm>
            <a:custGeom>
              <a:avLst/>
              <a:gdLst>
                <a:gd name="T0" fmla="*/ 28 w 56"/>
                <a:gd name="T1" fmla="*/ 0 h 56"/>
                <a:gd name="T2" fmla="*/ 21 w 56"/>
                <a:gd name="T3" fmla="*/ 1 h 56"/>
                <a:gd name="T4" fmla="*/ 0 w 56"/>
                <a:gd name="T5" fmla="*/ 28 h 56"/>
                <a:gd name="T6" fmla="*/ 28 w 56"/>
                <a:gd name="T7" fmla="*/ 56 h 56"/>
                <a:gd name="T8" fmla="*/ 33 w 56"/>
                <a:gd name="T9" fmla="*/ 56 h 56"/>
                <a:gd name="T10" fmla="*/ 56 w 56"/>
                <a:gd name="T11" fmla="*/ 28 h 56"/>
                <a:gd name="T12" fmla="*/ 28 w 56"/>
                <a:gd name="T13" fmla="*/ 0 h 56"/>
                <a:gd name="T14" fmla="*/ 47 w 56"/>
                <a:gd name="T15" fmla="*/ 34 h 56"/>
                <a:gd name="T16" fmla="*/ 33 w 56"/>
                <a:gd name="T17" fmla="*/ 34 h 56"/>
                <a:gd name="T18" fmla="*/ 33 w 56"/>
                <a:gd name="T19" fmla="*/ 48 h 56"/>
                <a:gd name="T20" fmla="*/ 33 w 56"/>
                <a:gd name="T21" fmla="*/ 48 h 56"/>
                <a:gd name="T22" fmla="*/ 22 w 56"/>
                <a:gd name="T23" fmla="*/ 48 h 56"/>
                <a:gd name="T24" fmla="*/ 22 w 56"/>
                <a:gd name="T25" fmla="*/ 34 h 56"/>
                <a:gd name="T26" fmla="*/ 8 w 56"/>
                <a:gd name="T27" fmla="*/ 34 h 56"/>
                <a:gd name="T28" fmla="*/ 8 w 56"/>
                <a:gd name="T29" fmla="*/ 23 h 56"/>
                <a:gd name="T30" fmla="*/ 22 w 56"/>
                <a:gd name="T31" fmla="*/ 23 h 56"/>
                <a:gd name="T32" fmla="*/ 22 w 56"/>
                <a:gd name="T33" fmla="*/ 9 h 56"/>
                <a:gd name="T34" fmla="*/ 24 w 56"/>
                <a:gd name="T35" fmla="*/ 9 h 56"/>
                <a:gd name="T36" fmla="*/ 33 w 56"/>
                <a:gd name="T37" fmla="*/ 9 h 56"/>
                <a:gd name="T38" fmla="*/ 33 w 56"/>
                <a:gd name="T39" fmla="*/ 23 h 56"/>
                <a:gd name="T40" fmla="*/ 47 w 56"/>
                <a:gd name="T41" fmla="*/ 23 h 56"/>
                <a:gd name="T42" fmla="*/ 47 w 56"/>
                <a:gd name="T4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26" y="0"/>
                    <a:pt x="23" y="0"/>
                    <a:pt x="21" y="1"/>
                  </a:cubicBezTo>
                  <a:cubicBezTo>
                    <a:pt x="9" y="4"/>
                    <a:pt x="0" y="15"/>
                    <a:pt x="0" y="28"/>
                  </a:cubicBezTo>
                  <a:cubicBezTo>
                    <a:pt x="0" y="44"/>
                    <a:pt x="12" y="56"/>
                    <a:pt x="28" y="56"/>
                  </a:cubicBezTo>
                  <a:cubicBezTo>
                    <a:pt x="30" y="56"/>
                    <a:pt x="31" y="56"/>
                    <a:pt x="33" y="56"/>
                  </a:cubicBezTo>
                  <a:cubicBezTo>
                    <a:pt x="46" y="53"/>
                    <a:pt x="56" y="42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  <a:moveTo>
                    <a:pt x="4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47" y="23"/>
                    <a:pt x="47" y="23"/>
                    <a:pt x="47" y="23"/>
                  </a:cubicBezTo>
                  <a:lnTo>
                    <a:pt x="47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18037512" y="9088846"/>
            <a:ext cx="840112" cy="864652"/>
            <a:chOff x="8207906" y="2400815"/>
            <a:chExt cx="648206" cy="667141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75" name="Freeform 25"/>
            <p:cNvSpPr>
              <a:spLocks noEditPoints="1"/>
            </p:cNvSpPr>
            <p:nvPr/>
          </p:nvSpPr>
          <p:spPr bwMode="auto">
            <a:xfrm>
              <a:off x="8317155" y="2498410"/>
              <a:ext cx="426796" cy="569546"/>
            </a:xfrm>
            <a:custGeom>
              <a:avLst/>
              <a:gdLst>
                <a:gd name="T0" fmla="*/ 61 w 122"/>
                <a:gd name="T1" fmla="*/ 0 h 163"/>
                <a:gd name="T2" fmla="*/ 0 w 122"/>
                <a:gd name="T3" fmla="*/ 61 h 163"/>
                <a:gd name="T4" fmla="*/ 41 w 122"/>
                <a:gd name="T5" fmla="*/ 118 h 163"/>
                <a:gd name="T6" fmla="*/ 41 w 122"/>
                <a:gd name="T7" fmla="*/ 152 h 163"/>
                <a:gd name="T8" fmla="*/ 47 w 122"/>
                <a:gd name="T9" fmla="*/ 156 h 163"/>
                <a:gd name="T10" fmla="*/ 52 w 122"/>
                <a:gd name="T11" fmla="*/ 163 h 163"/>
                <a:gd name="T12" fmla="*/ 70 w 122"/>
                <a:gd name="T13" fmla="*/ 163 h 163"/>
                <a:gd name="T14" fmla="*/ 75 w 122"/>
                <a:gd name="T15" fmla="*/ 156 h 163"/>
                <a:gd name="T16" fmla="*/ 81 w 122"/>
                <a:gd name="T17" fmla="*/ 152 h 163"/>
                <a:gd name="T18" fmla="*/ 81 w 122"/>
                <a:gd name="T19" fmla="*/ 152 h 163"/>
                <a:gd name="T20" fmla="*/ 81 w 122"/>
                <a:gd name="T21" fmla="*/ 118 h 163"/>
                <a:gd name="T22" fmla="*/ 122 w 122"/>
                <a:gd name="T23" fmla="*/ 61 h 163"/>
                <a:gd name="T24" fmla="*/ 61 w 122"/>
                <a:gd name="T25" fmla="*/ 0 h 163"/>
                <a:gd name="T26" fmla="*/ 61 w 122"/>
                <a:gd name="T27" fmla="*/ 113 h 163"/>
                <a:gd name="T28" fmla="*/ 9 w 122"/>
                <a:gd name="T29" fmla="*/ 61 h 163"/>
                <a:gd name="T30" fmla="*/ 61 w 122"/>
                <a:gd name="T31" fmla="*/ 9 h 163"/>
                <a:gd name="T32" fmla="*/ 113 w 122"/>
                <a:gd name="T33" fmla="*/ 61 h 163"/>
                <a:gd name="T34" fmla="*/ 61 w 122"/>
                <a:gd name="T35" fmla="*/ 11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63">
                  <a:moveTo>
                    <a:pt x="61" y="0"/>
                  </a:moveTo>
                  <a:cubicBezTo>
                    <a:pt x="28" y="0"/>
                    <a:pt x="0" y="27"/>
                    <a:pt x="0" y="61"/>
                  </a:cubicBezTo>
                  <a:cubicBezTo>
                    <a:pt x="0" y="87"/>
                    <a:pt x="17" y="110"/>
                    <a:pt x="41" y="118"/>
                  </a:cubicBezTo>
                  <a:cubicBezTo>
                    <a:pt x="41" y="152"/>
                    <a:pt x="41" y="152"/>
                    <a:pt x="41" y="152"/>
                  </a:cubicBezTo>
                  <a:cubicBezTo>
                    <a:pt x="47" y="156"/>
                    <a:pt x="47" y="156"/>
                    <a:pt x="47" y="156"/>
                  </a:cubicBezTo>
                  <a:cubicBezTo>
                    <a:pt x="52" y="163"/>
                    <a:pt x="52" y="163"/>
                    <a:pt x="52" y="163"/>
                  </a:cubicBezTo>
                  <a:cubicBezTo>
                    <a:pt x="70" y="163"/>
                    <a:pt x="70" y="163"/>
                    <a:pt x="70" y="163"/>
                  </a:cubicBezTo>
                  <a:cubicBezTo>
                    <a:pt x="75" y="156"/>
                    <a:pt x="75" y="156"/>
                    <a:pt x="75" y="156"/>
                  </a:cubicBezTo>
                  <a:cubicBezTo>
                    <a:pt x="81" y="152"/>
                    <a:pt x="81" y="152"/>
                    <a:pt x="81" y="152"/>
                  </a:cubicBezTo>
                  <a:cubicBezTo>
                    <a:pt x="81" y="152"/>
                    <a:pt x="81" y="152"/>
                    <a:pt x="81" y="152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105" y="110"/>
                    <a:pt x="122" y="87"/>
                    <a:pt x="122" y="61"/>
                  </a:cubicBezTo>
                  <a:cubicBezTo>
                    <a:pt x="122" y="27"/>
                    <a:pt x="95" y="0"/>
                    <a:pt x="61" y="0"/>
                  </a:cubicBezTo>
                  <a:close/>
                  <a:moveTo>
                    <a:pt x="61" y="113"/>
                  </a:moveTo>
                  <a:cubicBezTo>
                    <a:pt x="32" y="113"/>
                    <a:pt x="9" y="89"/>
                    <a:pt x="9" y="61"/>
                  </a:cubicBezTo>
                  <a:cubicBezTo>
                    <a:pt x="9" y="32"/>
                    <a:pt x="32" y="9"/>
                    <a:pt x="61" y="9"/>
                  </a:cubicBezTo>
                  <a:cubicBezTo>
                    <a:pt x="90" y="9"/>
                    <a:pt x="113" y="32"/>
                    <a:pt x="113" y="61"/>
                  </a:cubicBezTo>
                  <a:cubicBezTo>
                    <a:pt x="113" y="89"/>
                    <a:pt x="90" y="113"/>
                    <a:pt x="61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6" name="Freeform 26"/>
            <p:cNvSpPr>
              <a:spLocks/>
            </p:cNvSpPr>
            <p:nvPr/>
          </p:nvSpPr>
          <p:spPr bwMode="auto">
            <a:xfrm>
              <a:off x="8207906" y="2805761"/>
              <a:ext cx="97595" cy="59722"/>
            </a:xfrm>
            <a:custGeom>
              <a:avLst/>
              <a:gdLst>
                <a:gd name="T0" fmla="*/ 0 w 28"/>
                <a:gd name="T1" fmla="*/ 7 h 17"/>
                <a:gd name="T2" fmla="*/ 4 w 28"/>
                <a:gd name="T3" fmla="*/ 17 h 17"/>
                <a:gd name="T4" fmla="*/ 28 w 28"/>
                <a:gd name="T5" fmla="*/ 5 h 17"/>
                <a:gd name="T6" fmla="*/ 26 w 28"/>
                <a:gd name="T7" fmla="*/ 0 h 17"/>
                <a:gd name="T8" fmla="*/ 0 w 28"/>
                <a:gd name="T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0" y="7"/>
                  </a:moveTo>
                  <a:cubicBezTo>
                    <a:pt x="1" y="11"/>
                    <a:pt x="3" y="14"/>
                    <a:pt x="4" y="17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7" y="3"/>
                    <a:pt x="27" y="2"/>
                    <a:pt x="26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7" name="Freeform 27"/>
            <p:cNvSpPr>
              <a:spLocks/>
            </p:cNvSpPr>
            <p:nvPr/>
          </p:nvSpPr>
          <p:spPr bwMode="auto">
            <a:xfrm>
              <a:off x="8757060" y="2578525"/>
              <a:ext cx="99052" cy="59722"/>
            </a:xfrm>
            <a:custGeom>
              <a:avLst/>
              <a:gdLst>
                <a:gd name="T0" fmla="*/ 28 w 28"/>
                <a:gd name="T1" fmla="*/ 10 h 17"/>
                <a:gd name="T2" fmla="*/ 24 w 28"/>
                <a:gd name="T3" fmla="*/ 0 h 17"/>
                <a:gd name="T4" fmla="*/ 0 w 28"/>
                <a:gd name="T5" fmla="*/ 12 h 17"/>
                <a:gd name="T6" fmla="*/ 2 w 28"/>
                <a:gd name="T7" fmla="*/ 17 h 17"/>
                <a:gd name="T8" fmla="*/ 28 w 28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10"/>
                  </a:moveTo>
                  <a:cubicBezTo>
                    <a:pt x="27" y="6"/>
                    <a:pt x="25" y="3"/>
                    <a:pt x="24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4"/>
                    <a:pt x="1" y="15"/>
                    <a:pt x="2" y="17"/>
                  </a:cubicBezTo>
                  <a:lnTo>
                    <a:pt x="2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8" name="Freeform 28"/>
            <p:cNvSpPr>
              <a:spLocks/>
            </p:cNvSpPr>
            <p:nvPr/>
          </p:nvSpPr>
          <p:spPr bwMode="auto">
            <a:xfrm>
              <a:off x="8207906" y="2575612"/>
              <a:ext cx="97595" cy="62635"/>
            </a:xfrm>
            <a:custGeom>
              <a:avLst/>
              <a:gdLst>
                <a:gd name="T0" fmla="*/ 0 w 28"/>
                <a:gd name="T1" fmla="*/ 10 h 18"/>
                <a:gd name="T2" fmla="*/ 26 w 28"/>
                <a:gd name="T3" fmla="*/ 18 h 18"/>
                <a:gd name="T4" fmla="*/ 28 w 28"/>
                <a:gd name="T5" fmla="*/ 13 h 18"/>
                <a:gd name="T6" fmla="*/ 4 w 28"/>
                <a:gd name="T7" fmla="*/ 0 h 18"/>
                <a:gd name="T8" fmla="*/ 0 w 28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8">
                  <a:moveTo>
                    <a:pt x="0" y="10"/>
                  </a:moveTo>
                  <a:cubicBezTo>
                    <a:pt x="26" y="18"/>
                    <a:pt x="26" y="18"/>
                    <a:pt x="26" y="18"/>
                  </a:cubicBezTo>
                  <a:cubicBezTo>
                    <a:pt x="27" y="16"/>
                    <a:pt x="27" y="15"/>
                    <a:pt x="28" y="1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4"/>
                    <a:pt x="1" y="7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auto">
            <a:xfrm>
              <a:off x="8757060" y="2808674"/>
              <a:ext cx="99052" cy="59722"/>
            </a:xfrm>
            <a:custGeom>
              <a:avLst/>
              <a:gdLst>
                <a:gd name="T0" fmla="*/ 0 w 28"/>
                <a:gd name="T1" fmla="*/ 4 h 17"/>
                <a:gd name="T2" fmla="*/ 23 w 28"/>
                <a:gd name="T3" fmla="*/ 17 h 17"/>
                <a:gd name="T4" fmla="*/ 28 w 28"/>
                <a:gd name="T5" fmla="*/ 7 h 17"/>
                <a:gd name="T6" fmla="*/ 2 w 28"/>
                <a:gd name="T7" fmla="*/ 0 h 17"/>
                <a:gd name="T8" fmla="*/ 0 w 28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0" y="4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5" y="13"/>
                    <a:pt x="26" y="10"/>
                    <a:pt x="28" y="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auto">
            <a:xfrm>
              <a:off x="8387073" y="2400815"/>
              <a:ext cx="58266" cy="93225"/>
            </a:xfrm>
            <a:custGeom>
              <a:avLst/>
              <a:gdLst>
                <a:gd name="T0" fmla="*/ 17 w 17"/>
                <a:gd name="T1" fmla="*/ 26 h 27"/>
                <a:gd name="T2" fmla="*/ 10 w 17"/>
                <a:gd name="T3" fmla="*/ 0 h 27"/>
                <a:gd name="T4" fmla="*/ 0 w 17"/>
                <a:gd name="T5" fmla="*/ 4 h 27"/>
                <a:gd name="T6" fmla="*/ 13 w 17"/>
                <a:gd name="T7" fmla="*/ 27 h 27"/>
                <a:gd name="T8" fmla="*/ 17 w 17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17" y="2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1"/>
                    <a:pt x="3" y="2"/>
                    <a:pt x="0" y="4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4" y="27"/>
                    <a:pt x="16" y="26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1" name="Freeform 31"/>
            <p:cNvSpPr>
              <a:spLocks/>
            </p:cNvSpPr>
            <p:nvPr/>
          </p:nvSpPr>
          <p:spPr bwMode="auto">
            <a:xfrm>
              <a:off x="8617223" y="2400815"/>
              <a:ext cx="59723" cy="93225"/>
            </a:xfrm>
            <a:custGeom>
              <a:avLst/>
              <a:gdLst>
                <a:gd name="T0" fmla="*/ 17 w 17"/>
                <a:gd name="T1" fmla="*/ 4 h 27"/>
                <a:gd name="T2" fmla="*/ 7 w 17"/>
                <a:gd name="T3" fmla="*/ 0 h 27"/>
                <a:gd name="T4" fmla="*/ 0 w 17"/>
                <a:gd name="T5" fmla="*/ 26 h 27"/>
                <a:gd name="T6" fmla="*/ 4 w 17"/>
                <a:gd name="T7" fmla="*/ 27 h 27"/>
                <a:gd name="T8" fmla="*/ 17 w 17"/>
                <a:gd name="T9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17" y="4"/>
                  </a:moveTo>
                  <a:cubicBezTo>
                    <a:pt x="14" y="2"/>
                    <a:pt x="10" y="1"/>
                    <a:pt x="7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3" y="27"/>
                    <a:pt x="4" y="27"/>
                  </a:cubicBezTo>
                  <a:lnTo>
                    <a:pt x="1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15517270" y="4728321"/>
            <a:ext cx="670984" cy="832450"/>
            <a:chOff x="5854905" y="2413239"/>
            <a:chExt cx="517713" cy="642295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83" name="Oval 50"/>
            <p:cNvSpPr>
              <a:spLocks noChangeArrowheads="1"/>
            </p:cNvSpPr>
            <p:nvPr/>
          </p:nvSpPr>
          <p:spPr bwMode="auto">
            <a:xfrm>
              <a:off x="5892280" y="2413239"/>
              <a:ext cx="276851" cy="27685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4" name="Freeform 51"/>
            <p:cNvSpPr>
              <a:spLocks/>
            </p:cNvSpPr>
            <p:nvPr/>
          </p:nvSpPr>
          <p:spPr bwMode="auto">
            <a:xfrm>
              <a:off x="5854905" y="2692859"/>
              <a:ext cx="290694" cy="235324"/>
            </a:xfrm>
            <a:custGeom>
              <a:avLst/>
              <a:gdLst>
                <a:gd name="T0" fmla="*/ 87 w 87"/>
                <a:gd name="T1" fmla="*/ 49 h 71"/>
                <a:gd name="T2" fmla="*/ 78 w 87"/>
                <a:gd name="T3" fmla="*/ 24 h 71"/>
                <a:gd name="T4" fmla="*/ 86 w 87"/>
                <a:gd name="T5" fmla="*/ 0 h 71"/>
                <a:gd name="T6" fmla="*/ 85 w 87"/>
                <a:gd name="T7" fmla="*/ 0 h 71"/>
                <a:gd name="T8" fmla="*/ 53 w 87"/>
                <a:gd name="T9" fmla="*/ 10 h 71"/>
                <a:gd name="T10" fmla="*/ 20 w 87"/>
                <a:gd name="T11" fmla="*/ 0 h 71"/>
                <a:gd name="T12" fmla="*/ 0 w 87"/>
                <a:gd name="T13" fmla="*/ 71 h 71"/>
                <a:gd name="T14" fmla="*/ 76 w 87"/>
                <a:gd name="T15" fmla="*/ 71 h 71"/>
                <a:gd name="T16" fmla="*/ 85 w 87"/>
                <a:gd name="T17" fmla="*/ 52 h 71"/>
                <a:gd name="T18" fmla="*/ 87 w 87"/>
                <a:gd name="T19" fmla="*/ 4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87" y="49"/>
                  </a:moveTo>
                  <a:cubicBezTo>
                    <a:pt x="81" y="42"/>
                    <a:pt x="78" y="33"/>
                    <a:pt x="78" y="24"/>
                  </a:cubicBezTo>
                  <a:cubicBezTo>
                    <a:pt x="78" y="15"/>
                    <a:pt x="81" y="7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76" y="6"/>
                    <a:pt x="65" y="10"/>
                    <a:pt x="53" y="10"/>
                  </a:cubicBezTo>
                  <a:cubicBezTo>
                    <a:pt x="40" y="10"/>
                    <a:pt x="29" y="6"/>
                    <a:pt x="20" y="0"/>
                  </a:cubicBezTo>
                  <a:cubicBezTo>
                    <a:pt x="8" y="17"/>
                    <a:pt x="1" y="42"/>
                    <a:pt x="0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8" y="64"/>
                    <a:pt x="81" y="57"/>
                    <a:pt x="85" y="52"/>
                  </a:cubicBezTo>
                  <a:lnTo>
                    <a:pt x="8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5" name="Freeform 52"/>
            <p:cNvSpPr>
              <a:spLocks/>
            </p:cNvSpPr>
            <p:nvPr/>
          </p:nvSpPr>
          <p:spPr bwMode="auto">
            <a:xfrm>
              <a:off x="6138678" y="2669327"/>
              <a:ext cx="206255" cy="206255"/>
            </a:xfrm>
            <a:custGeom>
              <a:avLst/>
              <a:gdLst>
                <a:gd name="T0" fmla="*/ 0 w 62"/>
                <a:gd name="T1" fmla="*/ 31 h 62"/>
                <a:gd name="T2" fmla="*/ 19 w 62"/>
                <a:gd name="T3" fmla="*/ 59 h 62"/>
                <a:gd name="T4" fmla="*/ 31 w 62"/>
                <a:gd name="T5" fmla="*/ 62 h 62"/>
                <a:gd name="T6" fmla="*/ 62 w 62"/>
                <a:gd name="T7" fmla="*/ 31 h 62"/>
                <a:gd name="T8" fmla="*/ 31 w 62"/>
                <a:gd name="T9" fmla="*/ 0 h 62"/>
                <a:gd name="T10" fmla="*/ 5 w 62"/>
                <a:gd name="T11" fmla="*/ 14 h 62"/>
                <a:gd name="T12" fmla="*/ 0 w 62"/>
                <a:gd name="T13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62">
                  <a:moveTo>
                    <a:pt x="0" y="31"/>
                  </a:moveTo>
                  <a:cubicBezTo>
                    <a:pt x="0" y="44"/>
                    <a:pt x="7" y="55"/>
                    <a:pt x="19" y="59"/>
                  </a:cubicBezTo>
                  <a:cubicBezTo>
                    <a:pt x="22" y="61"/>
                    <a:pt x="26" y="62"/>
                    <a:pt x="31" y="62"/>
                  </a:cubicBezTo>
                  <a:cubicBezTo>
                    <a:pt x="48" y="62"/>
                    <a:pt x="62" y="48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20" y="0"/>
                    <a:pt x="10" y="5"/>
                    <a:pt x="5" y="14"/>
                  </a:cubicBezTo>
                  <a:cubicBezTo>
                    <a:pt x="1" y="19"/>
                    <a:pt x="0" y="25"/>
                    <a:pt x="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86" name="Freeform 53"/>
            <p:cNvSpPr>
              <a:spLocks/>
            </p:cNvSpPr>
            <p:nvPr/>
          </p:nvSpPr>
          <p:spPr bwMode="auto">
            <a:xfrm>
              <a:off x="6108224" y="2878349"/>
              <a:ext cx="264394" cy="177185"/>
            </a:xfrm>
            <a:custGeom>
              <a:avLst/>
              <a:gdLst>
                <a:gd name="T0" fmla="*/ 64 w 79"/>
                <a:gd name="T1" fmla="*/ 0 h 53"/>
                <a:gd name="T2" fmla="*/ 40 w 79"/>
                <a:gd name="T3" fmla="*/ 7 h 53"/>
                <a:gd name="T4" fmla="*/ 28 w 79"/>
                <a:gd name="T5" fmla="*/ 6 h 53"/>
                <a:gd name="T6" fmla="*/ 15 w 79"/>
                <a:gd name="T7" fmla="*/ 0 h 53"/>
                <a:gd name="T8" fmla="*/ 7 w 79"/>
                <a:gd name="T9" fmla="*/ 15 h 53"/>
                <a:gd name="T10" fmla="*/ 0 w 79"/>
                <a:gd name="T11" fmla="*/ 53 h 53"/>
                <a:gd name="T12" fmla="*/ 79 w 79"/>
                <a:gd name="T13" fmla="*/ 53 h 53"/>
                <a:gd name="T14" fmla="*/ 64 w 7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53">
                  <a:moveTo>
                    <a:pt x="64" y="0"/>
                  </a:moveTo>
                  <a:cubicBezTo>
                    <a:pt x="57" y="5"/>
                    <a:pt x="49" y="7"/>
                    <a:pt x="40" y="7"/>
                  </a:cubicBezTo>
                  <a:cubicBezTo>
                    <a:pt x="36" y="7"/>
                    <a:pt x="32" y="7"/>
                    <a:pt x="28" y="6"/>
                  </a:cubicBezTo>
                  <a:cubicBezTo>
                    <a:pt x="24" y="5"/>
                    <a:pt x="19" y="3"/>
                    <a:pt x="15" y="0"/>
                  </a:cubicBezTo>
                  <a:cubicBezTo>
                    <a:pt x="12" y="4"/>
                    <a:pt x="9" y="9"/>
                    <a:pt x="7" y="15"/>
                  </a:cubicBezTo>
                  <a:cubicBezTo>
                    <a:pt x="3" y="26"/>
                    <a:pt x="1" y="39"/>
                    <a:pt x="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8" y="31"/>
                    <a:pt x="73" y="12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7535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3905248" y="3943351"/>
            <a:ext cx="18954752" cy="8286750"/>
            <a:chOff x="1600199" y="1767840"/>
            <a:chExt cx="8824236" cy="4375785"/>
          </a:xfrm>
        </p:grpSpPr>
        <p:grpSp>
          <p:nvGrpSpPr>
            <p:cNvPr id="9" name="Group 8"/>
            <p:cNvGrpSpPr/>
            <p:nvPr/>
          </p:nvGrpSpPr>
          <p:grpSpPr>
            <a:xfrm>
              <a:off x="1770745" y="1767840"/>
              <a:ext cx="8653690" cy="4375785"/>
              <a:chOff x="1770745" y="1767840"/>
              <a:chExt cx="8653690" cy="4375785"/>
            </a:xfrm>
          </p:grpSpPr>
          <p:cxnSp>
            <p:nvCxnSpPr>
              <p:cNvPr id="122" name="Straight Connector 121"/>
              <p:cNvCxnSpPr/>
              <p:nvPr/>
            </p:nvCxnSpPr>
            <p:spPr>
              <a:xfrm>
                <a:off x="1770745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2636114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3501483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4366852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5232221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6097590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6962959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828328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8693697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9559066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0424435" y="1767840"/>
                <a:ext cx="0" cy="4375785"/>
              </a:xfrm>
              <a:prstGeom prst="line">
                <a:avLst/>
              </a:prstGeom>
              <a:ln w="9525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3" name="Straight Connector 132"/>
            <p:cNvCxnSpPr/>
            <p:nvPr/>
          </p:nvCxnSpPr>
          <p:spPr>
            <a:xfrm>
              <a:off x="1600199" y="1885950"/>
              <a:ext cx="882423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/>
          </p:nvCxnSpPr>
          <p:spPr>
            <a:xfrm>
              <a:off x="1600199" y="2495200"/>
              <a:ext cx="17054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/>
          </p:nvCxnSpPr>
          <p:spPr>
            <a:xfrm>
              <a:off x="1600199" y="3104449"/>
              <a:ext cx="17054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/>
          </p:nvCxnSpPr>
          <p:spPr>
            <a:xfrm>
              <a:off x="1600199" y="3713700"/>
              <a:ext cx="17054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1600199" y="4322950"/>
              <a:ext cx="17054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1600199" y="4932199"/>
              <a:ext cx="17054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/>
          </p:nvCxnSpPr>
          <p:spPr>
            <a:xfrm>
              <a:off x="1600199" y="5541453"/>
              <a:ext cx="17054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/>
          </p:nvCxnSpPr>
          <p:spPr>
            <a:xfrm>
              <a:off x="1600199" y="6143625"/>
              <a:ext cx="170546" cy="0"/>
            </a:xfrm>
            <a:prstGeom prst="line">
              <a:avLst/>
            </a:prstGeom>
            <a:ln w="9525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/>
          <p:cNvSpPr txBox="1"/>
          <p:nvPr/>
        </p:nvSpPr>
        <p:spPr>
          <a:xfrm>
            <a:off x="1892354" y="4390701"/>
            <a:ext cx="21579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32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1892354" y="5552443"/>
            <a:ext cx="21579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32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1892354" y="6677067"/>
            <a:ext cx="21579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32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1892354" y="7838809"/>
            <a:ext cx="21579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32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1892354" y="9067633"/>
            <a:ext cx="21579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32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1892354" y="10229375"/>
            <a:ext cx="21579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32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1892354" y="11311595"/>
            <a:ext cx="21579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32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533901" y="4495798"/>
            <a:ext cx="5886450" cy="365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7992202" y="5641494"/>
            <a:ext cx="3657600" cy="365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11649802" y="6832740"/>
            <a:ext cx="292608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4585338" y="7994482"/>
            <a:ext cx="45720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12747082" y="9166156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9803857" y="10346948"/>
            <a:ext cx="5886450" cy="3657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9004500" y="11467268"/>
            <a:ext cx="2926080" cy="3657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3944576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1/16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5816848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1/20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7675688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1/24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9547960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1/28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11536387" y="3342010"/>
            <a:ext cx="6655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2/1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13408659" y="3342010"/>
            <a:ext cx="6655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2/5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15267499" y="3342010"/>
            <a:ext cx="6655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2/9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16961838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2/14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18823120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2/18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20681960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1/22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22554232" y="3342010"/>
            <a:ext cx="843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828800" rtl="0"/>
            <a:r>
              <a:rPr lang="en-US" sz="2800" kern="1200" dirty="0">
                <a:solidFill>
                  <a:srgbClr val="3F3F3F"/>
                </a:solidFill>
                <a:latin typeface="Source Sans Pro"/>
              </a:rPr>
              <a:t>1/26</a:t>
            </a:r>
          </a:p>
        </p:txBody>
      </p:sp>
    </p:spTree>
    <p:extLst>
      <p:ext uri="{BB962C8B-B14F-4D97-AF65-F5344CB8AC3E}">
        <p14:creationId xmlns:p14="http://schemas.microsoft.com/office/powerpoint/2010/main" val="60059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3433666" y="3339903"/>
            <a:ext cx="18856468" cy="5886870"/>
            <a:chOff x="1716833" y="2219212"/>
            <a:chExt cx="9428234" cy="2609010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1716833" y="3343576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>
              <a:off x="1716833" y="3716123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1716833" y="4088669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1716833" y="4461217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>
              <a:off x="1716833" y="2219212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1716833" y="2591759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>
              <a:off x="1716833" y="2964305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1716833" y="4828222"/>
              <a:ext cx="9428234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Group 81"/>
          <p:cNvGrpSpPr/>
          <p:nvPr/>
        </p:nvGrpSpPr>
        <p:grpSpPr>
          <a:xfrm>
            <a:off x="3894637" y="3023133"/>
            <a:ext cx="18395498" cy="6847886"/>
            <a:chOff x="1947318" y="2219212"/>
            <a:chExt cx="9197749" cy="2764879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1947318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2783168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3619018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4454867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5290717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6126567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6962417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7798267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8634116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9469966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0305816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1145067" y="2219212"/>
              <a:ext cx="0" cy="2764879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138"/>
          <p:cNvGrpSpPr/>
          <p:nvPr/>
        </p:nvGrpSpPr>
        <p:grpSpPr>
          <a:xfrm>
            <a:off x="3696224" y="9976280"/>
            <a:ext cx="18866823" cy="338554"/>
            <a:chOff x="778967" y="3435855"/>
            <a:chExt cx="7618895" cy="121184"/>
          </a:xfrm>
        </p:grpSpPr>
        <p:sp>
          <p:nvSpPr>
            <p:cNvPr id="22" name="TextBox 21"/>
            <p:cNvSpPr txBox="1"/>
            <p:nvPr/>
          </p:nvSpPr>
          <p:spPr>
            <a:xfrm>
              <a:off x="778967" y="3435855"/>
              <a:ext cx="183843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Jan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462628" y="3435855"/>
              <a:ext cx="183843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Feb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130291" y="3435855"/>
              <a:ext cx="192257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Mar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814259" y="3435855"/>
              <a:ext cx="176075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Apr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470112" y="3435855"/>
              <a:ext cx="206499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May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150241" y="3435855"/>
              <a:ext cx="188374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Jun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844226" y="3435855"/>
              <a:ext cx="155360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Jul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512720" y="3435855"/>
              <a:ext cx="190963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Aug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182198" y="3435855"/>
              <a:ext cx="187727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Sep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871533" y="3435855"/>
              <a:ext cx="161833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Act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27646" y="3435855"/>
              <a:ext cx="198731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Nov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213373" y="3435855"/>
              <a:ext cx="184489" cy="121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1828800" rtl="0"/>
              <a:r>
                <a:rPr lang="en-US" sz="2200" b="1" kern="1200" dirty="0">
                  <a:solidFill>
                    <a:srgbClr val="3F3F3F"/>
                  </a:solidFill>
                  <a:latin typeface="Source Sans Pro"/>
                </a:rPr>
                <a:t>Dec</a:t>
              </a:r>
            </a:p>
          </p:txBody>
        </p:sp>
      </p:grpSp>
      <p:sp>
        <p:nvSpPr>
          <p:cNvPr id="34" name="Rounded Rectangle 33"/>
          <p:cNvSpPr/>
          <p:nvPr/>
        </p:nvSpPr>
        <p:spPr>
          <a:xfrm flipV="1">
            <a:off x="3875774" y="3171794"/>
            <a:ext cx="4505656" cy="32187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5" name="Rounded Rectangle 34"/>
          <p:cNvSpPr/>
          <p:nvPr/>
        </p:nvSpPr>
        <p:spPr>
          <a:xfrm flipV="1">
            <a:off x="7376238" y="3999888"/>
            <a:ext cx="3872400" cy="32187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6" name="Rounded Rectangle 35"/>
          <p:cNvSpPr/>
          <p:nvPr/>
        </p:nvSpPr>
        <p:spPr>
          <a:xfrm flipV="1">
            <a:off x="12239430" y="5646972"/>
            <a:ext cx="3343400" cy="32187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7" name="Rounded Rectangle 36"/>
          <p:cNvSpPr/>
          <p:nvPr/>
        </p:nvSpPr>
        <p:spPr>
          <a:xfrm flipV="1">
            <a:off x="9869252" y="4876714"/>
            <a:ext cx="3676668" cy="32187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8" name="Rounded Rectangle 37"/>
          <p:cNvSpPr/>
          <p:nvPr/>
        </p:nvSpPr>
        <p:spPr>
          <a:xfrm flipV="1">
            <a:off x="13883149" y="6556536"/>
            <a:ext cx="3363746" cy="32187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9" name="Rounded Rectangle 38"/>
          <p:cNvSpPr/>
          <p:nvPr/>
        </p:nvSpPr>
        <p:spPr>
          <a:xfrm flipV="1">
            <a:off x="7516838" y="9055672"/>
            <a:ext cx="14750964" cy="321876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480896" y="3867999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480896" y="4694421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480896" y="5542123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480896" y="6389619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480896" y="7228567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480896" y="8076057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480896" y="3023131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480896" y="8872161"/>
            <a:ext cx="1664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</a:p>
        </p:txBody>
      </p:sp>
      <p:sp>
        <p:nvSpPr>
          <p:cNvPr id="84" name="Rounded Rectangle 83"/>
          <p:cNvSpPr/>
          <p:nvPr/>
        </p:nvSpPr>
        <p:spPr>
          <a:xfrm flipV="1">
            <a:off x="16271882" y="7381884"/>
            <a:ext cx="1828800" cy="32187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85" name="Rounded Rectangle 84"/>
          <p:cNvSpPr/>
          <p:nvPr/>
        </p:nvSpPr>
        <p:spPr>
          <a:xfrm flipV="1">
            <a:off x="18082020" y="8253882"/>
            <a:ext cx="1828800" cy="321876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1240437" y="10677894"/>
            <a:ext cx="4321146" cy="1670360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414697" y="10764658"/>
            <a:ext cx="1974060" cy="1418104"/>
            <a:chOff x="9035187" y="1432847"/>
            <a:chExt cx="987030" cy="709052"/>
          </a:xfrm>
        </p:grpSpPr>
        <p:sp>
          <p:nvSpPr>
            <p:cNvPr id="88" name="Rectangle 87"/>
            <p:cNvSpPr/>
            <p:nvPr/>
          </p:nvSpPr>
          <p:spPr>
            <a:xfrm>
              <a:off x="9035187" y="1472212"/>
              <a:ext cx="182880" cy="182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id-ID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9225192" y="1432847"/>
              <a:ext cx="7455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defTabSz="1828800" rtl="0"/>
              <a:r>
                <a:rPr lang="en-US" sz="2200" kern="1200" dirty="0">
                  <a:solidFill>
                    <a:srgbClr val="3F3F3F"/>
                  </a:solidFill>
                  <a:latin typeface="Source Sans Pro"/>
                </a:rPr>
                <a:t>Completed</a:t>
              </a:r>
              <a:endParaRPr lang="id-ID" sz="22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9035187" y="1718677"/>
              <a:ext cx="182880" cy="1828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id-ID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9218952" y="1679312"/>
              <a:ext cx="80326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defTabSz="1828800" rtl="0"/>
              <a:r>
                <a:rPr lang="en-US" sz="2200" kern="1200" dirty="0">
                  <a:solidFill>
                    <a:srgbClr val="3F3F3F"/>
                  </a:solidFill>
                  <a:latin typeface="Source Sans Pro"/>
                </a:rPr>
                <a:t>On progress</a:t>
              </a:r>
              <a:endParaRPr lang="id-ID" sz="22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9035187" y="1959019"/>
              <a:ext cx="182880" cy="18288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id-ID" sz="3600" kern="1200">
                <a:solidFill>
                  <a:prstClr val="white"/>
                </a:solidFill>
                <a:latin typeface="Source Sans Pro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9225192" y="1919654"/>
              <a:ext cx="76479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defTabSz="1828800" rtl="0"/>
              <a:r>
                <a:rPr lang="en-US" sz="2200" kern="1200" dirty="0">
                  <a:solidFill>
                    <a:srgbClr val="3F3F3F"/>
                  </a:solidFill>
                  <a:latin typeface="Source Sans Pro"/>
                </a:rPr>
                <a:t>Incomplete</a:t>
              </a:r>
              <a:endParaRPr lang="id-ID" sz="2200" kern="1200" dirty="0">
                <a:solidFill>
                  <a:srgbClr val="3F3F3F"/>
                </a:solidFill>
                <a:latin typeface="Source Sans Pro"/>
              </a:endParaRPr>
            </a:p>
          </p:txBody>
        </p:sp>
      </p:grpSp>
      <p:sp>
        <p:nvSpPr>
          <p:cNvPr id="98" name="Rectangle 97"/>
          <p:cNvSpPr/>
          <p:nvPr/>
        </p:nvSpPr>
        <p:spPr>
          <a:xfrm>
            <a:off x="14756592" y="3396196"/>
            <a:ext cx="4198872" cy="15368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4759923" y="3405197"/>
            <a:ext cx="16469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b="1" kern="1200" dirty="0">
                <a:solidFill>
                  <a:srgbClr val="FFFFFF"/>
                </a:solidFill>
                <a:latin typeface="Montserrat"/>
              </a:rPr>
              <a:t>Description</a:t>
            </a:r>
            <a:endParaRPr lang="id-ID" sz="2400" b="1" kern="1200" dirty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14759923" y="3845670"/>
            <a:ext cx="44834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id-ID" sz="2100" kern="1200" dirty="0">
                <a:solidFill>
                  <a:srgbClr val="FFFFFF"/>
                </a:solidFill>
                <a:latin typeface="Source Sans Pro"/>
              </a:rPr>
              <a:t>Suitable for all categories business and personal presentation</a:t>
            </a:r>
            <a:r>
              <a:rPr lang="en-US" sz="2100" b="1" kern="1200" dirty="0">
                <a:solidFill>
                  <a:srgbClr val="FFFFFF"/>
                </a:solidFill>
                <a:latin typeface="Source Sans Pro"/>
              </a:rPr>
              <a:t>.</a:t>
            </a:r>
            <a:endParaRPr lang="id-ID" sz="2100" kern="1200" dirty="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7754842" y="5566498"/>
            <a:ext cx="4198872" cy="15368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17758173" y="5575499"/>
            <a:ext cx="16469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b="1" kern="1200" dirty="0">
                <a:solidFill>
                  <a:srgbClr val="FFFFFF"/>
                </a:solidFill>
                <a:latin typeface="Montserrat"/>
              </a:rPr>
              <a:t>Description</a:t>
            </a:r>
            <a:endParaRPr lang="id-ID" sz="2400" b="1" kern="1200" dirty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7758173" y="6015972"/>
            <a:ext cx="44834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id-ID" sz="2100" kern="1200" dirty="0">
                <a:solidFill>
                  <a:srgbClr val="FFFFFF"/>
                </a:solidFill>
                <a:latin typeface="Source Sans Pro"/>
              </a:rPr>
              <a:t>Suitable for all categories business and personal presentation</a:t>
            </a:r>
            <a:r>
              <a:rPr lang="en-US" sz="2100" b="1" kern="1200" dirty="0">
                <a:solidFill>
                  <a:srgbClr val="FFFFFF"/>
                </a:solidFill>
                <a:latin typeface="Source Sans Pro"/>
              </a:rPr>
              <a:t>.</a:t>
            </a:r>
            <a:endParaRPr lang="id-ID" sz="2100" kern="1200" dirty="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7574458" y="7197390"/>
            <a:ext cx="4198872" cy="1536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7577789" y="7206391"/>
            <a:ext cx="16469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b="1" kern="1200" dirty="0">
                <a:solidFill>
                  <a:srgbClr val="FFFFFF"/>
                </a:solidFill>
                <a:latin typeface="Montserrat"/>
              </a:rPr>
              <a:t>Description</a:t>
            </a:r>
            <a:endParaRPr lang="id-ID" sz="2400" b="1" kern="1200" dirty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7577789" y="7646864"/>
            <a:ext cx="44834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rtl="0"/>
            <a:r>
              <a:rPr lang="id-ID" sz="2100" kern="1200" dirty="0">
                <a:solidFill>
                  <a:srgbClr val="FFFFFF"/>
                </a:solidFill>
                <a:latin typeface="Source Sans Pro"/>
              </a:rPr>
              <a:t>Suitable for all categories business and personal presentation</a:t>
            </a:r>
            <a:r>
              <a:rPr lang="en-US" sz="2100" b="1" kern="1200" dirty="0">
                <a:solidFill>
                  <a:srgbClr val="FFFFFF"/>
                </a:solidFill>
                <a:latin typeface="Source Sans Pro"/>
              </a:rPr>
              <a:t>.</a:t>
            </a:r>
            <a:endParaRPr lang="id-ID" sz="2100" kern="1200" dirty="0">
              <a:solidFill>
                <a:srgbClr val="FFFFFF"/>
              </a:solidFill>
              <a:latin typeface="Source Sans Pro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709184" y="10570357"/>
            <a:ext cx="16619052" cy="169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828800" rtl="0">
              <a:lnSpc>
                <a:spcPct val="150000"/>
              </a:lnSpc>
            </a:pPr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Bring your business to the next Level with Powerfull presentation material for all business and personal presentation, Suitable for all categories business and personal presentation </a:t>
            </a:r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If you are going to use a passage of </a:t>
            </a:r>
            <a:r>
              <a:rPr lang="en-US" sz="2400" kern="1200" dirty="0" err="1">
                <a:solidFill>
                  <a:srgbClr val="3F3F3F"/>
                </a:solidFill>
                <a:latin typeface="Source Sans Pro"/>
              </a:rPr>
              <a:t>Lorem</a:t>
            </a:r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Source Sans Pro"/>
              </a:rPr>
              <a:t>Ipsum</a:t>
            </a:r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 Soufflé liquorice bonbon tart cookie chocolate cake</a:t>
            </a:r>
            <a:r>
              <a:rPr lang="en-ID" sz="2400" kern="1200" dirty="0">
                <a:solidFill>
                  <a:srgbClr val="3F3F3F"/>
                </a:solidFill>
                <a:latin typeface="Source Sans Pro"/>
              </a:rPr>
              <a:t>.</a:t>
            </a:r>
            <a:endParaRPr lang="id-ID" sz="2400" kern="1200" dirty="0">
              <a:solidFill>
                <a:srgbClr val="3F3F3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94304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</a:t>
            </a:r>
          </a:p>
        </p:txBody>
      </p:sp>
      <p:graphicFrame>
        <p:nvGraphicFramePr>
          <p:cNvPr id="92" name="Table 91"/>
          <p:cNvGraphicFramePr>
            <a:graphicFrameLocks noGrp="1"/>
          </p:cNvGraphicFramePr>
          <p:nvPr/>
        </p:nvGraphicFramePr>
        <p:xfrm>
          <a:off x="1244592" y="3045901"/>
          <a:ext cx="21971016" cy="147950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0918">
                  <a:extLst>
                    <a:ext uri="{9D8B030D-6E8A-4147-A177-3AD203B41FA5}">
                      <a16:colId xmlns:a16="http://schemas.microsoft.com/office/drawing/2014/main" val="1217227915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116171386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2146539830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432052684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2961802532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2126159603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1887237521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509902811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3466409456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786383004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3492830208"/>
                    </a:ext>
                  </a:extLst>
                </a:gridCol>
                <a:gridCol w="1830918">
                  <a:extLst>
                    <a:ext uri="{9D8B030D-6E8A-4147-A177-3AD203B41FA5}">
                      <a16:colId xmlns:a16="http://schemas.microsoft.com/office/drawing/2014/main" val="2619903100"/>
                    </a:ext>
                  </a:extLst>
                </a:gridCol>
              </a:tblGrid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525146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282147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0447750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3431563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96124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239270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025913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47698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9087759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1869105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7200" dirty="0">
                        <a:latin typeface="+mj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3798847"/>
                  </a:ext>
                </a:extLst>
              </a:tr>
              <a:tr h="713318"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1"/>
                          </a:solidFill>
                          <a:latin typeface="+mj-lt"/>
                        </a:rPr>
                        <a:t>JAN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FEB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MAR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APR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MAY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JUN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JUL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AUG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SEP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OCT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NOV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>
                          <a:solidFill>
                            <a:schemeClr val="bg2"/>
                          </a:solidFill>
                          <a:latin typeface="+mj-lt"/>
                        </a:rPr>
                        <a:t>DEC</a:t>
                      </a:r>
                    </a:p>
                  </a:txBody>
                  <a:tcPr marL="182880" marR="182880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614747"/>
                  </a:ext>
                </a:extLst>
              </a:tr>
            </a:tbl>
          </a:graphicData>
        </a:graphic>
      </p:graphicFrame>
      <p:sp>
        <p:nvSpPr>
          <p:cNvPr id="93" name="Diamond 92"/>
          <p:cNvSpPr/>
          <p:nvPr/>
        </p:nvSpPr>
        <p:spPr>
          <a:xfrm>
            <a:off x="2799080" y="10967424"/>
            <a:ext cx="548640" cy="54864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94" name="Isosceles Triangle 93"/>
          <p:cNvSpPr/>
          <p:nvPr/>
        </p:nvSpPr>
        <p:spPr>
          <a:xfrm>
            <a:off x="11970290" y="11770080"/>
            <a:ext cx="530352" cy="4572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95" name="Shape 21036"/>
          <p:cNvSpPr/>
          <p:nvPr/>
        </p:nvSpPr>
        <p:spPr>
          <a:xfrm>
            <a:off x="10858489" y="12303480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lang="en-US" sz="2800" kern="1200" dirty="0">
                <a:latin typeface="Montserrat"/>
              </a:rPr>
              <a:t>Today</a:t>
            </a:r>
            <a:endParaRPr sz="2800" kern="1200" dirty="0">
              <a:latin typeface="Montserrat"/>
            </a:endParaRPr>
          </a:p>
        </p:txBody>
      </p:sp>
      <p:cxnSp>
        <p:nvCxnSpPr>
          <p:cNvPr id="97" name="Straight Arrow Connector 96"/>
          <p:cNvCxnSpPr/>
          <p:nvPr/>
        </p:nvCxnSpPr>
        <p:spPr>
          <a:xfrm flipV="1">
            <a:off x="3073400" y="10483554"/>
            <a:ext cx="0" cy="548640"/>
          </a:xfrm>
          <a:prstGeom prst="straightConnector1">
            <a:avLst/>
          </a:prstGeom>
          <a:ln w="15875"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Shape 21036"/>
          <p:cNvSpPr/>
          <p:nvPr/>
        </p:nvSpPr>
        <p:spPr>
          <a:xfrm>
            <a:off x="1706881" y="9409792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9BBB59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9BBB59"/>
              </a:solidFill>
              <a:latin typeface="Montserrat"/>
            </a:endParaRPr>
          </a:p>
        </p:txBody>
      </p:sp>
      <p:sp>
        <p:nvSpPr>
          <p:cNvPr id="99" name="Shape 21036"/>
          <p:cNvSpPr/>
          <p:nvPr/>
        </p:nvSpPr>
        <p:spPr>
          <a:xfrm>
            <a:off x="1706881" y="9856518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09" name="Diamond 108"/>
          <p:cNvSpPr/>
          <p:nvPr/>
        </p:nvSpPr>
        <p:spPr>
          <a:xfrm>
            <a:off x="4638344" y="10967424"/>
            <a:ext cx="548640" cy="5486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cxnSp>
        <p:nvCxnSpPr>
          <p:cNvPr id="110" name="Straight Arrow Connector 109"/>
          <p:cNvCxnSpPr/>
          <p:nvPr/>
        </p:nvCxnSpPr>
        <p:spPr>
          <a:xfrm flipV="1">
            <a:off x="4912664" y="9001464"/>
            <a:ext cx="0" cy="2011680"/>
          </a:xfrm>
          <a:prstGeom prst="straightConnector1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Shape 21036"/>
          <p:cNvSpPr/>
          <p:nvPr/>
        </p:nvSpPr>
        <p:spPr>
          <a:xfrm>
            <a:off x="3546145" y="7927290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F39C12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F39C12"/>
              </a:solidFill>
              <a:latin typeface="Montserrat"/>
            </a:endParaRPr>
          </a:p>
        </p:txBody>
      </p:sp>
      <p:sp>
        <p:nvSpPr>
          <p:cNvPr id="112" name="Shape 21036"/>
          <p:cNvSpPr/>
          <p:nvPr/>
        </p:nvSpPr>
        <p:spPr>
          <a:xfrm>
            <a:off x="3546145" y="837401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14" name="Diamond 113"/>
          <p:cNvSpPr/>
          <p:nvPr/>
        </p:nvSpPr>
        <p:spPr>
          <a:xfrm>
            <a:off x="7381842" y="10963614"/>
            <a:ext cx="548640" cy="548640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cxnSp>
        <p:nvCxnSpPr>
          <p:cNvPr id="115" name="Straight Arrow Connector 114"/>
          <p:cNvCxnSpPr/>
          <p:nvPr/>
        </p:nvCxnSpPr>
        <p:spPr>
          <a:xfrm flipV="1">
            <a:off x="7656162" y="10479744"/>
            <a:ext cx="0" cy="548640"/>
          </a:xfrm>
          <a:prstGeom prst="straightConnector1">
            <a:avLst/>
          </a:prstGeom>
          <a:ln w="15875"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Shape 21036"/>
          <p:cNvSpPr/>
          <p:nvPr/>
        </p:nvSpPr>
        <p:spPr>
          <a:xfrm>
            <a:off x="6289643" y="9405982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41B176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41B176"/>
              </a:solidFill>
              <a:latin typeface="Montserrat"/>
            </a:endParaRPr>
          </a:p>
        </p:txBody>
      </p:sp>
      <p:sp>
        <p:nvSpPr>
          <p:cNvPr id="117" name="Shape 21036"/>
          <p:cNvSpPr/>
          <p:nvPr/>
        </p:nvSpPr>
        <p:spPr>
          <a:xfrm>
            <a:off x="6289643" y="9852708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18" name="Diamond 117"/>
          <p:cNvSpPr/>
          <p:nvPr/>
        </p:nvSpPr>
        <p:spPr>
          <a:xfrm>
            <a:off x="8391126" y="10978854"/>
            <a:ext cx="548640" cy="548640"/>
          </a:xfrm>
          <a:prstGeom prst="diamond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cxnSp>
        <p:nvCxnSpPr>
          <p:cNvPr id="119" name="Straight Arrow Connector 118"/>
          <p:cNvCxnSpPr/>
          <p:nvPr/>
        </p:nvCxnSpPr>
        <p:spPr>
          <a:xfrm flipV="1">
            <a:off x="8665446" y="9012894"/>
            <a:ext cx="0" cy="2011680"/>
          </a:xfrm>
          <a:prstGeom prst="straightConnector1">
            <a:avLst/>
          </a:prstGeom>
          <a:ln w="1587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Shape 21036"/>
          <p:cNvSpPr/>
          <p:nvPr/>
        </p:nvSpPr>
        <p:spPr>
          <a:xfrm>
            <a:off x="7298927" y="7938720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954F72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954F72"/>
              </a:solidFill>
              <a:latin typeface="Montserrat"/>
            </a:endParaRPr>
          </a:p>
        </p:txBody>
      </p:sp>
      <p:sp>
        <p:nvSpPr>
          <p:cNvPr id="121" name="Shape 21036"/>
          <p:cNvSpPr/>
          <p:nvPr/>
        </p:nvSpPr>
        <p:spPr>
          <a:xfrm>
            <a:off x="7298927" y="838544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22" name="Diamond 121"/>
          <p:cNvSpPr/>
          <p:nvPr/>
        </p:nvSpPr>
        <p:spPr>
          <a:xfrm>
            <a:off x="12568748" y="10998488"/>
            <a:ext cx="548640" cy="5486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cxnSp>
        <p:nvCxnSpPr>
          <p:cNvPr id="123" name="Straight Arrow Connector 122"/>
          <p:cNvCxnSpPr/>
          <p:nvPr/>
        </p:nvCxnSpPr>
        <p:spPr>
          <a:xfrm flipV="1">
            <a:off x="12862118" y="10514618"/>
            <a:ext cx="0" cy="548640"/>
          </a:xfrm>
          <a:prstGeom prst="straightConnector1">
            <a:avLst/>
          </a:prstGeom>
          <a:ln w="1587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Shape 21036"/>
          <p:cNvSpPr/>
          <p:nvPr/>
        </p:nvSpPr>
        <p:spPr>
          <a:xfrm>
            <a:off x="11476549" y="944085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F39C12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F39C12"/>
              </a:solidFill>
              <a:latin typeface="Montserrat"/>
            </a:endParaRPr>
          </a:p>
        </p:txBody>
      </p:sp>
      <p:sp>
        <p:nvSpPr>
          <p:cNvPr id="125" name="Shape 21036"/>
          <p:cNvSpPr/>
          <p:nvPr/>
        </p:nvSpPr>
        <p:spPr>
          <a:xfrm>
            <a:off x="11476549" y="9887582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26" name="Diamond 125"/>
          <p:cNvSpPr/>
          <p:nvPr/>
        </p:nvSpPr>
        <p:spPr>
          <a:xfrm>
            <a:off x="16425230" y="10998488"/>
            <a:ext cx="548640" cy="548640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cxnSp>
        <p:nvCxnSpPr>
          <p:cNvPr id="127" name="Straight Arrow Connector 126"/>
          <p:cNvCxnSpPr/>
          <p:nvPr/>
        </p:nvCxnSpPr>
        <p:spPr>
          <a:xfrm flipV="1">
            <a:off x="16699550" y="10514618"/>
            <a:ext cx="0" cy="548640"/>
          </a:xfrm>
          <a:prstGeom prst="straightConnector1">
            <a:avLst/>
          </a:prstGeom>
          <a:ln w="15875"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hape 21036"/>
          <p:cNvSpPr/>
          <p:nvPr/>
        </p:nvSpPr>
        <p:spPr>
          <a:xfrm>
            <a:off x="15333031" y="944085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41B176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41B176"/>
              </a:solidFill>
              <a:latin typeface="Montserrat"/>
            </a:endParaRPr>
          </a:p>
        </p:txBody>
      </p:sp>
      <p:sp>
        <p:nvSpPr>
          <p:cNvPr id="129" name="Shape 21036"/>
          <p:cNvSpPr/>
          <p:nvPr/>
        </p:nvSpPr>
        <p:spPr>
          <a:xfrm>
            <a:off x="15333031" y="9887582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30" name="Diamond 129"/>
          <p:cNvSpPr/>
          <p:nvPr/>
        </p:nvSpPr>
        <p:spPr>
          <a:xfrm>
            <a:off x="17434514" y="11013728"/>
            <a:ext cx="548640" cy="548640"/>
          </a:xfrm>
          <a:prstGeom prst="diamond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cxnSp>
        <p:nvCxnSpPr>
          <p:cNvPr id="131" name="Straight Arrow Connector 130"/>
          <p:cNvCxnSpPr/>
          <p:nvPr/>
        </p:nvCxnSpPr>
        <p:spPr>
          <a:xfrm flipV="1">
            <a:off x="17708834" y="9047768"/>
            <a:ext cx="0" cy="2011680"/>
          </a:xfrm>
          <a:prstGeom prst="straightConnector1">
            <a:avLst/>
          </a:prstGeom>
          <a:ln w="1587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Shape 21036"/>
          <p:cNvSpPr/>
          <p:nvPr/>
        </p:nvSpPr>
        <p:spPr>
          <a:xfrm>
            <a:off x="16342315" y="7973594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954F72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954F72"/>
              </a:solidFill>
              <a:latin typeface="Montserrat"/>
            </a:endParaRPr>
          </a:p>
        </p:txBody>
      </p:sp>
      <p:sp>
        <p:nvSpPr>
          <p:cNvPr id="133" name="Shape 21036"/>
          <p:cNvSpPr/>
          <p:nvPr/>
        </p:nvSpPr>
        <p:spPr>
          <a:xfrm>
            <a:off x="16342315" y="8420320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34" name="Diamond 133"/>
          <p:cNvSpPr/>
          <p:nvPr/>
        </p:nvSpPr>
        <p:spPr>
          <a:xfrm>
            <a:off x="21102614" y="10998488"/>
            <a:ext cx="548640" cy="54864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cxnSp>
        <p:nvCxnSpPr>
          <p:cNvPr id="135" name="Straight Arrow Connector 134"/>
          <p:cNvCxnSpPr/>
          <p:nvPr/>
        </p:nvCxnSpPr>
        <p:spPr>
          <a:xfrm flipV="1">
            <a:off x="21376934" y="10514618"/>
            <a:ext cx="0" cy="548640"/>
          </a:xfrm>
          <a:prstGeom prst="straightConnector1">
            <a:avLst/>
          </a:prstGeom>
          <a:ln w="15875"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Shape 21036"/>
          <p:cNvSpPr/>
          <p:nvPr/>
        </p:nvSpPr>
        <p:spPr>
          <a:xfrm>
            <a:off x="20010415" y="944085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400" b="1" kern="1200" dirty="0" err="1">
                <a:solidFill>
                  <a:srgbClr val="9BBB59"/>
                </a:solidFill>
                <a:latin typeface="Montserrat"/>
              </a:rPr>
              <a:t>Milestonse</a:t>
            </a:r>
            <a:endParaRPr sz="2400" b="1" kern="1200" dirty="0">
              <a:solidFill>
                <a:srgbClr val="9BBB59"/>
              </a:solidFill>
              <a:latin typeface="Montserrat"/>
            </a:endParaRPr>
          </a:p>
        </p:txBody>
      </p:sp>
      <p:sp>
        <p:nvSpPr>
          <p:cNvPr id="137" name="Shape 21036"/>
          <p:cNvSpPr/>
          <p:nvPr/>
        </p:nvSpPr>
        <p:spPr>
          <a:xfrm>
            <a:off x="20010415" y="9887582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38" name="Left-Right Arrow 137"/>
          <p:cNvSpPr/>
          <p:nvPr/>
        </p:nvSpPr>
        <p:spPr>
          <a:xfrm>
            <a:off x="3073400" y="3485478"/>
            <a:ext cx="1839264" cy="494852"/>
          </a:xfrm>
          <a:prstGeom prst="left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39" name="Shape 21036"/>
          <p:cNvSpPr/>
          <p:nvPr/>
        </p:nvSpPr>
        <p:spPr>
          <a:xfrm>
            <a:off x="5048929" y="3492104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l" defTabSz="1168400" rtl="0">
              <a:spcBef>
                <a:spcPts val="2000"/>
              </a:spcBef>
            </a:pPr>
            <a:r>
              <a:rPr lang="en-US" sz="2400" b="1" kern="1200" dirty="0">
                <a:solidFill>
                  <a:srgbClr val="3F3F3F"/>
                </a:solidFill>
                <a:latin typeface="Montserrat"/>
              </a:rPr>
              <a:t>Description </a:t>
            </a:r>
            <a:endParaRPr sz="2400" b="1" kern="1200" dirty="0">
              <a:solidFill>
                <a:srgbClr val="3F3F3F"/>
              </a:solidFill>
              <a:latin typeface="Montserrat"/>
            </a:endParaRPr>
          </a:p>
        </p:txBody>
      </p:sp>
      <p:sp>
        <p:nvSpPr>
          <p:cNvPr id="140" name="Shape 21036"/>
          <p:cNvSpPr/>
          <p:nvPr/>
        </p:nvSpPr>
        <p:spPr>
          <a:xfrm>
            <a:off x="168835" y="3492104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r"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41" name="Left-Right Arrow 140"/>
          <p:cNvSpPr/>
          <p:nvPr/>
        </p:nvSpPr>
        <p:spPr>
          <a:xfrm>
            <a:off x="4912663" y="4218990"/>
            <a:ext cx="2603342" cy="494852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42" name="Shape 21036"/>
          <p:cNvSpPr/>
          <p:nvPr/>
        </p:nvSpPr>
        <p:spPr>
          <a:xfrm>
            <a:off x="7681289" y="422561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l" defTabSz="1168400" rtl="0">
              <a:spcBef>
                <a:spcPts val="2000"/>
              </a:spcBef>
            </a:pPr>
            <a:r>
              <a:rPr lang="en-US" sz="2400" b="1" kern="1200" dirty="0">
                <a:solidFill>
                  <a:srgbClr val="3F3F3F"/>
                </a:solidFill>
                <a:latin typeface="Montserrat"/>
              </a:rPr>
              <a:t>Description </a:t>
            </a:r>
            <a:endParaRPr sz="2400" b="1" kern="1200" dirty="0">
              <a:solidFill>
                <a:srgbClr val="3F3F3F"/>
              </a:solidFill>
              <a:latin typeface="Montserrat"/>
            </a:endParaRPr>
          </a:p>
        </p:txBody>
      </p:sp>
      <p:sp>
        <p:nvSpPr>
          <p:cNvPr id="143" name="Shape 21036"/>
          <p:cNvSpPr/>
          <p:nvPr/>
        </p:nvSpPr>
        <p:spPr>
          <a:xfrm>
            <a:off x="2008099" y="422561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r"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44" name="Left-Right Arrow 143"/>
          <p:cNvSpPr/>
          <p:nvPr/>
        </p:nvSpPr>
        <p:spPr>
          <a:xfrm>
            <a:off x="7666618" y="5012340"/>
            <a:ext cx="1839264" cy="494852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45" name="Shape 21036"/>
          <p:cNvSpPr/>
          <p:nvPr/>
        </p:nvSpPr>
        <p:spPr>
          <a:xfrm>
            <a:off x="9626907" y="501896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l" defTabSz="1168400" rtl="0">
              <a:spcBef>
                <a:spcPts val="2000"/>
              </a:spcBef>
            </a:pPr>
            <a:r>
              <a:rPr lang="en-US" sz="2400" b="1" kern="1200" dirty="0">
                <a:solidFill>
                  <a:srgbClr val="3F3F3F"/>
                </a:solidFill>
                <a:latin typeface="Montserrat"/>
              </a:rPr>
              <a:t>Description </a:t>
            </a:r>
            <a:endParaRPr sz="2400" b="1" kern="1200" dirty="0">
              <a:solidFill>
                <a:srgbClr val="3F3F3F"/>
              </a:solidFill>
              <a:latin typeface="Montserrat"/>
            </a:endParaRPr>
          </a:p>
        </p:txBody>
      </p:sp>
      <p:sp>
        <p:nvSpPr>
          <p:cNvPr id="146" name="Shape 21036"/>
          <p:cNvSpPr/>
          <p:nvPr/>
        </p:nvSpPr>
        <p:spPr>
          <a:xfrm>
            <a:off x="4807773" y="501896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r"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47" name="Left-Right Arrow 146"/>
          <p:cNvSpPr/>
          <p:nvPr/>
        </p:nvSpPr>
        <p:spPr>
          <a:xfrm>
            <a:off x="7666617" y="5699478"/>
            <a:ext cx="3809930" cy="494852"/>
          </a:xfrm>
          <a:prstGeom prst="left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48" name="Shape 21036"/>
          <p:cNvSpPr/>
          <p:nvPr/>
        </p:nvSpPr>
        <p:spPr>
          <a:xfrm>
            <a:off x="11581437" y="5706104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l" defTabSz="1168400" rtl="0">
              <a:spcBef>
                <a:spcPts val="2000"/>
              </a:spcBef>
            </a:pPr>
            <a:r>
              <a:rPr lang="en-US" sz="2400" b="1" kern="1200" dirty="0">
                <a:solidFill>
                  <a:srgbClr val="3F3F3F"/>
                </a:solidFill>
                <a:latin typeface="Montserrat"/>
              </a:rPr>
              <a:t>Description </a:t>
            </a:r>
            <a:endParaRPr sz="2400" b="1" kern="1200" dirty="0">
              <a:solidFill>
                <a:srgbClr val="3F3F3F"/>
              </a:solidFill>
              <a:latin typeface="Montserrat"/>
            </a:endParaRPr>
          </a:p>
        </p:txBody>
      </p:sp>
      <p:sp>
        <p:nvSpPr>
          <p:cNvPr id="149" name="Shape 21036"/>
          <p:cNvSpPr/>
          <p:nvPr/>
        </p:nvSpPr>
        <p:spPr>
          <a:xfrm>
            <a:off x="4807773" y="5706104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r"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50" name="Left-Right Arrow 149"/>
          <p:cNvSpPr/>
          <p:nvPr/>
        </p:nvSpPr>
        <p:spPr>
          <a:xfrm>
            <a:off x="13288911" y="6470336"/>
            <a:ext cx="2603342" cy="494852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1" name="Shape 21036"/>
          <p:cNvSpPr/>
          <p:nvPr/>
        </p:nvSpPr>
        <p:spPr>
          <a:xfrm>
            <a:off x="16057537" y="6476962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l" defTabSz="1168400" rtl="0">
              <a:spcBef>
                <a:spcPts val="2000"/>
              </a:spcBef>
            </a:pPr>
            <a:r>
              <a:rPr lang="en-US" sz="2400" b="1" kern="1200" dirty="0">
                <a:solidFill>
                  <a:srgbClr val="3F3F3F"/>
                </a:solidFill>
                <a:latin typeface="Montserrat"/>
              </a:rPr>
              <a:t>Description </a:t>
            </a:r>
            <a:endParaRPr sz="2400" b="1" kern="1200" dirty="0">
              <a:solidFill>
                <a:srgbClr val="3F3F3F"/>
              </a:solidFill>
              <a:latin typeface="Montserrat"/>
            </a:endParaRPr>
          </a:p>
        </p:txBody>
      </p:sp>
      <p:sp>
        <p:nvSpPr>
          <p:cNvPr id="152" name="Shape 21036"/>
          <p:cNvSpPr/>
          <p:nvPr/>
        </p:nvSpPr>
        <p:spPr>
          <a:xfrm>
            <a:off x="10384347" y="6476962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r"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  <p:sp>
        <p:nvSpPr>
          <p:cNvPr id="153" name="Left-Right Arrow 152"/>
          <p:cNvSpPr/>
          <p:nvPr/>
        </p:nvSpPr>
        <p:spPr>
          <a:xfrm>
            <a:off x="15300223" y="7146170"/>
            <a:ext cx="5921478" cy="494852"/>
          </a:xfrm>
          <a:prstGeom prst="left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154" name="Shape 21036"/>
          <p:cNvSpPr/>
          <p:nvPr/>
        </p:nvSpPr>
        <p:spPr>
          <a:xfrm>
            <a:off x="21330623" y="715279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l" defTabSz="1168400" rtl="0">
              <a:spcBef>
                <a:spcPts val="2000"/>
              </a:spcBef>
            </a:pPr>
            <a:r>
              <a:rPr lang="en-US" sz="2400" b="1" kern="1200" dirty="0">
                <a:solidFill>
                  <a:srgbClr val="3F3F3F"/>
                </a:solidFill>
                <a:latin typeface="Montserrat"/>
              </a:rPr>
              <a:t>Description </a:t>
            </a:r>
            <a:endParaRPr sz="2400" b="1" kern="1200" dirty="0">
              <a:solidFill>
                <a:srgbClr val="3F3F3F"/>
              </a:solidFill>
              <a:latin typeface="Montserrat"/>
            </a:endParaRPr>
          </a:p>
        </p:txBody>
      </p:sp>
      <p:sp>
        <p:nvSpPr>
          <p:cNvPr id="155" name="Shape 21036"/>
          <p:cNvSpPr/>
          <p:nvPr/>
        </p:nvSpPr>
        <p:spPr>
          <a:xfrm>
            <a:off x="12441379" y="7152796"/>
            <a:ext cx="2753954" cy="481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r" defTabSz="1168400" rtl="0">
              <a:spcBef>
                <a:spcPts val="2000"/>
              </a:spcBef>
            </a:pPr>
            <a:r>
              <a:rPr sz="2000" kern="1200" dirty="0">
                <a:latin typeface="Montserrat"/>
              </a:rPr>
              <a:t>Date start-end</a:t>
            </a:r>
          </a:p>
        </p:txBody>
      </p:sp>
    </p:spTree>
    <p:extLst>
      <p:ext uri="{BB962C8B-B14F-4D97-AF65-F5344CB8AC3E}">
        <p14:creationId xmlns:p14="http://schemas.microsoft.com/office/powerpoint/2010/main" val="36785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1 WEEK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1016001" y="3226179"/>
          <a:ext cx="21615402" cy="9152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84620">
                  <a:extLst>
                    <a:ext uri="{9D8B030D-6E8A-4147-A177-3AD203B41FA5}">
                      <a16:colId xmlns:a16="http://schemas.microsoft.com/office/drawing/2014/main" val="55984827"/>
                    </a:ext>
                  </a:extLst>
                </a:gridCol>
                <a:gridCol w="2175826">
                  <a:extLst>
                    <a:ext uri="{9D8B030D-6E8A-4147-A177-3AD203B41FA5}">
                      <a16:colId xmlns:a16="http://schemas.microsoft.com/office/drawing/2014/main" val="2576202578"/>
                    </a:ext>
                  </a:extLst>
                </a:gridCol>
                <a:gridCol w="2175826">
                  <a:extLst>
                    <a:ext uri="{9D8B030D-6E8A-4147-A177-3AD203B41FA5}">
                      <a16:colId xmlns:a16="http://schemas.microsoft.com/office/drawing/2014/main" val="128965816"/>
                    </a:ext>
                  </a:extLst>
                </a:gridCol>
                <a:gridCol w="2175826">
                  <a:extLst>
                    <a:ext uri="{9D8B030D-6E8A-4147-A177-3AD203B41FA5}">
                      <a16:colId xmlns:a16="http://schemas.microsoft.com/office/drawing/2014/main" val="4092572145"/>
                    </a:ext>
                  </a:extLst>
                </a:gridCol>
                <a:gridCol w="2175826">
                  <a:extLst>
                    <a:ext uri="{9D8B030D-6E8A-4147-A177-3AD203B41FA5}">
                      <a16:colId xmlns:a16="http://schemas.microsoft.com/office/drawing/2014/main" val="2969505751"/>
                    </a:ext>
                  </a:extLst>
                </a:gridCol>
                <a:gridCol w="2175826">
                  <a:extLst>
                    <a:ext uri="{9D8B030D-6E8A-4147-A177-3AD203B41FA5}">
                      <a16:colId xmlns:a16="http://schemas.microsoft.com/office/drawing/2014/main" val="4113704019"/>
                    </a:ext>
                  </a:extLst>
                </a:gridCol>
                <a:gridCol w="2175826">
                  <a:extLst>
                    <a:ext uri="{9D8B030D-6E8A-4147-A177-3AD203B41FA5}">
                      <a16:colId xmlns:a16="http://schemas.microsoft.com/office/drawing/2014/main" val="43942242"/>
                    </a:ext>
                  </a:extLst>
                </a:gridCol>
                <a:gridCol w="2175826">
                  <a:extLst>
                    <a:ext uri="{9D8B030D-6E8A-4147-A177-3AD203B41FA5}">
                      <a16:colId xmlns:a16="http://schemas.microsoft.com/office/drawing/2014/main" val="1772795308"/>
                    </a:ext>
                  </a:extLst>
                </a:gridCol>
              </a:tblGrid>
              <a:tr h="2377440">
                <a:tc>
                  <a:txBody>
                    <a:bodyPr/>
                    <a:lstStyle/>
                    <a:p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ask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U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M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UE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WED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HUR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FRI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A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218919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805485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194522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750409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859098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41385"/>
                  </a:ext>
                </a:extLst>
              </a:tr>
            </a:tbl>
          </a:graphicData>
        </a:graphic>
      </p:graphicFrame>
      <p:sp>
        <p:nvSpPr>
          <p:cNvPr id="36" name="Progress"/>
          <p:cNvSpPr/>
          <p:nvPr/>
        </p:nvSpPr>
        <p:spPr>
          <a:xfrm>
            <a:off x="8163336" y="4591447"/>
            <a:ext cx="5080224" cy="35169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7" name="Progress"/>
          <p:cNvSpPr/>
          <p:nvPr/>
        </p:nvSpPr>
        <p:spPr>
          <a:xfrm>
            <a:off x="9949592" y="5997577"/>
            <a:ext cx="7132320" cy="35169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8" name="Progress"/>
          <p:cNvSpPr/>
          <p:nvPr/>
        </p:nvSpPr>
        <p:spPr>
          <a:xfrm>
            <a:off x="8451738" y="7351823"/>
            <a:ext cx="2194560" cy="35169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9" name="Progress"/>
          <p:cNvSpPr/>
          <p:nvPr/>
        </p:nvSpPr>
        <p:spPr>
          <a:xfrm>
            <a:off x="19466786" y="8699991"/>
            <a:ext cx="2194560" cy="35169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0" name="Progress"/>
          <p:cNvSpPr/>
          <p:nvPr/>
        </p:nvSpPr>
        <p:spPr>
          <a:xfrm>
            <a:off x="19466786" y="4591447"/>
            <a:ext cx="2194560" cy="3516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312312" y="11172829"/>
            <a:ext cx="14350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Milestone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4405898" y="10347056"/>
            <a:ext cx="1228788" cy="866472"/>
            <a:chOff x="7202949" y="5344978"/>
            <a:chExt cx="614394" cy="433236"/>
          </a:xfrm>
        </p:grpSpPr>
        <p:sp>
          <p:nvSpPr>
            <p:cNvPr id="43" name="Freeform 5"/>
            <p:cNvSpPr>
              <a:spLocks/>
            </p:cNvSpPr>
            <p:nvPr/>
          </p:nvSpPr>
          <p:spPr bwMode="auto">
            <a:xfrm>
              <a:off x="7202949" y="5604077"/>
              <a:ext cx="614394" cy="174137"/>
            </a:xfrm>
            <a:custGeom>
              <a:avLst/>
              <a:gdLst>
                <a:gd name="T0" fmla="*/ 746 w 875"/>
                <a:gd name="T1" fmla="*/ 248 h 248"/>
                <a:gd name="T2" fmla="*/ 128 w 875"/>
                <a:gd name="T3" fmla="*/ 248 h 248"/>
                <a:gd name="T4" fmla="*/ 0 w 875"/>
                <a:gd name="T5" fmla="*/ 0 h 248"/>
                <a:gd name="T6" fmla="*/ 875 w 875"/>
                <a:gd name="T7" fmla="*/ 0 h 248"/>
                <a:gd name="T8" fmla="*/ 746 w 875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248">
                  <a:moveTo>
                    <a:pt x="746" y="248"/>
                  </a:moveTo>
                  <a:lnTo>
                    <a:pt x="128" y="248"/>
                  </a:lnTo>
                  <a:lnTo>
                    <a:pt x="0" y="0"/>
                  </a:lnTo>
                  <a:lnTo>
                    <a:pt x="875" y="0"/>
                  </a:lnTo>
                  <a:lnTo>
                    <a:pt x="746" y="248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44" name="Freeform 6"/>
            <p:cNvSpPr>
              <a:spLocks/>
            </p:cNvSpPr>
            <p:nvPr/>
          </p:nvSpPr>
          <p:spPr bwMode="auto">
            <a:xfrm>
              <a:off x="7292826" y="5344978"/>
              <a:ext cx="433938" cy="433236"/>
            </a:xfrm>
            <a:custGeom>
              <a:avLst/>
              <a:gdLst>
                <a:gd name="T0" fmla="*/ 308 w 618"/>
                <a:gd name="T1" fmla="*/ 0 h 617"/>
                <a:gd name="T2" fmla="*/ 0 w 618"/>
                <a:gd name="T3" fmla="*/ 235 h 617"/>
                <a:gd name="T4" fmla="*/ 0 w 618"/>
                <a:gd name="T5" fmla="*/ 617 h 617"/>
                <a:gd name="T6" fmla="*/ 618 w 618"/>
                <a:gd name="T7" fmla="*/ 617 h 617"/>
                <a:gd name="T8" fmla="*/ 618 w 618"/>
                <a:gd name="T9" fmla="*/ 235 h 617"/>
                <a:gd name="T10" fmla="*/ 308 w 618"/>
                <a:gd name="T11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8" h="617">
                  <a:moveTo>
                    <a:pt x="308" y="0"/>
                  </a:moveTo>
                  <a:lnTo>
                    <a:pt x="0" y="235"/>
                  </a:lnTo>
                  <a:lnTo>
                    <a:pt x="0" y="617"/>
                  </a:lnTo>
                  <a:lnTo>
                    <a:pt x="618" y="617"/>
                  </a:lnTo>
                  <a:lnTo>
                    <a:pt x="618" y="235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</p:grpSp>
      <p:sp>
        <p:nvSpPr>
          <p:cNvPr id="47" name="Progress"/>
          <p:cNvSpPr/>
          <p:nvPr/>
        </p:nvSpPr>
        <p:spPr>
          <a:xfrm>
            <a:off x="17384882" y="7351823"/>
            <a:ext cx="3108960" cy="35169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8" name="Progress"/>
          <p:cNvSpPr/>
          <p:nvPr/>
        </p:nvSpPr>
        <p:spPr>
          <a:xfrm>
            <a:off x="17139062" y="9995367"/>
            <a:ext cx="5486400" cy="35169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9" name="Progress"/>
          <p:cNvSpPr/>
          <p:nvPr/>
        </p:nvSpPr>
        <p:spPr>
          <a:xfrm>
            <a:off x="12835352" y="8699991"/>
            <a:ext cx="2194560" cy="3516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15029816" y="4118567"/>
            <a:ext cx="0" cy="6228490"/>
          </a:xfrm>
          <a:prstGeom prst="line">
            <a:avLst/>
          </a:prstGeom>
          <a:ln w="15875">
            <a:solidFill>
              <a:schemeClr val="tx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5444571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427365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1470633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561965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4854270" y="12415534"/>
            <a:ext cx="548640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826242" y="12415534"/>
            <a:ext cx="548640" cy="27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10888558" y="12415534"/>
            <a:ext cx="54864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60" name="Rounded Rectangle 59"/>
          <p:cNvSpPr/>
          <p:nvPr/>
        </p:nvSpPr>
        <p:spPr>
          <a:xfrm>
            <a:off x="13960842" y="12415534"/>
            <a:ext cx="548640" cy="2743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7746713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17107488" y="12415534"/>
            <a:ext cx="548640" cy="27432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426783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1 WEEK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1193799" y="2895700"/>
          <a:ext cx="22074906" cy="895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3756">
                  <a:extLst>
                    <a:ext uri="{9D8B030D-6E8A-4147-A177-3AD203B41FA5}">
                      <a16:colId xmlns:a16="http://schemas.microsoft.com/office/drawing/2014/main" val="55984827"/>
                    </a:ext>
                  </a:extLst>
                </a:gridCol>
                <a:gridCol w="2104450">
                  <a:extLst>
                    <a:ext uri="{9D8B030D-6E8A-4147-A177-3AD203B41FA5}">
                      <a16:colId xmlns:a16="http://schemas.microsoft.com/office/drawing/2014/main" val="2576202578"/>
                    </a:ext>
                  </a:extLst>
                </a:gridCol>
                <a:gridCol w="2104450">
                  <a:extLst>
                    <a:ext uri="{9D8B030D-6E8A-4147-A177-3AD203B41FA5}">
                      <a16:colId xmlns:a16="http://schemas.microsoft.com/office/drawing/2014/main" val="128965816"/>
                    </a:ext>
                  </a:extLst>
                </a:gridCol>
                <a:gridCol w="2104450">
                  <a:extLst>
                    <a:ext uri="{9D8B030D-6E8A-4147-A177-3AD203B41FA5}">
                      <a16:colId xmlns:a16="http://schemas.microsoft.com/office/drawing/2014/main" val="4092572145"/>
                    </a:ext>
                  </a:extLst>
                </a:gridCol>
                <a:gridCol w="2104450">
                  <a:extLst>
                    <a:ext uri="{9D8B030D-6E8A-4147-A177-3AD203B41FA5}">
                      <a16:colId xmlns:a16="http://schemas.microsoft.com/office/drawing/2014/main" val="2969505751"/>
                    </a:ext>
                  </a:extLst>
                </a:gridCol>
                <a:gridCol w="2104450">
                  <a:extLst>
                    <a:ext uri="{9D8B030D-6E8A-4147-A177-3AD203B41FA5}">
                      <a16:colId xmlns:a16="http://schemas.microsoft.com/office/drawing/2014/main" val="4113704019"/>
                    </a:ext>
                  </a:extLst>
                </a:gridCol>
                <a:gridCol w="2104450">
                  <a:extLst>
                    <a:ext uri="{9D8B030D-6E8A-4147-A177-3AD203B41FA5}">
                      <a16:colId xmlns:a16="http://schemas.microsoft.com/office/drawing/2014/main" val="43942242"/>
                    </a:ext>
                  </a:extLst>
                </a:gridCol>
                <a:gridCol w="2104450">
                  <a:extLst>
                    <a:ext uri="{9D8B030D-6E8A-4147-A177-3AD203B41FA5}">
                      <a16:colId xmlns:a16="http://schemas.microsoft.com/office/drawing/2014/main" val="1772795308"/>
                    </a:ext>
                  </a:extLst>
                </a:gridCol>
              </a:tblGrid>
              <a:tr h="2377440">
                <a:tc>
                  <a:txBody>
                    <a:bodyPr/>
                    <a:lstStyle/>
                    <a:p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ask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U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M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UE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WED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HUR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FRI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A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218919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805485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194522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750409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859098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41385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5486318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75565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577323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472891"/>
                  </a:ext>
                </a:extLst>
              </a:tr>
              <a:tr h="8226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Description or any</a:t>
                      </a:r>
                      <a:r>
                        <a:rPr lang="en-US" sz="24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173359"/>
                  </a:ext>
                </a:extLst>
              </a:tr>
            </a:tbl>
          </a:graphicData>
        </a:graphic>
      </p:graphicFrame>
      <p:sp>
        <p:nvSpPr>
          <p:cNvPr id="37" name="Progress"/>
          <p:cNvSpPr/>
          <p:nvPr/>
        </p:nvSpPr>
        <p:spPr>
          <a:xfrm>
            <a:off x="10636124" y="3870931"/>
            <a:ext cx="3108960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9" name="Progress"/>
          <p:cNvSpPr/>
          <p:nvPr/>
        </p:nvSpPr>
        <p:spPr>
          <a:xfrm>
            <a:off x="19163600" y="9654927"/>
            <a:ext cx="219456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0" name="Progress"/>
          <p:cNvSpPr/>
          <p:nvPr/>
        </p:nvSpPr>
        <p:spPr>
          <a:xfrm>
            <a:off x="20101786" y="5492875"/>
            <a:ext cx="219456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5668252" y="7198775"/>
            <a:ext cx="5234844" cy="351690"/>
            <a:chOff x="4457644" y="3798830"/>
            <a:chExt cx="2617422" cy="175845"/>
          </a:xfrm>
        </p:grpSpPr>
        <p:sp>
          <p:nvSpPr>
            <p:cNvPr id="38" name="Progress"/>
            <p:cNvSpPr/>
            <p:nvPr/>
          </p:nvSpPr>
          <p:spPr>
            <a:xfrm>
              <a:off x="4457644" y="3798830"/>
              <a:ext cx="1097280" cy="17584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  <p:sp>
          <p:nvSpPr>
            <p:cNvPr id="47" name="Progress"/>
            <p:cNvSpPr/>
            <p:nvPr/>
          </p:nvSpPr>
          <p:spPr>
            <a:xfrm>
              <a:off x="5520586" y="3798830"/>
              <a:ext cx="1554480" cy="17584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</p:grpSp>
      <p:sp>
        <p:nvSpPr>
          <p:cNvPr id="48" name="Progress"/>
          <p:cNvSpPr/>
          <p:nvPr/>
        </p:nvSpPr>
        <p:spPr>
          <a:xfrm>
            <a:off x="10628372" y="11240693"/>
            <a:ext cx="5486400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9" name="Progress"/>
          <p:cNvSpPr/>
          <p:nvPr/>
        </p:nvSpPr>
        <p:spPr>
          <a:xfrm>
            <a:off x="16969040" y="8804713"/>
            <a:ext cx="2194560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784099" y="1210424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766893" y="1210424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1193798" y="12198364"/>
            <a:ext cx="36576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4165770" y="12198364"/>
            <a:ext cx="365760" cy="3657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6" name="Progress"/>
          <p:cNvSpPr/>
          <p:nvPr/>
        </p:nvSpPr>
        <p:spPr>
          <a:xfrm>
            <a:off x="8915288" y="4661439"/>
            <a:ext cx="5080224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8" name="Progress"/>
          <p:cNvSpPr/>
          <p:nvPr/>
        </p:nvSpPr>
        <p:spPr>
          <a:xfrm>
            <a:off x="13995512" y="4661439"/>
            <a:ext cx="182880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2031280" y="6325545"/>
            <a:ext cx="4937760" cy="351690"/>
            <a:chOff x="4313443" y="2418642"/>
            <a:chExt cx="3454512" cy="175845"/>
          </a:xfrm>
        </p:grpSpPr>
        <p:sp>
          <p:nvSpPr>
            <p:cNvPr id="32" name="Progress"/>
            <p:cNvSpPr/>
            <p:nvPr/>
          </p:nvSpPr>
          <p:spPr>
            <a:xfrm>
              <a:off x="4313443" y="2418642"/>
              <a:ext cx="2540112" cy="17584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  <p:sp>
          <p:nvSpPr>
            <p:cNvPr id="33" name="Progress"/>
            <p:cNvSpPr/>
            <p:nvPr/>
          </p:nvSpPr>
          <p:spPr>
            <a:xfrm>
              <a:off x="6853555" y="2418642"/>
              <a:ext cx="914400" cy="17584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0632680" y="8003367"/>
            <a:ext cx="4206240" cy="351690"/>
            <a:chOff x="4457644" y="3798830"/>
            <a:chExt cx="2617422" cy="175845"/>
          </a:xfrm>
        </p:grpSpPr>
        <p:sp>
          <p:nvSpPr>
            <p:cNvPr id="42" name="Progress"/>
            <p:cNvSpPr/>
            <p:nvPr/>
          </p:nvSpPr>
          <p:spPr>
            <a:xfrm>
              <a:off x="4457644" y="3798830"/>
              <a:ext cx="1097280" cy="17584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  <p:sp>
          <p:nvSpPr>
            <p:cNvPr id="45" name="Progress"/>
            <p:cNvSpPr/>
            <p:nvPr/>
          </p:nvSpPr>
          <p:spPr>
            <a:xfrm>
              <a:off x="5520586" y="3798830"/>
              <a:ext cx="1554480" cy="17584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18275870" y="10496601"/>
            <a:ext cx="4937760" cy="351690"/>
            <a:chOff x="4313443" y="2418642"/>
            <a:chExt cx="3454512" cy="175845"/>
          </a:xfrm>
        </p:grpSpPr>
        <p:sp>
          <p:nvSpPr>
            <p:cNvPr id="54" name="Progress"/>
            <p:cNvSpPr/>
            <p:nvPr/>
          </p:nvSpPr>
          <p:spPr>
            <a:xfrm>
              <a:off x="4313443" y="2418642"/>
              <a:ext cx="2540112" cy="17584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  <p:sp>
          <p:nvSpPr>
            <p:cNvPr id="55" name="Progress"/>
            <p:cNvSpPr/>
            <p:nvPr/>
          </p:nvSpPr>
          <p:spPr>
            <a:xfrm>
              <a:off x="6853555" y="2418642"/>
              <a:ext cx="914400" cy="17584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28800" rtl="0"/>
              <a:endParaRPr lang="ru-RU" sz="3600" kern="1200">
                <a:solidFill>
                  <a:srgbClr val="3F3F3F">
                    <a:lumMod val="60000"/>
                    <a:lumOff val="40000"/>
                  </a:srgbClr>
                </a:solidFill>
                <a:latin typeface="Source Sans Pr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53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2 WEEK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117602" y="3226179"/>
          <a:ext cx="22047204" cy="7652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3220">
                  <a:extLst>
                    <a:ext uri="{9D8B030D-6E8A-4147-A177-3AD203B41FA5}">
                      <a16:colId xmlns:a16="http://schemas.microsoft.com/office/drawing/2014/main" val="55984827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2576202578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28965816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4092572145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2969505751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4113704019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43942242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772795308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055113949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136236033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37853737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710687826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82469318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2069248161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719022256"/>
                    </a:ext>
                  </a:extLst>
                </a:gridCol>
              </a:tblGrid>
              <a:tr h="2377440">
                <a:tc>
                  <a:txBody>
                    <a:bodyPr/>
                    <a:lstStyle/>
                    <a:p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ask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M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W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F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M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W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F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218919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805485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194522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750409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859098"/>
                  </a:ext>
                </a:extLst>
              </a:tr>
              <a:tr h="1355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Put your job description or any</a:t>
                      </a:r>
                      <a:r>
                        <a:rPr lang="en-US" sz="2800" baseline="0" dirty="0">
                          <a:solidFill>
                            <a:schemeClr val="bg1"/>
                          </a:solidFill>
                        </a:rPr>
                        <a:t> description for this project</a:t>
                      </a:r>
                      <a:endParaRPr lang="en-US" sz="28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41385"/>
                  </a:ext>
                </a:extLst>
              </a:tr>
            </a:tbl>
          </a:graphicData>
        </a:graphic>
      </p:graphicFrame>
      <p:sp>
        <p:nvSpPr>
          <p:cNvPr id="4" name="Progress"/>
          <p:cNvSpPr/>
          <p:nvPr/>
        </p:nvSpPr>
        <p:spPr>
          <a:xfrm>
            <a:off x="8163336" y="4591447"/>
            <a:ext cx="5080224" cy="35169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5" name="Progress"/>
          <p:cNvSpPr/>
          <p:nvPr/>
        </p:nvSpPr>
        <p:spPr>
          <a:xfrm>
            <a:off x="9949592" y="5997577"/>
            <a:ext cx="7132320" cy="35169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" name="Progress"/>
          <p:cNvSpPr/>
          <p:nvPr/>
        </p:nvSpPr>
        <p:spPr>
          <a:xfrm>
            <a:off x="8451738" y="7351823"/>
            <a:ext cx="2194560" cy="35169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7" name="Progress"/>
          <p:cNvSpPr/>
          <p:nvPr/>
        </p:nvSpPr>
        <p:spPr>
          <a:xfrm>
            <a:off x="19466786" y="8699991"/>
            <a:ext cx="2194560" cy="35169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8" name="Progress"/>
          <p:cNvSpPr/>
          <p:nvPr/>
        </p:nvSpPr>
        <p:spPr>
          <a:xfrm>
            <a:off x="19466786" y="4591447"/>
            <a:ext cx="2194560" cy="3516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13" name="Progress"/>
          <p:cNvSpPr/>
          <p:nvPr/>
        </p:nvSpPr>
        <p:spPr>
          <a:xfrm>
            <a:off x="17384882" y="7351823"/>
            <a:ext cx="3108960" cy="35169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14" name="Progress"/>
          <p:cNvSpPr/>
          <p:nvPr/>
        </p:nvSpPr>
        <p:spPr>
          <a:xfrm>
            <a:off x="17139062" y="9995367"/>
            <a:ext cx="5486400" cy="35169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15" name="Progress"/>
          <p:cNvSpPr/>
          <p:nvPr/>
        </p:nvSpPr>
        <p:spPr>
          <a:xfrm>
            <a:off x="12835352" y="8699991"/>
            <a:ext cx="2194560" cy="3516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4193818" y="3227676"/>
            <a:ext cx="1481496" cy="8370216"/>
            <a:chOff x="7096909" y="1613089"/>
            <a:chExt cx="740748" cy="4185108"/>
          </a:xfrm>
        </p:grpSpPr>
        <p:sp>
          <p:nvSpPr>
            <p:cNvPr id="9" name="TextBox 8"/>
            <p:cNvSpPr txBox="1"/>
            <p:nvPr/>
          </p:nvSpPr>
          <p:spPr>
            <a:xfrm>
              <a:off x="7096909" y="5567364"/>
              <a:ext cx="740748" cy="230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28800" rtl="0"/>
              <a:r>
                <a:rPr lang="en-US" sz="2400" kern="1200" dirty="0">
                  <a:solidFill>
                    <a:srgbClr val="3F3F3F"/>
                  </a:solidFill>
                  <a:latin typeface="Source Sans Pro"/>
                </a:rPr>
                <a:t>Last Week</a:t>
              </a:r>
              <a:endParaRPr lang="id-ID" sz="2400" b="1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151205" y="5145151"/>
              <a:ext cx="614394" cy="433236"/>
              <a:chOff x="7202949" y="5344978"/>
              <a:chExt cx="614394" cy="433236"/>
            </a:xfrm>
          </p:grpSpPr>
          <p:sp>
            <p:nvSpPr>
              <p:cNvPr id="11" name="Freeform 5"/>
              <p:cNvSpPr>
                <a:spLocks/>
              </p:cNvSpPr>
              <p:nvPr/>
            </p:nvSpPr>
            <p:spPr bwMode="auto">
              <a:xfrm>
                <a:off x="7202949" y="5604077"/>
                <a:ext cx="614394" cy="174137"/>
              </a:xfrm>
              <a:custGeom>
                <a:avLst/>
                <a:gdLst>
                  <a:gd name="T0" fmla="*/ 746 w 875"/>
                  <a:gd name="T1" fmla="*/ 248 h 248"/>
                  <a:gd name="T2" fmla="*/ 128 w 875"/>
                  <a:gd name="T3" fmla="*/ 248 h 248"/>
                  <a:gd name="T4" fmla="*/ 0 w 875"/>
                  <a:gd name="T5" fmla="*/ 0 h 248"/>
                  <a:gd name="T6" fmla="*/ 875 w 875"/>
                  <a:gd name="T7" fmla="*/ 0 h 248"/>
                  <a:gd name="T8" fmla="*/ 746 w 875"/>
                  <a:gd name="T9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5" h="248">
                    <a:moveTo>
                      <a:pt x="746" y="248"/>
                    </a:moveTo>
                    <a:lnTo>
                      <a:pt x="128" y="248"/>
                    </a:lnTo>
                    <a:lnTo>
                      <a:pt x="0" y="0"/>
                    </a:lnTo>
                    <a:lnTo>
                      <a:pt x="875" y="0"/>
                    </a:lnTo>
                    <a:lnTo>
                      <a:pt x="746" y="24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Source Sans Pro"/>
                </a:endParaRPr>
              </a:p>
            </p:txBody>
          </p:sp>
          <p:sp>
            <p:nvSpPr>
              <p:cNvPr id="12" name="Freeform 6"/>
              <p:cNvSpPr>
                <a:spLocks/>
              </p:cNvSpPr>
              <p:nvPr/>
            </p:nvSpPr>
            <p:spPr bwMode="auto">
              <a:xfrm>
                <a:off x="7292826" y="5344978"/>
                <a:ext cx="433938" cy="433236"/>
              </a:xfrm>
              <a:custGeom>
                <a:avLst/>
                <a:gdLst>
                  <a:gd name="T0" fmla="*/ 308 w 618"/>
                  <a:gd name="T1" fmla="*/ 0 h 617"/>
                  <a:gd name="T2" fmla="*/ 0 w 618"/>
                  <a:gd name="T3" fmla="*/ 235 h 617"/>
                  <a:gd name="T4" fmla="*/ 0 w 618"/>
                  <a:gd name="T5" fmla="*/ 617 h 617"/>
                  <a:gd name="T6" fmla="*/ 618 w 618"/>
                  <a:gd name="T7" fmla="*/ 617 h 617"/>
                  <a:gd name="T8" fmla="*/ 618 w 618"/>
                  <a:gd name="T9" fmla="*/ 235 h 617"/>
                  <a:gd name="T10" fmla="*/ 308 w 618"/>
                  <a:gd name="T11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8" h="617">
                    <a:moveTo>
                      <a:pt x="308" y="0"/>
                    </a:moveTo>
                    <a:lnTo>
                      <a:pt x="0" y="235"/>
                    </a:lnTo>
                    <a:lnTo>
                      <a:pt x="0" y="617"/>
                    </a:lnTo>
                    <a:lnTo>
                      <a:pt x="618" y="617"/>
                    </a:lnTo>
                    <a:lnTo>
                      <a:pt x="618" y="235"/>
                    </a:lnTo>
                    <a:lnTo>
                      <a:pt x="308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Source Sans Pro"/>
                </a:endParaRPr>
              </a:p>
            </p:txBody>
          </p:sp>
        </p:grpSp>
        <p:cxnSp>
          <p:nvCxnSpPr>
            <p:cNvPr id="16" name="Straight Connector 15"/>
            <p:cNvCxnSpPr>
              <a:cxnSpLocks/>
            </p:cNvCxnSpPr>
            <p:nvPr/>
          </p:nvCxnSpPr>
          <p:spPr>
            <a:xfrm flipV="1">
              <a:off x="7463164" y="1613089"/>
              <a:ext cx="0" cy="3532063"/>
            </a:xfrm>
            <a:prstGeom prst="line">
              <a:avLst/>
            </a:prstGeom>
            <a:ln w="15875">
              <a:solidFill>
                <a:schemeClr val="tx1">
                  <a:lumMod val="75000"/>
                </a:schemeClr>
              </a:solidFill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/>
        </p:nvGrpSpPr>
        <p:grpSpPr>
          <a:xfrm>
            <a:off x="6086497" y="3227676"/>
            <a:ext cx="1228788" cy="8370216"/>
            <a:chOff x="3043248" y="1614587"/>
            <a:chExt cx="614394" cy="4185108"/>
          </a:xfrm>
        </p:grpSpPr>
        <p:sp>
          <p:nvSpPr>
            <p:cNvPr id="18" name="TextBox 17"/>
            <p:cNvSpPr txBox="1"/>
            <p:nvPr/>
          </p:nvSpPr>
          <p:spPr>
            <a:xfrm>
              <a:off x="3145181" y="5568862"/>
              <a:ext cx="410529" cy="230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28800" rtl="0"/>
              <a:r>
                <a:rPr lang="en-US" sz="2400" kern="1200" dirty="0">
                  <a:solidFill>
                    <a:srgbClr val="3F3F3F"/>
                  </a:solidFill>
                  <a:latin typeface="Source Sans Pro"/>
                </a:rPr>
                <a:t>Start</a:t>
              </a:r>
              <a:endParaRPr lang="id-ID" sz="2400" b="1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3043248" y="5146649"/>
              <a:ext cx="614394" cy="433236"/>
              <a:chOff x="7202949" y="5344978"/>
              <a:chExt cx="614394" cy="433236"/>
            </a:xfrm>
          </p:grpSpPr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7202949" y="5604077"/>
                <a:ext cx="614394" cy="174137"/>
              </a:xfrm>
              <a:custGeom>
                <a:avLst/>
                <a:gdLst>
                  <a:gd name="T0" fmla="*/ 746 w 875"/>
                  <a:gd name="T1" fmla="*/ 248 h 248"/>
                  <a:gd name="T2" fmla="*/ 128 w 875"/>
                  <a:gd name="T3" fmla="*/ 248 h 248"/>
                  <a:gd name="T4" fmla="*/ 0 w 875"/>
                  <a:gd name="T5" fmla="*/ 0 h 248"/>
                  <a:gd name="T6" fmla="*/ 875 w 875"/>
                  <a:gd name="T7" fmla="*/ 0 h 248"/>
                  <a:gd name="T8" fmla="*/ 746 w 875"/>
                  <a:gd name="T9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5" h="248">
                    <a:moveTo>
                      <a:pt x="746" y="248"/>
                    </a:moveTo>
                    <a:lnTo>
                      <a:pt x="128" y="248"/>
                    </a:lnTo>
                    <a:lnTo>
                      <a:pt x="0" y="0"/>
                    </a:lnTo>
                    <a:lnTo>
                      <a:pt x="875" y="0"/>
                    </a:lnTo>
                    <a:lnTo>
                      <a:pt x="746" y="24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Source Sans Pro"/>
                </a:endParaRPr>
              </a:p>
            </p:txBody>
          </p:sp>
          <p:sp>
            <p:nvSpPr>
              <p:cNvPr id="21" name="Freeform 6"/>
              <p:cNvSpPr>
                <a:spLocks/>
              </p:cNvSpPr>
              <p:nvPr/>
            </p:nvSpPr>
            <p:spPr bwMode="auto">
              <a:xfrm>
                <a:off x="7292826" y="5344978"/>
                <a:ext cx="433938" cy="433236"/>
              </a:xfrm>
              <a:custGeom>
                <a:avLst/>
                <a:gdLst>
                  <a:gd name="T0" fmla="*/ 308 w 618"/>
                  <a:gd name="T1" fmla="*/ 0 h 617"/>
                  <a:gd name="T2" fmla="*/ 0 w 618"/>
                  <a:gd name="T3" fmla="*/ 235 h 617"/>
                  <a:gd name="T4" fmla="*/ 0 w 618"/>
                  <a:gd name="T5" fmla="*/ 617 h 617"/>
                  <a:gd name="T6" fmla="*/ 618 w 618"/>
                  <a:gd name="T7" fmla="*/ 617 h 617"/>
                  <a:gd name="T8" fmla="*/ 618 w 618"/>
                  <a:gd name="T9" fmla="*/ 235 h 617"/>
                  <a:gd name="T10" fmla="*/ 308 w 618"/>
                  <a:gd name="T11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8" h="617">
                    <a:moveTo>
                      <a:pt x="308" y="0"/>
                    </a:moveTo>
                    <a:lnTo>
                      <a:pt x="0" y="235"/>
                    </a:lnTo>
                    <a:lnTo>
                      <a:pt x="0" y="617"/>
                    </a:lnTo>
                    <a:lnTo>
                      <a:pt x="618" y="617"/>
                    </a:lnTo>
                    <a:lnTo>
                      <a:pt x="618" y="235"/>
                    </a:lnTo>
                    <a:lnTo>
                      <a:pt x="308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800" rtl="0"/>
                <a:endParaRPr lang="en-US" sz="3600" kern="1200">
                  <a:solidFill>
                    <a:srgbClr val="3F3F3F"/>
                  </a:solidFill>
                  <a:latin typeface="Source Sans Pro"/>
                </a:endParaRPr>
              </a:p>
            </p:txBody>
          </p:sp>
        </p:grpSp>
        <p:cxnSp>
          <p:nvCxnSpPr>
            <p:cNvPr id="22" name="Straight Connector 21"/>
            <p:cNvCxnSpPr>
              <a:cxnSpLocks/>
            </p:cNvCxnSpPr>
            <p:nvPr/>
          </p:nvCxnSpPr>
          <p:spPr>
            <a:xfrm flipV="1">
              <a:off x="3350445" y="1614587"/>
              <a:ext cx="0" cy="3532063"/>
            </a:xfrm>
            <a:prstGeom prst="line">
              <a:avLst/>
            </a:prstGeom>
            <a:ln w="15875">
              <a:solidFill>
                <a:schemeClr val="tx1">
                  <a:lumMod val="75000"/>
                </a:schemeClr>
              </a:solidFill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/>
          <p:cNvSpPr txBox="1"/>
          <p:nvPr/>
        </p:nvSpPr>
        <p:spPr>
          <a:xfrm>
            <a:off x="17985252" y="11136227"/>
            <a:ext cx="9877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Today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29" name="Freeform 5"/>
          <p:cNvSpPr>
            <a:spLocks/>
          </p:cNvSpPr>
          <p:nvPr/>
        </p:nvSpPr>
        <p:spPr bwMode="auto">
          <a:xfrm>
            <a:off x="17846982" y="10809999"/>
            <a:ext cx="1228788" cy="348274"/>
          </a:xfrm>
          <a:custGeom>
            <a:avLst/>
            <a:gdLst>
              <a:gd name="T0" fmla="*/ 746 w 875"/>
              <a:gd name="T1" fmla="*/ 248 h 248"/>
              <a:gd name="T2" fmla="*/ 128 w 875"/>
              <a:gd name="T3" fmla="*/ 248 h 248"/>
              <a:gd name="T4" fmla="*/ 0 w 875"/>
              <a:gd name="T5" fmla="*/ 0 h 248"/>
              <a:gd name="T6" fmla="*/ 875 w 875"/>
              <a:gd name="T7" fmla="*/ 0 h 248"/>
              <a:gd name="T8" fmla="*/ 746 w 875"/>
              <a:gd name="T9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75" h="248">
                <a:moveTo>
                  <a:pt x="746" y="248"/>
                </a:moveTo>
                <a:lnTo>
                  <a:pt x="128" y="248"/>
                </a:lnTo>
                <a:lnTo>
                  <a:pt x="0" y="0"/>
                </a:lnTo>
                <a:lnTo>
                  <a:pt x="875" y="0"/>
                </a:lnTo>
                <a:lnTo>
                  <a:pt x="746" y="248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0" name="Freeform 6"/>
          <p:cNvSpPr>
            <a:spLocks/>
          </p:cNvSpPr>
          <p:nvPr/>
        </p:nvSpPr>
        <p:spPr bwMode="auto">
          <a:xfrm>
            <a:off x="18026736" y="10291800"/>
            <a:ext cx="867876" cy="866472"/>
          </a:xfrm>
          <a:custGeom>
            <a:avLst/>
            <a:gdLst>
              <a:gd name="T0" fmla="*/ 308 w 618"/>
              <a:gd name="T1" fmla="*/ 0 h 617"/>
              <a:gd name="T2" fmla="*/ 0 w 618"/>
              <a:gd name="T3" fmla="*/ 235 h 617"/>
              <a:gd name="T4" fmla="*/ 0 w 618"/>
              <a:gd name="T5" fmla="*/ 617 h 617"/>
              <a:gd name="T6" fmla="*/ 618 w 618"/>
              <a:gd name="T7" fmla="*/ 617 h 617"/>
              <a:gd name="T8" fmla="*/ 618 w 618"/>
              <a:gd name="T9" fmla="*/ 235 h 617"/>
              <a:gd name="T10" fmla="*/ 308 w 618"/>
              <a:gd name="T11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8" h="617">
                <a:moveTo>
                  <a:pt x="308" y="0"/>
                </a:moveTo>
                <a:lnTo>
                  <a:pt x="0" y="235"/>
                </a:lnTo>
                <a:lnTo>
                  <a:pt x="0" y="617"/>
                </a:lnTo>
                <a:lnTo>
                  <a:pt x="618" y="617"/>
                </a:lnTo>
                <a:lnTo>
                  <a:pt x="618" y="235"/>
                </a:lnTo>
                <a:lnTo>
                  <a:pt x="30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Source Sans Pro"/>
            </a:endParaRP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 flipV="1">
            <a:off x="18470900" y="3227677"/>
            <a:ext cx="0" cy="7064126"/>
          </a:xfrm>
          <a:prstGeom prst="line">
            <a:avLst/>
          </a:prstGeom>
          <a:ln w="15875">
            <a:solidFill>
              <a:schemeClr val="accent6"/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444571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427365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1470633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4561965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5" name="Rounded Rectangle 55"/>
          <p:cNvSpPr/>
          <p:nvPr/>
        </p:nvSpPr>
        <p:spPr>
          <a:xfrm>
            <a:off x="4854270" y="12415534"/>
            <a:ext cx="548640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6" name="Rounded Rectangle 56"/>
          <p:cNvSpPr/>
          <p:nvPr/>
        </p:nvSpPr>
        <p:spPr>
          <a:xfrm>
            <a:off x="7826242" y="12415534"/>
            <a:ext cx="548640" cy="27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7" name="Rounded Rectangle 58"/>
          <p:cNvSpPr/>
          <p:nvPr/>
        </p:nvSpPr>
        <p:spPr>
          <a:xfrm>
            <a:off x="10888558" y="12415534"/>
            <a:ext cx="54864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8" name="Rounded Rectangle 59"/>
          <p:cNvSpPr/>
          <p:nvPr/>
        </p:nvSpPr>
        <p:spPr>
          <a:xfrm>
            <a:off x="13960842" y="12415534"/>
            <a:ext cx="548640" cy="2743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7746713" y="1227569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0" name="Rounded Rectangle 61"/>
          <p:cNvSpPr/>
          <p:nvPr/>
        </p:nvSpPr>
        <p:spPr>
          <a:xfrm>
            <a:off x="17107488" y="12415534"/>
            <a:ext cx="548640" cy="27432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67744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117602" y="2723218"/>
          <a:ext cx="22047204" cy="9119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3220">
                  <a:extLst>
                    <a:ext uri="{9D8B030D-6E8A-4147-A177-3AD203B41FA5}">
                      <a16:colId xmlns:a16="http://schemas.microsoft.com/office/drawing/2014/main" val="55984827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2576202578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28965816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4092572145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2969505751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4113704019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43942242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772795308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055113949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136236033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37853737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1710687826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82469318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2069248161"/>
                    </a:ext>
                  </a:extLst>
                </a:gridCol>
                <a:gridCol w="1173856">
                  <a:extLst>
                    <a:ext uri="{9D8B030D-6E8A-4147-A177-3AD203B41FA5}">
                      <a16:colId xmlns:a16="http://schemas.microsoft.com/office/drawing/2014/main" val="3719022256"/>
                    </a:ext>
                  </a:extLst>
                </a:gridCol>
              </a:tblGrid>
              <a:tr h="2377440">
                <a:tc>
                  <a:txBody>
                    <a:bodyPr/>
                    <a:lstStyle/>
                    <a:p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ask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M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W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F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M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W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F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200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218919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805485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194522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750409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859098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41385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4086942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332766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695754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8035184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</a:rPr>
                        <a:t>Put your job description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200" dirty="0">
                        <a:solidFill>
                          <a:schemeClr val="bg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975361"/>
                  </a:ext>
                </a:extLst>
              </a:tr>
            </a:tbl>
          </a:graphicData>
        </a:graphic>
      </p:graphicFrame>
      <p:sp>
        <p:nvSpPr>
          <p:cNvPr id="28" name="Progress"/>
          <p:cNvSpPr/>
          <p:nvPr/>
        </p:nvSpPr>
        <p:spPr>
          <a:xfrm>
            <a:off x="10674224" y="3712683"/>
            <a:ext cx="3108960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9" name="Progress"/>
          <p:cNvSpPr/>
          <p:nvPr/>
        </p:nvSpPr>
        <p:spPr>
          <a:xfrm>
            <a:off x="15742736" y="9604285"/>
            <a:ext cx="219456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0" name="Progress"/>
          <p:cNvSpPr/>
          <p:nvPr/>
        </p:nvSpPr>
        <p:spPr>
          <a:xfrm>
            <a:off x="19777936" y="5391777"/>
            <a:ext cx="219456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2" name="Progress"/>
          <p:cNvSpPr/>
          <p:nvPr/>
        </p:nvSpPr>
        <p:spPr>
          <a:xfrm>
            <a:off x="15668252" y="7040527"/>
            <a:ext cx="2194560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3" name="Progress"/>
          <p:cNvSpPr/>
          <p:nvPr/>
        </p:nvSpPr>
        <p:spPr>
          <a:xfrm>
            <a:off x="17794136" y="7040527"/>
            <a:ext cx="310896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4" name="Progress"/>
          <p:cNvSpPr/>
          <p:nvPr/>
        </p:nvSpPr>
        <p:spPr>
          <a:xfrm>
            <a:off x="8378184" y="11205865"/>
            <a:ext cx="4206240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5" name="Progress"/>
          <p:cNvSpPr/>
          <p:nvPr/>
        </p:nvSpPr>
        <p:spPr>
          <a:xfrm>
            <a:off x="19700456" y="8728275"/>
            <a:ext cx="2194560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6" name="Progress"/>
          <p:cNvSpPr/>
          <p:nvPr/>
        </p:nvSpPr>
        <p:spPr>
          <a:xfrm>
            <a:off x="8915288" y="4541291"/>
            <a:ext cx="5080224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7" name="Progress"/>
          <p:cNvSpPr/>
          <p:nvPr/>
        </p:nvSpPr>
        <p:spPr>
          <a:xfrm>
            <a:off x="13995512" y="4541291"/>
            <a:ext cx="1828800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9" name="Progress"/>
          <p:cNvSpPr/>
          <p:nvPr/>
        </p:nvSpPr>
        <p:spPr>
          <a:xfrm>
            <a:off x="12031280" y="6224447"/>
            <a:ext cx="3630748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0" name="Progress"/>
          <p:cNvSpPr/>
          <p:nvPr/>
        </p:nvSpPr>
        <p:spPr>
          <a:xfrm>
            <a:off x="15662028" y="6224447"/>
            <a:ext cx="1307012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2" name="Progress"/>
          <p:cNvSpPr/>
          <p:nvPr/>
        </p:nvSpPr>
        <p:spPr>
          <a:xfrm>
            <a:off x="9570071" y="7864169"/>
            <a:ext cx="1763346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3" name="Progress"/>
          <p:cNvSpPr/>
          <p:nvPr/>
        </p:nvSpPr>
        <p:spPr>
          <a:xfrm>
            <a:off x="11278237" y="7864169"/>
            <a:ext cx="2498074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5" name="Progress"/>
          <p:cNvSpPr/>
          <p:nvPr/>
        </p:nvSpPr>
        <p:spPr>
          <a:xfrm>
            <a:off x="18752120" y="10414553"/>
            <a:ext cx="3227332" cy="351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46" name="Progress"/>
          <p:cNvSpPr/>
          <p:nvPr/>
        </p:nvSpPr>
        <p:spPr>
          <a:xfrm>
            <a:off x="21979452" y="10414553"/>
            <a:ext cx="1161788" cy="351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2 WEEK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4193818" y="12145541"/>
            <a:ext cx="14814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Last Week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14302410" y="11301114"/>
            <a:ext cx="1228788" cy="866472"/>
            <a:chOff x="7202949" y="5344978"/>
            <a:chExt cx="614394" cy="433236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7202949" y="5604077"/>
              <a:ext cx="614394" cy="174137"/>
            </a:xfrm>
            <a:custGeom>
              <a:avLst/>
              <a:gdLst>
                <a:gd name="T0" fmla="*/ 746 w 875"/>
                <a:gd name="T1" fmla="*/ 248 h 248"/>
                <a:gd name="T2" fmla="*/ 128 w 875"/>
                <a:gd name="T3" fmla="*/ 248 h 248"/>
                <a:gd name="T4" fmla="*/ 0 w 875"/>
                <a:gd name="T5" fmla="*/ 0 h 248"/>
                <a:gd name="T6" fmla="*/ 875 w 875"/>
                <a:gd name="T7" fmla="*/ 0 h 248"/>
                <a:gd name="T8" fmla="*/ 746 w 875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248">
                  <a:moveTo>
                    <a:pt x="746" y="248"/>
                  </a:moveTo>
                  <a:lnTo>
                    <a:pt x="128" y="248"/>
                  </a:lnTo>
                  <a:lnTo>
                    <a:pt x="0" y="0"/>
                  </a:lnTo>
                  <a:lnTo>
                    <a:pt x="875" y="0"/>
                  </a:lnTo>
                  <a:lnTo>
                    <a:pt x="746" y="248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7292826" y="5344978"/>
              <a:ext cx="433938" cy="433236"/>
            </a:xfrm>
            <a:custGeom>
              <a:avLst/>
              <a:gdLst>
                <a:gd name="T0" fmla="*/ 308 w 618"/>
                <a:gd name="T1" fmla="*/ 0 h 617"/>
                <a:gd name="T2" fmla="*/ 0 w 618"/>
                <a:gd name="T3" fmla="*/ 235 h 617"/>
                <a:gd name="T4" fmla="*/ 0 w 618"/>
                <a:gd name="T5" fmla="*/ 617 h 617"/>
                <a:gd name="T6" fmla="*/ 618 w 618"/>
                <a:gd name="T7" fmla="*/ 617 h 617"/>
                <a:gd name="T8" fmla="*/ 618 w 618"/>
                <a:gd name="T9" fmla="*/ 235 h 617"/>
                <a:gd name="T10" fmla="*/ 308 w 618"/>
                <a:gd name="T11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8" h="617">
                  <a:moveTo>
                    <a:pt x="308" y="0"/>
                  </a:moveTo>
                  <a:lnTo>
                    <a:pt x="0" y="235"/>
                  </a:lnTo>
                  <a:lnTo>
                    <a:pt x="0" y="617"/>
                  </a:lnTo>
                  <a:lnTo>
                    <a:pt x="618" y="617"/>
                  </a:lnTo>
                  <a:lnTo>
                    <a:pt x="618" y="235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290363" y="12145541"/>
            <a:ext cx="821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Start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086496" y="11301114"/>
            <a:ext cx="1228788" cy="866472"/>
            <a:chOff x="7202949" y="5344978"/>
            <a:chExt cx="614394" cy="433236"/>
          </a:xfrm>
        </p:grpSpPr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7202949" y="5604077"/>
              <a:ext cx="614394" cy="174137"/>
            </a:xfrm>
            <a:custGeom>
              <a:avLst/>
              <a:gdLst>
                <a:gd name="T0" fmla="*/ 746 w 875"/>
                <a:gd name="T1" fmla="*/ 248 h 248"/>
                <a:gd name="T2" fmla="*/ 128 w 875"/>
                <a:gd name="T3" fmla="*/ 248 h 248"/>
                <a:gd name="T4" fmla="*/ 0 w 875"/>
                <a:gd name="T5" fmla="*/ 0 h 248"/>
                <a:gd name="T6" fmla="*/ 875 w 875"/>
                <a:gd name="T7" fmla="*/ 0 h 248"/>
                <a:gd name="T8" fmla="*/ 746 w 875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248">
                  <a:moveTo>
                    <a:pt x="746" y="248"/>
                  </a:moveTo>
                  <a:lnTo>
                    <a:pt x="128" y="248"/>
                  </a:lnTo>
                  <a:lnTo>
                    <a:pt x="0" y="0"/>
                  </a:lnTo>
                  <a:lnTo>
                    <a:pt x="875" y="0"/>
                  </a:lnTo>
                  <a:lnTo>
                    <a:pt x="746" y="248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7292826" y="5344978"/>
              <a:ext cx="433938" cy="433236"/>
            </a:xfrm>
            <a:custGeom>
              <a:avLst/>
              <a:gdLst>
                <a:gd name="T0" fmla="*/ 308 w 618"/>
                <a:gd name="T1" fmla="*/ 0 h 617"/>
                <a:gd name="T2" fmla="*/ 0 w 618"/>
                <a:gd name="T3" fmla="*/ 235 h 617"/>
                <a:gd name="T4" fmla="*/ 0 w 618"/>
                <a:gd name="T5" fmla="*/ 617 h 617"/>
                <a:gd name="T6" fmla="*/ 618 w 618"/>
                <a:gd name="T7" fmla="*/ 617 h 617"/>
                <a:gd name="T8" fmla="*/ 618 w 618"/>
                <a:gd name="T9" fmla="*/ 235 h 617"/>
                <a:gd name="T10" fmla="*/ 308 w 618"/>
                <a:gd name="T11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8" h="617">
                  <a:moveTo>
                    <a:pt x="308" y="0"/>
                  </a:moveTo>
                  <a:lnTo>
                    <a:pt x="0" y="235"/>
                  </a:lnTo>
                  <a:lnTo>
                    <a:pt x="0" y="617"/>
                  </a:lnTo>
                  <a:lnTo>
                    <a:pt x="618" y="617"/>
                  </a:lnTo>
                  <a:lnTo>
                    <a:pt x="618" y="235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17985252" y="12145541"/>
            <a:ext cx="9877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Today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17846982" y="11819313"/>
            <a:ext cx="1228788" cy="348274"/>
          </a:xfrm>
          <a:custGeom>
            <a:avLst/>
            <a:gdLst>
              <a:gd name="T0" fmla="*/ 746 w 875"/>
              <a:gd name="T1" fmla="*/ 248 h 248"/>
              <a:gd name="T2" fmla="*/ 128 w 875"/>
              <a:gd name="T3" fmla="*/ 248 h 248"/>
              <a:gd name="T4" fmla="*/ 0 w 875"/>
              <a:gd name="T5" fmla="*/ 0 h 248"/>
              <a:gd name="T6" fmla="*/ 875 w 875"/>
              <a:gd name="T7" fmla="*/ 0 h 248"/>
              <a:gd name="T8" fmla="*/ 746 w 875"/>
              <a:gd name="T9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75" h="248">
                <a:moveTo>
                  <a:pt x="746" y="248"/>
                </a:moveTo>
                <a:lnTo>
                  <a:pt x="128" y="248"/>
                </a:lnTo>
                <a:lnTo>
                  <a:pt x="0" y="0"/>
                </a:lnTo>
                <a:lnTo>
                  <a:pt x="875" y="0"/>
                </a:lnTo>
                <a:lnTo>
                  <a:pt x="746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26" name="Freeform 6"/>
          <p:cNvSpPr>
            <a:spLocks/>
          </p:cNvSpPr>
          <p:nvPr/>
        </p:nvSpPr>
        <p:spPr bwMode="auto">
          <a:xfrm>
            <a:off x="18026736" y="11301114"/>
            <a:ext cx="867876" cy="866472"/>
          </a:xfrm>
          <a:custGeom>
            <a:avLst/>
            <a:gdLst>
              <a:gd name="T0" fmla="*/ 308 w 618"/>
              <a:gd name="T1" fmla="*/ 0 h 617"/>
              <a:gd name="T2" fmla="*/ 0 w 618"/>
              <a:gd name="T3" fmla="*/ 235 h 617"/>
              <a:gd name="T4" fmla="*/ 0 w 618"/>
              <a:gd name="T5" fmla="*/ 617 h 617"/>
              <a:gd name="T6" fmla="*/ 618 w 618"/>
              <a:gd name="T7" fmla="*/ 617 h 617"/>
              <a:gd name="T8" fmla="*/ 618 w 618"/>
              <a:gd name="T9" fmla="*/ 235 h 617"/>
              <a:gd name="T10" fmla="*/ 308 w 618"/>
              <a:gd name="T11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8" h="617">
                <a:moveTo>
                  <a:pt x="308" y="0"/>
                </a:moveTo>
                <a:lnTo>
                  <a:pt x="0" y="235"/>
                </a:lnTo>
                <a:lnTo>
                  <a:pt x="0" y="617"/>
                </a:lnTo>
                <a:lnTo>
                  <a:pt x="618" y="617"/>
                </a:lnTo>
                <a:lnTo>
                  <a:pt x="618" y="235"/>
                </a:lnTo>
                <a:lnTo>
                  <a:pt x="30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Source Sans Pro"/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 flipV="1">
            <a:off x="14926328" y="2724716"/>
            <a:ext cx="0" cy="8632964"/>
          </a:xfrm>
          <a:prstGeom prst="line">
            <a:avLst/>
          </a:prstGeom>
          <a:ln w="15875">
            <a:solidFill>
              <a:schemeClr val="tx1">
                <a:lumMod val="75000"/>
              </a:schemeClr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6700890" y="2724716"/>
            <a:ext cx="0" cy="8632964"/>
          </a:xfrm>
          <a:prstGeom prst="line">
            <a:avLst/>
          </a:prstGeom>
          <a:ln w="15875">
            <a:solidFill>
              <a:schemeClr val="tx1">
                <a:lumMod val="75000"/>
              </a:schemeClr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/>
        </p:nvCxnSpPr>
        <p:spPr>
          <a:xfrm flipV="1">
            <a:off x="18470900" y="2724716"/>
            <a:ext cx="0" cy="8632964"/>
          </a:xfrm>
          <a:prstGeom prst="line">
            <a:avLst/>
          </a:prstGeom>
          <a:ln w="15875">
            <a:solidFill>
              <a:schemeClr val="accent1"/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1678595" y="1220975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292119" y="12209753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9" name="Rounded Rectangle 55"/>
          <p:cNvSpPr/>
          <p:nvPr/>
        </p:nvSpPr>
        <p:spPr>
          <a:xfrm>
            <a:off x="1193798" y="12303870"/>
            <a:ext cx="36576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50" name="Rounded Rectangle 56"/>
          <p:cNvSpPr/>
          <p:nvPr/>
        </p:nvSpPr>
        <p:spPr>
          <a:xfrm>
            <a:off x="3778916" y="12303870"/>
            <a:ext cx="365760" cy="3657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68224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1 MONTH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238237" y="3115386"/>
          <a:ext cx="21945618" cy="80860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568426">
                  <a:extLst>
                    <a:ext uri="{9D8B030D-6E8A-4147-A177-3AD203B41FA5}">
                      <a16:colId xmlns:a16="http://schemas.microsoft.com/office/drawing/2014/main" val="2439820343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620614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</a:tblGrid>
              <a:tr h="735092">
                <a:tc rowSpan="3">
                  <a:txBody>
                    <a:bodyPr/>
                    <a:lstStyle/>
                    <a:p>
                      <a:pPr algn="ctr"/>
                      <a:r>
                        <a:rPr lang="en-US" sz="7200" b="1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ASK</a:t>
                      </a:r>
                      <a:endParaRPr lang="pl-PL" sz="72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</a:schemeClr>
                    </a:solidFill>
                  </a:tcPr>
                </a:tc>
                <a:tc gridSpan="28">
                  <a:txBody>
                    <a:bodyPr/>
                    <a:lstStyle/>
                    <a:p>
                      <a:pPr algn="ctr"/>
                      <a:r>
                        <a:rPr lang="id-ID" sz="3000" b="1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onth</a:t>
                      </a:r>
                      <a:endParaRPr lang="pl-PL" sz="3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5092">
                <a:tc vMerge="1">
                  <a:txBody>
                    <a:bodyPr/>
                    <a:lstStyle/>
                    <a:p>
                      <a:pPr algn="ctr"/>
                      <a:endParaRPr lang="pl-PL" sz="15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111501" marR="111501" marT="55749" marB="55749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id-ID" sz="3000" b="1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1st Week</a:t>
                      </a:r>
                      <a:endParaRPr lang="pl-PL" sz="30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l-PL" sz="1200" b="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Bebas Neue" panose="020B0606020202050201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000" b="1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2nd Week</a:t>
                      </a:r>
                      <a:endParaRPr lang="pl-PL" sz="30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ap="flat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200" b="0" cap="none" spc="0" dirty="0">
                        <a:ln w="0"/>
                        <a:solidFill>
                          <a:srgbClr val="404040"/>
                        </a:solidFill>
                        <a:effectLst/>
                        <a:latin typeface="Bebas Neue" panose="020B0606020202050201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000" b="1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3rd Week</a:t>
                      </a:r>
                      <a:endParaRPr lang="pl-PL" sz="30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 sz="800" dirty="0">
                        <a:ln w="38100" cmpd="sng">
                          <a:solidFill>
                            <a:schemeClr val="bg1"/>
                          </a:solidFill>
                        </a:ln>
                        <a:latin typeface="Ubuntu" panose="020B050403060203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200" b="0" cap="none" spc="0" dirty="0">
                        <a:ln w="0"/>
                        <a:solidFill>
                          <a:srgbClr val="404040"/>
                        </a:solidFill>
                        <a:effectLst/>
                        <a:latin typeface="Bebas Neue" panose="020B0606020202050201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3000" b="1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4th</a:t>
                      </a:r>
                      <a:r>
                        <a:rPr lang="id-ID" sz="3000" b="1" cap="none" spc="0" baseline="0" dirty="0">
                          <a:ln w="0"/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 Week</a:t>
                      </a:r>
                      <a:endParaRPr lang="pl-PL" sz="3000" b="1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j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2000" b="1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16643" marR="116643" marT="58321" marB="583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5092">
                <a:tc vMerge="1">
                  <a:txBody>
                    <a:bodyPr/>
                    <a:lstStyle/>
                    <a:p>
                      <a:pPr algn="ctr"/>
                      <a:endParaRPr lang="pl-PL" sz="15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111501" marR="111501" marT="55749" marB="55749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000" b="0" cap="none" spc="0" dirty="0">
                          <a:ln w="0"/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algn="ctr"/>
                      <a:r>
                        <a:rPr lang="en-US" sz="3000" b="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escription</a:t>
                      </a:r>
                      <a:endParaRPr lang="pl-PL" sz="3000" b="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150905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3000" b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9052436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3000" b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47527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3000" b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079338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3000" b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078336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3000" b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95615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3000" b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456454"/>
                  </a:ext>
                </a:extLst>
              </a:tr>
              <a:tr h="7350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3000" b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3000" b="0" cap="none" spc="0" dirty="0">
                        <a:ln w="0"/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3002" marR="223002" marT="111498" marB="11149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755764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444571" y="1168514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427365" y="1168514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70633" y="1168514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561965" y="1168514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7" name="Rounded Rectangle 55"/>
          <p:cNvSpPr/>
          <p:nvPr/>
        </p:nvSpPr>
        <p:spPr>
          <a:xfrm>
            <a:off x="4854270" y="11824984"/>
            <a:ext cx="548640" cy="274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8" name="Rounded Rectangle 56"/>
          <p:cNvSpPr/>
          <p:nvPr/>
        </p:nvSpPr>
        <p:spPr>
          <a:xfrm>
            <a:off x="7826242" y="11824984"/>
            <a:ext cx="548640" cy="27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9" name="Rounded Rectangle 58"/>
          <p:cNvSpPr/>
          <p:nvPr/>
        </p:nvSpPr>
        <p:spPr>
          <a:xfrm>
            <a:off x="10888558" y="11824984"/>
            <a:ext cx="54864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20" name="Rounded Rectangle 59"/>
          <p:cNvSpPr/>
          <p:nvPr/>
        </p:nvSpPr>
        <p:spPr>
          <a:xfrm>
            <a:off x="13960842" y="11824984"/>
            <a:ext cx="548640" cy="2743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7746713" y="11685147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22" name="Rounded Rectangle 61"/>
          <p:cNvSpPr/>
          <p:nvPr/>
        </p:nvSpPr>
        <p:spPr>
          <a:xfrm>
            <a:off x="17107488" y="11824984"/>
            <a:ext cx="548640" cy="27432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23" name="Progress"/>
          <p:cNvSpPr/>
          <p:nvPr/>
        </p:nvSpPr>
        <p:spPr>
          <a:xfrm>
            <a:off x="7284324" y="5528477"/>
            <a:ext cx="5080224" cy="35169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4" name="Progress"/>
          <p:cNvSpPr/>
          <p:nvPr/>
        </p:nvSpPr>
        <p:spPr>
          <a:xfrm>
            <a:off x="9086380" y="6951449"/>
            <a:ext cx="7132320" cy="35169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5" name="Progress"/>
          <p:cNvSpPr/>
          <p:nvPr/>
        </p:nvSpPr>
        <p:spPr>
          <a:xfrm>
            <a:off x="7496526" y="7723683"/>
            <a:ext cx="2194560" cy="35169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6" name="Progress"/>
          <p:cNvSpPr/>
          <p:nvPr/>
        </p:nvSpPr>
        <p:spPr>
          <a:xfrm>
            <a:off x="17750438" y="9919021"/>
            <a:ext cx="2194560" cy="35169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7" name="Progress"/>
          <p:cNvSpPr/>
          <p:nvPr/>
        </p:nvSpPr>
        <p:spPr>
          <a:xfrm>
            <a:off x="17627930" y="6200359"/>
            <a:ext cx="2194560" cy="3516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8" name="Progress"/>
          <p:cNvSpPr/>
          <p:nvPr/>
        </p:nvSpPr>
        <p:spPr>
          <a:xfrm>
            <a:off x="15738758" y="8460339"/>
            <a:ext cx="3108960" cy="35169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29" name="Progress"/>
          <p:cNvSpPr/>
          <p:nvPr/>
        </p:nvSpPr>
        <p:spPr>
          <a:xfrm>
            <a:off x="17107488" y="10620673"/>
            <a:ext cx="5486400" cy="35169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30" name="Progress"/>
          <p:cNvSpPr/>
          <p:nvPr/>
        </p:nvSpPr>
        <p:spPr>
          <a:xfrm>
            <a:off x="12016404" y="9173145"/>
            <a:ext cx="2194560" cy="3516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80759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1 MONTH</a:t>
            </a:r>
          </a:p>
        </p:txBody>
      </p:sp>
      <p:graphicFrame>
        <p:nvGraphicFramePr>
          <p:cNvPr id="49" name="Table 48"/>
          <p:cNvGraphicFramePr>
            <a:graphicFrameLocks noGrp="1"/>
          </p:cNvGraphicFramePr>
          <p:nvPr/>
        </p:nvGraphicFramePr>
        <p:xfrm>
          <a:off x="1078247" y="2908261"/>
          <a:ext cx="22200850" cy="833123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044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585692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911084"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Job Desk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3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3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1008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48794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10775570" y="11420219"/>
            <a:ext cx="9877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Today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912782" y="10884137"/>
            <a:ext cx="725852" cy="511830"/>
            <a:chOff x="5237316" y="5594468"/>
            <a:chExt cx="591346" cy="416984"/>
          </a:xfrm>
        </p:grpSpPr>
        <p:sp>
          <p:nvSpPr>
            <p:cNvPr id="54" name="Freeform 5"/>
            <p:cNvSpPr>
              <a:spLocks/>
            </p:cNvSpPr>
            <p:nvPr/>
          </p:nvSpPr>
          <p:spPr bwMode="auto">
            <a:xfrm>
              <a:off x="5237316" y="5843847"/>
              <a:ext cx="591346" cy="167605"/>
            </a:xfrm>
            <a:custGeom>
              <a:avLst/>
              <a:gdLst>
                <a:gd name="T0" fmla="*/ 746 w 875"/>
                <a:gd name="T1" fmla="*/ 248 h 248"/>
                <a:gd name="T2" fmla="*/ 128 w 875"/>
                <a:gd name="T3" fmla="*/ 248 h 248"/>
                <a:gd name="T4" fmla="*/ 0 w 875"/>
                <a:gd name="T5" fmla="*/ 0 h 248"/>
                <a:gd name="T6" fmla="*/ 875 w 875"/>
                <a:gd name="T7" fmla="*/ 0 h 248"/>
                <a:gd name="T8" fmla="*/ 746 w 875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5" h="248">
                  <a:moveTo>
                    <a:pt x="746" y="248"/>
                  </a:moveTo>
                  <a:lnTo>
                    <a:pt x="128" y="248"/>
                  </a:lnTo>
                  <a:lnTo>
                    <a:pt x="0" y="0"/>
                  </a:lnTo>
                  <a:lnTo>
                    <a:pt x="875" y="0"/>
                  </a:lnTo>
                  <a:lnTo>
                    <a:pt x="746" y="24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5323821" y="5594468"/>
              <a:ext cx="417660" cy="416984"/>
            </a:xfrm>
            <a:custGeom>
              <a:avLst/>
              <a:gdLst>
                <a:gd name="T0" fmla="*/ 308 w 618"/>
                <a:gd name="T1" fmla="*/ 0 h 617"/>
                <a:gd name="T2" fmla="*/ 0 w 618"/>
                <a:gd name="T3" fmla="*/ 235 h 617"/>
                <a:gd name="T4" fmla="*/ 0 w 618"/>
                <a:gd name="T5" fmla="*/ 617 h 617"/>
                <a:gd name="T6" fmla="*/ 618 w 618"/>
                <a:gd name="T7" fmla="*/ 617 h 617"/>
                <a:gd name="T8" fmla="*/ 618 w 618"/>
                <a:gd name="T9" fmla="*/ 235 h 617"/>
                <a:gd name="T10" fmla="*/ 308 w 618"/>
                <a:gd name="T11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8" h="617">
                  <a:moveTo>
                    <a:pt x="308" y="0"/>
                  </a:moveTo>
                  <a:lnTo>
                    <a:pt x="0" y="235"/>
                  </a:lnTo>
                  <a:lnTo>
                    <a:pt x="0" y="617"/>
                  </a:lnTo>
                  <a:lnTo>
                    <a:pt x="618" y="617"/>
                  </a:lnTo>
                  <a:lnTo>
                    <a:pt x="618" y="235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Source Sans Pro"/>
              </a:endParaRPr>
            </a:p>
          </p:txBody>
        </p:sp>
      </p:grpSp>
      <p:cxnSp>
        <p:nvCxnSpPr>
          <p:cNvPr id="56" name="Straight Connector 55"/>
          <p:cNvCxnSpPr>
            <a:cxnSpLocks/>
          </p:cNvCxnSpPr>
          <p:nvPr/>
        </p:nvCxnSpPr>
        <p:spPr>
          <a:xfrm flipV="1">
            <a:off x="11269454" y="2908261"/>
            <a:ext cx="0" cy="7991118"/>
          </a:xfrm>
          <a:prstGeom prst="line">
            <a:avLst/>
          </a:prstGeom>
          <a:ln w="15875">
            <a:solidFill>
              <a:schemeClr val="accent1"/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rogress"/>
          <p:cNvSpPr/>
          <p:nvPr/>
        </p:nvSpPr>
        <p:spPr>
          <a:xfrm>
            <a:off x="5938740" y="4116454"/>
            <a:ext cx="5080224" cy="1828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58" name="Progress"/>
          <p:cNvSpPr/>
          <p:nvPr/>
        </p:nvSpPr>
        <p:spPr>
          <a:xfrm>
            <a:off x="7740796" y="5539426"/>
            <a:ext cx="713232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59" name="Progress"/>
          <p:cNvSpPr/>
          <p:nvPr/>
        </p:nvSpPr>
        <p:spPr>
          <a:xfrm>
            <a:off x="6150942" y="6311660"/>
            <a:ext cx="2194560" cy="1828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0" name="Progress"/>
          <p:cNvSpPr/>
          <p:nvPr/>
        </p:nvSpPr>
        <p:spPr>
          <a:xfrm>
            <a:off x="16404854" y="8506998"/>
            <a:ext cx="2194560" cy="1828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1" name="Progress"/>
          <p:cNvSpPr/>
          <p:nvPr/>
        </p:nvSpPr>
        <p:spPr>
          <a:xfrm>
            <a:off x="16282346" y="4788336"/>
            <a:ext cx="219456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2" name="Progress"/>
          <p:cNvSpPr/>
          <p:nvPr/>
        </p:nvSpPr>
        <p:spPr>
          <a:xfrm>
            <a:off x="14393174" y="7048316"/>
            <a:ext cx="3108960" cy="18288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3" name="Progress"/>
          <p:cNvSpPr/>
          <p:nvPr/>
        </p:nvSpPr>
        <p:spPr>
          <a:xfrm>
            <a:off x="15761904" y="9303900"/>
            <a:ext cx="54864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4" name="Progress"/>
          <p:cNvSpPr/>
          <p:nvPr/>
        </p:nvSpPr>
        <p:spPr>
          <a:xfrm>
            <a:off x="10670820" y="7761122"/>
            <a:ext cx="219456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5" name="Progress"/>
          <p:cNvSpPr/>
          <p:nvPr/>
        </p:nvSpPr>
        <p:spPr>
          <a:xfrm>
            <a:off x="7301738" y="10039270"/>
            <a:ext cx="2194560" cy="1828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66" name="Progress"/>
          <p:cNvSpPr/>
          <p:nvPr/>
        </p:nvSpPr>
        <p:spPr>
          <a:xfrm>
            <a:off x="19053744" y="10769838"/>
            <a:ext cx="36576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rtl="0"/>
            <a:endParaRPr lang="ru-RU" sz="3600" kern="1200">
              <a:solidFill>
                <a:srgbClr val="3F3F3F">
                  <a:lumMod val="60000"/>
                  <a:lumOff val="40000"/>
                </a:srgbClr>
              </a:solidFill>
              <a:latin typeface="Source Sans Pro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5444571" y="12161955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427365" y="12161955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1470633" y="12161955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4561965" y="12161955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18" name="Rounded Rectangle 55"/>
          <p:cNvSpPr/>
          <p:nvPr/>
        </p:nvSpPr>
        <p:spPr>
          <a:xfrm>
            <a:off x="4854270" y="12301792"/>
            <a:ext cx="548640" cy="27432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19" name="Rounded Rectangle 56"/>
          <p:cNvSpPr/>
          <p:nvPr/>
        </p:nvSpPr>
        <p:spPr>
          <a:xfrm>
            <a:off x="7826242" y="12301792"/>
            <a:ext cx="548640" cy="27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20" name="Rounded Rectangle 58"/>
          <p:cNvSpPr/>
          <p:nvPr/>
        </p:nvSpPr>
        <p:spPr>
          <a:xfrm>
            <a:off x="10888558" y="12301792"/>
            <a:ext cx="548640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21" name="Rounded Rectangle 59"/>
          <p:cNvSpPr/>
          <p:nvPr/>
        </p:nvSpPr>
        <p:spPr>
          <a:xfrm>
            <a:off x="13960842" y="12301792"/>
            <a:ext cx="548640" cy="2743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17746713" y="12161955"/>
            <a:ext cx="1664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Source Sans Pro"/>
              </a:rPr>
              <a:t>Description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123" name="Rounded Rectangle 61"/>
          <p:cNvSpPr/>
          <p:nvPr/>
        </p:nvSpPr>
        <p:spPr>
          <a:xfrm>
            <a:off x="17107488" y="12301792"/>
            <a:ext cx="548640" cy="27432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id-ID" sz="4000" kern="1200">
              <a:solidFill>
                <a:srgbClr val="3F3F3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19810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1 MONTH</a:t>
            </a:r>
          </a:p>
        </p:txBody>
      </p:sp>
      <p:graphicFrame>
        <p:nvGraphicFramePr>
          <p:cNvPr id="49" name="Table 48"/>
          <p:cNvGraphicFramePr>
            <a:graphicFrameLocks noGrp="1"/>
          </p:cNvGraphicFramePr>
          <p:nvPr/>
        </p:nvGraphicFramePr>
        <p:xfrm>
          <a:off x="1078246" y="2908260"/>
          <a:ext cx="22567068" cy="937696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3094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5524">
                  <a:extLst>
                    <a:ext uri="{9D8B030D-6E8A-4147-A177-3AD203B41FA5}">
                      <a16:colId xmlns:a16="http://schemas.microsoft.com/office/drawing/2014/main" val="2524145903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553294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1025442"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Job Desk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%Complete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1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2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3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+mj-lt"/>
                          <a:cs typeface="Lato Regular"/>
                        </a:rPr>
                        <a:t>3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1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in Task</a:t>
                      </a:r>
                      <a:endParaRPr lang="pl-PL" sz="2400" b="1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6488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1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in Task</a:t>
                      </a:r>
                      <a:endParaRPr lang="pl-PL" sz="2400" b="1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842782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cap="none" spc="0" dirty="0">
                          <a:ln w="0"/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l-PL" sz="2400" b="0" i="0" kern="1200" cap="none" spc="0" dirty="0">
                        <a:ln w="0"/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tx1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Oval 2"/>
          <p:cNvSpPr/>
          <p:nvPr/>
        </p:nvSpPr>
        <p:spPr>
          <a:xfrm>
            <a:off x="4577382" y="5028220"/>
            <a:ext cx="365760" cy="3657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4577382" y="5852538"/>
            <a:ext cx="365760" cy="3657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4577382" y="6640036"/>
            <a:ext cx="365760" cy="3657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577382" y="8346946"/>
            <a:ext cx="365760" cy="3657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4577382" y="9205778"/>
            <a:ext cx="365760" cy="3657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4577382" y="10051612"/>
            <a:ext cx="365760" cy="3657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4577382" y="11617326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4577382" y="10839110"/>
            <a:ext cx="365760" cy="3657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Source Sans Pro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43143" y="4934103"/>
            <a:ext cx="8947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100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943143" y="5758421"/>
            <a:ext cx="8947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100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943143" y="6545919"/>
            <a:ext cx="8947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100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943143" y="8346947"/>
            <a:ext cx="8947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100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943143" y="9111661"/>
            <a:ext cx="7425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75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943143" y="9957495"/>
            <a:ext cx="7425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45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43143" y="10744993"/>
            <a:ext cx="8947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100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943142" y="11523209"/>
            <a:ext cx="5902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400" kern="1200" dirty="0">
                <a:solidFill>
                  <a:srgbClr val="3F3F3F"/>
                </a:solidFill>
                <a:latin typeface="Source Sans Pro"/>
              </a:rPr>
              <a:t>0%</a:t>
            </a:r>
            <a:endParaRPr lang="id-ID" sz="2400" b="1" kern="1200" dirty="0">
              <a:solidFill>
                <a:srgbClr val="3F3F3F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05957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 rot="21111506">
            <a:off x="11883142" y="4777268"/>
            <a:ext cx="3657600" cy="3657600"/>
          </a:xfrm>
          <a:custGeom>
            <a:avLst/>
            <a:gdLst>
              <a:gd name="T0" fmla="*/ 509 w 536"/>
              <a:gd name="T1" fmla="*/ 238 h 537"/>
              <a:gd name="T2" fmla="*/ 525 w 536"/>
              <a:gd name="T3" fmla="*/ 191 h 537"/>
              <a:gd name="T4" fmla="*/ 479 w 536"/>
              <a:gd name="T5" fmla="*/ 148 h 537"/>
              <a:gd name="T6" fmla="*/ 485 w 536"/>
              <a:gd name="T7" fmla="*/ 110 h 537"/>
              <a:gd name="T8" fmla="*/ 434 w 536"/>
              <a:gd name="T9" fmla="*/ 91 h 537"/>
              <a:gd name="T10" fmla="*/ 428 w 536"/>
              <a:gd name="T11" fmla="*/ 53 h 537"/>
              <a:gd name="T12" fmla="*/ 378 w 536"/>
              <a:gd name="T13" fmla="*/ 24 h 537"/>
              <a:gd name="T14" fmla="*/ 342 w 536"/>
              <a:gd name="T15" fmla="*/ 37 h 537"/>
              <a:gd name="T16" fmla="*/ 305 w 536"/>
              <a:gd name="T17" fmla="*/ 29 h 537"/>
              <a:gd name="T18" fmla="*/ 279 w 536"/>
              <a:gd name="T19" fmla="*/ 0 h 537"/>
              <a:gd name="T20" fmla="*/ 221 w 536"/>
              <a:gd name="T21" fmla="*/ 4 h 537"/>
              <a:gd name="T22" fmla="*/ 199 w 536"/>
              <a:gd name="T23" fmla="*/ 36 h 537"/>
              <a:gd name="T24" fmla="*/ 135 w 536"/>
              <a:gd name="T25" fmla="*/ 35 h 537"/>
              <a:gd name="T26" fmla="*/ 104 w 536"/>
              <a:gd name="T27" fmla="*/ 89 h 537"/>
              <a:gd name="T28" fmla="*/ 73 w 536"/>
              <a:gd name="T29" fmla="*/ 84 h 537"/>
              <a:gd name="T30" fmla="*/ 58 w 536"/>
              <a:gd name="T31" fmla="*/ 146 h 537"/>
              <a:gd name="T32" fmla="*/ 32 w 536"/>
              <a:gd name="T33" fmla="*/ 140 h 537"/>
              <a:gd name="T34" fmla="*/ 43 w 536"/>
              <a:gd name="T35" fmla="*/ 177 h 537"/>
              <a:gd name="T36" fmla="*/ 3 w 536"/>
              <a:gd name="T37" fmla="*/ 226 h 537"/>
              <a:gd name="T38" fmla="*/ 26 w 536"/>
              <a:gd name="T39" fmla="*/ 285 h 537"/>
              <a:gd name="T40" fmla="*/ 4 w 536"/>
              <a:gd name="T41" fmla="*/ 318 h 537"/>
              <a:gd name="T42" fmla="*/ 20 w 536"/>
              <a:gd name="T43" fmla="*/ 373 h 537"/>
              <a:gd name="T44" fmla="*/ 56 w 536"/>
              <a:gd name="T45" fmla="*/ 388 h 537"/>
              <a:gd name="T46" fmla="*/ 70 w 536"/>
              <a:gd name="T47" fmla="*/ 450 h 537"/>
              <a:gd name="T48" fmla="*/ 130 w 536"/>
              <a:gd name="T49" fmla="*/ 468 h 537"/>
              <a:gd name="T50" fmla="*/ 142 w 536"/>
              <a:gd name="T51" fmla="*/ 506 h 537"/>
              <a:gd name="T52" fmla="*/ 195 w 536"/>
              <a:gd name="T53" fmla="*/ 527 h 537"/>
              <a:gd name="T54" fmla="*/ 229 w 536"/>
              <a:gd name="T55" fmla="*/ 508 h 537"/>
              <a:gd name="T56" fmla="*/ 286 w 536"/>
              <a:gd name="T57" fmla="*/ 536 h 537"/>
              <a:gd name="T58" fmla="*/ 338 w 536"/>
              <a:gd name="T59" fmla="*/ 501 h 537"/>
              <a:gd name="T60" fmla="*/ 375 w 536"/>
              <a:gd name="T61" fmla="*/ 515 h 537"/>
              <a:gd name="T62" fmla="*/ 371 w 536"/>
              <a:gd name="T63" fmla="*/ 488 h 537"/>
              <a:gd name="T64" fmla="*/ 434 w 536"/>
              <a:gd name="T65" fmla="*/ 480 h 537"/>
              <a:gd name="T66" fmla="*/ 432 w 536"/>
              <a:gd name="T67" fmla="*/ 448 h 537"/>
              <a:gd name="T68" fmla="*/ 488 w 536"/>
              <a:gd name="T69" fmla="*/ 421 h 537"/>
              <a:gd name="T70" fmla="*/ 493 w 536"/>
              <a:gd name="T71" fmla="*/ 359 h 537"/>
              <a:gd name="T72" fmla="*/ 527 w 536"/>
              <a:gd name="T73" fmla="*/ 339 h 537"/>
              <a:gd name="T74" fmla="*/ 536 w 536"/>
              <a:gd name="T75" fmla="*/ 282 h 537"/>
              <a:gd name="T76" fmla="*/ 510 w 536"/>
              <a:gd name="T77" fmla="*/ 253 h 537"/>
              <a:gd name="T78" fmla="*/ 391 w 536"/>
              <a:gd name="T79" fmla="*/ 214 h 537"/>
              <a:gd name="T80" fmla="*/ 423 w 536"/>
              <a:gd name="T81" fmla="*/ 127 h 537"/>
              <a:gd name="T82" fmla="*/ 254 w 536"/>
              <a:gd name="T83" fmla="*/ 135 h 537"/>
              <a:gd name="T84" fmla="*/ 125 w 536"/>
              <a:gd name="T85" fmla="*/ 113 h 537"/>
              <a:gd name="T86" fmla="*/ 134 w 536"/>
              <a:gd name="T87" fmla="*/ 269 h 537"/>
              <a:gd name="T88" fmla="*/ 78 w 536"/>
              <a:gd name="T89" fmla="*/ 177 h 537"/>
              <a:gd name="T90" fmla="*/ 268 w 536"/>
              <a:gd name="T91" fmla="*/ 403 h 537"/>
              <a:gd name="T92" fmla="*/ 121 w 536"/>
              <a:gd name="T93" fmla="*/ 421 h 537"/>
              <a:gd name="T94" fmla="*/ 358 w 536"/>
              <a:gd name="T95" fmla="*/ 369 h 537"/>
              <a:gd name="T96" fmla="*/ 409 w 536"/>
              <a:gd name="T97" fmla="*/ 425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6" h="537">
                <a:moveTo>
                  <a:pt x="510" y="253"/>
                </a:moveTo>
                <a:cubicBezTo>
                  <a:pt x="510" y="250"/>
                  <a:pt x="510" y="247"/>
                  <a:pt x="509" y="245"/>
                </a:cubicBezTo>
                <a:cubicBezTo>
                  <a:pt x="509" y="238"/>
                  <a:pt x="509" y="238"/>
                  <a:pt x="509" y="238"/>
                </a:cubicBezTo>
                <a:cubicBezTo>
                  <a:pt x="508" y="231"/>
                  <a:pt x="507" y="223"/>
                  <a:pt x="505" y="216"/>
                </a:cubicBezTo>
                <a:cubicBezTo>
                  <a:pt x="528" y="202"/>
                  <a:pt x="528" y="202"/>
                  <a:pt x="528" y="202"/>
                </a:cubicBezTo>
                <a:cubicBezTo>
                  <a:pt x="525" y="191"/>
                  <a:pt x="525" y="191"/>
                  <a:pt x="525" y="191"/>
                </a:cubicBezTo>
                <a:cubicBezTo>
                  <a:pt x="522" y="181"/>
                  <a:pt x="522" y="181"/>
                  <a:pt x="522" y="181"/>
                </a:cubicBezTo>
                <a:cubicBezTo>
                  <a:pt x="495" y="182"/>
                  <a:pt x="495" y="182"/>
                  <a:pt x="495" y="182"/>
                </a:cubicBezTo>
                <a:cubicBezTo>
                  <a:pt x="490" y="171"/>
                  <a:pt x="485" y="159"/>
                  <a:pt x="479" y="148"/>
                </a:cubicBezTo>
                <a:cubicBezTo>
                  <a:pt x="497" y="128"/>
                  <a:pt x="497" y="128"/>
                  <a:pt x="497" y="128"/>
                </a:cubicBezTo>
                <a:cubicBezTo>
                  <a:pt x="491" y="119"/>
                  <a:pt x="491" y="119"/>
                  <a:pt x="491" y="119"/>
                </a:cubicBezTo>
                <a:cubicBezTo>
                  <a:pt x="485" y="110"/>
                  <a:pt x="485" y="110"/>
                  <a:pt x="485" y="110"/>
                </a:cubicBezTo>
                <a:cubicBezTo>
                  <a:pt x="459" y="119"/>
                  <a:pt x="459" y="119"/>
                  <a:pt x="459" y="119"/>
                </a:cubicBezTo>
                <a:cubicBezTo>
                  <a:pt x="455" y="114"/>
                  <a:pt x="451" y="109"/>
                  <a:pt x="447" y="105"/>
                </a:cubicBezTo>
                <a:cubicBezTo>
                  <a:pt x="443" y="100"/>
                  <a:pt x="439" y="96"/>
                  <a:pt x="434" y="91"/>
                </a:cubicBezTo>
                <a:cubicBezTo>
                  <a:pt x="446" y="67"/>
                  <a:pt x="446" y="67"/>
                  <a:pt x="446" y="67"/>
                </a:cubicBezTo>
                <a:cubicBezTo>
                  <a:pt x="437" y="60"/>
                  <a:pt x="437" y="60"/>
                  <a:pt x="437" y="60"/>
                </a:cubicBezTo>
                <a:cubicBezTo>
                  <a:pt x="428" y="53"/>
                  <a:pt x="428" y="53"/>
                  <a:pt x="428" y="53"/>
                </a:cubicBezTo>
                <a:cubicBezTo>
                  <a:pt x="407" y="69"/>
                  <a:pt x="407" y="69"/>
                  <a:pt x="407" y="69"/>
                </a:cubicBezTo>
                <a:cubicBezTo>
                  <a:pt x="396" y="62"/>
                  <a:pt x="386" y="56"/>
                  <a:pt x="375" y="50"/>
                </a:cubicBezTo>
                <a:cubicBezTo>
                  <a:pt x="378" y="24"/>
                  <a:pt x="378" y="24"/>
                  <a:pt x="378" y="24"/>
                </a:cubicBezTo>
                <a:cubicBezTo>
                  <a:pt x="368" y="19"/>
                  <a:pt x="368" y="19"/>
                  <a:pt x="368" y="19"/>
                </a:cubicBezTo>
                <a:cubicBezTo>
                  <a:pt x="357" y="15"/>
                  <a:pt x="357" y="15"/>
                  <a:pt x="357" y="15"/>
                </a:cubicBezTo>
                <a:cubicBezTo>
                  <a:pt x="342" y="37"/>
                  <a:pt x="342" y="37"/>
                  <a:pt x="342" y="37"/>
                </a:cubicBezTo>
                <a:cubicBezTo>
                  <a:pt x="335" y="35"/>
                  <a:pt x="327" y="33"/>
                  <a:pt x="320" y="31"/>
                </a:cubicBezTo>
                <a:cubicBezTo>
                  <a:pt x="313" y="30"/>
                  <a:pt x="313" y="30"/>
                  <a:pt x="313" y="30"/>
                </a:cubicBezTo>
                <a:cubicBezTo>
                  <a:pt x="311" y="30"/>
                  <a:pt x="308" y="29"/>
                  <a:pt x="305" y="29"/>
                </a:cubicBezTo>
                <a:cubicBezTo>
                  <a:pt x="301" y="2"/>
                  <a:pt x="301" y="2"/>
                  <a:pt x="301" y="2"/>
                </a:cubicBezTo>
                <a:cubicBezTo>
                  <a:pt x="290" y="1"/>
                  <a:pt x="290" y="1"/>
                  <a:pt x="290" y="1"/>
                </a:cubicBezTo>
                <a:cubicBezTo>
                  <a:pt x="279" y="0"/>
                  <a:pt x="279" y="0"/>
                  <a:pt x="279" y="0"/>
                </a:cubicBezTo>
                <a:cubicBezTo>
                  <a:pt x="270" y="26"/>
                  <a:pt x="270" y="26"/>
                  <a:pt x="270" y="26"/>
                </a:cubicBezTo>
                <a:cubicBezTo>
                  <a:pt x="258" y="26"/>
                  <a:pt x="245" y="26"/>
                  <a:pt x="233" y="28"/>
                </a:cubicBezTo>
                <a:cubicBezTo>
                  <a:pt x="221" y="4"/>
                  <a:pt x="221" y="4"/>
                  <a:pt x="221" y="4"/>
                </a:cubicBezTo>
                <a:cubicBezTo>
                  <a:pt x="210" y="6"/>
                  <a:pt x="210" y="6"/>
                  <a:pt x="210" y="6"/>
                </a:cubicBezTo>
                <a:cubicBezTo>
                  <a:pt x="199" y="9"/>
                  <a:pt x="199" y="9"/>
                  <a:pt x="199" y="9"/>
                </a:cubicBezTo>
                <a:cubicBezTo>
                  <a:pt x="199" y="36"/>
                  <a:pt x="199" y="36"/>
                  <a:pt x="199" y="36"/>
                </a:cubicBezTo>
                <a:cubicBezTo>
                  <a:pt x="187" y="39"/>
                  <a:pt x="175" y="44"/>
                  <a:pt x="164" y="49"/>
                </a:cubicBezTo>
                <a:cubicBezTo>
                  <a:pt x="145" y="29"/>
                  <a:pt x="145" y="29"/>
                  <a:pt x="145" y="29"/>
                </a:cubicBezTo>
                <a:cubicBezTo>
                  <a:pt x="135" y="35"/>
                  <a:pt x="135" y="35"/>
                  <a:pt x="135" y="35"/>
                </a:cubicBezTo>
                <a:cubicBezTo>
                  <a:pt x="126" y="41"/>
                  <a:pt x="126" y="41"/>
                  <a:pt x="126" y="41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23" y="73"/>
                  <a:pt x="113" y="81"/>
                  <a:pt x="104" y="89"/>
                </a:cubicBezTo>
                <a:cubicBezTo>
                  <a:pt x="104" y="89"/>
                  <a:pt x="104" y="89"/>
                  <a:pt x="104" y="90"/>
                </a:cubicBezTo>
                <a:cubicBezTo>
                  <a:pt x="80" y="76"/>
                  <a:pt x="80" y="76"/>
                  <a:pt x="80" y="76"/>
                </a:cubicBezTo>
                <a:cubicBezTo>
                  <a:pt x="73" y="84"/>
                  <a:pt x="73" y="84"/>
                  <a:pt x="73" y="84"/>
                </a:cubicBezTo>
                <a:cubicBezTo>
                  <a:pt x="65" y="93"/>
                  <a:pt x="65" y="93"/>
                  <a:pt x="65" y="93"/>
                </a:cubicBezTo>
                <a:cubicBezTo>
                  <a:pt x="80" y="115"/>
                  <a:pt x="80" y="115"/>
                  <a:pt x="80" y="115"/>
                </a:cubicBezTo>
                <a:cubicBezTo>
                  <a:pt x="72" y="125"/>
                  <a:pt x="65" y="135"/>
                  <a:pt x="58" y="146"/>
                </a:cubicBezTo>
                <a:cubicBezTo>
                  <a:pt x="48" y="143"/>
                  <a:pt x="48" y="143"/>
                  <a:pt x="48" y="143"/>
                </a:cubicBezTo>
                <a:cubicBezTo>
                  <a:pt x="48" y="143"/>
                  <a:pt x="48" y="143"/>
                  <a:pt x="48" y="143"/>
                </a:cubicBezTo>
                <a:cubicBezTo>
                  <a:pt x="32" y="140"/>
                  <a:pt x="32" y="140"/>
                  <a:pt x="32" y="140"/>
                </a:cubicBezTo>
                <a:cubicBezTo>
                  <a:pt x="27" y="150"/>
                  <a:pt x="27" y="150"/>
                  <a:pt x="27" y="150"/>
                </a:cubicBezTo>
                <a:cubicBezTo>
                  <a:pt x="22" y="160"/>
                  <a:pt x="22" y="160"/>
                  <a:pt x="22" y="160"/>
                </a:cubicBezTo>
                <a:cubicBezTo>
                  <a:pt x="43" y="177"/>
                  <a:pt x="43" y="177"/>
                  <a:pt x="43" y="177"/>
                </a:cubicBezTo>
                <a:cubicBezTo>
                  <a:pt x="38" y="189"/>
                  <a:pt x="34" y="201"/>
                  <a:pt x="31" y="213"/>
                </a:cubicBezTo>
                <a:cubicBezTo>
                  <a:pt x="4" y="215"/>
                  <a:pt x="4" y="215"/>
                  <a:pt x="4" y="215"/>
                </a:cubicBezTo>
                <a:cubicBezTo>
                  <a:pt x="3" y="226"/>
                  <a:pt x="3" y="226"/>
                  <a:pt x="3" y="226"/>
                </a:cubicBezTo>
                <a:cubicBezTo>
                  <a:pt x="1" y="238"/>
                  <a:pt x="1" y="238"/>
                  <a:pt x="1" y="238"/>
                </a:cubicBezTo>
                <a:cubicBezTo>
                  <a:pt x="26" y="248"/>
                  <a:pt x="26" y="248"/>
                  <a:pt x="26" y="248"/>
                </a:cubicBezTo>
                <a:cubicBezTo>
                  <a:pt x="25" y="260"/>
                  <a:pt x="25" y="273"/>
                  <a:pt x="26" y="285"/>
                </a:cubicBezTo>
                <a:cubicBezTo>
                  <a:pt x="0" y="295"/>
                  <a:pt x="0" y="295"/>
                  <a:pt x="0" y="295"/>
                </a:cubicBezTo>
                <a:cubicBezTo>
                  <a:pt x="2" y="306"/>
                  <a:pt x="2" y="306"/>
                  <a:pt x="2" y="306"/>
                </a:cubicBezTo>
                <a:cubicBezTo>
                  <a:pt x="4" y="318"/>
                  <a:pt x="4" y="318"/>
                  <a:pt x="4" y="318"/>
                </a:cubicBezTo>
                <a:cubicBezTo>
                  <a:pt x="31" y="320"/>
                  <a:pt x="31" y="320"/>
                  <a:pt x="31" y="320"/>
                </a:cubicBezTo>
                <a:cubicBezTo>
                  <a:pt x="33" y="332"/>
                  <a:pt x="37" y="344"/>
                  <a:pt x="41" y="356"/>
                </a:cubicBezTo>
                <a:cubicBezTo>
                  <a:pt x="20" y="373"/>
                  <a:pt x="20" y="373"/>
                  <a:pt x="20" y="373"/>
                </a:cubicBezTo>
                <a:cubicBezTo>
                  <a:pt x="25" y="383"/>
                  <a:pt x="25" y="383"/>
                  <a:pt x="25" y="383"/>
                </a:cubicBezTo>
                <a:cubicBezTo>
                  <a:pt x="30" y="393"/>
                  <a:pt x="30" y="393"/>
                  <a:pt x="30" y="393"/>
                </a:cubicBezTo>
                <a:cubicBezTo>
                  <a:pt x="56" y="388"/>
                  <a:pt x="56" y="388"/>
                  <a:pt x="56" y="388"/>
                </a:cubicBezTo>
                <a:cubicBezTo>
                  <a:pt x="62" y="398"/>
                  <a:pt x="69" y="409"/>
                  <a:pt x="77" y="419"/>
                </a:cubicBezTo>
                <a:cubicBezTo>
                  <a:pt x="62" y="441"/>
                  <a:pt x="62" y="441"/>
                  <a:pt x="62" y="441"/>
                </a:cubicBezTo>
                <a:cubicBezTo>
                  <a:pt x="70" y="450"/>
                  <a:pt x="70" y="450"/>
                  <a:pt x="70" y="450"/>
                </a:cubicBezTo>
                <a:cubicBezTo>
                  <a:pt x="77" y="458"/>
                  <a:pt x="77" y="458"/>
                  <a:pt x="77" y="458"/>
                </a:cubicBezTo>
                <a:cubicBezTo>
                  <a:pt x="101" y="445"/>
                  <a:pt x="101" y="445"/>
                  <a:pt x="101" y="445"/>
                </a:cubicBezTo>
                <a:cubicBezTo>
                  <a:pt x="110" y="453"/>
                  <a:pt x="120" y="461"/>
                  <a:pt x="130" y="468"/>
                </a:cubicBezTo>
                <a:cubicBezTo>
                  <a:pt x="122" y="494"/>
                  <a:pt x="122" y="494"/>
                  <a:pt x="122" y="494"/>
                </a:cubicBezTo>
                <a:cubicBezTo>
                  <a:pt x="132" y="500"/>
                  <a:pt x="132" y="500"/>
                  <a:pt x="132" y="500"/>
                </a:cubicBezTo>
                <a:cubicBezTo>
                  <a:pt x="142" y="506"/>
                  <a:pt x="142" y="506"/>
                  <a:pt x="142" y="506"/>
                </a:cubicBezTo>
                <a:cubicBezTo>
                  <a:pt x="160" y="486"/>
                  <a:pt x="160" y="486"/>
                  <a:pt x="160" y="486"/>
                </a:cubicBezTo>
                <a:cubicBezTo>
                  <a:pt x="171" y="492"/>
                  <a:pt x="183" y="496"/>
                  <a:pt x="195" y="500"/>
                </a:cubicBezTo>
                <a:cubicBezTo>
                  <a:pt x="195" y="527"/>
                  <a:pt x="195" y="527"/>
                  <a:pt x="195" y="527"/>
                </a:cubicBezTo>
                <a:cubicBezTo>
                  <a:pt x="206" y="530"/>
                  <a:pt x="206" y="530"/>
                  <a:pt x="206" y="530"/>
                </a:cubicBezTo>
                <a:cubicBezTo>
                  <a:pt x="217" y="532"/>
                  <a:pt x="217" y="532"/>
                  <a:pt x="217" y="532"/>
                </a:cubicBezTo>
                <a:cubicBezTo>
                  <a:pt x="229" y="508"/>
                  <a:pt x="229" y="508"/>
                  <a:pt x="229" y="508"/>
                </a:cubicBezTo>
                <a:cubicBezTo>
                  <a:pt x="242" y="510"/>
                  <a:pt x="254" y="511"/>
                  <a:pt x="266" y="511"/>
                </a:cubicBezTo>
                <a:cubicBezTo>
                  <a:pt x="274" y="537"/>
                  <a:pt x="274" y="537"/>
                  <a:pt x="274" y="537"/>
                </a:cubicBezTo>
                <a:cubicBezTo>
                  <a:pt x="286" y="536"/>
                  <a:pt x="286" y="536"/>
                  <a:pt x="286" y="536"/>
                </a:cubicBezTo>
                <a:cubicBezTo>
                  <a:pt x="297" y="536"/>
                  <a:pt x="297" y="536"/>
                  <a:pt x="297" y="536"/>
                </a:cubicBezTo>
                <a:cubicBezTo>
                  <a:pt x="302" y="509"/>
                  <a:pt x="302" y="509"/>
                  <a:pt x="302" y="509"/>
                </a:cubicBezTo>
                <a:cubicBezTo>
                  <a:pt x="314" y="507"/>
                  <a:pt x="326" y="505"/>
                  <a:pt x="338" y="501"/>
                </a:cubicBezTo>
                <a:cubicBezTo>
                  <a:pt x="353" y="523"/>
                  <a:pt x="353" y="523"/>
                  <a:pt x="353" y="523"/>
                </a:cubicBezTo>
                <a:cubicBezTo>
                  <a:pt x="364" y="519"/>
                  <a:pt x="364" y="519"/>
                  <a:pt x="364" y="519"/>
                </a:cubicBezTo>
                <a:cubicBezTo>
                  <a:pt x="375" y="515"/>
                  <a:pt x="375" y="515"/>
                  <a:pt x="375" y="515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1" y="488"/>
                  <a:pt x="371" y="488"/>
                  <a:pt x="371" y="488"/>
                </a:cubicBezTo>
                <a:cubicBezTo>
                  <a:pt x="382" y="483"/>
                  <a:pt x="393" y="477"/>
                  <a:pt x="403" y="470"/>
                </a:cubicBezTo>
                <a:cubicBezTo>
                  <a:pt x="425" y="487"/>
                  <a:pt x="425" y="487"/>
                  <a:pt x="425" y="487"/>
                </a:cubicBezTo>
                <a:cubicBezTo>
                  <a:pt x="434" y="480"/>
                  <a:pt x="434" y="480"/>
                  <a:pt x="434" y="480"/>
                </a:cubicBezTo>
                <a:cubicBezTo>
                  <a:pt x="442" y="473"/>
                  <a:pt x="442" y="473"/>
                  <a:pt x="442" y="473"/>
                </a:cubicBezTo>
                <a:cubicBezTo>
                  <a:pt x="431" y="448"/>
                  <a:pt x="431" y="448"/>
                  <a:pt x="431" y="448"/>
                </a:cubicBezTo>
                <a:cubicBezTo>
                  <a:pt x="431" y="448"/>
                  <a:pt x="431" y="448"/>
                  <a:pt x="432" y="448"/>
                </a:cubicBezTo>
                <a:cubicBezTo>
                  <a:pt x="441" y="439"/>
                  <a:pt x="449" y="430"/>
                  <a:pt x="457" y="421"/>
                </a:cubicBezTo>
                <a:cubicBezTo>
                  <a:pt x="482" y="431"/>
                  <a:pt x="482" y="431"/>
                  <a:pt x="482" y="431"/>
                </a:cubicBezTo>
                <a:cubicBezTo>
                  <a:pt x="488" y="421"/>
                  <a:pt x="488" y="421"/>
                  <a:pt x="488" y="421"/>
                </a:cubicBezTo>
                <a:cubicBezTo>
                  <a:pt x="495" y="412"/>
                  <a:pt x="495" y="412"/>
                  <a:pt x="495" y="412"/>
                </a:cubicBezTo>
                <a:cubicBezTo>
                  <a:pt x="477" y="392"/>
                  <a:pt x="477" y="392"/>
                  <a:pt x="477" y="392"/>
                </a:cubicBezTo>
                <a:cubicBezTo>
                  <a:pt x="483" y="381"/>
                  <a:pt x="489" y="370"/>
                  <a:pt x="493" y="359"/>
                </a:cubicBezTo>
                <a:cubicBezTo>
                  <a:pt x="520" y="360"/>
                  <a:pt x="520" y="360"/>
                  <a:pt x="520" y="360"/>
                </a:cubicBezTo>
                <a:cubicBezTo>
                  <a:pt x="524" y="350"/>
                  <a:pt x="524" y="350"/>
                  <a:pt x="524" y="350"/>
                </a:cubicBezTo>
                <a:cubicBezTo>
                  <a:pt x="527" y="339"/>
                  <a:pt x="527" y="339"/>
                  <a:pt x="527" y="339"/>
                </a:cubicBezTo>
                <a:cubicBezTo>
                  <a:pt x="504" y="325"/>
                  <a:pt x="504" y="325"/>
                  <a:pt x="504" y="325"/>
                </a:cubicBezTo>
                <a:cubicBezTo>
                  <a:pt x="507" y="313"/>
                  <a:pt x="509" y="300"/>
                  <a:pt x="510" y="288"/>
                </a:cubicBezTo>
                <a:cubicBezTo>
                  <a:pt x="536" y="282"/>
                  <a:pt x="536" y="282"/>
                  <a:pt x="536" y="282"/>
                </a:cubicBezTo>
                <a:cubicBezTo>
                  <a:pt x="536" y="271"/>
                  <a:pt x="536" y="271"/>
                  <a:pt x="536" y="271"/>
                </a:cubicBezTo>
                <a:cubicBezTo>
                  <a:pt x="536" y="259"/>
                  <a:pt x="536" y="259"/>
                  <a:pt x="536" y="259"/>
                </a:cubicBezTo>
                <a:lnTo>
                  <a:pt x="510" y="253"/>
                </a:lnTo>
                <a:close/>
                <a:moveTo>
                  <a:pt x="423" y="127"/>
                </a:moveTo>
                <a:cubicBezTo>
                  <a:pt x="451" y="157"/>
                  <a:pt x="468" y="193"/>
                  <a:pt x="475" y="231"/>
                </a:cubicBezTo>
                <a:cubicBezTo>
                  <a:pt x="391" y="214"/>
                  <a:pt x="391" y="214"/>
                  <a:pt x="391" y="214"/>
                </a:cubicBezTo>
                <a:cubicBezTo>
                  <a:pt x="379" y="187"/>
                  <a:pt x="359" y="165"/>
                  <a:pt x="333" y="151"/>
                </a:cubicBezTo>
                <a:cubicBezTo>
                  <a:pt x="324" y="66"/>
                  <a:pt x="324" y="66"/>
                  <a:pt x="324" y="66"/>
                </a:cubicBezTo>
                <a:cubicBezTo>
                  <a:pt x="361" y="76"/>
                  <a:pt x="395" y="96"/>
                  <a:pt x="423" y="127"/>
                </a:cubicBezTo>
                <a:close/>
                <a:moveTo>
                  <a:pt x="125" y="113"/>
                </a:moveTo>
                <a:cubicBezTo>
                  <a:pt x="173" y="69"/>
                  <a:pt x="236" y="52"/>
                  <a:pt x="296" y="60"/>
                </a:cubicBezTo>
                <a:cubicBezTo>
                  <a:pt x="254" y="135"/>
                  <a:pt x="254" y="135"/>
                  <a:pt x="254" y="135"/>
                </a:cubicBezTo>
                <a:cubicBezTo>
                  <a:pt x="224" y="138"/>
                  <a:pt x="198" y="151"/>
                  <a:pt x="177" y="170"/>
                </a:cubicBezTo>
                <a:cubicBezTo>
                  <a:pt x="92" y="152"/>
                  <a:pt x="92" y="152"/>
                  <a:pt x="92" y="152"/>
                </a:cubicBezTo>
                <a:cubicBezTo>
                  <a:pt x="101" y="138"/>
                  <a:pt x="112" y="125"/>
                  <a:pt x="125" y="113"/>
                </a:cubicBezTo>
                <a:close/>
                <a:moveTo>
                  <a:pt x="78" y="177"/>
                </a:moveTo>
                <a:cubicBezTo>
                  <a:pt x="137" y="241"/>
                  <a:pt x="137" y="241"/>
                  <a:pt x="137" y="241"/>
                </a:cubicBezTo>
                <a:cubicBezTo>
                  <a:pt x="135" y="250"/>
                  <a:pt x="134" y="259"/>
                  <a:pt x="134" y="269"/>
                </a:cubicBezTo>
                <a:cubicBezTo>
                  <a:pt x="134" y="288"/>
                  <a:pt x="138" y="307"/>
                  <a:pt x="146" y="324"/>
                </a:cubicBezTo>
                <a:cubicBezTo>
                  <a:pt x="103" y="401"/>
                  <a:pt x="103" y="401"/>
                  <a:pt x="103" y="401"/>
                </a:cubicBezTo>
                <a:cubicBezTo>
                  <a:pt x="51" y="336"/>
                  <a:pt x="43" y="248"/>
                  <a:pt x="78" y="177"/>
                </a:cubicBezTo>
                <a:close/>
                <a:moveTo>
                  <a:pt x="121" y="421"/>
                </a:moveTo>
                <a:cubicBezTo>
                  <a:pt x="201" y="385"/>
                  <a:pt x="201" y="385"/>
                  <a:pt x="201" y="385"/>
                </a:cubicBezTo>
                <a:cubicBezTo>
                  <a:pt x="221" y="396"/>
                  <a:pt x="244" y="403"/>
                  <a:pt x="268" y="403"/>
                </a:cubicBezTo>
                <a:cubicBezTo>
                  <a:pt x="274" y="403"/>
                  <a:pt x="279" y="403"/>
                  <a:pt x="284" y="402"/>
                </a:cubicBezTo>
                <a:cubicBezTo>
                  <a:pt x="342" y="466"/>
                  <a:pt x="342" y="466"/>
                  <a:pt x="342" y="466"/>
                </a:cubicBezTo>
                <a:cubicBezTo>
                  <a:pt x="268" y="494"/>
                  <a:pt x="181" y="479"/>
                  <a:pt x="121" y="421"/>
                </a:cubicBezTo>
                <a:close/>
                <a:moveTo>
                  <a:pt x="409" y="425"/>
                </a:moveTo>
                <a:cubicBezTo>
                  <a:pt x="396" y="436"/>
                  <a:pt x="382" y="446"/>
                  <a:pt x="367" y="454"/>
                </a:cubicBezTo>
                <a:cubicBezTo>
                  <a:pt x="358" y="369"/>
                  <a:pt x="358" y="369"/>
                  <a:pt x="358" y="369"/>
                </a:cubicBezTo>
                <a:cubicBezTo>
                  <a:pt x="379" y="350"/>
                  <a:pt x="395" y="324"/>
                  <a:pt x="400" y="294"/>
                </a:cubicBezTo>
                <a:cubicBezTo>
                  <a:pt x="478" y="259"/>
                  <a:pt x="478" y="259"/>
                  <a:pt x="478" y="259"/>
                </a:cubicBezTo>
                <a:cubicBezTo>
                  <a:pt x="481" y="320"/>
                  <a:pt x="458" y="381"/>
                  <a:pt x="409" y="425"/>
                </a:cubicBezTo>
                <a:close/>
              </a:path>
            </a:pathLst>
          </a:custGeom>
          <a:solidFill>
            <a:schemeClr val="accent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2" name="Freeform 9"/>
          <p:cNvSpPr>
            <a:spLocks noEditPoints="1"/>
          </p:cNvSpPr>
          <p:nvPr/>
        </p:nvSpPr>
        <p:spPr bwMode="auto">
          <a:xfrm>
            <a:off x="12638860" y="10601612"/>
            <a:ext cx="1856400" cy="1857876"/>
          </a:xfrm>
          <a:custGeom>
            <a:avLst/>
            <a:gdLst>
              <a:gd name="T0" fmla="*/ 234 w 269"/>
              <a:gd name="T1" fmla="*/ 72 h 269"/>
              <a:gd name="T2" fmla="*/ 72 w 269"/>
              <a:gd name="T3" fmla="*/ 35 h 269"/>
              <a:gd name="T4" fmla="*/ 34 w 269"/>
              <a:gd name="T5" fmla="*/ 198 h 269"/>
              <a:gd name="T6" fmla="*/ 197 w 269"/>
              <a:gd name="T7" fmla="*/ 235 h 269"/>
              <a:gd name="T8" fmla="*/ 234 w 269"/>
              <a:gd name="T9" fmla="*/ 72 h 269"/>
              <a:gd name="T10" fmla="*/ 134 w 269"/>
              <a:gd name="T11" fmla="*/ 238 h 269"/>
              <a:gd name="T12" fmla="*/ 31 w 269"/>
              <a:gd name="T13" fmla="*/ 135 h 269"/>
              <a:gd name="T14" fmla="*/ 134 w 269"/>
              <a:gd name="T15" fmla="*/ 31 h 269"/>
              <a:gd name="T16" fmla="*/ 238 w 269"/>
              <a:gd name="T17" fmla="*/ 135 h 269"/>
              <a:gd name="T18" fmla="*/ 134 w 269"/>
              <a:gd name="T19" fmla="*/ 238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9" h="269">
                <a:moveTo>
                  <a:pt x="234" y="72"/>
                </a:moveTo>
                <a:cubicBezTo>
                  <a:pt x="200" y="17"/>
                  <a:pt x="127" y="0"/>
                  <a:pt x="72" y="35"/>
                </a:cubicBezTo>
                <a:cubicBezTo>
                  <a:pt x="17" y="70"/>
                  <a:pt x="0" y="142"/>
                  <a:pt x="34" y="198"/>
                </a:cubicBezTo>
                <a:cubicBezTo>
                  <a:pt x="69" y="253"/>
                  <a:pt x="142" y="269"/>
                  <a:pt x="197" y="235"/>
                </a:cubicBezTo>
                <a:cubicBezTo>
                  <a:pt x="252" y="200"/>
                  <a:pt x="269" y="127"/>
                  <a:pt x="234" y="72"/>
                </a:cubicBezTo>
                <a:close/>
                <a:moveTo>
                  <a:pt x="134" y="238"/>
                </a:moveTo>
                <a:cubicBezTo>
                  <a:pt x="77" y="238"/>
                  <a:pt x="31" y="192"/>
                  <a:pt x="31" y="135"/>
                </a:cubicBezTo>
                <a:cubicBezTo>
                  <a:pt x="31" y="78"/>
                  <a:pt x="77" y="31"/>
                  <a:pt x="134" y="31"/>
                </a:cubicBezTo>
                <a:cubicBezTo>
                  <a:pt x="191" y="31"/>
                  <a:pt x="238" y="78"/>
                  <a:pt x="238" y="135"/>
                </a:cubicBezTo>
                <a:cubicBezTo>
                  <a:pt x="238" y="192"/>
                  <a:pt x="191" y="238"/>
                  <a:pt x="134" y="238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" name="Freeform 10"/>
          <p:cNvSpPr>
            <a:spLocks noEditPoints="1"/>
          </p:cNvSpPr>
          <p:nvPr/>
        </p:nvSpPr>
        <p:spPr bwMode="auto">
          <a:xfrm>
            <a:off x="11735354" y="9706110"/>
            <a:ext cx="3657600" cy="3657600"/>
          </a:xfrm>
          <a:custGeom>
            <a:avLst/>
            <a:gdLst>
              <a:gd name="T0" fmla="*/ 528 w 530"/>
              <a:gd name="T1" fmla="*/ 233 h 530"/>
              <a:gd name="T2" fmla="*/ 516 w 530"/>
              <a:gd name="T3" fmla="*/ 179 h 530"/>
              <a:gd name="T4" fmla="*/ 505 w 530"/>
              <a:gd name="T5" fmla="*/ 152 h 530"/>
              <a:gd name="T6" fmla="*/ 484 w 530"/>
              <a:gd name="T7" fmla="*/ 115 h 530"/>
              <a:gd name="T8" fmla="*/ 450 w 530"/>
              <a:gd name="T9" fmla="*/ 108 h 530"/>
              <a:gd name="T10" fmla="*/ 449 w 530"/>
              <a:gd name="T11" fmla="*/ 72 h 530"/>
              <a:gd name="T12" fmla="*/ 415 w 530"/>
              <a:gd name="T13" fmla="*/ 47 h 530"/>
              <a:gd name="T14" fmla="*/ 391 w 530"/>
              <a:gd name="T15" fmla="*/ 32 h 530"/>
              <a:gd name="T16" fmla="*/ 353 w 530"/>
              <a:gd name="T17" fmla="*/ 13 h 530"/>
              <a:gd name="T18" fmla="*/ 321 w 530"/>
              <a:gd name="T19" fmla="*/ 28 h 530"/>
              <a:gd name="T20" fmla="*/ 298 w 530"/>
              <a:gd name="T21" fmla="*/ 2 h 530"/>
              <a:gd name="T22" fmla="*/ 256 w 530"/>
              <a:gd name="T23" fmla="*/ 0 h 530"/>
              <a:gd name="T24" fmla="*/ 214 w 530"/>
              <a:gd name="T25" fmla="*/ 1 h 530"/>
              <a:gd name="T26" fmla="*/ 175 w 530"/>
              <a:gd name="T27" fmla="*/ 16 h 530"/>
              <a:gd name="T28" fmla="*/ 137 w 530"/>
              <a:gd name="T29" fmla="*/ 34 h 530"/>
              <a:gd name="T30" fmla="*/ 113 w 530"/>
              <a:gd name="T31" fmla="*/ 48 h 530"/>
              <a:gd name="T32" fmla="*/ 81 w 530"/>
              <a:gd name="T33" fmla="*/ 75 h 530"/>
              <a:gd name="T34" fmla="*/ 75 w 530"/>
              <a:gd name="T35" fmla="*/ 106 h 530"/>
              <a:gd name="T36" fmla="*/ 46 w 530"/>
              <a:gd name="T37" fmla="*/ 117 h 530"/>
              <a:gd name="T38" fmla="*/ 25 w 530"/>
              <a:gd name="T39" fmla="*/ 153 h 530"/>
              <a:gd name="T40" fmla="*/ 15 w 530"/>
              <a:gd name="T41" fmla="*/ 178 h 530"/>
              <a:gd name="T42" fmla="*/ 5 w 530"/>
              <a:gd name="T43" fmla="*/ 218 h 530"/>
              <a:gd name="T44" fmla="*/ 16 w 530"/>
              <a:gd name="T45" fmla="*/ 246 h 530"/>
              <a:gd name="T46" fmla="*/ 0 w 530"/>
              <a:gd name="T47" fmla="*/ 273 h 530"/>
              <a:gd name="T48" fmla="*/ 5 w 530"/>
              <a:gd name="T49" fmla="*/ 313 h 530"/>
              <a:gd name="T50" fmla="*/ 11 w 530"/>
              <a:gd name="T51" fmla="*/ 339 h 530"/>
              <a:gd name="T52" fmla="*/ 25 w 530"/>
              <a:gd name="T53" fmla="*/ 377 h 530"/>
              <a:gd name="T54" fmla="*/ 51 w 530"/>
              <a:gd name="T55" fmla="*/ 394 h 530"/>
              <a:gd name="T56" fmla="*/ 54 w 530"/>
              <a:gd name="T57" fmla="*/ 425 h 530"/>
              <a:gd name="T58" fmla="*/ 81 w 530"/>
              <a:gd name="T59" fmla="*/ 455 h 530"/>
              <a:gd name="T60" fmla="*/ 101 w 530"/>
              <a:gd name="T61" fmla="*/ 473 h 530"/>
              <a:gd name="T62" fmla="*/ 135 w 530"/>
              <a:gd name="T63" fmla="*/ 496 h 530"/>
              <a:gd name="T64" fmla="*/ 166 w 530"/>
              <a:gd name="T65" fmla="*/ 494 h 530"/>
              <a:gd name="T66" fmla="*/ 186 w 530"/>
              <a:gd name="T67" fmla="*/ 518 h 530"/>
              <a:gd name="T68" fmla="*/ 226 w 530"/>
              <a:gd name="T69" fmla="*/ 527 h 530"/>
              <a:gd name="T70" fmla="*/ 253 w 530"/>
              <a:gd name="T71" fmla="*/ 529 h 530"/>
              <a:gd name="T72" fmla="*/ 294 w 530"/>
              <a:gd name="T73" fmla="*/ 528 h 530"/>
              <a:gd name="T74" fmla="*/ 317 w 530"/>
              <a:gd name="T75" fmla="*/ 507 h 530"/>
              <a:gd name="T76" fmla="*/ 348 w 530"/>
              <a:gd name="T77" fmla="*/ 516 h 530"/>
              <a:gd name="T78" fmla="*/ 386 w 530"/>
              <a:gd name="T79" fmla="*/ 500 h 530"/>
              <a:gd name="T80" fmla="*/ 422 w 530"/>
              <a:gd name="T81" fmla="*/ 479 h 530"/>
              <a:gd name="T82" fmla="*/ 444 w 530"/>
              <a:gd name="T83" fmla="*/ 461 h 530"/>
              <a:gd name="T84" fmla="*/ 475 w 530"/>
              <a:gd name="T85" fmla="*/ 432 h 530"/>
              <a:gd name="T86" fmla="*/ 471 w 530"/>
              <a:gd name="T87" fmla="*/ 397 h 530"/>
              <a:gd name="T88" fmla="*/ 488 w 530"/>
              <a:gd name="T89" fmla="*/ 363 h 530"/>
              <a:gd name="T90" fmla="*/ 518 w 530"/>
              <a:gd name="T91" fmla="*/ 345 h 530"/>
              <a:gd name="T92" fmla="*/ 507 w 530"/>
              <a:gd name="T93" fmla="*/ 288 h 530"/>
              <a:gd name="T94" fmla="*/ 453 w 530"/>
              <a:gd name="T95" fmla="*/ 230 h 530"/>
              <a:gd name="T96" fmla="*/ 329 w 530"/>
              <a:gd name="T97" fmla="*/ 85 h 530"/>
              <a:gd name="T98" fmla="*/ 81 w 530"/>
              <a:gd name="T99" fmla="*/ 167 h 530"/>
              <a:gd name="T100" fmla="*/ 81 w 530"/>
              <a:gd name="T101" fmla="*/ 167 h 530"/>
              <a:gd name="T102" fmla="*/ 146 w 530"/>
              <a:gd name="T103" fmla="*/ 340 h 530"/>
              <a:gd name="T104" fmla="*/ 270 w 530"/>
              <a:gd name="T105" fmla="*/ 406 h 530"/>
              <a:gd name="T106" fmla="*/ 158 w 530"/>
              <a:gd name="T107" fmla="*/ 332 h 530"/>
              <a:gd name="T108" fmla="*/ 450 w 530"/>
              <a:gd name="T109" fmla="*/ 362 h 530"/>
              <a:gd name="T110" fmla="*/ 450 w 530"/>
              <a:gd name="T111" fmla="*/ 362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30" h="530">
                <a:moveTo>
                  <a:pt x="530" y="275"/>
                </a:moveTo>
                <a:cubicBezTo>
                  <a:pt x="530" y="271"/>
                  <a:pt x="530" y="266"/>
                  <a:pt x="530" y="262"/>
                </a:cubicBezTo>
                <a:cubicBezTo>
                  <a:pt x="518" y="262"/>
                  <a:pt x="508" y="257"/>
                  <a:pt x="507" y="249"/>
                </a:cubicBezTo>
                <a:cubicBezTo>
                  <a:pt x="507" y="242"/>
                  <a:pt x="516" y="235"/>
                  <a:pt x="528" y="233"/>
                </a:cubicBezTo>
                <a:cubicBezTo>
                  <a:pt x="528" y="229"/>
                  <a:pt x="527" y="224"/>
                  <a:pt x="526" y="220"/>
                </a:cubicBezTo>
                <a:cubicBezTo>
                  <a:pt x="514" y="222"/>
                  <a:pt x="503" y="219"/>
                  <a:pt x="501" y="211"/>
                </a:cubicBezTo>
                <a:cubicBezTo>
                  <a:pt x="500" y="204"/>
                  <a:pt x="508" y="195"/>
                  <a:pt x="520" y="192"/>
                </a:cubicBezTo>
                <a:cubicBezTo>
                  <a:pt x="519" y="187"/>
                  <a:pt x="517" y="183"/>
                  <a:pt x="516" y="179"/>
                </a:cubicBezTo>
                <a:cubicBezTo>
                  <a:pt x="516" y="179"/>
                  <a:pt x="516" y="179"/>
                  <a:pt x="517" y="179"/>
                </a:cubicBezTo>
                <a:cubicBezTo>
                  <a:pt x="505" y="184"/>
                  <a:pt x="493" y="182"/>
                  <a:pt x="490" y="174"/>
                </a:cubicBezTo>
                <a:cubicBezTo>
                  <a:pt x="487" y="167"/>
                  <a:pt x="494" y="157"/>
                  <a:pt x="505" y="152"/>
                </a:cubicBezTo>
                <a:cubicBezTo>
                  <a:pt x="505" y="152"/>
                  <a:pt x="505" y="152"/>
                  <a:pt x="505" y="152"/>
                </a:cubicBezTo>
                <a:cubicBezTo>
                  <a:pt x="503" y="148"/>
                  <a:pt x="501" y="144"/>
                  <a:pt x="499" y="140"/>
                </a:cubicBezTo>
                <a:cubicBezTo>
                  <a:pt x="499" y="140"/>
                  <a:pt x="499" y="140"/>
                  <a:pt x="500" y="140"/>
                </a:cubicBezTo>
                <a:cubicBezTo>
                  <a:pt x="489" y="146"/>
                  <a:pt x="477" y="147"/>
                  <a:pt x="472" y="140"/>
                </a:cubicBezTo>
                <a:cubicBezTo>
                  <a:pt x="468" y="133"/>
                  <a:pt x="474" y="122"/>
                  <a:pt x="484" y="115"/>
                </a:cubicBezTo>
                <a:cubicBezTo>
                  <a:pt x="484" y="115"/>
                  <a:pt x="484" y="116"/>
                  <a:pt x="484" y="116"/>
                </a:cubicBezTo>
                <a:cubicBezTo>
                  <a:pt x="481" y="112"/>
                  <a:pt x="479" y="108"/>
                  <a:pt x="476" y="105"/>
                </a:cubicBezTo>
                <a:cubicBezTo>
                  <a:pt x="476" y="104"/>
                  <a:pt x="477" y="104"/>
                  <a:pt x="477" y="104"/>
                </a:cubicBezTo>
                <a:cubicBezTo>
                  <a:pt x="467" y="112"/>
                  <a:pt x="455" y="114"/>
                  <a:pt x="450" y="108"/>
                </a:cubicBezTo>
                <a:cubicBezTo>
                  <a:pt x="445" y="102"/>
                  <a:pt x="448" y="91"/>
                  <a:pt x="458" y="82"/>
                </a:cubicBezTo>
                <a:cubicBezTo>
                  <a:pt x="458" y="82"/>
                  <a:pt x="458" y="83"/>
                  <a:pt x="457" y="83"/>
                </a:cubicBezTo>
                <a:cubicBezTo>
                  <a:pt x="454" y="79"/>
                  <a:pt x="451" y="76"/>
                  <a:pt x="448" y="73"/>
                </a:cubicBezTo>
                <a:cubicBezTo>
                  <a:pt x="448" y="73"/>
                  <a:pt x="448" y="73"/>
                  <a:pt x="449" y="72"/>
                </a:cubicBezTo>
                <a:cubicBezTo>
                  <a:pt x="441" y="82"/>
                  <a:pt x="429" y="86"/>
                  <a:pt x="423" y="81"/>
                </a:cubicBezTo>
                <a:cubicBezTo>
                  <a:pt x="417" y="76"/>
                  <a:pt x="418" y="64"/>
                  <a:pt x="427" y="54"/>
                </a:cubicBezTo>
                <a:cubicBezTo>
                  <a:pt x="426" y="54"/>
                  <a:pt x="426" y="54"/>
                  <a:pt x="426" y="55"/>
                </a:cubicBezTo>
                <a:cubicBezTo>
                  <a:pt x="423" y="52"/>
                  <a:pt x="419" y="49"/>
                  <a:pt x="415" y="47"/>
                </a:cubicBezTo>
                <a:cubicBezTo>
                  <a:pt x="415" y="46"/>
                  <a:pt x="416" y="46"/>
                  <a:pt x="416" y="45"/>
                </a:cubicBezTo>
                <a:cubicBezTo>
                  <a:pt x="409" y="56"/>
                  <a:pt x="399" y="62"/>
                  <a:pt x="392" y="58"/>
                </a:cubicBezTo>
                <a:cubicBezTo>
                  <a:pt x="385" y="54"/>
                  <a:pt x="385" y="42"/>
                  <a:pt x="391" y="31"/>
                </a:cubicBezTo>
                <a:cubicBezTo>
                  <a:pt x="391" y="31"/>
                  <a:pt x="391" y="31"/>
                  <a:pt x="391" y="32"/>
                </a:cubicBezTo>
                <a:cubicBezTo>
                  <a:pt x="387" y="30"/>
                  <a:pt x="383" y="28"/>
                  <a:pt x="379" y="26"/>
                </a:cubicBezTo>
                <a:cubicBezTo>
                  <a:pt x="379" y="25"/>
                  <a:pt x="379" y="25"/>
                  <a:pt x="379" y="24"/>
                </a:cubicBezTo>
                <a:cubicBezTo>
                  <a:pt x="375" y="36"/>
                  <a:pt x="365" y="43"/>
                  <a:pt x="357" y="40"/>
                </a:cubicBezTo>
                <a:cubicBezTo>
                  <a:pt x="350" y="37"/>
                  <a:pt x="348" y="25"/>
                  <a:pt x="353" y="13"/>
                </a:cubicBezTo>
                <a:cubicBezTo>
                  <a:pt x="352" y="14"/>
                  <a:pt x="352" y="14"/>
                  <a:pt x="352" y="15"/>
                </a:cubicBezTo>
                <a:cubicBezTo>
                  <a:pt x="348" y="13"/>
                  <a:pt x="344" y="12"/>
                  <a:pt x="339" y="11"/>
                </a:cubicBezTo>
                <a:cubicBezTo>
                  <a:pt x="340" y="10"/>
                  <a:pt x="340" y="9"/>
                  <a:pt x="340" y="9"/>
                </a:cubicBezTo>
                <a:cubicBezTo>
                  <a:pt x="337" y="21"/>
                  <a:pt x="328" y="30"/>
                  <a:pt x="321" y="28"/>
                </a:cubicBezTo>
                <a:cubicBezTo>
                  <a:pt x="313" y="26"/>
                  <a:pt x="309" y="15"/>
                  <a:pt x="312" y="2"/>
                </a:cubicBezTo>
                <a:cubicBezTo>
                  <a:pt x="312" y="3"/>
                  <a:pt x="312" y="4"/>
                  <a:pt x="311" y="4"/>
                </a:cubicBezTo>
                <a:cubicBezTo>
                  <a:pt x="307" y="3"/>
                  <a:pt x="303" y="3"/>
                  <a:pt x="298" y="2"/>
                </a:cubicBezTo>
                <a:cubicBezTo>
                  <a:pt x="298" y="2"/>
                  <a:pt x="298" y="2"/>
                  <a:pt x="298" y="2"/>
                </a:cubicBezTo>
                <a:cubicBezTo>
                  <a:pt x="297" y="14"/>
                  <a:pt x="290" y="22"/>
                  <a:pt x="283" y="22"/>
                </a:cubicBezTo>
                <a:cubicBezTo>
                  <a:pt x="275" y="21"/>
                  <a:pt x="270" y="12"/>
                  <a:pt x="270" y="0"/>
                </a:cubicBezTo>
                <a:cubicBezTo>
                  <a:pt x="265" y="0"/>
                  <a:pt x="261" y="0"/>
                  <a:pt x="256" y="0"/>
                </a:cubicBezTo>
                <a:cubicBezTo>
                  <a:pt x="256" y="0"/>
                  <a:pt x="256" y="0"/>
                  <a:pt x="256" y="0"/>
                </a:cubicBezTo>
                <a:cubicBezTo>
                  <a:pt x="256" y="12"/>
                  <a:pt x="251" y="21"/>
                  <a:pt x="244" y="21"/>
                </a:cubicBezTo>
                <a:cubicBezTo>
                  <a:pt x="237" y="22"/>
                  <a:pt x="230" y="14"/>
                  <a:pt x="228" y="3"/>
                </a:cubicBezTo>
                <a:cubicBezTo>
                  <a:pt x="224" y="3"/>
                  <a:pt x="219" y="4"/>
                  <a:pt x="215" y="5"/>
                </a:cubicBezTo>
                <a:cubicBezTo>
                  <a:pt x="215" y="4"/>
                  <a:pt x="214" y="2"/>
                  <a:pt x="214" y="1"/>
                </a:cubicBezTo>
                <a:cubicBezTo>
                  <a:pt x="217" y="14"/>
                  <a:pt x="213" y="25"/>
                  <a:pt x="206" y="27"/>
                </a:cubicBezTo>
                <a:cubicBezTo>
                  <a:pt x="199" y="29"/>
                  <a:pt x="191" y="22"/>
                  <a:pt x="187" y="12"/>
                </a:cubicBezTo>
                <a:cubicBezTo>
                  <a:pt x="187" y="12"/>
                  <a:pt x="187" y="12"/>
                  <a:pt x="187" y="12"/>
                </a:cubicBezTo>
                <a:cubicBezTo>
                  <a:pt x="183" y="13"/>
                  <a:pt x="179" y="15"/>
                  <a:pt x="175" y="16"/>
                </a:cubicBezTo>
                <a:cubicBezTo>
                  <a:pt x="174" y="15"/>
                  <a:pt x="174" y="13"/>
                  <a:pt x="173" y="12"/>
                </a:cubicBezTo>
                <a:cubicBezTo>
                  <a:pt x="178" y="24"/>
                  <a:pt x="176" y="36"/>
                  <a:pt x="169" y="39"/>
                </a:cubicBezTo>
                <a:cubicBezTo>
                  <a:pt x="162" y="42"/>
                  <a:pt x="154" y="36"/>
                  <a:pt x="149" y="27"/>
                </a:cubicBezTo>
                <a:cubicBezTo>
                  <a:pt x="145" y="29"/>
                  <a:pt x="141" y="31"/>
                  <a:pt x="137" y="34"/>
                </a:cubicBezTo>
                <a:cubicBezTo>
                  <a:pt x="137" y="33"/>
                  <a:pt x="137" y="33"/>
                  <a:pt x="137" y="33"/>
                </a:cubicBezTo>
                <a:cubicBezTo>
                  <a:pt x="141" y="43"/>
                  <a:pt x="140" y="52"/>
                  <a:pt x="134" y="56"/>
                </a:cubicBezTo>
                <a:cubicBezTo>
                  <a:pt x="128" y="60"/>
                  <a:pt x="120" y="56"/>
                  <a:pt x="113" y="48"/>
                </a:cubicBezTo>
                <a:cubicBezTo>
                  <a:pt x="113" y="48"/>
                  <a:pt x="113" y="48"/>
                  <a:pt x="113" y="48"/>
                </a:cubicBezTo>
                <a:cubicBezTo>
                  <a:pt x="109" y="51"/>
                  <a:pt x="106" y="54"/>
                  <a:pt x="102" y="56"/>
                </a:cubicBezTo>
                <a:cubicBezTo>
                  <a:pt x="102" y="56"/>
                  <a:pt x="102" y="56"/>
                  <a:pt x="102" y="56"/>
                </a:cubicBezTo>
                <a:cubicBezTo>
                  <a:pt x="107" y="65"/>
                  <a:pt x="108" y="74"/>
                  <a:pt x="103" y="79"/>
                </a:cubicBezTo>
                <a:cubicBezTo>
                  <a:pt x="98" y="83"/>
                  <a:pt x="89" y="81"/>
                  <a:pt x="81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78" y="78"/>
                  <a:pt x="75" y="81"/>
                  <a:pt x="71" y="85"/>
                </a:cubicBezTo>
                <a:cubicBezTo>
                  <a:pt x="71" y="84"/>
                  <a:pt x="71" y="84"/>
                  <a:pt x="71" y="84"/>
                </a:cubicBezTo>
                <a:cubicBezTo>
                  <a:pt x="78" y="92"/>
                  <a:pt x="80" y="101"/>
                  <a:pt x="75" y="106"/>
                </a:cubicBezTo>
                <a:cubicBezTo>
                  <a:pt x="71" y="111"/>
                  <a:pt x="62" y="110"/>
                  <a:pt x="54" y="106"/>
                </a:cubicBezTo>
                <a:cubicBezTo>
                  <a:pt x="54" y="106"/>
                  <a:pt x="54" y="106"/>
                  <a:pt x="54" y="106"/>
                </a:cubicBezTo>
                <a:cubicBezTo>
                  <a:pt x="51" y="109"/>
                  <a:pt x="48" y="113"/>
                  <a:pt x="46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53" y="123"/>
                  <a:pt x="56" y="131"/>
                  <a:pt x="52" y="137"/>
                </a:cubicBezTo>
                <a:cubicBezTo>
                  <a:pt x="49" y="142"/>
                  <a:pt x="40" y="144"/>
                  <a:pt x="31" y="140"/>
                </a:cubicBezTo>
                <a:cubicBezTo>
                  <a:pt x="31" y="140"/>
                  <a:pt x="32" y="140"/>
                  <a:pt x="32" y="140"/>
                </a:cubicBezTo>
                <a:cubicBezTo>
                  <a:pt x="29" y="144"/>
                  <a:pt x="27" y="149"/>
                  <a:pt x="25" y="153"/>
                </a:cubicBezTo>
                <a:cubicBezTo>
                  <a:pt x="25" y="153"/>
                  <a:pt x="25" y="153"/>
                  <a:pt x="25" y="153"/>
                </a:cubicBezTo>
                <a:cubicBezTo>
                  <a:pt x="33" y="158"/>
                  <a:pt x="37" y="165"/>
                  <a:pt x="35" y="171"/>
                </a:cubicBezTo>
                <a:cubicBezTo>
                  <a:pt x="32" y="177"/>
                  <a:pt x="24" y="180"/>
                  <a:pt x="15" y="178"/>
                </a:cubicBezTo>
                <a:cubicBezTo>
                  <a:pt x="15" y="178"/>
                  <a:pt x="15" y="178"/>
                  <a:pt x="15" y="178"/>
                </a:cubicBezTo>
                <a:cubicBezTo>
                  <a:pt x="14" y="182"/>
                  <a:pt x="12" y="187"/>
                  <a:pt x="11" y="192"/>
                </a:cubicBezTo>
                <a:cubicBezTo>
                  <a:pt x="11" y="191"/>
                  <a:pt x="11" y="191"/>
                  <a:pt x="11" y="191"/>
                </a:cubicBezTo>
                <a:cubicBezTo>
                  <a:pt x="19" y="195"/>
                  <a:pt x="24" y="202"/>
                  <a:pt x="22" y="208"/>
                </a:cubicBezTo>
                <a:cubicBezTo>
                  <a:pt x="21" y="214"/>
                  <a:pt x="14" y="218"/>
                  <a:pt x="5" y="218"/>
                </a:cubicBezTo>
                <a:cubicBezTo>
                  <a:pt x="5" y="218"/>
                  <a:pt x="5" y="218"/>
                  <a:pt x="5" y="218"/>
                </a:cubicBezTo>
                <a:cubicBezTo>
                  <a:pt x="4" y="222"/>
                  <a:pt x="3" y="227"/>
                  <a:pt x="3" y="232"/>
                </a:cubicBezTo>
                <a:cubicBezTo>
                  <a:pt x="3" y="232"/>
                  <a:pt x="2" y="232"/>
                  <a:pt x="2" y="232"/>
                </a:cubicBezTo>
                <a:cubicBezTo>
                  <a:pt x="11" y="234"/>
                  <a:pt x="16" y="240"/>
                  <a:pt x="16" y="246"/>
                </a:cubicBezTo>
                <a:cubicBezTo>
                  <a:pt x="16" y="252"/>
                  <a:pt x="9" y="257"/>
                  <a:pt x="0" y="258"/>
                </a:cubicBezTo>
                <a:cubicBezTo>
                  <a:pt x="0" y="258"/>
                  <a:pt x="1" y="258"/>
                  <a:pt x="1" y="258"/>
                </a:cubicBezTo>
                <a:cubicBezTo>
                  <a:pt x="0" y="263"/>
                  <a:pt x="0" y="268"/>
                  <a:pt x="1" y="273"/>
                </a:cubicBezTo>
                <a:cubicBezTo>
                  <a:pt x="1" y="273"/>
                  <a:pt x="0" y="273"/>
                  <a:pt x="0" y="273"/>
                </a:cubicBezTo>
                <a:cubicBezTo>
                  <a:pt x="9" y="274"/>
                  <a:pt x="15" y="279"/>
                  <a:pt x="16" y="285"/>
                </a:cubicBezTo>
                <a:cubicBezTo>
                  <a:pt x="16" y="291"/>
                  <a:pt x="11" y="296"/>
                  <a:pt x="2" y="299"/>
                </a:cubicBezTo>
                <a:cubicBezTo>
                  <a:pt x="3" y="299"/>
                  <a:pt x="3" y="299"/>
                  <a:pt x="3" y="299"/>
                </a:cubicBezTo>
                <a:cubicBezTo>
                  <a:pt x="3" y="304"/>
                  <a:pt x="4" y="309"/>
                  <a:pt x="5" y="313"/>
                </a:cubicBezTo>
                <a:cubicBezTo>
                  <a:pt x="5" y="313"/>
                  <a:pt x="5" y="314"/>
                  <a:pt x="5" y="314"/>
                </a:cubicBezTo>
                <a:cubicBezTo>
                  <a:pt x="13" y="314"/>
                  <a:pt x="20" y="317"/>
                  <a:pt x="22" y="323"/>
                </a:cubicBezTo>
                <a:cubicBezTo>
                  <a:pt x="23" y="329"/>
                  <a:pt x="19" y="335"/>
                  <a:pt x="11" y="339"/>
                </a:cubicBezTo>
                <a:cubicBezTo>
                  <a:pt x="11" y="339"/>
                  <a:pt x="11" y="339"/>
                  <a:pt x="11" y="339"/>
                </a:cubicBezTo>
                <a:cubicBezTo>
                  <a:pt x="12" y="344"/>
                  <a:pt x="14" y="348"/>
                  <a:pt x="16" y="353"/>
                </a:cubicBezTo>
                <a:cubicBezTo>
                  <a:pt x="16" y="353"/>
                  <a:pt x="15" y="353"/>
                  <a:pt x="15" y="353"/>
                </a:cubicBezTo>
                <a:cubicBezTo>
                  <a:pt x="24" y="352"/>
                  <a:pt x="31" y="354"/>
                  <a:pt x="33" y="360"/>
                </a:cubicBezTo>
                <a:cubicBezTo>
                  <a:pt x="36" y="365"/>
                  <a:pt x="32" y="372"/>
                  <a:pt x="25" y="377"/>
                </a:cubicBezTo>
                <a:cubicBezTo>
                  <a:pt x="25" y="377"/>
                  <a:pt x="26" y="377"/>
                  <a:pt x="26" y="377"/>
                </a:cubicBezTo>
                <a:cubicBezTo>
                  <a:pt x="28" y="382"/>
                  <a:pt x="30" y="386"/>
                  <a:pt x="32" y="390"/>
                </a:cubicBezTo>
                <a:cubicBezTo>
                  <a:pt x="32" y="390"/>
                  <a:pt x="32" y="390"/>
                  <a:pt x="32" y="391"/>
                </a:cubicBezTo>
                <a:cubicBezTo>
                  <a:pt x="40" y="388"/>
                  <a:pt x="47" y="389"/>
                  <a:pt x="51" y="394"/>
                </a:cubicBezTo>
                <a:cubicBezTo>
                  <a:pt x="54" y="399"/>
                  <a:pt x="51" y="407"/>
                  <a:pt x="46" y="413"/>
                </a:cubicBezTo>
                <a:cubicBezTo>
                  <a:pt x="46" y="413"/>
                  <a:pt x="46" y="413"/>
                  <a:pt x="46" y="413"/>
                </a:cubicBezTo>
                <a:cubicBezTo>
                  <a:pt x="49" y="417"/>
                  <a:pt x="51" y="421"/>
                  <a:pt x="54" y="425"/>
                </a:cubicBezTo>
                <a:cubicBezTo>
                  <a:pt x="54" y="425"/>
                  <a:pt x="54" y="425"/>
                  <a:pt x="54" y="425"/>
                </a:cubicBezTo>
                <a:cubicBezTo>
                  <a:pt x="62" y="421"/>
                  <a:pt x="69" y="421"/>
                  <a:pt x="73" y="426"/>
                </a:cubicBezTo>
                <a:cubicBezTo>
                  <a:pt x="77" y="430"/>
                  <a:pt x="76" y="438"/>
                  <a:pt x="71" y="445"/>
                </a:cubicBezTo>
                <a:cubicBezTo>
                  <a:pt x="71" y="445"/>
                  <a:pt x="71" y="445"/>
                  <a:pt x="71" y="445"/>
                </a:cubicBezTo>
                <a:cubicBezTo>
                  <a:pt x="74" y="449"/>
                  <a:pt x="78" y="452"/>
                  <a:pt x="81" y="455"/>
                </a:cubicBezTo>
                <a:cubicBezTo>
                  <a:pt x="81" y="455"/>
                  <a:pt x="81" y="455"/>
                  <a:pt x="81" y="456"/>
                </a:cubicBezTo>
                <a:cubicBezTo>
                  <a:pt x="88" y="451"/>
                  <a:pt x="96" y="449"/>
                  <a:pt x="100" y="453"/>
                </a:cubicBezTo>
                <a:cubicBezTo>
                  <a:pt x="105" y="457"/>
                  <a:pt x="105" y="465"/>
                  <a:pt x="101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5" y="476"/>
                  <a:pt x="109" y="479"/>
                  <a:pt x="113" y="481"/>
                </a:cubicBezTo>
                <a:cubicBezTo>
                  <a:pt x="113" y="481"/>
                  <a:pt x="113" y="482"/>
                  <a:pt x="113" y="482"/>
                </a:cubicBezTo>
                <a:cubicBezTo>
                  <a:pt x="119" y="476"/>
                  <a:pt x="126" y="473"/>
                  <a:pt x="131" y="476"/>
                </a:cubicBezTo>
                <a:cubicBezTo>
                  <a:pt x="137" y="479"/>
                  <a:pt x="138" y="487"/>
                  <a:pt x="135" y="496"/>
                </a:cubicBezTo>
                <a:cubicBezTo>
                  <a:pt x="135" y="496"/>
                  <a:pt x="135" y="496"/>
                  <a:pt x="135" y="496"/>
                </a:cubicBezTo>
                <a:cubicBezTo>
                  <a:pt x="139" y="498"/>
                  <a:pt x="144" y="500"/>
                  <a:pt x="148" y="502"/>
                </a:cubicBezTo>
                <a:cubicBezTo>
                  <a:pt x="148" y="502"/>
                  <a:pt x="148" y="502"/>
                  <a:pt x="148" y="502"/>
                </a:cubicBezTo>
                <a:cubicBezTo>
                  <a:pt x="153" y="495"/>
                  <a:pt x="160" y="492"/>
                  <a:pt x="166" y="494"/>
                </a:cubicBezTo>
                <a:cubicBezTo>
                  <a:pt x="171" y="496"/>
                  <a:pt x="174" y="504"/>
                  <a:pt x="172" y="513"/>
                </a:cubicBezTo>
                <a:cubicBezTo>
                  <a:pt x="173" y="513"/>
                  <a:pt x="173" y="513"/>
                  <a:pt x="173" y="513"/>
                </a:cubicBezTo>
                <a:cubicBezTo>
                  <a:pt x="177" y="514"/>
                  <a:pt x="182" y="516"/>
                  <a:pt x="186" y="517"/>
                </a:cubicBezTo>
                <a:cubicBezTo>
                  <a:pt x="186" y="518"/>
                  <a:pt x="186" y="518"/>
                  <a:pt x="186" y="518"/>
                </a:cubicBezTo>
                <a:cubicBezTo>
                  <a:pt x="190" y="510"/>
                  <a:pt x="196" y="505"/>
                  <a:pt x="202" y="506"/>
                </a:cubicBezTo>
                <a:cubicBezTo>
                  <a:pt x="208" y="508"/>
                  <a:pt x="212" y="515"/>
                  <a:pt x="212" y="524"/>
                </a:cubicBezTo>
                <a:cubicBezTo>
                  <a:pt x="212" y="524"/>
                  <a:pt x="212" y="524"/>
                  <a:pt x="212" y="524"/>
                </a:cubicBezTo>
                <a:cubicBezTo>
                  <a:pt x="217" y="525"/>
                  <a:pt x="221" y="526"/>
                  <a:pt x="226" y="527"/>
                </a:cubicBezTo>
                <a:cubicBezTo>
                  <a:pt x="226" y="527"/>
                  <a:pt x="226" y="527"/>
                  <a:pt x="226" y="527"/>
                </a:cubicBezTo>
                <a:cubicBezTo>
                  <a:pt x="229" y="518"/>
                  <a:pt x="234" y="512"/>
                  <a:pt x="240" y="512"/>
                </a:cubicBezTo>
                <a:cubicBezTo>
                  <a:pt x="247" y="513"/>
                  <a:pt x="252" y="520"/>
                  <a:pt x="253" y="529"/>
                </a:cubicBezTo>
                <a:cubicBezTo>
                  <a:pt x="253" y="529"/>
                  <a:pt x="253" y="529"/>
                  <a:pt x="253" y="529"/>
                </a:cubicBezTo>
                <a:cubicBezTo>
                  <a:pt x="258" y="530"/>
                  <a:pt x="262" y="530"/>
                  <a:pt x="267" y="530"/>
                </a:cubicBezTo>
                <a:cubicBezTo>
                  <a:pt x="267" y="530"/>
                  <a:pt x="267" y="530"/>
                  <a:pt x="267" y="530"/>
                </a:cubicBezTo>
                <a:cubicBezTo>
                  <a:pt x="268" y="520"/>
                  <a:pt x="273" y="513"/>
                  <a:pt x="279" y="513"/>
                </a:cubicBezTo>
                <a:cubicBezTo>
                  <a:pt x="286" y="512"/>
                  <a:pt x="292" y="519"/>
                  <a:pt x="294" y="528"/>
                </a:cubicBezTo>
                <a:cubicBezTo>
                  <a:pt x="294" y="528"/>
                  <a:pt x="294" y="528"/>
                  <a:pt x="294" y="528"/>
                </a:cubicBezTo>
                <a:cubicBezTo>
                  <a:pt x="299" y="528"/>
                  <a:pt x="303" y="527"/>
                  <a:pt x="308" y="526"/>
                </a:cubicBezTo>
                <a:cubicBezTo>
                  <a:pt x="308" y="526"/>
                  <a:pt x="308" y="526"/>
                  <a:pt x="308" y="526"/>
                </a:cubicBezTo>
                <a:cubicBezTo>
                  <a:pt x="307" y="517"/>
                  <a:pt x="311" y="509"/>
                  <a:pt x="317" y="507"/>
                </a:cubicBezTo>
                <a:cubicBezTo>
                  <a:pt x="324" y="505"/>
                  <a:pt x="331" y="511"/>
                  <a:pt x="335" y="520"/>
                </a:cubicBezTo>
                <a:cubicBezTo>
                  <a:pt x="335" y="520"/>
                  <a:pt x="335" y="520"/>
                  <a:pt x="335" y="520"/>
                </a:cubicBezTo>
                <a:cubicBezTo>
                  <a:pt x="339" y="519"/>
                  <a:pt x="344" y="518"/>
                  <a:pt x="348" y="516"/>
                </a:cubicBezTo>
                <a:cubicBezTo>
                  <a:pt x="348" y="516"/>
                  <a:pt x="348" y="516"/>
                  <a:pt x="348" y="516"/>
                </a:cubicBezTo>
                <a:cubicBezTo>
                  <a:pt x="346" y="507"/>
                  <a:pt x="348" y="498"/>
                  <a:pt x="354" y="495"/>
                </a:cubicBezTo>
                <a:cubicBezTo>
                  <a:pt x="360" y="493"/>
                  <a:pt x="369" y="497"/>
                  <a:pt x="374" y="506"/>
                </a:cubicBezTo>
                <a:cubicBezTo>
                  <a:pt x="378" y="504"/>
                  <a:pt x="382" y="502"/>
                  <a:pt x="386" y="500"/>
                </a:cubicBezTo>
                <a:cubicBezTo>
                  <a:pt x="386" y="500"/>
                  <a:pt x="386" y="500"/>
                  <a:pt x="386" y="500"/>
                </a:cubicBezTo>
                <a:cubicBezTo>
                  <a:pt x="382" y="491"/>
                  <a:pt x="383" y="482"/>
                  <a:pt x="389" y="478"/>
                </a:cubicBezTo>
                <a:cubicBezTo>
                  <a:pt x="395" y="474"/>
                  <a:pt x="406" y="479"/>
                  <a:pt x="413" y="490"/>
                </a:cubicBezTo>
                <a:cubicBezTo>
                  <a:pt x="412" y="489"/>
                  <a:pt x="411" y="487"/>
                  <a:pt x="411" y="486"/>
                </a:cubicBezTo>
                <a:cubicBezTo>
                  <a:pt x="414" y="484"/>
                  <a:pt x="418" y="481"/>
                  <a:pt x="422" y="479"/>
                </a:cubicBezTo>
                <a:cubicBezTo>
                  <a:pt x="422" y="480"/>
                  <a:pt x="423" y="481"/>
                  <a:pt x="424" y="482"/>
                </a:cubicBezTo>
                <a:cubicBezTo>
                  <a:pt x="416" y="473"/>
                  <a:pt x="414" y="461"/>
                  <a:pt x="420" y="455"/>
                </a:cubicBezTo>
                <a:cubicBezTo>
                  <a:pt x="426" y="450"/>
                  <a:pt x="438" y="454"/>
                  <a:pt x="446" y="463"/>
                </a:cubicBezTo>
                <a:cubicBezTo>
                  <a:pt x="445" y="462"/>
                  <a:pt x="444" y="462"/>
                  <a:pt x="444" y="461"/>
                </a:cubicBezTo>
                <a:cubicBezTo>
                  <a:pt x="447" y="458"/>
                  <a:pt x="450" y="455"/>
                  <a:pt x="453" y="451"/>
                </a:cubicBezTo>
                <a:cubicBezTo>
                  <a:pt x="454" y="452"/>
                  <a:pt x="455" y="453"/>
                  <a:pt x="456" y="454"/>
                </a:cubicBezTo>
                <a:cubicBezTo>
                  <a:pt x="446" y="446"/>
                  <a:pt x="443" y="434"/>
                  <a:pt x="448" y="428"/>
                </a:cubicBezTo>
                <a:cubicBezTo>
                  <a:pt x="453" y="422"/>
                  <a:pt x="465" y="424"/>
                  <a:pt x="475" y="432"/>
                </a:cubicBezTo>
                <a:cubicBezTo>
                  <a:pt x="474" y="431"/>
                  <a:pt x="473" y="431"/>
                  <a:pt x="472" y="430"/>
                </a:cubicBezTo>
                <a:cubicBezTo>
                  <a:pt x="475" y="427"/>
                  <a:pt x="478" y="423"/>
                  <a:pt x="480" y="420"/>
                </a:cubicBezTo>
                <a:cubicBezTo>
                  <a:pt x="481" y="420"/>
                  <a:pt x="482" y="421"/>
                  <a:pt x="483" y="421"/>
                </a:cubicBezTo>
                <a:cubicBezTo>
                  <a:pt x="472" y="415"/>
                  <a:pt x="467" y="404"/>
                  <a:pt x="471" y="397"/>
                </a:cubicBezTo>
                <a:cubicBezTo>
                  <a:pt x="475" y="390"/>
                  <a:pt x="487" y="390"/>
                  <a:pt x="498" y="397"/>
                </a:cubicBezTo>
                <a:cubicBezTo>
                  <a:pt x="497" y="396"/>
                  <a:pt x="496" y="396"/>
                  <a:pt x="496" y="396"/>
                </a:cubicBezTo>
                <a:cubicBezTo>
                  <a:pt x="498" y="392"/>
                  <a:pt x="500" y="388"/>
                  <a:pt x="502" y="384"/>
                </a:cubicBezTo>
                <a:cubicBezTo>
                  <a:pt x="492" y="379"/>
                  <a:pt x="486" y="370"/>
                  <a:pt x="488" y="363"/>
                </a:cubicBezTo>
                <a:cubicBezTo>
                  <a:pt x="491" y="356"/>
                  <a:pt x="503" y="353"/>
                  <a:pt x="515" y="358"/>
                </a:cubicBezTo>
                <a:cubicBezTo>
                  <a:pt x="515" y="358"/>
                  <a:pt x="514" y="358"/>
                  <a:pt x="513" y="357"/>
                </a:cubicBezTo>
                <a:cubicBezTo>
                  <a:pt x="515" y="353"/>
                  <a:pt x="516" y="349"/>
                  <a:pt x="518" y="345"/>
                </a:cubicBezTo>
                <a:cubicBezTo>
                  <a:pt x="518" y="345"/>
                  <a:pt x="518" y="345"/>
                  <a:pt x="518" y="345"/>
                </a:cubicBezTo>
                <a:cubicBezTo>
                  <a:pt x="506" y="341"/>
                  <a:pt x="499" y="333"/>
                  <a:pt x="501" y="326"/>
                </a:cubicBezTo>
                <a:cubicBezTo>
                  <a:pt x="502" y="319"/>
                  <a:pt x="513" y="315"/>
                  <a:pt x="525" y="317"/>
                </a:cubicBezTo>
                <a:cubicBezTo>
                  <a:pt x="526" y="313"/>
                  <a:pt x="526" y="308"/>
                  <a:pt x="527" y="304"/>
                </a:cubicBezTo>
                <a:cubicBezTo>
                  <a:pt x="515" y="302"/>
                  <a:pt x="506" y="296"/>
                  <a:pt x="507" y="288"/>
                </a:cubicBezTo>
                <a:cubicBezTo>
                  <a:pt x="507" y="280"/>
                  <a:pt x="518" y="275"/>
                  <a:pt x="530" y="275"/>
                </a:cubicBezTo>
                <a:close/>
                <a:moveTo>
                  <a:pt x="379" y="111"/>
                </a:moveTo>
                <a:cubicBezTo>
                  <a:pt x="396" y="101"/>
                  <a:pt x="422" y="123"/>
                  <a:pt x="442" y="154"/>
                </a:cubicBezTo>
                <a:cubicBezTo>
                  <a:pt x="462" y="185"/>
                  <a:pt x="470" y="219"/>
                  <a:pt x="453" y="230"/>
                </a:cubicBezTo>
                <a:cubicBezTo>
                  <a:pt x="439" y="239"/>
                  <a:pt x="403" y="219"/>
                  <a:pt x="385" y="190"/>
                </a:cubicBezTo>
                <a:cubicBezTo>
                  <a:pt x="366" y="160"/>
                  <a:pt x="364" y="120"/>
                  <a:pt x="379" y="111"/>
                </a:cubicBezTo>
                <a:close/>
                <a:moveTo>
                  <a:pt x="258" y="57"/>
                </a:moveTo>
                <a:cubicBezTo>
                  <a:pt x="295" y="55"/>
                  <a:pt x="328" y="65"/>
                  <a:pt x="329" y="85"/>
                </a:cubicBezTo>
                <a:cubicBezTo>
                  <a:pt x="329" y="101"/>
                  <a:pt x="295" y="122"/>
                  <a:pt x="260" y="124"/>
                </a:cubicBezTo>
                <a:cubicBezTo>
                  <a:pt x="225" y="125"/>
                  <a:pt x="189" y="107"/>
                  <a:pt x="189" y="90"/>
                </a:cubicBezTo>
                <a:cubicBezTo>
                  <a:pt x="188" y="70"/>
                  <a:pt x="221" y="58"/>
                  <a:pt x="258" y="57"/>
                </a:cubicBezTo>
                <a:close/>
                <a:moveTo>
                  <a:pt x="81" y="167"/>
                </a:moveTo>
                <a:cubicBezTo>
                  <a:pt x="98" y="135"/>
                  <a:pt x="123" y="111"/>
                  <a:pt x="141" y="120"/>
                </a:cubicBezTo>
                <a:cubicBezTo>
                  <a:pt x="156" y="128"/>
                  <a:pt x="157" y="168"/>
                  <a:pt x="140" y="199"/>
                </a:cubicBezTo>
                <a:cubicBezTo>
                  <a:pt x="124" y="230"/>
                  <a:pt x="90" y="251"/>
                  <a:pt x="76" y="244"/>
                </a:cubicBezTo>
                <a:cubicBezTo>
                  <a:pt x="58" y="234"/>
                  <a:pt x="64" y="200"/>
                  <a:pt x="81" y="167"/>
                </a:cubicBezTo>
                <a:close/>
                <a:moveTo>
                  <a:pt x="152" y="419"/>
                </a:moveTo>
                <a:cubicBezTo>
                  <a:pt x="135" y="429"/>
                  <a:pt x="108" y="407"/>
                  <a:pt x="89" y="376"/>
                </a:cubicBezTo>
                <a:cubicBezTo>
                  <a:pt x="69" y="344"/>
                  <a:pt x="61" y="311"/>
                  <a:pt x="78" y="300"/>
                </a:cubicBezTo>
                <a:cubicBezTo>
                  <a:pt x="92" y="291"/>
                  <a:pt x="127" y="310"/>
                  <a:pt x="146" y="340"/>
                </a:cubicBezTo>
                <a:cubicBezTo>
                  <a:pt x="164" y="370"/>
                  <a:pt x="166" y="410"/>
                  <a:pt x="152" y="419"/>
                </a:cubicBezTo>
                <a:close/>
                <a:moveTo>
                  <a:pt x="273" y="473"/>
                </a:moveTo>
                <a:cubicBezTo>
                  <a:pt x="236" y="475"/>
                  <a:pt x="203" y="465"/>
                  <a:pt x="202" y="445"/>
                </a:cubicBezTo>
                <a:cubicBezTo>
                  <a:pt x="201" y="428"/>
                  <a:pt x="236" y="407"/>
                  <a:pt x="270" y="406"/>
                </a:cubicBezTo>
                <a:cubicBezTo>
                  <a:pt x="305" y="405"/>
                  <a:pt x="341" y="423"/>
                  <a:pt x="342" y="440"/>
                </a:cubicBezTo>
                <a:cubicBezTo>
                  <a:pt x="342" y="460"/>
                  <a:pt x="310" y="472"/>
                  <a:pt x="273" y="473"/>
                </a:cubicBezTo>
                <a:close/>
                <a:moveTo>
                  <a:pt x="332" y="372"/>
                </a:moveTo>
                <a:cubicBezTo>
                  <a:pt x="273" y="409"/>
                  <a:pt x="195" y="391"/>
                  <a:pt x="158" y="332"/>
                </a:cubicBezTo>
                <a:cubicBezTo>
                  <a:pt x="121" y="273"/>
                  <a:pt x="139" y="195"/>
                  <a:pt x="198" y="158"/>
                </a:cubicBezTo>
                <a:cubicBezTo>
                  <a:pt x="257" y="121"/>
                  <a:pt x="335" y="139"/>
                  <a:pt x="372" y="198"/>
                </a:cubicBezTo>
                <a:cubicBezTo>
                  <a:pt x="409" y="257"/>
                  <a:pt x="391" y="335"/>
                  <a:pt x="332" y="372"/>
                </a:cubicBezTo>
                <a:close/>
                <a:moveTo>
                  <a:pt x="450" y="362"/>
                </a:moveTo>
                <a:cubicBezTo>
                  <a:pt x="432" y="395"/>
                  <a:pt x="407" y="419"/>
                  <a:pt x="390" y="410"/>
                </a:cubicBezTo>
                <a:cubicBezTo>
                  <a:pt x="375" y="402"/>
                  <a:pt x="374" y="362"/>
                  <a:pt x="390" y="331"/>
                </a:cubicBezTo>
                <a:cubicBezTo>
                  <a:pt x="406" y="300"/>
                  <a:pt x="440" y="278"/>
                  <a:pt x="455" y="286"/>
                </a:cubicBezTo>
                <a:cubicBezTo>
                  <a:pt x="473" y="296"/>
                  <a:pt x="467" y="330"/>
                  <a:pt x="450" y="362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14318045" y="13197986"/>
            <a:ext cx="2906" cy="2908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8" name="Freeform 15"/>
          <p:cNvSpPr>
            <a:spLocks noEditPoints="1"/>
          </p:cNvSpPr>
          <p:nvPr/>
        </p:nvSpPr>
        <p:spPr bwMode="auto">
          <a:xfrm rot="21096381">
            <a:off x="9145884" y="7202600"/>
            <a:ext cx="3657600" cy="3657600"/>
          </a:xfrm>
          <a:custGeom>
            <a:avLst/>
            <a:gdLst>
              <a:gd name="T0" fmla="*/ 506 w 535"/>
              <a:gd name="T1" fmla="*/ 324 h 537"/>
              <a:gd name="T2" fmla="*/ 513 w 535"/>
              <a:gd name="T3" fmla="*/ 279 h 537"/>
              <a:gd name="T4" fmla="*/ 510 w 535"/>
              <a:gd name="T5" fmla="*/ 234 h 537"/>
              <a:gd name="T6" fmla="*/ 500 w 535"/>
              <a:gd name="T7" fmla="*/ 190 h 537"/>
              <a:gd name="T8" fmla="*/ 482 w 535"/>
              <a:gd name="T9" fmla="*/ 149 h 537"/>
              <a:gd name="T10" fmla="*/ 456 w 535"/>
              <a:gd name="T11" fmla="*/ 112 h 537"/>
              <a:gd name="T12" fmla="*/ 424 w 535"/>
              <a:gd name="T13" fmla="*/ 80 h 537"/>
              <a:gd name="T14" fmla="*/ 387 w 535"/>
              <a:gd name="T15" fmla="*/ 54 h 537"/>
              <a:gd name="T16" fmla="*/ 345 w 535"/>
              <a:gd name="T17" fmla="*/ 36 h 537"/>
              <a:gd name="T18" fmla="*/ 301 w 535"/>
              <a:gd name="T19" fmla="*/ 26 h 537"/>
              <a:gd name="T20" fmla="*/ 256 w 535"/>
              <a:gd name="T21" fmla="*/ 24 h 537"/>
              <a:gd name="T22" fmla="*/ 211 w 535"/>
              <a:gd name="T23" fmla="*/ 30 h 537"/>
              <a:gd name="T24" fmla="*/ 168 w 535"/>
              <a:gd name="T25" fmla="*/ 44 h 537"/>
              <a:gd name="T26" fmla="*/ 129 w 535"/>
              <a:gd name="T27" fmla="*/ 66 h 537"/>
              <a:gd name="T28" fmla="*/ 94 w 535"/>
              <a:gd name="T29" fmla="*/ 95 h 537"/>
              <a:gd name="T30" fmla="*/ 65 w 535"/>
              <a:gd name="T31" fmla="*/ 130 h 537"/>
              <a:gd name="T32" fmla="*/ 43 w 535"/>
              <a:gd name="T33" fmla="*/ 170 h 537"/>
              <a:gd name="T34" fmla="*/ 29 w 535"/>
              <a:gd name="T35" fmla="*/ 213 h 537"/>
              <a:gd name="T36" fmla="*/ 23 w 535"/>
              <a:gd name="T37" fmla="*/ 258 h 537"/>
              <a:gd name="T38" fmla="*/ 25 w 535"/>
              <a:gd name="T39" fmla="*/ 303 h 537"/>
              <a:gd name="T40" fmla="*/ 35 w 535"/>
              <a:gd name="T41" fmla="*/ 347 h 537"/>
              <a:gd name="T42" fmla="*/ 54 w 535"/>
              <a:gd name="T43" fmla="*/ 388 h 537"/>
              <a:gd name="T44" fmla="*/ 79 w 535"/>
              <a:gd name="T45" fmla="*/ 425 h 537"/>
              <a:gd name="T46" fmla="*/ 111 w 535"/>
              <a:gd name="T47" fmla="*/ 457 h 537"/>
              <a:gd name="T48" fmla="*/ 149 w 535"/>
              <a:gd name="T49" fmla="*/ 483 h 537"/>
              <a:gd name="T50" fmla="*/ 190 w 535"/>
              <a:gd name="T51" fmla="*/ 501 h 537"/>
              <a:gd name="T52" fmla="*/ 234 w 535"/>
              <a:gd name="T53" fmla="*/ 511 h 537"/>
              <a:gd name="T54" fmla="*/ 279 w 535"/>
              <a:gd name="T55" fmla="*/ 513 h 537"/>
              <a:gd name="T56" fmla="*/ 324 w 535"/>
              <a:gd name="T57" fmla="*/ 507 h 537"/>
              <a:gd name="T58" fmla="*/ 367 w 535"/>
              <a:gd name="T59" fmla="*/ 493 h 537"/>
              <a:gd name="T60" fmla="*/ 407 w 535"/>
              <a:gd name="T61" fmla="*/ 471 h 537"/>
              <a:gd name="T62" fmla="*/ 441 w 535"/>
              <a:gd name="T63" fmla="*/ 442 h 537"/>
              <a:gd name="T64" fmla="*/ 470 w 535"/>
              <a:gd name="T65" fmla="*/ 407 h 537"/>
              <a:gd name="T66" fmla="*/ 492 w 535"/>
              <a:gd name="T67" fmla="*/ 367 h 537"/>
              <a:gd name="T68" fmla="*/ 427 w 535"/>
              <a:gd name="T69" fmla="*/ 123 h 537"/>
              <a:gd name="T70" fmla="*/ 384 w 535"/>
              <a:gd name="T71" fmla="*/ 122 h 537"/>
              <a:gd name="T72" fmla="*/ 275 w 535"/>
              <a:gd name="T73" fmla="*/ 113 h 537"/>
              <a:gd name="T74" fmla="*/ 123 w 535"/>
              <a:gd name="T75" fmla="*/ 110 h 537"/>
              <a:gd name="T76" fmla="*/ 121 w 535"/>
              <a:gd name="T77" fmla="*/ 152 h 537"/>
              <a:gd name="T78" fmla="*/ 53 w 535"/>
              <a:gd name="T79" fmla="*/ 259 h 537"/>
              <a:gd name="T80" fmla="*/ 81 w 535"/>
              <a:gd name="T81" fmla="*/ 290 h 537"/>
              <a:gd name="T82" fmla="*/ 111 w 535"/>
              <a:gd name="T83" fmla="*/ 371 h 537"/>
              <a:gd name="T84" fmla="*/ 258 w 535"/>
              <a:gd name="T85" fmla="*/ 483 h 537"/>
              <a:gd name="T86" fmla="*/ 289 w 535"/>
              <a:gd name="T87" fmla="*/ 455 h 537"/>
              <a:gd name="T88" fmla="*/ 176 w 535"/>
              <a:gd name="T89" fmla="*/ 168 h 537"/>
              <a:gd name="T90" fmla="*/ 167 w 535"/>
              <a:gd name="T91" fmla="*/ 361 h 537"/>
              <a:gd name="T92" fmla="*/ 372 w 535"/>
              <a:gd name="T93" fmla="*/ 383 h 537"/>
              <a:gd name="T94" fmla="*/ 451 w 535"/>
              <a:gd name="T95" fmla="*/ 307 h 537"/>
              <a:gd name="T96" fmla="*/ 483 w 535"/>
              <a:gd name="T97" fmla="*/ 278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5" h="537">
                <a:moveTo>
                  <a:pt x="500" y="346"/>
                </a:moveTo>
                <a:cubicBezTo>
                  <a:pt x="526" y="342"/>
                  <a:pt x="526" y="342"/>
                  <a:pt x="526" y="342"/>
                </a:cubicBezTo>
                <a:cubicBezTo>
                  <a:pt x="506" y="324"/>
                  <a:pt x="506" y="324"/>
                  <a:pt x="506" y="324"/>
                </a:cubicBezTo>
                <a:cubicBezTo>
                  <a:pt x="499" y="318"/>
                  <a:pt x="501" y="306"/>
                  <a:pt x="510" y="302"/>
                </a:cubicBezTo>
                <a:cubicBezTo>
                  <a:pt x="535" y="293"/>
                  <a:pt x="535" y="293"/>
                  <a:pt x="535" y="293"/>
                </a:cubicBezTo>
                <a:cubicBezTo>
                  <a:pt x="513" y="279"/>
                  <a:pt x="513" y="279"/>
                  <a:pt x="513" y="279"/>
                </a:cubicBezTo>
                <a:cubicBezTo>
                  <a:pt x="504" y="274"/>
                  <a:pt x="504" y="262"/>
                  <a:pt x="513" y="257"/>
                </a:cubicBezTo>
                <a:cubicBezTo>
                  <a:pt x="535" y="244"/>
                  <a:pt x="535" y="244"/>
                  <a:pt x="535" y="244"/>
                </a:cubicBezTo>
                <a:cubicBezTo>
                  <a:pt x="510" y="234"/>
                  <a:pt x="510" y="234"/>
                  <a:pt x="510" y="234"/>
                </a:cubicBezTo>
                <a:cubicBezTo>
                  <a:pt x="501" y="231"/>
                  <a:pt x="499" y="219"/>
                  <a:pt x="506" y="212"/>
                </a:cubicBezTo>
                <a:cubicBezTo>
                  <a:pt x="526" y="195"/>
                  <a:pt x="526" y="195"/>
                  <a:pt x="526" y="195"/>
                </a:cubicBezTo>
                <a:cubicBezTo>
                  <a:pt x="500" y="190"/>
                  <a:pt x="500" y="190"/>
                  <a:pt x="500" y="190"/>
                </a:cubicBezTo>
                <a:cubicBezTo>
                  <a:pt x="490" y="189"/>
                  <a:pt x="486" y="177"/>
                  <a:pt x="492" y="170"/>
                </a:cubicBezTo>
                <a:cubicBezTo>
                  <a:pt x="508" y="149"/>
                  <a:pt x="508" y="149"/>
                  <a:pt x="508" y="149"/>
                </a:cubicBezTo>
                <a:cubicBezTo>
                  <a:pt x="482" y="149"/>
                  <a:pt x="482" y="149"/>
                  <a:pt x="482" y="149"/>
                </a:cubicBezTo>
                <a:cubicBezTo>
                  <a:pt x="472" y="149"/>
                  <a:pt x="465" y="139"/>
                  <a:pt x="470" y="130"/>
                </a:cubicBezTo>
                <a:cubicBezTo>
                  <a:pt x="482" y="106"/>
                  <a:pt x="482" y="106"/>
                  <a:pt x="482" y="106"/>
                </a:cubicBezTo>
                <a:cubicBezTo>
                  <a:pt x="456" y="112"/>
                  <a:pt x="456" y="112"/>
                  <a:pt x="456" y="112"/>
                </a:cubicBezTo>
                <a:cubicBezTo>
                  <a:pt x="446" y="114"/>
                  <a:pt x="438" y="105"/>
                  <a:pt x="441" y="95"/>
                </a:cubicBezTo>
                <a:cubicBezTo>
                  <a:pt x="449" y="70"/>
                  <a:pt x="449" y="70"/>
                  <a:pt x="449" y="70"/>
                </a:cubicBezTo>
                <a:cubicBezTo>
                  <a:pt x="424" y="80"/>
                  <a:pt x="424" y="80"/>
                  <a:pt x="424" y="80"/>
                </a:cubicBezTo>
                <a:cubicBezTo>
                  <a:pt x="415" y="83"/>
                  <a:pt x="405" y="76"/>
                  <a:pt x="406" y="66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387" y="54"/>
                  <a:pt x="387" y="54"/>
                  <a:pt x="387" y="54"/>
                </a:cubicBezTo>
                <a:cubicBezTo>
                  <a:pt x="378" y="59"/>
                  <a:pt x="367" y="54"/>
                  <a:pt x="367" y="44"/>
                </a:cubicBezTo>
                <a:cubicBezTo>
                  <a:pt x="365" y="18"/>
                  <a:pt x="365" y="18"/>
                  <a:pt x="365" y="18"/>
                </a:cubicBezTo>
                <a:cubicBezTo>
                  <a:pt x="345" y="36"/>
                  <a:pt x="345" y="36"/>
                  <a:pt x="345" y="36"/>
                </a:cubicBezTo>
                <a:cubicBezTo>
                  <a:pt x="338" y="43"/>
                  <a:pt x="326" y="39"/>
                  <a:pt x="324" y="30"/>
                </a:cubicBezTo>
                <a:cubicBezTo>
                  <a:pt x="317" y="4"/>
                  <a:pt x="317" y="4"/>
                  <a:pt x="317" y="4"/>
                </a:cubicBezTo>
                <a:cubicBezTo>
                  <a:pt x="301" y="26"/>
                  <a:pt x="301" y="26"/>
                  <a:pt x="301" y="26"/>
                </a:cubicBezTo>
                <a:cubicBezTo>
                  <a:pt x="295" y="34"/>
                  <a:pt x="283" y="32"/>
                  <a:pt x="279" y="24"/>
                </a:cubicBezTo>
                <a:cubicBezTo>
                  <a:pt x="267" y="0"/>
                  <a:pt x="267" y="0"/>
                  <a:pt x="267" y="0"/>
                </a:cubicBezTo>
                <a:cubicBezTo>
                  <a:pt x="256" y="24"/>
                  <a:pt x="256" y="24"/>
                  <a:pt x="256" y="24"/>
                </a:cubicBezTo>
                <a:cubicBezTo>
                  <a:pt x="252" y="32"/>
                  <a:pt x="240" y="34"/>
                  <a:pt x="234" y="26"/>
                </a:cubicBezTo>
                <a:cubicBezTo>
                  <a:pt x="218" y="4"/>
                  <a:pt x="218" y="4"/>
                  <a:pt x="218" y="4"/>
                </a:cubicBezTo>
                <a:cubicBezTo>
                  <a:pt x="211" y="30"/>
                  <a:pt x="211" y="30"/>
                  <a:pt x="211" y="30"/>
                </a:cubicBezTo>
                <a:cubicBezTo>
                  <a:pt x="209" y="39"/>
                  <a:pt x="197" y="43"/>
                  <a:pt x="190" y="36"/>
                </a:cubicBezTo>
                <a:cubicBezTo>
                  <a:pt x="170" y="18"/>
                  <a:pt x="170" y="18"/>
                  <a:pt x="170" y="18"/>
                </a:cubicBezTo>
                <a:cubicBezTo>
                  <a:pt x="168" y="44"/>
                  <a:pt x="168" y="44"/>
                  <a:pt x="168" y="44"/>
                </a:cubicBezTo>
                <a:cubicBezTo>
                  <a:pt x="168" y="54"/>
                  <a:pt x="157" y="60"/>
                  <a:pt x="148" y="54"/>
                </a:cubicBezTo>
                <a:cubicBezTo>
                  <a:pt x="126" y="40"/>
                  <a:pt x="126" y="40"/>
                  <a:pt x="126" y="40"/>
                </a:cubicBezTo>
                <a:cubicBezTo>
                  <a:pt x="129" y="66"/>
                  <a:pt x="129" y="66"/>
                  <a:pt x="129" y="66"/>
                </a:cubicBezTo>
                <a:cubicBezTo>
                  <a:pt x="130" y="76"/>
                  <a:pt x="120" y="84"/>
                  <a:pt x="111" y="80"/>
                </a:cubicBezTo>
                <a:cubicBezTo>
                  <a:pt x="86" y="70"/>
                  <a:pt x="86" y="70"/>
                  <a:pt x="86" y="70"/>
                </a:cubicBezTo>
                <a:cubicBezTo>
                  <a:pt x="94" y="95"/>
                  <a:pt x="94" y="95"/>
                  <a:pt x="94" y="95"/>
                </a:cubicBezTo>
                <a:cubicBezTo>
                  <a:pt x="97" y="105"/>
                  <a:pt x="89" y="114"/>
                  <a:pt x="79" y="112"/>
                </a:cubicBezTo>
                <a:cubicBezTo>
                  <a:pt x="53" y="107"/>
                  <a:pt x="53" y="107"/>
                  <a:pt x="53" y="107"/>
                </a:cubicBezTo>
                <a:cubicBezTo>
                  <a:pt x="65" y="130"/>
                  <a:pt x="65" y="130"/>
                  <a:pt x="65" y="130"/>
                </a:cubicBezTo>
                <a:cubicBezTo>
                  <a:pt x="70" y="139"/>
                  <a:pt x="63" y="149"/>
                  <a:pt x="54" y="149"/>
                </a:cubicBezTo>
                <a:cubicBezTo>
                  <a:pt x="27" y="149"/>
                  <a:pt x="27" y="149"/>
                  <a:pt x="27" y="149"/>
                </a:cubicBezTo>
                <a:cubicBezTo>
                  <a:pt x="43" y="170"/>
                  <a:pt x="43" y="170"/>
                  <a:pt x="43" y="170"/>
                </a:cubicBezTo>
                <a:cubicBezTo>
                  <a:pt x="49" y="178"/>
                  <a:pt x="45" y="189"/>
                  <a:pt x="35" y="191"/>
                </a:cubicBezTo>
                <a:cubicBezTo>
                  <a:pt x="9" y="195"/>
                  <a:pt x="9" y="195"/>
                  <a:pt x="9" y="195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6" y="219"/>
                  <a:pt x="34" y="231"/>
                  <a:pt x="25" y="235"/>
                </a:cubicBezTo>
                <a:cubicBezTo>
                  <a:pt x="0" y="244"/>
                  <a:pt x="0" y="244"/>
                  <a:pt x="0" y="244"/>
                </a:cubicBezTo>
                <a:cubicBezTo>
                  <a:pt x="23" y="258"/>
                  <a:pt x="23" y="258"/>
                  <a:pt x="23" y="258"/>
                </a:cubicBezTo>
                <a:cubicBezTo>
                  <a:pt x="31" y="263"/>
                  <a:pt x="31" y="275"/>
                  <a:pt x="23" y="280"/>
                </a:cubicBezTo>
                <a:cubicBezTo>
                  <a:pt x="0" y="294"/>
                  <a:pt x="0" y="294"/>
                  <a:pt x="0" y="294"/>
                </a:cubicBezTo>
                <a:cubicBezTo>
                  <a:pt x="25" y="303"/>
                  <a:pt x="25" y="303"/>
                  <a:pt x="25" y="303"/>
                </a:cubicBezTo>
                <a:cubicBezTo>
                  <a:pt x="34" y="306"/>
                  <a:pt x="36" y="318"/>
                  <a:pt x="29" y="325"/>
                </a:cubicBezTo>
                <a:cubicBezTo>
                  <a:pt x="9" y="342"/>
                  <a:pt x="9" y="342"/>
                  <a:pt x="9" y="342"/>
                </a:cubicBezTo>
                <a:cubicBezTo>
                  <a:pt x="35" y="347"/>
                  <a:pt x="35" y="347"/>
                  <a:pt x="35" y="347"/>
                </a:cubicBezTo>
                <a:cubicBezTo>
                  <a:pt x="45" y="348"/>
                  <a:pt x="49" y="360"/>
                  <a:pt x="43" y="368"/>
                </a:cubicBezTo>
                <a:cubicBezTo>
                  <a:pt x="27" y="389"/>
                  <a:pt x="27" y="389"/>
                  <a:pt x="27" y="389"/>
                </a:cubicBezTo>
                <a:cubicBezTo>
                  <a:pt x="54" y="388"/>
                  <a:pt x="54" y="388"/>
                  <a:pt x="54" y="388"/>
                </a:cubicBezTo>
                <a:cubicBezTo>
                  <a:pt x="63" y="388"/>
                  <a:pt x="70" y="398"/>
                  <a:pt x="65" y="407"/>
                </a:cubicBezTo>
                <a:cubicBezTo>
                  <a:pt x="53" y="431"/>
                  <a:pt x="53" y="431"/>
                  <a:pt x="53" y="431"/>
                </a:cubicBezTo>
                <a:cubicBezTo>
                  <a:pt x="79" y="425"/>
                  <a:pt x="79" y="425"/>
                  <a:pt x="79" y="425"/>
                </a:cubicBezTo>
                <a:cubicBezTo>
                  <a:pt x="89" y="424"/>
                  <a:pt x="97" y="432"/>
                  <a:pt x="94" y="442"/>
                </a:cubicBezTo>
                <a:cubicBezTo>
                  <a:pt x="87" y="467"/>
                  <a:pt x="87" y="467"/>
                  <a:pt x="87" y="467"/>
                </a:cubicBezTo>
                <a:cubicBezTo>
                  <a:pt x="111" y="457"/>
                  <a:pt x="111" y="457"/>
                  <a:pt x="111" y="457"/>
                </a:cubicBezTo>
                <a:cubicBezTo>
                  <a:pt x="120" y="454"/>
                  <a:pt x="130" y="461"/>
                  <a:pt x="129" y="471"/>
                </a:cubicBezTo>
                <a:cubicBezTo>
                  <a:pt x="126" y="497"/>
                  <a:pt x="126" y="497"/>
                  <a:pt x="126" y="497"/>
                </a:cubicBezTo>
                <a:cubicBezTo>
                  <a:pt x="149" y="483"/>
                  <a:pt x="149" y="483"/>
                  <a:pt x="149" y="483"/>
                </a:cubicBezTo>
                <a:cubicBezTo>
                  <a:pt x="157" y="478"/>
                  <a:pt x="168" y="483"/>
                  <a:pt x="169" y="493"/>
                </a:cubicBezTo>
                <a:cubicBezTo>
                  <a:pt x="171" y="519"/>
                  <a:pt x="171" y="519"/>
                  <a:pt x="171" y="519"/>
                </a:cubicBezTo>
                <a:cubicBezTo>
                  <a:pt x="190" y="501"/>
                  <a:pt x="190" y="501"/>
                  <a:pt x="190" y="501"/>
                </a:cubicBezTo>
                <a:cubicBezTo>
                  <a:pt x="197" y="494"/>
                  <a:pt x="209" y="498"/>
                  <a:pt x="212" y="507"/>
                </a:cubicBezTo>
                <a:cubicBezTo>
                  <a:pt x="218" y="533"/>
                  <a:pt x="218" y="533"/>
                  <a:pt x="218" y="533"/>
                </a:cubicBezTo>
                <a:cubicBezTo>
                  <a:pt x="234" y="511"/>
                  <a:pt x="234" y="511"/>
                  <a:pt x="234" y="511"/>
                </a:cubicBezTo>
                <a:cubicBezTo>
                  <a:pt x="240" y="504"/>
                  <a:pt x="252" y="505"/>
                  <a:pt x="256" y="513"/>
                </a:cubicBezTo>
                <a:cubicBezTo>
                  <a:pt x="268" y="537"/>
                  <a:pt x="268" y="537"/>
                  <a:pt x="268" y="537"/>
                </a:cubicBezTo>
                <a:cubicBezTo>
                  <a:pt x="279" y="513"/>
                  <a:pt x="279" y="513"/>
                  <a:pt x="279" y="513"/>
                </a:cubicBezTo>
                <a:cubicBezTo>
                  <a:pt x="284" y="505"/>
                  <a:pt x="296" y="503"/>
                  <a:pt x="302" y="511"/>
                </a:cubicBezTo>
                <a:cubicBezTo>
                  <a:pt x="317" y="533"/>
                  <a:pt x="317" y="533"/>
                  <a:pt x="317" y="533"/>
                </a:cubicBezTo>
                <a:cubicBezTo>
                  <a:pt x="324" y="507"/>
                  <a:pt x="324" y="507"/>
                  <a:pt x="324" y="507"/>
                </a:cubicBezTo>
                <a:cubicBezTo>
                  <a:pt x="327" y="498"/>
                  <a:pt x="338" y="494"/>
                  <a:pt x="346" y="501"/>
                </a:cubicBezTo>
                <a:cubicBezTo>
                  <a:pt x="365" y="519"/>
                  <a:pt x="365" y="519"/>
                  <a:pt x="365" y="519"/>
                </a:cubicBezTo>
                <a:cubicBezTo>
                  <a:pt x="367" y="493"/>
                  <a:pt x="367" y="493"/>
                  <a:pt x="367" y="493"/>
                </a:cubicBezTo>
                <a:cubicBezTo>
                  <a:pt x="368" y="483"/>
                  <a:pt x="379" y="477"/>
                  <a:pt x="387" y="483"/>
                </a:cubicBezTo>
                <a:cubicBezTo>
                  <a:pt x="409" y="497"/>
                  <a:pt x="409" y="497"/>
                  <a:pt x="409" y="497"/>
                </a:cubicBezTo>
                <a:cubicBezTo>
                  <a:pt x="407" y="471"/>
                  <a:pt x="407" y="471"/>
                  <a:pt x="407" y="471"/>
                </a:cubicBezTo>
                <a:cubicBezTo>
                  <a:pt x="406" y="461"/>
                  <a:pt x="415" y="454"/>
                  <a:pt x="424" y="457"/>
                </a:cubicBezTo>
                <a:cubicBezTo>
                  <a:pt x="449" y="467"/>
                  <a:pt x="449" y="467"/>
                  <a:pt x="449" y="467"/>
                </a:cubicBezTo>
                <a:cubicBezTo>
                  <a:pt x="441" y="442"/>
                  <a:pt x="441" y="442"/>
                  <a:pt x="441" y="442"/>
                </a:cubicBezTo>
                <a:cubicBezTo>
                  <a:pt x="438" y="432"/>
                  <a:pt x="447" y="423"/>
                  <a:pt x="456" y="425"/>
                </a:cubicBezTo>
                <a:cubicBezTo>
                  <a:pt x="482" y="430"/>
                  <a:pt x="482" y="430"/>
                  <a:pt x="482" y="430"/>
                </a:cubicBezTo>
                <a:cubicBezTo>
                  <a:pt x="470" y="407"/>
                  <a:pt x="470" y="407"/>
                  <a:pt x="470" y="407"/>
                </a:cubicBezTo>
                <a:cubicBezTo>
                  <a:pt x="466" y="398"/>
                  <a:pt x="472" y="388"/>
                  <a:pt x="482" y="388"/>
                </a:cubicBezTo>
                <a:cubicBezTo>
                  <a:pt x="508" y="388"/>
                  <a:pt x="508" y="388"/>
                  <a:pt x="508" y="388"/>
                </a:cubicBezTo>
                <a:cubicBezTo>
                  <a:pt x="492" y="367"/>
                  <a:pt x="492" y="367"/>
                  <a:pt x="492" y="367"/>
                </a:cubicBezTo>
                <a:cubicBezTo>
                  <a:pt x="486" y="359"/>
                  <a:pt x="490" y="348"/>
                  <a:pt x="500" y="346"/>
                </a:cubicBezTo>
                <a:close/>
                <a:moveTo>
                  <a:pt x="384" y="122"/>
                </a:moveTo>
                <a:cubicBezTo>
                  <a:pt x="397" y="110"/>
                  <a:pt x="415" y="111"/>
                  <a:pt x="427" y="123"/>
                </a:cubicBezTo>
                <a:cubicBezTo>
                  <a:pt x="438" y="136"/>
                  <a:pt x="437" y="155"/>
                  <a:pt x="425" y="166"/>
                </a:cubicBezTo>
                <a:cubicBezTo>
                  <a:pt x="412" y="177"/>
                  <a:pt x="394" y="176"/>
                  <a:pt x="382" y="164"/>
                </a:cubicBezTo>
                <a:cubicBezTo>
                  <a:pt x="371" y="152"/>
                  <a:pt x="372" y="133"/>
                  <a:pt x="384" y="122"/>
                </a:cubicBezTo>
                <a:close/>
                <a:moveTo>
                  <a:pt x="277" y="54"/>
                </a:moveTo>
                <a:cubicBezTo>
                  <a:pt x="294" y="54"/>
                  <a:pt x="307" y="68"/>
                  <a:pt x="306" y="85"/>
                </a:cubicBezTo>
                <a:cubicBezTo>
                  <a:pt x="305" y="101"/>
                  <a:pt x="291" y="114"/>
                  <a:pt x="275" y="113"/>
                </a:cubicBezTo>
                <a:cubicBezTo>
                  <a:pt x="258" y="113"/>
                  <a:pt x="246" y="99"/>
                  <a:pt x="246" y="82"/>
                </a:cubicBezTo>
                <a:cubicBezTo>
                  <a:pt x="247" y="66"/>
                  <a:pt x="261" y="53"/>
                  <a:pt x="277" y="54"/>
                </a:cubicBezTo>
                <a:close/>
                <a:moveTo>
                  <a:pt x="123" y="110"/>
                </a:moveTo>
                <a:cubicBezTo>
                  <a:pt x="135" y="99"/>
                  <a:pt x="154" y="99"/>
                  <a:pt x="165" y="112"/>
                </a:cubicBezTo>
                <a:cubicBezTo>
                  <a:pt x="176" y="124"/>
                  <a:pt x="175" y="143"/>
                  <a:pt x="163" y="154"/>
                </a:cubicBezTo>
                <a:cubicBezTo>
                  <a:pt x="151" y="165"/>
                  <a:pt x="132" y="164"/>
                  <a:pt x="121" y="152"/>
                </a:cubicBezTo>
                <a:cubicBezTo>
                  <a:pt x="110" y="140"/>
                  <a:pt x="110" y="121"/>
                  <a:pt x="123" y="110"/>
                </a:cubicBezTo>
                <a:close/>
                <a:moveTo>
                  <a:pt x="81" y="290"/>
                </a:moveTo>
                <a:cubicBezTo>
                  <a:pt x="65" y="289"/>
                  <a:pt x="52" y="275"/>
                  <a:pt x="53" y="259"/>
                </a:cubicBezTo>
                <a:cubicBezTo>
                  <a:pt x="53" y="242"/>
                  <a:pt x="67" y="230"/>
                  <a:pt x="84" y="230"/>
                </a:cubicBezTo>
                <a:cubicBezTo>
                  <a:pt x="100" y="231"/>
                  <a:pt x="113" y="245"/>
                  <a:pt x="112" y="261"/>
                </a:cubicBezTo>
                <a:cubicBezTo>
                  <a:pt x="112" y="278"/>
                  <a:pt x="98" y="291"/>
                  <a:pt x="81" y="290"/>
                </a:cubicBezTo>
                <a:close/>
                <a:moveTo>
                  <a:pt x="151" y="416"/>
                </a:moveTo>
                <a:cubicBezTo>
                  <a:pt x="139" y="427"/>
                  <a:pt x="120" y="426"/>
                  <a:pt x="109" y="414"/>
                </a:cubicBezTo>
                <a:cubicBezTo>
                  <a:pt x="98" y="401"/>
                  <a:pt x="99" y="383"/>
                  <a:pt x="111" y="371"/>
                </a:cubicBezTo>
                <a:cubicBezTo>
                  <a:pt x="123" y="360"/>
                  <a:pt x="142" y="361"/>
                  <a:pt x="153" y="373"/>
                </a:cubicBezTo>
                <a:cubicBezTo>
                  <a:pt x="164" y="386"/>
                  <a:pt x="163" y="404"/>
                  <a:pt x="151" y="416"/>
                </a:cubicBezTo>
                <a:close/>
                <a:moveTo>
                  <a:pt x="258" y="483"/>
                </a:moveTo>
                <a:cubicBezTo>
                  <a:pt x="241" y="483"/>
                  <a:pt x="229" y="469"/>
                  <a:pt x="229" y="452"/>
                </a:cubicBezTo>
                <a:cubicBezTo>
                  <a:pt x="230" y="436"/>
                  <a:pt x="244" y="423"/>
                  <a:pt x="261" y="424"/>
                </a:cubicBezTo>
                <a:cubicBezTo>
                  <a:pt x="277" y="425"/>
                  <a:pt x="290" y="439"/>
                  <a:pt x="289" y="455"/>
                </a:cubicBezTo>
                <a:cubicBezTo>
                  <a:pt x="288" y="471"/>
                  <a:pt x="274" y="484"/>
                  <a:pt x="258" y="483"/>
                </a:cubicBezTo>
                <a:close/>
                <a:moveTo>
                  <a:pt x="167" y="361"/>
                </a:moveTo>
                <a:cubicBezTo>
                  <a:pt x="116" y="305"/>
                  <a:pt x="120" y="219"/>
                  <a:pt x="176" y="168"/>
                </a:cubicBezTo>
                <a:cubicBezTo>
                  <a:pt x="231" y="117"/>
                  <a:pt x="318" y="121"/>
                  <a:pt x="368" y="177"/>
                </a:cubicBezTo>
                <a:cubicBezTo>
                  <a:pt x="419" y="232"/>
                  <a:pt x="415" y="319"/>
                  <a:pt x="360" y="369"/>
                </a:cubicBezTo>
                <a:cubicBezTo>
                  <a:pt x="304" y="420"/>
                  <a:pt x="218" y="416"/>
                  <a:pt x="167" y="361"/>
                </a:cubicBezTo>
                <a:close/>
                <a:moveTo>
                  <a:pt x="413" y="427"/>
                </a:moveTo>
                <a:cubicBezTo>
                  <a:pt x="401" y="439"/>
                  <a:pt x="382" y="438"/>
                  <a:pt x="371" y="426"/>
                </a:cubicBezTo>
                <a:cubicBezTo>
                  <a:pt x="359" y="413"/>
                  <a:pt x="360" y="394"/>
                  <a:pt x="372" y="383"/>
                </a:cubicBezTo>
                <a:cubicBezTo>
                  <a:pt x="385" y="372"/>
                  <a:pt x="404" y="373"/>
                  <a:pt x="415" y="385"/>
                </a:cubicBezTo>
                <a:cubicBezTo>
                  <a:pt x="426" y="397"/>
                  <a:pt x="425" y="416"/>
                  <a:pt x="413" y="427"/>
                </a:cubicBezTo>
                <a:close/>
                <a:moveTo>
                  <a:pt x="451" y="307"/>
                </a:moveTo>
                <a:cubicBezTo>
                  <a:pt x="435" y="306"/>
                  <a:pt x="422" y="292"/>
                  <a:pt x="423" y="276"/>
                </a:cubicBezTo>
                <a:cubicBezTo>
                  <a:pt x="424" y="259"/>
                  <a:pt x="438" y="246"/>
                  <a:pt x="454" y="247"/>
                </a:cubicBezTo>
                <a:cubicBezTo>
                  <a:pt x="471" y="248"/>
                  <a:pt x="483" y="262"/>
                  <a:pt x="483" y="278"/>
                </a:cubicBezTo>
                <a:cubicBezTo>
                  <a:pt x="482" y="295"/>
                  <a:pt x="468" y="308"/>
                  <a:pt x="451" y="30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1" name="Freeform 19"/>
          <p:cNvSpPr>
            <a:spLocks noEditPoints="1"/>
          </p:cNvSpPr>
          <p:nvPr/>
        </p:nvSpPr>
        <p:spPr bwMode="auto">
          <a:xfrm>
            <a:off x="8898518" y="2510306"/>
            <a:ext cx="3657600" cy="3657600"/>
          </a:xfrm>
          <a:custGeom>
            <a:avLst/>
            <a:gdLst>
              <a:gd name="T0" fmla="*/ 471 w 511"/>
              <a:gd name="T1" fmla="*/ 174 h 512"/>
              <a:gd name="T2" fmla="*/ 426 w 511"/>
              <a:gd name="T3" fmla="*/ 100 h 512"/>
              <a:gd name="T4" fmla="*/ 357 w 511"/>
              <a:gd name="T5" fmla="*/ 48 h 512"/>
              <a:gd name="T6" fmla="*/ 287 w 511"/>
              <a:gd name="T7" fmla="*/ 2 h 512"/>
              <a:gd name="T8" fmla="*/ 200 w 511"/>
              <a:gd name="T9" fmla="*/ 6 h 512"/>
              <a:gd name="T10" fmla="*/ 120 w 511"/>
              <a:gd name="T11" fmla="*/ 39 h 512"/>
              <a:gd name="T12" fmla="*/ 62 w 511"/>
              <a:gd name="T13" fmla="*/ 88 h 512"/>
              <a:gd name="T14" fmla="*/ 41 w 511"/>
              <a:gd name="T15" fmla="*/ 169 h 512"/>
              <a:gd name="T16" fmla="*/ 24 w 511"/>
              <a:gd name="T17" fmla="*/ 272 h 512"/>
              <a:gd name="T18" fmla="*/ 19 w 511"/>
              <a:gd name="T19" fmla="*/ 355 h 512"/>
              <a:gd name="T20" fmla="*/ 66 w 511"/>
              <a:gd name="T21" fmla="*/ 428 h 512"/>
              <a:gd name="T22" fmla="*/ 135 w 511"/>
              <a:gd name="T23" fmla="*/ 482 h 512"/>
              <a:gd name="T24" fmla="*/ 218 w 511"/>
              <a:gd name="T25" fmla="*/ 484 h 512"/>
              <a:gd name="T26" fmla="*/ 322 w 511"/>
              <a:gd name="T27" fmla="*/ 477 h 512"/>
              <a:gd name="T28" fmla="*/ 404 w 511"/>
              <a:gd name="T29" fmla="*/ 464 h 512"/>
              <a:gd name="T30" fmla="*/ 459 w 511"/>
              <a:gd name="T31" fmla="*/ 410 h 512"/>
              <a:gd name="T32" fmla="*/ 499 w 511"/>
              <a:gd name="T33" fmla="*/ 333 h 512"/>
              <a:gd name="T34" fmla="*/ 511 w 511"/>
              <a:gd name="T35" fmla="*/ 247 h 512"/>
              <a:gd name="T36" fmla="*/ 455 w 511"/>
              <a:gd name="T37" fmla="*/ 248 h 512"/>
              <a:gd name="T38" fmla="*/ 445 w 511"/>
              <a:gd name="T39" fmla="*/ 192 h 512"/>
              <a:gd name="T40" fmla="*/ 433 w 511"/>
              <a:gd name="T41" fmla="*/ 166 h 512"/>
              <a:gd name="T42" fmla="*/ 355 w 511"/>
              <a:gd name="T43" fmla="*/ 168 h 512"/>
              <a:gd name="T44" fmla="*/ 384 w 511"/>
              <a:gd name="T45" fmla="*/ 103 h 512"/>
              <a:gd name="T46" fmla="*/ 361 w 511"/>
              <a:gd name="T47" fmla="*/ 86 h 512"/>
              <a:gd name="T48" fmla="*/ 331 w 511"/>
              <a:gd name="T49" fmla="*/ 71 h 512"/>
              <a:gd name="T50" fmla="*/ 304 w 511"/>
              <a:gd name="T51" fmla="*/ 62 h 512"/>
              <a:gd name="T52" fmla="*/ 254 w 511"/>
              <a:gd name="T53" fmla="*/ 122 h 512"/>
              <a:gd name="T54" fmla="*/ 224 w 511"/>
              <a:gd name="T55" fmla="*/ 58 h 512"/>
              <a:gd name="T56" fmla="*/ 219 w 511"/>
              <a:gd name="T57" fmla="*/ 59 h 512"/>
              <a:gd name="T58" fmla="*/ 165 w 511"/>
              <a:gd name="T59" fmla="*/ 77 h 512"/>
              <a:gd name="T60" fmla="*/ 177 w 511"/>
              <a:gd name="T61" fmla="*/ 146 h 512"/>
              <a:gd name="T62" fmla="*/ 152 w 511"/>
              <a:gd name="T63" fmla="*/ 168 h 512"/>
              <a:gd name="T64" fmla="*/ 85 w 511"/>
              <a:gd name="T65" fmla="*/ 149 h 512"/>
              <a:gd name="T66" fmla="*/ 82 w 511"/>
              <a:gd name="T67" fmla="*/ 154 h 512"/>
              <a:gd name="T68" fmla="*/ 60 w 511"/>
              <a:gd name="T69" fmla="*/ 207 h 512"/>
              <a:gd name="T70" fmla="*/ 119 w 511"/>
              <a:gd name="T71" fmla="*/ 243 h 512"/>
              <a:gd name="T72" fmla="*/ 119 w 511"/>
              <a:gd name="T73" fmla="*/ 276 h 512"/>
              <a:gd name="T74" fmla="*/ 63 w 511"/>
              <a:gd name="T75" fmla="*/ 315 h 512"/>
              <a:gd name="T76" fmla="*/ 73 w 511"/>
              <a:gd name="T77" fmla="*/ 342 h 512"/>
              <a:gd name="T78" fmla="*/ 90 w 511"/>
              <a:gd name="T79" fmla="*/ 371 h 512"/>
              <a:gd name="T80" fmla="*/ 108 w 511"/>
              <a:gd name="T81" fmla="*/ 394 h 512"/>
              <a:gd name="T82" fmla="*/ 170 w 511"/>
              <a:gd name="T83" fmla="*/ 364 h 512"/>
              <a:gd name="T84" fmla="*/ 174 w 511"/>
              <a:gd name="T85" fmla="*/ 440 h 512"/>
              <a:gd name="T86" fmla="*/ 179 w 511"/>
              <a:gd name="T87" fmla="*/ 442 h 512"/>
              <a:gd name="T88" fmla="*/ 234 w 511"/>
              <a:gd name="T89" fmla="*/ 456 h 512"/>
              <a:gd name="T90" fmla="*/ 263 w 511"/>
              <a:gd name="T91" fmla="*/ 457 h 512"/>
              <a:gd name="T92" fmla="*/ 281 w 511"/>
              <a:gd name="T93" fmla="*/ 391 h 512"/>
              <a:gd name="T94" fmla="*/ 313 w 511"/>
              <a:gd name="T95" fmla="*/ 380 h 512"/>
              <a:gd name="T96" fmla="*/ 366 w 511"/>
              <a:gd name="T97" fmla="*/ 423 h 512"/>
              <a:gd name="T98" fmla="*/ 370 w 511"/>
              <a:gd name="T99" fmla="*/ 420 h 512"/>
              <a:gd name="T100" fmla="*/ 412 w 511"/>
              <a:gd name="T101" fmla="*/ 381 h 512"/>
              <a:gd name="T102" fmla="*/ 372 w 511"/>
              <a:gd name="T103" fmla="*/ 324 h 512"/>
              <a:gd name="T104" fmla="*/ 385 w 511"/>
              <a:gd name="T105" fmla="*/ 293 h 512"/>
              <a:gd name="T106" fmla="*/ 453 w 511"/>
              <a:gd name="T107" fmla="*/ 282 h 512"/>
              <a:gd name="T108" fmla="*/ 455 w 511"/>
              <a:gd name="T109" fmla="*/ 25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1" h="512">
                <a:moveTo>
                  <a:pt x="486" y="241"/>
                </a:moveTo>
                <a:cubicBezTo>
                  <a:pt x="485" y="229"/>
                  <a:pt x="483" y="217"/>
                  <a:pt x="481" y="206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0" y="183"/>
                  <a:pt x="500" y="183"/>
                  <a:pt x="500" y="183"/>
                </a:cubicBezTo>
                <a:cubicBezTo>
                  <a:pt x="497" y="172"/>
                  <a:pt x="497" y="172"/>
                  <a:pt x="497" y="172"/>
                </a:cubicBezTo>
                <a:cubicBezTo>
                  <a:pt x="471" y="174"/>
                  <a:pt x="471" y="174"/>
                  <a:pt x="471" y="174"/>
                </a:cubicBezTo>
                <a:cubicBezTo>
                  <a:pt x="467" y="163"/>
                  <a:pt x="462" y="152"/>
                  <a:pt x="456" y="142"/>
                </a:cubicBezTo>
                <a:cubicBezTo>
                  <a:pt x="473" y="123"/>
                  <a:pt x="473" y="123"/>
                  <a:pt x="473" y="123"/>
                </a:cubicBezTo>
                <a:cubicBezTo>
                  <a:pt x="467" y="114"/>
                  <a:pt x="467" y="114"/>
                  <a:pt x="467" y="114"/>
                </a:cubicBezTo>
                <a:cubicBezTo>
                  <a:pt x="461" y="105"/>
                  <a:pt x="461" y="105"/>
                  <a:pt x="461" y="105"/>
                </a:cubicBezTo>
                <a:cubicBezTo>
                  <a:pt x="437" y="114"/>
                  <a:pt x="437" y="114"/>
                  <a:pt x="437" y="114"/>
                </a:cubicBezTo>
                <a:cubicBezTo>
                  <a:pt x="434" y="109"/>
                  <a:pt x="430" y="104"/>
                  <a:pt x="426" y="100"/>
                </a:cubicBezTo>
                <a:cubicBezTo>
                  <a:pt x="422" y="96"/>
                  <a:pt x="417" y="91"/>
                  <a:pt x="413" y="87"/>
                </a:cubicBezTo>
                <a:cubicBezTo>
                  <a:pt x="424" y="64"/>
                  <a:pt x="424" y="64"/>
                  <a:pt x="424" y="64"/>
                </a:cubicBezTo>
                <a:cubicBezTo>
                  <a:pt x="416" y="57"/>
                  <a:pt x="416" y="57"/>
                  <a:pt x="416" y="57"/>
                </a:cubicBezTo>
                <a:cubicBezTo>
                  <a:pt x="408" y="51"/>
                  <a:pt x="408" y="51"/>
                  <a:pt x="408" y="51"/>
                </a:cubicBezTo>
                <a:cubicBezTo>
                  <a:pt x="387" y="66"/>
                  <a:pt x="387" y="66"/>
                  <a:pt x="387" y="66"/>
                </a:cubicBezTo>
                <a:cubicBezTo>
                  <a:pt x="377" y="59"/>
                  <a:pt x="367" y="53"/>
                  <a:pt x="357" y="48"/>
                </a:cubicBezTo>
                <a:cubicBezTo>
                  <a:pt x="360" y="23"/>
                  <a:pt x="360" y="23"/>
                  <a:pt x="360" y="23"/>
                </a:cubicBezTo>
                <a:cubicBezTo>
                  <a:pt x="350" y="19"/>
                  <a:pt x="350" y="19"/>
                  <a:pt x="350" y="19"/>
                </a:cubicBezTo>
                <a:cubicBezTo>
                  <a:pt x="340" y="15"/>
                  <a:pt x="340" y="15"/>
                  <a:pt x="340" y="15"/>
                </a:cubicBezTo>
                <a:cubicBezTo>
                  <a:pt x="325" y="36"/>
                  <a:pt x="325" y="36"/>
                  <a:pt x="325" y="36"/>
                </a:cubicBezTo>
                <a:cubicBezTo>
                  <a:pt x="314" y="32"/>
                  <a:pt x="302" y="29"/>
                  <a:pt x="291" y="28"/>
                </a:cubicBezTo>
                <a:cubicBezTo>
                  <a:pt x="287" y="2"/>
                  <a:pt x="287" y="2"/>
                  <a:pt x="287" y="2"/>
                </a:cubicBezTo>
                <a:cubicBezTo>
                  <a:pt x="276" y="1"/>
                  <a:pt x="276" y="1"/>
                  <a:pt x="276" y="1"/>
                </a:cubicBezTo>
                <a:cubicBezTo>
                  <a:pt x="265" y="0"/>
                  <a:pt x="265" y="0"/>
                  <a:pt x="265" y="0"/>
                </a:cubicBezTo>
                <a:cubicBezTo>
                  <a:pt x="257" y="25"/>
                  <a:pt x="257" y="25"/>
                  <a:pt x="257" y="25"/>
                </a:cubicBezTo>
                <a:cubicBezTo>
                  <a:pt x="245" y="25"/>
                  <a:pt x="234" y="25"/>
                  <a:pt x="222" y="27"/>
                </a:cubicBezTo>
                <a:cubicBezTo>
                  <a:pt x="211" y="4"/>
                  <a:pt x="211" y="4"/>
                  <a:pt x="211" y="4"/>
                </a:cubicBezTo>
                <a:cubicBezTo>
                  <a:pt x="200" y="6"/>
                  <a:pt x="200" y="6"/>
                  <a:pt x="200" y="6"/>
                </a:cubicBezTo>
                <a:cubicBezTo>
                  <a:pt x="190" y="9"/>
                  <a:pt x="190" y="9"/>
                  <a:pt x="190" y="9"/>
                </a:cubicBezTo>
                <a:cubicBezTo>
                  <a:pt x="189" y="34"/>
                  <a:pt x="189" y="34"/>
                  <a:pt x="189" y="34"/>
                </a:cubicBezTo>
                <a:cubicBezTo>
                  <a:pt x="178" y="38"/>
                  <a:pt x="167" y="42"/>
                  <a:pt x="156" y="47"/>
                </a:cubicBezTo>
                <a:cubicBezTo>
                  <a:pt x="138" y="28"/>
                  <a:pt x="138" y="28"/>
                  <a:pt x="138" y="28"/>
                </a:cubicBezTo>
                <a:cubicBezTo>
                  <a:pt x="129" y="34"/>
                  <a:pt x="129" y="34"/>
                  <a:pt x="129" y="34"/>
                </a:cubicBezTo>
                <a:cubicBezTo>
                  <a:pt x="120" y="39"/>
                  <a:pt x="120" y="39"/>
                  <a:pt x="120" y="39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117" y="70"/>
                  <a:pt x="108" y="77"/>
                  <a:pt x="99" y="85"/>
                </a:cubicBezTo>
                <a:cubicBezTo>
                  <a:pt x="99" y="85"/>
                  <a:pt x="99" y="85"/>
                  <a:pt x="99" y="86"/>
                </a:cubicBezTo>
                <a:cubicBezTo>
                  <a:pt x="76" y="73"/>
                  <a:pt x="76" y="73"/>
                  <a:pt x="76" y="73"/>
                </a:cubicBezTo>
                <a:cubicBezTo>
                  <a:pt x="69" y="81"/>
                  <a:pt x="69" y="81"/>
                  <a:pt x="69" y="81"/>
                </a:cubicBezTo>
                <a:cubicBezTo>
                  <a:pt x="62" y="88"/>
                  <a:pt x="62" y="88"/>
                  <a:pt x="62" y="88"/>
                </a:cubicBezTo>
                <a:cubicBezTo>
                  <a:pt x="76" y="110"/>
                  <a:pt x="76" y="110"/>
                  <a:pt x="76" y="110"/>
                </a:cubicBezTo>
                <a:cubicBezTo>
                  <a:pt x="68" y="119"/>
                  <a:pt x="61" y="129"/>
                  <a:pt x="55" y="139"/>
                </a:cubicBezTo>
                <a:cubicBezTo>
                  <a:pt x="30" y="133"/>
                  <a:pt x="30" y="133"/>
                  <a:pt x="30" y="133"/>
                </a:cubicBezTo>
                <a:cubicBezTo>
                  <a:pt x="26" y="143"/>
                  <a:pt x="26" y="143"/>
                  <a:pt x="26" y="143"/>
                </a:cubicBezTo>
                <a:cubicBezTo>
                  <a:pt x="21" y="153"/>
                  <a:pt x="21" y="153"/>
                  <a:pt x="21" y="153"/>
                </a:cubicBezTo>
                <a:cubicBezTo>
                  <a:pt x="41" y="169"/>
                  <a:pt x="41" y="169"/>
                  <a:pt x="41" y="169"/>
                </a:cubicBezTo>
                <a:cubicBezTo>
                  <a:pt x="36" y="180"/>
                  <a:pt x="33" y="192"/>
                  <a:pt x="30" y="203"/>
                </a:cubicBezTo>
                <a:cubicBezTo>
                  <a:pt x="4" y="205"/>
                  <a:pt x="4" y="205"/>
                  <a:pt x="4" y="205"/>
                </a:cubicBezTo>
                <a:cubicBezTo>
                  <a:pt x="3" y="216"/>
                  <a:pt x="3" y="216"/>
                  <a:pt x="3" y="216"/>
                </a:cubicBezTo>
                <a:cubicBezTo>
                  <a:pt x="1" y="226"/>
                  <a:pt x="1" y="226"/>
                  <a:pt x="1" y="226"/>
                </a:cubicBezTo>
                <a:cubicBezTo>
                  <a:pt x="25" y="236"/>
                  <a:pt x="25" y="236"/>
                  <a:pt x="25" y="236"/>
                </a:cubicBezTo>
                <a:cubicBezTo>
                  <a:pt x="24" y="248"/>
                  <a:pt x="24" y="260"/>
                  <a:pt x="24" y="272"/>
                </a:cubicBezTo>
                <a:cubicBezTo>
                  <a:pt x="0" y="281"/>
                  <a:pt x="0" y="281"/>
                  <a:pt x="0" y="281"/>
                </a:cubicBezTo>
                <a:cubicBezTo>
                  <a:pt x="2" y="292"/>
                  <a:pt x="2" y="292"/>
                  <a:pt x="2" y="292"/>
                </a:cubicBezTo>
                <a:cubicBezTo>
                  <a:pt x="3" y="303"/>
                  <a:pt x="3" y="303"/>
                  <a:pt x="3" y="303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32" y="317"/>
                  <a:pt x="35" y="328"/>
                  <a:pt x="39" y="339"/>
                </a:cubicBezTo>
                <a:cubicBezTo>
                  <a:pt x="19" y="355"/>
                  <a:pt x="19" y="355"/>
                  <a:pt x="19" y="355"/>
                </a:cubicBezTo>
                <a:cubicBezTo>
                  <a:pt x="24" y="365"/>
                  <a:pt x="24" y="365"/>
                  <a:pt x="24" y="365"/>
                </a:cubicBezTo>
                <a:cubicBezTo>
                  <a:pt x="28" y="375"/>
                  <a:pt x="28" y="375"/>
                  <a:pt x="28" y="375"/>
                </a:cubicBezTo>
                <a:cubicBezTo>
                  <a:pt x="54" y="370"/>
                  <a:pt x="54" y="370"/>
                  <a:pt x="54" y="370"/>
                </a:cubicBezTo>
                <a:cubicBezTo>
                  <a:pt x="59" y="380"/>
                  <a:pt x="66" y="390"/>
                  <a:pt x="73" y="399"/>
                </a:cubicBezTo>
                <a:cubicBezTo>
                  <a:pt x="59" y="420"/>
                  <a:pt x="59" y="420"/>
                  <a:pt x="59" y="420"/>
                </a:cubicBezTo>
                <a:cubicBezTo>
                  <a:pt x="66" y="428"/>
                  <a:pt x="66" y="428"/>
                  <a:pt x="66" y="428"/>
                </a:cubicBezTo>
                <a:cubicBezTo>
                  <a:pt x="73" y="436"/>
                  <a:pt x="73" y="436"/>
                  <a:pt x="73" y="436"/>
                </a:cubicBezTo>
                <a:cubicBezTo>
                  <a:pt x="96" y="424"/>
                  <a:pt x="96" y="424"/>
                  <a:pt x="96" y="424"/>
                </a:cubicBezTo>
                <a:cubicBezTo>
                  <a:pt x="105" y="432"/>
                  <a:pt x="114" y="440"/>
                  <a:pt x="124" y="446"/>
                </a:cubicBezTo>
                <a:cubicBezTo>
                  <a:pt x="116" y="471"/>
                  <a:pt x="116" y="471"/>
                  <a:pt x="116" y="471"/>
                </a:cubicBezTo>
                <a:cubicBezTo>
                  <a:pt x="125" y="476"/>
                  <a:pt x="125" y="476"/>
                  <a:pt x="125" y="476"/>
                </a:cubicBezTo>
                <a:cubicBezTo>
                  <a:pt x="135" y="482"/>
                  <a:pt x="135" y="482"/>
                  <a:pt x="135" y="482"/>
                </a:cubicBezTo>
                <a:cubicBezTo>
                  <a:pt x="153" y="463"/>
                  <a:pt x="153" y="463"/>
                  <a:pt x="153" y="463"/>
                </a:cubicBezTo>
                <a:cubicBezTo>
                  <a:pt x="163" y="469"/>
                  <a:pt x="174" y="473"/>
                  <a:pt x="185" y="476"/>
                </a:cubicBezTo>
                <a:cubicBezTo>
                  <a:pt x="186" y="502"/>
                  <a:pt x="186" y="502"/>
                  <a:pt x="186" y="502"/>
                </a:cubicBezTo>
                <a:cubicBezTo>
                  <a:pt x="196" y="505"/>
                  <a:pt x="196" y="505"/>
                  <a:pt x="196" y="505"/>
                </a:cubicBezTo>
                <a:cubicBezTo>
                  <a:pt x="207" y="507"/>
                  <a:pt x="207" y="507"/>
                  <a:pt x="207" y="507"/>
                </a:cubicBezTo>
                <a:cubicBezTo>
                  <a:pt x="218" y="484"/>
                  <a:pt x="218" y="484"/>
                  <a:pt x="218" y="484"/>
                </a:cubicBezTo>
                <a:cubicBezTo>
                  <a:pt x="230" y="486"/>
                  <a:pt x="242" y="487"/>
                  <a:pt x="254" y="487"/>
                </a:cubicBezTo>
                <a:cubicBezTo>
                  <a:pt x="261" y="512"/>
                  <a:pt x="261" y="512"/>
                  <a:pt x="261" y="512"/>
                </a:cubicBezTo>
                <a:cubicBezTo>
                  <a:pt x="272" y="511"/>
                  <a:pt x="272" y="511"/>
                  <a:pt x="272" y="511"/>
                </a:cubicBezTo>
                <a:cubicBezTo>
                  <a:pt x="283" y="510"/>
                  <a:pt x="283" y="510"/>
                  <a:pt x="283" y="510"/>
                </a:cubicBezTo>
                <a:cubicBezTo>
                  <a:pt x="287" y="485"/>
                  <a:pt x="287" y="485"/>
                  <a:pt x="287" y="485"/>
                </a:cubicBezTo>
                <a:cubicBezTo>
                  <a:pt x="299" y="483"/>
                  <a:pt x="310" y="481"/>
                  <a:pt x="322" y="477"/>
                </a:cubicBezTo>
                <a:cubicBezTo>
                  <a:pt x="336" y="498"/>
                  <a:pt x="336" y="498"/>
                  <a:pt x="336" y="498"/>
                </a:cubicBezTo>
                <a:cubicBezTo>
                  <a:pt x="346" y="495"/>
                  <a:pt x="346" y="495"/>
                  <a:pt x="346" y="495"/>
                </a:cubicBezTo>
                <a:cubicBezTo>
                  <a:pt x="357" y="491"/>
                  <a:pt x="357" y="491"/>
                  <a:pt x="357" y="491"/>
                </a:cubicBezTo>
                <a:cubicBezTo>
                  <a:pt x="353" y="465"/>
                  <a:pt x="353" y="465"/>
                  <a:pt x="353" y="465"/>
                </a:cubicBezTo>
                <a:cubicBezTo>
                  <a:pt x="364" y="460"/>
                  <a:pt x="374" y="454"/>
                  <a:pt x="384" y="448"/>
                </a:cubicBezTo>
                <a:cubicBezTo>
                  <a:pt x="404" y="464"/>
                  <a:pt x="404" y="464"/>
                  <a:pt x="404" y="464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21" y="450"/>
                  <a:pt x="421" y="450"/>
                  <a:pt x="421" y="450"/>
                </a:cubicBezTo>
                <a:cubicBezTo>
                  <a:pt x="410" y="427"/>
                  <a:pt x="410" y="427"/>
                  <a:pt x="410" y="427"/>
                </a:cubicBezTo>
                <a:cubicBezTo>
                  <a:pt x="411" y="427"/>
                  <a:pt x="411" y="427"/>
                  <a:pt x="411" y="427"/>
                </a:cubicBezTo>
                <a:cubicBezTo>
                  <a:pt x="420" y="419"/>
                  <a:pt x="428" y="410"/>
                  <a:pt x="435" y="401"/>
                </a:cubicBezTo>
                <a:cubicBezTo>
                  <a:pt x="459" y="410"/>
                  <a:pt x="459" y="410"/>
                  <a:pt x="459" y="410"/>
                </a:cubicBezTo>
                <a:cubicBezTo>
                  <a:pt x="465" y="402"/>
                  <a:pt x="465" y="402"/>
                  <a:pt x="465" y="402"/>
                </a:cubicBezTo>
                <a:cubicBezTo>
                  <a:pt x="471" y="393"/>
                  <a:pt x="471" y="393"/>
                  <a:pt x="471" y="393"/>
                </a:cubicBezTo>
                <a:cubicBezTo>
                  <a:pt x="454" y="374"/>
                  <a:pt x="454" y="374"/>
                  <a:pt x="454" y="374"/>
                </a:cubicBezTo>
                <a:cubicBezTo>
                  <a:pt x="460" y="363"/>
                  <a:pt x="465" y="353"/>
                  <a:pt x="470" y="342"/>
                </a:cubicBezTo>
                <a:cubicBezTo>
                  <a:pt x="495" y="344"/>
                  <a:pt x="495" y="344"/>
                  <a:pt x="495" y="344"/>
                </a:cubicBezTo>
                <a:cubicBezTo>
                  <a:pt x="499" y="333"/>
                  <a:pt x="499" y="333"/>
                  <a:pt x="499" y="333"/>
                </a:cubicBezTo>
                <a:cubicBezTo>
                  <a:pt x="502" y="323"/>
                  <a:pt x="502" y="323"/>
                  <a:pt x="502" y="323"/>
                </a:cubicBezTo>
                <a:cubicBezTo>
                  <a:pt x="480" y="310"/>
                  <a:pt x="480" y="310"/>
                  <a:pt x="480" y="310"/>
                </a:cubicBezTo>
                <a:cubicBezTo>
                  <a:pt x="483" y="298"/>
                  <a:pt x="484" y="286"/>
                  <a:pt x="485" y="275"/>
                </a:cubicBezTo>
                <a:cubicBezTo>
                  <a:pt x="510" y="269"/>
                  <a:pt x="510" y="269"/>
                  <a:pt x="510" y="269"/>
                </a:cubicBezTo>
                <a:cubicBezTo>
                  <a:pt x="511" y="258"/>
                  <a:pt x="511" y="258"/>
                  <a:pt x="511" y="258"/>
                </a:cubicBezTo>
                <a:cubicBezTo>
                  <a:pt x="511" y="247"/>
                  <a:pt x="511" y="247"/>
                  <a:pt x="511" y="247"/>
                </a:cubicBezTo>
                <a:lnTo>
                  <a:pt x="486" y="241"/>
                </a:lnTo>
                <a:close/>
                <a:moveTo>
                  <a:pt x="455" y="248"/>
                </a:moveTo>
                <a:cubicBezTo>
                  <a:pt x="389" y="250"/>
                  <a:pt x="389" y="250"/>
                  <a:pt x="389" y="250"/>
                </a:cubicBezTo>
                <a:cubicBezTo>
                  <a:pt x="389" y="245"/>
                  <a:pt x="388" y="240"/>
                  <a:pt x="388" y="236"/>
                </a:cubicBezTo>
                <a:cubicBezTo>
                  <a:pt x="453" y="225"/>
                  <a:pt x="453" y="225"/>
                  <a:pt x="453" y="225"/>
                </a:cubicBezTo>
                <a:cubicBezTo>
                  <a:pt x="454" y="233"/>
                  <a:pt x="455" y="240"/>
                  <a:pt x="455" y="248"/>
                </a:cubicBezTo>
                <a:close/>
                <a:moveTo>
                  <a:pt x="452" y="219"/>
                </a:moveTo>
                <a:cubicBezTo>
                  <a:pt x="387" y="231"/>
                  <a:pt x="387" y="231"/>
                  <a:pt x="387" y="231"/>
                </a:cubicBezTo>
                <a:cubicBezTo>
                  <a:pt x="386" y="226"/>
                  <a:pt x="385" y="222"/>
                  <a:pt x="383" y="217"/>
                </a:cubicBezTo>
                <a:cubicBezTo>
                  <a:pt x="446" y="197"/>
                  <a:pt x="446" y="197"/>
                  <a:pt x="446" y="197"/>
                </a:cubicBezTo>
                <a:cubicBezTo>
                  <a:pt x="449" y="205"/>
                  <a:pt x="450" y="212"/>
                  <a:pt x="452" y="219"/>
                </a:cubicBezTo>
                <a:close/>
                <a:moveTo>
                  <a:pt x="445" y="192"/>
                </a:moveTo>
                <a:cubicBezTo>
                  <a:pt x="382" y="212"/>
                  <a:pt x="382" y="212"/>
                  <a:pt x="382" y="212"/>
                </a:cubicBezTo>
                <a:cubicBezTo>
                  <a:pt x="380" y="208"/>
                  <a:pt x="378" y="204"/>
                  <a:pt x="376" y="200"/>
                </a:cubicBezTo>
                <a:cubicBezTo>
                  <a:pt x="436" y="171"/>
                  <a:pt x="436" y="171"/>
                  <a:pt x="436" y="171"/>
                </a:cubicBezTo>
                <a:cubicBezTo>
                  <a:pt x="439" y="178"/>
                  <a:pt x="442" y="185"/>
                  <a:pt x="445" y="192"/>
                </a:cubicBezTo>
                <a:close/>
                <a:moveTo>
                  <a:pt x="422" y="146"/>
                </a:moveTo>
                <a:cubicBezTo>
                  <a:pt x="426" y="152"/>
                  <a:pt x="430" y="159"/>
                  <a:pt x="433" y="166"/>
                </a:cubicBezTo>
                <a:cubicBezTo>
                  <a:pt x="374" y="195"/>
                  <a:pt x="374" y="195"/>
                  <a:pt x="374" y="195"/>
                </a:cubicBezTo>
                <a:cubicBezTo>
                  <a:pt x="372" y="191"/>
                  <a:pt x="369" y="187"/>
                  <a:pt x="367" y="183"/>
                </a:cubicBezTo>
                <a:lnTo>
                  <a:pt x="422" y="146"/>
                </a:lnTo>
                <a:close/>
                <a:moveTo>
                  <a:pt x="419" y="141"/>
                </a:moveTo>
                <a:cubicBezTo>
                  <a:pt x="364" y="178"/>
                  <a:pt x="364" y="178"/>
                  <a:pt x="364" y="178"/>
                </a:cubicBezTo>
                <a:cubicBezTo>
                  <a:pt x="361" y="175"/>
                  <a:pt x="358" y="171"/>
                  <a:pt x="355" y="168"/>
                </a:cubicBezTo>
                <a:cubicBezTo>
                  <a:pt x="405" y="123"/>
                  <a:pt x="405" y="123"/>
                  <a:pt x="405" y="123"/>
                </a:cubicBezTo>
                <a:cubicBezTo>
                  <a:pt x="410" y="129"/>
                  <a:pt x="414" y="135"/>
                  <a:pt x="419" y="141"/>
                </a:cubicBezTo>
                <a:close/>
                <a:moveTo>
                  <a:pt x="401" y="119"/>
                </a:moveTo>
                <a:cubicBezTo>
                  <a:pt x="352" y="164"/>
                  <a:pt x="352" y="164"/>
                  <a:pt x="352" y="164"/>
                </a:cubicBezTo>
                <a:cubicBezTo>
                  <a:pt x="349" y="161"/>
                  <a:pt x="345" y="158"/>
                  <a:pt x="342" y="155"/>
                </a:cubicBezTo>
                <a:cubicBezTo>
                  <a:pt x="384" y="103"/>
                  <a:pt x="384" y="103"/>
                  <a:pt x="384" y="103"/>
                </a:cubicBezTo>
                <a:cubicBezTo>
                  <a:pt x="390" y="108"/>
                  <a:pt x="395" y="113"/>
                  <a:pt x="401" y="119"/>
                </a:cubicBezTo>
                <a:close/>
                <a:moveTo>
                  <a:pt x="361" y="86"/>
                </a:moveTo>
                <a:cubicBezTo>
                  <a:pt x="368" y="90"/>
                  <a:pt x="374" y="95"/>
                  <a:pt x="380" y="100"/>
                </a:cubicBezTo>
                <a:cubicBezTo>
                  <a:pt x="338" y="151"/>
                  <a:pt x="338" y="151"/>
                  <a:pt x="338" y="151"/>
                </a:cubicBezTo>
                <a:cubicBezTo>
                  <a:pt x="334" y="148"/>
                  <a:pt x="330" y="146"/>
                  <a:pt x="327" y="143"/>
                </a:cubicBezTo>
                <a:lnTo>
                  <a:pt x="361" y="86"/>
                </a:lnTo>
                <a:close/>
                <a:moveTo>
                  <a:pt x="356" y="83"/>
                </a:moveTo>
                <a:cubicBezTo>
                  <a:pt x="322" y="140"/>
                  <a:pt x="322" y="140"/>
                  <a:pt x="322" y="140"/>
                </a:cubicBezTo>
                <a:cubicBezTo>
                  <a:pt x="318" y="138"/>
                  <a:pt x="314" y="136"/>
                  <a:pt x="310" y="134"/>
                </a:cubicBezTo>
                <a:cubicBezTo>
                  <a:pt x="336" y="73"/>
                  <a:pt x="336" y="73"/>
                  <a:pt x="336" y="73"/>
                </a:cubicBezTo>
                <a:cubicBezTo>
                  <a:pt x="343" y="76"/>
                  <a:pt x="350" y="80"/>
                  <a:pt x="356" y="83"/>
                </a:cubicBezTo>
                <a:close/>
                <a:moveTo>
                  <a:pt x="331" y="71"/>
                </a:moveTo>
                <a:cubicBezTo>
                  <a:pt x="305" y="132"/>
                  <a:pt x="305" y="132"/>
                  <a:pt x="305" y="132"/>
                </a:cubicBezTo>
                <a:cubicBezTo>
                  <a:pt x="301" y="130"/>
                  <a:pt x="296" y="129"/>
                  <a:pt x="292" y="128"/>
                </a:cubicBezTo>
                <a:cubicBezTo>
                  <a:pt x="309" y="63"/>
                  <a:pt x="309" y="63"/>
                  <a:pt x="309" y="63"/>
                </a:cubicBezTo>
                <a:cubicBezTo>
                  <a:pt x="316" y="65"/>
                  <a:pt x="324" y="68"/>
                  <a:pt x="331" y="71"/>
                </a:cubicBezTo>
                <a:close/>
                <a:moveTo>
                  <a:pt x="281" y="57"/>
                </a:moveTo>
                <a:cubicBezTo>
                  <a:pt x="289" y="58"/>
                  <a:pt x="296" y="60"/>
                  <a:pt x="304" y="62"/>
                </a:cubicBezTo>
                <a:cubicBezTo>
                  <a:pt x="287" y="126"/>
                  <a:pt x="287" y="126"/>
                  <a:pt x="287" y="126"/>
                </a:cubicBezTo>
                <a:cubicBezTo>
                  <a:pt x="282" y="125"/>
                  <a:pt x="278" y="124"/>
                  <a:pt x="273" y="124"/>
                </a:cubicBezTo>
                <a:lnTo>
                  <a:pt x="281" y="57"/>
                </a:lnTo>
                <a:close/>
                <a:moveTo>
                  <a:pt x="276" y="57"/>
                </a:moveTo>
                <a:cubicBezTo>
                  <a:pt x="268" y="123"/>
                  <a:pt x="268" y="123"/>
                  <a:pt x="268" y="123"/>
                </a:cubicBezTo>
                <a:cubicBezTo>
                  <a:pt x="263" y="122"/>
                  <a:pt x="259" y="122"/>
                  <a:pt x="254" y="122"/>
                </a:cubicBezTo>
                <a:cubicBezTo>
                  <a:pt x="253" y="56"/>
                  <a:pt x="253" y="56"/>
                  <a:pt x="253" y="56"/>
                </a:cubicBezTo>
                <a:cubicBezTo>
                  <a:pt x="260" y="56"/>
                  <a:pt x="268" y="56"/>
                  <a:pt x="276" y="57"/>
                </a:cubicBezTo>
                <a:close/>
                <a:moveTo>
                  <a:pt x="247" y="56"/>
                </a:moveTo>
                <a:cubicBezTo>
                  <a:pt x="249" y="122"/>
                  <a:pt x="249" y="122"/>
                  <a:pt x="249" y="122"/>
                </a:cubicBezTo>
                <a:cubicBezTo>
                  <a:pt x="244" y="122"/>
                  <a:pt x="240" y="123"/>
                  <a:pt x="235" y="123"/>
                </a:cubicBezTo>
                <a:cubicBezTo>
                  <a:pt x="224" y="58"/>
                  <a:pt x="224" y="58"/>
                  <a:pt x="224" y="58"/>
                </a:cubicBezTo>
                <a:cubicBezTo>
                  <a:pt x="232" y="57"/>
                  <a:pt x="239" y="56"/>
                  <a:pt x="247" y="56"/>
                </a:cubicBezTo>
                <a:close/>
                <a:moveTo>
                  <a:pt x="219" y="59"/>
                </a:moveTo>
                <a:cubicBezTo>
                  <a:pt x="230" y="124"/>
                  <a:pt x="230" y="124"/>
                  <a:pt x="230" y="124"/>
                </a:cubicBezTo>
                <a:cubicBezTo>
                  <a:pt x="225" y="125"/>
                  <a:pt x="221" y="126"/>
                  <a:pt x="217" y="127"/>
                </a:cubicBezTo>
                <a:cubicBezTo>
                  <a:pt x="196" y="64"/>
                  <a:pt x="196" y="64"/>
                  <a:pt x="196" y="64"/>
                </a:cubicBezTo>
                <a:cubicBezTo>
                  <a:pt x="204" y="62"/>
                  <a:pt x="211" y="60"/>
                  <a:pt x="219" y="59"/>
                </a:cubicBezTo>
                <a:close/>
                <a:moveTo>
                  <a:pt x="191" y="66"/>
                </a:moveTo>
                <a:cubicBezTo>
                  <a:pt x="211" y="129"/>
                  <a:pt x="211" y="129"/>
                  <a:pt x="211" y="129"/>
                </a:cubicBezTo>
                <a:cubicBezTo>
                  <a:pt x="207" y="130"/>
                  <a:pt x="203" y="132"/>
                  <a:pt x="199" y="134"/>
                </a:cubicBezTo>
                <a:cubicBezTo>
                  <a:pt x="170" y="74"/>
                  <a:pt x="170" y="74"/>
                  <a:pt x="170" y="74"/>
                </a:cubicBezTo>
                <a:cubicBezTo>
                  <a:pt x="177" y="71"/>
                  <a:pt x="184" y="68"/>
                  <a:pt x="191" y="66"/>
                </a:cubicBezTo>
                <a:close/>
                <a:moveTo>
                  <a:pt x="165" y="77"/>
                </a:moveTo>
                <a:cubicBezTo>
                  <a:pt x="194" y="136"/>
                  <a:pt x="194" y="136"/>
                  <a:pt x="194" y="136"/>
                </a:cubicBezTo>
                <a:cubicBezTo>
                  <a:pt x="189" y="138"/>
                  <a:pt x="185" y="140"/>
                  <a:pt x="182" y="143"/>
                </a:cubicBezTo>
                <a:cubicBezTo>
                  <a:pt x="145" y="88"/>
                  <a:pt x="145" y="88"/>
                  <a:pt x="145" y="88"/>
                </a:cubicBezTo>
                <a:cubicBezTo>
                  <a:pt x="151" y="84"/>
                  <a:pt x="158" y="80"/>
                  <a:pt x="165" y="77"/>
                </a:cubicBezTo>
                <a:close/>
                <a:moveTo>
                  <a:pt x="140" y="92"/>
                </a:moveTo>
                <a:cubicBezTo>
                  <a:pt x="177" y="146"/>
                  <a:pt x="177" y="146"/>
                  <a:pt x="177" y="146"/>
                </a:cubicBezTo>
                <a:cubicBezTo>
                  <a:pt x="173" y="149"/>
                  <a:pt x="170" y="151"/>
                  <a:pt x="166" y="154"/>
                </a:cubicBezTo>
                <a:cubicBezTo>
                  <a:pt x="122" y="106"/>
                  <a:pt x="122" y="106"/>
                  <a:pt x="122" y="106"/>
                </a:cubicBezTo>
                <a:cubicBezTo>
                  <a:pt x="128" y="101"/>
                  <a:pt x="134" y="96"/>
                  <a:pt x="140" y="92"/>
                </a:cubicBezTo>
                <a:close/>
                <a:moveTo>
                  <a:pt x="118" y="110"/>
                </a:moveTo>
                <a:cubicBezTo>
                  <a:pt x="162" y="158"/>
                  <a:pt x="162" y="158"/>
                  <a:pt x="162" y="158"/>
                </a:cubicBezTo>
                <a:cubicBezTo>
                  <a:pt x="159" y="161"/>
                  <a:pt x="155" y="164"/>
                  <a:pt x="152" y="168"/>
                </a:cubicBezTo>
                <a:cubicBezTo>
                  <a:pt x="102" y="126"/>
                  <a:pt x="102" y="126"/>
                  <a:pt x="102" y="126"/>
                </a:cubicBezTo>
                <a:cubicBezTo>
                  <a:pt x="107" y="120"/>
                  <a:pt x="112" y="115"/>
                  <a:pt x="118" y="110"/>
                </a:cubicBezTo>
                <a:close/>
                <a:moveTo>
                  <a:pt x="98" y="130"/>
                </a:moveTo>
                <a:cubicBezTo>
                  <a:pt x="149" y="172"/>
                  <a:pt x="149" y="172"/>
                  <a:pt x="149" y="172"/>
                </a:cubicBezTo>
                <a:cubicBezTo>
                  <a:pt x="146" y="176"/>
                  <a:pt x="143" y="179"/>
                  <a:pt x="141" y="183"/>
                </a:cubicBezTo>
                <a:cubicBezTo>
                  <a:pt x="85" y="149"/>
                  <a:pt x="85" y="149"/>
                  <a:pt x="85" y="149"/>
                </a:cubicBezTo>
                <a:cubicBezTo>
                  <a:pt x="89" y="143"/>
                  <a:pt x="93" y="137"/>
                  <a:pt x="98" y="130"/>
                </a:cubicBezTo>
                <a:close/>
                <a:moveTo>
                  <a:pt x="82" y="154"/>
                </a:moveTo>
                <a:cubicBezTo>
                  <a:pt x="138" y="188"/>
                  <a:pt x="138" y="188"/>
                  <a:pt x="138" y="188"/>
                </a:cubicBezTo>
                <a:cubicBezTo>
                  <a:pt x="135" y="192"/>
                  <a:pt x="133" y="196"/>
                  <a:pt x="131" y="200"/>
                </a:cubicBezTo>
                <a:cubicBezTo>
                  <a:pt x="71" y="175"/>
                  <a:pt x="71" y="175"/>
                  <a:pt x="71" y="175"/>
                </a:cubicBezTo>
                <a:cubicBezTo>
                  <a:pt x="74" y="168"/>
                  <a:pt x="78" y="161"/>
                  <a:pt x="82" y="154"/>
                </a:cubicBezTo>
                <a:close/>
                <a:moveTo>
                  <a:pt x="69" y="180"/>
                </a:moveTo>
                <a:cubicBezTo>
                  <a:pt x="129" y="205"/>
                  <a:pt x="129" y="205"/>
                  <a:pt x="129" y="205"/>
                </a:cubicBezTo>
                <a:cubicBezTo>
                  <a:pt x="127" y="209"/>
                  <a:pt x="125" y="214"/>
                  <a:pt x="124" y="218"/>
                </a:cubicBezTo>
                <a:cubicBezTo>
                  <a:pt x="61" y="201"/>
                  <a:pt x="61" y="201"/>
                  <a:pt x="61" y="201"/>
                </a:cubicBezTo>
                <a:cubicBezTo>
                  <a:pt x="64" y="194"/>
                  <a:pt x="66" y="187"/>
                  <a:pt x="69" y="180"/>
                </a:cubicBezTo>
                <a:close/>
                <a:moveTo>
                  <a:pt x="60" y="207"/>
                </a:moveTo>
                <a:cubicBezTo>
                  <a:pt x="122" y="223"/>
                  <a:pt x="122" y="223"/>
                  <a:pt x="122" y="223"/>
                </a:cubicBezTo>
                <a:cubicBezTo>
                  <a:pt x="121" y="228"/>
                  <a:pt x="120" y="232"/>
                  <a:pt x="120" y="237"/>
                </a:cubicBezTo>
                <a:cubicBezTo>
                  <a:pt x="56" y="230"/>
                  <a:pt x="56" y="230"/>
                  <a:pt x="56" y="230"/>
                </a:cubicBezTo>
                <a:cubicBezTo>
                  <a:pt x="57" y="222"/>
                  <a:pt x="58" y="214"/>
                  <a:pt x="60" y="207"/>
                </a:cubicBezTo>
                <a:close/>
                <a:moveTo>
                  <a:pt x="55" y="235"/>
                </a:moveTo>
                <a:cubicBezTo>
                  <a:pt x="119" y="243"/>
                  <a:pt x="119" y="243"/>
                  <a:pt x="119" y="243"/>
                </a:cubicBezTo>
                <a:cubicBezTo>
                  <a:pt x="118" y="247"/>
                  <a:pt x="118" y="252"/>
                  <a:pt x="118" y="257"/>
                </a:cubicBezTo>
                <a:cubicBezTo>
                  <a:pt x="54" y="258"/>
                  <a:pt x="54" y="258"/>
                  <a:pt x="54" y="258"/>
                </a:cubicBezTo>
                <a:cubicBezTo>
                  <a:pt x="54" y="251"/>
                  <a:pt x="54" y="243"/>
                  <a:pt x="55" y="235"/>
                </a:cubicBezTo>
                <a:close/>
                <a:moveTo>
                  <a:pt x="54" y="264"/>
                </a:moveTo>
                <a:cubicBezTo>
                  <a:pt x="118" y="262"/>
                  <a:pt x="118" y="262"/>
                  <a:pt x="118" y="262"/>
                </a:cubicBezTo>
                <a:cubicBezTo>
                  <a:pt x="118" y="267"/>
                  <a:pt x="119" y="272"/>
                  <a:pt x="119" y="276"/>
                </a:cubicBezTo>
                <a:cubicBezTo>
                  <a:pt x="56" y="287"/>
                  <a:pt x="56" y="287"/>
                  <a:pt x="56" y="287"/>
                </a:cubicBezTo>
                <a:cubicBezTo>
                  <a:pt x="55" y="279"/>
                  <a:pt x="54" y="272"/>
                  <a:pt x="54" y="264"/>
                </a:cubicBezTo>
                <a:close/>
                <a:moveTo>
                  <a:pt x="57" y="292"/>
                </a:moveTo>
                <a:cubicBezTo>
                  <a:pt x="120" y="282"/>
                  <a:pt x="120" y="282"/>
                  <a:pt x="120" y="282"/>
                </a:cubicBezTo>
                <a:cubicBezTo>
                  <a:pt x="121" y="286"/>
                  <a:pt x="122" y="291"/>
                  <a:pt x="123" y="295"/>
                </a:cubicBezTo>
                <a:cubicBezTo>
                  <a:pt x="63" y="315"/>
                  <a:pt x="63" y="315"/>
                  <a:pt x="63" y="315"/>
                </a:cubicBezTo>
                <a:cubicBezTo>
                  <a:pt x="60" y="307"/>
                  <a:pt x="58" y="300"/>
                  <a:pt x="57" y="292"/>
                </a:cubicBezTo>
                <a:close/>
                <a:moveTo>
                  <a:pt x="73" y="342"/>
                </a:moveTo>
                <a:cubicBezTo>
                  <a:pt x="70" y="335"/>
                  <a:pt x="67" y="328"/>
                  <a:pt x="64" y="320"/>
                </a:cubicBezTo>
                <a:cubicBezTo>
                  <a:pt x="125" y="301"/>
                  <a:pt x="125" y="301"/>
                  <a:pt x="125" y="301"/>
                </a:cubicBezTo>
                <a:cubicBezTo>
                  <a:pt x="127" y="305"/>
                  <a:pt x="128" y="309"/>
                  <a:pt x="130" y="314"/>
                </a:cubicBezTo>
                <a:lnTo>
                  <a:pt x="73" y="342"/>
                </a:lnTo>
                <a:close/>
                <a:moveTo>
                  <a:pt x="75" y="347"/>
                </a:moveTo>
                <a:cubicBezTo>
                  <a:pt x="133" y="319"/>
                  <a:pt x="133" y="319"/>
                  <a:pt x="133" y="319"/>
                </a:cubicBezTo>
                <a:cubicBezTo>
                  <a:pt x="135" y="323"/>
                  <a:pt x="137" y="327"/>
                  <a:pt x="140" y="331"/>
                </a:cubicBezTo>
                <a:cubicBezTo>
                  <a:pt x="87" y="367"/>
                  <a:pt x="87" y="367"/>
                  <a:pt x="87" y="367"/>
                </a:cubicBezTo>
                <a:cubicBezTo>
                  <a:pt x="83" y="360"/>
                  <a:pt x="79" y="354"/>
                  <a:pt x="75" y="347"/>
                </a:cubicBezTo>
                <a:close/>
                <a:moveTo>
                  <a:pt x="90" y="371"/>
                </a:moveTo>
                <a:cubicBezTo>
                  <a:pt x="143" y="336"/>
                  <a:pt x="143" y="336"/>
                  <a:pt x="143" y="336"/>
                </a:cubicBezTo>
                <a:cubicBezTo>
                  <a:pt x="145" y="339"/>
                  <a:pt x="148" y="343"/>
                  <a:pt x="151" y="347"/>
                </a:cubicBezTo>
                <a:cubicBezTo>
                  <a:pt x="104" y="390"/>
                  <a:pt x="104" y="390"/>
                  <a:pt x="104" y="390"/>
                </a:cubicBezTo>
                <a:cubicBezTo>
                  <a:pt x="99" y="384"/>
                  <a:pt x="94" y="378"/>
                  <a:pt x="90" y="371"/>
                </a:cubicBezTo>
                <a:close/>
                <a:moveTo>
                  <a:pt x="125" y="410"/>
                </a:moveTo>
                <a:cubicBezTo>
                  <a:pt x="119" y="405"/>
                  <a:pt x="114" y="399"/>
                  <a:pt x="108" y="394"/>
                </a:cubicBezTo>
                <a:cubicBezTo>
                  <a:pt x="155" y="351"/>
                  <a:pt x="155" y="351"/>
                  <a:pt x="155" y="351"/>
                </a:cubicBezTo>
                <a:cubicBezTo>
                  <a:pt x="158" y="354"/>
                  <a:pt x="162" y="357"/>
                  <a:pt x="165" y="361"/>
                </a:cubicBezTo>
                <a:lnTo>
                  <a:pt x="125" y="410"/>
                </a:lnTo>
                <a:close/>
                <a:moveTo>
                  <a:pt x="148" y="427"/>
                </a:moveTo>
                <a:cubicBezTo>
                  <a:pt x="142" y="423"/>
                  <a:pt x="135" y="418"/>
                  <a:pt x="129" y="413"/>
                </a:cubicBezTo>
                <a:cubicBezTo>
                  <a:pt x="170" y="364"/>
                  <a:pt x="170" y="364"/>
                  <a:pt x="170" y="364"/>
                </a:cubicBezTo>
                <a:cubicBezTo>
                  <a:pt x="173" y="367"/>
                  <a:pt x="177" y="370"/>
                  <a:pt x="181" y="372"/>
                </a:cubicBezTo>
                <a:lnTo>
                  <a:pt x="148" y="427"/>
                </a:lnTo>
                <a:close/>
                <a:moveTo>
                  <a:pt x="153" y="430"/>
                </a:moveTo>
                <a:cubicBezTo>
                  <a:pt x="186" y="375"/>
                  <a:pt x="186" y="375"/>
                  <a:pt x="186" y="375"/>
                </a:cubicBezTo>
                <a:cubicBezTo>
                  <a:pt x="190" y="378"/>
                  <a:pt x="194" y="380"/>
                  <a:pt x="198" y="382"/>
                </a:cubicBezTo>
                <a:cubicBezTo>
                  <a:pt x="174" y="440"/>
                  <a:pt x="174" y="440"/>
                  <a:pt x="174" y="440"/>
                </a:cubicBezTo>
                <a:cubicBezTo>
                  <a:pt x="167" y="437"/>
                  <a:pt x="160" y="433"/>
                  <a:pt x="153" y="430"/>
                </a:cubicBezTo>
                <a:close/>
                <a:moveTo>
                  <a:pt x="179" y="442"/>
                </a:moveTo>
                <a:cubicBezTo>
                  <a:pt x="204" y="384"/>
                  <a:pt x="204" y="384"/>
                  <a:pt x="204" y="384"/>
                </a:cubicBezTo>
                <a:cubicBezTo>
                  <a:pt x="208" y="386"/>
                  <a:pt x="212" y="387"/>
                  <a:pt x="217" y="388"/>
                </a:cubicBezTo>
                <a:cubicBezTo>
                  <a:pt x="201" y="450"/>
                  <a:pt x="201" y="450"/>
                  <a:pt x="201" y="450"/>
                </a:cubicBezTo>
                <a:cubicBezTo>
                  <a:pt x="193" y="448"/>
                  <a:pt x="186" y="445"/>
                  <a:pt x="179" y="442"/>
                </a:cubicBezTo>
                <a:close/>
                <a:moveTo>
                  <a:pt x="206" y="451"/>
                </a:moveTo>
                <a:cubicBezTo>
                  <a:pt x="222" y="390"/>
                  <a:pt x="222" y="390"/>
                  <a:pt x="222" y="390"/>
                </a:cubicBezTo>
                <a:cubicBezTo>
                  <a:pt x="227" y="391"/>
                  <a:pt x="232" y="392"/>
                  <a:pt x="236" y="392"/>
                </a:cubicBezTo>
                <a:cubicBezTo>
                  <a:pt x="229" y="455"/>
                  <a:pt x="229" y="455"/>
                  <a:pt x="229" y="455"/>
                </a:cubicBezTo>
                <a:cubicBezTo>
                  <a:pt x="221" y="454"/>
                  <a:pt x="214" y="453"/>
                  <a:pt x="206" y="451"/>
                </a:cubicBezTo>
                <a:close/>
                <a:moveTo>
                  <a:pt x="234" y="456"/>
                </a:moveTo>
                <a:cubicBezTo>
                  <a:pt x="242" y="393"/>
                  <a:pt x="242" y="393"/>
                  <a:pt x="242" y="393"/>
                </a:cubicBezTo>
                <a:cubicBezTo>
                  <a:pt x="246" y="393"/>
                  <a:pt x="250" y="393"/>
                  <a:pt x="254" y="393"/>
                </a:cubicBezTo>
                <a:cubicBezTo>
                  <a:pt x="254" y="393"/>
                  <a:pt x="255" y="393"/>
                  <a:pt x="256" y="393"/>
                </a:cubicBezTo>
                <a:cubicBezTo>
                  <a:pt x="257" y="457"/>
                  <a:pt x="257" y="457"/>
                  <a:pt x="257" y="457"/>
                </a:cubicBezTo>
                <a:cubicBezTo>
                  <a:pt x="250" y="457"/>
                  <a:pt x="242" y="457"/>
                  <a:pt x="234" y="456"/>
                </a:cubicBezTo>
                <a:close/>
                <a:moveTo>
                  <a:pt x="263" y="457"/>
                </a:moveTo>
                <a:cubicBezTo>
                  <a:pt x="261" y="393"/>
                  <a:pt x="261" y="393"/>
                  <a:pt x="261" y="393"/>
                </a:cubicBezTo>
                <a:cubicBezTo>
                  <a:pt x="266" y="393"/>
                  <a:pt x="271" y="392"/>
                  <a:pt x="275" y="392"/>
                </a:cubicBezTo>
                <a:cubicBezTo>
                  <a:pt x="286" y="455"/>
                  <a:pt x="286" y="455"/>
                  <a:pt x="286" y="455"/>
                </a:cubicBezTo>
                <a:cubicBezTo>
                  <a:pt x="278" y="456"/>
                  <a:pt x="271" y="456"/>
                  <a:pt x="263" y="457"/>
                </a:cubicBezTo>
                <a:close/>
                <a:moveTo>
                  <a:pt x="292" y="454"/>
                </a:moveTo>
                <a:cubicBezTo>
                  <a:pt x="281" y="391"/>
                  <a:pt x="281" y="391"/>
                  <a:pt x="281" y="391"/>
                </a:cubicBezTo>
                <a:cubicBezTo>
                  <a:pt x="285" y="390"/>
                  <a:pt x="290" y="389"/>
                  <a:pt x="294" y="387"/>
                </a:cubicBezTo>
                <a:cubicBezTo>
                  <a:pt x="314" y="448"/>
                  <a:pt x="314" y="448"/>
                  <a:pt x="314" y="448"/>
                </a:cubicBezTo>
                <a:cubicBezTo>
                  <a:pt x="307" y="450"/>
                  <a:pt x="299" y="452"/>
                  <a:pt x="292" y="454"/>
                </a:cubicBezTo>
                <a:close/>
                <a:moveTo>
                  <a:pt x="319" y="446"/>
                </a:moveTo>
                <a:cubicBezTo>
                  <a:pt x="300" y="385"/>
                  <a:pt x="300" y="385"/>
                  <a:pt x="300" y="385"/>
                </a:cubicBezTo>
                <a:cubicBezTo>
                  <a:pt x="304" y="384"/>
                  <a:pt x="308" y="382"/>
                  <a:pt x="313" y="380"/>
                </a:cubicBezTo>
                <a:cubicBezTo>
                  <a:pt x="341" y="438"/>
                  <a:pt x="341" y="438"/>
                  <a:pt x="341" y="438"/>
                </a:cubicBezTo>
                <a:cubicBezTo>
                  <a:pt x="334" y="441"/>
                  <a:pt x="327" y="444"/>
                  <a:pt x="319" y="446"/>
                </a:cubicBezTo>
                <a:close/>
                <a:moveTo>
                  <a:pt x="346" y="435"/>
                </a:moveTo>
                <a:cubicBezTo>
                  <a:pt x="318" y="377"/>
                  <a:pt x="318" y="377"/>
                  <a:pt x="318" y="377"/>
                </a:cubicBezTo>
                <a:cubicBezTo>
                  <a:pt x="322" y="375"/>
                  <a:pt x="326" y="373"/>
                  <a:pt x="330" y="370"/>
                </a:cubicBezTo>
                <a:cubicBezTo>
                  <a:pt x="366" y="423"/>
                  <a:pt x="366" y="423"/>
                  <a:pt x="366" y="423"/>
                </a:cubicBezTo>
                <a:cubicBezTo>
                  <a:pt x="359" y="428"/>
                  <a:pt x="353" y="432"/>
                  <a:pt x="346" y="435"/>
                </a:cubicBezTo>
                <a:close/>
                <a:moveTo>
                  <a:pt x="370" y="420"/>
                </a:moveTo>
                <a:cubicBezTo>
                  <a:pt x="334" y="367"/>
                  <a:pt x="334" y="367"/>
                  <a:pt x="334" y="367"/>
                </a:cubicBezTo>
                <a:cubicBezTo>
                  <a:pt x="338" y="364"/>
                  <a:pt x="341" y="361"/>
                  <a:pt x="345" y="358"/>
                </a:cubicBezTo>
                <a:cubicBezTo>
                  <a:pt x="388" y="406"/>
                  <a:pt x="388" y="406"/>
                  <a:pt x="388" y="406"/>
                </a:cubicBezTo>
                <a:cubicBezTo>
                  <a:pt x="382" y="411"/>
                  <a:pt x="376" y="416"/>
                  <a:pt x="370" y="420"/>
                </a:cubicBezTo>
                <a:close/>
                <a:moveTo>
                  <a:pt x="392" y="402"/>
                </a:moveTo>
                <a:cubicBezTo>
                  <a:pt x="349" y="354"/>
                  <a:pt x="349" y="354"/>
                  <a:pt x="349" y="354"/>
                </a:cubicBezTo>
                <a:cubicBezTo>
                  <a:pt x="352" y="351"/>
                  <a:pt x="355" y="348"/>
                  <a:pt x="358" y="344"/>
                </a:cubicBezTo>
                <a:cubicBezTo>
                  <a:pt x="408" y="385"/>
                  <a:pt x="408" y="385"/>
                  <a:pt x="408" y="385"/>
                </a:cubicBezTo>
                <a:cubicBezTo>
                  <a:pt x="403" y="391"/>
                  <a:pt x="398" y="397"/>
                  <a:pt x="392" y="402"/>
                </a:cubicBezTo>
                <a:close/>
                <a:moveTo>
                  <a:pt x="412" y="381"/>
                </a:moveTo>
                <a:cubicBezTo>
                  <a:pt x="362" y="340"/>
                  <a:pt x="362" y="340"/>
                  <a:pt x="362" y="340"/>
                </a:cubicBezTo>
                <a:cubicBezTo>
                  <a:pt x="364" y="336"/>
                  <a:pt x="367" y="332"/>
                  <a:pt x="369" y="328"/>
                </a:cubicBezTo>
                <a:cubicBezTo>
                  <a:pt x="425" y="362"/>
                  <a:pt x="425" y="362"/>
                  <a:pt x="425" y="362"/>
                </a:cubicBezTo>
                <a:cubicBezTo>
                  <a:pt x="421" y="369"/>
                  <a:pt x="417" y="375"/>
                  <a:pt x="412" y="381"/>
                </a:cubicBezTo>
                <a:close/>
                <a:moveTo>
                  <a:pt x="428" y="357"/>
                </a:moveTo>
                <a:cubicBezTo>
                  <a:pt x="372" y="324"/>
                  <a:pt x="372" y="324"/>
                  <a:pt x="372" y="324"/>
                </a:cubicBezTo>
                <a:cubicBezTo>
                  <a:pt x="375" y="320"/>
                  <a:pt x="377" y="316"/>
                  <a:pt x="378" y="311"/>
                </a:cubicBezTo>
                <a:cubicBezTo>
                  <a:pt x="438" y="337"/>
                  <a:pt x="438" y="337"/>
                  <a:pt x="438" y="337"/>
                </a:cubicBezTo>
                <a:cubicBezTo>
                  <a:pt x="435" y="344"/>
                  <a:pt x="432" y="351"/>
                  <a:pt x="428" y="357"/>
                </a:cubicBezTo>
                <a:close/>
                <a:moveTo>
                  <a:pt x="441" y="332"/>
                </a:moveTo>
                <a:cubicBezTo>
                  <a:pt x="380" y="306"/>
                  <a:pt x="380" y="306"/>
                  <a:pt x="380" y="306"/>
                </a:cubicBezTo>
                <a:cubicBezTo>
                  <a:pt x="382" y="302"/>
                  <a:pt x="384" y="298"/>
                  <a:pt x="385" y="293"/>
                </a:cubicBezTo>
                <a:cubicBezTo>
                  <a:pt x="448" y="310"/>
                  <a:pt x="448" y="310"/>
                  <a:pt x="448" y="310"/>
                </a:cubicBezTo>
                <a:cubicBezTo>
                  <a:pt x="446" y="317"/>
                  <a:pt x="443" y="325"/>
                  <a:pt x="441" y="332"/>
                </a:cubicBezTo>
                <a:close/>
                <a:moveTo>
                  <a:pt x="449" y="305"/>
                </a:moveTo>
                <a:cubicBezTo>
                  <a:pt x="386" y="288"/>
                  <a:pt x="386" y="288"/>
                  <a:pt x="386" y="288"/>
                </a:cubicBezTo>
                <a:cubicBezTo>
                  <a:pt x="387" y="283"/>
                  <a:pt x="388" y="279"/>
                  <a:pt x="388" y="274"/>
                </a:cubicBezTo>
                <a:cubicBezTo>
                  <a:pt x="453" y="282"/>
                  <a:pt x="453" y="282"/>
                  <a:pt x="453" y="282"/>
                </a:cubicBezTo>
                <a:cubicBezTo>
                  <a:pt x="453" y="290"/>
                  <a:pt x="451" y="297"/>
                  <a:pt x="449" y="305"/>
                </a:cubicBezTo>
                <a:close/>
                <a:moveTo>
                  <a:pt x="454" y="276"/>
                </a:moveTo>
                <a:cubicBezTo>
                  <a:pt x="389" y="269"/>
                  <a:pt x="389" y="269"/>
                  <a:pt x="389" y="269"/>
                </a:cubicBezTo>
                <a:cubicBezTo>
                  <a:pt x="389" y="265"/>
                  <a:pt x="389" y="261"/>
                  <a:pt x="389" y="258"/>
                </a:cubicBezTo>
                <a:cubicBezTo>
                  <a:pt x="389" y="257"/>
                  <a:pt x="389" y="256"/>
                  <a:pt x="389" y="255"/>
                </a:cubicBezTo>
                <a:cubicBezTo>
                  <a:pt x="455" y="253"/>
                  <a:pt x="455" y="253"/>
                  <a:pt x="455" y="253"/>
                </a:cubicBezTo>
                <a:cubicBezTo>
                  <a:pt x="455" y="261"/>
                  <a:pt x="455" y="269"/>
                  <a:pt x="454" y="276"/>
                </a:cubicBezTo>
                <a:close/>
              </a:path>
            </a:pathLst>
          </a:custGeom>
          <a:solidFill>
            <a:schemeClr val="accent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5" name="Freeform 23"/>
          <p:cNvSpPr>
            <a:spLocks noEditPoints="1"/>
          </p:cNvSpPr>
          <p:nvPr/>
        </p:nvSpPr>
        <p:spPr bwMode="auto">
          <a:xfrm>
            <a:off x="10753076" y="6122190"/>
            <a:ext cx="1073240" cy="1076396"/>
          </a:xfrm>
          <a:custGeom>
            <a:avLst/>
            <a:gdLst>
              <a:gd name="T0" fmla="*/ 50 w 285"/>
              <a:gd name="T1" fmla="*/ 51 h 286"/>
              <a:gd name="T2" fmla="*/ 35 w 285"/>
              <a:gd name="T3" fmla="*/ 69 h 286"/>
              <a:gd name="T4" fmla="*/ 23 w 285"/>
              <a:gd name="T5" fmla="*/ 91 h 286"/>
              <a:gd name="T6" fmla="*/ 15 w 285"/>
              <a:gd name="T7" fmla="*/ 113 h 286"/>
              <a:gd name="T8" fmla="*/ 12 w 285"/>
              <a:gd name="T9" fmla="*/ 137 h 286"/>
              <a:gd name="T10" fmla="*/ 13 w 285"/>
              <a:gd name="T11" fmla="*/ 161 h 286"/>
              <a:gd name="T12" fmla="*/ 19 w 285"/>
              <a:gd name="T13" fmla="*/ 185 h 286"/>
              <a:gd name="T14" fmla="*/ 29 w 285"/>
              <a:gd name="T15" fmla="*/ 207 h 286"/>
              <a:gd name="T16" fmla="*/ 42 w 285"/>
              <a:gd name="T17" fmla="*/ 227 h 286"/>
              <a:gd name="T18" fmla="*/ 59 w 285"/>
              <a:gd name="T19" fmla="*/ 244 h 286"/>
              <a:gd name="T20" fmla="*/ 79 w 285"/>
              <a:gd name="T21" fmla="*/ 257 h 286"/>
              <a:gd name="T22" fmla="*/ 101 w 285"/>
              <a:gd name="T23" fmla="*/ 267 h 286"/>
              <a:gd name="T24" fmla="*/ 125 w 285"/>
              <a:gd name="T25" fmla="*/ 272 h 286"/>
              <a:gd name="T26" fmla="*/ 149 w 285"/>
              <a:gd name="T27" fmla="*/ 274 h 286"/>
              <a:gd name="T28" fmla="*/ 173 w 285"/>
              <a:gd name="T29" fmla="*/ 270 h 286"/>
              <a:gd name="T30" fmla="*/ 196 w 285"/>
              <a:gd name="T31" fmla="*/ 262 h 286"/>
              <a:gd name="T32" fmla="*/ 217 w 285"/>
              <a:gd name="T33" fmla="*/ 251 h 286"/>
              <a:gd name="T34" fmla="*/ 235 w 285"/>
              <a:gd name="T35" fmla="*/ 235 h 286"/>
              <a:gd name="T36" fmla="*/ 250 w 285"/>
              <a:gd name="T37" fmla="*/ 217 h 286"/>
              <a:gd name="T38" fmla="*/ 262 w 285"/>
              <a:gd name="T39" fmla="*/ 196 h 286"/>
              <a:gd name="T40" fmla="*/ 270 w 285"/>
              <a:gd name="T41" fmla="*/ 173 h 286"/>
              <a:gd name="T42" fmla="*/ 273 w 285"/>
              <a:gd name="T43" fmla="*/ 149 h 286"/>
              <a:gd name="T44" fmla="*/ 272 w 285"/>
              <a:gd name="T45" fmla="*/ 125 h 286"/>
              <a:gd name="T46" fmla="*/ 266 w 285"/>
              <a:gd name="T47" fmla="*/ 101 h 286"/>
              <a:gd name="T48" fmla="*/ 257 w 285"/>
              <a:gd name="T49" fmla="*/ 79 h 286"/>
              <a:gd name="T50" fmla="*/ 243 w 285"/>
              <a:gd name="T51" fmla="*/ 59 h 286"/>
              <a:gd name="T52" fmla="*/ 226 w 285"/>
              <a:gd name="T53" fmla="*/ 42 h 286"/>
              <a:gd name="T54" fmla="*/ 206 w 285"/>
              <a:gd name="T55" fmla="*/ 29 h 286"/>
              <a:gd name="T56" fmla="*/ 184 w 285"/>
              <a:gd name="T57" fmla="*/ 19 h 286"/>
              <a:gd name="T58" fmla="*/ 160 w 285"/>
              <a:gd name="T59" fmla="*/ 14 h 286"/>
              <a:gd name="T60" fmla="*/ 136 w 285"/>
              <a:gd name="T61" fmla="*/ 13 h 286"/>
              <a:gd name="T62" fmla="*/ 112 w 285"/>
              <a:gd name="T63" fmla="*/ 16 h 286"/>
              <a:gd name="T64" fmla="*/ 90 w 285"/>
              <a:gd name="T65" fmla="*/ 24 h 286"/>
              <a:gd name="T66" fmla="*/ 69 w 285"/>
              <a:gd name="T67" fmla="*/ 35 h 286"/>
              <a:gd name="T68" fmla="*/ 103 w 285"/>
              <a:gd name="T69" fmla="*/ 99 h 286"/>
              <a:gd name="T70" fmla="*/ 99 w 285"/>
              <a:gd name="T71" fmla="*/ 183 h 286"/>
              <a:gd name="T72" fmla="*/ 238 w 285"/>
              <a:gd name="T73" fmla="*/ 164 h 286"/>
              <a:gd name="T74" fmla="*/ 84 w 285"/>
              <a:gd name="T75" fmla="*/ 235 h 286"/>
              <a:gd name="T76" fmla="*/ 107 w 285"/>
              <a:gd name="T77" fmla="*/ 207 h 286"/>
              <a:gd name="T78" fmla="*/ 175 w 285"/>
              <a:gd name="T79" fmla="*/ 39 h 286"/>
              <a:gd name="T80" fmla="*/ 240 w 285"/>
              <a:gd name="T81" fmla="*/ 135 h 286"/>
              <a:gd name="T82" fmla="*/ 197 w 285"/>
              <a:gd name="T83" fmla="*/ 94 h 286"/>
              <a:gd name="T84" fmla="*/ 163 w 285"/>
              <a:gd name="T85" fmla="*/ 47 h 286"/>
              <a:gd name="T86" fmla="*/ 134 w 285"/>
              <a:gd name="T87" fmla="*/ 45 h 286"/>
              <a:gd name="T88" fmla="*/ 93 w 285"/>
              <a:gd name="T89" fmla="*/ 89 h 286"/>
              <a:gd name="T90" fmla="*/ 62 w 285"/>
              <a:gd name="T91" fmla="*/ 200 h 286"/>
              <a:gd name="T92" fmla="*/ 123 w 285"/>
              <a:gd name="T93" fmla="*/ 3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5" h="286">
                <a:moveTo>
                  <a:pt x="59" y="43"/>
                </a:moveTo>
                <a:cubicBezTo>
                  <a:pt x="46" y="37"/>
                  <a:pt x="46" y="37"/>
                  <a:pt x="46" y="37"/>
                </a:cubicBezTo>
                <a:cubicBezTo>
                  <a:pt x="50" y="51"/>
                  <a:pt x="50" y="51"/>
                  <a:pt x="50" y="51"/>
                </a:cubicBezTo>
                <a:cubicBezTo>
                  <a:pt x="52" y="56"/>
                  <a:pt x="47" y="61"/>
                  <a:pt x="42" y="60"/>
                </a:cubicBezTo>
                <a:cubicBezTo>
                  <a:pt x="28" y="57"/>
                  <a:pt x="28" y="57"/>
                  <a:pt x="28" y="57"/>
                </a:cubicBezTo>
                <a:cubicBezTo>
                  <a:pt x="35" y="69"/>
                  <a:pt x="35" y="69"/>
                  <a:pt x="35" y="69"/>
                </a:cubicBezTo>
                <a:cubicBezTo>
                  <a:pt x="37" y="74"/>
                  <a:pt x="34" y="80"/>
                  <a:pt x="29" y="79"/>
                </a:cubicBezTo>
                <a:cubicBezTo>
                  <a:pt x="14" y="79"/>
                  <a:pt x="14" y="79"/>
                  <a:pt x="14" y="79"/>
                </a:cubicBezTo>
                <a:cubicBezTo>
                  <a:pt x="23" y="91"/>
                  <a:pt x="23" y="91"/>
                  <a:pt x="23" y="91"/>
                </a:cubicBezTo>
                <a:cubicBezTo>
                  <a:pt x="26" y="95"/>
                  <a:pt x="24" y="101"/>
                  <a:pt x="19" y="102"/>
                </a:cubicBezTo>
                <a:cubicBezTo>
                  <a:pt x="5" y="104"/>
                  <a:pt x="5" y="104"/>
                  <a:pt x="5" y="104"/>
                </a:cubicBezTo>
                <a:cubicBezTo>
                  <a:pt x="15" y="113"/>
                  <a:pt x="15" y="113"/>
                  <a:pt x="15" y="113"/>
                </a:cubicBezTo>
                <a:cubicBezTo>
                  <a:pt x="19" y="117"/>
                  <a:pt x="18" y="123"/>
                  <a:pt x="13" y="125"/>
                </a:cubicBezTo>
                <a:cubicBezTo>
                  <a:pt x="0" y="130"/>
                  <a:pt x="0" y="130"/>
                  <a:pt x="0" y="130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7" y="140"/>
                  <a:pt x="17" y="146"/>
                  <a:pt x="12" y="149"/>
                </a:cubicBezTo>
                <a:cubicBezTo>
                  <a:pt x="0" y="156"/>
                  <a:pt x="0" y="156"/>
                  <a:pt x="0" y="156"/>
                </a:cubicBezTo>
                <a:cubicBezTo>
                  <a:pt x="13" y="161"/>
                  <a:pt x="13" y="161"/>
                  <a:pt x="13" y="161"/>
                </a:cubicBezTo>
                <a:cubicBezTo>
                  <a:pt x="18" y="163"/>
                  <a:pt x="19" y="169"/>
                  <a:pt x="15" y="173"/>
                </a:cubicBezTo>
                <a:cubicBezTo>
                  <a:pt x="5" y="182"/>
                  <a:pt x="5" y="182"/>
                  <a:pt x="5" y="182"/>
                </a:cubicBezTo>
                <a:cubicBezTo>
                  <a:pt x="19" y="185"/>
                  <a:pt x="19" y="185"/>
                  <a:pt x="19" y="185"/>
                </a:cubicBezTo>
                <a:cubicBezTo>
                  <a:pt x="24" y="186"/>
                  <a:pt x="26" y="192"/>
                  <a:pt x="23" y="196"/>
                </a:cubicBezTo>
                <a:cubicBezTo>
                  <a:pt x="14" y="207"/>
                  <a:pt x="14" y="207"/>
                  <a:pt x="14" y="207"/>
                </a:cubicBezTo>
                <a:cubicBezTo>
                  <a:pt x="29" y="207"/>
                  <a:pt x="29" y="207"/>
                  <a:pt x="29" y="207"/>
                </a:cubicBezTo>
                <a:cubicBezTo>
                  <a:pt x="34" y="207"/>
                  <a:pt x="37" y="212"/>
                  <a:pt x="35" y="217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42" y="227"/>
                  <a:pt x="42" y="227"/>
                  <a:pt x="42" y="227"/>
                </a:cubicBezTo>
                <a:cubicBezTo>
                  <a:pt x="47" y="226"/>
                  <a:pt x="52" y="230"/>
                  <a:pt x="50" y="235"/>
                </a:cubicBezTo>
                <a:cubicBezTo>
                  <a:pt x="46" y="249"/>
                  <a:pt x="46" y="249"/>
                  <a:pt x="46" y="249"/>
                </a:cubicBezTo>
                <a:cubicBezTo>
                  <a:pt x="59" y="244"/>
                  <a:pt x="59" y="244"/>
                  <a:pt x="59" y="244"/>
                </a:cubicBezTo>
                <a:cubicBezTo>
                  <a:pt x="64" y="242"/>
                  <a:pt x="69" y="246"/>
                  <a:pt x="69" y="251"/>
                </a:cubicBezTo>
                <a:cubicBezTo>
                  <a:pt x="67" y="265"/>
                  <a:pt x="67" y="265"/>
                  <a:pt x="67" y="265"/>
                </a:cubicBezTo>
                <a:cubicBezTo>
                  <a:pt x="79" y="257"/>
                  <a:pt x="79" y="257"/>
                  <a:pt x="79" y="257"/>
                </a:cubicBezTo>
                <a:cubicBezTo>
                  <a:pt x="84" y="254"/>
                  <a:pt x="89" y="257"/>
                  <a:pt x="90" y="263"/>
                </a:cubicBezTo>
                <a:cubicBezTo>
                  <a:pt x="91" y="277"/>
                  <a:pt x="91" y="277"/>
                  <a:pt x="91" y="277"/>
                </a:cubicBezTo>
                <a:cubicBezTo>
                  <a:pt x="101" y="267"/>
                  <a:pt x="101" y="267"/>
                  <a:pt x="101" y="267"/>
                </a:cubicBezTo>
                <a:cubicBezTo>
                  <a:pt x="105" y="263"/>
                  <a:pt x="111" y="265"/>
                  <a:pt x="113" y="270"/>
                </a:cubicBezTo>
                <a:cubicBezTo>
                  <a:pt x="116" y="284"/>
                  <a:pt x="116" y="284"/>
                  <a:pt x="116" y="284"/>
                </a:cubicBezTo>
                <a:cubicBezTo>
                  <a:pt x="125" y="272"/>
                  <a:pt x="125" y="272"/>
                  <a:pt x="125" y="272"/>
                </a:cubicBezTo>
                <a:cubicBezTo>
                  <a:pt x="128" y="268"/>
                  <a:pt x="134" y="269"/>
                  <a:pt x="137" y="274"/>
                </a:cubicBezTo>
                <a:cubicBezTo>
                  <a:pt x="143" y="286"/>
                  <a:pt x="143" y="286"/>
                  <a:pt x="143" y="286"/>
                </a:cubicBezTo>
                <a:cubicBezTo>
                  <a:pt x="149" y="274"/>
                  <a:pt x="149" y="274"/>
                  <a:pt x="149" y="274"/>
                </a:cubicBezTo>
                <a:cubicBezTo>
                  <a:pt x="151" y="269"/>
                  <a:pt x="158" y="268"/>
                  <a:pt x="161" y="272"/>
                </a:cubicBezTo>
                <a:cubicBezTo>
                  <a:pt x="169" y="284"/>
                  <a:pt x="169" y="284"/>
                  <a:pt x="169" y="284"/>
                </a:cubicBezTo>
                <a:cubicBezTo>
                  <a:pt x="173" y="270"/>
                  <a:pt x="173" y="270"/>
                  <a:pt x="173" y="270"/>
                </a:cubicBezTo>
                <a:cubicBezTo>
                  <a:pt x="174" y="265"/>
                  <a:pt x="180" y="263"/>
                  <a:pt x="184" y="267"/>
                </a:cubicBezTo>
                <a:cubicBezTo>
                  <a:pt x="194" y="277"/>
                  <a:pt x="194" y="277"/>
                  <a:pt x="194" y="277"/>
                </a:cubicBezTo>
                <a:cubicBezTo>
                  <a:pt x="196" y="262"/>
                  <a:pt x="196" y="262"/>
                  <a:pt x="196" y="262"/>
                </a:cubicBezTo>
                <a:cubicBezTo>
                  <a:pt x="196" y="257"/>
                  <a:pt x="202" y="254"/>
                  <a:pt x="206" y="257"/>
                </a:cubicBezTo>
                <a:cubicBezTo>
                  <a:pt x="218" y="265"/>
                  <a:pt x="218" y="265"/>
                  <a:pt x="218" y="265"/>
                </a:cubicBezTo>
                <a:cubicBezTo>
                  <a:pt x="217" y="251"/>
                  <a:pt x="217" y="251"/>
                  <a:pt x="217" y="251"/>
                </a:cubicBezTo>
                <a:cubicBezTo>
                  <a:pt x="216" y="246"/>
                  <a:pt x="221" y="242"/>
                  <a:pt x="226" y="244"/>
                </a:cubicBezTo>
                <a:cubicBezTo>
                  <a:pt x="239" y="249"/>
                  <a:pt x="239" y="249"/>
                  <a:pt x="239" y="249"/>
                </a:cubicBezTo>
                <a:cubicBezTo>
                  <a:pt x="235" y="235"/>
                  <a:pt x="235" y="235"/>
                  <a:pt x="235" y="235"/>
                </a:cubicBezTo>
                <a:cubicBezTo>
                  <a:pt x="234" y="230"/>
                  <a:pt x="238" y="225"/>
                  <a:pt x="243" y="227"/>
                </a:cubicBezTo>
                <a:cubicBezTo>
                  <a:pt x="257" y="229"/>
                  <a:pt x="257" y="229"/>
                  <a:pt x="257" y="229"/>
                </a:cubicBezTo>
                <a:cubicBezTo>
                  <a:pt x="250" y="217"/>
                  <a:pt x="250" y="217"/>
                  <a:pt x="250" y="217"/>
                </a:cubicBezTo>
                <a:cubicBezTo>
                  <a:pt x="248" y="212"/>
                  <a:pt x="251" y="207"/>
                  <a:pt x="257" y="207"/>
                </a:cubicBezTo>
                <a:cubicBezTo>
                  <a:pt x="271" y="207"/>
                  <a:pt x="271" y="207"/>
                  <a:pt x="271" y="207"/>
                </a:cubicBezTo>
                <a:cubicBezTo>
                  <a:pt x="262" y="196"/>
                  <a:pt x="262" y="196"/>
                  <a:pt x="262" y="196"/>
                </a:cubicBezTo>
                <a:cubicBezTo>
                  <a:pt x="259" y="192"/>
                  <a:pt x="261" y="185"/>
                  <a:pt x="266" y="185"/>
                </a:cubicBezTo>
                <a:cubicBezTo>
                  <a:pt x="280" y="182"/>
                  <a:pt x="280" y="182"/>
                  <a:pt x="280" y="182"/>
                </a:cubicBezTo>
                <a:cubicBezTo>
                  <a:pt x="270" y="173"/>
                  <a:pt x="270" y="173"/>
                  <a:pt x="270" y="173"/>
                </a:cubicBezTo>
                <a:cubicBezTo>
                  <a:pt x="266" y="169"/>
                  <a:pt x="267" y="163"/>
                  <a:pt x="272" y="161"/>
                </a:cubicBezTo>
                <a:cubicBezTo>
                  <a:pt x="285" y="156"/>
                  <a:pt x="285" y="156"/>
                  <a:pt x="285" y="156"/>
                </a:cubicBezTo>
                <a:cubicBezTo>
                  <a:pt x="273" y="149"/>
                  <a:pt x="273" y="149"/>
                  <a:pt x="273" y="149"/>
                </a:cubicBezTo>
                <a:cubicBezTo>
                  <a:pt x="269" y="146"/>
                  <a:pt x="269" y="140"/>
                  <a:pt x="273" y="137"/>
                </a:cubicBezTo>
                <a:cubicBezTo>
                  <a:pt x="285" y="130"/>
                  <a:pt x="285" y="130"/>
                  <a:pt x="285" y="130"/>
                </a:cubicBezTo>
                <a:cubicBezTo>
                  <a:pt x="272" y="125"/>
                  <a:pt x="272" y="125"/>
                  <a:pt x="272" y="125"/>
                </a:cubicBezTo>
                <a:cubicBezTo>
                  <a:pt x="267" y="123"/>
                  <a:pt x="266" y="117"/>
                  <a:pt x="270" y="113"/>
                </a:cubicBezTo>
                <a:cubicBezTo>
                  <a:pt x="280" y="104"/>
                  <a:pt x="280" y="104"/>
                  <a:pt x="280" y="104"/>
                </a:cubicBezTo>
                <a:cubicBezTo>
                  <a:pt x="266" y="101"/>
                  <a:pt x="266" y="101"/>
                  <a:pt x="266" y="101"/>
                </a:cubicBezTo>
                <a:cubicBezTo>
                  <a:pt x="261" y="100"/>
                  <a:pt x="259" y="94"/>
                  <a:pt x="262" y="90"/>
                </a:cubicBezTo>
                <a:cubicBezTo>
                  <a:pt x="271" y="79"/>
                  <a:pt x="271" y="79"/>
                  <a:pt x="271" y="79"/>
                </a:cubicBezTo>
                <a:cubicBezTo>
                  <a:pt x="257" y="79"/>
                  <a:pt x="257" y="79"/>
                  <a:pt x="257" y="79"/>
                </a:cubicBezTo>
                <a:cubicBezTo>
                  <a:pt x="251" y="79"/>
                  <a:pt x="248" y="74"/>
                  <a:pt x="250" y="69"/>
                </a:cubicBezTo>
                <a:cubicBezTo>
                  <a:pt x="257" y="57"/>
                  <a:pt x="257" y="57"/>
                  <a:pt x="257" y="57"/>
                </a:cubicBezTo>
                <a:cubicBezTo>
                  <a:pt x="243" y="59"/>
                  <a:pt x="243" y="59"/>
                  <a:pt x="243" y="59"/>
                </a:cubicBezTo>
                <a:cubicBezTo>
                  <a:pt x="238" y="60"/>
                  <a:pt x="233" y="56"/>
                  <a:pt x="235" y="51"/>
                </a:cubicBezTo>
                <a:cubicBezTo>
                  <a:pt x="239" y="37"/>
                  <a:pt x="239" y="37"/>
                  <a:pt x="239" y="37"/>
                </a:cubicBezTo>
                <a:cubicBezTo>
                  <a:pt x="226" y="42"/>
                  <a:pt x="226" y="42"/>
                  <a:pt x="226" y="42"/>
                </a:cubicBezTo>
                <a:cubicBezTo>
                  <a:pt x="221" y="44"/>
                  <a:pt x="216" y="40"/>
                  <a:pt x="216" y="35"/>
                </a:cubicBezTo>
                <a:cubicBezTo>
                  <a:pt x="218" y="21"/>
                  <a:pt x="218" y="21"/>
                  <a:pt x="218" y="21"/>
                </a:cubicBezTo>
                <a:cubicBezTo>
                  <a:pt x="206" y="29"/>
                  <a:pt x="206" y="29"/>
                  <a:pt x="206" y="29"/>
                </a:cubicBezTo>
                <a:cubicBezTo>
                  <a:pt x="202" y="32"/>
                  <a:pt x="196" y="29"/>
                  <a:pt x="195" y="24"/>
                </a:cubicBezTo>
                <a:cubicBezTo>
                  <a:pt x="194" y="9"/>
                  <a:pt x="194" y="9"/>
                  <a:pt x="194" y="9"/>
                </a:cubicBezTo>
                <a:cubicBezTo>
                  <a:pt x="184" y="19"/>
                  <a:pt x="184" y="19"/>
                  <a:pt x="184" y="19"/>
                </a:cubicBezTo>
                <a:cubicBezTo>
                  <a:pt x="180" y="23"/>
                  <a:pt x="174" y="21"/>
                  <a:pt x="173" y="16"/>
                </a:cubicBezTo>
                <a:cubicBezTo>
                  <a:pt x="169" y="2"/>
                  <a:pt x="169" y="2"/>
                  <a:pt x="169" y="2"/>
                </a:cubicBezTo>
                <a:cubicBezTo>
                  <a:pt x="160" y="14"/>
                  <a:pt x="160" y="14"/>
                  <a:pt x="160" y="14"/>
                </a:cubicBezTo>
                <a:cubicBezTo>
                  <a:pt x="157" y="18"/>
                  <a:pt x="151" y="17"/>
                  <a:pt x="149" y="13"/>
                </a:cubicBezTo>
                <a:cubicBezTo>
                  <a:pt x="142" y="0"/>
                  <a:pt x="142" y="0"/>
                  <a:pt x="142" y="0"/>
                </a:cubicBezTo>
                <a:cubicBezTo>
                  <a:pt x="136" y="13"/>
                  <a:pt x="136" y="13"/>
                  <a:pt x="136" y="13"/>
                </a:cubicBezTo>
                <a:cubicBezTo>
                  <a:pt x="134" y="17"/>
                  <a:pt x="128" y="18"/>
                  <a:pt x="125" y="14"/>
                </a:cubicBezTo>
                <a:cubicBezTo>
                  <a:pt x="116" y="2"/>
                  <a:pt x="116" y="2"/>
                  <a:pt x="116" y="2"/>
                </a:cubicBezTo>
                <a:cubicBezTo>
                  <a:pt x="112" y="16"/>
                  <a:pt x="112" y="16"/>
                  <a:pt x="112" y="16"/>
                </a:cubicBezTo>
                <a:cubicBezTo>
                  <a:pt x="111" y="21"/>
                  <a:pt x="105" y="23"/>
                  <a:pt x="101" y="19"/>
                </a:cubicBezTo>
                <a:cubicBezTo>
                  <a:pt x="91" y="10"/>
                  <a:pt x="91" y="10"/>
                  <a:pt x="91" y="10"/>
                </a:cubicBezTo>
                <a:cubicBezTo>
                  <a:pt x="90" y="24"/>
                  <a:pt x="90" y="24"/>
                  <a:pt x="90" y="24"/>
                </a:cubicBezTo>
                <a:cubicBezTo>
                  <a:pt x="89" y="29"/>
                  <a:pt x="83" y="32"/>
                  <a:pt x="79" y="29"/>
                </a:cubicBezTo>
                <a:cubicBezTo>
                  <a:pt x="67" y="21"/>
                  <a:pt x="67" y="21"/>
                  <a:pt x="67" y="21"/>
                </a:cubicBezTo>
                <a:cubicBezTo>
                  <a:pt x="69" y="35"/>
                  <a:pt x="69" y="35"/>
                  <a:pt x="69" y="35"/>
                </a:cubicBezTo>
                <a:cubicBezTo>
                  <a:pt x="69" y="41"/>
                  <a:pt x="64" y="45"/>
                  <a:pt x="59" y="43"/>
                </a:cubicBezTo>
                <a:close/>
                <a:moveTo>
                  <a:pt x="99" y="183"/>
                </a:moveTo>
                <a:cubicBezTo>
                  <a:pt x="77" y="159"/>
                  <a:pt x="79" y="121"/>
                  <a:pt x="103" y="99"/>
                </a:cubicBezTo>
                <a:cubicBezTo>
                  <a:pt x="127" y="77"/>
                  <a:pt x="164" y="79"/>
                  <a:pt x="186" y="103"/>
                </a:cubicBezTo>
                <a:cubicBezTo>
                  <a:pt x="208" y="127"/>
                  <a:pt x="207" y="165"/>
                  <a:pt x="183" y="187"/>
                </a:cubicBezTo>
                <a:cubicBezTo>
                  <a:pt x="158" y="209"/>
                  <a:pt x="121" y="207"/>
                  <a:pt x="99" y="183"/>
                </a:cubicBezTo>
                <a:close/>
                <a:moveTo>
                  <a:pt x="211" y="169"/>
                </a:moveTo>
                <a:cubicBezTo>
                  <a:pt x="213" y="165"/>
                  <a:pt x="216" y="163"/>
                  <a:pt x="220" y="163"/>
                </a:cubicBezTo>
                <a:cubicBezTo>
                  <a:pt x="238" y="164"/>
                  <a:pt x="238" y="164"/>
                  <a:pt x="238" y="164"/>
                </a:cubicBezTo>
                <a:cubicBezTo>
                  <a:pt x="244" y="164"/>
                  <a:pt x="248" y="170"/>
                  <a:pt x="247" y="175"/>
                </a:cubicBezTo>
                <a:cubicBezTo>
                  <a:pt x="241" y="193"/>
                  <a:pt x="231" y="210"/>
                  <a:pt x="216" y="223"/>
                </a:cubicBezTo>
                <a:cubicBezTo>
                  <a:pt x="179" y="257"/>
                  <a:pt x="124" y="261"/>
                  <a:pt x="84" y="235"/>
                </a:cubicBezTo>
                <a:cubicBezTo>
                  <a:pt x="79" y="232"/>
                  <a:pt x="78" y="225"/>
                  <a:pt x="83" y="220"/>
                </a:cubicBezTo>
                <a:cubicBezTo>
                  <a:pt x="96" y="208"/>
                  <a:pt x="96" y="208"/>
                  <a:pt x="96" y="208"/>
                </a:cubicBezTo>
                <a:cubicBezTo>
                  <a:pt x="99" y="206"/>
                  <a:pt x="103" y="205"/>
                  <a:pt x="107" y="207"/>
                </a:cubicBezTo>
                <a:cubicBezTo>
                  <a:pt x="133" y="222"/>
                  <a:pt x="168" y="219"/>
                  <a:pt x="192" y="197"/>
                </a:cubicBezTo>
                <a:cubicBezTo>
                  <a:pt x="201" y="189"/>
                  <a:pt x="207" y="179"/>
                  <a:pt x="211" y="169"/>
                </a:cubicBezTo>
                <a:close/>
                <a:moveTo>
                  <a:pt x="175" y="39"/>
                </a:moveTo>
                <a:cubicBezTo>
                  <a:pt x="193" y="45"/>
                  <a:pt x="209" y="55"/>
                  <a:pt x="223" y="70"/>
                </a:cubicBezTo>
                <a:cubicBezTo>
                  <a:pt x="237" y="85"/>
                  <a:pt x="246" y="104"/>
                  <a:pt x="250" y="124"/>
                </a:cubicBezTo>
                <a:cubicBezTo>
                  <a:pt x="251" y="130"/>
                  <a:pt x="246" y="135"/>
                  <a:pt x="240" y="135"/>
                </a:cubicBezTo>
                <a:cubicBezTo>
                  <a:pt x="223" y="134"/>
                  <a:pt x="223" y="134"/>
                  <a:pt x="223" y="134"/>
                </a:cubicBezTo>
                <a:cubicBezTo>
                  <a:pt x="219" y="134"/>
                  <a:pt x="215" y="131"/>
                  <a:pt x="214" y="127"/>
                </a:cubicBezTo>
                <a:cubicBezTo>
                  <a:pt x="211" y="115"/>
                  <a:pt x="206" y="103"/>
                  <a:pt x="197" y="94"/>
                </a:cubicBezTo>
                <a:cubicBezTo>
                  <a:pt x="189" y="85"/>
                  <a:pt x="179" y="78"/>
                  <a:pt x="168" y="74"/>
                </a:cubicBezTo>
                <a:cubicBezTo>
                  <a:pt x="165" y="73"/>
                  <a:pt x="162" y="69"/>
                  <a:pt x="162" y="65"/>
                </a:cubicBezTo>
                <a:cubicBezTo>
                  <a:pt x="163" y="47"/>
                  <a:pt x="163" y="47"/>
                  <a:pt x="163" y="47"/>
                </a:cubicBezTo>
                <a:cubicBezTo>
                  <a:pt x="163" y="41"/>
                  <a:pt x="169" y="37"/>
                  <a:pt x="175" y="39"/>
                </a:cubicBezTo>
                <a:close/>
                <a:moveTo>
                  <a:pt x="123" y="36"/>
                </a:moveTo>
                <a:cubicBezTo>
                  <a:pt x="129" y="35"/>
                  <a:pt x="134" y="39"/>
                  <a:pt x="134" y="45"/>
                </a:cubicBezTo>
                <a:cubicBezTo>
                  <a:pt x="133" y="63"/>
                  <a:pt x="133" y="63"/>
                  <a:pt x="133" y="63"/>
                </a:cubicBezTo>
                <a:cubicBezTo>
                  <a:pt x="133" y="67"/>
                  <a:pt x="130" y="71"/>
                  <a:pt x="126" y="71"/>
                </a:cubicBezTo>
                <a:cubicBezTo>
                  <a:pt x="114" y="74"/>
                  <a:pt x="103" y="80"/>
                  <a:pt x="93" y="89"/>
                </a:cubicBezTo>
                <a:cubicBezTo>
                  <a:pt x="68" y="112"/>
                  <a:pt x="62" y="148"/>
                  <a:pt x="77" y="177"/>
                </a:cubicBezTo>
                <a:cubicBezTo>
                  <a:pt x="79" y="181"/>
                  <a:pt x="78" y="185"/>
                  <a:pt x="75" y="188"/>
                </a:cubicBezTo>
                <a:cubicBezTo>
                  <a:pt x="62" y="200"/>
                  <a:pt x="62" y="200"/>
                  <a:pt x="62" y="200"/>
                </a:cubicBezTo>
                <a:cubicBezTo>
                  <a:pt x="58" y="204"/>
                  <a:pt x="51" y="203"/>
                  <a:pt x="48" y="198"/>
                </a:cubicBezTo>
                <a:cubicBezTo>
                  <a:pt x="23" y="154"/>
                  <a:pt x="31" y="98"/>
                  <a:pt x="69" y="63"/>
                </a:cubicBezTo>
                <a:cubicBezTo>
                  <a:pt x="85" y="48"/>
                  <a:pt x="104" y="39"/>
                  <a:pt x="123" y="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9" name="Freeform 27"/>
          <p:cNvSpPr>
            <a:spLocks noEditPoints="1"/>
          </p:cNvSpPr>
          <p:nvPr/>
        </p:nvSpPr>
        <p:spPr bwMode="auto">
          <a:xfrm>
            <a:off x="12702749" y="3632485"/>
            <a:ext cx="1160602" cy="1165626"/>
          </a:xfrm>
          <a:custGeom>
            <a:avLst/>
            <a:gdLst>
              <a:gd name="T0" fmla="*/ 80 w 486"/>
              <a:gd name="T1" fmla="*/ 86 h 488"/>
              <a:gd name="T2" fmla="*/ 61 w 486"/>
              <a:gd name="T3" fmla="*/ 109 h 488"/>
              <a:gd name="T4" fmla="*/ 18 w 486"/>
              <a:gd name="T5" fmla="*/ 149 h 488"/>
              <a:gd name="T6" fmla="*/ 16 w 486"/>
              <a:gd name="T7" fmla="*/ 198 h 488"/>
              <a:gd name="T8" fmla="*/ 35 w 486"/>
              <a:gd name="T9" fmla="*/ 246 h 488"/>
              <a:gd name="T10" fmla="*/ 17 w 486"/>
              <a:gd name="T11" fmla="*/ 295 h 488"/>
              <a:gd name="T12" fmla="*/ 27 w 486"/>
              <a:gd name="T13" fmla="*/ 328 h 488"/>
              <a:gd name="T14" fmla="*/ 69 w 486"/>
              <a:gd name="T15" fmla="*/ 359 h 488"/>
              <a:gd name="T16" fmla="*/ 64 w 486"/>
              <a:gd name="T17" fmla="*/ 409 h 488"/>
              <a:gd name="T18" fmla="*/ 107 w 486"/>
              <a:gd name="T19" fmla="*/ 431 h 488"/>
              <a:gd name="T20" fmla="*/ 159 w 486"/>
              <a:gd name="T21" fmla="*/ 435 h 488"/>
              <a:gd name="T22" fmla="*/ 181 w 486"/>
              <a:gd name="T23" fmla="*/ 480 h 488"/>
              <a:gd name="T24" fmla="*/ 230 w 486"/>
              <a:gd name="T25" fmla="*/ 475 h 488"/>
              <a:gd name="T26" fmla="*/ 275 w 486"/>
              <a:gd name="T27" fmla="*/ 450 h 488"/>
              <a:gd name="T28" fmla="*/ 319 w 486"/>
              <a:gd name="T29" fmla="*/ 476 h 488"/>
              <a:gd name="T30" fmla="*/ 357 w 486"/>
              <a:gd name="T31" fmla="*/ 446 h 488"/>
              <a:gd name="T32" fmla="*/ 379 w 486"/>
              <a:gd name="T33" fmla="*/ 425 h 488"/>
              <a:gd name="T34" fmla="*/ 432 w 486"/>
              <a:gd name="T35" fmla="*/ 398 h 488"/>
              <a:gd name="T36" fmla="*/ 448 w 486"/>
              <a:gd name="T37" fmla="*/ 352 h 488"/>
              <a:gd name="T38" fmla="*/ 444 w 486"/>
              <a:gd name="T39" fmla="*/ 300 h 488"/>
              <a:gd name="T40" fmla="*/ 475 w 486"/>
              <a:gd name="T41" fmla="*/ 259 h 488"/>
              <a:gd name="T42" fmla="*/ 485 w 486"/>
              <a:gd name="T43" fmla="*/ 212 h 488"/>
              <a:gd name="T44" fmla="*/ 455 w 486"/>
              <a:gd name="T45" fmla="*/ 161 h 488"/>
              <a:gd name="T46" fmla="*/ 441 w 486"/>
              <a:gd name="T47" fmla="*/ 135 h 488"/>
              <a:gd name="T48" fmla="*/ 423 w 486"/>
              <a:gd name="T49" fmla="*/ 79 h 488"/>
              <a:gd name="T50" fmla="*/ 380 w 486"/>
              <a:gd name="T51" fmla="*/ 57 h 488"/>
              <a:gd name="T52" fmla="*/ 330 w 486"/>
              <a:gd name="T53" fmla="*/ 55 h 488"/>
              <a:gd name="T54" fmla="*/ 291 w 486"/>
              <a:gd name="T55" fmla="*/ 17 h 488"/>
              <a:gd name="T56" fmla="*/ 246 w 486"/>
              <a:gd name="T57" fmla="*/ 0 h 488"/>
              <a:gd name="T58" fmla="*/ 192 w 486"/>
              <a:gd name="T59" fmla="*/ 29 h 488"/>
              <a:gd name="T60" fmla="*/ 163 w 486"/>
              <a:gd name="T61" fmla="*/ 32 h 488"/>
              <a:gd name="T62" fmla="*/ 114 w 486"/>
              <a:gd name="T63" fmla="*/ 37 h 488"/>
              <a:gd name="T64" fmla="*/ 93 w 486"/>
              <a:gd name="T65" fmla="*/ 218 h 488"/>
              <a:gd name="T66" fmla="*/ 108 w 486"/>
              <a:gd name="T67" fmla="*/ 315 h 488"/>
              <a:gd name="T68" fmla="*/ 258 w 486"/>
              <a:gd name="T69" fmla="*/ 157 h 488"/>
              <a:gd name="T70" fmla="*/ 210 w 486"/>
              <a:gd name="T71" fmla="*/ 200 h 488"/>
              <a:gd name="T72" fmla="*/ 156 w 486"/>
              <a:gd name="T73" fmla="*/ 229 h 488"/>
              <a:gd name="T74" fmla="*/ 294 w 486"/>
              <a:gd name="T75" fmla="*/ 316 h 488"/>
              <a:gd name="T76" fmla="*/ 228 w 486"/>
              <a:gd name="T77" fmla="*/ 331 h 488"/>
              <a:gd name="T78" fmla="*/ 199 w 486"/>
              <a:gd name="T79" fmla="*/ 277 h 488"/>
              <a:gd name="T80" fmla="*/ 168 w 486"/>
              <a:gd name="T81" fmla="*/ 326 h 488"/>
              <a:gd name="T82" fmla="*/ 311 w 486"/>
              <a:gd name="T83" fmla="*/ 398 h 488"/>
              <a:gd name="T84" fmla="*/ 280 w 486"/>
              <a:gd name="T85" fmla="*/ 349 h 488"/>
              <a:gd name="T86" fmla="*/ 400 w 486"/>
              <a:gd name="T87" fmla="*/ 307 h 488"/>
              <a:gd name="T88" fmla="*/ 344 w 486"/>
              <a:gd name="T89" fmla="*/ 294 h 488"/>
              <a:gd name="T90" fmla="*/ 412 w 486"/>
              <a:gd name="T91" fmla="*/ 250 h 488"/>
              <a:gd name="T92" fmla="*/ 360 w 486"/>
              <a:gd name="T93" fmla="*/ 185 h 488"/>
              <a:gd name="T94" fmla="*/ 321 w 486"/>
              <a:gd name="T95" fmla="*/ 201 h 488"/>
              <a:gd name="T96" fmla="*/ 316 w 486"/>
              <a:gd name="T97" fmla="*/ 193 h 488"/>
              <a:gd name="T98" fmla="*/ 348 w 486"/>
              <a:gd name="T99" fmla="*/ 165 h 488"/>
              <a:gd name="T100" fmla="*/ 312 w 486"/>
              <a:gd name="T101" fmla="*/ 89 h 488"/>
              <a:gd name="T102" fmla="*/ 242 w 486"/>
              <a:gd name="T103" fmla="*/ 132 h 488"/>
              <a:gd name="T104" fmla="*/ 156 w 486"/>
              <a:gd name="T105" fmla="*/ 119 h 488"/>
              <a:gd name="T106" fmla="*/ 98 w 486"/>
              <a:gd name="T107" fmla="*/ 196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86" h="488">
                <a:moveTo>
                  <a:pt x="105" y="43"/>
                </a:moveTo>
                <a:cubicBezTo>
                  <a:pt x="100" y="46"/>
                  <a:pt x="99" y="54"/>
                  <a:pt x="103" y="59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12" y="70"/>
                  <a:pt x="113" y="79"/>
                  <a:pt x="107" y="86"/>
                </a:cubicBezTo>
                <a:cubicBezTo>
                  <a:pt x="100" y="95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3" y="77"/>
                  <a:pt x="65" y="77"/>
                  <a:pt x="61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7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2" y="123"/>
                  <a:pt x="68" y="131"/>
                </a:cubicBezTo>
                <a:cubicBezTo>
                  <a:pt x="64" y="141"/>
                  <a:pt x="51" y="144"/>
                  <a:pt x="42" y="13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3" y="132"/>
                  <a:pt x="25" y="134"/>
                  <a:pt x="22" y="140"/>
                </a:cubicBezTo>
                <a:cubicBezTo>
                  <a:pt x="21" y="143"/>
                  <a:pt x="20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9"/>
                  <a:pt x="45" y="178"/>
                  <a:pt x="43" y="188"/>
                </a:cubicBezTo>
                <a:cubicBezTo>
                  <a:pt x="48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0" y="196"/>
                  <a:pt x="3" y="200"/>
                  <a:pt x="2" y="207"/>
                </a:cubicBezTo>
                <a:cubicBezTo>
                  <a:pt x="2" y="210"/>
                  <a:pt x="1" y="213"/>
                  <a:pt x="1" y="216"/>
                </a:cubicBezTo>
                <a:cubicBezTo>
                  <a:pt x="0" y="223"/>
                  <a:pt x="5" y="229"/>
                  <a:pt x="12" y="229"/>
                </a:cubicBezTo>
                <a:cubicBezTo>
                  <a:pt x="18" y="229"/>
                  <a:pt x="18" y="229"/>
                  <a:pt x="18" y="229"/>
                </a:cubicBezTo>
                <a:cubicBezTo>
                  <a:pt x="27" y="229"/>
                  <a:pt x="35" y="237"/>
                  <a:pt x="35" y="246"/>
                </a:cubicBezTo>
                <a:cubicBezTo>
                  <a:pt x="35" y="256"/>
                  <a:pt x="27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6" y="264"/>
                  <a:pt x="0" y="269"/>
                  <a:pt x="1" y="276"/>
                </a:cubicBezTo>
                <a:cubicBezTo>
                  <a:pt x="2" y="279"/>
                  <a:pt x="2" y="283"/>
                  <a:pt x="3" y="286"/>
                </a:cubicBezTo>
                <a:cubicBezTo>
                  <a:pt x="4" y="292"/>
                  <a:pt x="10" y="296"/>
                  <a:pt x="17" y="295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2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7" y="314"/>
                  <a:pt x="41" y="324"/>
                  <a:pt x="32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1" y="330"/>
                  <a:pt x="17" y="337"/>
                  <a:pt x="20" y="343"/>
                </a:cubicBezTo>
                <a:cubicBezTo>
                  <a:pt x="22" y="346"/>
                  <a:pt x="23" y="349"/>
                  <a:pt x="24" y="352"/>
                </a:cubicBezTo>
                <a:cubicBezTo>
                  <a:pt x="27" y="358"/>
                  <a:pt x="35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1"/>
                  <a:pt x="69" y="359"/>
                </a:cubicBezTo>
                <a:cubicBezTo>
                  <a:pt x="69" y="359"/>
                  <a:pt x="69" y="359"/>
                  <a:pt x="69" y="359"/>
                </a:cubicBezTo>
                <a:cubicBezTo>
                  <a:pt x="74" y="367"/>
                  <a:pt x="72" y="378"/>
                  <a:pt x="64" y="383"/>
                </a:cubicBezTo>
                <a:cubicBezTo>
                  <a:pt x="60" y="385"/>
                  <a:pt x="60" y="385"/>
                  <a:pt x="60" y="385"/>
                </a:cubicBezTo>
                <a:cubicBezTo>
                  <a:pt x="54" y="389"/>
                  <a:pt x="53" y="397"/>
                  <a:pt x="57" y="402"/>
                </a:cubicBezTo>
                <a:cubicBezTo>
                  <a:pt x="59" y="404"/>
                  <a:pt x="61" y="407"/>
                  <a:pt x="64" y="409"/>
                </a:cubicBezTo>
                <a:cubicBezTo>
                  <a:pt x="68" y="414"/>
                  <a:pt x="76" y="414"/>
                  <a:pt x="80" y="409"/>
                </a:cubicBezTo>
                <a:cubicBezTo>
                  <a:pt x="84" y="405"/>
                  <a:pt x="84" y="405"/>
                  <a:pt x="84" y="405"/>
                </a:cubicBezTo>
                <a:cubicBezTo>
                  <a:pt x="89" y="398"/>
                  <a:pt x="99" y="397"/>
                  <a:pt x="106" y="401"/>
                </a:cubicBezTo>
                <a:cubicBezTo>
                  <a:pt x="116" y="407"/>
                  <a:pt x="117" y="420"/>
                  <a:pt x="110" y="428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2" y="450"/>
                  <a:pt x="115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6" y="443"/>
                  <a:pt x="136" y="443"/>
                  <a:pt x="136" y="443"/>
                </a:cubicBezTo>
                <a:cubicBezTo>
                  <a:pt x="140" y="434"/>
                  <a:pt x="150" y="430"/>
                  <a:pt x="159" y="435"/>
                </a:cubicBezTo>
                <a:cubicBezTo>
                  <a:pt x="159" y="435"/>
                  <a:pt x="159" y="435"/>
                  <a:pt x="159" y="435"/>
                </a:cubicBezTo>
                <a:cubicBezTo>
                  <a:pt x="168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6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8" y="482"/>
                  <a:pt x="194" y="478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1"/>
                </a:cubicBezTo>
                <a:cubicBezTo>
                  <a:pt x="225" y="452"/>
                  <a:pt x="232" y="461"/>
                  <a:pt x="231" y="471"/>
                </a:cubicBezTo>
                <a:cubicBezTo>
                  <a:pt x="230" y="475"/>
                  <a:pt x="230" y="475"/>
                  <a:pt x="230" y="475"/>
                </a:cubicBezTo>
                <a:cubicBezTo>
                  <a:pt x="229" y="482"/>
                  <a:pt x="234" y="488"/>
                  <a:pt x="241" y="488"/>
                </a:cubicBezTo>
                <a:cubicBezTo>
                  <a:pt x="244" y="488"/>
                  <a:pt x="247" y="488"/>
                  <a:pt x="250" y="488"/>
                </a:cubicBezTo>
                <a:cubicBezTo>
                  <a:pt x="257" y="488"/>
                  <a:pt x="262" y="482"/>
                  <a:pt x="261" y="475"/>
                </a:cubicBezTo>
                <a:cubicBezTo>
                  <a:pt x="260" y="470"/>
                  <a:pt x="260" y="470"/>
                  <a:pt x="260" y="470"/>
                </a:cubicBezTo>
                <a:cubicBezTo>
                  <a:pt x="259" y="460"/>
                  <a:pt x="266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5" y="449"/>
                  <a:pt x="294" y="455"/>
                  <a:pt x="295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3" y="478"/>
                  <a:pt x="316" y="477"/>
                  <a:pt x="319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6"/>
                  <a:pt x="332" y="433"/>
                </a:cubicBezTo>
                <a:cubicBezTo>
                  <a:pt x="341" y="429"/>
                  <a:pt x="351" y="433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60" y="452"/>
                  <a:pt x="367" y="454"/>
                  <a:pt x="373" y="451"/>
                </a:cubicBezTo>
                <a:cubicBezTo>
                  <a:pt x="373" y="451"/>
                  <a:pt x="373" y="451"/>
                  <a:pt x="373" y="451"/>
                </a:cubicBezTo>
                <a:cubicBezTo>
                  <a:pt x="376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9" y="394"/>
                  <a:pt x="400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4" y="411"/>
                  <a:pt x="421" y="411"/>
                  <a:pt x="426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30" y="382"/>
                </a:cubicBezTo>
                <a:cubicBezTo>
                  <a:pt x="425" y="379"/>
                  <a:pt x="425" y="379"/>
                  <a:pt x="425" y="379"/>
                </a:cubicBezTo>
                <a:cubicBezTo>
                  <a:pt x="417" y="374"/>
                  <a:pt x="414" y="363"/>
                  <a:pt x="420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4" y="356"/>
                  <a:pt x="461" y="354"/>
                  <a:pt x="464" y="348"/>
                </a:cubicBezTo>
                <a:cubicBezTo>
                  <a:pt x="465" y="345"/>
                  <a:pt x="467" y="342"/>
                  <a:pt x="468" y="339"/>
                </a:cubicBezTo>
                <a:cubicBezTo>
                  <a:pt x="471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20"/>
                  <a:pt x="441" y="310"/>
                  <a:pt x="444" y="300"/>
                </a:cubicBezTo>
                <a:cubicBezTo>
                  <a:pt x="439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7" y="292"/>
                  <a:pt x="483" y="288"/>
                  <a:pt x="484" y="281"/>
                </a:cubicBezTo>
                <a:cubicBezTo>
                  <a:pt x="485" y="278"/>
                  <a:pt x="485" y="275"/>
                  <a:pt x="486" y="272"/>
                </a:cubicBezTo>
                <a:cubicBezTo>
                  <a:pt x="486" y="265"/>
                  <a:pt x="481" y="260"/>
                  <a:pt x="475" y="259"/>
                </a:cubicBezTo>
                <a:cubicBezTo>
                  <a:pt x="469" y="259"/>
                  <a:pt x="469" y="259"/>
                  <a:pt x="469" y="259"/>
                </a:cubicBezTo>
                <a:cubicBezTo>
                  <a:pt x="461" y="259"/>
                  <a:pt x="453" y="253"/>
                  <a:pt x="452" y="245"/>
                </a:cubicBezTo>
                <a:cubicBezTo>
                  <a:pt x="450" y="234"/>
                  <a:pt x="459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1" y="224"/>
                  <a:pt x="486" y="219"/>
                  <a:pt x="485" y="212"/>
                </a:cubicBezTo>
                <a:cubicBezTo>
                  <a:pt x="485" y="209"/>
                  <a:pt x="484" y="206"/>
                  <a:pt x="484" y="202"/>
                </a:cubicBezTo>
                <a:cubicBezTo>
                  <a:pt x="482" y="196"/>
                  <a:pt x="476" y="192"/>
                  <a:pt x="470" y="194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4" y="186"/>
                </a:cubicBezTo>
                <a:cubicBezTo>
                  <a:pt x="439" y="176"/>
                  <a:pt x="444" y="164"/>
                  <a:pt x="455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6" y="158"/>
                  <a:pt x="469" y="151"/>
                  <a:pt x="466" y="145"/>
                </a:cubicBezTo>
                <a:cubicBezTo>
                  <a:pt x="465" y="142"/>
                  <a:pt x="464" y="139"/>
                  <a:pt x="462" y="136"/>
                </a:cubicBezTo>
                <a:cubicBezTo>
                  <a:pt x="459" y="130"/>
                  <a:pt x="452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8"/>
                  <a:pt x="417" y="129"/>
                </a:cubicBezTo>
                <a:cubicBezTo>
                  <a:pt x="412" y="121"/>
                  <a:pt x="415" y="110"/>
                  <a:pt x="423" y="105"/>
                </a:cubicBezTo>
                <a:cubicBezTo>
                  <a:pt x="427" y="103"/>
                  <a:pt x="427" y="103"/>
                  <a:pt x="427" y="103"/>
                </a:cubicBezTo>
                <a:cubicBezTo>
                  <a:pt x="432" y="99"/>
                  <a:pt x="434" y="91"/>
                  <a:pt x="429" y="86"/>
                </a:cubicBezTo>
                <a:cubicBezTo>
                  <a:pt x="427" y="84"/>
                  <a:pt x="425" y="81"/>
                  <a:pt x="423" y="79"/>
                </a:cubicBezTo>
                <a:cubicBezTo>
                  <a:pt x="418" y="74"/>
                  <a:pt x="411" y="74"/>
                  <a:pt x="407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8" y="91"/>
                  <a:pt x="380" y="87"/>
                </a:cubicBezTo>
                <a:cubicBezTo>
                  <a:pt x="371" y="81"/>
                  <a:pt x="369" y="68"/>
                  <a:pt x="376" y="60"/>
                </a:cubicBezTo>
                <a:cubicBezTo>
                  <a:pt x="380" y="57"/>
                  <a:pt x="380" y="57"/>
                  <a:pt x="380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5" y="38"/>
                  <a:pt x="372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3"/>
                  <a:pt x="339" y="57"/>
                  <a:pt x="330" y="55"/>
                </a:cubicBezTo>
                <a:cubicBezTo>
                  <a:pt x="320" y="52"/>
                  <a:pt x="315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9" y="6"/>
                  <a:pt x="292" y="11"/>
                  <a:pt x="291" y="17"/>
                </a:cubicBezTo>
                <a:cubicBezTo>
                  <a:pt x="291" y="22"/>
                  <a:pt x="291" y="22"/>
                  <a:pt x="291" y="22"/>
                </a:cubicBezTo>
                <a:cubicBezTo>
                  <a:pt x="289" y="31"/>
                  <a:pt x="282" y="38"/>
                  <a:pt x="274" y="38"/>
                </a:cubicBezTo>
                <a:cubicBezTo>
                  <a:pt x="262" y="38"/>
                  <a:pt x="254" y="28"/>
                  <a:pt x="256" y="18"/>
                </a:cubicBezTo>
                <a:cubicBezTo>
                  <a:pt x="257" y="13"/>
                  <a:pt x="257" y="13"/>
                  <a:pt x="257" y="13"/>
                </a:cubicBezTo>
                <a:cubicBezTo>
                  <a:pt x="258" y="6"/>
                  <a:pt x="253" y="0"/>
                  <a:pt x="246" y="0"/>
                </a:cubicBezTo>
                <a:cubicBezTo>
                  <a:pt x="243" y="0"/>
                  <a:pt x="239" y="0"/>
                  <a:pt x="236" y="0"/>
                </a:cubicBezTo>
                <a:cubicBezTo>
                  <a:pt x="230" y="0"/>
                  <a:pt x="225" y="6"/>
                  <a:pt x="225" y="13"/>
                </a:cubicBezTo>
                <a:cubicBezTo>
                  <a:pt x="226" y="19"/>
                  <a:pt x="226" y="19"/>
                  <a:pt x="226" y="19"/>
                </a:cubicBezTo>
                <a:cubicBezTo>
                  <a:pt x="228" y="28"/>
                  <a:pt x="221" y="37"/>
                  <a:pt x="211" y="38"/>
                </a:cubicBezTo>
                <a:cubicBezTo>
                  <a:pt x="204" y="43"/>
                  <a:pt x="194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1" y="11"/>
                  <a:pt x="168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8" y="42"/>
                  <a:pt x="162" y="54"/>
                  <a:pt x="152" y="57"/>
                </a:cubicBezTo>
                <a:cubicBezTo>
                  <a:pt x="143" y="59"/>
                  <a:pt x="135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7" y="36"/>
                  <a:pt x="119" y="34"/>
                  <a:pt x="114" y="37"/>
                </a:cubicBezTo>
                <a:cubicBezTo>
                  <a:pt x="114" y="37"/>
                  <a:pt x="114" y="37"/>
                  <a:pt x="114" y="37"/>
                </a:cubicBezTo>
                <a:cubicBezTo>
                  <a:pt x="111" y="39"/>
                  <a:pt x="108" y="41"/>
                  <a:pt x="105" y="43"/>
                </a:cubicBezTo>
                <a:close/>
                <a:moveTo>
                  <a:pt x="108" y="315"/>
                </a:moveTo>
                <a:cubicBezTo>
                  <a:pt x="100" y="320"/>
                  <a:pt x="90" y="317"/>
                  <a:pt x="87" y="308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3" y="218"/>
                </a:cubicBezTo>
                <a:cubicBezTo>
                  <a:pt x="114" y="223"/>
                  <a:pt x="114" y="223"/>
                  <a:pt x="114" y="223"/>
                </a:cubicBezTo>
                <a:cubicBezTo>
                  <a:pt x="124" y="225"/>
                  <a:pt x="132" y="235"/>
                  <a:pt x="132" y="245"/>
                </a:cubicBezTo>
                <a:cubicBezTo>
                  <a:pt x="137" y="277"/>
                  <a:pt x="137" y="277"/>
                  <a:pt x="137" y="277"/>
                </a:cubicBezTo>
                <a:cubicBezTo>
                  <a:pt x="140" y="286"/>
                  <a:pt x="135" y="298"/>
                  <a:pt x="127" y="303"/>
                </a:cubicBezTo>
                <a:lnTo>
                  <a:pt x="108" y="315"/>
                </a:lnTo>
                <a:close/>
                <a:moveTo>
                  <a:pt x="258" y="157"/>
                </a:moveTo>
                <a:cubicBezTo>
                  <a:pt x="251" y="189"/>
                  <a:pt x="251" y="189"/>
                  <a:pt x="251" y="189"/>
                </a:cubicBezTo>
                <a:cubicBezTo>
                  <a:pt x="240" y="188"/>
                  <a:pt x="228" y="189"/>
                  <a:pt x="218" y="195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19" y="156"/>
                  <a:pt x="239" y="153"/>
                  <a:pt x="258" y="157"/>
                </a:cubicBezTo>
                <a:close/>
                <a:moveTo>
                  <a:pt x="210" y="200"/>
                </a:moveTo>
                <a:cubicBezTo>
                  <a:pt x="201" y="207"/>
                  <a:pt x="194" y="217"/>
                  <a:pt x="191" y="227"/>
                </a:cubicBezTo>
                <a:cubicBezTo>
                  <a:pt x="158" y="220"/>
                  <a:pt x="158" y="220"/>
                  <a:pt x="158" y="220"/>
                </a:cubicBezTo>
                <a:cubicBezTo>
                  <a:pt x="164" y="201"/>
                  <a:pt x="175" y="184"/>
                  <a:pt x="192" y="172"/>
                </a:cubicBezTo>
                <a:lnTo>
                  <a:pt x="210" y="200"/>
                </a:lnTo>
                <a:close/>
                <a:moveTo>
                  <a:pt x="156" y="229"/>
                </a:moveTo>
                <a:cubicBezTo>
                  <a:pt x="189" y="237"/>
                  <a:pt x="189" y="237"/>
                  <a:pt x="189" y="237"/>
                </a:cubicBezTo>
                <a:cubicBezTo>
                  <a:pt x="187" y="247"/>
                  <a:pt x="189" y="259"/>
                  <a:pt x="194" y="269"/>
                </a:cubicBezTo>
                <a:cubicBezTo>
                  <a:pt x="166" y="287"/>
                  <a:pt x="166" y="287"/>
                  <a:pt x="166" y="287"/>
                </a:cubicBezTo>
                <a:cubicBezTo>
                  <a:pt x="156" y="269"/>
                  <a:pt x="153" y="248"/>
                  <a:pt x="156" y="229"/>
                </a:cubicBezTo>
                <a:close/>
                <a:moveTo>
                  <a:pt x="294" y="316"/>
                </a:moveTo>
                <a:cubicBezTo>
                  <a:pt x="277" y="288"/>
                  <a:pt x="277" y="288"/>
                  <a:pt x="277" y="288"/>
                </a:cubicBezTo>
                <a:cubicBezTo>
                  <a:pt x="286" y="281"/>
                  <a:pt x="293" y="272"/>
                  <a:pt x="296" y="261"/>
                </a:cubicBezTo>
                <a:cubicBezTo>
                  <a:pt x="328" y="269"/>
                  <a:pt x="328" y="269"/>
                  <a:pt x="328" y="269"/>
                </a:cubicBezTo>
                <a:cubicBezTo>
                  <a:pt x="323" y="287"/>
                  <a:pt x="311" y="304"/>
                  <a:pt x="294" y="316"/>
                </a:cubicBezTo>
                <a:close/>
                <a:moveTo>
                  <a:pt x="228" y="331"/>
                </a:moveTo>
                <a:cubicBezTo>
                  <a:pt x="236" y="299"/>
                  <a:pt x="236" y="299"/>
                  <a:pt x="236" y="299"/>
                </a:cubicBezTo>
                <a:cubicBezTo>
                  <a:pt x="247" y="300"/>
                  <a:pt x="258" y="299"/>
                  <a:pt x="268" y="293"/>
                </a:cubicBezTo>
                <a:cubicBezTo>
                  <a:pt x="286" y="322"/>
                  <a:pt x="286" y="322"/>
                  <a:pt x="286" y="322"/>
                </a:cubicBezTo>
                <a:cubicBezTo>
                  <a:pt x="268" y="332"/>
                  <a:pt x="248" y="335"/>
                  <a:pt x="228" y="331"/>
                </a:cubicBezTo>
                <a:close/>
                <a:moveTo>
                  <a:pt x="199" y="277"/>
                </a:moveTo>
                <a:cubicBezTo>
                  <a:pt x="206" y="287"/>
                  <a:pt x="216" y="293"/>
                  <a:pt x="226" y="296"/>
                </a:cubicBezTo>
                <a:cubicBezTo>
                  <a:pt x="219" y="329"/>
                  <a:pt x="219" y="329"/>
                  <a:pt x="219" y="329"/>
                </a:cubicBezTo>
                <a:cubicBezTo>
                  <a:pt x="200" y="324"/>
                  <a:pt x="183" y="312"/>
                  <a:pt x="171" y="295"/>
                </a:cubicBezTo>
                <a:lnTo>
                  <a:pt x="199" y="277"/>
                </a:lnTo>
                <a:close/>
                <a:moveTo>
                  <a:pt x="181" y="401"/>
                </a:move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39" y="323"/>
                  <a:pt x="139" y="323"/>
                  <a:pt x="139" y="323"/>
                </a:cubicBezTo>
                <a:cubicBezTo>
                  <a:pt x="148" y="318"/>
                  <a:pt x="160" y="319"/>
                  <a:pt x="168" y="326"/>
                </a:cubicBezTo>
                <a:cubicBezTo>
                  <a:pt x="194" y="344"/>
                  <a:pt x="194" y="344"/>
                  <a:pt x="194" y="344"/>
                </a:cubicBezTo>
                <a:cubicBezTo>
                  <a:pt x="203" y="348"/>
                  <a:pt x="208" y="360"/>
                  <a:pt x="206" y="369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199" y="400"/>
                  <a:pt x="190" y="405"/>
                  <a:pt x="181" y="401"/>
                </a:cubicBezTo>
                <a:close/>
                <a:moveTo>
                  <a:pt x="311" y="398"/>
                </a:moveTo>
                <a:cubicBezTo>
                  <a:pt x="238" y="413"/>
                  <a:pt x="238" y="413"/>
                  <a:pt x="238" y="413"/>
                </a:cubicBezTo>
                <a:cubicBezTo>
                  <a:pt x="228" y="413"/>
                  <a:pt x="221" y="405"/>
                  <a:pt x="224" y="396"/>
                </a:cubicBezTo>
                <a:cubicBezTo>
                  <a:pt x="229" y="374"/>
                  <a:pt x="229" y="374"/>
                  <a:pt x="229" y="374"/>
                </a:cubicBezTo>
                <a:cubicBezTo>
                  <a:pt x="231" y="364"/>
                  <a:pt x="241" y="356"/>
                  <a:pt x="251" y="355"/>
                </a:cubicBezTo>
                <a:cubicBezTo>
                  <a:pt x="280" y="349"/>
                  <a:pt x="280" y="349"/>
                  <a:pt x="280" y="349"/>
                </a:cubicBezTo>
                <a:cubicBezTo>
                  <a:pt x="289" y="346"/>
                  <a:pt x="301" y="350"/>
                  <a:pt x="307" y="358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4" y="385"/>
                  <a:pt x="320" y="395"/>
                  <a:pt x="311" y="398"/>
                </a:cubicBezTo>
                <a:close/>
                <a:moveTo>
                  <a:pt x="390" y="286"/>
                </a:moveTo>
                <a:cubicBezTo>
                  <a:pt x="400" y="289"/>
                  <a:pt x="404" y="298"/>
                  <a:pt x="400" y="307"/>
                </a:cubicBezTo>
                <a:cubicBezTo>
                  <a:pt x="359" y="366"/>
                  <a:pt x="359" y="366"/>
                  <a:pt x="359" y="366"/>
                </a:cubicBezTo>
                <a:cubicBezTo>
                  <a:pt x="353" y="374"/>
                  <a:pt x="343" y="373"/>
                  <a:pt x="338" y="364"/>
                </a:cubicBezTo>
                <a:cubicBezTo>
                  <a:pt x="326" y="345"/>
                  <a:pt x="326" y="345"/>
                  <a:pt x="326" y="345"/>
                </a:cubicBezTo>
                <a:cubicBezTo>
                  <a:pt x="321" y="337"/>
                  <a:pt x="322" y="324"/>
                  <a:pt x="328" y="317"/>
                </a:cubicBezTo>
                <a:cubicBezTo>
                  <a:pt x="344" y="294"/>
                  <a:pt x="344" y="294"/>
                  <a:pt x="344" y="294"/>
                </a:cubicBezTo>
                <a:cubicBezTo>
                  <a:pt x="348" y="285"/>
                  <a:pt x="359" y="279"/>
                  <a:pt x="369" y="281"/>
                </a:cubicBezTo>
                <a:lnTo>
                  <a:pt x="390" y="286"/>
                </a:lnTo>
                <a:close/>
                <a:moveTo>
                  <a:pt x="379" y="173"/>
                </a:moveTo>
                <a:cubicBezTo>
                  <a:pt x="387" y="168"/>
                  <a:pt x="396" y="171"/>
                  <a:pt x="400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60"/>
                  <a:pt x="405" y="266"/>
                  <a:pt x="395" y="264"/>
                </a:cubicBezTo>
                <a:cubicBezTo>
                  <a:pt x="373" y="259"/>
                  <a:pt x="373" y="259"/>
                  <a:pt x="373" y="259"/>
                </a:cubicBezTo>
                <a:cubicBezTo>
                  <a:pt x="364" y="256"/>
                  <a:pt x="355" y="247"/>
                  <a:pt x="355" y="237"/>
                </a:cubicBezTo>
                <a:cubicBezTo>
                  <a:pt x="350" y="211"/>
                  <a:pt x="350" y="211"/>
                  <a:pt x="350" y="211"/>
                </a:cubicBezTo>
                <a:cubicBezTo>
                  <a:pt x="347" y="202"/>
                  <a:pt x="352" y="190"/>
                  <a:pt x="360" y="185"/>
                </a:cubicBezTo>
                <a:lnTo>
                  <a:pt x="379" y="173"/>
                </a:lnTo>
                <a:close/>
                <a:moveTo>
                  <a:pt x="331" y="259"/>
                </a:moveTo>
                <a:cubicBezTo>
                  <a:pt x="298" y="252"/>
                  <a:pt x="298" y="252"/>
                  <a:pt x="298" y="252"/>
                </a:cubicBezTo>
                <a:cubicBezTo>
                  <a:pt x="300" y="241"/>
                  <a:pt x="298" y="229"/>
                  <a:pt x="293" y="219"/>
                </a:cubicBezTo>
                <a:cubicBezTo>
                  <a:pt x="321" y="201"/>
                  <a:pt x="321" y="201"/>
                  <a:pt x="321" y="201"/>
                </a:cubicBezTo>
                <a:cubicBezTo>
                  <a:pt x="331" y="219"/>
                  <a:pt x="334" y="240"/>
                  <a:pt x="331" y="259"/>
                </a:cubicBezTo>
                <a:close/>
                <a:moveTo>
                  <a:pt x="287" y="210"/>
                </a:moveTo>
                <a:cubicBezTo>
                  <a:pt x="280" y="201"/>
                  <a:pt x="271" y="195"/>
                  <a:pt x="260" y="191"/>
                </a:cubicBezTo>
                <a:cubicBezTo>
                  <a:pt x="268" y="159"/>
                  <a:pt x="268" y="159"/>
                  <a:pt x="268" y="159"/>
                </a:cubicBezTo>
                <a:cubicBezTo>
                  <a:pt x="287" y="164"/>
                  <a:pt x="304" y="176"/>
                  <a:pt x="316" y="193"/>
                </a:cubicBezTo>
                <a:lnTo>
                  <a:pt x="287" y="210"/>
                </a:lnTo>
                <a:close/>
                <a:moveTo>
                  <a:pt x="312" y="89"/>
                </a:moveTo>
                <a:cubicBezTo>
                  <a:pt x="369" y="131"/>
                  <a:pt x="369" y="131"/>
                  <a:pt x="369" y="131"/>
                </a:cubicBezTo>
                <a:cubicBezTo>
                  <a:pt x="376" y="138"/>
                  <a:pt x="375" y="148"/>
                  <a:pt x="366" y="153"/>
                </a:cubicBezTo>
                <a:cubicBezTo>
                  <a:pt x="348" y="165"/>
                  <a:pt x="348" y="165"/>
                  <a:pt x="348" y="165"/>
                </a:cubicBezTo>
                <a:cubicBezTo>
                  <a:pt x="339" y="170"/>
                  <a:pt x="326" y="169"/>
                  <a:pt x="319" y="162"/>
                </a:cubicBezTo>
                <a:cubicBezTo>
                  <a:pt x="299" y="147"/>
                  <a:pt x="299" y="147"/>
                  <a:pt x="299" y="147"/>
                </a:cubicBezTo>
                <a:cubicBezTo>
                  <a:pt x="290" y="142"/>
                  <a:pt x="284" y="130"/>
                  <a:pt x="287" y="121"/>
                </a:cubicBezTo>
                <a:cubicBezTo>
                  <a:pt x="292" y="99"/>
                  <a:pt x="292" y="99"/>
                  <a:pt x="292" y="99"/>
                </a:cubicBezTo>
                <a:cubicBezTo>
                  <a:pt x="294" y="89"/>
                  <a:pt x="303" y="85"/>
                  <a:pt x="312" y="89"/>
                </a:cubicBezTo>
                <a:close/>
                <a:moveTo>
                  <a:pt x="184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4" y="115"/>
                  <a:pt x="264" y="115"/>
                  <a:pt x="264" y="115"/>
                </a:cubicBezTo>
                <a:cubicBezTo>
                  <a:pt x="262" y="124"/>
                  <a:pt x="252" y="132"/>
                  <a:pt x="242" y="132"/>
                </a:cubicBezTo>
                <a:cubicBezTo>
                  <a:pt x="215" y="136"/>
                  <a:pt x="215" y="136"/>
                  <a:pt x="215" y="136"/>
                </a:cubicBezTo>
                <a:cubicBezTo>
                  <a:pt x="205" y="139"/>
                  <a:pt x="193" y="134"/>
                  <a:pt x="188" y="126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1" y="98"/>
                  <a:pt x="174" y="89"/>
                  <a:pt x="184" y="86"/>
                </a:cubicBezTo>
                <a:close/>
                <a:moveTo>
                  <a:pt x="156" y="119"/>
                </a:moveTo>
                <a:cubicBezTo>
                  <a:pt x="168" y="137"/>
                  <a:pt x="168" y="137"/>
                  <a:pt x="168" y="137"/>
                </a:cubicBezTo>
                <a:cubicBezTo>
                  <a:pt x="173" y="146"/>
                  <a:pt x="172" y="158"/>
                  <a:pt x="165" y="165"/>
                </a:cubicBezTo>
                <a:cubicBezTo>
                  <a:pt x="146" y="189"/>
                  <a:pt x="146" y="189"/>
                  <a:pt x="146" y="189"/>
                </a:cubicBezTo>
                <a:cubicBezTo>
                  <a:pt x="141" y="198"/>
                  <a:pt x="130" y="203"/>
                  <a:pt x="120" y="201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9" y="194"/>
                  <a:pt x="84" y="184"/>
                  <a:pt x="89" y="17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1" y="109"/>
                  <a:pt x="151" y="110"/>
                  <a:pt x="156" y="11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3" name="Freeform 31"/>
          <p:cNvSpPr>
            <a:spLocks noEditPoints="1"/>
          </p:cNvSpPr>
          <p:nvPr/>
        </p:nvSpPr>
        <p:spPr bwMode="auto">
          <a:xfrm>
            <a:off x="12904801" y="8490057"/>
            <a:ext cx="958550" cy="955110"/>
          </a:xfrm>
          <a:custGeom>
            <a:avLst/>
            <a:gdLst>
              <a:gd name="T0" fmla="*/ 59 w 351"/>
              <a:gd name="T1" fmla="*/ 80 h 350"/>
              <a:gd name="T2" fmla="*/ 22 w 351"/>
              <a:gd name="T3" fmla="*/ 90 h 350"/>
              <a:gd name="T4" fmla="*/ 20 w 351"/>
              <a:gd name="T5" fmla="*/ 126 h 350"/>
              <a:gd name="T6" fmla="*/ 11 w 351"/>
              <a:gd name="T7" fmla="*/ 146 h 350"/>
              <a:gd name="T8" fmla="*/ 9 w 351"/>
              <a:gd name="T9" fmla="*/ 171 h 350"/>
              <a:gd name="T10" fmla="*/ 14 w 351"/>
              <a:gd name="T11" fmla="*/ 193 h 350"/>
              <a:gd name="T12" fmla="*/ 9 w 351"/>
              <a:gd name="T13" fmla="*/ 228 h 350"/>
              <a:gd name="T14" fmla="*/ 43 w 351"/>
              <a:gd name="T15" fmla="*/ 243 h 350"/>
              <a:gd name="T16" fmla="*/ 31 w 351"/>
              <a:gd name="T17" fmla="*/ 273 h 350"/>
              <a:gd name="T18" fmla="*/ 67 w 351"/>
              <a:gd name="T19" fmla="*/ 278 h 350"/>
              <a:gd name="T20" fmla="*/ 70 w 351"/>
              <a:gd name="T21" fmla="*/ 315 h 350"/>
              <a:gd name="T22" fmla="*/ 105 w 351"/>
              <a:gd name="T23" fmla="*/ 322 h 350"/>
              <a:gd name="T24" fmla="*/ 124 w 351"/>
              <a:gd name="T25" fmla="*/ 334 h 350"/>
              <a:gd name="T26" fmla="*/ 150 w 351"/>
              <a:gd name="T27" fmla="*/ 336 h 350"/>
              <a:gd name="T28" fmla="*/ 171 w 351"/>
              <a:gd name="T29" fmla="*/ 342 h 350"/>
              <a:gd name="T30" fmla="*/ 196 w 351"/>
              <a:gd name="T31" fmla="*/ 341 h 350"/>
              <a:gd name="T32" fmla="*/ 217 w 351"/>
              <a:gd name="T33" fmla="*/ 333 h 350"/>
              <a:gd name="T34" fmla="*/ 253 w 351"/>
              <a:gd name="T35" fmla="*/ 333 h 350"/>
              <a:gd name="T36" fmla="*/ 263 w 351"/>
              <a:gd name="T37" fmla="*/ 297 h 350"/>
              <a:gd name="T38" fmla="*/ 294 w 351"/>
              <a:gd name="T39" fmla="*/ 305 h 350"/>
              <a:gd name="T40" fmla="*/ 294 w 351"/>
              <a:gd name="T41" fmla="*/ 268 h 350"/>
              <a:gd name="T42" fmla="*/ 329 w 351"/>
              <a:gd name="T43" fmla="*/ 261 h 350"/>
              <a:gd name="T44" fmla="*/ 331 w 351"/>
              <a:gd name="T45" fmla="*/ 225 h 350"/>
              <a:gd name="T46" fmla="*/ 340 w 351"/>
              <a:gd name="T47" fmla="*/ 204 h 350"/>
              <a:gd name="T48" fmla="*/ 342 w 351"/>
              <a:gd name="T49" fmla="*/ 179 h 350"/>
              <a:gd name="T50" fmla="*/ 337 w 351"/>
              <a:gd name="T51" fmla="*/ 157 h 350"/>
              <a:gd name="T52" fmla="*/ 342 w 351"/>
              <a:gd name="T53" fmla="*/ 122 h 350"/>
              <a:gd name="T54" fmla="*/ 310 w 351"/>
              <a:gd name="T55" fmla="*/ 109 h 350"/>
              <a:gd name="T56" fmla="*/ 316 w 351"/>
              <a:gd name="T57" fmla="*/ 71 h 350"/>
              <a:gd name="T58" fmla="*/ 284 w 351"/>
              <a:gd name="T59" fmla="*/ 54 h 350"/>
              <a:gd name="T60" fmla="*/ 269 w 351"/>
              <a:gd name="T61" fmla="*/ 38 h 350"/>
              <a:gd name="T62" fmla="*/ 247 w 351"/>
              <a:gd name="T63" fmla="*/ 25 h 350"/>
              <a:gd name="T64" fmla="*/ 226 w 351"/>
              <a:gd name="T65" fmla="*/ 20 h 350"/>
              <a:gd name="T66" fmla="*/ 195 w 351"/>
              <a:gd name="T67" fmla="*/ 1 h 350"/>
              <a:gd name="T68" fmla="*/ 170 w 351"/>
              <a:gd name="T69" fmla="*/ 25 h 350"/>
              <a:gd name="T70" fmla="*/ 138 w 351"/>
              <a:gd name="T71" fmla="*/ 3 h 350"/>
              <a:gd name="T72" fmla="*/ 111 w 351"/>
              <a:gd name="T73" fmla="*/ 29 h 350"/>
              <a:gd name="T74" fmla="*/ 89 w 351"/>
              <a:gd name="T75" fmla="*/ 32 h 350"/>
              <a:gd name="T76" fmla="*/ 69 w 351"/>
              <a:gd name="T77" fmla="*/ 47 h 350"/>
              <a:gd name="T78" fmla="*/ 215 w 351"/>
              <a:gd name="T79" fmla="*/ 283 h 350"/>
              <a:gd name="T80" fmla="*/ 215 w 351"/>
              <a:gd name="T81" fmla="*/ 283 h 350"/>
              <a:gd name="T82" fmla="*/ 258 w 351"/>
              <a:gd name="T83" fmla="*/ 213 h 350"/>
              <a:gd name="T84" fmla="*/ 215 w 351"/>
              <a:gd name="T85" fmla="*/ 229 h 350"/>
              <a:gd name="T86" fmla="*/ 115 w 351"/>
              <a:gd name="T87" fmla="*/ 172 h 350"/>
              <a:gd name="T88" fmla="*/ 82 w 351"/>
              <a:gd name="T89" fmla="*/ 221 h 350"/>
              <a:gd name="T90" fmla="*/ 82 w 351"/>
              <a:gd name="T91" fmla="*/ 221 h 350"/>
              <a:gd name="T92" fmla="*/ 130 w 351"/>
              <a:gd name="T93" fmla="*/ 227 h 350"/>
              <a:gd name="T94" fmla="*/ 137 w 351"/>
              <a:gd name="T95" fmla="*/ 257 h 350"/>
              <a:gd name="T96" fmla="*/ 165 w 351"/>
              <a:gd name="T97" fmla="*/ 242 h 350"/>
              <a:gd name="T98" fmla="*/ 251 w 351"/>
              <a:gd name="T99" fmla="*/ 177 h 350"/>
              <a:gd name="T100" fmla="*/ 251 w 351"/>
              <a:gd name="T101" fmla="*/ 177 h 350"/>
              <a:gd name="T102" fmla="*/ 261 w 351"/>
              <a:gd name="T103" fmla="*/ 143 h 350"/>
              <a:gd name="T104" fmla="*/ 219 w 351"/>
              <a:gd name="T105" fmla="*/ 133 h 350"/>
              <a:gd name="T106" fmla="*/ 200 w 351"/>
              <a:gd name="T107" fmla="*/ 204 h 350"/>
              <a:gd name="T108" fmla="*/ 224 w 351"/>
              <a:gd name="T109" fmla="*/ 69 h 350"/>
              <a:gd name="T110" fmla="*/ 224 w 351"/>
              <a:gd name="T111" fmla="*/ 69 h 350"/>
              <a:gd name="T112" fmla="*/ 169 w 351"/>
              <a:gd name="T113" fmla="*/ 106 h 350"/>
              <a:gd name="T114" fmla="*/ 123 w 351"/>
              <a:gd name="T115" fmla="*/ 130 h 350"/>
              <a:gd name="T116" fmla="*/ 70 w 351"/>
              <a:gd name="T117" fmla="*/ 125 h 350"/>
              <a:gd name="T118" fmla="*/ 135 w 351"/>
              <a:gd name="T119" fmla="*/ 65 h 350"/>
              <a:gd name="T120" fmla="*/ 135 w 351"/>
              <a:gd name="T121" fmla="*/ 65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1" h="350">
                <a:moveTo>
                  <a:pt x="52" y="50"/>
                </a:moveTo>
                <a:cubicBezTo>
                  <a:pt x="48" y="53"/>
                  <a:pt x="49" y="59"/>
                  <a:pt x="52" y="62"/>
                </a:cubicBezTo>
                <a:cubicBezTo>
                  <a:pt x="55" y="64"/>
                  <a:pt x="55" y="64"/>
                  <a:pt x="55" y="64"/>
                </a:cubicBezTo>
                <a:cubicBezTo>
                  <a:pt x="60" y="68"/>
                  <a:pt x="62" y="75"/>
                  <a:pt x="59" y="80"/>
                </a:cubicBezTo>
                <a:cubicBezTo>
                  <a:pt x="55" y="87"/>
                  <a:pt x="46" y="89"/>
                  <a:pt x="40" y="84"/>
                </a:cubicBezTo>
                <a:cubicBezTo>
                  <a:pt x="37" y="82"/>
                  <a:pt x="37" y="82"/>
                  <a:pt x="37" y="82"/>
                </a:cubicBezTo>
                <a:cubicBezTo>
                  <a:pt x="33" y="79"/>
                  <a:pt x="28" y="79"/>
                  <a:pt x="25" y="84"/>
                </a:cubicBezTo>
                <a:cubicBezTo>
                  <a:pt x="24" y="86"/>
                  <a:pt x="23" y="88"/>
                  <a:pt x="22" y="90"/>
                </a:cubicBezTo>
                <a:cubicBezTo>
                  <a:pt x="19" y="94"/>
                  <a:pt x="21" y="99"/>
                  <a:pt x="26" y="101"/>
                </a:cubicBezTo>
                <a:cubicBezTo>
                  <a:pt x="29" y="102"/>
                  <a:pt x="29" y="102"/>
                  <a:pt x="29" y="102"/>
                </a:cubicBezTo>
                <a:cubicBezTo>
                  <a:pt x="35" y="105"/>
                  <a:pt x="38" y="111"/>
                  <a:pt x="37" y="117"/>
                </a:cubicBezTo>
                <a:cubicBezTo>
                  <a:pt x="35" y="125"/>
                  <a:pt x="27" y="129"/>
                  <a:pt x="20" y="126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2" y="122"/>
                  <a:pt x="7" y="125"/>
                  <a:pt x="6" y="129"/>
                </a:cubicBezTo>
                <a:cubicBezTo>
                  <a:pt x="5" y="132"/>
                  <a:pt x="5" y="134"/>
                  <a:pt x="4" y="136"/>
                </a:cubicBezTo>
                <a:cubicBezTo>
                  <a:pt x="3" y="141"/>
                  <a:pt x="6" y="145"/>
                  <a:pt x="11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22" y="147"/>
                  <a:pt x="27" y="154"/>
                  <a:pt x="26" y="160"/>
                </a:cubicBezTo>
                <a:cubicBezTo>
                  <a:pt x="31" y="165"/>
                  <a:pt x="27" y="173"/>
                  <a:pt x="20" y="172"/>
                </a:cubicBezTo>
                <a:cubicBezTo>
                  <a:pt x="9" y="171"/>
                  <a:pt x="9" y="171"/>
                  <a:pt x="9" y="171"/>
                </a:cubicBezTo>
                <a:cubicBezTo>
                  <a:pt x="4" y="170"/>
                  <a:pt x="0" y="174"/>
                  <a:pt x="0" y="179"/>
                </a:cubicBezTo>
                <a:cubicBezTo>
                  <a:pt x="0" y="181"/>
                  <a:pt x="0" y="184"/>
                  <a:pt x="1" y="186"/>
                </a:cubicBezTo>
                <a:cubicBezTo>
                  <a:pt x="1" y="191"/>
                  <a:pt x="5" y="194"/>
                  <a:pt x="10" y="193"/>
                </a:cubicBezTo>
                <a:cubicBezTo>
                  <a:pt x="14" y="193"/>
                  <a:pt x="14" y="193"/>
                  <a:pt x="14" y="193"/>
                </a:cubicBezTo>
                <a:cubicBezTo>
                  <a:pt x="21" y="192"/>
                  <a:pt x="27" y="196"/>
                  <a:pt x="29" y="203"/>
                </a:cubicBezTo>
                <a:cubicBezTo>
                  <a:pt x="30" y="210"/>
                  <a:pt x="25" y="216"/>
                  <a:pt x="18" y="218"/>
                </a:cubicBezTo>
                <a:cubicBezTo>
                  <a:pt x="15" y="218"/>
                  <a:pt x="15" y="218"/>
                  <a:pt x="15" y="218"/>
                </a:cubicBezTo>
                <a:cubicBezTo>
                  <a:pt x="10" y="219"/>
                  <a:pt x="7" y="224"/>
                  <a:pt x="9" y="228"/>
                </a:cubicBezTo>
                <a:cubicBezTo>
                  <a:pt x="9" y="231"/>
                  <a:pt x="10" y="233"/>
                  <a:pt x="11" y="235"/>
                </a:cubicBezTo>
                <a:cubicBezTo>
                  <a:pt x="13" y="239"/>
                  <a:pt x="18" y="241"/>
                  <a:pt x="22" y="239"/>
                </a:cubicBezTo>
                <a:cubicBezTo>
                  <a:pt x="26" y="238"/>
                  <a:pt x="26" y="238"/>
                  <a:pt x="26" y="238"/>
                </a:cubicBezTo>
                <a:cubicBezTo>
                  <a:pt x="32" y="235"/>
                  <a:pt x="40" y="237"/>
                  <a:pt x="43" y="243"/>
                </a:cubicBezTo>
                <a:cubicBezTo>
                  <a:pt x="43" y="243"/>
                  <a:pt x="43" y="243"/>
                  <a:pt x="43" y="243"/>
                </a:cubicBezTo>
                <a:cubicBezTo>
                  <a:pt x="46" y="250"/>
                  <a:pt x="43" y="257"/>
                  <a:pt x="37" y="260"/>
                </a:cubicBezTo>
                <a:cubicBezTo>
                  <a:pt x="34" y="262"/>
                  <a:pt x="34" y="262"/>
                  <a:pt x="34" y="262"/>
                </a:cubicBezTo>
                <a:cubicBezTo>
                  <a:pt x="29" y="264"/>
                  <a:pt x="28" y="269"/>
                  <a:pt x="31" y="273"/>
                </a:cubicBezTo>
                <a:cubicBezTo>
                  <a:pt x="32" y="275"/>
                  <a:pt x="33" y="277"/>
                  <a:pt x="35" y="279"/>
                </a:cubicBezTo>
                <a:cubicBezTo>
                  <a:pt x="38" y="283"/>
                  <a:pt x="43" y="283"/>
                  <a:pt x="47" y="280"/>
                </a:cubicBezTo>
                <a:cubicBezTo>
                  <a:pt x="50" y="277"/>
                  <a:pt x="50" y="277"/>
                  <a:pt x="50" y="277"/>
                </a:cubicBezTo>
                <a:cubicBezTo>
                  <a:pt x="55" y="273"/>
                  <a:pt x="63" y="273"/>
                  <a:pt x="67" y="278"/>
                </a:cubicBezTo>
                <a:cubicBezTo>
                  <a:pt x="72" y="283"/>
                  <a:pt x="72" y="291"/>
                  <a:pt x="67" y="29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61" y="302"/>
                  <a:pt x="61" y="307"/>
                  <a:pt x="65" y="310"/>
                </a:cubicBezTo>
                <a:cubicBezTo>
                  <a:pt x="66" y="312"/>
                  <a:pt x="68" y="313"/>
                  <a:pt x="70" y="315"/>
                </a:cubicBezTo>
                <a:cubicBezTo>
                  <a:pt x="74" y="318"/>
                  <a:pt x="79" y="316"/>
                  <a:pt x="82" y="312"/>
                </a:cubicBezTo>
                <a:cubicBezTo>
                  <a:pt x="84" y="309"/>
                  <a:pt x="84" y="309"/>
                  <a:pt x="84" y="309"/>
                </a:cubicBezTo>
                <a:cubicBezTo>
                  <a:pt x="87" y="304"/>
                  <a:pt x="93" y="301"/>
                  <a:pt x="99" y="304"/>
                </a:cubicBezTo>
                <a:cubicBezTo>
                  <a:pt x="107" y="307"/>
                  <a:pt x="109" y="315"/>
                  <a:pt x="105" y="322"/>
                </a:cubicBezTo>
                <a:cubicBezTo>
                  <a:pt x="104" y="325"/>
                  <a:pt x="104" y="325"/>
                  <a:pt x="104" y="325"/>
                </a:cubicBezTo>
                <a:cubicBezTo>
                  <a:pt x="101" y="329"/>
                  <a:pt x="103" y="334"/>
                  <a:pt x="107" y="336"/>
                </a:cubicBezTo>
                <a:cubicBezTo>
                  <a:pt x="109" y="337"/>
                  <a:pt x="112" y="338"/>
                  <a:pt x="114" y="339"/>
                </a:cubicBezTo>
                <a:cubicBezTo>
                  <a:pt x="118" y="341"/>
                  <a:pt x="123" y="338"/>
                  <a:pt x="124" y="334"/>
                </a:cubicBezTo>
                <a:cubicBezTo>
                  <a:pt x="125" y="330"/>
                  <a:pt x="125" y="330"/>
                  <a:pt x="125" y="330"/>
                </a:cubicBezTo>
                <a:cubicBezTo>
                  <a:pt x="127" y="323"/>
                  <a:pt x="134" y="319"/>
                  <a:pt x="141" y="321"/>
                </a:cubicBezTo>
                <a:cubicBezTo>
                  <a:pt x="141" y="321"/>
                  <a:pt x="141" y="321"/>
                  <a:pt x="141" y="321"/>
                </a:cubicBezTo>
                <a:cubicBezTo>
                  <a:pt x="147" y="322"/>
                  <a:pt x="151" y="329"/>
                  <a:pt x="150" y="336"/>
                </a:cubicBezTo>
                <a:cubicBezTo>
                  <a:pt x="149" y="339"/>
                  <a:pt x="149" y="339"/>
                  <a:pt x="149" y="339"/>
                </a:cubicBezTo>
                <a:cubicBezTo>
                  <a:pt x="148" y="344"/>
                  <a:pt x="151" y="349"/>
                  <a:pt x="156" y="349"/>
                </a:cubicBezTo>
                <a:cubicBezTo>
                  <a:pt x="158" y="350"/>
                  <a:pt x="160" y="350"/>
                  <a:pt x="163" y="350"/>
                </a:cubicBezTo>
                <a:cubicBezTo>
                  <a:pt x="167" y="350"/>
                  <a:pt x="171" y="347"/>
                  <a:pt x="171" y="342"/>
                </a:cubicBezTo>
                <a:cubicBezTo>
                  <a:pt x="171" y="338"/>
                  <a:pt x="171" y="338"/>
                  <a:pt x="171" y="338"/>
                </a:cubicBezTo>
                <a:cubicBezTo>
                  <a:pt x="171" y="331"/>
                  <a:pt x="176" y="325"/>
                  <a:pt x="183" y="325"/>
                </a:cubicBezTo>
                <a:cubicBezTo>
                  <a:pt x="190" y="325"/>
                  <a:pt x="196" y="330"/>
                  <a:pt x="196" y="337"/>
                </a:cubicBezTo>
                <a:cubicBezTo>
                  <a:pt x="196" y="341"/>
                  <a:pt x="196" y="341"/>
                  <a:pt x="196" y="341"/>
                </a:cubicBezTo>
                <a:cubicBezTo>
                  <a:pt x="196" y="345"/>
                  <a:pt x="201" y="349"/>
                  <a:pt x="205" y="348"/>
                </a:cubicBezTo>
                <a:cubicBezTo>
                  <a:pt x="208" y="348"/>
                  <a:pt x="210" y="347"/>
                  <a:pt x="212" y="347"/>
                </a:cubicBezTo>
                <a:cubicBezTo>
                  <a:pt x="217" y="346"/>
                  <a:pt x="220" y="341"/>
                  <a:pt x="218" y="337"/>
                </a:cubicBezTo>
                <a:cubicBezTo>
                  <a:pt x="217" y="333"/>
                  <a:pt x="217" y="333"/>
                  <a:pt x="217" y="333"/>
                </a:cubicBezTo>
                <a:cubicBezTo>
                  <a:pt x="215" y="326"/>
                  <a:pt x="218" y="319"/>
                  <a:pt x="225" y="317"/>
                </a:cubicBezTo>
                <a:cubicBezTo>
                  <a:pt x="232" y="315"/>
                  <a:pt x="239" y="318"/>
                  <a:pt x="241" y="325"/>
                </a:cubicBezTo>
                <a:cubicBezTo>
                  <a:pt x="242" y="328"/>
                  <a:pt x="242" y="328"/>
                  <a:pt x="242" y="328"/>
                </a:cubicBezTo>
                <a:cubicBezTo>
                  <a:pt x="243" y="333"/>
                  <a:pt x="249" y="335"/>
                  <a:pt x="253" y="333"/>
                </a:cubicBezTo>
                <a:cubicBezTo>
                  <a:pt x="255" y="332"/>
                  <a:pt x="257" y="331"/>
                  <a:pt x="259" y="330"/>
                </a:cubicBezTo>
                <a:cubicBezTo>
                  <a:pt x="263" y="328"/>
                  <a:pt x="265" y="322"/>
                  <a:pt x="262" y="318"/>
                </a:cubicBezTo>
                <a:cubicBezTo>
                  <a:pt x="260" y="315"/>
                  <a:pt x="260" y="315"/>
                  <a:pt x="260" y="315"/>
                </a:cubicBezTo>
                <a:cubicBezTo>
                  <a:pt x="256" y="309"/>
                  <a:pt x="257" y="301"/>
                  <a:pt x="263" y="297"/>
                </a:cubicBezTo>
                <a:cubicBezTo>
                  <a:pt x="269" y="294"/>
                  <a:pt x="276" y="295"/>
                  <a:pt x="280" y="301"/>
                </a:cubicBezTo>
                <a:cubicBezTo>
                  <a:pt x="282" y="304"/>
                  <a:pt x="282" y="304"/>
                  <a:pt x="282" y="304"/>
                </a:cubicBezTo>
                <a:cubicBezTo>
                  <a:pt x="285" y="308"/>
                  <a:pt x="291" y="308"/>
                  <a:pt x="294" y="305"/>
                </a:cubicBezTo>
                <a:cubicBezTo>
                  <a:pt x="294" y="305"/>
                  <a:pt x="294" y="305"/>
                  <a:pt x="294" y="305"/>
                </a:cubicBezTo>
                <a:cubicBezTo>
                  <a:pt x="296" y="304"/>
                  <a:pt x="298" y="302"/>
                  <a:pt x="299" y="300"/>
                </a:cubicBezTo>
                <a:cubicBezTo>
                  <a:pt x="303" y="297"/>
                  <a:pt x="302" y="292"/>
                  <a:pt x="299" y="289"/>
                </a:cubicBezTo>
                <a:cubicBezTo>
                  <a:pt x="295" y="286"/>
                  <a:pt x="295" y="286"/>
                  <a:pt x="295" y="286"/>
                </a:cubicBezTo>
                <a:cubicBezTo>
                  <a:pt x="290" y="281"/>
                  <a:pt x="289" y="273"/>
                  <a:pt x="294" y="268"/>
                </a:cubicBezTo>
                <a:cubicBezTo>
                  <a:pt x="298" y="263"/>
                  <a:pt x="306" y="262"/>
                  <a:pt x="311" y="266"/>
                </a:cubicBezTo>
                <a:cubicBezTo>
                  <a:pt x="314" y="269"/>
                  <a:pt x="314" y="269"/>
                  <a:pt x="314" y="269"/>
                </a:cubicBezTo>
                <a:cubicBezTo>
                  <a:pt x="318" y="272"/>
                  <a:pt x="323" y="271"/>
                  <a:pt x="326" y="267"/>
                </a:cubicBezTo>
                <a:cubicBezTo>
                  <a:pt x="327" y="265"/>
                  <a:pt x="328" y="263"/>
                  <a:pt x="329" y="261"/>
                </a:cubicBezTo>
                <a:cubicBezTo>
                  <a:pt x="331" y="256"/>
                  <a:pt x="330" y="251"/>
                  <a:pt x="325" y="249"/>
                </a:cubicBezTo>
                <a:cubicBezTo>
                  <a:pt x="321" y="248"/>
                  <a:pt x="321" y="248"/>
                  <a:pt x="321" y="248"/>
                </a:cubicBezTo>
                <a:cubicBezTo>
                  <a:pt x="315" y="245"/>
                  <a:pt x="312" y="238"/>
                  <a:pt x="315" y="231"/>
                </a:cubicBezTo>
                <a:cubicBezTo>
                  <a:pt x="317" y="225"/>
                  <a:pt x="325" y="222"/>
                  <a:pt x="331" y="225"/>
                </a:cubicBezTo>
                <a:cubicBezTo>
                  <a:pt x="334" y="226"/>
                  <a:pt x="334" y="226"/>
                  <a:pt x="334" y="226"/>
                </a:cubicBezTo>
                <a:cubicBezTo>
                  <a:pt x="339" y="228"/>
                  <a:pt x="344" y="225"/>
                  <a:pt x="345" y="221"/>
                </a:cubicBezTo>
                <a:cubicBezTo>
                  <a:pt x="346" y="218"/>
                  <a:pt x="346" y="216"/>
                  <a:pt x="347" y="214"/>
                </a:cubicBezTo>
                <a:cubicBezTo>
                  <a:pt x="348" y="209"/>
                  <a:pt x="345" y="205"/>
                  <a:pt x="340" y="204"/>
                </a:cubicBezTo>
                <a:cubicBezTo>
                  <a:pt x="336" y="204"/>
                  <a:pt x="336" y="204"/>
                  <a:pt x="336" y="204"/>
                </a:cubicBezTo>
                <a:cubicBezTo>
                  <a:pt x="329" y="203"/>
                  <a:pt x="324" y="197"/>
                  <a:pt x="325" y="190"/>
                </a:cubicBezTo>
                <a:cubicBezTo>
                  <a:pt x="320" y="185"/>
                  <a:pt x="324" y="177"/>
                  <a:pt x="331" y="178"/>
                </a:cubicBezTo>
                <a:cubicBezTo>
                  <a:pt x="342" y="179"/>
                  <a:pt x="342" y="179"/>
                  <a:pt x="342" y="179"/>
                </a:cubicBezTo>
                <a:cubicBezTo>
                  <a:pt x="347" y="180"/>
                  <a:pt x="351" y="176"/>
                  <a:pt x="351" y="171"/>
                </a:cubicBezTo>
                <a:cubicBezTo>
                  <a:pt x="351" y="169"/>
                  <a:pt x="351" y="166"/>
                  <a:pt x="350" y="164"/>
                </a:cubicBezTo>
                <a:cubicBezTo>
                  <a:pt x="350" y="159"/>
                  <a:pt x="346" y="156"/>
                  <a:pt x="341" y="157"/>
                </a:cubicBezTo>
                <a:cubicBezTo>
                  <a:pt x="337" y="157"/>
                  <a:pt x="337" y="157"/>
                  <a:pt x="337" y="157"/>
                </a:cubicBezTo>
                <a:cubicBezTo>
                  <a:pt x="331" y="158"/>
                  <a:pt x="325" y="155"/>
                  <a:pt x="323" y="149"/>
                </a:cubicBezTo>
                <a:cubicBezTo>
                  <a:pt x="320" y="142"/>
                  <a:pt x="325" y="134"/>
                  <a:pt x="333" y="133"/>
                </a:cubicBezTo>
                <a:cubicBezTo>
                  <a:pt x="336" y="132"/>
                  <a:pt x="336" y="132"/>
                  <a:pt x="336" y="132"/>
                </a:cubicBezTo>
                <a:cubicBezTo>
                  <a:pt x="341" y="131"/>
                  <a:pt x="344" y="127"/>
                  <a:pt x="342" y="122"/>
                </a:cubicBezTo>
                <a:cubicBezTo>
                  <a:pt x="341" y="120"/>
                  <a:pt x="341" y="117"/>
                  <a:pt x="340" y="115"/>
                </a:cubicBezTo>
                <a:cubicBezTo>
                  <a:pt x="338" y="111"/>
                  <a:pt x="333" y="109"/>
                  <a:pt x="329" y="111"/>
                </a:cubicBezTo>
                <a:cubicBezTo>
                  <a:pt x="325" y="113"/>
                  <a:pt x="325" y="113"/>
                  <a:pt x="325" y="113"/>
                </a:cubicBezTo>
                <a:cubicBezTo>
                  <a:pt x="320" y="115"/>
                  <a:pt x="313" y="114"/>
                  <a:pt x="310" y="109"/>
                </a:cubicBezTo>
                <a:cubicBezTo>
                  <a:pt x="305" y="102"/>
                  <a:pt x="307" y="93"/>
                  <a:pt x="314" y="90"/>
                </a:cubicBezTo>
                <a:cubicBezTo>
                  <a:pt x="317" y="88"/>
                  <a:pt x="317" y="88"/>
                  <a:pt x="317" y="88"/>
                </a:cubicBezTo>
                <a:cubicBezTo>
                  <a:pt x="321" y="86"/>
                  <a:pt x="323" y="81"/>
                  <a:pt x="320" y="77"/>
                </a:cubicBezTo>
                <a:cubicBezTo>
                  <a:pt x="319" y="75"/>
                  <a:pt x="317" y="73"/>
                  <a:pt x="316" y="71"/>
                </a:cubicBezTo>
                <a:cubicBezTo>
                  <a:pt x="313" y="67"/>
                  <a:pt x="308" y="67"/>
                  <a:pt x="304" y="70"/>
                </a:cubicBezTo>
                <a:cubicBezTo>
                  <a:pt x="301" y="73"/>
                  <a:pt x="301" y="73"/>
                  <a:pt x="301" y="73"/>
                </a:cubicBezTo>
                <a:cubicBezTo>
                  <a:pt x="296" y="78"/>
                  <a:pt x="288" y="77"/>
                  <a:pt x="283" y="72"/>
                </a:cubicBezTo>
                <a:cubicBezTo>
                  <a:pt x="279" y="67"/>
                  <a:pt x="279" y="59"/>
                  <a:pt x="284" y="54"/>
                </a:cubicBezTo>
                <a:cubicBezTo>
                  <a:pt x="287" y="52"/>
                  <a:pt x="287" y="52"/>
                  <a:pt x="287" y="52"/>
                </a:cubicBezTo>
                <a:cubicBezTo>
                  <a:pt x="290" y="49"/>
                  <a:pt x="290" y="43"/>
                  <a:pt x="286" y="40"/>
                </a:cubicBezTo>
                <a:cubicBezTo>
                  <a:pt x="285" y="38"/>
                  <a:pt x="283" y="37"/>
                  <a:pt x="281" y="36"/>
                </a:cubicBezTo>
                <a:cubicBezTo>
                  <a:pt x="277" y="33"/>
                  <a:pt x="272" y="34"/>
                  <a:pt x="269" y="38"/>
                </a:cubicBezTo>
                <a:cubicBezTo>
                  <a:pt x="267" y="41"/>
                  <a:pt x="267" y="41"/>
                  <a:pt x="267" y="41"/>
                </a:cubicBezTo>
                <a:cubicBezTo>
                  <a:pt x="264" y="46"/>
                  <a:pt x="258" y="49"/>
                  <a:pt x="252" y="47"/>
                </a:cubicBezTo>
                <a:cubicBezTo>
                  <a:pt x="244" y="44"/>
                  <a:pt x="242" y="35"/>
                  <a:pt x="246" y="28"/>
                </a:cubicBezTo>
                <a:cubicBezTo>
                  <a:pt x="247" y="25"/>
                  <a:pt x="247" y="25"/>
                  <a:pt x="247" y="25"/>
                </a:cubicBezTo>
                <a:cubicBezTo>
                  <a:pt x="250" y="21"/>
                  <a:pt x="248" y="16"/>
                  <a:pt x="244" y="14"/>
                </a:cubicBezTo>
                <a:cubicBezTo>
                  <a:pt x="241" y="13"/>
                  <a:pt x="239" y="12"/>
                  <a:pt x="237" y="11"/>
                </a:cubicBezTo>
                <a:cubicBezTo>
                  <a:pt x="233" y="10"/>
                  <a:pt x="228" y="12"/>
                  <a:pt x="227" y="17"/>
                </a:cubicBezTo>
                <a:cubicBezTo>
                  <a:pt x="226" y="20"/>
                  <a:pt x="226" y="20"/>
                  <a:pt x="226" y="20"/>
                </a:cubicBezTo>
                <a:cubicBezTo>
                  <a:pt x="224" y="26"/>
                  <a:pt x="218" y="31"/>
                  <a:pt x="212" y="30"/>
                </a:cubicBezTo>
                <a:cubicBezTo>
                  <a:pt x="204" y="29"/>
                  <a:pt x="199" y="22"/>
                  <a:pt x="201" y="14"/>
                </a:cubicBezTo>
                <a:cubicBezTo>
                  <a:pt x="202" y="11"/>
                  <a:pt x="202" y="11"/>
                  <a:pt x="202" y="11"/>
                </a:cubicBezTo>
                <a:cubicBezTo>
                  <a:pt x="203" y="6"/>
                  <a:pt x="200" y="1"/>
                  <a:pt x="195" y="1"/>
                </a:cubicBezTo>
                <a:cubicBezTo>
                  <a:pt x="193" y="1"/>
                  <a:pt x="191" y="0"/>
                  <a:pt x="188" y="0"/>
                </a:cubicBezTo>
                <a:cubicBezTo>
                  <a:pt x="184" y="0"/>
                  <a:pt x="180" y="4"/>
                  <a:pt x="180" y="8"/>
                </a:cubicBezTo>
                <a:cubicBezTo>
                  <a:pt x="180" y="12"/>
                  <a:pt x="180" y="12"/>
                  <a:pt x="180" y="12"/>
                </a:cubicBezTo>
                <a:cubicBezTo>
                  <a:pt x="180" y="18"/>
                  <a:pt x="176" y="24"/>
                  <a:pt x="170" y="25"/>
                </a:cubicBezTo>
                <a:cubicBezTo>
                  <a:pt x="162" y="27"/>
                  <a:pt x="155" y="21"/>
                  <a:pt x="155" y="13"/>
                </a:cubicBezTo>
                <a:cubicBezTo>
                  <a:pt x="155" y="10"/>
                  <a:pt x="155" y="10"/>
                  <a:pt x="155" y="10"/>
                </a:cubicBezTo>
                <a:cubicBezTo>
                  <a:pt x="155" y="5"/>
                  <a:pt x="150" y="1"/>
                  <a:pt x="145" y="2"/>
                </a:cubicBezTo>
                <a:cubicBezTo>
                  <a:pt x="143" y="2"/>
                  <a:pt x="141" y="3"/>
                  <a:pt x="138" y="3"/>
                </a:cubicBezTo>
                <a:cubicBezTo>
                  <a:pt x="134" y="4"/>
                  <a:pt x="131" y="9"/>
                  <a:pt x="133" y="13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36" y="24"/>
                  <a:pt x="132" y="31"/>
                  <a:pt x="126" y="33"/>
                </a:cubicBezTo>
                <a:cubicBezTo>
                  <a:pt x="121" y="38"/>
                  <a:pt x="113" y="36"/>
                  <a:pt x="111" y="29"/>
                </a:cubicBezTo>
                <a:cubicBezTo>
                  <a:pt x="109" y="22"/>
                  <a:pt x="109" y="22"/>
                  <a:pt x="109" y="22"/>
                </a:cubicBezTo>
                <a:cubicBezTo>
                  <a:pt x="107" y="17"/>
                  <a:pt x="102" y="15"/>
                  <a:pt x="98" y="17"/>
                </a:cubicBezTo>
                <a:cubicBezTo>
                  <a:pt x="96" y="18"/>
                  <a:pt x="94" y="19"/>
                  <a:pt x="92" y="20"/>
                </a:cubicBezTo>
                <a:cubicBezTo>
                  <a:pt x="88" y="23"/>
                  <a:pt x="86" y="28"/>
                  <a:pt x="89" y="32"/>
                </a:cubicBezTo>
                <a:cubicBezTo>
                  <a:pt x="91" y="35"/>
                  <a:pt x="91" y="35"/>
                  <a:pt x="91" y="35"/>
                </a:cubicBezTo>
                <a:cubicBezTo>
                  <a:pt x="96" y="42"/>
                  <a:pt x="93" y="51"/>
                  <a:pt x="86" y="54"/>
                </a:cubicBezTo>
                <a:cubicBezTo>
                  <a:pt x="81" y="56"/>
                  <a:pt x="74" y="54"/>
                  <a:pt x="70" y="49"/>
                </a:cubicBezTo>
                <a:cubicBezTo>
                  <a:pt x="69" y="47"/>
                  <a:pt x="69" y="47"/>
                  <a:pt x="69" y="47"/>
                </a:cubicBezTo>
                <a:cubicBezTo>
                  <a:pt x="66" y="43"/>
                  <a:pt x="60" y="42"/>
                  <a:pt x="57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55" y="47"/>
                  <a:pt x="53" y="48"/>
                  <a:pt x="52" y="50"/>
                </a:cubicBezTo>
                <a:close/>
                <a:moveTo>
                  <a:pt x="215" y="283"/>
                </a:moveTo>
                <a:cubicBezTo>
                  <a:pt x="208" y="285"/>
                  <a:pt x="201" y="282"/>
                  <a:pt x="199" y="275"/>
                </a:cubicBezTo>
                <a:cubicBezTo>
                  <a:pt x="197" y="269"/>
                  <a:pt x="200" y="262"/>
                  <a:pt x="207" y="260"/>
                </a:cubicBezTo>
                <a:cubicBezTo>
                  <a:pt x="213" y="258"/>
                  <a:pt x="220" y="261"/>
                  <a:pt x="222" y="267"/>
                </a:cubicBezTo>
                <a:cubicBezTo>
                  <a:pt x="224" y="274"/>
                  <a:pt x="221" y="281"/>
                  <a:pt x="215" y="283"/>
                </a:cubicBezTo>
                <a:close/>
                <a:moveTo>
                  <a:pt x="274" y="207"/>
                </a:moveTo>
                <a:cubicBezTo>
                  <a:pt x="280" y="210"/>
                  <a:pt x="283" y="217"/>
                  <a:pt x="280" y="223"/>
                </a:cubicBezTo>
                <a:cubicBezTo>
                  <a:pt x="277" y="229"/>
                  <a:pt x="270" y="232"/>
                  <a:pt x="264" y="229"/>
                </a:cubicBezTo>
                <a:cubicBezTo>
                  <a:pt x="258" y="226"/>
                  <a:pt x="255" y="219"/>
                  <a:pt x="258" y="213"/>
                </a:cubicBezTo>
                <a:cubicBezTo>
                  <a:pt x="261" y="206"/>
                  <a:pt x="268" y="204"/>
                  <a:pt x="274" y="207"/>
                </a:cubicBezTo>
                <a:close/>
                <a:moveTo>
                  <a:pt x="227" y="219"/>
                </a:moveTo>
                <a:cubicBezTo>
                  <a:pt x="230" y="222"/>
                  <a:pt x="230" y="227"/>
                  <a:pt x="227" y="230"/>
                </a:cubicBezTo>
                <a:cubicBezTo>
                  <a:pt x="224" y="233"/>
                  <a:pt x="218" y="233"/>
                  <a:pt x="215" y="229"/>
                </a:cubicBezTo>
                <a:cubicBezTo>
                  <a:pt x="213" y="226"/>
                  <a:pt x="213" y="221"/>
                  <a:pt x="216" y="218"/>
                </a:cubicBezTo>
                <a:cubicBezTo>
                  <a:pt x="219" y="215"/>
                  <a:pt x="224" y="215"/>
                  <a:pt x="227" y="219"/>
                </a:cubicBezTo>
                <a:close/>
                <a:moveTo>
                  <a:pt x="107" y="164"/>
                </a:moveTo>
                <a:cubicBezTo>
                  <a:pt x="111" y="164"/>
                  <a:pt x="115" y="168"/>
                  <a:pt x="115" y="172"/>
                </a:cubicBezTo>
                <a:cubicBezTo>
                  <a:pt x="114" y="176"/>
                  <a:pt x="111" y="180"/>
                  <a:pt x="106" y="180"/>
                </a:cubicBezTo>
                <a:cubicBezTo>
                  <a:pt x="102" y="179"/>
                  <a:pt x="99" y="176"/>
                  <a:pt x="99" y="171"/>
                </a:cubicBezTo>
                <a:cubicBezTo>
                  <a:pt x="99" y="167"/>
                  <a:pt x="103" y="164"/>
                  <a:pt x="107" y="164"/>
                </a:cubicBezTo>
                <a:close/>
                <a:moveTo>
                  <a:pt x="82" y="221"/>
                </a:moveTo>
                <a:cubicBezTo>
                  <a:pt x="75" y="223"/>
                  <a:pt x="68" y="220"/>
                  <a:pt x="66" y="214"/>
                </a:cubicBezTo>
                <a:cubicBezTo>
                  <a:pt x="64" y="208"/>
                  <a:pt x="67" y="201"/>
                  <a:pt x="74" y="198"/>
                </a:cubicBezTo>
                <a:cubicBezTo>
                  <a:pt x="80" y="196"/>
                  <a:pt x="87" y="199"/>
                  <a:pt x="89" y="206"/>
                </a:cubicBezTo>
                <a:cubicBezTo>
                  <a:pt x="91" y="212"/>
                  <a:pt x="88" y="219"/>
                  <a:pt x="82" y="221"/>
                </a:cubicBezTo>
                <a:close/>
                <a:moveTo>
                  <a:pt x="119" y="226"/>
                </a:moveTo>
                <a:cubicBezTo>
                  <a:pt x="116" y="223"/>
                  <a:pt x="116" y="218"/>
                  <a:pt x="120" y="215"/>
                </a:cubicBezTo>
                <a:cubicBezTo>
                  <a:pt x="123" y="212"/>
                  <a:pt x="128" y="212"/>
                  <a:pt x="131" y="215"/>
                </a:cubicBezTo>
                <a:cubicBezTo>
                  <a:pt x="134" y="219"/>
                  <a:pt x="134" y="224"/>
                  <a:pt x="130" y="227"/>
                </a:cubicBezTo>
                <a:cubicBezTo>
                  <a:pt x="127" y="229"/>
                  <a:pt x="122" y="229"/>
                  <a:pt x="119" y="226"/>
                </a:cubicBezTo>
                <a:close/>
                <a:moveTo>
                  <a:pt x="126" y="279"/>
                </a:moveTo>
                <a:cubicBezTo>
                  <a:pt x="120" y="276"/>
                  <a:pt x="118" y="269"/>
                  <a:pt x="120" y="263"/>
                </a:cubicBezTo>
                <a:cubicBezTo>
                  <a:pt x="123" y="257"/>
                  <a:pt x="131" y="254"/>
                  <a:pt x="137" y="257"/>
                </a:cubicBezTo>
                <a:cubicBezTo>
                  <a:pt x="143" y="260"/>
                  <a:pt x="145" y="267"/>
                  <a:pt x="142" y="273"/>
                </a:cubicBezTo>
                <a:cubicBezTo>
                  <a:pt x="139" y="279"/>
                  <a:pt x="132" y="282"/>
                  <a:pt x="126" y="279"/>
                </a:cubicBezTo>
                <a:close/>
                <a:moveTo>
                  <a:pt x="172" y="250"/>
                </a:moveTo>
                <a:cubicBezTo>
                  <a:pt x="168" y="250"/>
                  <a:pt x="164" y="246"/>
                  <a:pt x="165" y="242"/>
                </a:cubicBezTo>
                <a:cubicBezTo>
                  <a:pt x="165" y="238"/>
                  <a:pt x="168" y="234"/>
                  <a:pt x="173" y="234"/>
                </a:cubicBezTo>
                <a:cubicBezTo>
                  <a:pt x="177" y="235"/>
                  <a:pt x="181" y="238"/>
                  <a:pt x="180" y="243"/>
                </a:cubicBezTo>
                <a:cubicBezTo>
                  <a:pt x="180" y="247"/>
                  <a:pt x="177" y="250"/>
                  <a:pt x="172" y="250"/>
                </a:cubicBezTo>
                <a:close/>
                <a:moveTo>
                  <a:pt x="251" y="177"/>
                </a:moveTo>
                <a:cubicBezTo>
                  <a:pt x="251" y="181"/>
                  <a:pt x="247" y="185"/>
                  <a:pt x="243" y="185"/>
                </a:cubicBezTo>
                <a:cubicBezTo>
                  <a:pt x="238" y="184"/>
                  <a:pt x="235" y="181"/>
                  <a:pt x="235" y="176"/>
                </a:cubicBezTo>
                <a:cubicBezTo>
                  <a:pt x="235" y="172"/>
                  <a:pt x="239" y="168"/>
                  <a:pt x="243" y="169"/>
                </a:cubicBezTo>
                <a:cubicBezTo>
                  <a:pt x="248" y="169"/>
                  <a:pt x="251" y="173"/>
                  <a:pt x="251" y="177"/>
                </a:cubicBezTo>
                <a:close/>
                <a:moveTo>
                  <a:pt x="268" y="127"/>
                </a:moveTo>
                <a:cubicBezTo>
                  <a:pt x="274" y="125"/>
                  <a:pt x="281" y="128"/>
                  <a:pt x="284" y="134"/>
                </a:cubicBezTo>
                <a:cubicBezTo>
                  <a:pt x="286" y="141"/>
                  <a:pt x="283" y="148"/>
                  <a:pt x="276" y="150"/>
                </a:cubicBezTo>
                <a:cubicBezTo>
                  <a:pt x="270" y="152"/>
                  <a:pt x="263" y="149"/>
                  <a:pt x="261" y="143"/>
                </a:cubicBezTo>
                <a:cubicBezTo>
                  <a:pt x="259" y="136"/>
                  <a:pt x="262" y="129"/>
                  <a:pt x="268" y="127"/>
                </a:cubicBezTo>
                <a:close/>
                <a:moveTo>
                  <a:pt x="231" y="122"/>
                </a:moveTo>
                <a:cubicBezTo>
                  <a:pt x="234" y="126"/>
                  <a:pt x="233" y="131"/>
                  <a:pt x="230" y="134"/>
                </a:cubicBezTo>
                <a:cubicBezTo>
                  <a:pt x="227" y="137"/>
                  <a:pt x="222" y="136"/>
                  <a:pt x="219" y="133"/>
                </a:cubicBezTo>
                <a:cubicBezTo>
                  <a:pt x="216" y="130"/>
                  <a:pt x="216" y="125"/>
                  <a:pt x="219" y="122"/>
                </a:cubicBezTo>
                <a:cubicBezTo>
                  <a:pt x="223" y="119"/>
                  <a:pt x="228" y="119"/>
                  <a:pt x="231" y="122"/>
                </a:cubicBezTo>
                <a:close/>
                <a:moveTo>
                  <a:pt x="202" y="150"/>
                </a:moveTo>
                <a:cubicBezTo>
                  <a:pt x="216" y="166"/>
                  <a:pt x="215" y="190"/>
                  <a:pt x="200" y="204"/>
                </a:cubicBezTo>
                <a:cubicBezTo>
                  <a:pt x="184" y="218"/>
                  <a:pt x="160" y="217"/>
                  <a:pt x="146" y="202"/>
                </a:cubicBezTo>
                <a:cubicBezTo>
                  <a:pt x="132" y="186"/>
                  <a:pt x="133" y="162"/>
                  <a:pt x="148" y="148"/>
                </a:cubicBezTo>
                <a:cubicBezTo>
                  <a:pt x="164" y="134"/>
                  <a:pt x="188" y="135"/>
                  <a:pt x="202" y="150"/>
                </a:cubicBezTo>
                <a:close/>
                <a:moveTo>
                  <a:pt x="224" y="69"/>
                </a:moveTo>
                <a:cubicBezTo>
                  <a:pt x="230" y="72"/>
                  <a:pt x="232" y="79"/>
                  <a:pt x="229" y="85"/>
                </a:cubicBezTo>
                <a:cubicBezTo>
                  <a:pt x="227" y="91"/>
                  <a:pt x="219" y="94"/>
                  <a:pt x="213" y="91"/>
                </a:cubicBezTo>
                <a:cubicBezTo>
                  <a:pt x="207" y="88"/>
                  <a:pt x="205" y="81"/>
                  <a:pt x="208" y="75"/>
                </a:cubicBezTo>
                <a:cubicBezTo>
                  <a:pt x="210" y="69"/>
                  <a:pt x="218" y="66"/>
                  <a:pt x="224" y="69"/>
                </a:cubicBezTo>
                <a:close/>
                <a:moveTo>
                  <a:pt x="178" y="98"/>
                </a:moveTo>
                <a:cubicBezTo>
                  <a:pt x="182" y="98"/>
                  <a:pt x="185" y="102"/>
                  <a:pt x="185" y="106"/>
                </a:cubicBezTo>
                <a:cubicBezTo>
                  <a:pt x="185" y="111"/>
                  <a:pt x="181" y="114"/>
                  <a:pt x="177" y="114"/>
                </a:cubicBezTo>
                <a:cubicBezTo>
                  <a:pt x="173" y="114"/>
                  <a:pt x="169" y="110"/>
                  <a:pt x="169" y="106"/>
                </a:cubicBezTo>
                <a:cubicBezTo>
                  <a:pt x="170" y="101"/>
                  <a:pt x="173" y="98"/>
                  <a:pt x="178" y="98"/>
                </a:cubicBezTo>
                <a:close/>
                <a:moveTo>
                  <a:pt x="134" y="119"/>
                </a:moveTo>
                <a:cubicBezTo>
                  <a:pt x="137" y="122"/>
                  <a:pt x="137" y="127"/>
                  <a:pt x="134" y="130"/>
                </a:cubicBezTo>
                <a:cubicBezTo>
                  <a:pt x="131" y="133"/>
                  <a:pt x="126" y="133"/>
                  <a:pt x="123" y="130"/>
                </a:cubicBezTo>
                <a:cubicBezTo>
                  <a:pt x="120" y="126"/>
                  <a:pt x="120" y="121"/>
                  <a:pt x="123" y="118"/>
                </a:cubicBezTo>
                <a:cubicBezTo>
                  <a:pt x="126" y="115"/>
                  <a:pt x="131" y="116"/>
                  <a:pt x="134" y="119"/>
                </a:cubicBezTo>
                <a:close/>
                <a:moveTo>
                  <a:pt x="76" y="142"/>
                </a:moveTo>
                <a:cubicBezTo>
                  <a:pt x="70" y="139"/>
                  <a:pt x="67" y="131"/>
                  <a:pt x="70" y="125"/>
                </a:cubicBezTo>
                <a:cubicBezTo>
                  <a:pt x="73" y="119"/>
                  <a:pt x="80" y="117"/>
                  <a:pt x="86" y="120"/>
                </a:cubicBezTo>
                <a:cubicBezTo>
                  <a:pt x="92" y="123"/>
                  <a:pt x="95" y="130"/>
                  <a:pt x="92" y="136"/>
                </a:cubicBezTo>
                <a:cubicBezTo>
                  <a:pt x="89" y="142"/>
                  <a:pt x="82" y="144"/>
                  <a:pt x="76" y="142"/>
                </a:cubicBezTo>
                <a:close/>
                <a:moveTo>
                  <a:pt x="135" y="65"/>
                </a:moveTo>
                <a:cubicBezTo>
                  <a:pt x="141" y="63"/>
                  <a:pt x="148" y="67"/>
                  <a:pt x="151" y="73"/>
                </a:cubicBezTo>
                <a:cubicBezTo>
                  <a:pt x="153" y="79"/>
                  <a:pt x="150" y="86"/>
                  <a:pt x="143" y="88"/>
                </a:cubicBezTo>
                <a:cubicBezTo>
                  <a:pt x="137" y="91"/>
                  <a:pt x="130" y="87"/>
                  <a:pt x="128" y="81"/>
                </a:cubicBezTo>
                <a:cubicBezTo>
                  <a:pt x="126" y="75"/>
                  <a:pt x="129" y="68"/>
                  <a:pt x="135" y="6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7" name="Freeform 35"/>
          <p:cNvSpPr>
            <a:spLocks noEditPoints="1"/>
          </p:cNvSpPr>
          <p:nvPr/>
        </p:nvSpPr>
        <p:spPr bwMode="auto">
          <a:xfrm>
            <a:off x="10919206" y="10900838"/>
            <a:ext cx="845268" cy="845268"/>
          </a:xfrm>
          <a:custGeom>
            <a:avLst/>
            <a:gdLst>
              <a:gd name="T0" fmla="*/ 42 w 297"/>
              <a:gd name="T1" fmla="*/ 64 h 297"/>
              <a:gd name="T2" fmla="*/ 16 w 297"/>
              <a:gd name="T3" fmla="*/ 82 h 297"/>
              <a:gd name="T4" fmla="*/ 5 w 297"/>
              <a:gd name="T5" fmla="*/ 111 h 297"/>
              <a:gd name="T6" fmla="*/ 11 w 297"/>
              <a:gd name="T7" fmla="*/ 142 h 297"/>
              <a:gd name="T8" fmla="*/ 2 w 297"/>
              <a:gd name="T9" fmla="*/ 172 h 297"/>
              <a:gd name="T10" fmla="*/ 10 w 297"/>
              <a:gd name="T11" fmla="*/ 201 h 297"/>
              <a:gd name="T12" fmla="*/ 32 w 297"/>
              <a:gd name="T13" fmla="*/ 223 h 297"/>
              <a:gd name="T14" fmla="*/ 42 w 297"/>
              <a:gd name="T15" fmla="*/ 253 h 297"/>
              <a:gd name="T16" fmla="*/ 66 w 297"/>
              <a:gd name="T17" fmla="*/ 272 h 297"/>
              <a:gd name="T18" fmla="*/ 97 w 297"/>
              <a:gd name="T19" fmla="*/ 277 h 297"/>
              <a:gd name="T20" fmla="*/ 122 w 297"/>
              <a:gd name="T21" fmla="*/ 295 h 297"/>
              <a:gd name="T22" fmla="*/ 153 w 297"/>
              <a:gd name="T23" fmla="*/ 297 h 297"/>
              <a:gd name="T24" fmla="*/ 180 w 297"/>
              <a:gd name="T25" fmla="*/ 282 h 297"/>
              <a:gd name="T26" fmla="*/ 213 w 297"/>
              <a:gd name="T27" fmla="*/ 283 h 297"/>
              <a:gd name="T28" fmla="*/ 239 w 297"/>
              <a:gd name="T29" fmla="*/ 267 h 297"/>
              <a:gd name="T30" fmla="*/ 251 w 297"/>
              <a:gd name="T31" fmla="*/ 237 h 297"/>
              <a:gd name="T32" fmla="*/ 271 w 297"/>
              <a:gd name="T33" fmla="*/ 233 h 297"/>
              <a:gd name="T34" fmla="*/ 282 w 297"/>
              <a:gd name="T35" fmla="*/ 213 h 297"/>
              <a:gd name="T36" fmla="*/ 288 w 297"/>
              <a:gd name="T37" fmla="*/ 198 h 297"/>
              <a:gd name="T38" fmla="*/ 293 w 297"/>
              <a:gd name="T39" fmla="*/ 175 h 297"/>
              <a:gd name="T40" fmla="*/ 282 w 297"/>
              <a:gd name="T41" fmla="*/ 159 h 297"/>
              <a:gd name="T42" fmla="*/ 295 w 297"/>
              <a:gd name="T43" fmla="*/ 144 h 297"/>
              <a:gd name="T44" fmla="*/ 294 w 297"/>
              <a:gd name="T45" fmla="*/ 120 h 297"/>
              <a:gd name="T46" fmla="*/ 290 w 297"/>
              <a:gd name="T47" fmla="*/ 105 h 297"/>
              <a:gd name="T48" fmla="*/ 279 w 297"/>
              <a:gd name="T49" fmla="*/ 84 h 297"/>
              <a:gd name="T50" fmla="*/ 261 w 297"/>
              <a:gd name="T51" fmla="*/ 78 h 297"/>
              <a:gd name="T52" fmla="*/ 263 w 297"/>
              <a:gd name="T53" fmla="*/ 58 h 297"/>
              <a:gd name="T54" fmla="*/ 248 w 297"/>
              <a:gd name="T55" fmla="*/ 39 h 297"/>
              <a:gd name="T56" fmla="*/ 236 w 297"/>
              <a:gd name="T57" fmla="*/ 29 h 297"/>
              <a:gd name="T58" fmla="*/ 215 w 297"/>
              <a:gd name="T59" fmla="*/ 19 h 297"/>
              <a:gd name="T60" fmla="*/ 197 w 297"/>
              <a:gd name="T61" fmla="*/ 24 h 297"/>
              <a:gd name="T62" fmla="*/ 187 w 297"/>
              <a:gd name="T63" fmla="*/ 7 h 297"/>
              <a:gd name="T64" fmla="*/ 164 w 297"/>
              <a:gd name="T65" fmla="*/ 1 h 297"/>
              <a:gd name="T66" fmla="*/ 148 w 297"/>
              <a:gd name="T67" fmla="*/ 0 h 297"/>
              <a:gd name="T68" fmla="*/ 125 w 297"/>
              <a:gd name="T69" fmla="*/ 4 h 297"/>
              <a:gd name="T70" fmla="*/ 113 w 297"/>
              <a:gd name="T71" fmla="*/ 19 h 297"/>
              <a:gd name="T72" fmla="*/ 95 w 297"/>
              <a:gd name="T73" fmla="*/ 11 h 297"/>
              <a:gd name="T74" fmla="*/ 73 w 297"/>
              <a:gd name="T75" fmla="*/ 21 h 297"/>
              <a:gd name="T76" fmla="*/ 60 w 297"/>
              <a:gd name="T77" fmla="*/ 29 h 297"/>
              <a:gd name="T78" fmla="*/ 28 w 297"/>
              <a:gd name="T79" fmla="*/ 118 h 297"/>
              <a:gd name="T80" fmla="*/ 102 w 297"/>
              <a:gd name="T81" fmla="*/ 98 h 297"/>
              <a:gd name="T82" fmla="*/ 102 w 297"/>
              <a:gd name="T83" fmla="*/ 98 h 297"/>
              <a:gd name="T84" fmla="*/ 145 w 297"/>
              <a:gd name="T85" fmla="*/ 218 h 297"/>
              <a:gd name="T86" fmla="*/ 195 w 297"/>
              <a:gd name="T87" fmla="*/ 200 h 297"/>
              <a:gd name="T88" fmla="*/ 88 w 297"/>
              <a:gd name="T89" fmla="*/ 213 h 297"/>
              <a:gd name="T90" fmla="*/ 265 w 297"/>
              <a:gd name="T91" fmla="*/ 193 h 297"/>
              <a:gd name="T92" fmla="*/ 208 w 297"/>
              <a:gd name="T93" fmla="*/ 214 h 297"/>
              <a:gd name="T94" fmla="*/ 234 w 297"/>
              <a:gd name="T95" fmla="*/ 169 h 297"/>
              <a:gd name="T96" fmla="*/ 157 w 297"/>
              <a:gd name="T97" fmla="*/ 159 h 297"/>
              <a:gd name="T98" fmla="*/ 157 w 297"/>
              <a:gd name="T99" fmla="*/ 159 h 297"/>
              <a:gd name="T100" fmla="*/ 128 w 297"/>
              <a:gd name="T101" fmla="*/ 26 h 297"/>
              <a:gd name="T102" fmla="*/ 89 w 297"/>
              <a:gd name="T103" fmla="*/ 84 h 297"/>
              <a:gd name="T104" fmla="*/ 115 w 297"/>
              <a:gd name="T105" fmla="*/ 29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97" h="297">
                <a:moveTo>
                  <a:pt x="57" y="49"/>
                </a:moveTo>
                <a:cubicBezTo>
                  <a:pt x="54" y="52"/>
                  <a:pt x="47" y="50"/>
                  <a:pt x="43" y="45"/>
                </a:cubicBezTo>
                <a:cubicBezTo>
                  <a:pt x="41" y="47"/>
                  <a:pt x="39" y="48"/>
                  <a:pt x="38" y="50"/>
                </a:cubicBezTo>
                <a:cubicBezTo>
                  <a:pt x="43" y="55"/>
                  <a:pt x="45" y="61"/>
                  <a:pt x="42" y="64"/>
                </a:cubicBezTo>
                <a:cubicBezTo>
                  <a:pt x="39" y="67"/>
                  <a:pt x="33" y="67"/>
                  <a:pt x="28" y="63"/>
                </a:cubicBezTo>
                <a:cubicBezTo>
                  <a:pt x="26" y="65"/>
                  <a:pt x="25" y="67"/>
                  <a:pt x="23" y="69"/>
                </a:cubicBezTo>
                <a:cubicBezTo>
                  <a:pt x="29" y="72"/>
                  <a:pt x="32" y="78"/>
                  <a:pt x="30" y="81"/>
                </a:cubicBezTo>
                <a:cubicBezTo>
                  <a:pt x="28" y="85"/>
                  <a:pt x="22" y="85"/>
                  <a:pt x="16" y="82"/>
                </a:cubicBezTo>
                <a:cubicBezTo>
                  <a:pt x="15" y="85"/>
                  <a:pt x="14" y="87"/>
                  <a:pt x="13" y="89"/>
                </a:cubicBezTo>
                <a:cubicBezTo>
                  <a:pt x="18" y="92"/>
                  <a:pt x="22" y="97"/>
                  <a:pt x="20" y="100"/>
                </a:cubicBezTo>
                <a:cubicBezTo>
                  <a:pt x="19" y="104"/>
                  <a:pt x="13" y="106"/>
                  <a:pt x="7" y="104"/>
                </a:cubicBezTo>
                <a:cubicBezTo>
                  <a:pt x="6" y="106"/>
                  <a:pt x="6" y="109"/>
                  <a:pt x="5" y="111"/>
                </a:cubicBezTo>
                <a:cubicBezTo>
                  <a:pt x="11" y="113"/>
                  <a:pt x="15" y="117"/>
                  <a:pt x="14" y="121"/>
                </a:cubicBezTo>
                <a:cubicBezTo>
                  <a:pt x="13" y="125"/>
                  <a:pt x="8" y="127"/>
                  <a:pt x="2" y="126"/>
                </a:cubicBezTo>
                <a:cubicBezTo>
                  <a:pt x="1" y="129"/>
                  <a:pt x="1" y="131"/>
                  <a:pt x="1" y="134"/>
                </a:cubicBezTo>
                <a:cubicBezTo>
                  <a:pt x="7" y="134"/>
                  <a:pt x="11" y="138"/>
                  <a:pt x="11" y="142"/>
                </a:cubicBezTo>
                <a:cubicBezTo>
                  <a:pt x="11" y="146"/>
                  <a:pt x="6" y="149"/>
                  <a:pt x="0" y="149"/>
                </a:cubicBezTo>
                <a:cubicBezTo>
                  <a:pt x="0" y="152"/>
                  <a:pt x="0" y="154"/>
                  <a:pt x="0" y="157"/>
                </a:cubicBezTo>
                <a:cubicBezTo>
                  <a:pt x="6" y="157"/>
                  <a:pt x="11" y="159"/>
                  <a:pt x="12" y="163"/>
                </a:cubicBezTo>
                <a:cubicBezTo>
                  <a:pt x="12" y="167"/>
                  <a:pt x="8" y="171"/>
                  <a:pt x="2" y="172"/>
                </a:cubicBezTo>
                <a:cubicBezTo>
                  <a:pt x="2" y="175"/>
                  <a:pt x="3" y="177"/>
                  <a:pt x="3" y="179"/>
                </a:cubicBezTo>
                <a:cubicBezTo>
                  <a:pt x="9" y="179"/>
                  <a:pt x="14" y="180"/>
                  <a:pt x="15" y="184"/>
                </a:cubicBezTo>
                <a:cubicBezTo>
                  <a:pt x="16" y="188"/>
                  <a:pt x="13" y="192"/>
                  <a:pt x="7" y="194"/>
                </a:cubicBezTo>
                <a:cubicBezTo>
                  <a:pt x="8" y="197"/>
                  <a:pt x="9" y="199"/>
                  <a:pt x="10" y="201"/>
                </a:cubicBezTo>
                <a:cubicBezTo>
                  <a:pt x="15" y="200"/>
                  <a:pt x="21" y="201"/>
                  <a:pt x="22" y="204"/>
                </a:cubicBezTo>
                <a:cubicBezTo>
                  <a:pt x="24" y="208"/>
                  <a:pt x="21" y="213"/>
                  <a:pt x="16" y="216"/>
                </a:cubicBezTo>
                <a:cubicBezTo>
                  <a:pt x="17" y="218"/>
                  <a:pt x="18" y="220"/>
                  <a:pt x="19" y="222"/>
                </a:cubicBezTo>
                <a:cubicBezTo>
                  <a:pt x="25" y="220"/>
                  <a:pt x="30" y="220"/>
                  <a:pt x="32" y="223"/>
                </a:cubicBezTo>
                <a:cubicBezTo>
                  <a:pt x="34" y="226"/>
                  <a:pt x="32" y="231"/>
                  <a:pt x="28" y="235"/>
                </a:cubicBezTo>
                <a:cubicBezTo>
                  <a:pt x="29" y="237"/>
                  <a:pt x="31" y="239"/>
                  <a:pt x="32" y="241"/>
                </a:cubicBezTo>
                <a:cubicBezTo>
                  <a:pt x="37" y="238"/>
                  <a:pt x="42" y="237"/>
                  <a:pt x="45" y="240"/>
                </a:cubicBezTo>
                <a:cubicBezTo>
                  <a:pt x="47" y="243"/>
                  <a:pt x="46" y="248"/>
                  <a:pt x="42" y="253"/>
                </a:cubicBezTo>
                <a:cubicBezTo>
                  <a:pt x="44" y="255"/>
                  <a:pt x="46" y="256"/>
                  <a:pt x="48" y="258"/>
                </a:cubicBezTo>
                <a:cubicBezTo>
                  <a:pt x="52" y="254"/>
                  <a:pt x="57" y="253"/>
                  <a:pt x="60" y="255"/>
                </a:cubicBezTo>
                <a:cubicBezTo>
                  <a:pt x="63" y="257"/>
                  <a:pt x="63" y="263"/>
                  <a:pt x="60" y="268"/>
                </a:cubicBezTo>
                <a:cubicBezTo>
                  <a:pt x="62" y="269"/>
                  <a:pt x="64" y="271"/>
                  <a:pt x="66" y="272"/>
                </a:cubicBezTo>
                <a:cubicBezTo>
                  <a:pt x="69" y="268"/>
                  <a:pt x="74" y="265"/>
                  <a:pt x="78" y="267"/>
                </a:cubicBezTo>
                <a:cubicBezTo>
                  <a:pt x="81" y="269"/>
                  <a:pt x="81" y="275"/>
                  <a:pt x="79" y="280"/>
                </a:cubicBezTo>
                <a:cubicBezTo>
                  <a:pt x="81" y="281"/>
                  <a:pt x="84" y="282"/>
                  <a:pt x="86" y="283"/>
                </a:cubicBezTo>
                <a:cubicBezTo>
                  <a:pt x="89" y="278"/>
                  <a:pt x="93" y="275"/>
                  <a:pt x="97" y="277"/>
                </a:cubicBezTo>
                <a:cubicBezTo>
                  <a:pt x="100" y="278"/>
                  <a:pt x="102" y="283"/>
                  <a:pt x="100" y="289"/>
                </a:cubicBezTo>
                <a:cubicBezTo>
                  <a:pt x="103" y="290"/>
                  <a:pt x="105" y="291"/>
                  <a:pt x="107" y="291"/>
                </a:cubicBezTo>
                <a:cubicBezTo>
                  <a:pt x="109" y="286"/>
                  <a:pt x="113" y="282"/>
                  <a:pt x="117" y="283"/>
                </a:cubicBezTo>
                <a:cubicBezTo>
                  <a:pt x="121" y="284"/>
                  <a:pt x="123" y="289"/>
                  <a:pt x="122" y="295"/>
                </a:cubicBezTo>
                <a:cubicBezTo>
                  <a:pt x="125" y="295"/>
                  <a:pt x="127" y="296"/>
                  <a:pt x="130" y="296"/>
                </a:cubicBezTo>
                <a:cubicBezTo>
                  <a:pt x="131" y="290"/>
                  <a:pt x="134" y="286"/>
                  <a:pt x="138" y="286"/>
                </a:cubicBezTo>
                <a:cubicBezTo>
                  <a:pt x="142" y="286"/>
                  <a:pt x="145" y="291"/>
                  <a:pt x="145" y="297"/>
                </a:cubicBezTo>
                <a:cubicBezTo>
                  <a:pt x="148" y="297"/>
                  <a:pt x="150" y="297"/>
                  <a:pt x="153" y="297"/>
                </a:cubicBezTo>
                <a:cubicBezTo>
                  <a:pt x="153" y="291"/>
                  <a:pt x="155" y="286"/>
                  <a:pt x="159" y="286"/>
                </a:cubicBezTo>
                <a:cubicBezTo>
                  <a:pt x="163" y="285"/>
                  <a:pt x="167" y="290"/>
                  <a:pt x="168" y="296"/>
                </a:cubicBezTo>
                <a:cubicBezTo>
                  <a:pt x="171" y="296"/>
                  <a:pt x="173" y="295"/>
                  <a:pt x="176" y="295"/>
                </a:cubicBezTo>
                <a:cubicBezTo>
                  <a:pt x="175" y="289"/>
                  <a:pt x="176" y="283"/>
                  <a:pt x="180" y="282"/>
                </a:cubicBezTo>
                <a:cubicBezTo>
                  <a:pt x="184" y="281"/>
                  <a:pt x="189" y="285"/>
                  <a:pt x="191" y="291"/>
                </a:cubicBezTo>
                <a:cubicBezTo>
                  <a:pt x="193" y="290"/>
                  <a:pt x="196" y="290"/>
                  <a:pt x="198" y="289"/>
                </a:cubicBezTo>
                <a:cubicBezTo>
                  <a:pt x="196" y="283"/>
                  <a:pt x="197" y="277"/>
                  <a:pt x="200" y="275"/>
                </a:cubicBezTo>
                <a:cubicBezTo>
                  <a:pt x="204" y="273"/>
                  <a:pt x="210" y="277"/>
                  <a:pt x="213" y="283"/>
                </a:cubicBezTo>
                <a:cubicBezTo>
                  <a:pt x="215" y="282"/>
                  <a:pt x="217" y="280"/>
                  <a:pt x="219" y="279"/>
                </a:cubicBezTo>
                <a:cubicBezTo>
                  <a:pt x="216" y="274"/>
                  <a:pt x="216" y="267"/>
                  <a:pt x="219" y="265"/>
                </a:cubicBezTo>
                <a:cubicBezTo>
                  <a:pt x="223" y="263"/>
                  <a:pt x="229" y="265"/>
                  <a:pt x="233" y="271"/>
                </a:cubicBezTo>
                <a:cubicBezTo>
                  <a:pt x="235" y="270"/>
                  <a:pt x="237" y="268"/>
                  <a:pt x="239" y="267"/>
                </a:cubicBezTo>
                <a:cubicBezTo>
                  <a:pt x="234" y="261"/>
                  <a:pt x="233" y="255"/>
                  <a:pt x="236" y="252"/>
                </a:cubicBezTo>
                <a:cubicBezTo>
                  <a:pt x="240" y="249"/>
                  <a:pt x="246" y="251"/>
                  <a:pt x="251" y="256"/>
                </a:cubicBezTo>
                <a:cubicBezTo>
                  <a:pt x="253" y="255"/>
                  <a:pt x="254" y="253"/>
                  <a:pt x="256" y="251"/>
                </a:cubicBezTo>
                <a:cubicBezTo>
                  <a:pt x="251" y="247"/>
                  <a:pt x="248" y="240"/>
                  <a:pt x="251" y="237"/>
                </a:cubicBezTo>
                <a:cubicBezTo>
                  <a:pt x="254" y="234"/>
                  <a:pt x="261" y="234"/>
                  <a:pt x="266" y="239"/>
                </a:cubicBezTo>
                <a:cubicBezTo>
                  <a:pt x="266" y="239"/>
                  <a:pt x="266" y="239"/>
                  <a:pt x="266" y="239"/>
                </a:cubicBezTo>
                <a:cubicBezTo>
                  <a:pt x="268" y="237"/>
                  <a:pt x="269" y="235"/>
                  <a:pt x="271" y="233"/>
                </a:cubicBezTo>
                <a:cubicBezTo>
                  <a:pt x="271" y="233"/>
                  <a:pt x="271" y="233"/>
                  <a:pt x="271" y="233"/>
                </a:cubicBezTo>
                <a:cubicBezTo>
                  <a:pt x="264" y="229"/>
                  <a:pt x="261" y="223"/>
                  <a:pt x="263" y="220"/>
                </a:cubicBezTo>
                <a:cubicBezTo>
                  <a:pt x="266" y="216"/>
                  <a:pt x="272" y="215"/>
                  <a:pt x="278" y="219"/>
                </a:cubicBezTo>
                <a:cubicBezTo>
                  <a:pt x="279" y="219"/>
                  <a:pt x="279" y="219"/>
                  <a:pt x="279" y="219"/>
                </a:cubicBezTo>
                <a:cubicBezTo>
                  <a:pt x="280" y="217"/>
                  <a:pt x="281" y="215"/>
                  <a:pt x="282" y="213"/>
                </a:cubicBezTo>
                <a:cubicBezTo>
                  <a:pt x="282" y="212"/>
                  <a:pt x="282" y="212"/>
                  <a:pt x="282" y="212"/>
                </a:cubicBezTo>
                <a:cubicBezTo>
                  <a:pt x="275" y="210"/>
                  <a:pt x="271" y="205"/>
                  <a:pt x="273" y="200"/>
                </a:cubicBezTo>
                <a:cubicBezTo>
                  <a:pt x="274" y="196"/>
                  <a:pt x="281" y="195"/>
                  <a:pt x="287" y="197"/>
                </a:cubicBezTo>
                <a:cubicBezTo>
                  <a:pt x="288" y="198"/>
                  <a:pt x="288" y="198"/>
                  <a:pt x="288" y="198"/>
                </a:cubicBezTo>
                <a:cubicBezTo>
                  <a:pt x="289" y="195"/>
                  <a:pt x="290" y="193"/>
                  <a:pt x="291" y="191"/>
                </a:cubicBezTo>
                <a:cubicBezTo>
                  <a:pt x="291" y="191"/>
                  <a:pt x="290" y="190"/>
                  <a:pt x="290" y="190"/>
                </a:cubicBezTo>
                <a:cubicBezTo>
                  <a:pt x="283" y="189"/>
                  <a:pt x="278" y="184"/>
                  <a:pt x="279" y="180"/>
                </a:cubicBezTo>
                <a:cubicBezTo>
                  <a:pt x="280" y="176"/>
                  <a:pt x="286" y="173"/>
                  <a:pt x="293" y="175"/>
                </a:cubicBezTo>
                <a:cubicBezTo>
                  <a:pt x="294" y="175"/>
                  <a:pt x="294" y="175"/>
                  <a:pt x="294" y="175"/>
                </a:cubicBezTo>
                <a:cubicBezTo>
                  <a:pt x="295" y="173"/>
                  <a:pt x="295" y="170"/>
                  <a:pt x="296" y="168"/>
                </a:cubicBezTo>
                <a:cubicBezTo>
                  <a:pt x="295" y="168"/>
                  <a:pt x="295" y="168"/>
                  <a:pt x="294" y="167"/>
                </a:cubicBezTo>
                <a:cubicBezTo>
                  <a:pt x="287" y="167"/>
                  <a:pt x="282" y="163"/>
                  <a:pt x="282" y="159"/>
                </a:cubicBezTo>
                <a:cubicBezTo>
                  <a:pt x="282" y="155"/>
                  <a:pt x="288" y="151"/>
                  <a:pt x="295" y="152"/>
                </a:cubicBezTo>
                <a:cubicBezTo>
                  <a:pt x="296" y="152"/>
                  <a:pt x="296" y="152"/>
                  <a:pt x="297" y="152"/>
                </a:cubicBezTo>
                <a:cubicBezTo>
                  <a:pt x="297" y="149"/>
                  <a:pt x="297" y="147"/>
                  <a:pt x="297" y="144"/>
                </a:cubicBezTo>
                <a:cubicBezTo>
                  <a:pt x="296" y="144"/>
                  <a:pt x="296" y="144"/>
                  <a:pt x="295" y="144"/>
                </a:cubicBezTo>
                <a:cubicBezTo>
                  <a:pt x="288" y="145"/>
                  <a:pt x="282" y="142"/>
                  <a:pt x="282" y="138"/>
                </a:cubicBezTo>
                <a:cubicBezTo>
                  <a:pt x="281" y="133"/>
                  <a:pt x="286" y="129"/>
                  <a:pt x="293" y="128"/>
                </a:cubicBezTo>
                <a:cubicBezTo>
                  <a:pt x="294" y="128"/>
                  <a:pt x="295" y="128"/>
                  <a:pt x="295" y="128"/>
                </a:cubicBezTo>
                <a:cubicBezTo>
                  <a:pt x="295" y="126"/>
                  <a:pt x="295" y="123"/>
                  <a:pt x="294" y="120"/>
                </a:cubicBezTo>
                <a:cubicBezTo>
                  <a:pt x="294" y="121"/>
                  <a:pt x="293" y="121"/>
                  <a:pt x="292" y="121"/>
                </a:cubicBezTo>
                <a:cubicBezTo>
                  <a:pt x="286" y="123"/>
                  <a:pt x="279" y="121"/>
                  <a:pt x="278" y="117"/>
                </a:cubicBezTo>
                <a:cubicBezTo>
                  <a:pt x="277" y="113"/>
                  <a:pt x="281" y="108"/>
                  <a:pt x="288" y="106"/>
                </a:cubicBezTo>
                <a:cubicBezTo>
                  <a:pt x="289" y="106"/>
                  <a:pt x="290" y="105"/>
                  <a:pt x="290" y="105"/>
                </a:cubicBezTo>
                <a:cubicBezTo>
                  <a:pt x="289" y="103"/>
                  <a:pt x="289" y="100"/>
                  <a:pt x="288" y="98"/>
                </a:cubicBezTo>
                <a:cubicBezTo>
                  <a:pt x="287" y="98"/>
                  <a:pt x="287" y="98"/>
                  <a:pt x="286" y="99"/>
                </a:cubicBezTo>
                <a:cubicBezTo>
                  <a:pt x="280" y="101"/>
                  <a:pt x="273" y="101"/>
                  <a:pt x="271" y="97"/>
                </a:cubicBezTo>
                <a:cubicBezTo>
                  <a:pt x="269" y="93"/>
                  <a:pt x="273" y="87"/>
                  <a:pt x="279" y="84"/>
                </a:cubicBezTo>
                <a:cubicBezTo>
                  <a:pt x="280" y="84"/>
                  <a:pt x="281" y="84"/>
                  <a:pt x="282" y="83"/>
                </a:cubicBezTo>
                <a:cubicBezTo>
                  <a:pt x="280" y="81"/>
                  <a:pt x="279" y="79"/>
                  <a:pt x="278" y="76"/>
                </a:cubicBezTo>
                <a:cubicBezTo>
                  <a:pt x="277" y="77"/>
                  <a:pt x="277" y="77"/>
                  <a:pt x="276" y="77"/>
                </a:cubicBezTo>
                <a:cubicBezTo>
                  <a:pt x="270" y="81"/>
                  <a:pt x="264" y="81"/>
                  <a:pt x="261" y="78"/>
                </a:cubicBezTo>
                <a:cubicBezTo>
                  <a:pt x="259" y="74"/>
                  <a:pt x="262" y="68"/>
                  <a:pt x="267" y="64"/>
                </a:cubicBezTo>
                <a:cubicBezTo>
                  <a:pt x="268" y="64"/>
                  <a:pt x="269" y="63"/>
                  <a:pt x="269" y="63"/>
                </a:cubicBezTo>
                <a:cubicBezTo>
                  <a:pt x="268" y="61"/>
                  <a:pt x="266" y="59"/>
                  <a:pt x="265" y="57"/>
                </a:cubicBezTo>
                <a:cubicBezTo>
                  <a:pt x="264" y="57"/>
                  <a:pt x="264" y="58"/>
                  <a:pt x="263" y="58"/>
                </a:cubicBezTo>
                <a:cubicBezTo>
                  <a:pt x="258" y="63"/>
                  <a:pt x="251" y="64"/>
                  <a:pt x="248" y="61"/>
                </a:cubicBezTo>
                <a:cubicBezTo>
                  <a:pt x="245" y="58"/>
                  <a:pt x="247" y="51"/>
                  <a:pt x="252" y="46"/>
                </a:cubicBezTo>
                <a:cubicBezTo>
                  <a:pt x="253" y="46"/>
                  <a:pt x="254" y="45"/>
                  <a:pt x="254" y="45"/>
                </a:cubicBezTo>
                <a:cubicBezTo>
                  <a:pt x="252" y="43"/>
                  <a:pt x="250" y="41"/>
                  <a:pt x="248" y="39"/>
                </a:cubicBezTo>
                <a:cubicBezTo>
                  <a:pt x="248" y="40"/>
                  <a:pt x="248" y="40"/>
                  <a:pt x="247" y="41"/>
                </a:cubicBezTo>
                <a:cubicBezTo>
                  <a:pt x="243" y="46"/>
                  <a:pt x="237" y="49"/>
                  <a:pt x="233" y="46"/>
                </a:cubicBezTo>
                <a:cubicBezTo>
                  <a:pt x="230" y="43"/>
                  <a:pt x="230" y="37"/>
                  <a:pt x="235" y="31"/>
                </a:cubicBezTo>
                <a:cubicBezTo>
                  <a:pt x="235" y="30"/>
                  <a:pt x="236" y="30"/>
                  <a:pt x="236" y="29"/>
                </a:cubicBezTo>
                <a:cubicBezTo>
                  <a:pt x="234" y="28"/>
                  <a:pt x="232" y="26"/>
                  <a:pt x="230" y="25"/>
                </a:cubicBezTo>
                <a:cubicBezTo>
                  <a:pt x="230" y="25"/>
                  <a:pt x="229" y="26"/>
                  <a:pt x="229" y="27"/>
                </a:cubicBezTo>
                <a:cubicBezTo>
                  <a:pt x="225" y="33"/>
                  <a:pt x="220" y="36"/>
                  <a:pt x="216" y="34"/>
                </a:cubicBezTo>
                <a:cubicBezTo>
                  <a:pt x="212" y="32"/>
                  <a:pt x="212" y="25"/>
                  <a:pt x="215" y="19"/>
                </a:cubicBezTo>
                <a:cubicBezTo>
                  <a:pt x="215" y="18"/>
                  <a:pt x="216" y="17"/>
                  <a:pt x="216" y="17"/>
                </a:cubicBezTo>
                <a:cubicBezTo>
                  <a:pt x="214" y="16"/>
                  <a:pt x="211" y="14"/>
                  <a:pt x="209" y="13"/>
                </a:cubicBezTo>
                <a:cubicBezTo>
                  <a:pt x="209" y="14"/>
                  <a:pt x="209" y="15"/>
                  <a:pt x="208" y="15"/>
                </a:cubicBezTo>
                <a:cubicBezTo>
                  <a:pt x="206" y="22"/>
                  <a:pt x="201" y="26"/>
                  <a:pt x="197" y="24"/>
                </a:cubicBezTo>
                <a:cubicBezTo>
                  <a:pt x="192" y="23"/>
                  <a:pt x="191" y="16"/>
                  <a:pt x="194" y="10"/>
                </a:cubicBezTo>
                <a:cubicBezTo>
                  <a:pt x="194" y="9"/>
                  <a:pt x="194" y="8"/>
                  <a:pt x="194" y="8"/>
                </a:cubicBezTo>
                <a:cubicBezTo>
                  <a:pt x="192" y="7"/>
                  <a:pt x="189" y="6"/>
                  <a:pt x="187" y="5"/>
                </a:cubicBezTo>
                <a:cubicBezTo>
                  <a:pt x="187" y="6"/>
                  <a:pt x="187" y="7"/>
                  <a:pt x="187" y="7"/>
                </a:cubicBezTo>
                <a:cubicBezTo>
                  <a:pt x="185" y="14"/>
                  <a:pt x="181" y="19"/>
                  <a:pt x="176" y="18"/>
                </a:cubicBezTo>
                <a:cubicBezTo>
                  <a:pt x="172" y="17"/>
                  <a:pt x="170" y="11"/>
                  <a:pt x="171" y="4"/>
                </a:cubicBezTo>
                <a:cubicBezTo>
                  <a:pt x="171" y="3"/>
                  <a:pt x="171" y="3"/>
                  <a:pt x="171" y="2"/>
                </a:cubicBezTo>
                <a:cubicBezTo>
                  <a:pt x="169" y="2"/>
                  <a:pt x="166" y="2"/>
                  <a:pt x="164" y="1"/>
                </a:cubicBezTo>
                <a:cubicBezTo>
                  <a:pt x="164" y="2"/>
                  <a:pt x="164" y="2"/>
                  <a:pt x="164" y="3"/>
                </a:cubicBezTo>
                <a:cubicBezTo>
                  <a:pt x="163" y="10"/>
                  <a:pt x="160" y="15"/>
                  <a:pt x="155" y="15"/>
                </a:cubicBezTo>
                <a:cubicBezTo>
                  <a:pt x="151" y="15"/>
                  <a:pt x="148" y="9"/>
                  <a:pt x="148" y="2"/>
                </a:cubicBezTo>
                <a:cubicBezTo>
                  <a:pt x="148" y="1"/>
                  <a:pt x="148" y="1"/>
                  <a:pt x="148" y="0"/>
                </a:cubicBezTo>
                <a:cubicBezTo>
                  <a:pt x="145" y="0"/>
                  <a:pt x="143" y="1"/>
                  <a:pt x="140" y="1"/>
                </a:cubicBezTo>
                <a:cubicBezTo>
                  <a:pt x="140" y="1"/>
                  <a:pt x="140" y="1"/>
                  <a:pt x="140" y="2"/>
                </a:cubicBezTo>
                <a:cubicBezTo>
                  <a:pt x="141" y="9"/>
                  <a:pt x="138" y="15"/>
                  <a:pt x="134" y="15"/>
                </a:cubicBezTo>
                <a:cubicBezTo>
                  <a:pt x="130" y="16"/>
                  <a:pt x="125" y="11"/>
                  <a:pt x="125" y="4"/>
                </a:cubicBezTo>
                <a:cubicBezTo>
                  <a:pt x="125" y="3"/>
                  <a:pt x="125" y="3"/>
                  <a:pt x="124" y="2"/>
                </a:cubicBezTo>
                <a:cubicBezTo>
                  <a:pt x="122" y="3"/>
                  <a:pt x="119" y="3"/>
                  <a:pt x="117" y="4"/>
                </a:cubicBezTo>
                <a:cubicBezTo>
                  <a:pt x="117" y="4"/>
                  <a:pt x="117" y="4"/>
                  <a:pt x="117" y="5"/>
                </a:cubicBezTo>
                <a:cubicBezTo>
                  <a:pt x="119" y="11"/>
                  <a:pt x="117" y="18"/>
                  <a:pt x="113" y="19"/>
                </a:cubicBezTo>
                <a:cubicBezTo>
                  <a:pt x="109" y="20"/>
                  <a:pt x="104" y="16"/>
                  <a:pt x="102" y="9"/>
                </a:cubicBezTo>
                <a:cubicBezTo>
                  <a:pt x="102" y="9"/>
                  <a:pt x="102" y="8"/>
                  <a:pt x="102" y="8"/>
                </a:cubicBezTo>
                <a:cubicBezTo>
                  <a:pt x="99" y="9"/>
                  <a:pt x="97" y="10"/>
                  <a:pt x="94" y="11"/>
                </a:cubicBezTo>
                <a:cubicBezTo>
                  <a:pt x="95" y="11"/>
                  <a:pt x="95" y="11"/>
                  <a:pt x="95" y="11"/>
                </a:cubicBezTo>
                <a:cubicBezTo>
                  <a:pt x="98" y="17"/>
                  <a:pt x="97" y="24"/>
                  <a:pt x="93" y="26"/>
                </a:cubicBezTo>
                <a:cubicBezTo>
                  <a:pt x="89" y="28"/>
                  <a:pt x="83" y="24"/>
                  <a:pt x="80" y="18"/>
                </a:cubicBezTo>
                <a:cubicBezTo>
                  <a:pt x="80" y="17"/>
                  <a:pt x="80" y="17"/>
                  <a:pt x="80" y="17"/>
                </a:cubicBezTo>
                <a:cubicBezTo>
                  <a:pt x="78" y="18"/>
                  <a:pt x="76" y="19"/>
                  <a:pt x="73" y="21"/>
                </a:cubicBezTo>
                <a:cubicBezTo>
                  <a:pt x="73" y="21"/>
                  <a:pt x="74" y="21"/>
                  <a:pt x="74" y="21"/>
                </a:cubicBezTo>
                <a:cubicBezTo>
                  <a:pt x="77" y="27"/>
                  <a:pt x="78" y="33"/>
                  <a:pt x="74" y="36"/>
                </a:cubicBezTo>
                <a:cubicBezTo>
                  <a:pt x="70" y="38"/>
                  <a:pt x="64" y="35"/>
                  <a:pt x="60" y="30"/>
                </a:cubicBezTo>
                <a:cubicBezTo>
                  <a:pt x="60" y="30"/>
                  <a:pt x="60" y="30"/>
                  <a:pt x="60" y="29"/>
                </a:cubicBezTo>
                <a:cubicBezTo>
                  <a:pt x="58" y="31"/>
                  <a:pt x="56" y="32"/>
                  <a:pt x="54" y="34"/>
                </a:cubicBezTo>
                <a:cubicBezTo>
                  <a:pt x="59" y="39"/>
                  <a:pt x="60" y="46"/>
                  <a:pt x="57" y="49"/>
                </a:cubicBezTo>
                <a:close/>
                <a:moveTo>
                  <a:pt x="52" y="228"/>
                </a:moveTo>
                <a:cubicBezTo>
                  <a:pt x="26" y="196"/>
                  <a:pt x="18" y="156"/>
                  <a:pt x="28" y="118"/>
                </a:cubicBezTo>
                <a:cubicBezTo>
                  <a:pt x="61" y="137"/>
                  <a:pt x="61" y="137"/>
                  <a:pt x="61" y="137"/>
                </a:cubicBezTo>
                <a:cubicBezTo>
                  <a:pt x="58" y="160"/>
                  <a:pt x="64" y="184"/>
                  <a:pt x="79" y="203"/>
                </a:cubicBezTo>
                <a:lnTo>
                  <a:pt x="52" y="228"/>
                </a:lnTo>
                <a:close/>
                <a:moveTo>
                  <a:pt x="102" y="98"/>
                </a:moveTo>
                <a:cubicBezTo>
                  <a:pt x="127" y="75"/>
                  <a:pt x="165" y="74"/>
                  <a:pt x="191" y="94"/>
                </a:cubicBezTo>
                <a:cubicBezTo>
                  <a:pt x="139" y="126"/>
                  <a:pt x="139" y="126"/>
                  <a:pt x="139" y="126"/>
                </a:cubicBezTo>
                <a:cubicBezTo>
                  <a:pt x="86" y="120"/>
                  <a:pt x="86" y="120"/>
                  <a:pt x="86" y="120"/>
                </a:cubicBezTo>
                <a:cubicBezTo>
                  <a:pt x="89" y="112"/>
                  <a:pt x="95" y="104"/>
                  <a:pt x="102" y="98"/>
                </a:cubicBezTo>
                <a:close/>
                <a:moveTo>
                  <a:pt x="97" y="196"/>
                </a:moveTo>
                <a:cubicBezTo>
                  <a:pt x="84" y="182"/>
                  <a:pt x="79" y="164"/>
                  <a:pt x="79" y="146"/>
                </a:cubicBezTo>
                <a:cubicBezTo>
                  <a:pt x="124" y="171"/>
                  <a:pt x="124" y="171"/>
                  <a:pt x="124" y="171"/>
                </a:cubicBezTo>
                <a:cubicBezTo>
                  <a:pt x="145" y="218"/>
                  <a:pt x="145" y="218"/>
                  <a:pt x="145" y="218"/>
                </a:cubicBezTo>
                <a:cubicBezTo>
                  <a:pt x="127" y="217"/>
                  <a:pt x="110" y="210"/>
                  <a:pt x="97" y="196"/>
                </a:cubicBezTo>
                <a:close/>
                <a:moveTo>
                  <a:pt x="170" y="161"/>
                </a:moveTo>
                <a:cubicBezTo>
                  <a:pt x="207" y="112"/>
                  <a:pt x="207" y="112"/>
                  <a:pt x="207" y="112"/>
                </a:cubicBezTo>
                <a:cubicBezTo>
                  <a:pt x="225" y="140"/>
                  <a:pt x="220" y="177"/>
                  <a:pt x="195" y="200"/>
                </a:cubicBezTo>
                <a:cubicBezTo>
                  <a:pt x="188" y="207"/>
                  <a:pt x="180" y="211"/>
                  <a:pt x="172" y="214"/>
                </a:cubicBezTo>
                <a:lnTo>
                  <a:pt x="170" y="161"/>
                </a:lnTo>
                <a:close/>
                <a:moveTo>
                  <a:pt x="61" y="238"/>
                </a:moveTo>
                <a:cubicBezTo>
                  <a:pt x="88" y="213"/>
                  <a:pt x="88" y="213"/>
                  <a:pt x="88" y="213"/>
                </a:cubicBezTo>
                <a:cubicBezTo>
                  <a:pt x="106" y="230"/>
                  <a:pt x="130" y="238"/>
                  <a:pt x="153" y="237"/>
                </a:cubicBezTo>
                <a:cubicBezTo>
                  <a:pt x="168" y="272"/>
                  <a:pt x="168" y="272"/>
                  <a:pt x="168" y="272"/>
                </a:cubicBezTo>
                <a:cubicBezTo>
                  <a:pt x="130" y="278"/>
                  <a:pt x="90" y="266"/>
                  <a:pt x="61" y="238"/>
                </a:cubicBezTo>
                <a:close/>
                <a:moveTo>
                  <a:pt x="265" y="193"/>
                </a:moveTo>
                <a:cubicBezTo>
                  <a:pt x="258" y="211"/>
                  <a:pt x="248" y="227"/>
                  <a:pt x="233" y="241"/>
                </a:cubicBezTo>
                <a:cubicBezTo>
                  <a:pt x="215" y="257"/>
                  <a:pt x="195" y="267"/>
                  <a:pt x="173" y="271"/>
                </a:cubicBezTo>
                <a:cubicBezTo>
                  <a:pt x="172" y="234"/>
                  <a:pt x="172" y="234"/>
                  <a:pt x="172" y="234"/>
                </a:cubicBezTo>
                <a:cubicBezTo>
                  <a:pt x="185" y="230"/>
                  <a:pt x="197" y="224"/>
                  <a:pt x="208" y="214"/>
                </a:cubicBezTo>
                <a:cubicBezTo>
                  <a:pt x="218" y="205"/>
                  <a:pt x="225" y="194"/>
                  <a:pt x="230" y="182"/>
                </a:cubicBezTo>
                <a:lnTo>
                  <a:pt x="265" y="193"/>
                </a:lnTo>
                <a:close/>
                <a:moveTo>
                  <a:pt x="269" y="180"/>
                </a:moveTo>
                <a:cubicBezTo>
                  <a:pt x="234" y="169"/>
                  <a:pt x="234" y="169"/>
                  <a:pt x="234" y="169"/>
                </a:cubicBezTo>
                <a:cubicBezTo>
                  <a:pt x="240" y="144"/>
                  <a:pt x="235" y="117"/>
                  <a:pt x="219" y="96"/>
                </a:cubicBezTo>
                <a:cubicBezTo>
                  <a:pt x="241" y="66"/>
                  <a:pt x="241" y="66"/>
                  <a:pt x="241" y="66"/>
                </a:cubicBezTo>
                <a:cubicBezTo>
                  <a:pt x="270" y="98"/>
                  <a:pt x="279" y="141"/>
                  <a:pt x="269" y="180"/>
                </a:cubicBezTo>
                <a:close/>
                <a:moveTo>
                  <a:pt x="157" y="159"/>
                </a:moveTo>
                <a:cubicBezTo>
                  <a:pt x="152" y="163"/>
                  <a:pt x="144" y="163"/>
                  <a:pt x="139" y="158"/>
                </a:cubicBezTo>
                <a:cubicBezTo>
                  <a:pt x="134" y="152"/>
                  <a:pt x="134" y="144"/>
                  <a:pt x="140" y="139"/>
                </a:cubicBezTo>
                <a:cubicBezTo>
                  <a:pt x="145" y="134"/>
                  <a:pt x="153" y="135"/>
                  <a:pt x="158" y="140"/>
                </a:cubicBezTo>
                <a:cubicBezTo>
                  <a:pt x="163" y="145"/>
                  <a:pt x="163" y="154"/>
                  <a:pt x="157" y="159"/>
                </a:cubicBezTo>
                <a:close/>
                <a:moveTo>
                  <a:pt x="240" y="64"/>
                </a:moveTo>
                <a:cubicBezTo>
                  <a:pt x="208" y="84"/>
                  <a:pt x="208" y="84"/>
                  <a:pt x="208" y="84"/>
                </a:cubicBezTo>
                <a:cubicBezTo>
                  <a:pt x="188" y="66"/>
                  <a:pt x="161" y="58"/>
                  <a:pt x="136" y="62"/>
                </a:cubicBezTo>
                <a:cubicBezTo>
                  <a:pt x="128" y="26"/>
                  <a:pt x="128" y="26"/>
                  <a:pt x="128" y="26"/>
                </a:cubicBezTo>
                <a:cubicBezTo>
                  <a:pt x="168" y="19"/>
                  <a:pt x="210" y="32"/>
                  <a:pt x="240" y="64"/>
                </a:cubicBezTo>
                <a:close/>
                <a:moveTo>
                  <a:pt x="115" y="29"/>
                </a:moveTo>
                <a:cubicBezTo>
                  <a:pt x="123" y="65"/>
                  <a:pt x="123" y="65"/>
                  <a:pt x="123" y="65"/>
                </a:cubicBezTo>
                <a:cubicBezTo>
                  <a:pt x="111" y="68"/>
                  <a:pt x="99" y="75"/>
                  <a:pt x="89" y="84"/>
                </a:cubicBezTo>
                <a:cubicBezTo>
                  <a:pt x="79" y="93"/>
                  <a:pt x="71" y="105"/>
                  <a:pt x="66" y="118"/>
                </a:cubicBezTo>
                <a:cubicBezTo>
                  <a:pt x="29" y="113"/>
                  <a:pt x="29" y="113"/>
                  <a:pt x="29" y="113"/>
                </a:cubicBezTo>
                <a:cubicBezTo>
                  <a:pt x="35" y="92"/>
                  <a:pt x="47" y="73"/>
                  <a:pt x="64" y="57"/>
                </a:cubicBezTo>
                <a:cubicBezTo>
                  <a:pt x="79" y="43"/>
                  <a:pt x="97" y="34"/>
                  <a:pt x="115" y="2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Freeform 40"/>
          <p:cNvSpPr>
            <a:spLocks/>
          </p:cNvSpPr>
          <p:nvPr/>
        </p:nvSpPr>
        <p:spPr bwMode="auto">
          <a:xfrm>
            <a:off x="10413789" y="4295299"/>
            <a:ext cx="375434" cy="400186"/>
          </a:xfrm>
          <a:custGeom>
            <a:avLst/>
            <a:gdLst>
              <a:gd name="T0" fmla="*/ 73 w 76"/>
              <a:gd name="T1" fmla="*/ 1 h 81"/>
              <a:gd name="T2" fmla="*/ 64 w 76"/>
              <a:gd name="T3" fmla="*/ 7 h 81"/>
              <a:gd name="T4" fmla="*/ 54 w 76"/>
              <a:gd name="T5" fmla="*/ 17 h 81"/>
              <a:gd name="T6" fmla="*/ 48 w 76"/>
              <a:gd name="T7" fmla="*/ 23 h 81"/>
              <a:gd name="T8" fmla="*/ 45 w 76"/>
              <a:gd name="T9" fmla="*/ 26 h 81"/>
              <a:gd name="T10" fmla="*/ 42 w 76"/>
              <a:gd name="T11" fmla="*/ 29 h 81"/>
              <a:gd name="T12" fmla="*/ 31 w 76"/>
              <a:gd name="T13" fmla="*/ 42 h 81"/>
              <a:gd name="T14" fmla="*/ 23 w 76"/>
              <a:gd name="T15" fmla="*/ 55 h 81"/>
              <a:gd name="T16" fmla="*/ 21 w 76"/>
              <a:gd name="T17" fmla="*/ 58 h 81"/>
              <a:gd name="T18" fmla="*/ 19 w 76"/>
              <a:gd name="T19" fmla="*/ 54 h 81"/>
              <a:gd name="T20" fmla="*/ 0 w 76"/>
              <a:gd name="T21" fmla="*/ 27 h 81"/>
              <a:gd name="T22" fmla="*/ 13 w 76"/>
              <a:gd name="T23" fmla="*/ 50 h 81"/>
              <a:gd name="T24" fmla="*/ 18 w 76"/>
              <a:gd name="T25" fmla="*/ 61 h 81"/>
              <a:gd name="T26" fmla="*/ 14 w 76"/>
              <a:gd name="T27" fmla="*/ 71 h 81"/>
              <a:gd name="T28" fmla="*/ 12 w 76"/>
              <a:gd name="T29" fmla="*/ 80 h 81"/>
              <a:gd name="T30" fmla="*/ 18 w 76"/>
              <a:gd name="T31" fmla="*/ 80 h 81"/>
              <a:gd name="T32" fmla="*/ 24 w 76"/>
              <a:gd name="T33" fmla="*/ 72 h 81"/>
              <a:gd name="T34" fmla="*/ 30 w 76"/>
              <a:gd name="T35" fmla="*/ 59 h 81"/>
              <a:gd name="T36" fmla="*/ 37 w 76"/>
              <a:gd name="T37" fmla="*/ 46 h 81"/>
              <a:gd name="T38" fmla="*/ 46 w 76"/>
              <a:gd name="T39" fmla="*/ 32 h 81"/>
              <a:gd name="T40" fmla="*/ 49 w 76"/>
              <a:gd name="T41" fmla="*/ 29 h 81"/>
              <a:gd name="T42" fmla="*/ 51 w 76"/>
              <a:gd name="T43" fmla="*/ 25 h 81"/>
              <a:gd name="T44" fmla="*/ 56 w 76"/>
              <a:gd name="T45" fmla="*/ 19 h 81"/>
              <a:gd name="T46" fmla="*/ 65 w 76"/>
              <a:gd name="T47" fmla="*/ 8 h 81"/>
              <a:gd name="T48" fmla="*/ 73 w 76"/>
              <a:gd name="T49" fmla="*/ 2 h 81"/>
              <a:gd name="T50" fmla="*/ 76 w 76"/>
              <a:gd name="T51" fmla="*/ 0 h 81"/>
              <a:gd name="T52" fmla="*/ 73 w 76"/>
              <a:gd name="T53" fmla="*/ 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6" h="81">
                <a:moveTo>
                  <a:pt x="73" y="1"/>
                </a:moveTo>
                <a:cubicBezTo>
                  <a:pt x="70" y="2"/>
                  <a:pt x="67" y="4"/>
                  <a:pt x="64" y="7"/>
                </a:cubicBezTo>
                <a:cubicBezTo>
                  <a:pt x="61" y="10"/>
                  <a:pt x="57" y="13"/>
                  <a:pt x="54" y="17"/>
                </a:cubicBezTo>
                <a:cubicBezTo>
                  <a:pt x="48" y="23"/>
                  <a:pt x="48" y="23"/>
                  <a:pt x="48" y="23"/>
                </a:cubicBezTo>
                <a:cubicBezTo>
                  <a:pt x="45" y="26"/>
                  <a:pt x="45" y="26"/>
                  <a:pt x="45" y="26"/>
                </a:cubicBezTo>
                <a:cubicBezTo>
                  <a:pt x="44" y="27"/>
                  <a:pt x="43" y="28"/>
                  <a:pt x="42" y="29"/>
                </a:cubicBezTo>
                <a:cubicBezTo>
                  <a:pt x="38" y="33"/>
                  <a:pt x="35" y="38"/>
                  <a:pt x="31" y="42"/>
                </a:cubicBezTo>
                <a:cubicBezTo>
                  <a:pt x="28" y="46"/>
                  <a:pt x="25" y="51"/>
                  <a:pt x="23" y="55"/>
                </a:cubicBezTo>
                <a:cubicBezTo>
                  <a:pt x="22" y="56"/>
                  <a:pt x="22" y="57"/>
                  <a:pt x="21" y="58"/>
                </a:cubicBezTo>
                <a:cubicBezTo>
                  <a:pt x="20" y="57"/>
                  <a:pt x="20" y="55"/>
                  <a:pt x="19" y="54"/>
                </a:cubicBezTo>
                <a:cubicBezTo>
                  <a:pt x="14" y="44"/>
                  <a:pt x="6" y="36"/>
                  <a:pt x="0" y="27"/>
                </a:cubicBezTo>
                <a:cubicBezTo>
                  <a:pt x="4" y="34"/>
                  <a:pt x="9" y="42"/>
                  <a:pt x="13" y="50"/>
                </a:cubicBezTo>
                <a:cubicBezTo>
                  <a:pt x="15" y="53"/>
                  <a:pt x="17" y="57"/>
                  <a:pt x="18" y="61"/>
                </a:cubicBezTo>
                <a:cubicBezTo>
                  <a:pt x="19" y="64"/>
                  <a:pt x="15" y="68"/>
                  <a:pt x="14" y="71"/>
                </a:cubicBezTo>
                <a:cubicBezTo>
                  <a:pt x="13" y="73"/>
                  <a:pt x="11" y="78"/>
                  <a:pt x="12" y="80"/>
                </a:cubicBezTo>
                <a:cubicBezTo>
                  <a:pt x="13" y="81"/>
                  <a:pt x="16" y="80"/>
                  <a:pt x="18" y="80"/>
                </a:cubicBezTo>
                <a:cubicBezTo>
                  <a:pt x="21" y="79"/>
                  <a:pt x="23" y="75"/>
                  <a:pt x="24" y="72"/>
                </a:cubicBezTo>
                <a:cubicBezTo>
                  <a:pt x="25" y="67"/>
                  <a:pt x="28" y="63"/>
                  <a:pt x="30" y="59"/>
                </a:cubicBezTo>
                <a:cubicBezTo>
                  <a:pt x="32" y="55"/>
                  <a:pt x="34" y="50"/>
                  <a:pt x="37" y="46"/>
                </a:cubicBezTo>
                <a:cubicBezTo>
                  <a:pt x="39" y="41"/>
                  <a:pt x="43" y="36"/>
                  <a:pt x="46" y="32"/>
                </a:cubicBezTo>
                <a:cubicBezTo>
                  <a:pt x="47" y="31"/>
                  <a:pt x="48" y="30"/>
                  <a:pt x="49" y="29"/>
                </a:cubicBezTo>
                <a:cubicBezTo>
                  <a:pt x="51" y="25"/>
                  <a:pt x="51" y="25"/>
                  <a:pt x="51" y="25"/>
                </a:cubicBezTo>
                <a:cubicBezTo>
                  <a:pt x="56" y="19"/>
                  <a:pt x="56" y="19"/>
                  <a:pt x="56" y="19"/>
                </a:cubicBezTo>
                <a:cubicBezTo>
                  <a:pt x="59" y="15"/>
                  <a:pt x="62" y="11"/>
                  <a:pt x="65" y="8"/>
                </a:cubicBezTo>
                <a:cubicBezTo>
                  <a:pt x="68" y="5"/>
                  <a:pt x="71" y="3"/>
                  <a:pt x="73" y="2"/>
                </a:cubicBezTo>
                <a:cubicBezTo>
                  <a:pt x="75" y="0"/>
                  <a:pt x="76" y="0"/>
                  <a:pt x="76" y="0"/>
                </a:cubicBezTo>
                <a:cubicBezTo>
                  <a:pt x="76" y="0"/>
                  <a:pt x="75" y="0"/>
                  <a:pt x="7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6" name="Freeform 41"/>
          <p:cNvSpPr>
            <a:spLocks/>
          </p:cNvSpPr>
          <p:nvPr/>
        </p:nvSpPr>
        <p:spPr bwMode="auto">
          <a:xfrm>
            <a:off x="10211632" y="4150900"/>
            <a:ext cx="301172" cy="391936"/>
          </a:xfrm>
          <a:custGeom>
            <a:avLst/>
            <a:gdLst>
              <a:gd name="T0" fmla="*/ 1 w 61"/>
              <a:gd name="T1" fmla="*/ 0 h 79"/>
              <a:gd name="T2" fmla="*/ 3 w 61"/>
              <a:gd name="T3" fmla="*/ 29 h 79"/>
              <a:gd name="T4" fmla="*/ 24 w 61"/>
              <a:gd name="T5" fmla="*/ 66 h 79"/>
              <a:gd name="T6" fmla="*/ 55 w 61"/>
              <a:gd name="T7" fmla="*/ 72 h 79"/>
              <a:gd name="T8" fmla="*/ 61 w 61"/>
              <a:gd name="T9" fmla="*/ 51 h 79"/>
              <a:gd name="T10" fmla="*/ 41 w 61"/>
              <a:gd name="T11" fmla="*/ 17 h 79"/>
              <a:gd name="T12" fmla="*/ 1 w 61"/>
              <a:gd name="T13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" h="79">
                <a:moveTo>
                  <a:pt x="1" y="0"/>
                </a:moveTo>
                <a:cubicBezTo>
                  <a:pt x="0" y="8"/>
                  <a:pt x="1" y="22"/>
                  <a:pt x="3" y="29"/>
                </a:cubicBezTo>
                <a:cubicBezTo>
                  <a:pt x="8" y="45"/>
                  <a:pt x="13" y="54"/>
                  <a:pt x="24" y="66"/>
                </a:cubicBezTo>
                <a:cubicBezTo>
                  <a:pt x="32" y="74"/>
                  <a:pt x="49" y="79"/>
                  <a:pt x="55" y="72"/>
                </a:cubicBezTo>
                <a:cubicBezTo>
                  <a:pt x="61" y="66"/>
                  <a:pt x="61" y="57"/>
                  <a:pt x="61" y="51"/>
                </a:cubicBezTo>
                <a:cubicBezTo>
                  <a:pt x="60" y="39"/>
                  <a:pt x="50" y="25"/>
                  <a:pt x="41" y="17"/>
                </a:cubicBezTo>
                <a:cubicBezTo>
                  <a:pt x="24" y="3"/>
                  <a:pt x="9" y="5"/>
                  <a:pt x="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7" name="Freeform 42"/>
          <p:cNvSpPr>
            <a:spLocks/>
          </p:cNvSpPr>
          <p:nvPr/>
        </p:nvSpPr>
        <p:spPr bwMode="auto">
          <a:xfrm>
            <a:off x="10562313" y="3926055"/>
            <a:ext cx="876698" cy="651850"/>
          </a:xfrm>
          <a:custGeom>
            <a:avLst/>
            <a:gdLst>
              <a:gd name="T0" fmla="*/ 178 w 178"/>
              <a:gd name="T1" fmla="*/ 51 h 131"/>
              <a:gd name="T2" fmla="*/ 117 w 178"/>
              <a:gd name="T3" fmla="*/ 7 h 131"/>
              <a:gd name="T4" fmla="*/ 20 w 178"/>
              <a:gd name="T5" fmla="*/ 33 h 131"/>
              <a:gd name="T6" fmla="*/ 24 w 178"/>
              <a:gd name="T7" fmla="*/ 104 h 131"/>
              <a:gd name="T8" fmla="*/ 128 w 178"/>
              <a:gd name="T9" fmla="*/ 72 h 131"/>
              <a:gd name="T10" fmla="*/ 178 w 178"/>
              <a:gd name="T11" fmla="*/ 5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8" h="131">
                <a:moveTo>
                  <a:pt x="178" y="51"/>
                </a:moveTo>
                <a:cubicBezTo>
                  <a:pt x="164" y="29"/>
                  <a:pt x="143" y="12"/>
                  <a:pt x="117" y="7"/>
                </a:cubicBezTo>
                <a:cubicBezTo>
                  <a:pt x="84" y="0"/>
                  <a:pt x="43" y="7"/>
                  <a:pt x="20" y="33"/>
                </a:cubicBezTo>
                <a:cubicBezTo>
                  <a:pt x="1" y="54"/>
                  <a:pt x="0" y="86"/>
                  <a:pt x="24" y="104"/>
                </a:cubicBezTo>
                <a:cubicBezTo>
                  <a:pt x="61" y="131"/>
                  <a:pt x="99" y="96"/>
                  <a:pt x="128" y="72"/>
                </a:cubicBezTo>
                <a:cubicBezTo>
                  <a:pt x="143" y="59"/>
                  <a:pt x="168" y="53"/>
                  <a:pt x="178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1" name="Freeform 46"/>
          <p:cNvSpPr>
            <a:spLocks/>
          </p:cNvSpPr>
          <p:nvPr/>
        </p:nvSpPr>
        <p:spPr bwMode="auto">
          <a:xfrm>
            <a:off x="10713771" y="8867053"/>
            <a:ext cx="505954" cy="611514"/>
          </a:xfrm>
          <a:custGeom>
            <a:avLst/>
            <a:gdLst>
              <a:gd name="T0" fmla="*/ 103 w 115"/>
              <a:gd name="T1" fmla="*/ 29 h 140"/>
              <a:gd name="T2" fmla="*/ 113 w 115"/>
              <a:gd name="T3" fmla="*/ 12 h 140"/>
              <a:gd name="T4" fmla="*/ 96 w 115"/>
              <a:gd name="T5" fmla="*/ 2 h 140"/>
              <a:gd name="T6" fmla="*/ 12 w 115"/>
              <a:gd name="T7" fmla="*/ 25 h 140"/>
              <a:gd name="T8" fmla="*/ 2 w 115"/>
              <a:gd name="T9" fmla="*/ 42 h 140"/>
              <a:gd name="T10" fmla="*/ 20 w 115"/>
              <a:gd name="T11" fmla="*/ 52 h 140"/>
              <a:gd name="T12" fmla="*/ 20 w 115"/>
              <a:gd name="T13" fmla="*/ 52 h 140"/>
              <a:gd name="T14" fmla="*/ 20 w 115"/>
              <a:gd name="T15" fmla="*/ 57 h 140"/>
              <a:gd name="T16" fmla="*/ 13 w 115"/>
              <a:gd name="T17" fmla="*/ 57 h 140"/>
              <a:gd name="T18" fmla="*/ 1 w 115"/>
              <a:gd name="T19" fmla="*/ 72 h 140"/>
              <a:gd name="T20" fmla="*/ 1 w 115"/>
              <a:gd name="T21" fmla="*/ 91 h 140"/>
              <a:gd name="T22" fmla="*/ 13 w 115"/>
              <a:gd name="T23" fmla="*/ 106 h 140"/>
              <a:gd name="T24" fmla="*/ 27 w 115"/>
              <a:gd name="T25" fmla="*/ 106 h 140"/>
              <a:gd name="T26" fmla="*/ 27 w 115"/>
              <a:gd name="T27" fmla="*/ 106 h 140"/>
              <a:gd name="T28" fmla="*/ 27 w 115"/>
              <a:gd name="T29" fmla="*/ 126 h 140"/>
              <a:gd name="T30" fmla="*/ 40 w 115"/>
              <a:gd name="T31" fmla="*/ 140 h 140"/>
              <a:gd name="T32" fmla="*/ 73 w 115"/>
              <a:gd name="T33" fmla="*/ 140 h 140"/>
              <a:gd name="T34" fmla="*/ 86 w 115"/>
              <a:gd name="T35" fmla="*/ 126 h 140"/>
              <a:gd name="T36" fmla="*/ 86 w 115"/>
              <a:gd name="T37" fmla="*/ 106 h 140"/>
              <a:gd name="T38" fmla="*/ 86 w 115"/>
              <a:gd name="T39" fmla="*/ 106 h 140"/>
              <a:gd name="T40" fmla="*/ 99 w 115"/>
              <a:gd name="T41" fmla="*/ 106 h 140"/>
              <a:gd name="T42" fmla="*/ 112 w 115"/>
              <a:gd name="T43" fmla="*/ 91 h 140"/>
              <a:gd name="T44" fmla="*/ 112 w 115"/>
              <a:gd name="T45" fmla="*/ 72 h 140"/>
              <a:gd name="T46" fmla="*/ 99 w 115"/>
              <a:gd name="T47" fmla="*/ 57 h 140"/>
              <a:gd name="T48" fmla="*/ 94 w 115"/>
              <a:gd name="T49" fmla="*/ 57 h 140"/>
              <a:gd name="T50" fmla="*/ 94 w 115"/>
              <a:gd name="T51" fmla="*/ 56 h 140"/>
              <a:gd name="T52" fmla="*/ 94 w 115"/>
              <a:gd name="T53" fmla="*/ 39 h 140"/>
              <a:gd name="T54" fmla="*/ 94 w 115"/>
              <a:gd name="T55" fmla="*/ 39 h 140"/>
              <a:gd name="T56" fmla="*/ 73 w 115"/>
              <a:gd name="T57" fmla="*/ 44 h 140"/>
              <a:gd name="T58" fmla="*/ 73 w 115"/>
              <a:gd name="T59" fmla="*/ 56 h 140"/>
              <a:gd name="T60" fmla="*/ 73 w 115"/>
              <a:gd name="T61" fmla="*/ 57 h 140"/>
              <a:gd name="T62" fmla="*/ 41 w 115"/>
              <a:gd name="T63" fmla="*/ 57 h 140"/>
              <a:gd name="T64" fmla="*/ 41 w 115"/>
              <a:gd name="T65" fmla="*/ 46 h 140"/>
              <a:gd name="T66" fmla="*/ 103 w 115"/>
              <a:gd name="T67" fmla="*/ 29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5" h="140">
                <a:moveTo>
                  <a:pt x="103" y="29"/>
                </a:move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20" y="52"/>
                  <a:pt x="20" y="52"/>
                  <a:pt x="20" y="52"/>
                </a:cubicBezTo>
                <a:cubicBezTo>
                  <a:pt x="20" y="57"/>
                  <a:pt x="20" y="57"/>
                  <a:pt x="20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7" y="57"/>
                  <a:pt x="1" y="64"/>
                  <a:pt x="1" y="72"/>
                </a:cubicBezTo>
                <a:cubicBezTo>
                  <a:pt x="1" y="91"/>
                  <a:pt x="1" y="91"/>
                  <a:pt x="1" y="91"/>
                </a:cubicBezTo>
                <a:cubicBezTo>
                  <a:pt x="1" y="99"/>
                  <a:pt x="7" y="106"/>
                  <a:pt x="13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26"/>
                  <a:pt x="27" y="126"/>
                  <a:pt x="27" y="126"/>
                </a:cubicBezTo>
                <a:cubicBezTo>
                  <a:pt x="27" y="134"/>
                  <a:pt x="37" y="140"/>
                  <a:pt x="40" y="140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76" y="140"/>
                  <a:pt x="86" y="134"/>
                  <a:pt x="86" y="12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6" y="106"/>
                  <a:pt x="112" y="99"/>
                  <a:pt x="112" y="91"/>
                </a:cubicBezTo>
                <a:cubicBezTo>
                  <a:pt x="112" y="72"/>
                  <a:pt x="112" y="72"/>
                  <a:pt x="112" y="72"/>
                </a:cubicBezTo>
                <a:cubicBezTo>
                  <a:pt x="112" y="64"/>
                  <a:pt x="106" y="57"/>
                  <a:pt x="99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4" y="57"/>
                  <a:pt x="94" y="56"/>
                  <a:pt x="94" y="56"/>
                </a:cubicBezTo>
                <a:cubicBezTo>
                  <a:pt x="94" y="39"/>
                  <a:pt x="94" y="39"/>
                  <a:pt x="94" y="39"/>
                </a:cubicBezTo>
                <a:cubicBezTo>
                  <a:pt x="94" y="39"/>
                  <a:pt x="94" y="39"/>
                  <a:pt x="94" y="39"/>
                </a:cubicBezTo>
                <a:cubicBezTo>
                  <a:pt x="73" y="44"/>
                  <a:pt x="73" y="44"/>
                  <a:pt x="73" y="44"/>
                </a:cubicBezTo>
                <a:cubicBezTo>
                  <a:pt x="73" y="56"/>
                  <a:pt x="73" y="56"/>
                  <a:pt x="73" y="56"/>
                </a:cubicBezTo>
                <a:cubicBezTo>
                  <a:pt x="73" y="56"/>
                  <a:pt x="73" y="57"/>
                  <a:pt x="73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46"/>
                  <a:pt x="41" y="46"/>
                  <a:pt x="41" y="46"/>
                </a:cubicBezTo>
                <a:lnTo>
                  <a:pt x="103" y="2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2" name="Freeform 47"/>
          <p:cNvSpPr>
            <a:spLocks/>
          </p:cNvSpPr>
          <p:nvPr/>
        </p:nvSpPr>
        <p:spPr bwMode="auto">
          <a:xfrm>
            <a:off x="10713771" y="8714175"/>
            <a:ext cx="505954" cy="234778"/>
          </a:xfrm>
          <a:custGeom>
            <a:avLst/>
            <a:gdLst>
              <a:gd name="T0" fmla="*/ 96 w 115"/>
              <a:gd name="T1" fmla="*/ 2 h 54"/>
              <a:gd name="T2" fmla="*/ 12 w 115"/>
              <a:gd name="T3" fmla="*/ 25 h 54"/>
              <a:gd name="T4" fmla="*/ 2 w 115"/>
              <a:gd name="T5" fmla="*/ 42 h 54"/>
              <a:gd name="T6" fmla="*/ 20 w 115"/>
              <a:gd name="T7" fmla="*/ 52 h 54"/>
              <a:gd name="T8" fmla="*/ 103 w 115"/>
              <a:gd name="T9" fmla="*/ 29 h 54"/>
              <a:gd name="T10" fmla="*/ 113 w 115"/>
              <a:gd name="T11" fmla="*/ 12 h 54"/>
              <a:gd name="T12" fmla="*/ 96 w 115"/>
              <a:gd name="T13" fmla="*/ 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4">
                <a:moveTo>
                  <a:pt x="96" y="2"/>
                </a:move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103" y="29"/>
                  <a:pt x="103" y="29"/>
                  <a:pt x="103" y="29"/>
                </a:cubicBez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3" name="Freeform 48"/>
          <p:cNvSpPr>
            <a:spLocks/>
          </p:cNvSpPr>
          <p:nvPr/>
        </p:nvSpPr>
        <p:spPr bwMode="auto">
          <a:xfrm>
            <a:off x="10713771" y="8561297"/>
            <a:ext cx="505954" cy="240238"/>
          </a:xfrm>
          <a:custGeom>
            <a:avLst/>
            <a:gdLst>
              <a:gd name="T0" fmla="*/ 20 w 115"/>
              <a:gd name="T1" fmla="*/ 53 h 55"/>
              <a:gd name="T2" fmla="*/ 103 w 115"/>
              <a:gd name="T3" fmla="*/ 30 h 55"/>
              <a:gd name="T4" fmla="*/ 113 w 115"/>
              <a:gd name="T5" fmla="*/ 12 h 55"/>
              <a:gd name="T6" fmla="*/ 96 w 115"/>
              <a:gd name="T7" fmla="*/ 3 h 55"/>
              <a:gd name="T8" fmla="*/ 12 w 115"/>
              <a:gd name="T9" fmla="*/ 25 h 55"/>
              <a:gd name="T10" fmla="*/ 2 w 115"/>
              <a:gd name="T11" fmla="*/ 43 h 55"/>
              <a:gd name="T12" fmla="*/ 20 w 115"/>
              <a:gd name="T13" fmla="*/ 5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5">
                <a:moveTo>
                  <a:pt x="20" y="53"/>
                </a:moveTo>
                <a:cubicBezTo>
                  <a:pt x="103" y="30"/>
                  <a:pt x="103" y="30"/>
                  <a:pt x="103" y="30"/>
                </a:cubicBezTo>
                <a:cubicBezTo>
                  <a:pt x="111" y="28"/>
                  <a:pt x="115" y="20"/>
                  <a:pt x="113" y="12"/>
                </a:cubicBezTo>
                <a:cubicBezTo>
                  <a:pt x="111" y="5"/>
                  <a:pt x="104" y="0"/>
                  <a:pt x="96" y="3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8"/>
                  <a:pt x="0" y="35"/>
                  <a:pt x="2" y="43"/>
                </a:cubicBezTo>
                <a:cubicBezTo>
                  <a:pt x="4" y="51"/>
                  <a:pt x="12" y="55"/>
                  <a:pt x="20" y="5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4" name="Freeform 49"/>
          <p:cNvSpPr>
            <a:spLocks/>
          </p:cNvSpPr>
          <p:nvPr/>
        </p:nvSpPr>
        <p:spPr bwMode="auto">
          <a:xfrm>
            <a:off x="10813871" y="8568576"/>
            <a:ext cx="256618" cy="70980"/>
          </a:xfrm>
          <a:custGeom>
            <a:avLst/>
            <a:gdLst>
              <a:gd name="T0" fmla="*/ 58 w 58"/>
              <a:gd name="T1" fmla="*/ 0 h 16"/>
              <a:gd name="T2" fmla="*/ 11 w 58"/>
              <a:gd name="T3" fmla="*/ 0 h 16"/>
              <a:gd name="T4" fmla="*/ 3 w 58"/>
              <a:gd name="T5" fmla="*/ 3 h 16"/>
              <a:gd name="T6" fmla="*/ 0 w 58"/>
              <a:gd name="T7" fmla="*/ 12 h 16"/>
              <a:gd name="T8" fmla="*/ 1 w 58"/>
              <a:gd name="T9" fmla="*/ 16 h 16"/>
              <a:gd name="T10" fmla="*/ 58 w 58"/>
              <a:gd name="T11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16">
                <a:moveTo>
                  <a:pt x="58" y="0"/>
                </a:move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5" y="1"/>
                  <a:pt x="3" y="3"/>
                </a:cubicBezTo>
                <a:cubicBezTo>
                  <a:pt x="1" y="5"/>
                  <a:pt x="0" y="8"/>
                  <a:pt x="0" y="12"/>
                </a:cubicBezTo>
                <a:cubicBezTo>
                  <a:pt x="0" y="13"/>
                  <a:pt x="0" y="14"/>
                  <a:pt x="1" y="16"/>
                </a:cubicBezTo>
                <a:lnTo>
                  <a:pt x="5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8" name="Freeform 53"/>
          <p:cNvSpPr>
            <a:spLocks noEditPoints="1"/>
          </p:cNvSpPr>
          <p:nvPr/>
        </p:nvSpPr>
        <p:spPr bwMode="auto">
          <a:xfrm>
            <a:off x="13263413" y="11142963"/>
            <a:ext cx="632902" cy="829658"/>
          </a:xfrm>
          <a:custGeom>
            <a:avLst/>
            <a:gdLst>
              <a:gd name="T0" fmla="*/ 155 w 160"/>
              <a:gd name="T1" fmla="*/ 37 h 211"/>
              <a:gd name="T2" fmla="*/ 94 w 160"/>
              <a:gd name="T3" fmla="*/ 2 h 211"/>
              <a:gd name="T4" fmla="*/ 83 w 160"/>
              <a:gd name="T5" fmla="*/ 6 h 211"/>
              <a:gd name="T6" fmla="*/ 85 w 160"/>
              <a:gd name="T7" fmla="*/ 19 h 211"/>
              <a:gd name="T8" fmla="*/ 89 w 160"/>
              <a:gd name="T9" fmla="*/ 21 h 211"/>
              <a:gd name="T10" fmla="*/ 5 w 160"/>
              <a:gd name="T11" fmla="*/ 165 h 211"/>
              <a:gd name="T12" fmla="*/ 2 w 160"/>
              <a:gd name="T13" fmla="*/ 187 h 211"/>
              <a:gd name="T14" fmla="*/ 15 w 160"/>
              <a:gd name="T15" fmla="*/ 205 h 211"/>
              <a:gd name="T16" fmla="*/ 17 w 160"/>
              <a:gd name="T17" fmla="*/ 206 h 211"/>
              <a:gd name="T18" fmla="*/ 39 w 160"/>
              <a:gd name="T19" fmla="*/ 209 h 211"/>
              <a:gd name="T20" fmla="*/ 57 w 160"/>
              <a:gd name="T21" fmla="*/ 195 h 211"/>
              <a:gd name="T22" fmla="*/ 141 w 160"/>
              <a:gd name="T23" fmla="*/ 52 h 211"/>
              <a:gd name="T24" fmla="*/ 145 w 160"/>
              <a:gd name="T25" fmla="*/ 54 h 211"/>
              <a:gd name="T26" fmla="*/ 157 w 160"/>
              <a:gd name="T27" fmla="*/ 50 h 211"/>
              <a:gd name="T28" fmla="*/ 155 w 160"/>
              <a:gd name="T29" fmla="*/ 37 h 211"/>
              <a:gd name="T30" fmla="*/ 96 w 160"/>
              <a:gd name="T31" fmla="*/ 117 h 211"/>
              <a:gd name="T32" fmla="*/ 54 w 160"/>
              <a:gd name="T33" fmla="*/ 92 h 211"/>
              <a:gd name="T34" fmla="*/ 94 w 160"/>
              <a:gd name="T35" fmla="*/ 24 h 211"/>
              <a:gd name="T36" fmla="*/ 136 w 160"/>
              <a:gd name="T37" fmla="*/ 48 h 211"/>
              <a:gd name="T38" fmla="*/ 96 w 160"/>
              <a:gd name="T39" fmla="*/ 117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60" h="211">
                <a:moveTo>
                  <a:pt x="155" y="37"/>
                </a:moveTo>
                <a:cubicBezTo>
                  <a:pt x="94" y="2"/>
                  <a:pt x="94" y="2"/>
                  <a:pt x="94" y="2"/>
                </a:cubicBezTo>
                <a:cubicBezTo>
                  <a:pt x="91" y="0"/>
                  <a:pt x="85" y="2"/>
                  <a:pt x="83" y="6"/>
                </a:cubicBezTo>
                <a:cubicBezTo>
                  <a:pt x="80" y="11"/>
                  <a:pt x="81" y="16"/>
                  <a:pt x="85" y="19"/>
                </a:cubicBezTo>
                <a:cubicBezTo>
                  <a:pt x="89" y="21"/>
                  <a:pt x="89" y="21"/>
                  <a:pt x="89" y="21"/>
                </a:cubicBezTo>
                <a:cubicBezTo>
                  <a:pt x="5" y="165"/>
                  <a:pt x="5" y="165"/>
                  <a:pt x="5" y="165"/>
                </a:cubicBezTo>
                <a:cubicBezTo>
                  <a:pt x="1" y="171"/>
                  <a:pt x="0" y="179"/>
                  <a:pt x="2" y="187"/>
                </a:cubicBezTo>
                <a:cubicBezTo>
                  <a:pt x="4" y="195"/>
                  <a:pt x="9" y="201"/>
                  <a:pt x="15" y="205"/>
                </a:cubicBezTo>
                <a:cubicBezTo>
                  <a:pt x="17" y="206"/>
                  <a:pt x="17" y="206"/>
                  <a:pt x="17" y="206"/>
                </a:cubicBezTo>
                <a:cubicBezTo>
                  <a:pt x="23" y="210"/>
                  <a:pt x="31" y="211"/>
                  <a:pt x="39" y="209"/>
                </a:cubicBezTo>
                <a:cubicBezTo>
                  <a:pt x="47" y="207"/>
                  <a:pt x="53" y="202"/>
                  <a:pt x="57" y="195"/>
                </a:cubicBezTo>
                <a:cubicBezTo>
                  <a:pt x="141" y="52"/>
                  <a:pt x="141" y="52"/>
                  <a:pt x="141" y="52"/>
                </a:cubicBezTo>
                <a:cubicBezTo>
                  <a:pt x="145" y="54"/>
                  <a:pt x="145" y="54"/>
                  <a:pt x="145" y="54"/>
                </a:cubicBezTo>
                <a:cubicBezTo>
                  <a:pt x="149" y="56"/>
                  <a:pt x="154" y="54"/>
                  <a:pt x="157" y="50"/>
                </a:cubicBezTo>
                <a:cubicBezTo>
                  <a:pt x="160" y="45"/>
                  <a:pt x="159" y="40"/>
                  <a:pt x="155" y="37"/>
                </a:cubicBezTo>
                <a:close/>
                <a:moveTo>
                  <a:pt x="96" y="117"/>
                </a:moveTo>
                <a:cubicBezTo>
                  <a:pt x="54" y="92"/>
                  <a:pt x="54" y="92"/>
                  <a:pt x="54" y="92"/>
                </a:cubicBezTo>
                <a:cubicBezTo>
                  <a:pt x="94" y="24"/>
                  <a:pt x="94" y="24"/>
                  <a:pt x="94" y="24"/>
                </a:cubicBezTo>
                <a:cubicBezTo>
                  <a:pt x="136" y="48"/>
                  <a:pt x="136" y="48"/>
                  <a:pt x="136" y="48"/>
                </a:cubicBezTo>
                <a:lnTo>
                  <a:pt x="96" y="11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1" name="Freeform 57"/>
          <p:cNvSpPr>
            <a:spLocks noEditPoints="1"/>
          </p:cNvSpPr>
          <p:nvPr/>
        </p:nvSpPr>
        <p:spPr bwMode="auto">
          <a:xfrm>
            <a:off x="13402970" y="6253570"/>
            <a:ext cx="587768" cy="789060"/>
          </a:xfrm>
          <a:custGeom>
            <a:avLst/>
            <a:gdLst>
              <a:gd name="T0" fmla="*/ 61 w 122"/>
              <a:gd name="T1" fmla="*/ 0 h 163"/>
              <a:gd name="T2" fmla="*/ 0 w 122"/>
              <a:gd name="T3" fmla="*/ 61 h 163"/>
              <a:gd name="T4" fmla="*/ 40 w 122"/>
              <a:gd name="T5" fmla="*/ 118 h 163"/>
              <a:gd name="T6" fmla="*/ 40 w 122"/>
              <a:gd name="T7" fmla="*/ 153 h 163"/>
              <a:gd name="T8" fmla="*/ 47 w 122"/>
              <a:gd name="T9" fmla="*/ 156 h 163"/>
              <a:gd name="T10" fmla="*/ 52 w 122"/>
              <a:gd name="T11" fmla="*/ 163 h 163"/>
              <a:gd name="T12" fmla="*/ 70 w 122"/>
              <a:gd name="T13" fmla="*/ 163 h 163"/>
              <a:gd name="T14" fmla="*/ 75 w 122"/>
              <a:gd name="T15" fmla="*/ 156 h 163"/>
              <a:gd name="T16" fmla="*/ 81 w 122"/>
              <a:gd name="T17" fmla="*/ 153 h 163"/>
              <a:gd name="T18" fmla="*/ 81 w 122"/>
              <a:gd name="T19" fmla="*/ 153 h 163"/>
              <a:gd name="T20" fmla="*/ 81 w 122"/>
              <a:gd name="T21" fmla="*/ 118 h 163"/>
              <a:gd name="T22" fmla="*/ 122 w 122"/>
              <a:gd name="T23" fmla="*/ 61 h 163"/>
              <a:gd name="T24" fmla="*/ 61 w 122"/>
              <a:gd name="T25" fmla="*/ 0 h 163"/>
              <a:gd name="T26" fmla="*/ 61 w 122"/>
              <a:gd name="T27" fmla="*/ 113 h 163"/>
              <a:gd name="T28" fmla="*/ 9 w 122"/>
              <a:gd name="T29" fmla="*/ 61 h 163"/>
              <a:gd name="T30" fmla="*/ 61 w 122"/>
              <a:gd name="T31" fmla="*/ 9 h 163"/>
              <a:gd name="T32" fmla="*/ 113 w 122"/>
              <a:gd name="T33" fmla="*/ 61 h 163"/>
              <a:gd name="T34" fmla="*/ 61 w 122"/>
              <a:gd name="T35" fmla="*/ 11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22" h="163">
                <a:moveTo>
                  <a:pt x="61" y="0"/>
                </a:moveTo>
                <a:cubicBezTo>
                  <a:pt x="27" y="0"/>
                  <a:pt x="0" y="27"/>
                  <a:pt x="0" y="61"/>
                </a:cubicBezTo>
                <a:cubicBezTo>
                  <a:pt x="0" y="87"/>
                  <a:pt x="17" y="110"/>
                  <a:pt x="40" y="118"/>
                </a:cubicBezTo>
                <a:cubicBezTo>
                  <a:pt x="40" y="153"/>
                  <a:pt x="40" y="153"/>
                  <a:pt x="40" y="153"/>
                </a:cubicBezTo>
                <a:cubicBezTo>
                  <a:pt x="47" y="156"/>
                  <a:pt x="47" y="156"/>
                  <a:pt x="47" y="156"/>
                </a:cubicBezTo>
                <a:cubicBezTo>
                  <a:pt x="52" y="163"/>
                  <a:pt x="52" y="163"/>
                  <a:pt x="52" y="163"/>
                </a:cubicBezTo>
                <a:cubicBezTo>
                  <a:pt x="70" y="163"/>
                  <a:pt x="70" y="163"/>
                  <a:pt x="70" y="163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81" y="153"/>
                  <a:pt x="81" y="153"/>
                  <a:pt x="81" y="153"/>
                </a:cubicBezTo>
                <a:cubicBezTo>
                  <a:pt x="81" y="153"/>
                  <a:pt x="81" y="153"/>
                  <a:pt x="81" y="153"/>
                </a:cubicBezTo>
                <a:cubicBezTo>
                  <a:pt x="81" y="118"/>
                  <a:pt x="81" y="118"/>
                  <a:pt x="81" y="118"/>
                </a:cubicBezTo>
                <a:cubicBezTo>
                  <a:pt x="105" y="110"/>
                  <a:pt x="122" y="87"/>
                  <a:pt x="122" y="61"/>
                </a:cubicBezTo>
                <a:cubicBezTo>
                  <a:pt x="122" y="27"/>
                  <a:pt x="94" y="0"/>
                  <a:pt x="61" y="0"/>
                </a:cubicBezTo>
                <a:close/>
                <a:moveTo>
                  <a:pt x="61" y="113"/>
                </a:moveTo>
                <a:cubicBezTo>
                  <a:pt x="32" y="113"/>
                  <a:pt x="9" y="90"/>
                  <a:pt x="9" y="61"/>
                </a:cubicBezTo>
                <a:cubicBezTo>
                  <a:pt x="9" y="32"/>
                  <a:pt x="32" y="9"/>
                  <a:pt x="61" y="9"/>
                </a:cubicBezTo>
                <a:cubicBezTo>
                  <a:pt x="90" y="9"/>
                  <a:pt x="113" y="32"/>
                  <a:pt x="113" y="61"/>
                </a:cubicBezTo>
                <a:cubicBezTo>
                  <a:pt x="113" y="90"/>
                  <a:pt x="90" y="113"/>
                  <a:pt x="61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2" name="Freeform 58"/>
          <p:cNvSpPr>
            <a:spLocks/>
          </p:cNvSpPr>
          <p:nvPr/>
        </p:nvSpPr>
        <p:spPr bwMode="auto">
          <a:xfrm>
            <a:off x="13252002" y="6684332"/>
            <a:ext cx="130840" cy="82528"/>
          </a:xfrm>
          <a:custGeom>
            <a:avLst/>
            <a:gdLst>
              <a:gd name="T0" fmla="*/ 0 w 27"/>
              <a:gd name="T1" fmla="*/ 7 h 17"/>
              <a:gd name="T2" fmla="*/ 4 w 27"/>
              <a:gd name="T3" fmla="*/ 17 h 17"/>
              <a:gd name="T4" fmla="*/ 27 w 27"/>
              <a:gd name="T5" fmla="*/ 4 h 17"/>
              <a:gd name="T6" fmla="*/ 26 w 27"/>
              <a:gd name="T7" fmla="*/ 0 h 17"/>
              <a:gd name="T8" fmla="*/ 0 w 27"/>
              <a:gd name="T9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17">
                <a:moveTo>
                  <a:pt x="0" y="7"/>
                </a:moveTo>
                <a:cubicBezTo>
                  <a:pt x="1" y="10"/>
                  <a:pt x="2" y="13"/>
                  <a:pt x="4" y="17"/>
                </a:cubicBezTo>
                <a:cubicBezTo>
                  <a:pt x="27" y="4"/>
                  <a:pt x="27" y="4"/>
                  <a:pt x="27" y="4"/>
                </a:cubicBezTo>
                <a:cubicBezTo>
                  <a:pt x="27" y="2"/>
                  <a:pt x="26" y="1"/>
                  <a:pt x="26" y="0"/>
                </a:cubicBezTo>
                <a:lnTo>
                  <a:pt x="0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3" name="Freeform 59"/>
          <p:cNvSpPr>
            <a:spLocks/>
          </p:cNvSpPr>
          <p:nvPr/>
        </p:nvSpPr>
        <p:spPr bwMode="auto">
          <a:xfrm>
            <a:off x="14010868" y="6364280"/>
            <a:ext cx="130840" cy="82528"/>
          </a:xfrm>
          <a:custGeom>
            <a:avLst/>
            <a:gdLst>
              <a:gd name="T0" fmla="*/ 27 w 27"/>
              <a:gd name="T1" fmla="*/ 10 h 17"/>
              <a:gd name="T2" fmla="*/ 23 w 27"/>
              <a:gd name="T3" fmla="*/ 0 h 17"/>
              <a:gd name="T4" fmla="*/ 0 w 27"/>
              <a:gd name="T5" fmla="*/ 13 h 17"/>
              <a:gd name="T6" fmla="*/ 2 w 27"/>
              <a:gd name="T7" fmla="*/ 17 h 17"/>
              <a:gd name="T8" fmla="*/ 27 w 27"/>
              <a:gd name="T9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17">
                <a:moveTo>
                  <a:pt x="27" y="10"/>
                </a:moveTo>
                <a:cubicBezTo>
                  <a:pt x="26" y="7"/>
                  <a:pt x="25" y="3"/>
                  <a:pt x="23" y="0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1" y="16"/>
                  <a:pt x="2" y="17"/>
                </a:cubicBezTo>
                <a:lnTo>
                  <a:pt x="27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4" name="Freeform 60"/>
          <p:cNvSpPr>
            <a:spLocks/>
          </p:cNvSpPr>
          <p:nvPr/>
        </p:nvSpPr>
        <p:spPr bwMode="auto">
          <a:xfrm>
            <a:off x="13252003" y="6364280"/>
            <a:ext cx="136878" cy="82528"/>
          </a:xfrm>
          <a:custGeom>
            <a:avLst/>
            <a:gdLst>
              <a:gd name="T0" fmla="*/ 0 w 28"/>
              <a:gd name="T1" fmla="*/ 10 h 17"/>
              <a:gd name="T2" fmla="*/ 26 w 28"/>
              <a:gd name="T3" fmla="*/ 17 h 17"/>
              <a:gd name="T4" fmla="*/ 28 w 28"/>
              <a:gd name="T5" fmla="*/ 13 h 17"/>
              <a:gd name="T6" fmla="*/ 4 w 28"/>
              <a:gd name="T7" fmla="*/ 0 h 17"/>
              <a:gd name="T8" fmla="*/ 0 w 28"/>
              <a:gd name="T9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0" y="10"/>
                </a:moveTo>
                <a:cubicBezTo>
                  <a:pt x="26" y="17"/>
                  <a:pt x="26" y="17"/>
                  <a:pt x="26" y="17"/>
                </a:cubicBezTo>
                <a:cubicBezTo>
                  <a:pt x="26" y="15"/>
                  <a:pt x="27" y="14"/>
                  <a:pt x="28" y="13"/>
                </a:cubicBezTo>
                <a:cubicBezTo>
                  <a:pt x="4" y="0"/>
                  <a:pt x="4" y="0"/>
                  <a:pt x="4" y="0"/>
                </a:cubicBezTo>
                <a:cubicBezTo>
                  <a:pt x="3" y="3"/>
                  <a:pt x="1" y="6"/>
                  <a:pt x="0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5" name="Freeform 61"/>
          <p:cNvSpPr>
            <a:spLocks/>
          </p:cNvSpPr>
          <p:nvPr/>
        </p:nvSpPr>
        <p:spPr bwMode="auto">
          <a:xfrm>
            <a:off x="14010868" y="6684332"/>
            <a:ext cx="130840" cy="82528"/>
          </a:xfrm>
          <a:custGeom>
            <a:avLst/>
            <a:gdLst>
              <a:gd name="T0" fmla="*/ 0 w 27"/>
              <a:gd name="T1" fmla="*/ 4 h 17"/>
              <a:gd name="T2" fmla="*/ 23 w 27"/>
              <a:gd name="T3" fmla="*/ 17 h 17"/>
              <a:gd name="T4" fmla="*/ 27 w 27"/>
              <a:gd name="T5" fmla="*/ 7 h 17"/>
              <a:gd name="T6" fmla="*/ 2 w 27"/>
              <a:gd name="T7" fmla="*/ 0 h 17"/>
              <a:gd name="T8" fmla="*/ 0 w 27"/>
              <a:gd name="T9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17">
                <a:moveTo>
                  <a:pt x="0" y="4"/>
                </a:moveTo>
                <a:cubicBezTo>
                  <a:pt x="23" y="17"/>
                  <a:pt x="23" y="17"/>
                  <a:pt x="23" y="17"/>
                </a:cubicBezTo>
                <a:cubicBezTo>
                  <a:pt x="25" y="14"/>
                  <a:pt x="26" y="10"/>
                  <a:pt x="27" y="7"/>
                </a:cubicBezTo>
                <a:cubicBezTo>
                  <a:pt x="2" y="0"/>
                  <a:pt x="2" y="0"/>
                  <a:pt x="2" y="0"/>
                </a:cubicBezTo>
                <a:cubicBezTo>
                  <a:pt x="1" y="1"/>
                  <a:pt x="0" y="3"/>
                  <a:pt x="0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6" name="Freeform 62"/>
          <p:cNvSpPr>
            <a:spLocks/>
          </p:cNvSpPr>
          <p:nvPr/>
        </p:nvSpPr>
        <p:spPr bwMode="auto">
          <a:xfrm>
            <a:off x="13499590" y="6118706"/>
            <a:ext cx="80516" cy="134864"/>
          </a:xfrm>
          <a:custGeom>
            <a:avLst/>
            <a:gdLst>
              <a:gd name="T0" fmla="*/ 17 w 17"/>
              <a:gd name="T1" fmla="*/ 26 h 28"/>
              <a:gd name="T2" fmla="*/ 10 w 17"/>
              <a:gd name="T3" fmla="*/ 0 h 28"/>
              <a:gd name="T4" fmla="*/ 0 w 17"/>
              <a:gd name="T5" fmla="*/ 4 h 28"/>
              <a:gd name="T6" fmla="*/ 13 w 17"/>
              <a:gd name="T7" fmla="*/ 28 h 28"/>
              <a:gd name="T8" fmla="*/ 17 w 17"/>
              <a:gd name="T9" fmla="*/ 2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8">
                <a:moveTo>
                  <a:pt x="17" y="26"/>
                </a:moveTo>
                <a:cubicBezTo>
                  <a:pt x="10" y="0"/>
                  <a:pt x="10" y="0"/>
                  <a:pt x="10" y="0"/>
                </a:cubicBezTo>
                <a:cubicBezTo>
                  <a:pt x="6" y="1"/>
                  <a:pt x="3" y="3"/>
                  <a:pt x="0" y="4"/>
                </a:cubicBezTo>
                <a:cubicBezTo>
                  <a:pt x="13" y="28"/>
                  <a:pt x="13" y="28"/>
                  <a:pt x="13" y="28"/>
                </a:cubicBezTo>
                <a:cubicBezTo>
                  <a:pt x="14" y="27"/>
                  <a:pt x="15" y="26"/>
                  <a:pt x="17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7" name="Freeform 63"/>
          <p:cNvSpPr>
            <a:spLocks/>
          </p:cNvSpPr>
          <p:nvPr/>
        </p:nvSpPr>
        <p:spPr bwMode="auto">
          <a:xfrm>
            <a:off x="13817631" y="6118706"/>
            <a:ext cx="82530" cy="134864"/>
          </a:xfrm>
          <a:custGeom>
            <a:avLst/>
            <a:gdLst>
              <a:gd name="T0" fmla="*/ 17 w 17"/>
              <a:gd name="T1" fmla="*/ 4 h 28"/>
              <a:gd name="T2" fmla="*/ 7 w 17"/>
              <a:gd name="T3" fmla="*/ 0 h 28"/>
              <a:gd name="T4" fmla="*/ 0 w 17"/>
              <a:gd name="T5" fmla="*/ 26 h 28"/>
              <a:gd name="T6" fmla="*/ 4 w 17"/>
              <a:gd name="T7" fmla="*/ 28 h 28"/>
              <a:gd name="T8" fmla="*/ 17 w 17"/>
              <a:gd name="T9" fmla="*/ 4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8">
                <a:moveTo>
                  <a:pt x="17" y="4"/>
                </a:moveTo>
                <a:cubicBezTo>
                  <a:pt x="14" y="3"/>
                  <a:pt x="10" y="1"/>
                  <a:pt x="7" y="0"/>
                </a:cubicBezTo>
                <a:cubicBezTo>
                  <a:pt x="0" y="26"/>
                  <a:pt x="0" y="26"/>
                  <a:pt x="0" y="26"/>
                </a:cubicBezTo>
                <a:cubicBezTo>
                  <a:pt x="1" y="26"/>
                  <a:pt x="3" y="27"/>
                  <a:pt x="4" y="28"/>
                </a:cubicBezTo>
                <a:lnTo>
                  <a:pt x="17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6039476" y="6154420"/>
            <a:ext cx="7125324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5392955" y="10134826"/>
            <a:ext cx="7771846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1301109" y="6250396"/>
            <a:ext cx="8352558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301108" y="10134826"/>
            <a:ext cx="7597408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1220722" y="4953434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219201" y="4358036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2980B9"/>
                </a:solidFill>
                <a:latin typeface="Poppins"/>
              </a:rPr>
              <a:t>DATA TAMPLE</a:t>
            </a:r>
          </a:p>
        </p:txBody>
      </p:sp>
      <p:sp>
        <p:nvSpPr>
          <p:cNvPr id="23" name="Oval 22"/>
          <p:cNvSpPr/>
          <p:nvPr/>
        </p:nvSpPr>
        <p:spPr>
          <a:xfrm>
            <a:off x="23047995" y="6031881"/>
            <a:ext cx="293570" cy="29357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23044881" y="9981931"/>
            <a:ext cx="293570" cy="29357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69" name="Oval 68"/>
          <p:cNvSpPr/>
          <p:nvPr/>
        </p:nvSpPr>
        <p:spPr>
          <a:xfrm>
            <a:off x="1085199" y="6099313"/>
            <a:ext cx="293570" cy="29357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0" name="Oval 69"/>
          <p:cNvSpPr/>
          <p:nvPr/>
        </p:nvSpPr>
        <p:spPr>
          <a:xfrm>
            <a:off x="1113033" y="10000233"/>
            <a:ext cx="293570" cy="29357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257124" y="8867052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255603" y="8271654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73" name="Rectangle 72"/>
          <p:cNvSpPr/>
          <p:nvPr/>
        </p:nvSpPr>
        <p:spPr>
          <a:xfrm>
            <a:off x="15927934" y="4851442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5926413" y="4256044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9BBB59"/>
                </a:solidFill>
                <a:latin typeface="Poppins"/>
              </a:rPr>
              <a:t>DATA TAMPLE</a:t>
            </a:r>
          </a:p>
        </p:txBody>
      </p:sp>
      <p:sp>
        <p:nvSpPr>
          <p:cNvPr id="75" name="Rectangle 74"/>
          <p:cNvSpPr/>
          <p:nvPr/>
        </p:nvSpPr>
        <p:spPr>
          <a:xfrm>
            <a:off x="15271724" y="8839168"/>
            <a:ext cx="690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5270203" y="8243770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</p:spTree>
    <p:extLst>
      <p:ext uri="{BB962C8B-B14F-4D97-AF65-F5344CB8AC3E}">
        <p14:creationId xmlns:p14="http://schemas.microsoft.com/office/powerpoint/2010/main" val="54912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 - 1 YEAR</a:t>
            </a:r>
          </a:p>
        </p:txBody>
      </p:sp>
      <p:graphicFrame>
        <p:nvGraphicFramePr>
          <p:cNvPr id="49" name="Table 48"/>
          <p:cNvGraphicFramePr>
            <a:graphicFrameLocks noGrp="1"/>
          </p:cNvGraphicFramePr>
          <p:nvPr/>
        </p:nvGraphicFramePr>
        <p:xfrm>
          <a:off x="944894" y="3213066"/>
          <a:ext cx="22707560" cy="880028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077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674186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815744"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017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1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2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3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4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5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6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7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8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29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30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31</a:t>
                      </a:r>
                    </a:p>
                  </a:txBody>
                  <a:tcPr marL="0" marR="0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January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February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744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March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April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May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June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July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August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September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October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November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670436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Lato Regular"/>
                          <a:cs typeface="Lato Regular"/>
                        </a:rPr>
                        <a:t>December</a:t>
                      </a: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200" dirty="0">
                        <a:solidFill>
                          <a:schemeClr val="bg2"/>
                        </a:solidFill>
                        <a:latin typeface="Lato Regular"/>
                        <a:cs typeface="Lato Regular"/>
                      </a:endParaRPr>
                    </a:p>
                  </a:txBody>
                  <a:tcPr marL="243778" marR="243778" marT="121920" marB="1219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grpSp>
        <p:nvGrpSpPr>
          <p:cNvPr id="50" name="Group 49"/>
          <p:cNvGrpSpPr/>
          <p:nvPr/>
        </p:nvGrpSpPr>
        <p:grpSpPr>
          <a:xfrm>
            <a:off x="3413604" y="4108714"/>
            <a:ext cx="4675692" cy="618436"/>
            <a:chOff x="4925490" y="2078741"/>
            <a:chExt cx="2337846" cy="309218"/>
          </a:xfrm>
        </p:grpSpPr>
        <p:sp>
          <p:nvSpPr>
            <p:cNvPr id="51" name="Rounded Rectangle 50"/>
            <p:cNvSpPr/>
            <p:nvPr/>
          </p:nvSpPr>
          <p:spPr>
            <a:xfrm>
              <a:off x="4931468" y="2107790"/>
              <a:ext cx="2325889" cy="20116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52" name="Text Placeholder 2"/>
            <p:cNvSpPr txBox="1">
              <a:spLocks/>
            </p:cNvSpPr>
            <p:nvPr/>
          </p:nvSpPr>
          <p:spPr>
            <a:xfrm>
              <a:off x="4925490" y="2078741"/>
              <a:ext cx="233784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6120228" y="4763886"/>
            <a:ext cx="3572412" cy="618436"/>
            <a:chOff x="3060114" y="2409239"/>
            <a:chExt cx="1786206" cy="309218"/>
          </a:xfrm>
        </p:grpSpPr>
        <p:sp>
          <p:nvSpPr>
            <p:cNvPr id="77" name="Rounded Rectangle 76"/>
            <p:cNvSpPr/>
            <p:nvPr/>
          </p:nvSpPr>
          <p:spPr>
            <a:xfrm>
              <a:off x="3064681" y="2438288"/>
              <a:ext cx="1777070" cy="201168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78" name="Text Placeholder 2"/>
            <p:cNvSpPr txBox="1">
              <a:spLocks/>
            </p:cNvSpPr>
            <p:nvPr/>
          </p:nvSpPr>
          <p:spPr>
            <a:xfrm>
              <a:off x="3060114" y="2409239"/>
              <a:ext cx="178620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4766916" y="5395970"/>
            <a:ext cx="9058812" cy="618436"/>
            <a:chOff x="2383458" y="2718457"/>
            <a:chExt cx="4529406" cy="309218"/>
          </a:xfrm>
        </p:grpSpPr>
        <p:sp>
          <p:nvSpPr>
            <p:cNvPr id="80" name="Rounded Rectangle 79"/>
            <p:cNvSpPr/>
            <p:nvPr/>
          </p:nvSpPr>
          <p:spPr>
            <a:xfrm>
              <a:off x="2395040" y="2747506"/>
              <a:ext cx="4506240" cy="20116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81" name="Text Placeholder 2"/>
            <p:cNvSpPr txBox="1">
              <a:spLocks/>
            </p:cNvSpPr>
            <p:nvPr/>
          </p:nvSpPr>
          <p:spPr>
            <a:xfrm>
              <a:off x="2383458" y="2718457"/>
              <a:ext cx="452940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14227908" y="4090808"/>
            <a:ext cx="4675692" cy="618436"/>
            <a:chOff x="7113954" y="2045404"/>
            <a:chExt cx="2337846" cy="309218"/>
          </a:xfrm>
        </p:grpSpPr>
        <p:sp>
          <p:nvSpPr>
            <p:cNvPr id="83" name="Rounded Rectangle 82"/>
            <p:cNvSpPr/>
            <p:nvPr/>
          </p:nvSpPr>
          <p:spPr>
            <a:xfrm>
              <a:off x="7119932" y="2074453"/>
              <a:ext cx="2325889" cy="20116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84" name="Text Placeholder 2"/>
            <p:cNvSpPr txBox="1">
              <a:spLocks/>
            </p:cNvSpPr>
            <p:nvPr/>
          </p:nvSpPr>
          <p:spPr>
            <a:xfrm>
              <a:off x="7113954" y="2045404"/>
              <a:ext cx="233784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3901284" y="6069568"/>
            <a:ext cx="4675692" cy="618436"/>
            <a:chOff x="1950642" y="3034784"/>
            <a:chExt cx="2337846" cy="309218"/>
          </a:xfrm>
        </p:grpSpPr>
        <p:sp>
          <p:nvSpPr>
            <p:cNvPr id="86" name="Rounded Rectangle 85"/>
            <p:cNvSpPr/>
            <p:nvPr/>
          </p:nvSpPr>
          <p:spPr>
            <a:xfrm>
              <a:off x="1956620" y="3063833"/>
              <a:ext cx="2325889" cy="20116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87" name="Text Placeholder 2"/>
            <p:cNvSpPr txBox="1">
              <a:spLocks/>
            </p:cNvSpPr>
            <p:nvPr/>
          </p:nvSpPr>
          <p:spPr>
            <a:xfrm>
              <a:off x="1950642" y="3034784"/>
              <a:ext cx="233784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6607908" y="6779332"/>
            <a:ext cx="3572412" cy="618436"/>
            <a:chOff x="3303954" y="3389666"/>
            <a:chExt cx="1786206" cy="309218"/>
          </a:xfrm>
        </p:grpSpPr>
        <p:sp>
          <p:nvSpPr>
            <p:cNvPr id="89" name="Rounded Rectangle 88"/>
            <p:cNvSpPr/>
            <p:nvPr/>
          </p:nvSpPr>
          <p:spPr>
            <a:xfrm>
              <a:off x="3308521" y="3418715"/>
              <a:ext cx="1777070" cy="20116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90" name="Text Placeholder 2"/>
            <p:cNvSpPr txBox="1">
              <a:spLocks/>
            </p:cNvSpPr>
            <p:nvPr/>
          </p:nvSpPr>
          <p:spPr>
            <a:xfrm>
              <a:off x="3303954" y="3389666"/>
              <a:ext cx="178620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sp>
        <p:nvSpPr>
          <p:cNvPr id="91" name="Rounded Rectangle 90"/>
          <p:cNvSpPr/>
          <p:nvPr/>
        </p:nvSpPr>
        <p:spPr>
          <a:xfrm>
            <a:off x="10960678" y="7424460"/>
            <a:ext cx="9012480" cy="40233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defTabSz="1828800" rtl="0"/>
            <a:endParaRPr lang="en-US" sz="1800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92" name="Text Placeholder 2"/>
          <p:cNvSpPr txBox="1">
            <a:spLocks/>
          </p:cNvSpPr>
          <p:nvPr/>
        </p:nvSpPr>
        <p:spPr>
          <a:xfrm>
            <a:off x="10937514" y="7366362"/>
            <a:ext cx="9058812" cy="618436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800" kern="1200" baseline="0">
                <a:solidFill>
                  <a:schemeClr val="bg1">
                    <a:lumMod val="65000"/>
                  </a:schemeClr>
                </a:solidFill>
                <a:latin typeface="Roboto condensed"/>
                <a:ea typeface="+mn-ea"/>
                <a:cs typeface="Roboto condense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1900" dirty="0">
                <a:solidFill>
                  <a:srgbClr val="FFFFFF"/>
                </a:solidFill>
                <a:latin typeface="Source Sans Pro"/>
                <a:cs typeface="Lato Regular"/>
              </a:rPr>
              <a:t>Description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18653760" y="4791182"/>
            <a:ext cx="2685148" cy="618436"/>
            <a:chOff x="9326880" y="2409239"/>
            <a:chExt cx="1342574" cy="309218"/>
          </a:xfrm>
        </p:grpSpPr>
        <p:sp>
          <p:nvSpPr>
            <p:cNvPr id="94" name="Rounded Rectangle 93"/>
            <p:cNvSpPr/>
            <p:nvPr/>
          </p:nvSpPr>
          <p:spPr>
            <a:xfrm>
              <a:off x="9330313" y="2438288"/>
              <a:ext cx="1335707" cy="20116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95" name="Text Placeholder 2"/>
            <p:cNvSpPr txBox="1">
              <a:spLocks/>
            </p:cNvSpPr>
            <p:nvPr/>
          </p:nvSpPr>
          <p:spPr>
            <a:xfrm>
              <a:off x="9326880" y="2409239"/>
              <a:ext cx="1342574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sp>
        <p:nvSpPr>
          <p:cNvPr id="96" name="Rounded Rectangle 95"/>
          <p:cNvSpPr/>
          <p:nvPr/>
        </p:nvSpPr>
        <p:spPr>
          <a:xfrm>
            <a:off x="16862307" y="8124834"/>
            <a:ext cx="2671414" cy="40233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defTabSz="1828800" rtl="0"/>
            <a:endParaRPr lang="en-US" sz="1800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97" name="Text Placeholder 2"/>
          <p:cNvSpPr txBox="1">
            <a:spLocks/>
          </p:cNvSpPr>
          <p:nvPr/>
        </p:nvSpPr>
        <p:spPr>
          <a:xfrm>
            <a:off x="16855440" y="8066736"/>
            <a:ext cx="2685148" cy="618436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800" kern="1200" baseline="0">
                <a:solidFill>
                  <a:schemeClr val="bg1">
                    <a:lumMod val="65000"/>
                  </a:schemeClr>
                </a:solidFill>
                <a:latin typeface="Roboto condensed"/>
                <a:ea typeface="+mn-ea"/>
                <a:cs typeface="Roboto condense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1900" dirty="0">
                <a:solidFill>
                  <a:srgbClr val="FFFFFF"/>
                </a:solidFill>
                <a:latin typeface="Source Sans Pro"/>
                <a:cs typeface="Lato Regular"/>
              </a:rPr>
              <a:t>Description</a:t>
            </a:r>
          </a:p>
        </p:txBody>
      </p:sp>
      <p:sp>
        <p:nvSpPr>
          <p:cNvPr id="98" name="Rounded Rectangle 97"/>
          <p:cNvSpPr/>
          <p:nvPr/>
        </p:nvSpPr>
        <p:spPr>
          <a:xfrm>
            <a:off x="15975479" y="6201476"/>
            <a:ext cx="2671414" cy="40233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defTabSz="1828800" rtl="0"/>
            <a:endParaRPr lang="en-US" sz="1800" kern="1200" dirty="0">
              <a:solidFill>
                <a:srgbClr val="3F3F3F"/>
              </a:solidFill>
              <a:latin typeface="Source Sans Pro"/>
            </a:endParaRPr>
          </a:p>
        </p:txBody>
      </p:sp>
      <p:sp>
        <p:nvSpPr>
          <p:cNvPr id="99" name="Text Placeholder 2"/>
          <p:cNvSpPr txBox="1">
            <a:spLocks/>
          </p:cNvSpPr>
          <p:nvPr/>
        </p:nvSpPr>
        <p:spPr>
          <a:xfrm>
            <a:off x="15968612" y="6143378"/>
            <a:ext cx="2685148" cy="618436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800" kern="1200" baseline="0">
                <a:solidFill>
                  <a:schemeClr val="bg1">
                    <a:lumMod val="65000"/>
                  </a:schemeClr>
                </a:solidFill>
                <a:latin typeface="Roboto condensed"/>
                <a:ea typeface="+mn-ea"/>
                <a:cs typeface="Roboto condense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1900" dirty="0">
                <a:solidFill>
                  <a:srgbClr val="FFFFFF"/>
                </a:solidFill>
                <a:latin typeface="Source Sans Pro"/>
                <a:cs typeface="Lato Regular"/>
              </a:rPr>
              <a:t>Description</a:t>
            </a:r>
          </a:p>
        </p:txBody>
      </p:sp>
      <p:grpSp>
        <p:nvGrpSpPr>
          <p:cNvPr id="100" name="Group 99"/>
          <p:cNvGrpSpPr/>
          <p:nvPr/>
        </p:nvGrpSpPr>
        <p:grpSpPr>
          <a:xfrm>
            <a:off x="3401647" y="8026652"/>
            <a:ext cx="3395394" cy="618436"/>
            <a:chOff x="1700823" y="4013326"/>
            <a:chExt cx="1697697" cy="309218"/>
          </a:xfrm>
        </p:grpSpPr>
        <p:sp>
          <p:nvSpPr>
            <p:cNvPr id="101" name="Rounded Rectangle 100"/>
            <p:cNvSpPr/>
            <p:nvPr/>
          </p:nvSpPr>
          <p:spPr>
            <a:xfrm>
              <a:off x="1705164" y="4042375"/>
              <a:ext cx="1689014" cy="20116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102" name="Text Placeholder 2"/>
            <p:cNvSpPr txBox="1">
              <a:spLocks/>
            </p:cNvSpPr>
            <p:nvPr/>
          </p:nvSpPr>
          <p:spPr>
            <a:xfrm>
              <a:off x="1700823" y="4013326"/>
              <a:ext cx="1697697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9900303" y="8747348"/>
            <a:ext cx="2692690" cy="618436"/>
            <a:chOff x="4950151" y="4373674"/>
            <a:chExt cx="1346345" cy="309218"/>
          </a:xfrm>
        </p:grpSpPr>
        <p:sp>
          <p:nvSpPr>
            <p:cNvPr id="104" name="Rounded Rectangle 103"/>
            <p:cNvSpPr/>
            <p:nvPr/>
          </p:nvSpPr>
          <p:spPr>
            <a:xfrm>
              <a:off x="4960789" y="4402804"/>
              <a:ext cx="1335707" cy="20116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105" name="Text Placeholder 2"/>
            <p:cNvSpPr txBox="1">
              <a:spLocks/>
            </p:cNvSpPr>
            <p:nvPr/>
          </p:nvSpPr>
          <p:spPr>
            <a:xfrm>
              <a:off x="4950151" y="4373674"/>
              <a:ext cx="1342574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4790080" y="11413290"/>
            <a:ext cx="9058812" cy="618436"/>
            <a:chOff x="2395040" y="5672525"/>
            <a:chExt cx="4529406" cy="309218"/>
          </a:xfrm>
        </p:grpSpPr>
        <p:sp>
          <p:nvSpPr>
            <p:cNvPr id="107" name="Rounded Rectangle 106"/>
            <p:cNvSpPr/>
            <p:nvPr/>
          </p:nvSpPr>
          <p:spPr>
            <a:xfrm>
              <a:off x="2406622" y="5701574"/>
              <a:ext cx="4506240" cy="201168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108" name="Text Placeholder 2"/>
            <p:cNvSpPr txBox="1">
              <a:spLocks/>
            </p:cNvSpPr>
            <p:nvPr/>
          </p:nvSpPr>
          <p:spPr>
            <a:xfrm>
              <a:off x="2395040" y="5672525"/>
              <a:ext cx="452940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8077338" y="9452438"/>
            <a:ext cx="3572412" cy="618436"/>
            <a:chOff x="4038669" y="4726219"/>
            <a:chExt cx="1786206" cy="309218"/>
          </a:xfrm>
        </p:grpSpPr>
        <p:sp>
          <p:nvSpPr>
            <p:cNvPr id="110" name="Rounded Rectangle 109"/>
            <p:cNvSpPr/>
            <p:nvPr/>
          </p:nvSpPr>
          <p:spPr>
            <a:xfrm>
              <a:off x="4043236" y="4755268"/>
              <a:ext cx="1777070" cy="201168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111" name="Text Placeholder 2"/>
            <p:cNvSpPr txBox="1">
              <a:spLocks/>
            </p:cNvSpPr>
            <p:nvPr/>
          </p:nvSpPr>
          <p:spPr>
            <a:xfrm>
              <a:off x="4038669" y="4726219"/>
              <a:ext cx="1786206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14816762" y="10138672"/>
            <a:ext cx="2685148" cy="618436"/>
            <a:chOff x="7408381" y="5069336"/>
            <a:chExt cx="1342574" cy="309218"/>
          </a:xfrm>
        </p:grpSpPr>
        <p:sp>
          <p:nvSpPr>
            <p:cNvPr id="113" name="Rounded Rectangle 112"/>
            <p:cNvSpPr/>
            <p:nvPr/>
          </p:nvSpPr>
          <p:spPr>
            <a:xfrm>
              <a:off x="7411814" y="5098385"/>
              <a:ext cx="1335707" cy="201168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114" name="Text Placeholder 2"/>
            <p:cNvSpPr txBox="1">
              <a:spLocks/>
            </p:cNvSpPr>
            <p:nvPr/>
          </p:nvSpPr>
          <p:spPr>
            <a:xfrm>
              <a:off x="7408381" y="5069336"/>
              <a:ext cx="1342574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10171182" y="10811326"/>
            <a:ext cx="2685148" cy="618436"/>
            <a:chOff x="5085591" y="5405663"/>
            <a:chExt cx="1342574" cy="309218"/>
          </a:xfrm>
        </p:grpSpPr>
        <p:sp>
          <p:nvSpPr>
            <p:cNvPr id="116" name="Rounded Rectangle 115"/>
            <p:cNvSpPr/>
            <p:nvPr/>
          </p:nvSpPr>
          <p:spPr>
            <a:xfrm>
              <a:off x="5089024" y="5434712"/>
              <a:ext cx="1335707" cy="20116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1828800" rtl="0"/>
              <a:endParaRPr lang="en-US" sz="1800" kern="1200" dirty="0">
                <a:solidFill>
                  <a:srgbClr val="3F3F3F"/>
                </a:solidFill>
                <a:latin typeface="Source Sans Pro"/>
              </a:endParaRPr>
            </a:p>
          </p:txBody>
        </p:sp>
        <p:sp>
          <p:nvSpPr>
            <p:cNvPr id="117" name="Text Placeholder 2"/>
            <p:cNvSpPr txBox="1">
              <a:spLocks/>
            </p:cNvSpPr>
            <p:nvPr/>
          </p:nvSpPr>
          <p:spPr>
            <a:xfrm>
              <a:off x="5085591" y="5405663"/>
              <a:ext cx="1342574" cy="309218"/>
            </a:xfrm>
            <a:prstGeom prst="rect">
              <a:avLst/>
            </a:prstGeom>
          </p:spPr>
          <p:txBody>
            <a:bodyPr vert="horz"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800" kern="1200" baseline="0">
                  <a:solidFill>
                    <a:schemeClr val="bg1">
                      <a:lumMod val="65000"/>
                    </a:schemeClr>
                  </a:solidFill>
                  <a:latin typeface="Roboto condensed"/>
                  <a:ea typeface="+mn-ea"/>
                  <a:cs typeface="Roboto condensed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sz="1900" dirty="0">
                  <a:solidFill>
                    <a:srgbClr val="FFFFFF"/>
                  </a:solidFill>
                  <a:latin typeface="Source Sans Pro"/>
                  <a:cs typeface="Lato Regular"/>
                </a:rPr>
                <a:t>Descrip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067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219199" y="8972627"/>
            <a:ext cx="7214978" cy="3698946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6245308" y="8163644"/>
            <a:ext cx="6935368" cy="3390744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253283" y="2666426"/>
            <a:ext cx="8054714" cy="3390744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110087" y="2543214"/>
            <a:ext cx="8054714" cy="3390744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6446710" y="8961682"/>
            <a:ext cx="3709892" cy="37098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14847206" y="8297822"/>
            <a:ext cx="3122388" cy="31223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7590052" y="2811570"/>
            <a:ext cx="3122388" cy="31223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" name="Oval 2"/>
          <p:cNvSpPr/>
          <p:nvPr/>
        </p:nvSpPr>
        <p:spPr>
          <a:xfrm>
            <a:off x="13640704" y="2657328"/>
            <a:ext cx="3122388" cy="31223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8" name="Freeform 23"/>
          <p:cNvSpPr>
            <a:spLocks noEditPoints="1"/>
          </p:cNvSpPr>
          <p:nvPr/>
        </p:nvSpPr>
        <p:spPr bwMode="auto">
          <a:xfrm>
            <a:off x="10670784" y="10271657"/>
            <a:ext cx="1491236" cy="1495622"/>
          </a:xfrm>
          <a:custGeom>
            <a:avLst/>
            <a:gdLst>
              <a:gd name="T0" fmla="*/ 50 w 285"/>
              <a:gd name="T1" fmla="*/ 51 h 286"/>
              <a:gd name="T2" fmla="*/ 35 w 285"/>
              <a:gd name="T3" fmla="*/ 69 h 286"/>
              <a:gd name="T4" fmla="*/ 23 w 285"/>
              <a:gd name="T5" fmla="*/ 91 h 286"/>
              <a:gd name="T6" fmla="*/ 15 w 285"/>
              <a:gd name="T7" fmla="*/ 113 h 286"/>
              <a:gd name="T8" fmla="*/ 12 w 285"/>
              <a:gd name="T9" fmla="*/ 137 h 286"/>
              <a:gd name="T10" fmla="*/ 13 w 285"/>
              <a:gd name="T11" fmla="*/ 161 h 286"/>
              <a:gd name="T12" fmla="*/ 19 w 285"/>
              <a:gd name="T13" fmla="*/ 185 h 286"/>
              <a:gd name="T14" fmla="*/ 29 w 285"/>
              <a:gd name="T15" fmla="*/ 207 h 286"/>
              <a:gd name="T16" fmla="*/ 42 w 285"/>
              <a:gd name="T17" fmla="*/ 227 h 286"/>
              <a:gd name="T18" fmla="*/ 59 w 285"/>
              <a:gd name="T19" fmla="*/ 244 h 286"/>
              <a:gd name="T20" fmla="*/ 79 w 285"/>
              <a:gd name="T21" fmla="*/ 257 h 286"/>
              <a:gd name="T22" fmla="*/ 101 w 285"/>
              <a:gd name="T23" fmla="*/ 267 h 286"/>
              <a:gd name="T24" fmla="*/ 125 w 285"/>
              <a:gd name="T25" fmla="*/ 272 h 286"/>
              <a:gd name="T26" fmla="*/ 149 w 285"/>
              <a:gd name="T27" fmla="*/ 274 h 286"/>
              <a:gd name="T28" fmla="*/ 173 w 285"/>
              <a:gd name="T29" fmla="*/ 270 h 286"/>
              <a:gd name="T30" fmla="*/ 196 w 285"/>
              <a:gd name="T31" fmla="*/ 262 h 286"/>
              <a:gd name="T32" fmla="*/ 217 w 285"/>
              <a:gd name="T33" fmla="*/ 251 h 286"/>
              <a:gd name="T34" fmla="*/ 235 w 285"/>
              <a:gd name="T35" fmla="*/ 235 h 286"/>
              <a:gd name="T36" fmla="*/ 250 w 285"/>
              <a:gd name="T37" fmla="*/ 217 h 286"/>
              <a:gd name="T38" fmla="*/ 262 w 285"/>
              <a:gd name="T39" fmla="*/ 196 h 286"/>
              <a:gd name="T40" fmla="*/ 270 w 285"/>
              <a:gd name="T41" fmla="*/ 173 h 286"/>
              <a:gd name="T42" fmla="*/ 273 w 285"/>
              <a:gd name="T43" fmla="*/ 149 h 286"/>
              <a:gd name="T44" fmla="*/ 272 w 285"/>
              <a:gd name="T45" fmla="*/ 125 h 286"/>
              <a:gd name="T46" fmla="*/ 266 w 285"/>
              <a:gd name="T47" fmla="*/ 101 h 286"/>
              <a:gd name="T48" fmla="*/ 257 w 285"/>
              <a:gd name="T49" fmla="*/ 79 h 286"/>
              <a:gd name="T50" fmla="*/ 243 w 285"/>
              <a:gd name="T51" fmla="*/ 59 h 286"/>
              <a:gd name="T52" fmla="*/ 226 w 285"/>
              <a:gd name="T53" fmla="*/ 42 h 286"/>
              <a:gd name="T54" fmla="*/ 206 w 285"/>
              <a:gd name="T55" fmla="*/ 29 h 286"/>
              <a:gd name="T56" fmla="*/ 184 w 285"/>
              <a:gd name="T57" fmla="*/ 19 h 286"/>
              <a:gd name="T58" fmla="*/ 160 w 285"/>
              <a:gd name="T59" fmla="*/ 14 h 286"/>
              <a:gd name="T60" fmla="*/ 136 w 285"/>
              <a:gd name="T61" fmla="*/ 13 h 286"/>
              <a:gd name="T62" fmla="*/ 112 w 285"/>
              <a:gd name="T63" fmla="*/ 16 h 286"/>
              <a:gd name="T64" fmla="*/ 90 w 285"/>
              <a:gd name="T65" fmla="*/ 24 h 286"/>
              <a:gd name="T66" fmla="*/ 69 w 285"/>
              <a:gd name="T67" fmla="*/ 35 h 286"/>
              <a:gd name="T68" fmla="*/ 103 w 285"/>
              <a:gd name="T69" fmla="*/ 99 h 286"/>
              <a:gd name="T70" fmla="*/ 99 w 285"/>
              <a:gd name="T71" fmla="*/ 183 h 286"/>
              <a:gd name="T72" fmla="*/ 238 w 285"/>
              <a:gd name="T73" fmla="*/ 164 h 286"/>
              <a:gd name="T74" fmla="*/ 84 w 285"/>
              <a:gd name="T75" fmla="*/ 235 h 286"/>
              <a:gd name="T76" fmla="*/ 107 w 285"/>
              <a:gd name="T77" fmla="*/ 207 h 286"/>
              <a:gd name="T78" fmla="*/ 175 w 285"/>
              <a:gd name="T79" fmla="*/ 39 h 286"/>
              <a:gd name="T80" fmla="*/ 240 w 285"/>
              <a:gd name="T81" fmla="*/ 135 h 286"/>
              <a:gd name="T82" fmla="*/ 197 w 285"/>
              <a:gd name="T83" fmla="*/ 94 h 286"/>
              <a:gd name="T84" fmla="*/ 163 w 285"/>
              <a:gd name="T85" fmla="*/ 47 h 286"/>
              <a:gd name="T86" fmla="*/ 134 w 285"/>
              <a:gd name="T87" fmla="*/ 45 h 286"/>
              <a:gd name="T88" fmla="*/ 93 w 285"/>
              <a:gd name="T89" fmla="*/ 89 h 286"/>
              <a:gd name="T90" fmla="*/ 62 w 285"/>
              <a:gd name="T91" fmla="*/ 200 h 286"/>
              <a:gd name="T92" fmla="*/ 123 w 285"/>
              <a:gd name="T93" fmla="*/ 3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5" h="286">
                <a:moveTo>
                  <a:pt x="59" y="43"/>
                </a:moveTo>
                <a:cubicBezTo>
                  <a:pt x="46" y="37"/>
                  <a:pt x="46" y="37"/>
                  <a:pt x="46" y="37"/>
                </a:cubicBezTo>
                <a:cubicBezTo>
                  <a:pt x="50" y="51"/>
                  <a:pt x="50" y="51"/>
                  <a:pt x="50" y="51"/>
                </a:cubicBezTo>
                <a:cubicBezTo>
                  <a:pt x="52" y="56"/>
                  <a:pt x="47" y="61"/>
                  <a:pt x="42" y="60"/>
                </a:cubicBezTo>
                <a:cubicBezTo>
                  <a:pt x="28" y="57"/>
                  <a:pt x="28" y="57"/>
                  <a:pt x="28" y="57"/>
                </a:cubicBezTo>
                <a:cubicBezTo>
                  <a:pt x="35" y="69"/>
                  <a:pt x="35" y="69"/>
                  <a:pt x="35" y="69"/>
                </a:cubicBezTo>
                <a:cubicBezTo>
                  <a:pt x="37" y="74"/>
                  <a:pt x="34" y="80"/>
                  <a:pt x="29" y="79"/>
                </a:cubicBezTo>
                <a:cubicBezTo>
                  <a:pt x="14" y="79"/>
                  <a:pt x="14" y="79"/>
                  <a:pt x="14" y="79"/>
                </a:cubicBezTo>
                <a:cubicBezTo>
                  <a:pt x="23" y="91"/>
                  <a:pt x="23" y="91"/>
                  <a:pt x="23" y="91"/>
                </a:cubicBezTo>
                <a:cubicBezTo>
                  <a:pt x="26" y="95"/>
                  <a:pt x="24" y="101"/>
                  <a:pt x="19" y="102"/>
                </a:cubicBezTo>
                <a:cubicBezTo>
                  <a:pt x="5" y="104"/>
                  <a:pt x="5" y="104"/>
                  <a:pt x="5" y="104"/>
                </a:cubicBezTo>
                <a:cubicBezTo>
                  <a:pt x="15" y="113"/>
                  <a:pt x="15" y="113"/>
                  <a:pt x="15" y="113"/>
                </a:cubicBezTo>
                <a:cubicBezTo>
                  <a:pt x="19" y="117"/>
                  <a:pt x="18" y="123"/>
                  <a:pt x="13" y="125"/>
                </a:cubicBezTo>
                <a:cubicBezTo>
                  <a:pt x="0" y="130"/>
                  <a:pt x="0" y="130"/>
                  <a:pt x="0" y="130"/>
                </a:cubicBezTo>
                <a:cubicBezTo>
                  <a:pt x="12" y="137"/>
                  <a:pt x="12" y="137"/>
                  <a:pt x="12" y="137"/>
                </a:cubicBezTo>
                <a:cubicBezTo>
                  <a:pt x="17" y="140"/>
                  <a:pt x="17" y="146"/>
                  <a:pt x="12" y="149"/>
                </a:cubicBezTo>
                <a:cubicBezTo>
                  <a:pt x="0" y="156"/>
                  <a:pt x="0" y="156"/>
                  <a:pt x="0" y="156"/>
                </a:cubicBezTo>
                <a:cubicBezTo>
                  <a:pt x="13" y="161"/>
                  <a:pt x="13" y="161"/>
                  <a:pt x="13" y="161"/>
                </a:cubicBezTo>
                <a:cubicBezTo>
                  <a:pt x="18" y="163"/>
                  <a:pt x="19" y="169"/>
                  <a:pt x="15" y="173"/>
                </a:cubicBezTo>
                <a:cubicBezTo>
                  <a:pt x="5" y="182"/>
                  <a:pt x="5" y="182"/>
                  <a:pt x="5" y="182"/>
                </a:cubicBezTo>
                <a:cubicBezTo>
                  <a:pt x="19" y="185"/>
                  <a:pt x="19" y="185"/>
                  <a:pt x="19" y="185"/>
                </a:cubicBezTo>
                <a:cubicBezTo>
                  <a:pt x="24" y="186"/>
                  <a:pt x="26" y="192"/>
                  <a:pt x="23" y="196"/>
                </a:cubicBezTo>
                <a:cubicBezTo>
                  <a:pt x="14" y="207"/>
                  <a:pt x="14" y="207"/>
                  <a:pt x="14" y="207"/>
                </a:cubicBezTo>
                <a:cubicBezTo>
                  <a:pt x="29" y="207"/>
                  <a:pt x="29" y="207"/>
                  <a:pt x="29" y="207"/>
                </a:cubicBezTo>
                <a:cubicBezTo>
                  <a:pt x="34" y="207"/>
                  <a:pt x="37" y="212"/>
                  <a:pt x="35" y="217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42" y="227"/>
                  <a:pt x="42" y="227"/>
                  <a:pt x="42" y="227"/>
                </a:cubicBezTo>
                <a:cubicBezTo>
                  <a:pt x="47" y="226"/>
                  <a:pt x="52" y="230"/>
                  <a:pt x="50" y="235"/>
                </a:cubicBezTo>
                <a:cubicBezTo>
                  <a:pt x="46" y="249"/>
                  <a:pt x="46" y="249"/>
                  <a:pt x="46" y="249"/>
                </a:cubicBezTo>
                <a:cubicBezTo>
                  <a:pt x="59" y="244"/>
                  <a:pt x="59" y="244"/>
                  <a:pt x="59" y="244"/>
                </a:cubicBezTo>
                <a:cubicBezTo>
                  <a:pt x="64" y="242"/>
                  <a:pt x="69" y="246"/>
                  <a:pt x="69" y="251"/>
                </a:cubicBezTo>
                <a:cubicBezTo>
                  <a:pt x="67" y="265"/>
                  <a:pt x="67" y="265"/>
                  <a:pt x="67" y="265"/>
                </a:cubicBezTo>
                <a:cubicBezTo>
                  <a:pt x="79" y="257"/>
                  <a:pt x="79" y="257"/>
                  <a:pt x="79" y="257"/>
                </a:cubicBezTo>
                <a:cubicBezTo>
                  <a:pt x="84" y="254"/>
                  <a:pt x="89" y="257"/>
                  <a:pt x="90" y="263"/>
                </a:cubicBezTo>
                <a:cubicBezTo>
                  <a:pt x="91" y="277"/>
                  <a:pt x="91" y="277"/>
                  <a:pt x="91" y="277"/>
                </a:cubicBezTo>
                <a:cubicBezTo>
                  <a:pt x="101" y="267"/>
                  <a:pt x="101" y="267"/>
                  <a:pt x="101" y="267"/>
                </a:cubicBezTo>
                <a:cubicBezTo>
                  <a:pt x="105" y="263"/>
                  <a:pt x="111" y="265"/>
                  <a:pt x="113" y="270"/>
                </a:cubicBezTo>
                <a:cubicBezTo>
                  <a:pt x="116" y="284"/>
                  <a:pt x="116" y="284"/>
                  <a:pt x="116" y="284"/>
                </a:cubicBezTo>
                <a:cubicBezTo>
                  <a:pt x="125" y="272"/>
                  <a:pt x="125" y="272"/>
                  <a:pt x="125" y="272"/>
                </a:cubicBezTo>
                <a:cubicBezTo>
                  <a:pt x="128" y="268"/>
                  <a:pt x="134" y="269"/>
                  <a:pt x="137" y="274"/>
                </a:cubicBezTo>
                <a:cubicBezTo>
                  <a:pt x="143" y="286"/>
                  <a:pt x="143" y="286"/>
                  <a:pt x="143" y="286"/>
                </a:cubicBezTo>
                <a:cubicBezTo>
                  <a:pt x="149" y="274"/>
                  <a:pt x="149" y="274"/>
                  <a:pt x="149" y="274"/>
                </a:cubicBezTo>
                <a:cubicBezTo>
                  <a:pt x="151" y="269"/>
                  <a:pt x="158" y="268"/>
                  <a:pt x="161" y="272"/>
                </a:cubicBezTo>
                <a:cubicBezTo>
                  <a:pt x="169" y="284"/>
                  <a:pt x="169" y="284"/>
                  <a:pt x="169" y="284"/>
                </a:cubicBezTo>
                <a:cubicBezTo>
                  <a:pt x="173" y="270"/>
                  <a:pt x="173" y="270"/>
                  <a:pt x="173" y="270"/>
                </a:cubicBezTo>
                <a:cubicBezTo>
                  <a:pt x="174" y="265"/>
                  <a:pt x="180" y="263"/>
                  <a:pt x="184" y="267"/>
                </a:cubicBezTo>
                <a:cubicBezTo>
                  <a:pt x="194" y="277"/>
                  <a:pt x="194" y="277"/>
                  <a:pt x="194" y="277"/>
                </a:cubicBezTo>
                <a:cubicBezTo>
                  <a:pt x="196" y="262"/>
                  <a:pt x="196" y="262"/>
                  <a:pt x="196" y="262"/>
                </a:cubicBezTo>
                <a:cubicBezTo>
                  <a:pt x="196" y="257"/>
                  <a:pt x="202" y="254"/>
                  <a:pt x="206" y="257"/>
                </a:cubicBezTo>
                <a:cubicBezTo>
                  <a:pt x="218" y="265"/>
                  <a:pt x="218" y="265"/>
                  <a:pt x="218" y="265"/>
                </a:cubicBezTo>
                <a:cubicBezTo>
                  <a:pt x="217" y="251"/>
                  <a:pt x="217" y="251"/>
                  <a:pt x="217" y="251"/>
                </a:cubicBezTo>
                <a:cubicBezTo>
                  <a:pt x="216" y="246"/>
                  <a:pt x="221" y="242"/>
                  <a:pt x="226" y="244"/>
                </a:cubicBezTo>
                <a:cubicBezTo>
                  <a:pt x="239" y="249"/>
                  <a:pt x="239" y="249"/>
                  <a:pt x="239" y="249"/>
                </a:cubicBezTo>
                <a:cubicBezTo>
                  <a:pt x="235" y="235"/>
                  <a:pt x="235" y="235"/>
                  <a:pt x="235" y="235"/>
                </a:cubicBezTo>
                <a:cubicBezTo>
                  <a:pt x="234" y="230"/>
                  <a:pt x="238" y="225"/>
                  <a:pt x="243" y="227"/>
                </a:cubicBezTo>
                <a:cubicBezTo>
                  <a:pt x="257" y="229"/>
                  <a:pt x="257" y="229"/>
                  <a:pt x="257" y="229"/>
                </a:cubicBezTo>
                <a:cubicBezTo>
                  <a:pt x="250" y="217"/>
                  <a:pt x="250" y="217"/>
                  <a:pt x="250" y="217"/>
                </a:cubicBezTo>
                <a:cubicBezTo>
                  <a:pt x="248" y="212"/>
                  <a:pt x="251" y="207"/>
                  <a:pt x="257" y="207"/>
                </a:cubicBezTo>
                <a:cubicBezTo>
                  <a:pt x="271" y="207"/>
                  <a:pt x="271" y="207"/>
                  <a:pt x="271" y="207"/>
                </a:cubicBezTo>
                <a:cubicBezTo>
                  <a:pt x="262" y="196"/>
                  <a:pt x="262" y="196"/>
                  <a:pt x="262" y="196"/>
                </a:cubicBezTo>
                <a:cubicBezTo>
                  <a:pt x="259" y="192"/>
                  <a:pt x="261" y="185"/>
                  <a:pt x="266" y="185"/>
                </a:cubicBezTo>
                <a:cubicBezTo>
                  <a:pt x="280" y="182"/>
                  <a:pt x="280" y="182"/>
                  <a:pt x="280" y="182"/>
                </a:cubicBezTo>
                <a:cubicBezTo>
                  <a:pt x="270" y="173"/>
                  <a:pt x="270" y="173"/>
                  <a:pt x="270" y="173"/>
                </a:cubicBezTo>
                <a:cubicBezTo>
                  <a:pt x="266" y="169"/>
                  <a:pt x="267" y="163"/>
                  <a:pt x="272" y="161"/>
                </a:cubicBezTo>
                <a:cubicBezTo>
                  <a:pt x="285" y="156"/>
                  <a:pt x="285" y="156"/>
                  <a:pt x="285" y="156"/>
                </a:cubicBezTo>
                <a:cubicBezTo>
                  <a:pt x="273" y="149"/>
                  <a:pt x="273" y="149"/>
                  <a:pt x="273" y="149"/>
                </a:cubicBezTo>
                <a:cubicBezTo>
                  <a:pt x="269" y="146"/>
                  <a:pt x="269" y="140"/>
                  <a:pt x="273" y="137"/>
                </a:cubicBezTo>
                <a:cubicBezTo>
                  <a:pt x="285" y="130"/>
                  <a:pt x="285" y="130"/>
                  <a:pt x="285" y="130"/>
                </a:cubicBezTo>
                <a:cubicBezTo>
                  <a:pt x="272" y="125"/>
                  <a:pt x="272" y="125"/>
                  <a:pt x="272" y="125"/>
                </a:cubicBezTo>
                <a:cubicBezTo>
                  <a:pt x="267" y="123"/>
                  <a:pt x="266" y="117"/>
                  <a:pt x="270" y="113"/>
                </a:cubicBezTo>
                <a:cubicBezTo>
                  <a:pt x="280" y="104"/>
                  <a:pt x="280" y="104"/>
                  <a:pt x="280" y="104"/>
                </a:cubicBezTo>
                <a:cubicBezTo>
                  <a:pt x="266" y="101"/>
                  <a:pt x="266" y="101"/>
                  <a:pt x="266" y="101"/>
                </a:cubicBezTo>
                <a:cubicBezTo>
                  <a:pt x="261" y="100"/>
                  <a:pt x="259" y="94"/>
                  <a:pt x="262" y="90"/>
                </a:cubicBezTo>
                <a:cubicBezTo>
                  <a:pt x="271" y="79"/>
                  <a:pt x="271" y="79"/>
                  <a:pt x="271" y="79"/>
                </a:cubicBezTo>
                <a:cubicBezTo>
                  <a:pt x="257" y="79"/>
                  <a:pt x="257" y="79"/>
                  <a:pt x="257" y="79"/>
                </a:cubicBezTo>
                <a:cubicBezTo>
                  <a:pt x="251" y="79"/>
                  <a:pt x="248" y="74"/>
                  <a:pt x="250" y="69"/>
                </a:cubicBezTo>
                <a:cubicBezTo>
                  <a:pt x="257" y="57"/>
                  <a:pt x="257" y="57"/>
                  <a:pt x="257" y="57"/>
                </a:cubicBezTo>
                <a:cubicBezTo>
                  <a:pt x="243" y="59"/>
                  <a:pt x="243" y="59"/>
                  <a:pt x="243" y="59"/>
                </a:cubicBezTo>
                <a:cubicBezTo>
                  <a:pt x="238" y="60"/>
                  <a:pt x="233" y="56"/>
                  <a:pt x="235" y="51"/>
                </a:cubicBezTo>
                <a:cubicBezTo>
                  <a:pt x="239" y="37"/>
                  <a:pt x="239" y="37"/>
                  <a:pt x="239" y="37"/>
                </a:cubicBezTo>
                <a:cubicBezTo>
                  <a:pt x="226" y="42"/>
                  <a:pt x="226" y="42"/>
                  <a:pt x="226" y="42"/>
                </a:cubicBezTo>
                <a:cubicBezTo>
                  <a:pt x="221" y="44"/>
                  <a:pt x="216" y="40"/>
                  <a:pt x="216" y="35"/>
                </a:cubicBezTo>
                <a:cubicBezTo>
                  <a:pt x="218" y="21"/>
                  <a:pt x="218" y="21"/>
                  <a:pt x="218" y="21"/>
                </a:cubicBezTo>
                <a:cubicBezTo>
                  <a:pt x="206" y="29"/>
                  <a:pt x="206" y="29"/>
                  <a:pt x="206" y="29"/>
                </a:cubicBezTo>
                <a:cubicBezTo>
                  <a:pt x="202" y="32"/>
                  <a:pt x="196" y="29"/>
                  <a:pt x="195" y="24"/>
                </a:cubicBezTo>
                <a:cubicBezTo>
                  <a:pt x="194" y="9"/>
                  <a:pt x="194" y="9"/>
                  <a:pt x="194" y="9"/>
                </a:cubicBezTo>
                <a:cubicBezTo>
                  <a:pt x="184" y="19"/>
                  <a:pt x="184" y="19"/>
                  <a:pt x="184" y="19"/>
                </a:cubicBezTo>
                <a:cubicBezTo>
                  <a:pt x="180" y="23"/>
                  <a:pt x="174" y="21"/>
                  <a:pt x="173" y="16"/>
                </a:cubicBezTo>
                <a:cubicBezTo>
                  <a:pt x="169" y="2"/>
                  <a:pt x="169" y="2"/>
                  <a:pt x="169" y="2"/>
                </a:cubicBezTo>
                <a:cubicBezTo>
                  <a:pt x="160" y="14"/>
                  <a:pt x="160" y="14"/>
                  <a:pt x="160" y="14"/>
                </a:cubicBezTo>
                <a:cubicBezTo>
                  <a:pt x="157" y="18"/>
                  <a:pt x="151" y="17"/>
                  <a:pt x="149" y="13"/>
                </a:cubicBezTo>
                <a:cubicBezTo>
                  <a:pt x="142" y="0"/>
                  <a:pt x="142" y="0"/>
                  <a:pt x="142" y="0"/>
                </a:cubicBezTo>
                <a:cubicBezTo>
                  <a:pt x="136" y="13"/>
                  <a:pt x="136" y="13"/>
                  <a:pt x="136" y="13"/>
                </a:cubicBezTo>
                <a:cubicBezTo>
                  <a:pt x="134" y="17"/>
                  <a:pt x="128" y="18"/>
                  <a:pt x="125" y="14"/>
                </a:cubicBezTo>
                <a:cubicBezTo>
                  <a:pt x="116" y="2"/>
                  <a:pt x="116" y="2"/>
                  <a:pt x="116" y="2"/>
                </a:cubicBezTo>
                <a:cubicBezTo>
                  <a:pt x="112" y="16"/>
                  <a:pt x="112" y="16"/>
                  <a:pt x="112" y="16"/>
                </a:cubicBezTo>
                <a:cubicBezTo>
                  <a:pt x="111" y="21"/>
                  <a:pt x="105" y="23"/>
                  <a:pt x="101" y="19"/>
                </a:cubicBezTo>
                <a:cubicBezTo>
                  <a:pt x="91" y="10"/>
                  <a:pt x="91" y="10"/>
                  <a:pt x="91" y="10"/>
                </a:cubicBezTo>
                <a:cubicBezTo>
                  <a:pt x="90" y="24"/>
                  <a:pt x="90" y="24"/>
                  <a:pt x="90" y="24"/>
                </a:cubicBezTo>
                <a:cubicBezTo>
                  <a:pt x="89" y="29"/>
                  <a:pt x="83" y="32"/>
                  <a:pt x="79" y="29"/>
                </a:cubicBezTo>
                <a:cubicBezTo>
                  <a:pt x="67" y="21"/>
                  <a:pt x="67" y="21"/>
                  <a:pt x="67" y="21"/>
                </a:cubicBezTo>
                <a:cubicBezTo>
                  <a:pt x="69" y="35"/>
                  <a:pt x="69" y="35"/>
                  <a:pt x="69" y="35"/>
                </a:cubicBezTo>
                <a:cubicBezTo>
                  <a:pt x="69" y="41"/>
                  <a:pt x="64" y="45"/>
                  <a:pt x="59" y="43"/>
                </a:cubicBezTo>
                <a:close/>
                <a:moveTo>
                  <a:pt x="99" y="183"/>
                </a:moveTo>
                <a:cubicBezTo>
                  <a:pt x="77" y="159"/>
                  <a:pt x="79" y="121"/>
                  <a:pt x="103" y="99"/>
                </a:cubicBezTo>
                <a:cubicBezTo>
                  <a:pt x="127" y="77"/>
                  <a:pt x="164" y="79"/>
                  <a:pt x="186" y="103"/>
                </a:cubicBezTo>
                <a:cubicBezTo>
                  <a:pt x="208" y="127"/>
                  <a:pt x="207" y="165"/>
                  <a:pt x="183" y="187"/>
                </a:cubicBezTo>
                <a:cubicBezTo>
                  <a:pt x="158" y="209"/>
                  <a:pt x="121" y="207"/>
                  <a:pt x="99" y="183"/>
                </a:cubicBezTo>
                <a:close/>
                <a:moveTo>
                  <a:pt x="211" y="169"/>
                </a:moveTo>
                <a:cubicBezTo>
                  <a:pt x="213" y="165"/>
                  <a:pt x="216" y="163"/>
                  <a:pt x="220" y="163"/>
                </a:cubicBezTo>
                <a:cubicBezTo>
                  <a:pt x="238" y="164"/>
                  <a:pt x="238" y="164"/>
                  <a:pt x="238" y="164"/>
                </a:cubicBezTo>
                <a:cubicBezTo>
                  <a:pt x="244" y="164"/>
                  <a:pt x="248" y="170"/>
                  <a:pt x="247" y="175"/>
                </a:cubicBezTo>
                <a:cubicBezTo>
                  <a:pt x="241" y="193"/>
                  <a:pt x="231" y="210"/>
                  <a:pt x="216" y="223"/>
                </a:cubicBezTo>
                <a:cubicBezTo>
                  <a:pt x="179" y="257"/>
                  <a:pt x="124" y="261"/>
                  <a:pt x="84" y="235"/>
                </a:cubicBezTo>
                <a:cubicBezTo>
                  <a:pt x="79" y="232"/>
                  <a:pt x="78" y="225"/>
                  <a:pt x="83" y="220"/>
                </a:cubicBezTo>
                <a:cubicBezTo>
                  <a:pt x="96" y="208"/>
                  <a:pt x="96" y="208"/>
                  <a:pt x="96" y="208"/>
                </a:cubicBezTo>
                <a:cubicBezTo>
                  <a:pt x="99" y="206"/>
                  <a:pt x="103" y="205"/>
                  <a:pt x="107" y="207"/>
                </a:cubicBezTo>
                <a:cubicBezTo>
                  <a:pt x="133" y="222"/>
                  <a:pt x="168" y="219"/>
                  <a:pt x="192" y="197"/>
                </a:cubicBezTo>
                <a:cubicBezTo>
                  <a:pt x="201" y="189"/>
                  <a:pt x="207" y="179"/>
                  <a:pt x="211" y="169"/>
                </a:cubicBezTo>
                <a:close/>
                <a:moveTo>
                  <a:pt x="175" y="39"/>
                </a:moveTo>
                <a:cubicBezTo>
                  <a:pt x="193" y="45"/>
                  <a:pt x="209" y="55"/>
                  <a:pt x="223" y="70"/>
                </a:cubicBezTo>
                <a:cubicBezTo>
                  <a:pt x="237" y="85"/>
                  <a:pt x="246" y="104"/>
                  <a:pt x="250" y="124"/>
                </a:cubicBezTo>
                <a:cubicBezTo>
                  <a:pt x="251" y="130"/>
                  <a:pt x="246" y="135"/>
                  <a:pt x="240" y="135"/>
                </a:cubicBezTo>
                <a:cubicBezTo>
                  <a:pt x="223" y="134"/>
                  <a:pt x="223" y="134"/>
                  <a:pt x="223" y="134"/>
                </a:cubicBezTo>
                <a:cubicBezTo>
                  <a:pt x="219" y="134"/>
                  <a:pt x="215" y="131"/>
                  <a:pt x="214" y="127"/>
                </a:cubicBezTo>
                <a:cubicBezTo>
                  <a:pt x="211" y="115"/>
                  <a:pt x="206" y="103"/>
                  <a:pt x="197" y="94"/>
                </a:cubicBezTo>
                <a:cubicBezTo>
                  <a:pt x="189" y="85"/>
                  <a:pt x="179" y="78"/>
                  <a:pt x="168" y="74"/>
                </a:cubicBezTo>
                <a:cubicBezTo>
                  <a:pt x="165" y="73"/>
                  <a:pt x="162" y="69"/>
                  <a:pt x="162" y="65"/>
                </a:cubicBezTo>
                <a:cubicBezTo>
                  <a:pt x="163" y="47"/>
                  <a:pt x="163" y="47"/>
                  <a:pt x="163" y="47"/>
                </a:cubicBezTo>
                <a:cubicBezTo>
                  <a:pt x="163" y="41"/>
                  <a:pt x="169" y="37"/>
                  <a:pt x="175" y="39"/>
                </a:cubicBezTo>
                <a:close/>
                <a:moveTo>
                  <a:pt x="123" y="36"/>
                </a:moveTo>
                <a:cubicBezTo>
                  <a:pt x="129" y="35"/>
                  <a:pt x="134" y="39"/>
                  <a:pt x="134" y="45"/>
                </a:cubicBezTo>
                <a:cubicBezTo>
                  <a:pt x="133" y="63"/>
                  <a:pt x="133" y="63"/>
                  <a:pt x="133" y="63"/>
                </a:cubicBezTo>
                <a:cubicBezTo>
                  <a:pt x="133" y="67"/>
                  <a:pt x="130" y="71"/>
                  <a:pt x="126" y="71"/>
                </a:cubicBezTo>
                <a:cubicBezTo>
                  <a:pt x="114" y="74"/>
                  <a:pt x="103" y="80"/>
                  <a:pt x="93" y="89"/>
                </a:cubicBezTo>
                <a:cubicBezTo>
                  <a:pt x="68" y="112"/>
                  <a:pt x="62" y="148"/>
                  <a:pt x="77" y="177"/>
                </a:cubicBezTo>
                <a:cubicBezTo>
                  <a:pt x="79" y="181"/>
                  <a:pt x="78" y="185"/>
                  <a:pt x="75" y="188"/>
                </a:cubicBezTo>
                <a:cubicBezTo>
                  <a:pt x="62" y="200"/>
                  <a:pt x="62" y="200"/>
                  <a:pt x="62" y="200"/>
                </a:cubicBezTo>
                <a:cubicBezTo>
                  <a:pt x="58" y="204"/>
                  <a:pt x="51" y="203"/>
                  <a:pt x="48" y="198"/>
                </a:cubicBezTo>
                <a:cubicBezTo>
                  <a:pt x="23" y="154"/>
                  <a:pt x="31" y="98"/>
                  <a:pt x="69" y="63"/>
                </a:cubicBezTo>
                <a:cubicBezTo>
                  <a:pt x="85" y="48"/>
                  <a:pt x="104" y="39"/>
                  <a:pt x="123" y="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9" name="Freeform 27"/>
          <p:cNvSpPr>
            <a:spLocks noEditPoints="1"/>
          </p:cNvSpPr>
          <p:nvPr/>
        </p:nvSpPr>
        <p:spPr bwMode="auto">
          <a:xfrm>
            <a:off x="14813857" y="6213435"/>
            <a:ext cx="1160602" cy="1165626"/>
          </a:xfrm>
          <a:custGeom>
            <a:avLst/>
            <a:gdLst>
              <a:gd name="T0" fmla="*/ 80 w 486"/>
              <a:gd name="T1" fmla="*/ 86 h 488"/>
              <a:gd name="T2" fmla="*/ 61 w 486"/>
              <a:gd name="T3" fmla="*/ 109 h 488"/>
              <a:gd name="T4" fmla="*/ 18 w 486"/>
              <a:gd name="T5" fmla="*/ 149 h 488"/>
              <a:gd name="T6" fmla="*/ 16 w 486"/>
              <a:gd name="T7" fmla="*/ 198 h 488"/>
              <a:gd name="T8" fmla="*/ 35 w 486"/>
              <a:gd name="T9" fmla="*/ 246 h 488"/>
              <a:gd name="T10" fmla="*/ 17 w 486"/>
              <a:gd name="T11" fmla="*/ 295 h 488"/>
              <a:gd name="T12" fmla="*/ 27 w 486"/>
              <a:gd name="T13" fmla="*/ 328 h 488"/>
              <a:gd name="T14" fmla="*/ 69 w 486"/>
              <a:gd name="T15" fmla="*/ 359 h 488"/>
              <a:gd name="T16" fmla="*/ 64 w 486"/>
              <a:gd name="T17" fmla="*/ 409 h 488"/>
              <a:gd name="T18" fmla="*/ 107 w 486"/>
              <a:gd name="T19" fmla="*/ 431 h 488"/>
              <a:gd name="T20" fmla="*/ 159 w 486"/>
              <a:gd name="T21" fmla="*/ 435 h 488"/>
              <a:gd name="T22" fmla="*/ 181 w 486"/>
              <a:gd name="T23" fmla="*/ 480 h 488"/>
              <a:gd name="T24" fmla="*/ 230 w 486"/>
              <a:gd name="T25" fmla="*/ 475 h 488"/>
              <a:gd name="T26" fmla="*/ 275 w 486"/>
              <a:gd name="T27" fmla="*/ 450 h 488"/>
              <a:gd name="T28" fmla="*/ 319 w 486"/>
              <a:gd name="T29" fmla="*/ 476 h 488"/>
              <a:gd name="T30" fmla="*/ 357 w 486"/>
              <a:gd name="T31" fmla="*/ 446 h 488"/>
              <a:gd name="T32" fmla="*/ 379 w 486"/>
              <a:gd name="T33" fmla="*/ 425 h 488"/>
              <a:gd name="T34" fmla="*/ 432 w 486"/>
              <a:gd name="T35" fmla="*/ 398 h 488"/>
              <a:gd name="T36" fmla="*/ 448 w 486"/>
              <a:gd name="T37" fmla="*/ 352 h 488"/>
              <a:gd name="T38" fmla="*/ 444 w 486"/>
              <a:gd name="T39" fmla="*/ 300 h 488"/>
              <a:gd name="T40" fmla="*/ 475 w 486"/>
              <a:gd name="T41" fmla="*/ 259 h 488"/>
              <a:gd name="T42" fmla="*/ 485 w 486"/>
              <a:gd name="T43" fmla="*/ 212 h 488"/>
              <a:gd name="T44" fmla="*/ 455 w 486"/>
              <a:gd name="T45" fmla="*/ 161 h 488"/>
              <a:gd name="T46" fmla="*/ 441 w 486"/>
              <a:gd name="T47" fmla="*/ 135 h 488"/>
              <a:gd name="T48" fmla="*/ 423 w 486"/>
              <a:gd name="T49" fmla="*/ 79 h 488"/>
              <a:gd name="T50" fmla="*/ 380 w 486"/>
              <a:gd name="T51" fmla="*/ 57 h 488"/>
              <a:gd name="T52" fmla="*/ 330 w 486"/>
              <a:gd name="T53" fmla="*/ 55 h 488"/>
              <a:gd name="T54" fmla="*/ 291 w 486"/>
              <a:gd name="T55" fmla="*/ 17 h 488"/>
              <a:gd name="T56" fmla="*/ 246 w 486"/>
              <a:gd name="T57" fmla="*/ 0 h 488"/>
              <a:gd name="T58" fmla="*/ 192 w 486"/>
              <a:gd name="T59" fmla="*/ 29 h 488"/>
              <a:gd name="T60" fmla="*/ 163 w 486"/>
              <a:gd name="T61" fmla="*/ 32 h 488"/>
              <a:gd name="T62" fmla="*/ 114 w 486"/>
              <a:gd name="T63" fmla="*/ 37 h 488"/>
              <a:gd name="T64" fmla="*/ 93 w 486"/>
              <a:gd name="T65" fmla="*/ 218 h 488"/>
              <a:gd name="T66" fmla="*/ 108 w 486"/>
              <a:gd name="T67" fmla="*/ 315 h 488"/>
              <a:gd name="T68" fmla="*/ 258 w 486"/>
              <a:gd name="T69" fmla="*/ 157 h 488"/>
              <a:gd name="T70" fmla="*/ 210 w 486"/>
              <a:gd name="T71" fmla="*/ 200 h 488"/>
              <a:gd name="T72" fmla="*/ 156 w 486"/>
              <a:gd name="T73" fmla="*/ 229 h 488"/>
              <a:gd name="T74" fmla="*/ 294 w 486"/>
              <a:gd name="T75" fmla="*/ 316 h 488"/>
              <a:gd name="T76" fmla="*/ 228 w 486"/>
              <a:gd name="T77" fmla="*/ 331 h 488"/>
              <a:gd name="T78" fmla="*/ 199 w 486"/>
              <a:gd name="T79" fmla="*/ 277 h 488"/>
              <a:gd name="T80" fmla="*/ 168 w 486"/>
              <a:gd name="T81" fmla="*/ 326 h 488"/>
              <a:gd name="T82" fmla="*/ 311 w 486"/>
              <a:gd name="T83" fmla="*/ 398 h 488"/>
              <a:gd name="T84" fmla="*/ 280 w 486"/>
              <a:gd name="T85" fmla="*/ 349 h 488"/>
              <a:gd name="T86" fmla="*/ 400 w 486"/>
              <a:gd name="T87" fmla="*/ 307 h 488"/>
              <a:gd name="T88" fmla="*/ 344 w 486"/>
              <a:gd name="T89" fmla="*/ 294 h 488"/>
              <a:gd name="T90" fmla="*/ 412 w 486"/>
              <a:gd name="T91" fmla="*/ 250 h 488"/>
              <a:gd name="T92" fmla="*/ 360 w 486"/>
              <a:gd name="T93" fmla="*/ 185 h 488"/>
              <a:gd name="T94" fmla="*/ 321 w 486"/>
              <a:gd name="T95" fmla="*/ 201 h 488"/>
              <a:gd name="T96" fmla="*/ 316 w 486"/>
              <a:gd name="T97" fmla="*/ 193 h 488"/>
              <a:gd name="T98" fmla="*/ 348 w 486"/>
              <a:gd name="T99" fmla="*/ 165 h 488"/>
              <a:gd name="T100" fmla="*/ 312 w 486"/>
              <a:gd name="T101" fmla="*/ 89 h 488"/>
              <a:gd name="T102" fmla="*/ 242 w 486"/>
              <a:gd name="T103" fmla="*/ 132 h 488"/>
              <a:gd name="T104" fmla="*/ 156 w 486"/>
              <a:gd name="T105" fmla="*/ 119 h 488"/>
              <a:gd name="T106" fmla="*/ 98 w 486"/>
              <a:gd name="T107" fmla="*/ 196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86" h="488">
                <a:moveTo>
                  <a:pt x="105" y="43"/>
                </a:moveTo>
                <a:cubicBezTo>
                  <a:pt x="100" y="46"/>
                  <a:pt x="99" y="54"/>
                  <a:pt x="103" y="59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12" y="70"/>
                  <a:pt x="113" y="79"/>
                  <a:pt x="107" y="86"/>
                </a:cubicBezTo>
                <a:cubicBezTo>
                  <a:pt x="100" y="95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3" y="77"/>
                  <a:pt x="65" y="77"/>
                  <a:pt x="61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7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2" y="123"/>
                  <a:pt x="68" y="131"/>
                </a:cubicBezTo>
                <a:cubicBezTo>
                  <a:pt x="64" y="141"/>
                  <a:pt x="51" y="144"/>
                  <a:pt x="42" y="13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3" y="132"/>
                  <a:pt x="25" y="134"/>
                  <a:pt x="22" y="140"/>
                </a:cubicBezTo>
                <a:cubicBezTo>
                  <a:pt x="21" y="143"/>
                  <a:pt x="20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9"/>
                  <a:pt x="45" y="178"/>
                  <a:pt x="43" y="188"/>
                </a:cubicBezTo>
                <a:cubicBezTo>
                  <a:pt x="48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0" y="196"/>
                  <a:pt x="3" y="200"/>
                  <a:pt x="2" y="207"/>
                </a:cubicBezTo>
                <a:cubicBezTo>
                  <a:pt x="2" y="210"/>
                  <a:pt x="1" y="213"/>
                  <a:pt x="1" y="216"/>
                </a:cubicBezTo>
                <a:cubicBezTo>
                  <a:pt x="0" y="223"/>
                  <a:pt x="5" y="229"/>
                  <a:pt x="12" y="229"/>
                </a:cubicBezTo>
                <a:cubicBezTo>
                  <a:pt x="18" y="229"/>
                  <a:pt x="18" y="229"/>
                  <a:pt x="18" y="229"/>
                </a:cubicBezTo>
                <a:cubicBezTo>
                  <a:pt x="27" y="229"/>
                  <a:pt x="35" y="237"/>
                  <a:pt x="35" y="246"/>
                </a:cubicBezTo>
                <a:cubicBezTo>
                  <a:pt x="35" y="256"/>
                  <a:pt x="27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6" y="264"/>
                  <a:pt x="0" y="269"/>
                  <a:pt x="1" y="276"/>
                </a:cubicBezTo>
                <a:cubicBezTo>
                  <a:pt x="2" y="279"/>
                  <a:pt x="2" y="283"/>
                  <a:pt x="3" y="286"/>
                </a:cubicBezTo>
                <a:cubicBezTo>
                  <a:pt x="4" y="292"/>
                  <a:pt x="10" y="296"/>
                  <a:pt x="17" y="295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2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7" y="314"/>
                  <a:pt x="41" y="324"/>
                  <a:pt x="32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1" y="330"/>
                  <a:pt x="17" y="337"/>
                  <a:pt x="20" y="343"/>
                </a:cubicBezTo>
                <a:cubicBezTo>
                  <a:pt x="22" y="346"/>
                  <a:pt x="23" y="349"/>
                  <a:pt x="24" y="352"/>
                </a:cubicBezTo>
                <a:cubicBezTo>
                  <a:pt x="27" y="358"/>
                  <a:pt x="35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1"/>
                  <a:pt x="69" y="359"/>
                </a:cubicBezTo>
                <a:cubicBezTo>
                  <a:pt x="69" y="359"/>
                  <a:pt x="69" y="359"/>
                  <a:pt x="69" y="359"/>
                </a:cubicBezTo>
                <a:cubicBezTo>
                  <a:pt x="74" y="367"/>
                  <a:pt x="72" y="378"/>
                  <a:pt x="64" y="383"/>
                </a:cubicBezTo>
                <a:cubicBezTo>
                  <a:pt x="60" y="385"/>
                  <a:pt x="60" y="385"/>
                  <a:pt x="60" y="385"/>
                </a:cubicBezTo>
                <a:cubicBezTo>
                  <a:pt x="54" y="389"/>
                  <a:pt x="53" y="397"/>
                  <a:pt x="57" y="402"/>
                </a:cubicBezTo>
                <a:cubicBezTo>
                  <a:pt x="59" y="404"/>
                  <a:pt x="61" y="407"/>
                  <a:pt x="64" y="409"/>
                </a:cubicBezTo>
                <a:cubicBezTo>
                  <a:pt x="68" y="414"/>
                  <a:pt x="76" y="414"/>
                  <a:pt x="80" y="409"/>
                </a:cubicBezTo>
                <a:cubicBezTo>
                  <a:pt x="84" y="405"/>
                  <a:pt x="84" y="405"/>
                  <a:pt x="84" y="405"/>
                </a:cubicBezTo>
                <a:cubicBezTo>
                  <a:pt x="89" y="398"/>
                  <a:pt x="99" y="397"/>
                  <a:pt x="106" y="401"/>
                </a:cubicBezTo>
                <a:cubicBezTo>
                  <a:pt x="116" y="407"/>
                  <a:pt x="117" y="420"/>
                  <a:pt x="110" y="428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2" y="450"/>
                  <a:pt x="115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6" y="443"/>
                  <a:pt x="136" y="443"/>
                  <a:pt x="136" y="443"/>
                </a:cubicBezTo>
                <a:cubicBezTo>
                  <a:pt x="140" y="434"/>
                  <a:pt x="150" y="430"/>
                  <a:pt x="159" y="435"/>
                </a:cubicBezTo>
                <a:cubicBezTo>
                  <a:pt x="159" y="435"/>
                  <a:pt x="159" y="435"/>
                  <a:pt x="159" y="435"/>
                </a:cubicBezTo>
                <a:cubicBezTo>
                  <a:pt x="168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6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8" y="482"/>
                  <a:pt x="194" y="478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1"/>
                </a:cubicBezTo>
                <a:cubicBezTo>
                  <a:pt x="225" y="452"/>
                  <a:pt x="232" y="461"/>
                  <a:pt x="231" y="471"/>
                </a:cubicBezTo>
                <a:cubicBezTo>
                  <a:pt x="230" y="475"/>
                  <a:pt x="230" y="475"/>
                  <a:pt x="230" y="475"/>
                </a:cubicBezTo>
                <a:cubicBezTo>
                  <a:pt x="229" y="482"/>
                  <a:pt x="234" y="488"/>
                  <a:pt x="241" y="488"/>
                </a:cubicBezTo>
                <a:cubicBezTo>
                  <a:pt x="244" y="488"/>
                  <a:pt x="247" y="488"/>
                  <a:pt x="250" y="488"/>
                </a:cubicBezTo>
                <a:cubicBezTo>
                  <a:pt x="257" y="488"/>
                  <a:pt x="262" y="482"/>
                  <a:pt x="261" y="475"/>
                </a:cubicBezTo>
                <a:cubicBezTo>
                  <a:pt x="260" y="470"/>
                  <a:pt x="260" y="470"/>
                  <a:pt x="260" y="470"/>
                </a:cubicBezTo>
                <a:cubicBezTo>
                  <a:pt x="259" y="460"/>
                  <a:pt x="266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5" y="449"/>
                  <a:pt x="294" y="455"/>
                  <a:pt x="295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3" y="478"/>
                  <a:pt x="316" y="477"/>
                  <a:pt x="319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6"/>
                  <a:pt x="332" y="433"/>
                </a:cubicBezTo>
                <a:cubicBezTo>
                  <a:pt x="341" y="429"/>
                  <a:pt x="351" y="433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60" y="452"/>
                  <a:pt x="367" y="454"/>
                  <a:pt x="373" y="451"/>
                </a:cubicBezTo>
                <a:cubicBezTo>
                  <a:pt x="373" y="451"/>
                  <a:pt x="373" y="451"/>
                  <a:pt x="373" y="451"/>
                </a:cubicBezTo>
                <a:cubicBezTo>
                  <a:pt x="376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9" y="394"/>
                  <a:pt x="400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4" y="411"/>
                  <a:pt x="421" y="411"/>
                  <a:pt x="426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30" y="382"/>
                </a:cubicBezTo>
                <a:cubicBezTo>
                  <a:pt x="425" y="379"/>
                  <a:pt x="425" y="379"/>
                  <a:pt x="425" y="379"/>
                </a:cubicBezTo>
                <a:cubicBezTo>
                  <a:pt x="417" y="374"/>
                  <a:pt x="414" y="363"/>
                  <a:pt x="420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4" y="356"/>
                  <a:pt x="461" y="354"/>
                  <a:pt x="464" y="348"/>
                </a:cubicBezTo>
                <a:cubicBezTo>
                  <a:pt x="465" y="345"/>
                  <a:pt x="467" y="342"/>
                  <a:pt x="468" y="339"/>
                </a:cubicBezTo>
                <a:cubicBezTo>
                  <a:pt x="471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20"/>
                  <a:pt x="441" y="310"/>
                  <a:pt x="444" y="300"/>
                </a:cubicBezTo>
                <a:cubicBezTo>
                  <a:pt x="439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7" y="292"/>
                  <a:pt x="483" y="288"/>
                  <a:pt x="484" y="281"/>
                </a:cubicBezTo>
                <a:cubicBezTo>
                  <a:pt x="485" y="278"/>
                  <a:pt x="485" y="275"/>
                  <a:pt x="486" y="272"/>
                </a:cubicBezTo>
                <a:cubicBezTo>
                  <a:pt x="486" y="265"/>
                  <a:pt x="481" y="260"/>
                  <a:pt x="475" y="259"/>
                </a:cubicBezTo>
                <a:cubicBezTo>
                  <a:pt x="469" y="259"/>
                  <a:pt x="469" y="259"/>
                  <a:pt x="469" y="259"/>
                </a:cubicBezTo>
                <a:cubicBezTo>
                  <a:pt x="461" y="259"/>
                  <a:pt x="453" y="253"/>
                  <a:pt x="452" y="245"/>
                </a:cubicBezTo>
                <a:cubicBezTo>
                  <a:pt x="450" y="234"/>
                  <a:pt x="459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1" y="224"/>
                  <a:pt x="486" y="219"/>
                  <a:pt x="485" y="212"/>
                </a:cubicBezTo>
                <a:cubicBezTo>
                  <a:pt x="485" y="209"/>
                  <a:pt x="484" y="206"/>
                  <a:pt x="484" y="202"/>
                </a:cubicBezTo>
                <a:cubicBezTo>
                  <a:pt x="482" y="196"/>
                  <a:pt x="476" y="192"/>
                  <a:pt x="470" y="194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4" y="186"/>
                </a:cubicBezTo>
                <a:cubicBezTo>
                  <a:pt x="439" y="176"/>
                  <a:pt x="444" y="164"/>
                  <a:pt x="455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6" y="158"/>
                  <a:pt x="469" y="151"/>
                  <a:pt x="466" y="145"/>
                </a:cubicBezTo>
                <a:cubicBezTo>
                  <a:pt x="465" y="142"/>
                  <a:pt x="464" y="139"/>
                  <a:pt x="462" y="136"/>
                </a:cubicBezTo>
                <a:cubicBezTo>
                  <a:pt x="459" y="130"/>
                  <a:pt x="452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8"/>
                  <a:pt x="417" y="129"/>
                </a:cubicBezTo>
                <a:cubicBezTo>
                  <a:pt x="412" y="121"/>
                  <a:pt x="415" y="110"/>
                  <a:pt x="423" y="105"/>
                </a:cubicBezTo>
                <a:cubicBezTo>
                  <a:pt x="427" y="103"/>
                  <a:pt x="427" y="103"/>
                  <a:pt x="427" y="103"/>
                </a:cubicBezTo>
                <a:cubicBezTo>
                  <a:pt x="432" y="99"/>
                  <a:pt x="434" y="91"/>
                  <a:pt x="429" y="86"/>
                </a:cubicBezTo>
                <a:cubicBezTo>
                  <a:pt x="427" y="84"/>
                  <a:pt x="425" y="81"/>
                  <a:pt x="423" y="79"/>
                </a:cubicBezTo>
                <a:cubicBezTo>
                  <a:pt x="418" y="74"/>
                  <a:pt x="411" y="74"/>
                  <a:pt x="407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8" y="91"/>
                  <a:pt x="380" y="87"/>
                </a:cubicBezTo>
                <a:cubicBezTo>
                  <a:pt x="371" y="81"/>
                  <a:pt x="369" y="68"/>
                  <a:pt x="376" y="60"/>
                </a:cubicBezTo>
                <a:cubicBezTo>
                  <a:pt x="380" y="57"/>
                  <a:pt x="380" y="57"/>
                  <a:pt x="380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5" y="38"/>
                  <a:pt x="372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3"/>
                  <a:pt x="339" y="57"/>
                  <a:pt x="330" y="55"/>
                </a:cubicBezTo>
                <a:cubicBezTo>
                  <a:pt x="320" y="52"/>
                  <a:pt x="315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9" y="6"/>
                  <a:pt x="292" y="11"/>
                  <a:pt x="291" y="17"/>
                </a:cubicBezTo>
                <a:cubicBezTo>
                  <a:pt x="291" y="22"/>
                  <a:pt x="291" y="22"/>
                  <a:pt x="291" y="22"/>
                </a:cubicBezTo>
                <a:cubicBezTo>
                  <a:pt x="289" y="31"/>
                  <a:pt x="282" y="38"/>
                  <a:pt x="274" y="38"/>
                </a:cubicBezTo>
                <a:cubicBezTo>
                  <a:pt x="262" y="38"/>
                  <a:pt x="254" y="28"/>
                  <a:pt x="256" y="18"/>
                </a:cubicBezTo>
                <a:cubicBezTo>
                  <a:pt x="257" y="13"/>
                  <a:pt x="257" y="13"/>
                  <a:pt x="257" y="13"/>
                </a:cubicBezTo>
                <a:cubicBezTo>
                  <a:pt x="258" y="6"/>
                  <a:pt x="253" y="0"/>
                  <a:pt x="246" y="0"/>
                </a:cubicBezTo>
                <a:cubicBezTo>
                  <a:pt x="243" y="0"/>
                  <a:pt x="239" y="0"/>
                  <a:pt x="236" y="0"/>
                </a:cubicBezTo>
                <a:cubicBezTo>
                  <a:pt x="230" y="0"/>
                  <a:pt x="225" y="6"/>
                  <a:pt x="225" y="13"/>
                </a:cubicBezTo>
                <a:cubicBezTo>
                  <a:pt x="226" y="19"/>
                  <a:pt x="226" y="19"/>
                  <a:pt x="226" y="19"/>
                </a:cubicBezTo>
                <a:cubicBezTo>
                  <a:pt x="228" y="28"/>
                  <a:pt x="221" y="37"/>
                  <a:pt x="211" y="38"/>
                </a:cubicBezTo>
                <a:cubicBezTo>
                  <a:pt x="204" y="43"/>
                  <a:pt x="194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1" y="11"/>
                  <a:pt x="168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8" y="42"/>
                  <a:pt x="162" y="54"/>
                  <a:pt x="152" y="57"/>
                </a:cubicBezTo>
                <a:cubicBezTo>
                  <a:pt x="143" y="59"/>
                  <a:pt x="135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7" y="36"/>
                  <a:pt x="119" y="34"/>
                  <a:pt x="114" y="37"/>
                </a:cubicBezTo>
                <a:cubicBezTo>
                  <a:pt x="114" y="37"/>
                  <a:pt x="114" y="37"/>
                  <a:pt x="114" y="37"/>
                </a:cubicBezTo>
                <a:cubicBezTo>
                  <a:pt x="111" y="39"/>
                  <a:pt x="108" y="41"/>
                  <a:pt x="105" y="43"/>
                </a:cubicBezTo>
                <a:close/>
                <a:moveTo>
                  <a:pt x="108" y="315"/>
                </a:moveTo>
                <a:cubicBezTo>
                  <a:pt x="100" y="320"/>
                  <a:pt x="90" y="317"/>
                  <a:pt x="87" y="308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3" y="218"/>
                </a:cubicBezTo>
                <a:cubicBezTo>
                  <a:pt x="114" y="223"/>
                  <a:pt x="114" y="223"/>
                  <a:pt x="114" y="223"/>
                </a:cubicBezTo>
                <a:cubicBezTo>
                  <a:pt x="124" y="225"/>
                  <a:pt x="132" y="235"/>
                  <a:pt x="132" y="245"/>
                </a:cubicBezTo>
                <a:cubicBezTo>
                  <a:pt x="137" y="277"/>
                  <a:pt x="137" y="277"/>
                  <a:pt x="137" y="277"/>
                </a:cubicBezTo>
                <a:cubicBezTo>
                  <a:pt x="140" y="286"/>
                  <a:pt x="135" y="298"/>
                  <a:pt x="127" y="303"/>
                </a:cubicBezTo>
                <a:lnTo>
                  <a:pt x="108" y="315"/>
                </a:lnTo>
                <a:close/>
                <a:moveTo>
                  <a:pt x="258" y="157"/>
                </a:moveTo>
                <a:cubicBezTo>
                  <a:pt x="251" y="189"/>
                  <a:pt x="251" y="189"/>
                  <a:pt x="251" y="189"/>
                </a:cubicBezTo>
                <a:cubicBezTo>
                  <a:pt x="240" y="188"/>
                  <a:pt x="228" y="189"/>
                  <a:pt x="218" y="195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19" y="156"/>
                  <a:pt x="239" y="153"/>
                  <a:pt x="258" y="157"/>
                </a:cubicBezTo>
                <a:close/>
                <a:moveTo>
                  <a:pt x="210" y="200"/>
                </a:moveTo>
                <a:cubicBezTo>
                  <a:pt x="201" y="207"/>
                  <a:pt x="194" y="217"/>
                  <a:pt x="191" y="227"/>
                </a:cubicBezTo>
                <a:cubicBezTo>
                  <a:pt x="158" y="220"/>
                  <a:pt x="158" y="220"/>
                  <a:pt x="158" y="220"/>
                </a:cubicBezTo>
                <a:cubicBezTo>
                  <a:pt x="164" y="201"/>
                  <a:pt x="175" y="184"/>
                  <a:pt x="192" y="172"/>
                </a:cubicBezTo>
                <a:lnTo>
                  <a:pt x="210" y="200"/>
                </a:lnTo>
                <a:close/>
                <a:moveTo>
                  <a:pt x="156" y="229"/>
                </a:moveTo>
                <a:cubicBezTo>
                  <a:pt x="189" y="237"/>
                  <a:pt x="189" y="237"/>
                  <a:pt x="189" y="237"/>
                </a:cubicBezTo>
                <a:cubicBezTo>
                  <a:pt x="187" y="247"/>
                  <a:pt x="189" y="259"/>
                  <a:pt x="194" y="269"/>
                </a:cubicBezTo>
                <a:cubicBezTo>
                  <a:pt x="166" y="287"/>
                  <a:pt x="166" y="287"/>
                  <a:pt x="166" y="287"/>
                </a:cubicBezTo>
                <a:cubicBezTo>
                  <a:pt x="156" y="269"/>
                  <a:pt x="153" y="248"/>
                  <a:pt x="156" y="229"/>
                </a:cubicBezTo>
                <a:close/>
                <a:moveTo>
                  <a:pt x="294" y="316"/>
                </a:moveTo>
                <a:cubicBezTo>
                  <a:pt x="277" y="288"/>
                  <a:pt x="277" y="288"/>
                  <a:pt x="277" y="288"/>
                </a:cubicBezTo>
                <a:cubicBezTo>
                  <a:pt x="286" y="281"/>
                  <a:pt x="293" y="272"/>
                  <a:pt x="296" y="261"/>
                </a:cubicBezTo>
                <a:cubicBezTo>
                  <a:pt x="328" y="269"/>
                  <a:pt x="328" y="269"/>
                  <a:pt x="328" y="269"/>
                </a:cubicBezTo>
                <a:cubicBezTo>
                  <a:pt x="323" y="287"/>
                  <a:pt x="311" y="304"/>
                  <a:pt x="294" y="316"/>
                </a:cubicBezTo>
                <a:close/>
                <a:moveTo>
                  <a:pt x="228" y="331"/>
                </a:moveTo>
                <a:cubicBezTo>
                  <a:pt x="236" y="299"/>
                  <a:pt x="236" y="299"/>
                  <a:pt x="236" y="299"/>
                </a:cubicBezTo>
                <a:cubicBezTo>
                  <a:pt x="247" y="300"/>
                  <a:pt x="258" y="299"/>
                  <a:pt x="268" y="293"/>
                </a:cubicBezTo>
                <a:cubicBezTo>
                  <a:pt x="286" y="322"/>
                  <a:pt x="286" y="322"/>
                  <a:pt x="286" y="322"/>
                </a:cubicBezTo>
                <a:cubicBezTo>
                  <a:pt x="268" y="332"/>
                  <a:pt x="248" y="335"/>
                  <a:pt x="228" y="331"/>
                </a:cubicBezTo>
                <a:close/>
                <a:moveTo>
                  <a:pt x="199" y="277"/>
                </a:moveTo>
                <a:cubicBezTo>
                  <a:pt x="206" y="287"/>
                  <a:pt x="216" y="293"/>
                  <a:pt x="226" y="296"/>
                </a:cubicBezTo>
                <a:cubicBezTo>
                  <a:pt x="219" y="329"/>
                  <a:pt x="219" y="329"/>
                  <a:pt x="219" y="329"/>
                </a:cubicBezTo>
                <a:cubicBezTo>
                  <a:pt x="200" y="324"/>
                  <a:pt x="183" y="312"/>
                  <a:pt x="171" y="295"/>
                </a:cubicBezTo>
                <a:lnTo>
                  <a:pt x="199" y="277"/>
                </a:lnTo>
                <a:close/>
                <a:moveTo>
                  <a:pt x="181" y="401"/>
                </a:move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39" y="323"/>
                  <a:pt x="139" y="323"/>
                  <a:pt x="139" y="323"/>
                </a:cubicBezTo>
                <a:cubicBezTo>
                  <a:pt x="148" y="318"/>
                  <a:pt x="160" y="319"/>
                  <a:pt x="168" y="326"/>
                </a:cubicBezTo>
                <a:cubicBezTo>
                  <a:pt x="194" y="344"/>
                  <a:pt x="194" y="344"/>
                  <a:pt x="194" y="344"/>
                </a:cubicBezTo>
                <a:cubicBezTo>
                  <a:pt x="203" y="348"/>
                  <a:pt x="208" y="360"/>
                  <a:pt x="206" y="369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199" y="400"/>
                  <a:pt x="190" y="405"/>
                  <a:pt x="181" y="401"/>
                </a:cubicBezTo>
                <a:close/>
                <a:moveTo>
                  <a:pt x="311" y="398"/>
                </a:moveTo>
                <a:cubicBezTo>
                  <a:pt x="238" y="413"/>
                  <a:pt x="238" y="413"/>
                  <a:pt x="238" y="413"/>
                </a:cubicBezTo>
                <a:cubicBezTo>
                  <a:pt x="228" y="413"/>
                  <a:pt x="221" y="405"/>
                  <a:pt x="224" y="396"/>
                </a:cubicBezTo>
                <a:cubicBezTo>
                  <a:pt x="229" y="374"/>
                  <a:pt x="229" y="374"/>
                  <a:pt x="229" y="374"/>
                </a:cubicBezTo>
                <a:cubicBezTo>
                  <a:pt x="231" y="364"/>
                  <a:pt x="241" y="356"/>
                  <a:pt x="251" y="355"/>
                </a:cubicBezTo>
                <a:cubicBezTo>
                  <a:pt x="280" y="349"/>
                  <a:pt x="280" y="349"/>
                  <a:pt x="280" y="349"/>
                </a:cubicBezTo>
                <a:cubicBezTo>
                  <a:pt x="289" y="346"/>
                  <a:pt x="301" y="350"/>
                  <a:pt x="307" y="358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4" y="385"/>
                  <a:pt x="320" y="395"/>
                  <a:pt x="311" y="398"/>
                </a:cubicBezTo>
                <a:close/>
                <a:moveTo>
                  <a:pt x="390" y="286"/>
                </a:moveTo>
                <a:cubicBezTo>
                  <a:pt x="400" y="289"/>
                  <a:pt x="404" y="298"/>
                  <a:pt x="400" y="307"/>
                </a:cubicBezTo>
                <a:cubicBezTo>
                  <a:pt x="359" y="366"/>
                  <a:pt x="359" y="366"/>
                  <a:pt x="359" y="366"/>
                </a:cubicBezTo>
                <a:cubicBezTo>
                  <a:pt x="353" y="374"/>
                  <a:pt x="343" y="373"/>
                  <a:pt x="338" y="364"/>
                </a:cubicBezTo>
                <a:cubicBezTo>
                  <a:pt x="326" y="345"/>
                  <a:pt x="326" y="345"/>
                  <a:pt x="326" y="345"/>
                </a:cubicBezTo>
                <a:cubicBezTo>
                  <a:pt x="321" y="337"/>
                  <a:pt x="322" y="324"/>
                  <a:pt x="328" y="317"/>
                </a:cubicBezTo>
                <a:cubicBezTo>
                  <a:pt x="344" y="294"/>
                  <a:pt x="344" y="294"/>
                  <a:pt x="344" y="294"/>
                </a:cubicBezTo>
                <a:cubicBezTo>
                  <a:pt x="348" y="285"/>
                  <a:pt x="359" y="279"/>
                  <a:pt x="369" y="281"/>
                </a:cubicBezTo>
                <a:lnTo>
                  <a:pt x="390" y="286"/>
                </a:lnTo>
                <a:close/>
                <a:moveTo>
                  <a:pt x="379" y="173"/>
                </a:moveTo>
                <a:cubicBezTo>
                  <a:pt x="387" y="168"/>
                  <a:pt x="396" y="171"/>
                  <a:pt x="400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60"/>
                  <a:pt x="405" y="266"/>
                  <a:pt x="395" y="264"/>
                </a:cubicBezTo>
                <a:cubicBezTo>
                  <a:pt x="373" y="259"/>
                  <a:pt x="373" y="259"/>
                  <a:pt x="373" y="259"/>
                </a:cubicBezTo>
                <a:cubicBezTo>
                  <a:pt x="364" y="256"/>
                  <a:pt x="355" y="247"/>
                  <a:pt x="355" y="237"/>
                </a:cubicBezTo>
                <a:cubicBezTo>
                  <a:pt x="350" y="211"/>
                  <a:pt x="350" y="211"/>
                  <a:pt x="350" y="211"/>
                </a:cubicBezTo>
                <a:cubicBezTo>
                  <a:pt x="347" y="202"/>
                  <a:pt x="352" y="190"/>
                  <a:pt x="360" y="185"/>
                </a:cubicBezTo>
                <a:lnTo>
                  <a:pt x="379" y="173"/>
                </a:lnTo>
                <a:close/>
                <a:moveTo>
                  <a:pt x="331" y="259"/>
                </a:moveTo>
                <a:cubicBezTo>
                  <a:pt x="298" y="252"/>
                  <a:pt x="298" y="252"/>
                  <a:pt x="298" y="252"/>
                </a:cubicBezTo>
                <a:cubicBezTo>
                  <a:pt x="300" y="241"/>
                  <a:pt x="298" y="229"/>
                  <a:pt x="293" y="219"/>
                </a:cubicBezTo>
                <a:cubicBezTo>
                  <a:pt x="321" y="201"/>
                  <a:pt x="321" y="201"/>
                  <a:pt x="321" y="201"/>
                </a:cubicBezTo>
                <a:cubicBezTo>
                  <a:pt x="331" y="219"/>
                  <a:pt x="334" y="240"/>
                  <a:pt x="331" y="259"/>
                </a:cubicBezTo>
                <a:close/>
                <a:moveTo>
                  <a:pt x="287" y="210"/>
                </a:moveTo>
                <a:cubicBezTo>
                  <a:pt x="280" y="201"/>
                  <a:pt x="271" y="195"/>
                  <a:pt x="260" y="191"/>
                </a:cubicBezTo>
                <a:cubicBezTo>
                  <a:pt x="268" y="159"/>
                  <a:pt x="268" y="159"/>
                  <a:pt x="268" y="159"/>
                </a:cubicBezTo>
                <a:cubicBezTo>
                  <a:pt x="287" y="164"/>
                  <a:pt x="304" y="176"/>
                  <a:pt x="316" y="193"/>
                </a:cubicBezTo>
                <a:lnTo>
                  <a:pt x="287" y="210"/>
                </a:lnTo>
                <a:close/>
                <a:moveTo>
                  <a:pt x="312" y="89"/>
                </a:moveTo>
                <a:cubicBezTo>
                  <a:pt x="369" y="131"/>
                  <a:pt x="369" y="131"/>
                  <a:pt x="369" y="131"/>
                </a:cubicBezTo>
                <a:cubicBezTo>
                  <a:pt x="376" y="138"/>
                  <a:pt x="375" y="148"/>
                  <a:pt x="366" y="153"/>
                </a:cubicBezTo>
                <a:cubicBezTo>
                  <a:pt x="348" y="165"/>
                  <a:pt x="348" y="165"/>
                  <a:pt x="348" y="165"/>
                </a:cubicBezTo>
                <a:cubicBezTo>
                  <a:pt x="339" y="170"/>
                  <a:pt x="326" y="169"/>
                  <a:pt x="319" y="162"/>
                </a:cubicBezTo>
                <a:cubicBezTo>
                  <a:pt x="299" y="147"/>
                  <a:pt x="299" y="147"/>
                  <a:pt x="299" y="147"/>
                </a:cubicBezTo>
                <a:cubicBezTo>
                  <a:pt x="290" y="142"/>
                  <a:pt x="284" y="130"/>
                  <a:pt x="287" y="121"/>
                </a:cubicBezTo>
                <a:cubicBezTo>
                  <a:pt x="292" y="99"/>
                  <a:pt x="292" y="99"/>
                  <a:pt x="292" y="99"/>
                </a:cubicBezTo>
                <a:cubicBezTo>
                  <a:pt x="294" y="89"/>
                  <a:pt x="303" y="85"/>
                  <a:pt x="312" y="89"/>
                </a:cubicBezTo>
                <a:close/>
                <a:moveTo>
                  <a:pt x="184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4" y="115"/>
                  <a:pt x="264" y="115"/>
                  <a:pt x="264" y="115"/>
                </a:cubicBezTo>
                <a:cubicBezTo>
                  <a:pt x="262" y="124"/>
                  <a:pt x="252" y="132"/>
                  <a:pt x="242" y="132"/>
                </a:cubicBezTo>
                <a:cubicBezTo>
                  <a:pt x="215" y="136"/>
                  <a:pt x="215" y="136"/>
                  <a:pt x="215" y="136"/>
                </a:cubicBezTo>
                <a:cubicBezTo>
                  <a:pt x="205" y="139"/>
                  <a:pt x="193" y="134"/>
                  <a:pt x="188" y="126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1" y="98"/>
                  <a:pt x="174" y="89"/>
                  <a:pt x="184" y="86"/>
                </a:cubicBezTo>
                <a:close/>
                <a:moveTo>
                  <a:pt x="156" y="119"/>
                </a:moveTo>
                <a:cubicBezTo>
                  <a:pt x="168" y="137"/>
                  <a:pt x="168" y="137"/>
                  <a:pt x="168" y="137"/>
                </a:cubicBezTo>
                <a:cubicBezTo>
                  <a:pt x="173" y="146"/>
                  <a:pt x="172" y="158"/>
                  <a:pt x="165" y="165"/>
                </a:cubicBezTo>
                <a:cubicBezTo>
                  <a:pt x="146" y="189"/>
                  <a:pt x="146" y="189"/>
                  <a:pt x="146" y="189"/>
                </a:cubicBezTo>
                <a:cubicBezTo>
                  <a:pt x="141" y="198"/>
                  <a:pt x="130" y="203"/>
                  <a:pt x="120" y="201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9" y="194"/>
                  <a:pt x="84" y="184"/>
                  <a:pt x="89" y="17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1" y="109"/>
                  <a:pt x="151" y="110"/>
                  <a:pt x="156" y="11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" name="Freeform 31"/>
          <p:cNvSpPr>
            <a:spLocks noEditPoints="1"/>
          </p:cNvSpPr>
          <p:nvPr/>
        </p:nvSpPr>
        <p:spPr bwMode="auto">
          <a:xfrm>
            <a:off x="8707641" y="6213435"/>
            <a:ext cx="958550" cy="955110"/>
          </a:xfrm>
          <a:custGeom>
            <a:avLst/>
            <a:gdLst>
              <a:gd name="T0" fmla="*/ 59 w 351"/>
              <a:gd name="T1" fmla="*/ 80 h 350"/>
              <a:gd name="T2" fmla="*/ 22 w 351"/>
              <a:gd name="T3" fmla="*/ 90 h 350"/>
              <a:gd name="T4" fmla="*/ 20 w 351"/>
              <a:gd name="T5" fmla="*/ 126 h 350"/>
              <a:gd name="T6" fmla="*/ 11 w 351"/>
              <a:gd name="T7" fmla="*/ 146 h 350"/>
              <a:gd name="T8" fmla="*/ 9 w 351"/>
              <a:gd name="T9" fmla="*/ 171 h 350"/>
              <a:gd name="T10" fmla="*/ 14 w 351"/>
              <a:gd name="T11" fmla="*/ 193 h 350"/>
              <a:gd name="T12" fmla="*/ 9 w 351"/>
              <a:gd name="T13" fmla="*/ 228 h 350"/>
              <a:gd name="T14" fmla="*/ 43 w 351"/>
              <a:gd name="T15" fmla="*/ 243 h 350"/>
              <a:gd name="T16" fmla="*/ 31 w 351"/>
              <a:gd name="T17" fmla="*/ 273 h 350"/>
              <a:gd name="T18" fmla="*/ 67 w 351"/>
              <a:gd name="T19" fmla="*/ 278 h 350"/>
              <a:gd name="T20" fmla="*/ 70 w 351"/>
              <a:gd name="T21" fmla="*/ 315 h 350"/>
              <a:gd name="T22" fmla="*/ 105 w 351"/>
              <a:gd name="T23" fmla="*/ 322 h 350"/>
              <a:gd name="T24" fmla="*/ 124 w 351"/>
              <a:gd name="T25" fmla="*/ 334 h 350"/>
              <a:gd name="T26" fmla="*/ 150 w 351"/>
              <a:gd name="T27" fmla="*/ 336 h 350"/>
              <a:gd name="T28" fmla="*/ 171 w 351"/>
              <a:gd name="T29" fmla="*/ 342 h 350"/>
              <a:gd name="T30" fmla="*/ 196 w 351"/>
              <a:gd name="T31" fmla="*/ 341 h 350"/>
              <a:gd name="T32" fmla="*/ 217 w 351"/>
              <a:gd name="T33" fmla="*/ 333 h 350"/>
              <a:gd name="T34" fmla="*/ 253 w 351"/>
              <a:gd name="T35" fmla="*/ 333 h 350"/>
              <a:gd name="T36" fmla="*/ 263 w 351"/>
              <a:gd name="T37" fmla="*/ 297 h 350"/>
              <a:gd name="T38" fmla="*/ 294 w 351"/>
              <a:gd name="T39" fmla="*/ 305 h 350"/>
              <a:gd name="T40" fmla="*/ 294 w 351"/>
              <a:gd name="T41" fmla="*/ 268 h 350"/>
              <a:gd name="T42" fmla="*/ 329 w 351"/>
              <a:gd name="T43" fmla="*/ 261 h 350"/>
              <a:gd name="T44" fmla="*/ 331 w 351"/>
              <a:gd name="T45" fmla="*/ 225 h 350"/>
              <a:gd name="T46" fmla="*/ 340 w 351"/>
              <a:gd name="T47" fmla="*/ 204 h 350"/>
              <a:gd name="T48" fmla="*/ 342 w 351"/>
              <a:gd name="T49" fmla="*/ 179 h 350"/>
              <a:gd name="T50" fmla="*/ 337 w 351"/>
              <a:gd name="T51" fmla="*/ 157 h 350"/>
              <a:gd name="T52" fmla="*/ 342 w 351"/>
              <a:gd name="T53" fmla="*/ 122 h 350"/>
              <a:gd name="T54" fmla="*/ 310 w 351"/>
              <a:gd name="T55" fmla="*/ 109 h 350"/>
              <a:gd name="T56" fmla="*/ 316 w 351"/>
              <a:gd name="T57" fmla="*/ 71 h 350"/>
              <a:gd name="T58" fmla="*/ 284 w 351"/>
              <a:gd name="T59" fmla="*/ 54 h 350"/>
              <a:gd name="T60" fmla="*/ 269 w 351"/>
              <a:gd name="T61" fmla="*/ 38 h 350"/>
              <a:gd name="T62" fmla="*/ 247 w 351"/>
              <a:gd name="T63" fmla="*/ 25 h 350"/>
              <a:gd name="T64" fmla="*/ 226 w 351"/>
              <a:gd name="T65" fmla="*/ 20 h 350"/>
              <a:gd name="T66" fmla="*/ 195 w 351"/>
              <a:gd name="T67" fmla="*/ 1 h 350"/>
              <a:gd name="T68" fmla="*/ 170 w 351"/>
              <a:gd name="T69" fmla="*/ 25 h 350"/>
              <a:gd name="T70" fmla="*/ 138 w 351"/>
              <a:gd name="T71" fmla="*/ 3 h 350"/>
              <a:gd name="T72" fmla="*/ 111 w 351"/>
              <a:gd name="T73" fmla="*/ 29 h 350"/>
              <a:gd name="T74" fmla="*/ 89 w 351"/>
              <a:gd name="T75" fmla="*/ 32 h 350"/>
              <a:gd name="T76" fmla="*/ 69 w 351"/>
              <a:gd name="T77" fmla="*/ 47 h 350"/>
              <a:gd name="T78" fmla="*/ 215 w 351"/>
              <a:gd name="T79" fmla="*/ 283 h 350"/>
              <a:gd name="T80" fmla="*/ 215 w 351"/>
              <a:gd name="T81" fmla="*/ 283 h 350"/>
              <a:gd name="T82" fmla="*/ 258 w 351"/>
              <a:gd name="T83" fmla="*/ 213 h 350"/>
              <a:gd name="T84" fmla="*/ 215 w 351"/>
              <a:gd name="T85" fmla="*/ 229 h 350"/>
              <a:gd name="T86" fmla="*/ 115 w 351"/>
              <a:gd name="T87" fmla="*/ 172 h 350"/>
              <a:gd name="T88" fmla="*/ 82 w 351"/>
              <a:gd name="T89" fmla="*/ 221 h 350"/>
              <a:gd name="T90" fmla="*/ 82 w 351"/>
              <a:gd name="T91" fmla="*/ 221 h 350"/>
              <a:gd name="T92" fmla="*/ 130 w 351"/>
              <a:gd name="T93" fmla="*/ 227 h 350"/>
              <a:gd name="T94" fmla="*/ 137 w 351"/>
              <a:gd name="T95" fmla="*/ 257 h 350"/>
              <a:gd name="T96" fmla="*/ 165 w 351"/>
              <a:gd name="T97" fmla="*/ 242 h 350"/>
              <a:gd name="T98" fmla="*/ 251 w 351"/>
              <a:gd name="T99" fmla="*/ 177 h 350"/>
              <a:gd name="T100" fmla="*/ 251 w 351"/>
              <a:gd name="T101" fmla="*/ 177 h 350"/>
              <a:gd name="T102" fmla="*/ 261 w 351"/>
              <a:gd name="T103" fmla="*/ 143 h 350"/>
              <a:gd name="T104" fmla="*/ 219 w 351"/>
              <a:gd name="T105" fmla="*/ 133 h 350"/>
              <a:gd name="T106" fmla="*/ 200 w 351"/>
              <a:gd name="T107" fmla="*/ 204 h 350"/>
              <a:gd name="T108" fmla="*/ 224 w 351"/>
              <a:gd name="T109" fmla="*/ 69 h 350"/>
              <a:gd name="T110" fmla="*/ 224 w 351"/>
              <a:gd name="T111" fmla="*/ 69 h 350"/>
              <a:gd name="T112" fmla="*/ 169 w 351"/>
              <a:gd name="T113" fmla="*/ 106 h 350"/>
              <a:gd name="T114" fmla="*/ 123 w 351"/>
              <a:gd name="T115" fmla="*/ 130 h 350"/>
              <a:gd name="T116" fmla="*/ 70 w 351"/>
              <a:gd name="T117" fmla="*/ 125 h 350"/>
              <a:gd name="T118" fmla="*/ 135 w 351"/>
              <a:gd name="T119" fmla="*/ 65 h 350"/>
              <a:gd name="T120" fmla="*/ 135 w 351"/>
              <a:gd name="T121" fmla="*/ 65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1" h="350">
                <a:moveTo>
                  <a:pt x="52" y="50"/>
                </a:moveTo>
                <a:cubicBezTo>
                  <a:pt x="48" y="53"/>
                  <a:pt x="49" y="59"/>
                  <a:pt x="52" y="62"/>
                </a:cubicBezTo>
                <a:cubicBezTo>
                  <a:pt x="55" y="64"/>
                  <a:pt x="55" y="64"/>
                  <a:pt x="55" y="64"/>
                </a:cubicBezTo>
                <a:cubicBezTo>
                  <a:pt x="60" y="68"/>
                  <a:pt x="62" y="75"/>
                  <a:pt x="59" y="80"/>
                </a:cubicBezTo>
                <a:cubicBezTo>
                  <a:pt x="55" y="87"/>
                  <a:pt x="46" y="89"/>
                  <a:pt x="40" y="84"/>
                </a:cubicBezTo>
                <a:cubicBezTo>
                  <a:pt x="37" y="82"/>
                  <a:pt x="37" y="82"/>
                  <a:pt x="37" y="82"/>
                </a:cubicBezTo>
                <a:cubicBezTo>
                  <a:pt x="33" y="79"/>
                  <a:pt x="28" y="79"/>
                  <a:pt x="25" y="84"/>
                </a:cubicBezTo>
                <a:cubicBezTo>
                  <a:pt x="24" y="86"/>
                  <a:pt x="23" y="88"/>
                  <a:pt x="22" y="90"/>
                </a:cubicBezTo>
                <a:cubicBezTo>
                  <a:pt x="19" y="94"/>
                  <a:pt x="21" y="99"/>
                  <a:pt x="26" y="101"/>
                </a:cubicBezTo>
                <a:cubicBezTo>
                  <a:pt x="29" y="102"/>
                  <a:pt x="29" y="102"/>
                  <a:pt x="29" y="102"/>
                </a:cubicBezTo>
                <a:cubicBezTo>
                  <a:pt x="35" y="105"/>
                  <a:pt x="38" y="111"/>
                  <a:pt x="37" y="117"/>
                </a:cubicBezTo>
                <a:cubicBezTo>
                  <a:pt x="35" y="125"/>
                  <a:pt x="27" y="129"/>
                  <a:pt x="20" y="126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2" y="122"/>
                  <a:pt x="7" y="125"/>
                  <a:pt x="6" y="129"/>
                </a:cubicBezTo>
                <a:cubicBezTo>
                  <a:pt x="5" y="132"/>
                  <a:pt x="5" y="134"/>
                  <a:pt x="4" y="136"/>
                </a:cubicBezTo>
                <a:cubicBezTo>
                  <a:pt x="3" y="141"/>
                  <a:pt x="6" y="145"/>
                  <a:pt x="11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22" y="147"/>
                  <a:pt x="27" y="154"/>
                  <a:pt x="26" y="160"/>
                </a:cubicBezTo>
                <a:cubicBezTo>
                  <a:pt x="31" y="165"/>
                  <a:pt x="27" y="173"/>
                  <a:pt x="20" y="172"/>
                </a:cubicBezTo>
                <a:cubicBezTo>
                  <a:pt x="9" y="171"/>
                  <a:pt x="9" y="171"/>
                  <a:pt x="9" y="171"/>
                </a:cubicBezTo>
                <a:cubicBezTo>
                  <a:pt x="4" y="170"/>
                  <a:pt x="0" y="174"/>
                  <a:pt x="0" y="179"/>
                </a:cubicBezTo>
                <a:cubicBezTo>
                  <a:pt x="0" y="181"/>
                  <a:pt x="0" y="184"/>
                  <a:pt x="1" y="186"/>
                </a:cubicBezTo>
                <a:cubicBezTo>
                  <a:pt x="1" y="191"/>
                  <a:pt x="5" y="194"/>
                  <a:pt x="10" y="193"/>
                </a:cubicBezTo>
                <a:cubicBezTo>
                  <a:pt x="14" y="193"/>
                  <a:pt x="14" y="193"/>
                  <a:pt x="14" y="193"/>
                </a:cubicBezTo>
                <a:cubicBezTo>
                  <a:pt x="21" y="192"/>
                  <a:pt x="27" y="196"/>
                  <a:pt x="29" y="203"/>
                </a:cubicBezTo>
                <a:cubicBezTo>
                  <a:pt x="30" y="210"/>
                  <a:pt x="25" y="216"/>
                  <a:pt x="18" y="218"/>
                </a:cubicBezTo>
                <a:cubicBezTo>
                  <a:pt x="15" y="218"/>
                  <a:pt x="15" y="218"/>
                  <a:pt x="15" y="218"/>
                </a:cubicBezTo>
                <a:cubicBezTo>
                  <a:pt x="10" y="219"/>
                  <a:pt x="7" y="224"/>
                  <a:pt x="9" y="228"/>
                </a:cubicBezTo>
                <a:cubicBezTo>
                  <a:pt x="9" y="231"/>
                  <a:pt x="10" y="233"/>
                  <a:pt x="11" y="235"/>
                </a:cubicBezTo>
                <a:cubicBezTo>
                  <a:pt x="13" y="239"/>
                  <a:pt x="18" y="241"/>
                  <a:pt x="22" y="239"/>
                </a:cubicBezTo>
                <a:cubicBezTo>
                  <a:pt x="26" y="238"/>
                  <a:pt x="26" y="238"/>
                  <a:pt x="26" y="238"/>
                </a:cubicBezTo>
                <a:cubicBezTo>
                  <a:pt x="32" y="235"/>
                  <a:pt x="40" y="237"/>
                  <a:pt x="43" y="243"/>
                </a:cubicBezTo>
                <a:cubicBezTo>
                  <a:pt x="43" y="243"/>
                  <a:pt x="43" y="243"/>
                  <a:pt x="43" y="243"/>
                </a:cubicBezTo>
                <a:cubicBezTo>
                  <a:pt x="46" y="250"/>
                  <a:pt x="43" y="257"/>
                  <a:pt x="37" y="260"/>
                </a:cubicBezTo>
                <a:cubicBezTo>
                  <a:pt x="34" y="262"/>
                  <a:pt x="34" y="262"/>
                  <a:pt x="34" y="262"/>
                </a:cubicBezTo>
                <a:cubicBezTo>
                  <a:pt x="29" y="264"/>
                  <a:pt x="28" y="269"/>
                  <a:pt x="31" y="273"/>
                </a:cubicBezTo>
                <a:cubicBezTo>
                  <a:pt x="32" y="275"/>
                  <a:pt x="33" y="277"/>
                  <a:pt x="35" y="279"/>
                </a:cubicBezTo>
                <a:cubicBezTo>
                  <a:pt x="38" y="283"/>
                  <a:pt x="43" y="283"/>
                  <a:pt x="47" y="280"/>
                </a:cubicBezTo>
                <a:cubicBezTo>
                  <a:pt x="50" y="277"/>
                  <a:pt x="50" y="277"/>
                  <a:pt x="50" y="277"/>
                </a:cubicBezTo>
                <a:cubicBezTo>
                  <a:pt x="55" y="273"/>
                  <a:pt x="63" y="273"/>
                  <a:pt x="67" y="278"/>
                </a:cubicBezTo>
                <a:cubicBezTo>
                  <a:pt x="72" y="283"/>
                  <a:pt x="72" y="291"/>
                  <a:pt x="67" y="29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61" y="302"/>
                  <a:pt x="61" y="307"/>
                  <a:pt x="65" y="310"/>
                </a:cubicBezTo>
                <a:cubicBezTo>
                  <a:pt x="66" y="312"/>
                  <a:pt x="68" y="313"/>
                  <a:pt x="70" y="315"/>
                </a:cubicBezTo>
                <a:cubicBezTo>
                  <a:pt x="74" y="318"/>
                  <a:pt x="79" y="316"/>
                  <a:pt x="82" y="312"/>
                </a:cubicBezTo>
                <a:cubicBezTo>
                  <a:pt x="84" y="309"/>
                  <a:pt x="84" y="309"/>
                  <a:pt x="84" y="309"/>
                </a:cubicBezTo>
                <a:cubicBezTo>
                  <a:pt x="87" y="304"/>
                  <a:pt x="93" y="301"/>
                  <a:pt x="99" y="304"/>
                </a:cubicBezTo>
                <a:cubicBezTo>
                  <a:pt x="107" y="307"/>
                  <a:pt x="109" y="315"/>
                  <a:pt x="105" y="322"/>
                </a:cubicBezTo>
                <a:cubicBezTo>
                  <a:pt x="104" y="325"/>
                  <a:pt x="104" y="325"/>
                  <a:pt x="104" y="325"/>
                </a:cubicBezTo>
                <a:cubicBezTo>
                  <a:pt x="101" y="329"/>
                  <a:pt x="103" y="334"/>
                  <a:pt x="107" y="336"/>
                </a:cubicBezTo>
                <a:cubicBezTo>
                  <a:pt x="109" y="337"/>
                  <a:pt x="112" y="338"/>
                  <a:pt x="114" y="339"/>
                </a:cubicBezTo>
                <a:cubicBezTo>
                  <a:pt x="118" y="341"/>
                  <a:pt x="123" y="338"/>
                  <a:pt x="124" y="334"/>
                </a:cubicBezTo>
                <a:cubicBezTo>
                  <a:pt x="125" y="330"/>
                  <a:pt x="125" y="330"/>
                  <a:pt x="125" y="330"/>
                </a:cubicBezTo>
                <a:cubicBezTo>
                  <a:pt x="127" y="323"/>
                  <a:pt x="134" y="319"/>
                  <a:pt x="141" y="321"/>
                </a:cubicBezTo>
                <a:cubicBezTo>
                  <a:pt x="141" y="321"/>
                  <a:pt x="141" y="321"/>
                  <a:pt x="141" y="321"/>
                </a:cubicBezTo>
                <a:cubicBezTo>
                  <a:pt x="147" y="322"/>
                  <a:pt x="151" y="329"/>
                  <a:pt x="150" y="336"/>
                </a:cubicBezTo>
                <a:cubicBezTo>
                  <a:pt x="149" y="339"/>
                  <a:pt x="149" y="339"/>
                  <a:pt x="149" y="339"/>
                </a:cubicBezTo>
                <a:cubicBezTo>
                  <a:pt x="148" y="344"/>
                  <a:pt x="151" y="349"/>
                  <a:pt x="156" y="349"/>
                </a:cubicBezTo>
                <a:cubicBezTo>
                  <a:pt x="158" y="350"/>
                  <a:pt x="160" y="350"/>
                  <a:pt x="163" y="350"/>
                </a:cubicBezTo>
                <a:cubicBezTo>
                  <a:pt x="167" y="350"/>
                  <a:pt x="171" y="347"/>
                  <a:pt x="171" y="342"/>
                </a:cubicBezTo>
                <a:cubicBezTo>
                  <a:pt x="171" y="338"/>
                  <a:pt x="171" y="338"/>
                  <a:pt x="171" y="338"/>
                </a:cubicBezTo>
                <a:cubicBezTo>
                  <a:pt x="171" y="331"/>
                  <a:pt x="176" y="325"/>
                  <a:pt x="183" y="325"/>
                </a:cubicBezTo>
                <a:cubicBezTo>
                  <a:pt x="190" y="325"/>
                  <a:pt x="196" y="330"/>
                  <a:pt x="196" y="337"/>
                </a:cubicBezTo>
                <a:cubicBezTo>
                  <a:pt x="196" y="341"/>
                  <a:pt x="196" y="341"/>
                  <a:pt x="196" y="341"/>
                </a:cubicBezTo>
                <a:cubicBezTo>
                  <a:pt x="196" y="345"/>
                  <a:pt x="201" y="349"/>
                  <a:pt x="205" y="348"/>
                </a:cubicBezTo>
                <a:cubicBezTo>
                  <a:pt x="208" y="348"/>
                  <a:pt x="210" y="347"/>
                  <a:pt x="212" y="347"/>
                </a:cubicBezTo>
                <a:cubicBezTo>
                  <a:pt x="217" y="346"/>
                  <a:pt x="220" y="341"/>
                  <a:pt x="218" y="337"/>
                </a:cubicBezTo>
                <a:cubicBezTo>
                  <a:pt x="217" y="333"/>
                  <a:pt x="217" y="333"/>
                  <a:pt x="217" y="333"/>
                </a:cubicBezTo>
                <a:cubicBezTo>
                  <a:pt x="215" y="326"/>
                  <a:pt x="218" y="319"/>
                  <a:pt x="225" y="317"/>
                </a:cubicBezTo>
                <a:cubicBezTo>
                  <a:pt x="232" y="315"/>
                  <a:pt x="239" y="318"/>
                  <a:pt x="241" y="325"/>
                </a:cubicBezTo>
                <a:cubicBezTo>
                  <a:pt x="242" y="328"/>
                  <a:pt x="242" y="328"/>
                  <a:pt x="242" y="328"/>
                </a:cubicBezTo>
                <a:cubicBezTo>
                  <a:pt x="243" y="333"/>
                  <a:pt x="249" y="335"/>
                  <a:pt x="253" y="333"/>
                </a:cubicBezTo>
                <a:cubicBezTo>
                  <a:pt x="255" y="332"/>
                  <a:pt x="257" y="331"/>
                  <a:pt x="259" y="330"/>
                </a:cubicBezTo>
                <a:cubicBezTo>
                  <a:pt x="263" y="328"/>
                  <a:pt x="265" y="322"/>
                  <a:pt x="262" y="318"/>
                </a:cubicBezTo>
                <a:cubicBezTo>
                  <a:pt x="260" y="315"/>
                  <a:pt x="260" y="315"/>
                  <a:pt x="260" y="315"/>
                </a:cubicBezTo>
                <a:cubicBezTo>
                  <a:pt x="256" y="309"/>
                  <a:pt x="257" y="301"/>
                  <a:pt x="263" y="297"/>
                </a:cubicBezTo>
                <a:cubicBezTo>
                  <a:pt x="269" y="294"/>
                  <a:pt x="276" y="295"/>
                  <a:pt x="280" y="301"/>
                </a:cubicBezTo>
                <a:cubicBezTo>
                  <a:pt x="282" y="304"/>
                  <a:pt x="282" y="304"/>
                  <a:pt x="282" y="304"/>
                </a:cubicBezTo>
                <a:cubicBezTo>
                  <a:pt x="285" y="308"/>
                  <a:pt x="291" y="308"/>
                  <a:pt x="294" y="305"/>
                </a:cubicBezTo>
                <a:cubicBezTo>
                  <a:pt x="294" y="305"/>
                  <a:pt x="294" y="305"/>
                  <a:pt x="294" y="305"/>
                </a:cubicBezTo>
                <a:cubicBezTo>
                  <a:pt x="296" y="304"/>
                  <a:pt x="298" y="302"/>
                  <a:pt x="299" y="300"/>
                </a:cubicBezTo>
                <a:cubicBezTo>
                  <a:pt x="303" y="297"/>
                  <a:pt x="302" y="292"/>
                  <a:pt x="299" y="289"/>
                </a:cubicBezTo>
                <a:cubicBezTo>
                  <a:pt x="295" y="286"/>
                  <a:pt x="295" y="286"/>
                  <a:pt x="295" y="286"/>
                </a:cubicBezTo>
                <a:cubicBezTo>
                  <a:pt x="290" y="281"/>
                  <a:pt x="289" y="273"/>
                  <a:pt x="294" y="268"/>
                </a:cubicBezTo>
                <a:cubicBezTo>
                  <a:pt x="298" y="263"/>
                  <a:pt x="306" y="262"/>
                  <a:pt x="311" y="266"/>
                </a:cubicBezTo>
                <a:cubicBezTo>
                  <a:pt x="314" y="269"/>
                  <a:pt x="314" y="269"/>
                  <a:pt x="314" y="269"/>
                </a:cubicBezTo>
                <a:cubicBezTo>
                  <a:pt x="318" y="272"/>
                  <a:pt x="323" y="271"/>
                  <a:pt x="326" y="267"/>
                </a:cubicBezTo>
                <a:cubicBezTo>
                  <a:pt x="327" y="265"/>
                  <a:pt x="328" y="263"/>
                  <a:pt x="329" y="261"/>
                </a:cubicBezTo>
                <a:cubicBezTo>
                  <a:pt x="331" y="256"/>
                  <a:pt x="330" y="251"/>
                  <a:pt x="325" y="249"/>
                </a:cubicBezTo>
                <a:cubicBezTo>
                  <a:pt x="321" y="248"/>
                  <a:pt x="321" y="248"/>
                  <a:pt x="321" y="248"/>
                </a:cubicBezTo>
                <a:cubicBezTo>
                  <a:pt x="315" y="245"/>
                  <a:pt x="312" y="238"/>
                  <a:pt x="315" y="231"/>
                </a:cubicBezTo>
                <a:cubicBezTo>
                  <a:pt x="317" y="225"/>
                  <a:pt x="325" y="222"/>
                  <a:pt x="331" y="225"/>
                </a:cubicBezTo>
                <a:cubicBezTo>
                  <a:pt x="334" y="226"/>
                  <a:pt x="334" y="226"/>
                  <a:pt x="334" y="226"/>
                </a:cubicBezTo>
                <a:cubicBezTo>
                  <a:pt x="339" y="228"/>
                  <a:pt x="344" y="225"/>
                  <a:pt x="345" y="221"/>
                </a:cubicBezTo>
                <a:cubicBezTo>
                  <a:pt x="346" y="218"/>
                  <a:pt x="346" y="216"/>
                  <a:pt x="347" y="214"/>
                </a:cubicBezTo>
                <a:cubicBezTo>
                  <a:pt x="348" y="209"/>
                  <a:pt x="345" y="205"/>
                  <a:pt x="340" y="204"/>
                </a:cubicBezTo>
                <a:cubicBezTo>
                  <a:pt x="336" y="204"/>
                  <a:pt x="336" y="204"/>
                  <a:pt x="336" y="204"/>
                </a:cubicBezTo>
                <a:cubicBezTo>
                  <a:pt x="329" y="203"/>
                  <a:pt x="324" y="197"/>
                  <a:pt x="325" y="190"/>
                </a:cubicBezTo>
                <a:cubicBezTo>
                  <a:pt x="320" y="185"/>
                  <a:pt x="324" y="177"/>
                  <a:pt x="331" y="178"/>
                </a:cubicBezTo>
                <a:cubicBezTo>
                  <a:pt x="342" y="179"/>
                  <a:pt x="342" y="179"/>
                  <a:pt x="342" y="179"/>
                </a:cubicBezTo>
                <a:cubicBezTo>
                  <a:pt x="347" y="180"/>
                  <a:pt x="351" y="176"/>
                  <a:pt x="351" y="171"/>
                </a:cubicBezTo>
                <a:cubicBezTo>
                  <a:pt x="351" y="169"/>
                  <a:pt x="351" y="166"/>
                  <a:pt x="350" y="164"/>
                </a:cubicBezTo>
                <a:cubicBezTo>
                  <a:pt x="350" y="159"/>
                  <a:pt x="346" y="156"/>
                  <a:pt x="341" y="157"/>
                </a:cubicBezTo>
                <a:cubicBezTo>
                  <a:pt x="337" y="157"/>
                  <a:pt x="337" y="157"/>
                  <a:pt x="337" y="157"/>
                </a:cubicBezTo>
                <a:cubicBezTo>
                  <a:pt x="331" y="158"/>
                  <a:pt x="325" y="155"/>
                  <a:pt x="323" y="149"/>
                </a:cubicBezTo>
                <a:cubicBezTo>
                  <a:pt x="320" y="142"/>
                  <a:pt x="325" y="134"/>
                  <a:pt x="333" y="133"/>
                </a:cubicBezTo>
                <a:cubicBezTo>
                  <a:pt x="336" y="132"/>
                  <a:pt x="336" y="132"/>
                  <a:pt x="336" y="132"/>
                </a:cubicBezTo>
                <a:cubicBezTo>
                  <a:pt x="341" y="131"/>
                  <a:pt x="344" y="127"/>
                  <a:pt x="342" y="122"/>
                </a:cubicBezTo>
                <a:cubicBezTo>
                  <a:pt x="341" y="120"/>
                  <a:pt x="341" y="117"/>
                  <a:pt x="340" y="115"/>
                </a:cubicBezTo>
                <a:cubicBezTo>
                  <a:pt x="338" y="111"/>
                  <a:pt x="333" y="109"/>
                  <a:pt x="329" y="111"/>
                </a:cubicBezTo>
                <a:cubicBezTo>
                  <a:pt x="325" y="113"/>
                  <a:pt x="325" y="113"/>
                  <a:pt x="325" y="113"/>
                </a:cubicBezTo>
                <a:cubicBezTo>
                  <a:pt x="320" y="115"/>
                  <a:pt x="313" y="114"/>
                  <a:pt x="310" y="109"/>
                </a:cubicBezTo>
                <a:cubicBezTo>
                  <a:pt x="305" y="102"/>
                  <a:pt x="307" y="93"/>
                  <a:pt x="314" y="90"/>
                </a:cubicBezTo>
                <a:cubicBezTo>
                  <a:pt x="317" y="88"/>
                  <a:pt x="317" y="88"/>
                  <a:pt x="317" y="88"/>
                </a:cubicBezTo>
                <a:cubicBezTo>
                  <a:pt x="321" y="86"/>
                  <a:pt x="323" y="81"/>
                  <a:pt x="320" y="77"/>
                </a:cubicBezTo>
                <a:cubicBezTo>
                  <a:pt x="319" y="75"/>
                  <a:pt x="317" y="73"/>
                  <a:pt x="316" y="71"/>
                </a:cubicBezTo>
                <a:cubicBezTo>
                  <a:pt x="313" y="67"/>
                  <a:pt x="308" y="67"/>
                  <a:pt x="304" y="70"/>
                </a:cubicBezTo>
                <a:cubicBezTo>
                  <a:pt x="301" y="73"/>
                  <a:pt x="301" y="73"/>
                  <a:pt x="301" y="73"/>
                </a:cubicBezTo>
                <a:cubicBezTo>
                  <a:pt x="296" y="78"/>
                  <a:pt x="288" y="77"/>
                  <a:pt x="283" y="72"/>
                </a:cubicBezTo>
                <a:cubicBezTo>
                  <a:pt x="279" y="67"/>
                  <a:pt x="279" y="59"/>
                  <a:pt x="284" y="54"/>
                </a:cubicBezTo>
                <a:cubicBezTo>
                  <a:pt x="287" y="52"/>
                  <a:pt x="287" y="52"/>
                  <a:pt x="287" y="52"/>
                </a:cubicBezTo>
                <a:cubicBezTo>
                  <a:pt x="290" y="49"/>
                  <a:pt x="290" y="43"/>
                  <a:pt x="286" y="40"/>
                </a:cubicBezTo>
                <a:cubicBezTo>
                  <a:pt x="285" y="38"/>
                  <a:pt x="283" y="37"/>
                  <a:pt x="281" y="36"/>
                </a:cubicBezTo>
                <a:cubicBezTo>
                  <a:pt x="277" y="33"/>
                  <a:pt x="272" y="34"/>
                  <a:pt x="269" y="38"/>
                </a:cubicBezTo>
                <a:cubicBezTo>
                  <a:pt x="267" y="41"/>
                  <a:pt x="267" y="41"/>
                  <a:pt x="267" y="41"/>
                </a:cubicBezTo>
                <a:cubicBezTo>
                  <a:pt x="264" y="46"/>
                  <a:pt x="258" y="49"/>
                  <a:pt x="252" y="47"/>
                </a:cubicBezTo>
                <a:cubicBezTo>
                  <a:pt x="244" y="44"/>
                  <a:pt x="242" y="35"/>
                  <a:pt x="246" y="28"/>
                </a:cubicBezTo>
                <a:cubicBezTo>
                  <a:pt x="247" y="25"/>
                  <a:pt x="247" y="25"/>
                  <a:pt x="247" y="25"/>
                </a:cubicBezTo>
                <a:cubicBezTo>
                  <a:pt x="250" y="21"/>
                  <a:pt x="248" y="16"/>
                  <a:pt x="244" y="14"/>
                </a:cubicBezTo>
                <a:cubicBezTo>
                  <a:pt x="241" y="13"/>
                  <a:pt x="239" y="12"/>
                  <a:pt x="237" y="11"/>
                </a:cubicBezTo>
                <a:cubicBezTo>
                  <a:pt x="233" y="10"/>
                  <a:pt x="228" y="12"/>
                  <a:pt x="227" y="17"/>
                </a:cubicBezTo>
                <a:cubicBezTo>
                  <a:pt x="226" y="20"/>
                  <a:pt x="226" y="20"/>
                  <a:pt x="226" y="20"/>
                </a:cubicBezTo>
                <a:cubicBezTo>
                  <a:pt x="224" y="26"/>
                  <a:pt x="218" y="31"/>
                  <a:pt x="212" y="30"/>
                </a:cubicBezTo>
                <a:cubicBezTo>
                  <a:pt x="204" y="29"/>
                  <a:pt x="199" y="22"/>
                  <a:pt x="201" y="14"/>
                </a:cubicBezTo>
                <a:cubicBezTo>
                  <a:pt x="202" y="11"/>
                  <a:pt x="202" y="11"/>
                  <a:pt x="202" y="11"/>
                </a:cubicBezTo>
                <a:cubicBezTo>
                  <a:pt x="203" y="6"/>
                  <a:pt x="200" y="1"/>
                  <a:pt x="195" y="1"/>
                </a:cubicBezTo>
                <a:cubicBezTo>
                  <a:pt x="193" y="1"/>
                  <a:pt x="191" y="0"/>
                  <a:pt x="188" y="0"/>
                </a:cubicBezTo>
                <a:cubicBezTo>
                  <a:pt x="184" y="0"/>
                  <a:pt x="180" y="4"/>
                  <a:pt x="180" y="8"/>
                </a:cubicBezTo>
                <a:cubicBezTo>
                  <a:pt x="180" y="12"/>
                  <a:pt x="180" y="12"/>
                  <a:pt x="180" y="12"/>
                </a:cubicBezTo>
                <a:cubicBezTo>
                  <a:pt x="180" y="18"/>
                  <a:pt x="176" y="24"/>
                  <a:pt x="170" y="25"/>
                </a:cubicBezTo>
                <a:cubicBezTo>
                  <a:pt x="162" y="27"/>
                  <a:pt x="155" y="21"/>
                  <a:pt x="155" y="13"/>
                </a:cubicBezTo>
                <a:cubicBezTo>
                  <a:pt x="155" y="10"/>
                  <a:pt x="155" y="10"/>
                  <a:pt x="155" y="10"/>
                </a:cubicBezTo>
                <a:cubicBezTo>
                  <a:pt x="155" y="5"/>
                  <a:pt x="150" y="1"/>
                  <a:pt x="145" y="2"/>
                </a:cubicBezTo>
                <a:cubicBezTo>
                  <a:pt x="143" y="2"/>
                  <a:pt x="141" y="3"/>
                  <a:pt x="138" y="3"/>
                </a:cubicBezTo>
                <a:cubicBezTo>
                  <a:pt x="134" y="4"/>
                  <a:pt x="131" y="9"/>
                  <a:pt x="133" y="13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36" y="24"/>
                  <a:pt x="132" y="31"/>
                  <a:pt x="126" y="33"/>
                </a:cubicBezTo>
                <a:cubicBezTo>
                  <a:pt x="121" y="38"/>
                  <a:pt x="113" y="36"/>
                  <a:pt x="111" y="29"/>
                </a:cubicBezTo>
                <a:cubicBezTo>
                  <a:pt x="109" y="22"/>
                  <a:pt x="109" y="22"/>
                  <a:pt x="109" y="22"/>
                </a:cubicBezTo>
                <a:cubicBezTo>
                  <a:pt x="107" y="17"/>
                  <a:pt x="102" y="15"/>
                  <a:pt x="98" y="17"/>
                </a:cubicBezTo>
                <a:cubicBezTo>
                  <a:pt x="96" y="18"/>
                  <a:pt x="94" y="19"/>
                  <a:pt x="92" y="20"/>
                </a:cubicBezTo>
                <a:cubicBezTo>
                  <a:pt x="88" y="23"/>
                  <a:pt x="86" y="28"/>
                  <a:pt x="89" y="32"/>
                </a:cubicBezTo>
                <a:cubicBezTo>
                  <a:pt x="91" y="35"/>
                  <a:pt x="91" y="35"/>
                  <a:pt x="91" y="35"/>
                </a:cubicBezTo>
                <a:cubicBezTo>
                  <a:pt x="96" y="42"/>
                  <a:pt x="93" y="51"/>
                  <a:pt x="86" y="54"/>
                </a:cubicBezTo>
                <a:cubicBezTo>
                  <a:pt x="81" y="56"/>
                  <a:pt x="74" y="54"/>
                  <a:pt x="70" y="49"/>
                </a:cubicBezTo>
                <a:cubicBezTo>
                  <a:pt x="69" y="47"/>
                  <a:pt x="69" y="47"/>
                  <a:pt x="69" y="47"/>
                </a:cubicBezTo>
                <a:cubicBezTo>
                  <a:pt x="66" y="43"/>
                  <a:pt x="60" y="42"/>
                  <a:pt x="57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55" y="47"/>
                  <a:pt x="53" y="48"/>
                  <a:pt x="52" y="50"/>
                </a:cubicBezTo>
                <a:close/>
                <a:moveTo>
                  <a:pt x="215" y="283"/>
                </a:moveTo>
                <a:cubicBezTo>
                  <a:pt x="208" y="285"/>
                  <a:pt x="201" y="282"/>
                  <a:pt x="199" y="275"/>
                </a:cubicBezTo>
                <a:cubicBezTo>
                  <a:pt x="197" y="269"/>
                  <a:pt x="200" y="262"/>
                  <a:pt x="207" y="260"/>
                </a:cubicBezTo>
                <a:cubicBezTo>
                  <a:pt x="213" y="258"/>
                  <a:pt x="220" y="261"/>
                  <a:pt x="222" y="267"/>
                </a:cubicBezTo>
                <a:cubicBezTo>
                  <a:pt x="224" y="274"/>
                  <a:pt x="221" y="281"/>
                  <a:pt x="215" y="283"/>
                </a:cubicBezTo>
                <a:close/>
                <a:moveTo>
                  <a:pt x="274" y="207"/>
                </a:moveTo>
                <a:cubicBezTo>
                  <a:pt x="280" y="210"/>
                  <a:pt x="283" y="217"/>
                  <a:pt x="280" y="223"/>
                </a:cubicBezTo>
                <a:cubicBezTo>
                  <a:pt x="277" y="229"/>
                  <a:pt x="270" y="232"/>
                  <a:pt x="264" y="229"/>
                </a:cubicBezTo>
                <a:cubicBezTo>
                  <a:pt x="258" y="226"/>
                  <a:pt x="255" y="219"/>
                  <a:pt x="258" y="213"/>
                </a:cubicBezTo>
                <a:cubicBezTo>
                  <a:pt x="261" y="206"/>
                  <a:pt x="268" y="204"/>
                  <a:pt x="274" y="207"/>
                </a:cubicBezTo>
                <a:close/>
                <a:moveTo>
                  <a:pt x="227" y="219"/>
                </a:moveTo>
                <a:cubicBezTo>
                  <a:pt x="230" y="222"/>
                  <a:pt x="230" y="227"/>
                  <a:pt x="227" y="230"/>
                </a:cubicBezTo>
                <a:cubicBezTo>
                  <a:pt x="224" y="233"/>
                  <a:pt x="218" y="233"/>
                  <a:pt x="215" y="229"/>
                </a:cubicBezTo>
                <a:cubicBezTo>
                  <a:pt x="213" y="226"/>
                  <a:pt x="213" y="221"/>
                  <a:pt x="216" y="218"/>
                </a:cubicBezTo>
                <a:cubicBezTo>
                  <a:pt x="219" y="215"/>
                  <a:pt x="224" y="215"/>
                  <a:pt x="227" y="219"/>
                </a:cubicBezTo>
                <a:close/>
                <a:moveTo>
                  <a:pt x="107" y="164"/>
                </a:moveTo>
                <a:cubicBezTo>
                  <a:pt x="111" y="164"/>
                  <a:pt x="115" y="168"/>
                  <a:pt x="115" y="172"/>
                </a:cubicBezTo>
                <a:cubicBezTo>
                  <a:pt x="114" y="176"/>
                  <a:pt x="111" y="180"/>
                  <a:pt x="106" y="180"/>
                </a:cubicBezTo>
                <a:cubicBezTo>
                  <a:pt x="102" y="179"/>
                  <a:pt x="99" y="176"/>
                  <a:pt x="99" y="171"/>
                </a:cubicBezTo>
                <a:cubicBezTo>
                  <a:pt x="99" y="167"/>
                  <a:pt x="103" y="164"/>
                  <a:pt x="107" y="164"/>
                </a:cubicBezTo>
                <a:close/>
                <a:moveTo>
                  <a:pt x="82" y="221"/>
                </a:moveTo>
                <a:cubicBezTo>
                  <a:pt x="75" y="223"/>
                  <a:pt x="68" y="220"/>
                  <a:pt x="66" y="214"/>
                </a:cubicBezTo>
                <a:cubicBezTo>
                  <a:pt x="64" y="208"/>
                  <a:pt x="67" y="201"/>
                  <a:pt x="74" y="198"/>
                </a:cubicBezTo>
                <a:cubicBezTo>
                  <a:pt x="80" y="196"/>
                  <a:pt x="87" y="199"/>
                  <a:pt x="89" y="206"/>
                </a:cubicBezTo>
                <a:cubicBezTo>
                  <a:pt x="91" y="212"/>
                  <a:pt x="88" y="219"/>
                  <a:pt x="82" y="221"/>
                </a:cubicBezTo>
                <a:close/>
                <a:moveTo>
                  <a:pt x="119" y="226"/>
                </a:moveTo>
                <a:cubicBezTo>
                  <a:pt x="116" y="223"/>
                  <a:pt x="116" y="218"/>
                  <a:pt x="120" y="215"/>
                </a:cubicBezTo>
                <a:cubicBezTo>
                  <a:pt x="123" y="212"/>
                  <a:pt x="128" y="212"/>
                  <a:pt x="131" y="215"/>
                </a:cubicBezTo>
                <a:cubicBezTo>
                  <a:pt x="134" y="219"/>
                  <a:pt x="134" y="224"/>
                  <a:pt x="130" y="227"/>
                </a:cubicBezTo>
                <a:cubicBezTo>
                  <a:pt x="127" y="229"/>
                  <a:pt x="122" y="229"/>
                  <a:pt x="119" y="226"/>
                </a:cubicBezTo>
                <a:close/>
                <a:moveTo>
                  <a:pt x="126" y="279"/>
                </a:moveTo>
                <a:cubicBezTo>
                  <a:pt x="120" y="276"/>
                  <a:pt x="118" y="269"/>
                  <a:pt x="120" y="263"/>
                </a:cubicBezTo>
                <a:cubicBezTo>
                  <a:pt x="123" y="257"/>
                  <a:pt x="131" y="254"/>
                  <a:pt x="137" y="257"/>
                </a:cubicBezTo>
                <a:cubicBezTo>
                  <a:pt x="143" y="260"/>
                  <a:pt x="145" y="267"/>
                  <a:pt x="142" y="273"/>
                </a:cubicBezTo>
                <a:cubicBezTo>
                  <a:pt x="139" y="279"/>
                  <a:pt x="132" y="282"/>
                  <a:pt x="126" y="279"/>
                </a:cubicBezTo>
                <a:close/>
                <a:moveTo>
                  <a:pt x="172" y="250"/>
                </a:moveTo>
                <a:cubicBezTo>
                  <a:pt x="168" y="250"/>
                  <a:pt x="164" y="246"/>
                  <a:pt x="165" y="242"/>
                </a:cubicBezTo>
                <a:cubicBezTo>
                  <a:pt x="165" y="238"/>
                  <a:pt x="168" y="234"/>
                  <a:pt x="173" y="234"/>
                </a:cubicBezTo>
                <a:cubicBezTo>
                  <a:pt x="177" y="235"/>
                  <a:pt x="181" y="238"/>
                  <a:pt x="180" y="243"/>
                </a:cubicBezTo>
                <a:cubicBezTo>
                  <a:pt x="180" y="247"/>
                  <a:pt x="177" y="250"/>
                  <a:pt x="172" y="250"/>
                </a:cubicBezTo>
                <a:close/>
                <a:moveTo>
                  <a:pt x="251" y="177"/>
                </a:moveTo>
                <a:cubicBezTo>
                  <a:pt x="251" y="181"/>
                  <a:pt x="247" y="185"/>
                  <a:pt x="243" y="185"/>
                </a:cubicBezTo>
                <a:cubicBezTo>
                  <a:pt x="238" y="184"/>
                  <a:pt x="235" y="181"/>
                  <a:pt x="235" y="176"/>
                </a:cubicBezTo>
                <a:cubicBezTo>
                  <a:pt x="235" y="172"/>
                  <a:pt x="239" y="168"/>
                  <a:pt x="243" y="169"/>
                </a:cubicBezTo>
                <a:cubicBezTo>
                  <a:pt x="248" y="169"/>
                  <a:pt x="251" y="173"/>
                  <a:pt x="251" y="177"/>
                </a:cubicBezTo>
                <a:close/>
                <a:moveTo>
                  <a:pt x="268" y="127"/>
                </a:moveTo>
                <a:cubicBezTo>
                  <a:pt x="274" y="125"/>
                  <a:pt x="281" y="128"/>
                  <a:pt x="284" y="134"/>
                </a:cubicBezTo>
                <a:cubicBezTo>
                  <a:pt x="286" y="141"/>
                  <a:pt x="283" y="148"/>
                  <a:pt x="276" y="150"/>
                </a:cubicBezTo>
                <a:cubicBezTo>
                  <a:pt x="270" y="152"/>
                  <a:pt x="263" y="149"/>
                  <a:pt x="261" y="143"/>
                </a:cubicBezTo>
                <a:cubicBezTo>
                  <a:pt x="259" y="136"/>
                  <a:pt x="262" y="129"/>
                  <a:pt x="268" y="127"/>
                </a:cubicBezTo>
                <a:close/>
                <a:moveTo>
                  <a:pt x="231" y="122"/>
                </a:moveTo>
                <a:cubicBezTo>
                  <a:pt x="234" y="126"/>
                  <a:pt x="233" y="131"/>
                  <a:pt x="230" y="134"/>
                </a:cubicBezTo>
                <a:cubicBezTo>
                  <a:pt x="227" y="137"/>
                  <a:pt x="222" y="136"/>
                  <a:pt x="219" y="133"/>
                </a:cubicBezTo>
                <a:cubicBezTo>
                  <a:pt x="216" y="130"/>
                  <a:pt x="216" y="125"/>
                  <a:pt x="219" y="122"/>
                </a:cubicBezTo>
                <a:cubicBezTo>
                  <a:pt x="223" y="119"/>
                  <a:pt x="228" y="119"/>
                  <a:pt x="231" y="122"/>
                </a:cubicBezTo>
                <a:close/>
                <a:moveTo>
                  <a:pt x="202" y="150"/>
                </a:moveTo>
                <a:cubicBezTo>
                  <a:pt x="216" y="166"/>
                  <a:pt x="215" y="190"/>
                  <a:pt x="200" y="204"/>
                </a:cubicBezTo>
                <a:cubicBezTo>
                  <a:pt x="184" y="218"/>
                  <a:pt x="160" y="217"/>
                  <a:pt x="146" y="202"/>
                </a:cubicBezTo>
                <a:cubicBezTo>
                  <a:pt x="132" y="186"/>
                  <a:pt x="133" y="162"/>
                  <a:pt x="148" y="148"/>
                </a:cubicBezTo>
                <a:cubicBezTo>
                  <a:pt x="164" y="134"/>
                  <a:pt x="188" y="135"/>
                  <a:pt x="202" y="150"/>
                </a:cubicBezTo>
                <a:close/>
                <a:moveTo>
                  <a:pt x="224" y="69"/>
                </a:moveTo>
                <a:cubicBezTo>
                  <a:pt x="230" y="72"/>
                  <a:pt x="232" y="79"/>
                  <a:pt x="229" y="85"/>
                </a:cubicBezTo>
                <a:cubicBezTo>
                  <a:pt x="227" y="91"/>
                  <a:pt x="219" y="94"/>
                  <a:pt x="213" y="91"/>
                </a:cubicBezTo>
                <a:cubicBezTo>
                  <a:pt x="207" y="88"/>
                  <a:pt x="205" y="81"/>
                  <a:pt x="208" y="75"/>
                </a:cubicBezTo>
                <a:cubicBezTo>
                  <a:pt x="210" y="69"/>
                  <a:pt x="218" y="66"/>
                  <a:pt x="224" y="69"/>
                </a:cubicBezTo>
                <a:close/>
                <a:moveTo>
                  <a:pt x="178" y="98"/>
                </a:moveTo>
                <a:cubicBezTo>
                  <a:pt x="182" y="98"/>
                  <a:pt x="185" y="102"/>
                  <a:pt x="185" y="106"/>
                </a:cubicBezTo>
                <a:cubicBezTo>
                  <a:pt x="185" y="111"/>
                  <a:pt x="181" y="114"/>
                  <a:pt x="177" y="114"/>
                </a:cubicBezTo>
                <a:cubicBezTo>
                  <a:pt x="173" y="114"/>
                  <a:pt x="169" y="110"/>
                  <a:pt x="169" y="106"/>
                </a:cubicBezTo>
                <a:cubicBezTo>
                  <a:pt x="170" y="101"/>
                  <a:pt x="173" y="98"/>
                  <a:pt x="178" y="98"/>
                </a:cubicBezTo>
                <a:close/>
                <a:moveTo>
                  <a:pt x="134" y="119"/>
                </a:moveTo>
                <a:cubicBezTo>
                  <a:pt x="137" y="122"/>
                  <a:pt x="137" y="127"/>
                  <a:pt x="134" y="130"/>
                </a:cubicBezTo>
                <a:cubicBezTo>
                  <a:pt x="131" y="133"/>
                  <a:pt x="126" y="133"/>
                  <a:pt x="123" y="130"/>
                </a:cubicBezTo>
                <a:cubicBezTo>
                  <a:pt x="120" y="126"/>
                  <a:pt x="120" y="121"/>
                  <a:pt x="123" y="118"/>
                </a:cubicBezTo>
                <a:cubicBezTo>
                  <a:pt x="126" y="115"/>
                  <a:pt x="131" y="116"/>
                  <a:pt x="134" y="119"/>
                </a:cubicBezTo>
                <a:close/>
                <a:moveTo>
                  <a:pt x="76" y="142"/>
                </a:moveTo>
                <a:cubicBezTo>
                  <a:pt x="70" y="139"/>
                  <a:pt x="67" y="131"/>
                  <a:pt x="70" y="125"/>
                </a:cubicBezTo>
                <a:cubicBezTo>
                  <a:pt x="73" y="119"/>
                  <a:pt x="80" y="117"/>
                  <a:pt x="86" y="120"/>
                </a:cubicBezTo>
                <a:cubicBezTo>
                  <a:pt x="92" y="123"/>
                  <a:pt x="95" y="130"/>
                  <a:pt x="92" y="136"/>
                </a:cubicBezTo>
                <a:cubicBezTo>
                  <a:pt x="89" y="142"/>
                  <a:pt x="82" y="144"/>
                  <a:pt x="76" y="142"/>
                </a:cubicBezTo>
                <a:close/>
                <a:moveTo>
                  <a:pt x="135" y="65"/>
                </a:moveTo>
                <a:cubicBezTo>
                  <a:pt x="141" y="63"/>
                  <a:pt x="148" y="67"/>
                  <a:pt x="151" y="73"/>
                </a:cubicBezTo>
                <a:cubicBezTo>
                  <a:pt x="153" y="79"/>
                  <a:pt x="150" y="86"/>
                  <a:pt x="143" y="88"/>
                </a:cubicBezTo>
                <a:cubicBezTo>
                  <a:pt x="137" y="91"/>
                  <a:pt x="130" y="87"/>
                  <a:pt x="128" y="81"/>
                </a:cubicBezTo>
                <a:cubicBezTo>
                  <a:pt x="126" y="75"/>
                  <a:pt x="129" y="68"/>
                  <a:pt x="135" y="6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6" name="Freeform 10"/>
          <p:cNvSpPr>
            <a:spLocks noEditPoints="1"/>
          </p:cNvSpPr>
          <p:nvPr/>
        </p:nvSpPr>
        <p:spPr bwMode="auto">
          <a:xfrm rot="289285">
            <a:off x="7503840" y="2678722"/>
            <a:ext cx="3366152" cy="3366152"/>
          </a:xfrm>
          <a:custGeom>
            <a:avLst/>
            <a:gdLst>
              <a:gd name="T0" fmla="*/ 528 w 530"/>
              <a:gd name="T1" fmla="*/ 233 h 530"/>
              <a:gd name="T2" fmla="*/ 516 w 530"/>
              <a:gd name="T3" fmla="*/ 179 h 530"/>
              <a:gd name="T4" fmla="*/ 505 w 530"/>
              <a:gd name="T5" fmla="*/ 152 h 530"/>
              <a:gd name="T6" fmla="*/ 484 w 530"/>
              <a:gd name="T7" fmla="*/ 115 h 530"/>
              <a:gd name="T8" fmla="*/ 450 w 530"/>
              <a:gd name="T9" fmla="*/ 108 h 530"/>
              <a:gd name="T10" fmla="*/ 449 w 530"/>
              <a:gd name="T11" fmla="*/ 72 h 530"/>
              <a:gd name="T12" fmla="*/ 415 w 530"/>
              <a:gd name="T13" fmla="*/ 47 h 530"/>
              <a:gd name="T14" fmla="*/ 391 w 530"/>
              <a:gd name="T15" fmla="*/ 32 h 530"/>
              <a:gd name="T16" fmla="*/ 353 w 530"/>
              <a:gd name="T17" fmla="*/ 13 h 530"/>
              <a:gd name="T18" fmla="*/ 321 w 530"/>
              <a:gd name="T19" fmla="*/ 28 h 530"/>
              <a:gd name="T20" fmla="*/ 298 w 530"/>
              <a:gd name="T21" fmla="*/ 2 h 530"/>
              <a:gd name="T22" fmla="*/ 256 w 530"/>
              <a:gd name="T23" fmla="*/ 0 h 530"/>
              <a:gd name="T24" fmla="*/ 214 w 530"/>
              <a:gd name="T25" fmla="*/ 1 h 530"/>
              <a:gd name="T26" fmla="*/ 175 w 530"/>
              <a:gd name="T27" fmla="*/ 16 h 530"/>
              <a:gd name="T28" fmla="*/ 137 w 530"/>
              <a:gd name="T29" fmla="*/ 34 h 530"/>
              <a:gd name="T30" fmla="*/ 113 w 530"/>
              <a:gd name="T31" fmla="*/ 48 h 530"/>
              <a:gd name="T32" fmla="*/ 81 w 530"/>
              <a:gd name="T33" fmla="*/ 75 h 530"/>
              <a:gd name="T34" fmla="*/ 75 w 530"/>
              <a:gd name="T35" fmla="*/ 106 h 530"/>
              <a:gd name="T36" fmla="*/ 46 w 530"/>
              <a:gd name="T37" fmla="*/ 117 h 530"/>
              <a:gd name="T38" fmla="*/ 25 w 530"/>
              <a:gd name="T39" fmla="*/ 153 h 530"/>
              <a:gd name="T40" fmla="*/ 15 w 530"/>
              <a:gd name="T41" fmla="*/ 178 h 530"/>
              <a:gd name="T42" fmla="*/ 5 w 530"/>
              <a:gd name="T43" fmla="*/ 218 h 530"/>
              <a:gd name="T44" fmla="*/ 16 w 530"/>
              <a:gd name="T45" fmla="*/ 246 h 530"/>
              <a:gd name="T46" fmla="*/ 0 w 530"/>
              <a:gd name="T47" fmla="*/ 273 h 530"/>
              <a:gd name="T48" fmla="*/ 5 w 530"/>
              <a:gd name="T49" fmla="*/ 313 h 530"/>
              <a:gd name="T50" fmla="*/ 11 w 530"/>
              <a:gd name="T51" fmla="*/ 339 h 530"/>
              <a:gd name="T52" fmla="*/ 25 w 530"/>
              <a:gd name="T53" fmla="*/ 377 h 530"/>
              <a:gd name="T54" fmla="*/ 51 w 530"/>
              <a:gd name="T55" fmla="*/ 394 h 530"/>
              <a:gd name="T56" fmla="*/ 54 w 530"/>
              <a:gd name="T57" fmla="*/ 425 h 530"/>
              <a:gd name="T58" fmla="*/ 81 w 530"/>
              <a:gd name="T59" fmla="*/ 455 h 530"/>
              <a:gd name="T60" fmla="*/ 101 w 530"/>
              <a:gd name="T61" fmla="*/ 473 h 530"/>
              <a:gd name="T62" fmla="*/ 135 w 530"/>
              <a:gd name="T63" fmla="*/ 496 h 530"/>
              <a:gd name="T64" fmla="*/ 166 w 530"/>
              <a:gd name="T65" fmla="*/ 494 h 530"/>
              <a:gd name="T66" fmla="*/ 186 w 530"/>
              <a:gd name="T67" fmla="*/ 518 h 530"/>
              <a:gd name="T68" fmla="*/ 226 w 530"/>
              <a:gd name="T69" fmla="*/ 527 h 530"/>
              <a:gd name="T70" fmla="*/ 253 w 530"/>
              <a:gd name="T71" fmla="*/ 529 h 530"/>
              <a:gd name="T72" fmla="*/ 294 w 530"/>
              <a:gd name="T73" fmla="*/ 528 h 530"/>
              <a:gd name="T74" fmla="*/ 317 w 530"/>
              <a:gd name="T75" fmla="*/ 507 h 530"/>
              <a:gd name="T76" fmla="*/ 348 w 530"/>
              <a:gd name="T77" fmla="*/ 516 h 530"/>
              <a:gd name="T78" fmla="*/ 386 w 530"/>
              <a:gd name="T79" fmla="*/ 500 h 530"/>
              <a:gd name="T80" fmla="*/ 422 w 530"/>
              <a:gd name="T81" fmla="*/ 479 h 530"/>
              <a:gd name="T82" fmla="*/ 444 w 530"/>
              <a:gd name="T83" fmla="*/ 461 h 530"/>
              <a:gd name="T84" fmla="*/ 475 w 530"/>
              <a:gd name="T85" fmla="*/ 432 h 530"/>
              <a:gd name="T86" fmla="*/ 471 w 530"/>
              <a:gd name="T87" fmla="*/ 397 h 530"/>
              <a:gd name="T88" fmla="*/ 488 w 530"/>
              <a:gd name="T89" fmla="*/ 363 h 530"/>
              <a:gd name="T90" fmla="*/ 518 w 530"/>
              <a:gd name="T91" fmla="*/ 345 h 530"/>
              <a:gd name="T92" fmla="*/ 507 w 530"/>
              <a:gd name="T93" fmla="*/ 288 h 530"/>
              <a:gd name="T94" fmla="*/ 453 w 530"/>
              <a:gd name="T95" fmla="*/ 230 h 530"/>
              <a:gd name="T96" fmla="*/ 329 w 530"/>
              <a:gd name="T97" fmla="*/ 85 h 530"/>
              <a:gd name="T98" fmla="*/ 81 w 530"/>
              <a:gd name="T99" fmla="*/ 167 h 530"/>
              <a:gd name="T100" fmla="*/ 81 w 530"/>
              <a:gd name="T101" fmla="*/ 167 h 530"/>
              <a:gd name="T102" fmla="*/ 146 w 530"/>
              <a:gd name="T103" fmla="*/ 340 h 530"/>
              <a:gd name="T104" fmla="*/ 270 w 530"/>
              <a:gd name="T105" fmla="*/ 406 h 530"/>
              <a:gd name="T106" fmla="*/ 158 w 530"/>
              <a:gd name="T107" fmla="*/ 332 h 530"/>
              <a:gd name="T108" fmla="*/ 450 w 530"/>
              <a:gd name="T109" fmla="*/ 362 h 530"/>
              <a:gd name="T110" fmla="*/ 450 w 530"/>
              <a:gd name="T111" fmla="*/ 362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30" h="530">
                <a:moveTo>
                  <a:pt x="530" y="275"/>
                </a:moveTo>
                <a:cubicBezTo>
                  <a:pt x="530" y="271"/>
                  <a:pt x="530" y="266"/>
                  <a:pt x="530" y="262"/>
                </a:cubicBezTo>
                <a:cubicBezTo>
                  <a:pt x="518" y="262"/>
                  <a:pt x="508" y="257"/>
                  <a:pt x="507" y="249"/>
                </a:cubicBezTo>
                <a:cubicBezTo>
                  <a:pt x="507" y="242"/>
                  <a:pt x="516" y="235"/>
                  <a:pt x="528" y="233"/>
                </a:cubicBezTo>
                <a:cubicBezTo>
                  <a:pt x="528" y="229"/>
                  <a:pt x="527" y="224"/>
                  <a:pt x="526" y="220"/>
                </a:cubicBezTo>
                <a:cubicBezTo>
                  <a:pt x="514" y="222"/>
                  <a:pt x="503" y="219"/>
                  <a:pt x="501" y="211"/>
                </a:cubicBezTo>
                <a:cubicBezTo>
                  <a:pt x="500" y="204"/>
                  <a:pt x="508" y="195"/>
                  <a:pt x="520" y="192"/>
                </a:cubicBezTo>
                <a:cubicBezTo>
                  <a:pt x="519" y="187"/>
                  <a:pt x="517" y="183"/>
                  <a:pt x="516" y="179"/>
                </a:cubicBezTo>
                <a:cubicBezTo>
                  <a:pt x="516" y="179"/>
                  <a:pt x="516" y="179"/>
                  <a:pt x="517" y="179"/>
                </a:cubicBezTo>
                <a:cubicBezTo>
                  <a:pt x="505" y="184"/>
                  <a:pt x="493" y="182"/>
                  <a:pt x="490" y="174"/>
                </a:cubicBezTo>
                <a:cubicBezTo>
                  <a:pt x="487" y="167"/>
                  <a:pt x="494" y="157"/>
                  <a:pt x="505" y="152"/>
                </a:cubicBezTo>
                <a:cubicBezTo>
                  <a:pt x="505" y="152"/>
                  <a:pt x="505" y="152"/>
                  <a:pt x="505" y="152"/>
                </a:cubicBezTo>
                <a:cubicBezTo>
                  <a:pt x="503" y="148"/>
                  <a:pt x="501" y="144"/>
                  <a:pt x="499" y="140"/>
                </a:cubicBezTo>
                <a:cubicBezTo>
                  <a:pt x="499" y="140"/>
                  <a:pt x="499" y="140"/>
                  <a:pt x="500" y="140"/>
                </a:cubicBezTo>
                <a:cubicBezTo>
                  <a:pt x="489" y="146"/>
                  <a:pt x="477" y="147"/>
                  <a:pt x="472" y="140"/>
                </a:cubicBezTo>
                <a:cubicBezTo>
                  <a:pt x="468" y="133"/>
                  <a:pt x="474" y="122"/>
                  <a:pt x="484" y="115"/>
                </a:cubicBezTo>
                <a:cubicBezTo>
                  <a:pt x="484" y="115"/>
                  <a:pt x="484" y="116"/>
                  <a:pt x="484" y="116"/>
                </a:cubicBezTo>
                <a:cubicBezTo>
                  <a:pt x="481" y="112"/>
                  <a:pt x="479" y="108"/>
                  <a:pt x="476" y="105"/>
                </a:cubicBezTo>
                <a:cubicBezTo>
                  <a:pt x="476" y="104"/>
                  <a:pt x="477" y="104"/>
                  <a:pt x="477" y="104"/>
                </a:cubicBezTo>
                <a:cubicBezTo>
                  <a:pt x="467" y="112"/>
                  <a:pt x="455" y="114"/>
                  <a:pt x="450" y="108"/>
                </a:cubicBezTo>
                <a:cubicBezTo>
                  <a:pt x="445" y="102"/>
                  <a:pt x="448" y="91"/>
                  <a:pt x="458" y="82"/>
                </a:cubicBezTo>
                <a:cubicBezTo>
                  <a:pt x="458" y="82"/>
                  <a:pt x="458" y="83"/>
                  <a:pt x="457" y="83"/>
                </a:cubicBezTo>
                <a:cubicBezTo>
                  <a:pt x="454" y="79"/>
                  <a:pt x="451" y="76"/>
                  <a:pt x="448" y="73"/>
                </a:cubicBezTo>
                <a:cubicBezTo>
                  <a:pt x="448" y="73"/>
                  <a:pt x="448" y="73"/>
                  <a:pt x="449" y="72"/>
                </a:cubicBezTo>
                <a:cubicBezTo>
                  <a:pt x="441" y="82"/>
                  <a:pt x="429" y="86"/>
                  <a:pt x="423" y="81"/>
                </a:cubicBezTo>
                <a:cubicBezTo>
                  <a:pt x="417" y="76"/>
                  <a:pt x="418" y="64"/>
                  <a:pt x="427" y="54"/>
                </a:cubicBezTo>
                <a:cubicBezTo>
                  <a:pt x="426" y="54"/>
                  <a:pt x="426" y="54"/>
                  <a:pt x="426" y="55"/>
                </a:cubicBezTo>
                <a:cubicBezTo>
                  <a:pt x="423" y="52"/>
                  <a:pt x="419" y="49"/>
                  <a:pt x="415" y="47"/>
                </a:cubicBezTo>
                <a:cubicBezTo>
                  <a:pt x="415" y="46"/>
                  <a:pt x="416" y="46"/>
                  <a:pt x="416" y="45"/>
                </a:cubicBezTo>
                <a:cubicBezTo>
                  <a:pt x="409" y="56"/>
                  <a:pt x="399" y="62"/>
                  <a:pt x="392" y="58"/>
                </a:cubicBezTo>
                <a:cubicBezTo>
                  <a:pt x="385" y="54"/>
                  <a:pt x="385" y="42"/>
                  <a:pt x="391" y="31"/>
                </a:cubicBezTo>
                <a:cubicBezTo>
                  <a:pt x="391" y="31"/>
                  <a:pt x="391" y="31"/>
                  <a:pt x="391" y="32"/>
                </a:cubicBezTo>
                <a:cubicBezTo>
                  <a:pt x="387" y="30"/>
                  <a:pt x="383" y="28"/>
                  <a:pt x="379" y="26"/>
                </a:cubicBezTo>
                <a:cubicBezTo>
                  <a:pt x="379" y="25"/>
                  <a:pt x="379" y="25"/>
                  <a:pt x="379" y="24"/>
                </a:cubicBezTo>
                <a:cubicBezTo>
                  <a:pt x="375" y="36"/>
                  <a:pt x="365" y="43"/>
                  <a:pt x="357" y="40"/>
                </a:cubicBezTo>
                <a:cubicBezTo>
                  <a:pt x="350" y="37"/>
                  <a:pt x="348" y="25"/>
                  <a:pt x="353" y="13"/>
                </a:cubicBezTo>
                <a:cubicBezTo>
                  <a:pt x="352" y="14"/>
                  <a:pt x="352" y="14"/>
                  <a:pt x="352" y="15"/>
                </a:cubicBezTo>
                <a:cubicBezTo>
                  <a:pt x="348" y="13"/>
                  <a:pt x="344" y="12"/>
                  <a:pt x="339" y="11"/>
                </a:cubicBezTo>
                <a:cubicBezTo>
                  <a:pt x="340" y="10"/>
                  <a:pt x="340" y="9"/>
                  <a:pt x="340" y="9"/>
                </a:cubicBezTo>
                <a:cubicBezTo>
                  <a:pt x="337" y="21"/>
                  <a:pt x="328" y="30"/>
                  <a:pt x="321" y="28"/>
                </a:cubicBezTo>
                <a:cubicBezTo>
                  <a:pt x="313" y="26"/>
                  <a:pt x="309" y="15"/>
                  <a:pt x="312" y="2"/>
                </a:cubicBezTo>
                <a:cubicBezTo>
                  <a:pt x="312" y="3"/>
                  <a:pt x="312" y="4"/>
                  <a:pt x="311" y="4"/>
                </a:cubicBezTo>
                <a:cubicBezTo>
                  <a:pt x="307" y="3"/>
                  <a:pt x="303" y="3"/>
                  <a:pt x="298" y="2"/>
                </a:cubicBezTo>
                <a:cubicBezTo>
                  <a:pt x="298" y="2"/>
                  <a:pt x="298" y="2"/>
                  <a:pt x="298" y="2"/>
                </a:cubicBezTo>
                <a:cubicBezTo>
                  <a:pt x="297" y="14"/>
                  <a:pt x="290" y="22"/>
                  <a:pt x="283" y="22"/>
                </a:cubicBezTo>
                <a:cubicBezTo>
                  <a:pt x="275" y="21"/>
                  <a:pt x="270" y="12"/>
                  <a:pt x="270" y="0"/>
                </a:cubicBezTo>
                <a:cubicBezTo>
                  <a:pt x="265" y="0"/>
                  <a:pt x="261" y="0"/>
                  <a:pt x="256" y="0"/>
                </a:cubicBezTo>
                <a:cubicBezTo>
                  <a:pt x="256" y="0"/>
                  <a:pt x="256" y="0"/>
                  <a:pt x="256" y="0"/>
                </a:cubicBezTo>
                <a:cubicBezTo>
                  <a:pt x="256" y="12"/>
                  <a:pt x="251" y="21"/>
                  <a:pt x="244" y="21"/>
                </a:cubicBezTo>
                <a:cubicBezTo>
                  <a:pt x="237" y="22"/>
                  <a:pt x="230" y="14"/>
                  <a:pt x="228" y="3"/>
                </a:cubicBezTo>
                <a:cubicBezTo>
                  <a:pt x="224" y="3"/>
                  <a:pt x="219" y="4"/>
                  <a:pt x="215" y="5"/>
                </a:cubicBezTo>
                <a:cubicBezTo>
                  <a:pt x="215" y="4"/>
                  <a:pt x="214" y="2"/>
                  <a:pt x="214" y="1"/>
                </a:cubicBezTo>
                <a:cubicBezTo>
                  <a:pt x="217" y="14"/>
                  <a:pt x="213" y="25"/>
                  <a:pt x="206" y="27"/>
                </a:cubicBezTo>
                <a:cubicBezTo>
                  <a:pt x="199" y="29"/>
                  <a:pt x="191" y="22"/>
                  <a:pt x="187" y="12"/>
                </a:cubicBezTo>
                <a:cubicBezTo>
                  <a:pt x="187" y="12"/>
                  <a:pt x="187" y="12"/>
                  <a:pt x="187" y="12"/>
                </a:cubicBezTo>
                <a:cubicBezTo>
                  <a:pt x="183" y="13"/>
                  <a:pt x="179" y="15"/>
                  <a:pt x="175" y="16"/>
                </a:cubicBezTo>
                <a:cubicBezTo>
                  <a:pt x="174" y="15"/>
                  <a:pt x="174" y="13"/>
                  <a:pt x="173" y="12"/>
                </a:cubicBezTo>
                <a:cubicBezTo>
                  <a:pt x="178" y="24"/>
                  <a:pt x="176" y="36"/>
                  <a:pt x="169" y="39"/>
                </a:cubicBezTo>
                <a:cubicBezTo>
                  <a:pt x="162" y="42"/>
                  <a:pt x="154" y="36"/>
                  <a:pt x="149" y="27"/>
                </a:cubicBezTo>
                <a:cubicBezTo>
                  <a:pt x="145" y="29"/>
                  <a:pt x="141" y="31"/>
                  <a:pt x="137" y="34"/>
                </a:cubicBezTo>
                <a:cubicBezTo>
                  <a:pt x="137" y="33"/>
                  <a:pt x="137" y="33"/>
                  <a:pt x="137" y="33"/>
                </a:cubicBezTo>
                <a:cubicBezTo>
                  <a:pt x="141" y="43"/>
                  <a:pt x="140" y="52"/>
                  <a:pt x="134" y="56"/>
                </a:cubicBezTo>
                <a:cubicBezTo>
                  <a:pt x="128" y="60"/>
                  <a:pt x="120" y="56"/>
                  <a:pt x="113" y="48"/>
                </a:cubicBezTo>
                <a:cubicBezTo>
                  <a:pt x="113" y="48"/>
                  <a:pt x="113" y="48"/>
                  <a:pt x="113" y="48"/>
                </a:cubicBezTo>
                <a:cubicBezTo>
                  <a:pt x="109" y="51"/>
                  <a:pt x="106" y="54"/>
                  <a:pt x="102" y="56"/>
                </a:cubicBezTo>
                <a:cubicBezTo>
                  <a:pt x="102" y="56"/>
                  <a:pt x="102" y="56"/>
                  <a:pt x="102" y="56"/>
                </a:cubicBezTo>
                <a:cubicBezTo>
                  <a:pt x="107" y="65"/>
                  <a:pt x="108" y="74"/>
                  <a:pt x="103" y="79"/>
                </a:cubicBezTo>
                <a:cubicBezTo>
                  <a:pt x="98" y="83"/>
                  <a:pt x="89" y="81"/>
                  <a:pt x="81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78" y="78"/>
                  <a:pt x="75" y="81"/>
                  <a:pt x="71" y="85"/>
                </a:cubicBezTo>
                <a:cubicBezTo>
                  <a:pt x="71" y="84"/>
                  <a:pt x="71" y="84"/>
                  <a:pt x="71" y="84"/>
                </a:cubicBezTo>
                <a:cubicBezTo>
                  <a:pt x="78" y="92"/>
                  <a:pt x="80" y="101"/>
                  <a:pt x="75" y="106"/>
                </a:cubicBezTo>
                <a:cubicBezTo>
                  <a:pt x="71" y="111"/>
                  <a:pt x="62" y="110"/>
                  <a:pt x="54" y="106"/>
                </a:cubicBezTo>
                <a:cubicBezTo>
                  <a:pt x="54" y="106"/>
                  <a:pt x="54" y="106"/>
                  <a:pt x="54" y="106"/>
                </a:cubicBezTo>
                <a:cubicBezTo>
                  <a:pt x="51" y="109"/>
                  <a:pt x="48" y="113"/>
                  <a:pt x="46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53" y="123"/>
                  <a:pt x="56" y="131"/>
                  <a:pt x="52" y="137"/>
                </a:cubicBezTo>
                <a:cubicBezTo>
                  <a:pt x="49" y="142"/>
                  <a:pt x="40" y="144"/>
                  <a:pt x="31" y="140"/>
                </a:cubicBezTo>
                <a:cubicBezTo>
                  <a:pt x="31" y="140"/>
                  <a:pt x="32" y="140"/>
                  <a:pt x="32" y="140"/>
                </a:cubicBezTo>
                <a:cubicBezTo>
                  <a:pt x="29" y="144"/>
                  <a:pt x="27" y="149"/>
                  <a:pt x="25" y="153"/>
                </a:cubicBezTo>
                <a:cubicBezTo>
                  <a:pt x="25" y="153"/>
                  <a:pt x="25" y="153"/>
                  <a:pt x="25" y="153"/>
                </a:cubicBezTo>
                <a:cubicBezTo>
                  <a:pt x="33" y="158"/>
                  <a:pt x="37" y="165"/>
                  <a:pt x="35" y="171"/>
                </a:cubicBezTo>
                <a:cubicBezTo>
                  <a:pt x="32" y="177"/>
                  <a:pt x="24" y="180"/>
                  <a:pt x="15" y="178"/>
                </a:cubicBezTo>
                <a:cubicBezTo>
                  <a:pt x="15" y="178"/>
                  <a:pt x="15" y="178"/>
                  <a:pt x="15" y="178"/>
                </a:cubicBezTo>
                <a:cubicBezTo>
                  <a:pt x="14" y="182"/>
                  <a:pt x="12" y="187"/>
                  <a:pt x="11" y="192"/>
                </a:cubicBezTo>
                <a:cubicBezTo>
                  <a:pt x="11" y="191"/>
                  <a:pt x="11" y="191"/>
                  <a:pt x="11" y="191"/>
                </a:cubicBezTo>
                <a:cubicBezTo>
                  <a:pt x="19" y="195"/>
                  <a:pt x="24" y="202"/>
                  <a:pt x="22" y="208"/>
                </a:cubicBezTo>
                <a:cubicBezTo>
                  <a:pt x="21" y="214"/>
                  <a:pt x="14" y="218"/>
                  <a:pt x="5" y="218"/>
                </a:cubicBezTo>
                <a:cubicBezTo>
                  <a:pt x="5" y="218"/>
                  <a:pt x="5" y="218"/>
                  <a:pt x="5" y="218"/>
                </a:cubicBezTo>
                <a:cubicBezTo>
                  <a:pt x="4" y="222"/>
                  <a:pt x="3" y="227"/>
                  <a:pt x="3" y="232"/>
                </a:cubicBezTo>
                <a:cubicBezTo>
                  <a:pt x="3" y="232"/>
                  <a:pt x="2" y="232"/>
                  <a:pt x="2" y="232"/>
                </a:cubicBezTo>
                <a:cubicBezTo>
                  <a:pt x="11" y="234"/>
                  <a:pt x="16" y="240"/>
                  <a:pt x="16" y="246"/>
                </a:cubicBezTo>
                <a:cubicBezTo>
                  <a:pt x="16" y="252"/>
                  <a:pt x="9" y="257"/>
                  <a:pt x="0" y="258"/>
                </a:cubicBezTo>
                <a:cubicBezTo>
                  <a:pt x="0" y="258"/>
                  <a:pt x="1" y="258"/>
                  <a:pt x="1" y="258"/>
                </a:cubicBezTo>
                <a:cubicBezTo>
                  <a:pt x="0" y="263"/>
                  <a:pt x="0" y="268"/>
                  <a:pt x="1" y="273"/>
                </a:cubicBezTo>
                <a:cubicBezTo>
                  <a:pt x="1" y="273"/>
                  <a:pt x="0" y="273"/>
                  <a:pt x="0" y="273"/>
                </a:cubicBezTo>
                <a:cubicBezTo>
                  <a:pt x="9" y="274"/>
                  <a:pt x="15" y="279"/>
                  <a:pt x="16" y="285"/>
                </a:cubicBezTo>
                <a:cubicBezTo>
                  <a:pt x="16" y="291"/>
                  <a:pt x="11" y="296"/>
                  <a:pt x="2" y="299"/>
                </a:cubicBezTo>
                <a:cubicBezTo>
                  <a:pt x="3" y="299"/>
                  <a:pt x="3" y="299"/>
                  <a:pt x="3" y="299"/>
                </a:cubicBezTo>
                <a:cubicBezTo>
                  <a:pt x="3" y="304"/>
                  <a:pt x="4" y="309"/>
                  <a:pt x="5" y="313"/>
                </a:cubicBezTo>
                <a:cubicBezTo>
                  <a:pt x="5" y="313"/>
                  <a:pt x="5" y="314"/>
                  <a:pt x="5" y="314"/>
                </a:cubicBezTo>
                <a:cubicBezTo>
                  <a:pt x="13" y="314"/>
                  <a:pt x="20" y="317"/>
                  <a:pt x="22" y="323"/>
                </a:cubicBezTo>
                <a:cubicBezTo>
                  <a:pt x="23" y="329"/>
                  <a:pt x="19" y="335"/>
                  <a:pt x="11" y="339"/>
                </a:cubicBezTo>
                <a:cubicBezTo>
                  <a:pt x="11" y="339"/>
                  <a:pt x="11" y="339"/>
                  <a:pt x="11" y="339"/>
                </a:cubicBezTo>
                <a:cubicBezTo>
                  <a:pt x="12" y="344"/>
                  <a:pt x="14" y="348"/>
                  <a:pt x="16" y="353"/>
                </a:cubicBezTo>
                <a:cubicBezTo>
                  <a:pt x="16" y="353"/>
                  <a:pt x="15" y="353"/>
                  <a:pt x="15" y="353"/>
                </a:cubicBezTo>
                <a:cubicBezTo>
                  <a:pt x="24" y="352"/>
                  <a:pt x="31" y="354"/>
                  <a:pt x="33" y="360"/>
                </a:cubicBezTo>
                <a:cubicBezTo>
                  <a:pt x="36" y="365"/>
                  <a:pt x="32" y="372"/>
                  <a:pt x="25" y="377"/>
                </a:cubicBezTo>
                <a:cubicBezTo>
                  <a:pt x="25" y="377"/>
                  <a:pt x="26" y="377"/>
                  <a:pt x="26" y="377"/>
                </a:cubicBezTo>
                <a:cubicBezTo>
                  <a:pt x="28" y="382"/>
                  <a:pt x="30" y="386"/>
                  <a:pt x="32" y="390"/>
                </a:cubicBezTo>
                <a:cubicBezTo>
                  <a:pt x="32" y="390"/>
                  <a:pt x="32" y="390"/>
                  <a:pt x="32" y="391"/>
                </a:cubicBezTo>
                <a:cubicBezTo>
                  <a:pt x="40" y="388"/>
                  <a:pt x="47" y="389"/>
                  <a:pt x="51" y="394"/>
                </a:cubicBezTo>
                <a:cubicBezTo>
                  <a:pt x="54" y="399"/>
                  <a:pt x="51" y="407"/>
                  <a:pt x="46" y="413"/>
                </a:cubicBezTo>
                <a:cubicBezTo>
                  <a:pt x="46" y="413"/>
                  <a:pt x="46" y="413"/>
                  <a:pt x="46" y="413"/>
                </a:cubicBezTo>
                <a:cubicBezTo>
                  <a:pt x="49" y="417"/>
                  <a:pt x="51" y="421"/>
                  <a:pt x="54" y="425"/>
                </a:cubicBezTo>
                <a:cubicBezTo>
                  <a:pt x="54" y="425"/>
                  <a:pt x="54" y="425"/>
                  <a:pt x="54" y="425"/>
                </a:cubicBezTo>
                <a:cubicBezTo>
                  <a:pt x="62" y="421"/>
                  <a:pt x="69" y="421"/>
                  <a:pt x="73" y="426"/>
                </a:cubicBezTo>
                <a:cubicBezTo>
                  <a:pt x="77" y="430"/>
                  <a:pt x="76" y="438"/>
                  <a:pt x="71" y="445"/>
                </a:cubicBezTo>
                <a:cubicBezTo>
                  <a:pt x="71" y="445"/>
                  <a:pt x="71" y="445"/>
                  <a:pt x="71" y="445"/>
                </a:cubicBezTo>
                <a:cubicBezTo>
                  <a:pt x="74" y="449"/>
                  <a:pt x="78" y="452"/>
                  <a:pt x="81" y="455"/>
                </a:cubicBezTo>
                <a:cubicBezTo>
                  <a:pt x="81" y="455"/>
                  <a:pt x="81" y="455"/>
                  <a:pt x="81" y="456"/>
                </a:cubicBezTo>
                <a:cubicBezTo>
                  <a:pt x="88" y="451"/>
                  <a:pt x="96" y="449"/>
                  <a:pt x="100" y="453"/>
                </a:cubicBezTo>
                <a:cubicBezTo>
                  <a:pt x="105" y="457"/>
                  <a:pt x="105" y="465"/>
                  <a:pt x="101" y="473"/>
                </a:cubicBezTo>
                <a:cubicBezTo>
                  <a:pt x="101" y="473"/>
                  <a:pt x="101" y="473"/>
                  <a:pt x="101" y="473"/>
                </a:cubicBezTo>
                <a:cubicBezTo>
                  <a:pt x="105" y="476"/>
                  <a:pt x="109" y="479"/>
                  <a:pt x="113" y="481"/>
                </a:cubicBezTo>
                <a:cubicBezTo>
                  <a:pt x="113" y="481"/>
                  <a:pt x="113" y="482"/>
                  <a:pt x="113" y="482"/>
                </a:cubicBezTo>
                <a:cubicBezTo>
                  <a:pt x="119" y="476"/>
                  <a:pt x="126" y="473"/>
                  <a:pt x="131" y="476"/>
                </a:cubicBezTo>
                <a:cubicBezTo>
                  <a:pt x="137" y="479"/>
                  <a:pt x="138" y="487"/>
                  <a:pt x="135" y="496"/>
                </a:cubicBezTo>
                <a:cubicBezTo>
                  <a:pt x="135" y="496"/>
                  <a:pt x="135" y="496"/>
                  <a:pt x="135" y="496"/>
                </a:cubicBezTo>
                <a:cubicBezTo>
                  <a:pt x="139" y="498"/>
                  <a:pt x="144" y="500"/>
                  <a:pt x="148" y="502"/>
                </a:cubicBezTo>
                <a:cubicBezTo>
                  <a:pt x="148" y="502"/>
                  <a:pt x="148" y="502"/>
                  <a:pt x="148" y="502"/>
                </a:cubicBezTo>
                <a:cubicBezTo>
                  <a:pt x="153" y="495"/>
                  <a:pt x="160" y="492"/>
                  <a:pt x="166" y="494"/>
                </a:cubicBezTo>
                <a:cubicBezTo>
                  <a:pt x="171" y="496"/>
                  <a:pt x="174" y="504"/>
                  <a:pt x="172" y="513"/>
                </a:cubicBezTo>
                <a:cubicBezTo>
                  <a:pt x="173" y="513"/>
                  <a:pt x="173" y="513"/>
                  <a:pt x="173" y="513"/>
                </a:cubicBezTo>
                <a:cubicBezTo>
                  <a:pt x="177" y="514"/>
                  <a:pt x="182" y="516"/>
                  <a:pt x="186" y="517"/>
                </a:cubicBezTo>
                <a:cubicBezTo>
                  <a:pt x="186" y="518"/>
                  <a:pt x="186" y="518"/>
                  <a:pt x="186" y="518"/>
                </a:cubicBezTo>
                <a:cubicBezTo>
                  <a:pt x="190" y="510"/>
                  <a:pt x="196" y="505"/>
                  <a:pt x="202" y="506"/>
                </a:cubicBezTo>
                <a:cubicBezTo>
                  <a:pt x="208" y="508"/>
                  <a:pt x="212" y="515"/>
                  <a:pt x="212" y="524"/>
                </a:cubicBezTo>
                <a:cubicBezTo>
                  <a:pt x="212" y="524"/>
                  <a:pt x="212" y="524"/>
                  <a:pt x="212" y="524"/>
                </a:cubicBezTo>
                <a:cubicBezTo>
                  <a:pt x="217" y="525"/>
                  <a:pt x="221" y="526"/>
                  <a:pt x="226" y="527"/>
                </a:cubicBezTo>
                <a:cubicBezTo>
                  <a:pt x="226" y="527"/>
                  <a:pt x="226" y="527"/>
                  <a:pt x="226" y="527"/>
                </a:cubicBezTo>
                <a:cubicBezTo>
                  <a:pt x="229" y="518"/>
                  <a:pt x="234" y="512"/>
                  <a:pt x="240" y="512"/>
                </a:cubicBezTo>
                <a:cubicBezTo>
                  <a:pt x="247" y="513"/>
                  <a:pt x="252" y="520"/>
                  <a:pt x="253" y="529"/>
                </a:cubicBezTo>
                <a:cubicBezTo>
                  <a:pt x="253" y="529"/>
                  <a:pt x="253" y="529"/>
                  <a:pt x="253" y="529"/>
                </a:cubicBezTo>
                <a:cubicBezTo>
                  <a:pt x="258" y="530"/>
                  <a:pt x="262" y="530"/>
                  <a:pt x="267" y="530"/>
                </a:cubicBezTo>
                <a:cubicBezTo>
                  <a:pt x="267" y="530"/>
                  <a:pt x="267" y="530"/>
                  <a:pt x="267" y="530"/>
                </a:cubicBezTo>
                <a:cubicBezTo>
                  <a:pt x="268" y="520"/>
                  <a:pt x="273" y="513"/>
                  <a:pt x="279" y="513"/>
                </a:cubicBezTo>
                <a:cubicBezTo>
                  <a:pt x="286" y="512"/>
                  <a:pt x="292" y="519"/>
                  <a:pt x="294" y="528"/>
                </a:cubicBezTo>
                <a:cubicBezTo>
                  <a:pt x="294" y="528"/>
                  <a:pt x="294" y="528"/>
                  <a:pt x="294" y="528"/>
                </a:cubicBezTo>
                <a:cubicBezTo>
                  <a:pt x="299" y="528"/>
                  <a:pt x="303" y="527"/>
                  <a:pt x="308" y="526"/>
                </a:cubicBezTo>
                <a:cubicBezTo>
                  <a:pt x="308" y="526"/>
                  <a:pt x="308" y="526"/>
                  <a:pt x="308" y="526"/>
                </a:cubicBezTo>
                <a:cubicBezTo>
                  <a:pt x="307" y="517"/>
                  <a:pt x="311" y="509"/>
                  <a:pt x="317" y="507"/>
                </a:cubicBezTo>
                <a:cubicBezTo>
                  <a:pt x="324" y="505"/>
                  <a:pt x="331" y="511"/>
                  <a:pt x="335" y="520"/>
                </a:cubicBezTo>
                <a:cubicBezTo>
                  <a:pt x="335" y="520"/>
                  <a:pt x="335" y="520"/>
                  <a:pt x="335" y="520"/>
                </a:cubicBezTo>
                <a:cubicBezTo>
                  <a:pt x="339" y="519"/>
                  <a:pt x="344" y="518"/>
                  <a:pt x="348" y="516"/>
                </a:cubicBezTo>
                <a:cubicBezTo>
                  <a:pt x="348" y="516"/>
                  <a:pt x="348" y="516"/>
                  <a:pt x="348" y="516"/>
                </a:cubicBezTo>
                <a:cubicBezTo>
                  <a:pt x="346" y="507"/>
                  <a:pt x="348" y="498"/>
                  <a:pt x="354" y="495"/>
                </a:cubicBezTo>
                <a:cubicBezTo>
                  <a:pt x="360" y="493"/>
                  <a:pt x="369" y="497"/>
                  <a:pt x="374" y="506"/>
                </a:cubicBezTo>
                <a:cubicBezTo>
                  <a:pt x="378" y="504"/>
                  <a:pt x="382" y="502"/>
                  <a:pt x="386" y="500"/>
                </a:cubicBezTo>
                <a:cubicBezTo>
                  <a:pt x="386" y="500"/>
                  <a:pt x="386" y="500"/>
                  <a:pt x="386" y="500"/>
                </a:cubicBezTo>
                <a:cubicBezTo>
                  <a:pt x="382" y="491"/>
                  <a:pt x="383" y="482"/>
                  <a:pt x="389" y="478"/>
                </a:cubicBezTo>
                <a:cubicBezTo>
                  <a:pt x="395" y="474"/>
                  <a:pt x="406" y="479"/>
                  <a:pt x="413" y="490"/>
                </a:cubicBezTo>
                <a:cubicBezTo>
                  <a:pt x="412" y="489"/>
                  <a:pt x="411" y="487"/>
                  <a:pt x="411" y="486"/>
                </a:cubicBezTo>
                <a:cubicBezTo>
                  <a:pt x="414" y="484"/>
                  <a:pt x="418" y="481"/>
                  <a:pt x="422" y="479"/>
                </a:cubicBezTo>
                <a:cubicBezTo>
                  <a:pt x="422" y="480"/>
                  <a:pt x="423" y="481"/>
                  <a:pt x="424" y="482"/>
                </a:cubicBezTo>
                <a:cubicBezTo>
                  <a:pt x="416" y="473"/>
                  <a:pt x="414" y="461"/>
                  <a:pt x="420" y="455"/>
                </a:cubicBezTo>
                <a:cubicBezTo>
                  <a:pt x="426" y="450"/>
                  <a:pt x="438" y="454"/>
                  <a:pt x="446" y="463"/>
                </a:cubicBezTo>
                <a:cubicBezTo>
                  <a:pt x="445" y="462"/>
                  <a:pt x="444" y="462"/>
                  <a:pt x="444" y="461"/>
                </a:cubicBezTo>
                <a:cubicBezTo>
                  <a:pt x="447" y="458"/>
                  <a:pt x="450" y="455"/>
                  <a:pt x="453" y="451"/>
                </a:cubicBezTo>
                <a:cubicBezTo>
                  <a:pt x="454" y="452"/>
                  <a:pt x="455" y="453"/>
                  <a:pt x="456" y="454"/>
                </a:cubicBezTo>
                <a:cubicBezTo>
                  <a:pt x="446" y="446"/>
                  <a:pt x="443" y="434"/>
                  <a:pt x="448" y="428"/>
                </a:cubicBezTo>
                <a:cubicBezTo>
                  <a:pt x="453" y="422"/>
                  <a:pt x="465" y="424"/>
                  <a:pt x="475" y="432"/>
                </a:cubicBezTo>
                <a:cubicBezTo>
                  <a:pt x="474" y="431"/>
                  <a:pt x="473" y="431"/>
                  <a:pt x="472" y="430"/>
                </a:cubicBezTo>
                <a:cubicBezTo>
                  <a:pt x="475" y="427"/>
                  <a:pt x="478" y="423"/>
                  <a:pt x="480" y="420"/>
                </a:cubicBezTo>
                <a:cubicBezTo>
                  <a:pt x="481" y="420"/>
                  <a:pt x="482" y="421"/>
                  <a:pt x="483" y="421"/>
                </a:cubicBezTo>
                <a:cubicBezTo>
                  <a:pt x="472" y="415"/>
                  <a:pt x="467" y="404"/>
                  <a:pt x="471" y="397"/>
                </a:cubicBezTo>
                <a:cubicBezTo>
                  <a:pt x="475" y="390"/>
                  <a:pt x="487" y="390"/>
                  <a:pt x="498" y="397"/>
                </a:cubicBezTo>
                <a:cubicBezTo>
                  <a:pt x="497" y="396"/>
                  <a:pt x="496" y="396"/>
                  <a:pt x="496" y="396"/>
                </a:cubicBezTo>
                <a:cubicBezTo>
                  <a:pt x="498" y="392"/>
                  <a:pt x="500" y="388"/>
                  <a:pt x="502" y="384"/>
                </a:cubicBezTo>
                <a:cubicBezTo>
                  <a:pt x="492" y="379"/>
                  <a:pt x="486" y="370"/>
                  <a:pt x="488" y="363"/>
                </a:cubicBezTo>
                <a:cubicBezTo>
                  <a:pt x="491" y="356"/>
                  <a:pt x="503" y="353"/>
                  <a:pt x="515" y="358"/>
                </a:cubicBezTo>
                <a:cubicBezTo>
                  <a:pt x="515" y="358"/>
                  <a:pt x="514" y="358"/>
                  <a:pt x="513" y="357"/>
                </a:cubicBezTo>
                <a:cubicBezTo>
                  <a:pt x="515" y="353"/>
                  <a:pt x="516" y="349"/>
                  <a:pt x="518" y="345"/>
                </a:cubicBezTo>
                <a:cubicBezTo>
                  <a:pt x="518" y="345"/>
                  <a:pt x="518" y="345"/>
                  <a:pt x="518" y="345"/>
                </a:cubicBezTo>
                <a:cubicBezTo>
                  <a:pt x="506" y="341"/>
                  <a:pt x="499" y="333"/>
                  <a:pt x="501" y="326"/>
                </a:cubicBezTo>
                <a:cubicBezTo>
                  <a:pt x="502" y="319"/>
                  <a:pt x="513" y="315"/>
                  <a:pt x="525" y="317"/>
                </a:cubicBezTo>
                <a:cubicBezTo>
                  <a:pt x="526" y="313"/>
                  <a:pt x="526" y="308"/>
                  <a:pt x="527" y="304"/>
                </a:cubicBezTo>
                <a:cubicBezTo>
                  <a:pt x="515" y="302"/>
                  <a:pt x="506" y="296"/>
                  <a:pt x="507" y="288"/>
                </a:cubicBezTo>
                <a:cubicBezTo>
                  <a:pt x="507" y="280"/>
                  <a:pt x="518" y="275"/>
                  <a:pt x="530" y="275"/>
                </a:cubicBezTo>
                <a:close/>
                <a:moveTo>
                  <a:pt x="379" y="111"/>
                </a:moveTo>
                <a:cubicBezTo>
                  <a:pt x="396" y="101"/>
                  <a:pt x="422" y="123"/>
                  <a:pt x="442" y="154"/>
                </a:cubicBezTo>
                <a:cubicBezTo>
                  <a:pt x="462" y="185"/>
                  <a:pt x="470" y="219"/>
                  <a:pt x="453" y="230"/>
                </a:cubicBezTo>
                <a:cubicBezTo>
                  <a:pt x="439" y="239"/>
                  <a:pt x="403" y="219"/>
                  <a:pt x="385" y="190"/>
                </a:cubicBezTo>
                <a:cubicBezTo>
                  <a:pt x="366" y="160"/>
                  <a:pt x="364" y="120"/>
                  <a:pt x="379" y="111"/>
                </a:cubicBezTo>
                <a:close/>
                <a:moveTo>
                  <a:pt x="258" y="57"/>
                </a:moveTo>
                <a:cubicBezTo>
                  <a:pt x="295" y="55"/>
                  <a:pt x="328" y="65"/>
                  <a:pt x="329" y="85"/>
                </a:cubicBezTo>
                <a:cubicBezTo>
                  <a:pt x="329" y="101"/>
                  <a:pt x="295" y="122"/>
                  <a:pt x="260" y="124"/>
                </a:cubicBezTo>
                <a:cubicBezTo>
                  <a:pt x="225" y="125"/>
                  <a:pt x="189" y="107"/>
                  <a:pt x="189" y="90"/>
                </a:cubicBezTo>
                <a:cubicBezTo>
                  <a:pt x="188" y="70"/>
                  <a:pt x="221" y="58"/>
                  <a:pt x="258" y="57"/>
                </a:cubicBezTo>
                <a:close/>
                <a:moveTo>
                  <a:pt x="81" y="167"/>
                </a:moveTo>
                <a:cubicBezTo>
                  <a:pt x="98" y="135"/>
                  <a:pt x="123" y="111"/>
                  <a:pt x="141" y="120"/>
                </a:cubicBezTo>
                <a:cubicBezTo>
                  <a:pt x="156" y="128"/>
                  <a:pt x="157" y="168"/>
                  <a:pt x="140" y="199"/>
                </a:cubicBezTo>
                <a:cubicBezTo>
                  <a:pt x="124" y="230"/>
                  <a:pt x="90" y="251"/>
                  <a:pt x="76" y="244"/>
                </a:cubicBezTo>
                <a:cubicBezTo>
                  <a:pt x="58" y="234"/>
                  <a:pt x="64" y="200"/>
                  <a:pt x="81" y="167"/>
                </a:cubicBezTo>
                <a:close/>
                <a:moveTo>
                  <a:pt x="152" y="419"/>
                </a:moveTo>
                <a:cubicBezTo>
                  <a:pt x="135" y="429"/>
                  <a:pt x="108" y="407"/>
                  <a:pt x="89" y="376"/>
                </a:cubicBezTo>
                <a:cubicBezTo>
                  <a:pt x="69" y="344"/>
                  <a:pt x="61" y="311"/>
                  <a:pt x="78" y="300"/>
                </a:cubicBezTo>
                <a:cubicBezTo>
                  <a:pt x="92" y="291"/>
                  <a:pt x="127" y="310"/>
                  <a:pt x="146" y="340"/>
                </a:cubicBezTo>
                <a:cubicBezTo>
                  <a:pt x="164" y="370"/>
                  <a:pt x="166" y="410"/>
                  <a:pt x="152" y="419"/>
                </a:cubicBezTo>
                <a:close/>
                <a:moveTo>
                  <a:pt x="273" y="473"/>
                </a:moveTo>
                <a:cubicBezTo>
                  <a:pt x="236" y="475"/>
                  <a:pt x="203" y="465"/>
                  <a:pt x="202" y="445"/>
                </a:cubicBezTo>
                <a:cubicBezTo>
                  <a:pt x="201" y="428"/>
                  <a:pt x="236" y="407"/>
                  <a:pt x="270" y="406"/>
                </a:cubicBezTo>
                <a:cubicBezTo>
                  <a:pt x="305" y="405"/>
                  <a:pt x="341" y="423"/>
                  <a:pt x="342" y="440"/>
                </a:cubicBezTo>
                <a:cubicBezTo>
                  <a:pt x="342" y="460"/>
                  <a:pt x="310" y="472"/>
                  <a:pt x="273" y="473"/>
                </a:cubicBezTo>
                <a:close/>
                <a:moveTo>
                  <a:pt x="332" y="372"/>
                </a:moveTo>
                <a:cubicBezTo>
                  <a:pt x="273" y="409"/>
                  <a:pt x="195" y="391"/>
                  <a:pt x="158" y="332"/>
                </a:cubicBezTo>
                <a:cubicBezTo>
                  <a:pt x="121" y="273"/>
                  <a:pt x="139" y="195"/>
                  <a:pt x="198" y="158"/>
                </a:cubicBezTo>
                <a:cubicBezTo>
                  <a:pt x="257" y="121"/>
                  <a:pt x="335" y="139"/>
                  <a:pt x="372" y="198"/>
                </a:cubicBezTo>
                <a:cubicBezTo>
                  <a:pt x="409" y="257"/>
                  <a:pt x="391" y="335"/>
                  <a:pt x="332" y="372"/>
                </a:cubicBezTo>
                <a:close/>
                <a:moveTo>
                  <a:pt x="450" y="362"/>
                </a:moveTo>
                <a:cubicBezTo>
                  <a:pt x="432" y="395"/>
                  <a:pt x="407" y="419"/>
                  <a:pt x="390" y="410"/>
                </a:cubicBezTo>
                <a:cubicBezTo>
                  <a:pt x="375" y="402"/>
                  <a:pt x="374" y="362"/>
                  <a:pt x="390" y="331"/>
                </a:cubicBezTo>
                <a:cubicBezTo>
                  <a:pt x="406" y="300"/>
                  <a:pt x="440" y="278"/>
                  <a:pt x="455" y="286"/>
                </a:cubicBezTo>
                <a:cubicBezTo>
                  <a:pt x="473" y="296"/>
                  <a:pt x="467" y="330"/>
                  <a:pt x="450" y="36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 rot="289285">
            <a:off x="9749519" y="5945362"/>
            <a:ext cx="2674" cy="26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0" name="Freeform 9"/>
          <p:cNvSpPr>
            <a:spLocks noEditPoints="1"/>
          </p:cNvSpPr>
          <p:nvPr/>
        </p:nvSpPr>
        <p:spPr bwMode="auto">
          <a:xfrm>
            <a:off x="13354050" y="2406653"/>
            <a:ext cx="3695700" cy="3702050"/>
          </a:xfrm>
          <a:custGeom>
            <a:avLst/>
            <a:gdLst>
              <a:gd name="T0" fmla="*/ 470 w 510"/>
              <a:gd name="T1" fmla="*/ 173 h 511"/>
              <a:gd name="T2" fmla="*/ 425 w 510"/>
              <a:gd name="T3" fmla="*/ 100 h 511"/>
              <a:gd name="T4" fmla="*/ 356 w 510"/>
              <a:gd name="T5" fmla="*/ 48 h 511"/>
              <a:gd name="T6" fmla="*/ 286 w 510"/>
              <a:gd name="T7" fmla="*/ 2 h 511"/>
              <a:gd name="T8" fmla="*/ 200 w 510"/>
              <a:gd name="T9" fmla="*/ 6 h 511"/>
              <a:gd name="T10" fmla="*/ 119 w 510"/>
              <a:gd name="T11" fmla="*/ 39 h 511"/>
              <a:gd name="T12" fmla="*/ 61 w 510"/>
              <a:gd name="T13" fmla="*/ 88 h 511"/>
              <a:gd name="T14" fmla="*/ 40 w 510"/>
              <a:gd name="T15" fmla="*/ 169 h 511"/>
              <a:gd name="T16" fmla="*/ 24 w 510"/>
              <a:gd name="T17" fmla="*/ 272 h 511"/>
              <a:gd name="T18" fmla="*/ 19 w 510"/>
              <a:gd name="T19" fmla="*/ 355 h 511"/>
              <a:gd name="T20" fmla="*/ 66 w 510"/>
              <a:gd name="T21" fmla="*/ 428 h 511"/>
              <a:gd name="T22" fmla="*/ 134 w 510"/>
              <a:gd name="T23" fmla="*/ 481 h 511"/>
              <a:gd name="T24" fmla="*/ 218 w 510"/>
              <a:gd name="T25" fmla="*/ 484 h 511"/>
              <a:gd name="T26" fmla="*/ 321 w 510"/>
              <a:gd name="T27" fmla="*/ 477 h 511"/>
              <a:gd name="T28" fmla="*/ 404 w 510"/>
              <a:gd name="T29" fmla="*/ 463 h 511"/>
              <a:gd name="T30" fmla="*/ 458 w 510"/>
              <a:gd name="T31" fmla="*/ 410 h 511"/>
              <a:gd name="T32" fmla="*/ 498 w 510"/>
              <a:gd name="T33" fmla="*/ 333 h 511"/>
              <a:gd name="T34" fmla="*/ 510 w 510"/>
              <a:gd name="T35" fmla="*/ 247 h 511"/>
              <a:gd name="T36" fmla="*/ 454 w 510"/>
              <a:gd name="T37" fmla="*/ 248 h 511"/>
              <a:gd name="T38" fmla="*/ 444 w 510"/>
              <a:gd name="T39" fmla="*/ 192 h 511"/>
              <a:gd name="T40" fmla="*/ 433 w 510"/>
              <a:gd name="T41" fmla="*/ 165 h 511"/>
              <a:gd name="T42" fmla="*/ 390 w 510"/>
              <a:gd name="T43" fmla="*/ 136 h 511"/>
              <a:gd name="T44" fmla="*/ 384 w 510"/>
              <a:gd name="T45" fmla="*/ 103 h 511"/>
              <a:gd name="T46" fmla="*/ 361 w 510"/>
              <a:gd name="T47" fmla="*/ 86 h 511"/>
              <a:gd name="T48" fmla="*/ 309 w 510"/>
              <a:gd name="T49" fmla="*/ 63 h 511"/>
              <a:gd name="T50" fmla="*/ 303 w 510"/>
              <a:gd name="T51" fmla="*/ 62 h 511"/>
              <a:gd name="T52" fmla="*/ 255 w 510"/>
              <a:gd name="T53" fmla="*/ 75 h 511"/>
              <a:gd name="T54" fmla="*/ 227 w 510"/>
              <a:gd name="T55" fmla="*/ 77 h 511"/>
              <a:gd name="T56" fmla="*/ 196 w 510"/>
              <a:gd name="T57" fmla="*/ 64 h 511"/>
              <a:gd name="T58" fmla="*/ 190 w 510"/>
              <a:gd name="T59" fmla="*/ 66 h 511"/>
              <a:gd name="T60" fmla="*/ 139 w 510"/>
              <a:gd name="T61" fmla="*/ 91 h 511"/>
              <a:gd name="T62" fmla="*/ 131 w 510"/>
              <a:gd name="T63" fmla="*/ 124 h 511"/>
              <a:gd name="T64" fmla="*/ 102 w 510"/>
              <a:gd name="T65" fmla="*/ 160 h 511"/>
              <a:gd name="T66" fmla="*/ 71 w 510"/>
              <a:gd name="T67" fmla="*/ 174 h 511"/>
              <a:gd name="T68" fmla="*/ 68 w 510"/>
              <a:gd name="T69" fmla="*/ 179 h 511"/>
              <a:gd name="T70" fmla="*/ 54 w 510"/>
              <a:gd name="T71" fmla="*/ 235 h 511"/>
              <a:gd name="T72" fmla="*/ 53 w 510"/>
              <a:gd name="T73" fmla="*/ 264 h 511"/>
              <a:gd name="T74" fmla="*/ 77 w 510"/>
              <a:gd name="T75" fmla="*/ 289 h 511"/>
              <a:gd name="T76" fmla="*/ 84 w 510"/>
              <a:gd name="T77" fmla="*/ 314 h 511"/>
              <a:gd name="T78" fmla="*/ 86 w 510"/>
              <a:gd name="T79" fmla="*/ 367 h 511"/>
              <a:gd name="T80" fmla="*/ 90 w 510"/>
              <a:gd name="T81" fmla="*/ 371 h 511"/>
              <a:gd name="T82" fmla="*/ 148 w 510"/>
              <a:gd name="T83" fmla="*/ 426 h 511"/>
              <a:gd name="T84" fmla="*/ 163 w 510"/>
              <a:gd name="T85" fmla="*/ 412 h 511"/>
              <a:gd name="T86" fmla="*/ 186 w 510"/>
              <a:gd name="T87" fmla="*/ 423 h 511"/>
              <a:gd name="T88" fmla="*/ 231 w 510"/>
              <a:gd name="T89" fmla="*/ 435 h 511"/>
              <a:gd name="T90" fmla="*/ 257 w 510"/>
              <a:gd name="T91" fmla="*/ 457 h 511"/>
              <a:gd name="T92" fmla="*/ 263 w 510"/>
              <a:gd name="T93" fmla="*/ 457 h 511"/>
              <a:gd name="T94" fmla="*/ 291 w 510"/>
              <a:gd name="T95" fmla="*/ 453 h 511"/>
              <a:gd name="T96" fmla="*/ 313 w 510"/>
              <a:gd name="T97" fmla="*/ 427 h 511"/>
              <a:gd name="T98" fmla="*/ 354 w 510"/>
              <a:gd name="T99" fmla="*/ 407 h 511"/>
              <a:gd name="T100" fmla="*/ 388 w 510"/>
              <a:gd name="T101" fmla="*/ 406 h 511"/>
              <a:gd name="T102" fmla="*/ 392 w 510"/>
              <a:gd name="T103" fmla="*/ 402 h 511"/>
              <a:gd name="T104" fmla="*/ 427 w 510"/>
              <a:gd name="T105" fmla="*/ 357 h 511"/>
              <a:gd name="T106" fmla="*/ 422 w 510"/>
              <a:gd name="T107" fmla="*/ 324 h 511"/>
              <a:gd name="T108" fmla="*/ 434 w 510"/>
              <a:gd name="T109" fmla="*/ 279 h 511"/>
              <a:gd name="T110" fmla="*/ 436 w 510"/>
              <a:gd name="T111" fmla="*/ 254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0" h="511">
                <a:moveTo>
                  <a:pt x="485" y="241"/>
                </a:moveTo>
                <a:cubicBezTo>
                  <a:pt x="484" y="229"/>
                  <a:pt x="483" y="217"/>
                  <a:pt x="480" y="206"/>
                </a:cubicBezTo>
                <a:cubicBezTo>
                  <a:pt x="502" y="193"/>
                  <a:pt x="502" y="193"/>
                  <a:pt x="502" y="193"/>
                </a:cubicBezTo>
                <a:cubicBezTo>
                  <a:pt x="499" y="182"/>
                  <a:pt x="499" y="182"/>
                  <a:pt x="499" y="182"/>
                </a:cubicBezTo>
                <a:cubicBezTo>
                  <a:pt x="496" y="172"/>
                  <a:pt x="496" y="172"/>
                  <a:pt x="496" y="172"/>
                </a:cubicBezTo>
                <a:cubicBezTo>
                  <a:pt x="470" y="173"/>
                  <a:pt x="470" y="173"/>
                  <a:pt x="470" y="173"/>
                </a:cubicBezTo>
                <a:cubicBezTo>
                  <a:pt x="466" y="162"/>
                  <a:pt x="461" y="152"/>
                  <a:pt x="455" y="141"/>
                </a:cubicBezTo>
                <a:cubicBezTo>
                  <a:pt x="473" y="122"/>
                  <a:pt x="473" y="122"/>
                  <a:pt x="473" y="122"/>
                </a:cubicBezTo>
                <a:cubicBezTo>
                  <a:pt x="467" y="113"/>
                  <a:pt x="467" y="113"/>
                  <a:pt x="467" y="113"/>
                </a:cubicBezTo>
                <a:cubicBezTo>
                  <a:pt x="461" y="104"/>
                  <a:pt x="461" y="104"/>
                  <a:pt x="461" y="104"/>
                </a:cubicBezTo>
                <a:cubicBezTo>
                  <a:pt x="437" y="113"/>
                  <a:pt x="437" y="113"/>
                  <a:pt x="437" y="113"/>
                </a:cubicBezTo>
                <a:cubicBezTo>
                  <a:pt x="433" y="109"/>
                  <a:pt x="429" y="104"/>
                  <a:pt x="425" y="100"/>
                </a:cubicBezTo>
                <a:cubicBezTo>
                  <a:pt x="421" y="95"/>
                  <a:pt x="417" y="91"/>
                  <a:pt x="413" y="87"/>
                </a:cubicBezTo>
                <a:cubicBezTo>
                  <a:pt x="424" y="64"/>
                  <a:pt x="424" y="64"/>
                  <a:pt x="424" y="64"/>
                </a:cubicBezTo>
                <a:cubicBezTo>
                  <a:pt x="415" y="57"/>
                  <a:pt x="415" y="57"/>
                  <a:pt x="415" y="57"/>
                </a:cubicBezTo>
                <a:cubicBezTo>
                  <a:pt x="407" y="50"/>
                  <a:pt x="407" y="50"/>
                  <a:pt x="407" y="50"/>
                </a:cubicBezTo>
                <a:cubicBezTo>
                  <a:pt x="387" y="66"/>
                  <a:pt x="387" y="66"/>
                  <a:pt x="387" y="66"/>
                </a:cubicBezTo>
                <a:cubicBezTo>
                  <a:pt x="377" y="59"/>
                  <a:pt x="367" y="53"/>
                  <a:pt x="356" y="48"/>
                </a:cubicBezTo>
                <a:cubicBezTo>
                  <a:pt x="360" y="23"/>
                  <a:pt x="360" y="23"/>
                  <a:pt x="360" y="23"/>
                </a:cubicBezTo>
                <a:cubicBezTo>
                  <a:pt x="350" y="19"/>
                  <a:pt x="350" y="19"/>
                  <a:pt x="350" y="19"/>
                </a:cubicBezTo>
                <a:cubicBezTo>
                  <a:pt x="340" y="14"/>
                  <a:pt x="340" y="14"/>
                  <a:pt x="340" y="14"/>
                </a:cubicBezTo>
                <a:cubicBezTo>
                  <a:pt x="325" y="35"/>
                  <a:pt x="325" y="35"/>
                  <a:pt x="325" y="35"/>
                </a:cubicBezTo>
                <a:cubicBezTo>
                  <a:pt x="313" y="32"/>
                  <a:pt x="302" y="29"/>
                  <a:pt x="290" y="27"/>
                </a:cubicBezTo>
                <a:cubicBezTo>
                  <a:pt x="286" y="2"/>
                  <a:pt x="286" y="2"/>
                  <a:pt x="286" y="2"/>
                </a:cubicBezTo>
                <a:cubicBezTo>
                  <a:pt x="276" y="1"/>
                  <a:pt x="276" y="1"/>
                  <a:pt x="276" y="1"/>
                </a:cubicBezTo>
                <a:cubicBezTo>
                  <a:pt x="265" y="0"/>
                  <a:pt x="265" y="0"/>
                  <a:pt x="265" y="0"/>
                </a:cubicBezTo>
                <a:cubicBezTo>
                  <a:pt x="257" y="25"/>
                  <a:pt x="257" y="25"/>
                  <a:pt x="257" y="25"/>
                </a:cubicBezTo>
                <a:cubicBezTo>
                  <a:pt x="245" y="24"/>
                  <a:pt x="233" y="25"/>
                  <a:pt x="221" y="27"/>
                </a:cubicBezTo>
                <a:cubicBezTo>
                  <a:pt x="210" y="4"/>
                  <a:pt x="210" y="4"/>
                  <a:pt x="210" y="4"/>
                </a:cubicBezTo>
                <a:cubicBezTo>
                  <a:pt x="200" y="6"/>
                  <a:pt x="200" y="6"/>
                  <a:pt x="200" y="6"/>
                </a:cubicBezTo>
                <a:cubicBezTo>
                  <a:pt x="189" y="8"/>
                  <a:pt x="189" y="8"/>
                  <a:pt x="189" y="8"/>
                </a:cubicBezTo>
                <a:cubicBezTo>
                  <a:pt x="188" y="34"/>
                  <a:pt x="188" y="34"/>
                  <a:pt x="188" y="34"/>
                </a:cubicBezTo>
                <a:cubicBezTo>
                  <a:pt x="177" y="37"/>
                  <a:pt x="166" y="42"/>
                  <a:pt x="155" y="47"/>
                </a:cubicBezTo>
                <a:cubicBezTo>
                  <a:pt x="138" y="28"/>
                  <a:pt x="138" y="28"/>
                  <a:pt x="138" y="28"/>
                </a:cubicBezTo>
                <a:cubicBezTo>
                  <a:pt x="128" y="33"/>
                  <a:pt x="128" y="33"/>
                  <a:pt x="128" y="33"/>
                </a:cubicBezTo>
                <a:cubicBezTo>
                  <a:pt x="119" y="39"/>
                  <a:pt x="119" y="39"/>
                  <a:pt x="119" y="39"/>
                </a:cubicBezTo>
                <a:cubicBezTo>
                  <a:pt x="126" y="63"/>
                  <a:pt x="126" y="63"/>
                  <a:pt x="126" y="63"/>
                </a:cubicBezTo>
                <a:cubicBezTo>
                  <a:pt x="117" y="70"/>
                  <a:pt x="107" y="77"/>
                  <a:pt x="99" y="85"/>
                </a:cubicBezTo>
                <a:cubicBezTo>
                  <a:pt x="98" y="85"/>
                  <a:pt x="98" y="85"/>
                  <a:pt x="98" y="85"/>
                </a:cubicBezTo>
                <a:cubicBezTo>
                  <a:pt x="76" y="72"/>
                  <a:pt x="76" y="72"/>
                  <a:pt x="76" y="72"/>
                </a:cubicBezTo>
                <a:cubicBezTo>
                  <a:pt x="68" y="80"/>
                  <a:pt x="68" y="80"/>
                  <a:pt x="68" y="80"/>
                </a:cubicBezTo>
                <a:cubicBezTo>
                  <a:pt x="61" y="88"/>
                  <a:pt x="61" y="88"/>
                  <a:pt x="61" y="88"/>
                </a:cubicBezTo>
                <a:cubicBezTo>
                  <a:pt x="75" y="110"/>
                  <a:pt x="75" y="110"/>
                  <a:pt x="75" y="110"/>
                </a:cubicBezTo>
                <a:cubicBezTo>
                  <a:pt x="68" y="119"/>
                  <a:pt x="61" y="129"/>
                  <a:pt x="55" y="139"/>
                </a:cubicBezTo>
                <a:cubicBezTo>
                  <a:pt x="30" y="133"/>
                  <a:pt x="30" y="133"/>
                  <a:pt x="30" y="133"/>
                </a:cubicBezTo>
                <a:cubicBezTo>
                  <a:pt x="25" y="143"/>
                  <a:pt x="25" y="143"/>
                  <a:pt x="25" y="143"/>
                </a:cubicBezTo>
                <a:cubicBezTo>
                  <a:pt x="20" y="153"/>
                  <a:pt x="20" y="153"/>
                  <a:pt x="20" y="153"/>
                </a:cubicBezTo>
                <a:cubicBezTo>
                  <a:pt x="40" y="169"/>
                  <a:pt x="40" y="169"/>
                  <a:pt x="40" y="169"/>
                </a:cubicBezTo>
                <a:cubicBezTo>
                  <a:pt x="36" y="180"/>
                  <a:pt x="32" y="191"/>
                  <a:pt x="29" y="203"/>
                </a:cubicBezTo>
                <a:cubicBezTo>
                  <a:pt x="4" y="205"/>
                  <a:pt x="4" y="205"/>
                  <a:pt x="4" y="205"/>
                </a:cubicBezTo>
                <a:cubicBezTo>
                  <a:pt x="2" y="216"/>
                  <a:pt x="2" y="216"/>
                  <a:pt x="2" y="216"/>
                </a:cubicBezTo>
                <a:cubicBezTo>
                  <a:pt x="0" y="226"/>
                  <a:pt x="0" y="226"/>
                  <a:pt x="0" y="226"/>
                </a:cubicBezTo>
                <a:cubicBezTo>
                  <a:pt x="24" y="236"/>
                  <a:pt x="24" y="236"/>
                  <a:pt x="24" y="236"/>
                </a:cubicBezTo>
                <a:cubicBezTo>
                  <a:pt x="23" y="248"/>
                  <a:pt x="23" y="260"/>
                  <a:pt x="24" y="272"/>
                </a:cubicBezTo>
                <a:cubicBezTo>
                  <a:pt x="0" y="281"/>
                  <a:pt x="0" y="281"/>
                  <a:pt x="0" y="281"/>
                </a:cubicBezTo>
                <a:cubicBezTo>
                  <a:pt x="1" y="292"/>
                  <a:pt x="1" y="292"/>
                  <a:pt x="1" y="292"/>
                </a:cubicBezTo>
                <a:cubicBezTo>
                  <a:pt x="3" y="302"/>
                  <a:pt x="3" y="302"/>
                  <a:pt x="3" y="302"/>
                </a:cubicBezTo>
                <a:cubicBezTo>
                  <a:pt x="28" y="305"/>
                  <a:pt x="28" y="305"/>
                  <a:pt x="28" y="305"/>
                </a:cubicBezTo>
                <a:cubicBezTo>
                  <a:pt x="31" y="316"/>
                  <a:pt x="34" y="328"/>
                  <a:pt x="39" y="339"/>
                </a:cubicBezTo>
                <a:cubicBezTo>
                  <a:pt x="19" y="355"/>
                  <a:pt x="19" y="355"/>
                  <a:pt x="19" y="355"/>
                </a:cubicBezTo>
                <a:cubicBezTo>
                  <a:pt x="23" y="365"/>
                  <a:pt x="23" y="365"/>
                  <a:pt x="23" y="365"/>
                </a:cubicBezTo>
                <a:cubicBezTo>
                  <a:pt x="28" y="375"/>
                  <a:pt x="28" y="375"/>
                  <a:pt x="28" y="375"/>
                </a:cubicBezTo>
                <a:cubicBezTo>
                  <a:pt x="53" y="369"/>
                  <a:pt x="53" y="369"/>
                  <a:pt x="53" y="369"/>
                </a:cubicBezTo>
                <a:cubicBezTo>
                  <a:pt x="59" y="379"/>
                  <a:pt x="65" y="389"/>
                  <a:pt x="73" y="399"/>
                </a:cubicBezTo>
                <a:cubicBezTo>
                  <a:pt x="58" y="420"/>
                  <a:pt x="58" y="420"/>
                  <a:pt x="58" y="420"/>
                </a:cubicBezTo>
                <a:cubicBezTo>
                  <a:pt x="66" y="428"/>
                  <a:pt x="66" y="428"/>
                  <a:pt x="66" y="428"/>
                </a:cubicBezTo>
                <a:cubicBezTo>
                  <a:pt x="73" y="436"/>
                  <a:pt x="73" y="436"/>
                  <a:pt x="73" y="436"/>
                </a:cubicBezTo>
                <a:cubicBezTo>
                  <a:pt x="95" y="424"/>
                  <a:pt x="95" y="424"/>
                  <a:pt x="95" y="424"/>
                </a:cubicBezTo>
                <a:cubicBezTo>
                  <a:pt x="104" y="432"/>
                  <a:pt x="113" y="439"/>
                  <a:pt x="123" y="446"/>
                </a:cubicBezTo>
                <a:cubicBezTo>
                  <a:pt x="116" y="471"/>
                  <a:pt x="116" y="471"/>
                  <a:pt x="116" y="471"/>
                </a:cubicBezTo>
                <a:cubicBezTo>
                  <a:pt x="125" y="476"/>
                  <a:pt x="125" y="476"/>
                  <a:pt x="125" y="476"/>
                </a:cubicBezTo>
                <a:cubicBezTo>
                  <a:pt x="134" y="481"/>
                  <a:pt x="134" y="481"/>
                  <a:pt x="134" y="481"/>
                </a:cubicBezTo>
                <a:cubicBezTo>
                  <a:pt x="152" y="463"/>
                  <a:pt x="152" y="463"/>
                  <a:pt x="152" y="463"/>
                </a:cubicBezTo>
                <a:cubicBezTo>
                  <a:pt x="163" y="468"/>
                  <a:pt x="174" y="473"/>
                  <a:pt x="185" y="476"/>
                </a:cubicBezTo>
                <a:cubicBezTo>
                  <a:pt x="185" y="502"/>
                  <a:pt x="185" y="502"/>
                  <a:pt x="185" y="502"/>
                </a:cubicBezTo>
                <a:cubicBezTo>
                  <a:pt x="196" y="504"/>
                  <a:pt x="196" y="504"/>
                  <a:pt x="196" y="504"/>
                </a:cubicBezTo>
                <a:cubicBezTo>
                  <a:pt x="206" y="507"/>
                  <a:pt x="206" y="507"/>
                  <a:pt x="206" y="507"/>
                </a:cubicBezTo>
                <a:cubicBezTo>
                  <a:pt x="218" y="484"/>
                  <a:pt x="218" y="484"/>
                  <a:pt x="218" y="484"/>
                </a:cubicBezTo>
                <a:cubicBezTo>
                  <a:pt x="229" y="486"/>
                  <a:pt x="241" y="487"/>
                  <a:pt x="253" y="487"/>
                </a:cubicBezTo>
                <a:cubicBezTo>
                  <a:pt x="261" y="511"/>
                  <a:pt x="261" y="511"/>
                  <a:pt x="261" y="511"/>
                </a:cubicBezTo>
                <a:cubicBezTo>
                  <a:pt x="271" y="511"/>
                  <a:pt x="271" y="511"/>
                  <a:pt x="271" y="511"/>
                </a:cubicBezTo>
                <a:cubicBezTo>
                  <a:pt x="282" y="510"/>
                  <a:pt x="282" y="510"/>
                  <a:pt x="282" y="510"/>
                </a:cubicBezTo>
                <a:cubicBezTo>
                  <a:pt x="287" y="485"/>
                  <a:pt x="287" y="485"/>
                  <a:pt x="287" y="485"/>
                </a:cubicBezTo>
                <a:cubicBezTo>
                  <a:pt x="298" y="483"/>
                  <a:pt x="310" y="480"/>
                  <a:pt x="321" y="477"/>
                </a:cubicBezTo>
                <a:cubicBezTo>
                  <a:pt x="336" y="498"/>
                  <a:pt x="336" y="498"/>
                  <a:pt x="336" y="498"/>
                </a:cubicBezTo>
                <a:cubicBezTo>
                  <a:pt x="346" y="494"/>
                  <a:pt x="346" y="494"/>
                  <a:pt x="346" y="494"/>
                </a:cubicBezTo>
                <a:cubicBezTo>
                  <a:pt x="356" y="491"/>
                  <a:pt x="356" y="491"/>
                  <a:pt x="356" y="491"/>
                </a:cubicBezTo>
                <a:cubicBezTo>
                  <a:pt x="353" y="465"/>
                  <a:pt x="353" y="465"/>
                  <a:pt x="353" y="465"/>
                </a:cubicBezTo>
                <a:cubicBezTo>
                  <a:pt x="363" y="460"/>
                  <a:pt x="374" y="454"/>
                  <a:pt x="383" y="447"/>
                </a:cubicBezTo>
                <a:cubicBezTo>
                  <a:pt x="404" y="463"/>
                  <a:pt x="404" y="463"/>
                  <a:pt x="404" y="463"/>
                </a:cubicBezTo>
                <a:cubicBezTo>
                  <a:pt x="412" y="457"/>
                  <a:pt x="412" y="457"/>
                  <a:pt x="412" y="457"/>
                </a:cubicBezTo>
                <a:cubicBezTo>
                  <a:pt x="421" y="450"/>
                  <a:pt x="421" y="450"/>
                  <a:pt x="421" y="450"/>
                </a:cubicBezTo>
                <a:cubicBezTo>
                  <a:pt x="410" y="427"/>
                  <a:pt x="410" y="427"/>
                  <a:pt x="410" y="427"/>
                </a:cubicBezTo>
                <a:cubicBezTo>
                  <a:pt x="410" y="427"/>
                  <a:pt x="410" y="427"/>
                  <a:pt x="410" y="426"/>
                </a:cubicBezTo>
                <a:cubicBezTo>
                  <a:pt x="419" y="418"/>
                  <a:pt x="427" y="410"/>
                  <a:pt x="434" y="401"/>
                </a:cubicBezTo>
                <a:cubicBezTo>
                  <a:pt x="458" y="410"/>
                  <a:pt x="458" y="410"/>
                  <a:pt x="458" y="410"/>
                </a:cubicBezTo>
                <a:cubicBezTo>
                  <a:pt x="464" y="401"/>
                  <a:pt x="464" y="401"/>
                  <a:pt x="464" y="401"/>
                </a:cubicBezTo>
                <a:cubicBezTo>
                  <a:pt x="471" y="392"/>
                  <a:pt x="471" y="392"/>
                  <a:pt x="471" y="392"/>
                </a:cubicBezTo>
                <a:cubicBezTo>
                  <a:pt x="453" y="373"/>
                  <a:pt x="453" y="373"/>
                  <a:pt x="453" y="373"/>
                </a:cubicBezTo>
                <a:cubicBezTo>
                  <a:pt x="460" y="363"/>
                  <a:pt x="465" y="352"/>
                  <a:pt x="469" y="341"/>
                </a:cubicBezTo>
                <a:cubicBezTo>
                  <a:pt x="495" y="343"/>
                  <a:pt x="495" y="343"/>
                  <a:pt x="495" y="343"/>
                </a:cubicBezTo>
                <a:cubicBezTo>
                  <a:pt x="498" y="333"/>
                  <a:pt x="498" y="333"/>
                  <a:pt x="498" y="333"/>
                </a:cubicBezTo>
                <a:cubicBezTo>
                  <a:pt x="501" y="323"/>
                  <a:pt x="501" y="323"/>
                  <a:pt x="501" y="323"/>
                </a:cubicBezTo>
                <a:cubicBezTo>
                  <a:pt x="479" y="309"/>
                  <a:pt x="479" y="309"/>
                  <a:pt x="479" y="309"/>
                </a:cubicBezTo>
                <a:cubicBezTo>
                  <a:pt x="482" y="298"/>
                  <a:pt x="484" y="286"/>
                  <a:pt x="485" y="274"/>
                </a:cubicBezTo>
                <a:cubicBezTo>
                  <a:pt x="510" y="269"/>
                  <a:pt x="510" y="269"/>
                  <a:pt x="510" y="269"/>
                </a:cubicBezTo>
                <a:cubicBezTo>
                  <a:pt x="510" y="258"/>
                  <a:pt x="510" y="258"/>
                  <a:pt x="510" y="258"/>
                </a:cubicBezTo>
                <a:cubicBezTo>
                  <a:pt x="510" y="247"/>
                  <a:pt x="510" y="247"/>
                  <a:pt x="510" y="247"/>
                </a:cubicBezTo>
                <a:lnTo>
                  <a:pt x="485" y="241"/>
                </a:lnTo>
                <a:close/>
                <a:moveTo>
                  <a:pt x="454" y="248"/>
                </a:moveTo>
                <a:cubicBezTo>
                  <a:pt x="436" y="248"/>
                  <a:pt x="436" y="248"/>
                  <a:pt x="436" y="248"/>
                </a:cubicBezTo>
                <a:cubicBezTo>
                  <a:pt x="435" y="241"/>
                  <a:pt x="435" y="235"/>
                  <a:pt x="434" y="228"/>
                </a:cubicBezTo>
                <a:cubicBezTo>
                  <a:pt x="452" y="225"/>
                  <a:pt x="452" y="225"/>
                  <a:pt x="452" y="225"/>
                </a:cubicBezTo>
                <a:cubicBezTo>
                  <a:pt x="453" y="232"/>
                  <a:pt x="454" y="240"/>
                  <a:pt x="454" y="248"/>
                </a:cubicBezTo>
                <a:close/>
                <a:moveTo>
                  <a:pt x="451" y="219"/>
                </a:moveTo>
                <a:cubicBezTo>
                  <a:pt x="433" y="222"/>
                  <a:pt x="433" y="222"/>
                  <a:pt x="433" y="222"/>
                </a:cubicBezTo>
                <a:cubicBezTo>
                  <a:pt x="431" y="216"/>
                  <a:pt x="430" y="209"/>
                  <a:pt x="428" y="203"/>
                </a:cubicBezTo>
                <a:cubicBezTo>
                  <a:pt x="446" y="197"/>
                  <a:pt x="446" y="197"/>
                  <a:pt x="446" y="197"/>
                </a:cubicBezTo>
                <a:cubicBezTo>
                  <a:pt x="448" y="204"/>
                  <a:pt x="450" y="212"/>
                  <a:pt x="451" y="219"/>
                </a:cubicBezTo>
                <a:close/>
                <a:moveTo>
                  <a:pt x="444" y="192"/>
                </a:moveTo>
                <a:cubicBezTo>
                  <a:pt x="426" y="197"/>
                  <a:pt x="426" y="197"/>
                  <a:pt x="426" y="197"/>
                </a:cubicBezTo>
                <a:cubicBezTo>
                  <a:pt x="424" y="191"/>
                  <a:pt x="421" y="185"/>
                  <a:pt x="418" y="179"/>
                </a:cubicBezTo>
                <a:cubicBezTo>
                  <a:pt x="435" y="170"/>
                  <a:pt x="435" y="170"/>
                  <a:pt x="435" y="170"/>
                </a:cubicBezTo>
                <a:cubicBezTo>
                  <a:pt x="439" y="177"/>
                  <a:pt x="442" y="184"/>
                  <a:pt x="444" y="192"/>
                </a:cubicBezTo>
                <a:close/>
                <a:moveTo>
                  <a:pt x="421" y="146"/>
                </a:moveTo>
                <a:cubicBezTo>
                  <a:pt x="426" y="152"/>
                  <a:pt x="429" y="159"/>
                  <a:pt x="433" y="165"/>
                </a:cubicBezTo>
                <a:cubicBezTo>
                  <a:pt x="416" y="174"/>
                  <a:pt x="416" y="174"/>
                  <a:pt x="416" y="174"/>
                </a:cubicBezTo>
                <a:cubicBezTo>
                  <a:pt x="413" y="168"/>
                  <a:pt x="410" y="162"/>
                  <a:pt x="406" y="156"/>
                </a:cubicBezTo>
                <a:lnTo>
                  <a:pt x="421" y="146"/>
                </a:lnTo>
                <a:close/>
                <a:moveTo>
                  <a:pt x="418" y="141"/>
                </a:moveTo>
                <a:cubicBezTo>
                  <a:pt x="403" y="151"/>
                  <a:pt x="403" y="151"/>
                  <a:pt x="403" y="151"/>
                </a:cubicBezTo>
                <a:cubicBezTo>
                  <a:pt x="399" y="146"/>
                  <a:pt x="395" y="141"/>
                  <a:pt x="390" y="136"/>
                </a:cubicBezTo>
                <a:cubicBezTo>
                  <a:pt x="404" y="123"/>
                  <a:pt x="404" y="123"/>
                  <a:pt x="404" y="123"/>
                </a:cubicBezTo>
                <a:cubicBezTo>
                  <a:pt x="409" y="129"/>
                  <a:pt x="414" y="135"/>
                  <a:pt x="418" y="141"/>
                </a:cubicBezTo>
                <a:close/>
                <a:moveTo>
                  <a:pt x="400" y="119"/>
                </a:moveTo>
                <a:cubicBezTo>
                  <a:pt x="386" y="132"/>
                  <a:pt x="386" y="132"/>
                  <a:pt x="386" y="132"/>
                </a:cubicBezTo>
                <a:cubicBezTo>
                  <a:pt x="382" y="127"/>
                  <a:pt x="377" y="122"/>
                  <a:pt x="372" y="118"/>
                </a:cubicBezTo>
                <a:cubicBezTo>
                  <a:pt x="384" y="103"/>
                  <a:pt x="384" y="103"/>
                  <a:pt x="384" y="103"/>
                </a:cubicBezTo>
                <a:cubicBezTo>
                  <a:pt x="389" y="108"/>
                  <a:pt x="395" y="113"/>
                  <a:pt x="400" y="119"/>
                </a:cubicBezTo>
                <a:close/>
                <a:moveTo>
                  <a:pt x="361" y="86"/>
                </a:moveTo>
                <a:cubicBezTo>
                  <a:pt x="367" y="90"/>
                  <a:pt x="373" y="95"/>
                  <a:pt x="379" y="99"/>
                </a:cubicBezTo>
                <a:cubicBezTo>
                  <a:pt x="367" y="114"/>
                  <a:pt x="367" y="114"/>
                  <a:pt x="367" y="114"/>
                </a:cubicBezTo>
                <a:cubicBezTo>
                  <a:pt x="362" y="110"/>
                  <a:pt x="356" y="106"/>
                  <a:pt x="351" y="102"/>
                </a:cubicBezTo>
                <a:lnTo>
                  <a:pt x="361" y="86"/>
                </a:lnTo>
                <a:close/>
                <a:moveTo>
                  <a:pt x="356" y="83"/>
                </a:moveTo>
                <a:cubicBezTo>
                  <a:pt x="346" y="100"/>
                  <a:pt x="346" y="100"/>
                  <a:pt x="346" y="100"/>
                </a:cubicBezTo>
                <a:cubicBezTo>
                  <a:pt x="340" y="96"/>
                  <a:pt x="334" y="93"/>
                  <a:pt x="328" y="90"/>
                </a:cubicBezTo>
                <a:cubicBezTo>
                  <a:pt x="335" y="73"/>
                  <a:pt x="335" y="73"/>
                  <a:pt x="335" y="73"/>
                </a:cubicBezTo>
                <a:cubicBezTo>
                  <a:pt x="342" y="76"/>
                  <a:pt x="349" y="79"/>
                  <a:pt x="356" y="83"/>
                </a:cubicBezTo>
                <a:close/>
                <a:moveTo>
                  <a:pt x="309" y="63"/>
                </a:moveTo>
                <a:cubicBezTo>
                  <a:pt x="316" y="65"/>
                  <a:pt x="323" y="68"/>
                  <a:pt x="330" y="71"/>
                </a:cubicBezTo>
                <a:cubicBezTo>
                  <a:pt x="323" y="88"/>
                  <a:pt x="323" y="88"/>
                  <a:pt x="323" y="88"/>
                </a:cubicBezTo>
                <a:cubicBezTo>
                  <a:pt x="317" y="86"/>
                  <a:pt x="310" y="83"/>
                  <a:pt x="304" y="82"/>
                </a:cubicBezTo>
                <a:lnTo>
                  <a:pt x="309" y="63"/>
                </a:lnTo>
                <a:close/>
                <a:moveTo>
                  <a:pt x="281" y="57"/>
                </a:moveTo>
                <a:cubicBezTo>
                  <a:pt x="288" y="58"/>
                  <a:pt x="296" y="60"/>
                  <a:pt x="303" y="62"/>
                </a:cubicBezTo>
                <a:cubicBezTo>
                  <a:pt x="298" y="80"/>
                  <a:pt x="298" y="80"/>
                  <a:pt x="298" y="80"/>
                </a:cubicBezTo>
                <a:cubicBezTo>
                  <a:pt x="292" y="79"/>
                  <a:pt x="285" y="77"/>
                  <a:pt x="278" y="77"/>
                </a:cubicBezTo>
                <a:lnTo>
                  <a:pt x="281" y="57"/>
                </a:lnTo>
                <a:close/>
                <a:moveTo>
                  <a:pt x="275" y="57"/>
                </a:moveTo>
                <a:cubicBezTo>
                  <a:pt x="273" y="76"/>
                  <a:pt x="273" y="76"/>
                  <a:pt x="273" y="76"/>
                </a:cubicBezTo>
                <a:cubicBezTo>
                  <a:pt x="267" y="75"/>
                  <a:pt x="261" y="75"/>
                  <a:pt x="255" y="75"/>
                </a:cubicBezTo>
                <a:cubicBezTo>
                  <a:pt x="254" y="75"/>
                  <a:pt x="253" y="75"/>
                  <a:pt x="253" y="75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60" y="55"/>
                  <a:pt x="267" y="56"/>
                  <a:pt x="275" y="57"/>
                </a:cubicBezTo>
                <a:close/>
                <a:moveTo>
                  <a:pt x="247" y="56"/>
                </a:moveTo>
                <a:cubicBezTo>
                  <a:pt x="247" y="75"/>
                  <a:pt x="247" y="75"/>
                  <a:pt x="247" y="75"/>
                </a:cubicBezTo>
                <a:cubicBezTo>
                  <a:pt x="240" y="75"/>
                  <a:pt x="234" y="76"/>
                  <a:pt x="227" y="77"/>
                </a:cubicBezTo>
                <a:cubicBezTo>
                  <a:pt x="224" y="58"/>
                  <a:pt x="224" y="58"/>
                  <a:pt x="224" y="58"/>
                </a:cubicBezTo>
                <a:cubicBezTo>
                  <a:pt x="231" y="57"/>
                  <a:pt x="239" y="56"/>
                  <a:pt x="247" y="56"/>
                </a:cubicBezTo>
                <a:close/>
                <a:moveTo>
                  <a:pt x="218" y="59"/>
                </a:moveTo>
                <a:cubicBezTo>
                  <a:pt x="221" y="78"/>
                  <a:pt x="221" y="78"/>
                  <a:pt x="221" y="78"/>
                </a:cubicBezTo>
                <a:cubicBezTo>
                  <a:pt x="215" y="79"/>
                  <a:pt x="208" y="81"/>
                  <a:pt x="202" y="83"/>
                </a:cubicBezTo>
                <a:cubicBezTo>
                  <a:pt x="196" y="64"/>
                  <a:pt x="196" y="64"/>
                  <a:pt x="196" y="64"/>
                </a:cubicBezTo>
                <a:cubicBezTo>
                  <a:pt x="203" y="62"/>
                  <a:pt x="211" y="60"/>
                  <a:pt x="218" y="59"/>
                </a:cubicBezTo>
                <a:close/>
                <a:moveTo>
                  <a:pt x="190" y="66"/>
                </a:moveTo>
                <a:cubicBezTo>
                  <a:pt x="197" y="85"/>
                  <a:pt x="197" y="85"/>
                  <a:pt x="197" y="85"/>
                </a:cubicBezTo>
                <a:cubicBezTo>
                  <a:pt x="190" y="87"/>
                  <a:pt x="184" y="89"/>
                  <a:pt x="178" y="92"/>
                </a:cubicBezTo>
                <a:cubicBezTo>
                  <a:pt x="169" y="74"/>
                  <a:pt x="169" y="74"/>
                  <a:pt x="169" y="74"/>
                </a:cubicBezTo>
                <a:cubicBezTo>
                  <a:pt x="176" y="71"/>
                  <a:pt x="183" y="68"/>
                  <a:pt x="190" y="66"/>
                </a:cubicBezTo>
                <a:close/>
                <a:moveTo>
                  <a:pt x="164" y="77"/>
                </a:moveTo>
                <a:cubicBezTo>
                  <a:pt x="173" y="95"/>
                  <a:pt x="173" y="95"/>
                  <a:pt x="173" y="95"/>
                </a:cubicBezTo>
                <a:cubicBezTo>
                  <a:pt x="167" y="98"/>
                  <a:pt x="161" y="101"/>
                  <a:pt x="155" y="105"/>
                </a:cubicBezTo>
                <a:cubicBezTo>
                  <a:pt x="144" y="88"/>
                  <a:pt x="144" y="88"/>
                  <a:pt x="144" y="88"/>
                </a:cubicBezTo>
                <a:cubicBezTo>
                  <a:pt x="151" y="84"/>
                  <a:pt x="157" y="80"/>
                  <a:pt x="164" y="77"/>
                </a:cubicBezTo>
                <a:close/>
                <a:moveTo>
                  <a:pt x="139" y="91"/>
                </a:moveTo>
                <a:cubicBezTo>
                  <a:pt x="151" y="108"/>
                  <a:pt x="151" y="108"/>
                  <a:pt x="151" y="108"/>
                </a:cubicBezTo>
                <a:cubicBezTo>
                  <a:pt x="145" y="112"/>
                  <a:pt x="140" y="116"/>
                  <a:pt x="135" y="121"/>
                </a:cubicBezTo>
                <a:cubicBezTo>
                  <a:pt x="121" y="106"/>
                  <a:pt x="121" y="106"/>
                  <a:pt x="121" y="106"/>
                </a:cubicBezTo>
                <a:cubicBezTo>
                  <a:pt x="127" y="100"/>
                  <a:pt x="133" y="96"/>
                  <a:pt x="139" y="91"/>
                </a:cubicBezTo>
                <a:close/>
                <a:moveTo>
                  <a:pt x="117" y="109"/>
                </a:moveTo>
                <a:cubicBezTo>
                  <a:pt x="131" y="124"/>
                  <a:pt x="131" y="124"/>
                  <a:pt x="131" y="124"/>
                </a:cubicBezTo>
                <a:cubicBezTo>
                  <a:pt x="126" y="129"/>
                  <a:pt x="121" y="134"/>
                  <a:pt x="117" y="139"/>
                </a:cubicBezTo>
                <a:cubicBezTo>
                  <a:pt x="101" y="126"/>
                  <a:pt x="101" y="126"/>
                  <a:pt x="101" y="126"/>
                </a:cubicBezTo>
                <a:cubicBezTo>
                  <a:pt x="106" y="120"/>
                  <a:pt x="111" y="115"/>
                  <a:pt x="117" y="109"/>
                </a:cubicBezTo>
                <a:close/>
                <a:moveTo>
                  <a:pt x="98" y="130"/>
                </a:moveTo>
                <a:cubicBezTo>
                  <a:pt x="113" y="143"/>
                  <a:pt x="113" y="143"/>
                  <a:pt x="113" y="143"/>
                </a:cubicBezTo>
                <a:cubicBezTo>
                  <a:pt x="109" y="149"/>
                  <a:pt x="105" y="154"/>
                  <a:pt x="102" y="160"/>
                </a:cubicBezTo>
                <a:cubicBezTo>
                  <a:pt x="84" y="149"/>
                  <a:pt x="84" y="149"/>
                  <a:pt x="84" y="149"/>
                </a:cubicBezTo>
                <a:cubicBezTo>
                  <a:pt x="88" y="143"/>
                  <a:pt x="93" y="136"/>
                  <a:pt x="98" y="130"/>
                </a:cubicBezTo>
                <a:close/>
                <a:moveTo>
                  <a:pt x="81" y="154"/>
                </a:moveTo>
                <a:cubicBezTo>
                  <a:pt x="99" y="164"/>
                  <a:pt x="99" y="164"/>
                  <a:pt x="99" y="164"/>
                </a:cubicBezTo>
                <a:cubicBezTo>
                  <a:pt x="96" y="170"/>
                  <a:pt x="92" y="176"/>
                  <a:pt x="90" y="182"/>
                </a:cubicBezTo>
                <a:cubicBezTo>
                  <a:pt x="71" y="174"/>
                  <a:pt x="71" y="174"/>
                  <a:pt x="71" y="174"/>
                </a:cubicBezTo>
                <a:cubicBezTo>
                  <a:pt x="74" y="167"/>
                  <a:pt x="77" y="160"/>
                  <a:pt x="81" y="154"/>
                </a:cubicBezTo>
                <a:close/>
                <a:moveTo>
                  <a:pt x="68" y="179"/>
                </a:moveTo>
                <a:cubicBezTo>
                  <a:pt x="88" y="188"/>
                  <a:pt x="88" y="188"/>
                  <a:pt x="88" y="188"/>
                </a:cubicBezTo>
                <a:cubicBezTo>
                  <a:pt x="85" y="194"/>
                  <a:pt x="83" y="200"/>
                  <a:pt x="81" y="207"/>
                </a:cubicBezTo>
                <a:cubicBezTo>
                  <a:pt x="61" y="201"/>
                  <a:pt x="61" y="201"/>
                  <a:pt x="61" y="201"/>
                </a:cubicBezTo>
                <a:cubicBezTo>
                  <a:pt x="63" y="194"/>
                  <a:pt x="66" y="187"/>
                  <a:pt x="68" y="179"/>
                </a:cubicBezTo>
                <a:close/>
                <a:moveTo>
                  <a:pt x="59" y="207"/>
                </a:moveTo>
                <a:cubicBezTo>
                  <a:pt x="80" y="212"/>
                  <a:pt x="80" y="212"/>
                  <a:pt x="80" y="212"/>
                </a:cubicBezTo>
                <a:cubicBezTo>
                  <a:pt x="78" y="218"/>
                  <a:pt x="77" y="225"/>
                  <a:pt x="76" y="232"/>
                </a:cubicBezTo>
                <a:cubicBezTo>
                  <a:pt x="55" y="229"/>
                  <a:pt x="55" y="229"/>
                  <a:pt x="55" y="229"/>
                </a:cubicBezTo>
                <a:cubicBezTo>
                  <a:pt x="56" y="222"/>
                  <a:pt x="58" y="214"/>
                  <a:pt x="59" y="207"/>
                </a:cubicBezTo>
                <a:close/>
                <a:moveTo>
                  <a:pt x="54" y="235"/>
                </a:moveTo>
                <a:cubicBezTo>
                  <a:pt x="75" y="237"/>
                  <a:pt x="75" y="237"/>
                  <a:pt x="75" y="237"/>
                </a:cubicBezTo>
                <a:cubicBezTo>
                  <a:pt x="74" y="243"/>
                  <a:pt x="74" y="250"/>
                  <a:pt x="74" y="256"/>
                </a:cubicBezTo>
                <a:cubicBezTo>
                  <a:pt x="74" y="256"/>
                  <a:pt x="74" y="257"/>
                  <a:pt x="74" y="257"/>
                </a:cubicBezTo>
                <a:cubicBezTo>
                  <a:pt x="53" y="258"/>
                  <a:pt x="53" y="258"/>
                  <a:pt x="53" y="258"/>
                </a:cubicBezTo>
                <a:cubicBezTo>
                  <a:pt x="53" y="250"/>
                  <a:pt x="54" y="243"/>
                  <a:pt x="54" y="235"/>
                </a:cubicBezTo>
                <a:close/>
                <a:moveTo>
                  <a:pt x="53" y="264"/>
                </a:moveTo>
                <a:cubicBezTo>
                  <a:pt x="74" y="263"/>
                  <a:pt x="74" y="263"/>
                  <a:pt x="74" y="263"/>
                </a:cubicBezTo>
                <a:cubicBezTo>
                  <a:pt x="75" y="270"/>
                  <a:pt x="75" y="277"/>
                  <a:pt x="76" y="283"/>
                </a:cubicBezTo>
                <a:cubicBezTo>
                  <a:pt x="56" y="287"/>
                  <a:pt x="56" y="287"/>
                  <a:pt x="56" y="287"/>
                </a:cubicBezTo>
                <a:cubicBezTo>
                  <a:pt x="54" y="279"/>
                  <a:pt x="54" y="271"/>
                  <a:pt x="53" y="264"/>
                </a:cubicBezTo>
                <a:close/>
                <a:moveTo>
                  <a:pt x="57" y="292"/>
                </a:moveTo>
                <a:cubicBezTo>
                  <a:pt x="77" y="289"/>
                  <a:pt x="77" y="289"/>
                  <a:pt x="77" y="289"/>
                </a:cubicBezTo>
                <a:cubicBezTo>
                  <a:pt x="78" y="295"/>
                  <a:pt x="80" y="302"/>
                  <a:pt x="82" y="308"/>
                </a:cubicBezTo>
                <a:cubicBezTo>
                  <a:pt x="62" y="315"/>
                  <a:pt x="62" y="315"/>
                  <a:pt x="62" y="315"/>
                </a:cubicBezTo>
                <a:cubicBezTo>
                  <a:pt x="60" y="307"/>
                  <a:pt x="58" y="300"/>
                  <a:pt x="57" y="292"/>
                </a:cubicBezTo>
                <a:close/>
                <a:moveTo>
                  <a:pt x="72" y="341"/>
                </a:moveTo>
                <a:cubicBezTo>
                  <a:pt x="69" y="334"/>
                  <a:pt x="66" y="327"/>
                  <a:pt x="64" y="320"/>
                </a:cubicBezTo>
                <a:cubicBezTo>
                  <a:pt x="84" y="314"/>
                  <a:pt x="84" y="314"/>
                  <a:pt x="84" y="314"/>
                </a:cubicBezTo>
                <a:cubicBezTo>
                  <a:pt x="86" y="320"/>
                  <a:pt x="88" y="326"/>
                  <a:pt x="91" y="332"/>
                </a:cubicBezTo>
                <a:lnTo>
                  <a:pt x="72" y="341"/>
                </a:lnTo>
                <a:close/>
                <a:moveTo>
                  <a:pt x="75" y="347"/>
                </a:moveTo>
                <a:cubicBezTo>
                  <a:pt x="94" y="337"/>
                  <a:pt x="94" y="337"/>
                  <a:pt x="94" y="337"/>
                </a:cubicBezTo>
                <a:cubicBezTo>
                  <a:pt x="97" y="343"/>
                  <a:pt x="100" y="349"/>
                  <a:pt x="104" y="355"/>
                </a:cubicBezTo>
                <a:cubicBezTo>
                  <a:pt x="86" y="367"/>
                  <a:pt x="86" y="367"/>
                  <a:pt x="86" y="367"/>
                </a:cubicBezTo>
                <a:cubicBezTo>
                  <a:pt x="82" y="360"/>
                  <a:pt x="78" y="353"/>
                  <a:pt x="75" y="347"/>
                </a:cubicBezTo>
                <a:close/>
                <a:moveTo>
                  <a:pt x="90" y="371"/>
                </a:moveTo>
                <a:cubicBezTo>
                  <a:pt x="107" y="359"/>
                  <a:pt x="107" y="359"/>
                  <a:pt x="107" y="359"/>
                </a:cubicBezTo>
                <a:cubicBezTo>
                  <a:pt x="111" y="365"/>
                  <a:pt x="115" y="370"/>
                  <a:pt x="119" y="375"/>
                </a:cubicBezTo>
                <a:cubicBezTo>
                  <a:pt x="104" y="389"/>
                  <a:pt x="104" y="389"/>
                  <a:pt x="104" y="389"/>
                </a:cubicBezTo>
                <a:cubicBezTo>
                  <a:pt x="99" y="383"/>
                  <a:pt x="94" y="377"/>
                  <a:pt x="90" y="371"/>
                </a:cubicBezTo>
                <a:close/>
                <a:moveTo>
                  <a:pt x="124" y="409"/>
                </a:moveTo>
                <a:cubicBezTo>
                  <a:pt x="119" y="404"/>
                  <a:pt x="113" y="399"/>
                  <a:pt x="108" y="393"/>
                </a:cubicBezTo>
                <a:cubicBezTo>
                  <a:pt x="123" y="379"/>
                  <a:pt x="123" y="379"/>
                  <a:pt x="123" y="379"/>
                </a:cubicBezTo>
                <a:cubicBezTo>
                  <a:pt x="128" y="384"/>
                  <a:pt x="133" y="389"/>
                  <a:pt x="138" y="393"/>
                </a:cubicBezTo>
                <a:lnTo>
                  <a:pt x="124" y="409"/>
                </a:lnTo>
                <a:close/>
                <a:moveTo>
                  <a:pt x="148" y="426"/>
                </a:moveTo>
                <a:cubicBezTo>
                  <a:pt x="141" y="422"/>
                  <a:pt x="135" y="418"/>
                  <a:pt x="129" y="413"/>
                </a:cubicBezTo>
                <a:cubicBezTo>
                  <a:pt x="142" y="397"/>
                  <a:pt x="142" y="397"/>
                  <a:pt x="142" y="397"/>
                </a:cubicBezTo>
                <a:cubicBezTo>
                  <a:pt x="147" y="401"/>
                  <a:pt x="153" y="405"/>
                  <a:pt x="158" y="409"/>
                </a:cubicBezTo>
                <a:lnTo>
                  <a:pt x="148" y="426"/>
                </a:lnTo>
                <a:close/>
                <a:moveTo>
                  <a:pt x="152" y="429"/>
                </a:moveTo>
                <a:cubicBezTo>
                  <a:pt x="163" y="412"/>
                  <a:pt x="163" y="412"/>
                  <a:pt x="163" y="412"/>
                </a:cubicBezTo>
                <a:cubicBezTo>
                  <a:pt x="169" y="415"/>
                  <a:pt x="175" y="418"/>
                  <a:pt x="181" y="421"/>
                </a:cubicBezTo>
                <a:cubicBezTo>
                  <a:pt x="173" y="440"/>
                  <a:pt x="173" y="440"/>
                  <a:pt x="173" y="440"/>
                </a:cubicBezTo>
                <a:cubicBezTo>
                  <a:pt x="166" y="437"/>
                  <a:pt x="159" y="433"/>
                  <a:pt x="152" y="429"/>
                </a:cubicBezTo>
                <a:close/>
                <a:moveTo>
                  <a:pt x="200" y="449"/>
                </a:moveTo>
                <a:cubicBezTo>
                  <a:pt x="193" y="447"/>
                  <a:pt x="185" y="445"/>
                  <a:pt x="178" y="442"/>
                </a:cubicBezTo>
                <a:cubicBezTo>
                  <a:pt x="186" y="423"/>
                  <a:pt x="186" y="423"/>
                  <a:pt x="186" y="423"/>
                </a:cubicBezTo>
                <a:cubicBezTo>
                  <a:pt x="192" y="426"/>
                  <a:pt x="199" y="428"/>
                  <a:pt x="205" y="430"/>
                </a:cubicBezTo>
                <a:lnTo>
                  <a:pt x="200" y="449"/>
                </a:lnTo>
                <a:close/>
                <a:moveTo>
                  <a:pt x="228" y="455"/>
                </a:moveTo>
                <a:cubicBezTo>
                  <a:pt x="221" y="454"/>
                  <a:pt x="213" y="453"/>
                  <a:pt x="206" y="451"/>
                </a:cubicBezTo>
                <a:cubicBezTo>
                  <a:pt x="211" y="431"/>
                  <a:pt x="211" y="431"/>
                  <a:pt x="211" y="431"/>
                </a:cubicBezTo>
                <a:cubicBezTo>
                  <a:pt x="217" y="433"/>
                  <a:pt x="224" y="434"/>
                  <a:pt x="231" y="435"/>
                </a:cubicBezTo>
                <a:lnTo>
                  <a:pt x="228" y="455"/>
                </a:lnTo>
                <a:close/>
                <a:moveTo>
                  <a:pt x="234" y="456"/>
                </a:moveTo>
                <a:cubicBezTo>
                  <a:pt x="236" y="436"/>
                  <a:pt x="236" y="436"/>
                  <a:pt x="236" y="436"/>
                </a:cubicBezTo>
                <a:cubicBezTo>
                  <a:pt x="242" y="436"/>
                  <a:pt x="249" y="437"/>
                  <a:pt x="255" y="437"/>
                </a:cubicBezTo>
                <a:cubicBezTo>
                  <a:pt x="255" y="437"/>
                  <a:pt x="256" y="437"/>
                  <a:pt x="256" y="437"/>
                </a:cubicBezTo>
                <a:cubicBezTo>
                  <a:pt x="257" y="457"/>
                  <a:pt x="257" y="457"/>
                  <a:pt x="257" y="457"/>
                </a:cubicBezTo>
                <a:cubicBezTo>
                  <a:pt x="249" y="457"/>
                  <a:pt x="242" y="457"/>
                  <a:pt x="234" y="456"/>
                </a:cubicBezTo>
                <a:close/>
                <a:moveTo>
                  <a:pt x="263" y="457"/>
                </a:moveTo>
                <a:cubicBezTo>
                  <a:pt x="262" y="436"/>
                  <a:pt x="262" y="436"/>
                  <a:pt x="262" y="436"/>
                </a:cubicBezTo>
                <a:cubicBezTo>
                  <a:pt x="269" y="436"/>
                  <a:pt x="276" y="436"/>
                  <a:pt x="282" y="435"/>
                </a:cubicBezTo>
                <a:cubicBezTo>
                  <a:pt x="286" y="454"/>
                  <a:pt x="286" y="454"/>
                  <a:pt x="286" y="454"/>
                </a:cubicBezTo>
                <a:cubicBezTo>
                  <a:pt x="278" y="455"/>
                  <a:pt x="270" y="456"/>
                  <a:pt x="263" y="457"/>
                </a:cubicBezTo>
                <a:close/>
                <a:moveTo>
                  <a:pt x="255" y="412"/>
                </a:moveTo>
                <a:cubicBezTo>
                  <a:pt x="169" y="412"/>
                  <a:pt x="99" y="342"/>
                  <a:pt x="99" y="256"/>
                </a:cubicBezTo>
                <a:cubicBezTo>
                  <a:pt x="99" y="170"/>
                  <a:pt x="169" y="100"/>
                  <a:pt x="255" y="100"/>
                </a:cubicBezTo>
                <a:cubicBezTo>
                  <a:pt x="341" y="100"/>
                  <a:pt x="411" y="170"/>
                  <a:pt x="411" y="256"/>
                </a:cubicBezTo>
                <a:cubicBezTo>
                  <a:pt x="411" y="342"/>
                  <a:pt x="341" y="412"/>
                  <a:pt x="255" y="412"/>
                </a:cubicBezTo>
                <a:close/>
                <a:moveTo>
                  <a:pt x="291" y="453"/>
                </a:moveTo>
                <a:cubicBezTo>
                  <a:pt x="288" y="434"/>
                  <a:pt x="288" y="434"/>
                  <a:pt x="288" y="434"/>
                </a:cubicBezTo>
                <a:cubicBezTo>
                  <a:pt x="294" y="432"/>
                  <a:pt x="301" y="431"/>
                  <a:pt x="307" y="429"/>
                </a:cubicBezTo>
                <a:cubicBezTo>
                  <a:pt x="313" y="448"/>
                  <a:pt x="313" y="448"/>
                  <a:pt x="313" y="448"/>
                </a:cubicBezTo>
                <a:cubicBezTo>
                  <a:pt x="306" y="450"/>
                  <a:pt x="299" y="452"/>
                  <a:pt x="291" y="453"/>
                </a:cubicBezTo>
                <a:close/>
                <a:moveTo>
                  <a:pt x="319" y="446"/>
                </a:moveTo>
                <a:cubicBezTo>
                  <a:pt x="313" y="427"/>
                  <a:pt x="313" y="427"/>
                  <a:pt x="313" y="427"/>
                </a:cubicBezTo>
                <a:cubicBezTo>
                  <a:pt x="319" y="425"/>
                  <a:pt x="325" y="422"/>
                  <a:pt x="332" y="420"/>
                </a:cubicBezTo>
                <a:cubicBezTo>
                  <a:pt x="340" y="437"/>
                  <a:pt x="340" y="437"/>
                  <a:pt x="340" y="437"/>
                </a:cubicBezTo>
                <a:cubicBezTo>
                  <a:pt x="333" y="441"/>
                  <a:pt x="326" y="444"/>
                  <a:pt x="319" y="446"/>
                </a:cubicBezTo>
                <a:close/>
                <a:moveTo>
                  <a:pt x="345" y="435"/>
                </a:moveTo>
                <a:cubicBezTo>
                  <a:pt x="337" y="417"/>
                  <a:pt x="337" y="417"/>
                  <a:pt x="337" y="417"/>
                </a:cubicBezTo>
                <a:cubicBezTo>
                  <a:pt x="343" y="414"/>
                  <a:pt x="348" y="411"/>
                  <a:pt x="354" y="407"/>
                </a:cubicBezTo>
                <a:cubicBezTo>
                  <a:pt x="365" y="423"/>
                  <a:pt x="365" y="423"/>
                  <a:pt x="365" y="423"/>
                </a:cubicBezTo>
                <a:cubicBezTo>
                  <a:pt x="359" y="428"/>
                  <a:pt x="352" y="431"/>
                  <a:pt x="345" y="435"/>
                </a:cubicBezTo>
                <a:close/>
                <a:moveTo>
                  <a:pt x="370" y="420"/>
                </a:moveTo>
                <a:cubicBezTo>
                  <a:pt x="359" y="404"/>
                  <a:pt x="359" y="404"/>
                  <a:pt x="359" y="404"/>
                </a:cubicBezTo>
                <a:cubicBezTo>
                  <a:pt x="364" y="400"/>
                  <a:pt x="370" y="396"/>
                  <a:pt x="375" y="391"/>
                </a:cubicBezTo>
                <a:cubicBezTo>
                  <a:pt x="388" y="406"/>
                  <a:pt x="388" y="406"/>
                  <a:pt x="388" y="406"/>
                </a:cubicBezTo>
                <a:cubicBezTo>
                  <a:pt x="382" y="411"/>
                  <a:pt x="376" y="416"/>
                  <a:pt x="370" y="420"/>
                </a:cubicBezTo>
                <a:close/>
                <a:moveTo>
                  <a:pt x="392" y="402"/>
                </a:moveTo>
                <a:cubicBezTo>
                  <a:pt x="379" y="387"/>
                  <a:pt x="379" y="387"/>
                  <a:pt x="379" y="387"/>
                </a:cubicBezTo>
                <a:cubicBezTo>
                  <a:pt x="384" y="383"/>
                  <a:pt x="388" y="378"/>
                  <a:pt x="393" y="373"/>
                </a:cubicBezTo>
                <a:cubicBezTo>
                  <a:pt x="408" y="385"/>
                  <a:pt x="408" y="385"/>
                  <a:pt x="408" y="385"/>
                </a:cubicBezTo>
                <a:cubicBezTo>
                  <a:pt x="403" y="391"/>
                  <a:pt x="398" y="397"/>
                  <a:pt x="392" y="402"/>
                </a:cubicBezTo>
                <a:close/>
                <a:moveTo>
                  <a:pt x="411" y="381"/>
                </a:moveTo>
                <a:cubicBezTo>
                  <a:pt x="396" y="368"/>
                  <a:pt x="396" y="368"/>
                  <a:pt x="396" y="368"/>
                </a:cubicBezTo>
                <a:cubicBezTo>
                  <a:pt x="400" y="363"/>
                  <a:pt x="404" y="358"/>
                  <a:pt x="408" y="352"/>
                </a:cubicBezTo>
                <a:cubicBezTo>
                  <a:pt x="424" y="362"/>
                  <a:pt x="424" y="362"/>
                  <a:pt x="424" y="362"/>
                </a:cubicBezTo>
                <a:cubicBezTo>
                  <a:pt x="420" y="368"/>
                  <a:pt x="416" y="375"/>
                  <a:pt x="411" y="381"/>
                </a:cubicBezTo>
                <a:close/>
                <a:moveTo>
                  <a:pt x="427" y="357"/>
                </a:moveTo>
                <a:cubicBezTo>
                  <a:pt x="411" y="347"/>
                  <a:pt x="411" y="347"/>
                  <a:pt x="411" y="347"/>
                </a:cubicBezTo>
                <a:cubicBezTo>
                  <a:pt x="414" y="341"/>
                  <a:pt x="417" y="335"/>
                  <a:pt x="420" y="329"/>
                </a:cubicBezTo>
                <a:cubicBezTo>
                  <a:pt x="438" y="337"/>
                  <a:pt x="438" y="337"/>
                  <a:pt x="438" y="337"/>
                </a:cubicBezTo>
                <a:cubicBezTo>
                  <a:pt x="435" y="344"/>
                  <a:pt x="431" y="350"/>
                  <a:pt x="427" y="357"/>
                </a:cubicBezTo>
                <a:close/>
                <a:moveTo>
                  <a:pt x="440" y="331"/>
                </a:moveTo>
                <a:cubicBezTo>
                  <a:pt x="422" y="324"/>
                  <a:pt x="422" y="324"/>
                  <a:pt x="422" y="324"/>
                </a:cubicBezTo>
                <a:cubicBezTo>
                  <a:pt x="425" y="318"/>
                  <a:pt x="427" y="311"/>
                  <a:pt x="429" y="305"/>
                </a:cubicBezTo>
                <a:cubicBezTo>
                  <a:pt x="447" y="310"/>
                  <a:pt x="447" y="310"/>
                  <a:pt x="447" y="310"/>
                </a:cubicBezTo>
                <a:cubicBezTo>
                  <a:pt x="445" y="317"/>
                  <a:pt x="443" y="324"/>
                  <a:pt x="440" y="331"/>
                </a:cubicBezTo>
                <a:close/>
                <a:moveTo>
                  <a:pt x="449" y="304"/>
                </a:moveTo>
                <a:cubicBezTo>
                  <a:pt x="430" y="299"/>
                  <a:pt x="430" y="299"/>
                  <a:pt x="430" y="299"/>
                </a:cubicBezTo>
                <a:cubicBezTo>
                  <a:pt x="432" y="293"/>
                  <a:pt x="433" y="286"/>
                  <a:pt x="434" y="279"/>
                </a:cubicBezTo>
                <a:cubicBezTo>
                  <a:pt x="453" y="282"/>
                  <a:pt x="453" y="282"/>
                  <a:pt x="453" y="282"/>
                </a:cubicBezTo>
                <a:cubicBezTo>
                  <a:pt x="452" y="289"/>
                  <a:pt x="451" y="297"/>
                  <a:pt x="449" y="304"/>
                </a:cubicBezTo>
                <a:close/>
                <a:moveTo>
                  <a:pt x="454" y="276"/>
                </a:moveTo>
                <a:cubicBezTo>
                  <a:pt x="435" y="274"/>
                  <a:pt x="435" y="274"/>
                  <a:pt x="435" y="274"/>
                </a:cubicBezTo>
                <a:cubicBezTo>
                  <a:pt x="435" y="268"/>
                  <a:pt x="436" y="262"/>
                  <a:pt x="436" y="256"/>
                </a:cubicBezTo>
                <a:cubicBezTo>
                  <a:pt x="436" y="255"/>
                  <a:pt x="436" y="254"/>
                  <a:pt x="436" y="254"/>
                </a:cubicBezTo>
                <a:cubicBezTo>
                  <a:pt x="455" y="253"/>
                  <a:pt x="455" y="253"/>
                  <a:pt x="455" y="253"/>
                </a:cubicBezTo>
                <a:cubicBezTo>
                  <a:pt x="455" y="261"/>
                  <a:pt x="454" y="269"/>
                  <a:pt x="454" y="276"/>
                </a:cubicBezTo>
                <a:close/>
              </a:path>
            </a:pathLst>
          </a:custGeom>
          <a:solidFill>
            <a:schemeClr val="accent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3" name="Freeform 13"/>
          <p:cNvSpPr>
            <a:spLocks noEditPoints="1"/>
          </p:cNvSpPr>
          <p:nvPr/>
        </p:nvSpPr>
        <p:spPr bwMode="auto">
          <a:xfrm>
            <a:off x="9594850" y="5048250"/>
            <a:ext cx="5232400" cy="5232400"/>
          </a:xfrm>
          <a:custGeom>
            <a:avLst/>
            <a:gdLst>
              <a:gd name="T0" fmla="*/ 404 w 406"/>
              <a:gd name="T1" fmla="*/ 197 h 406"/>
              <a:gd name="T2" fmla="*/ 400 w 406"/>
              <a:gd name="T3" fmla="*/ 165 h 406"/>
              <a:gd name="T4" fmla="*/ 392 w 406"/>
              <a:gd name="T5" fmla="*/ 134 h 406"/>
              <a:gd name="T6" fmla="*/ 378 w 406"/>
              <a:gd name="T7" fmla="*/ 105 h 406"/>
              <a:gd name="T8" fmla="*/ 360 w 406"/>
              <a:gd name="T9" fmla="*/ 78 h 406"/>
              <a:gd name="T10" fmla="*/ 339 w 406"/>
              <a:gd name="T11" fmla="*/ 55 h 406"/>
              <a:gd name="T12" fmla="*/ 313 w 406"/>
              <a:gd name="T13" fmla="*/ 35 h 406"/>
              <a:gd name="T14" fmla="*/ 285 w 406"/>
              <a:gd name="T15" fmla="*/ 20 h 406"/>
              <a:gd name="T16" fmla="*/ 255 w 406"/>
              <a:gd name="T17" fmla="*/ 9 h 406"/>
              <a:gd name="T18" fmla="*/ 224 w 406"/>
              <a:gd name="T19" fmla="*/ 3 h 406"/>
              <a:gd name="T20" fmla="*/ 192 w 406"/>
              <a:gd name="T21" fmla="*/ 2 h 406"/>
              <a:gd name="T22" fmla="*/ 160 w 406"/>
              <a:gd name="T23" fmla="*/ 5 h 406"/>
              <a:gd name="T24" fmla="*/ 130 w 406"/>
              <a:gd name="T25" fmla="*/ 14 h 406"/>
              <a:gd name="T26" fmla="*/ 101 w 406"/>
              <a:gd name="T27" fmla="*/ 28 h 406"/>
              <a:gd name="T28" fmla="*/ 76 w 406"/>
              <a:gd name="T29" fmla="*/ 49 h 406"/>
              <a:gd name="T30" fmla="*/ 54 w 406"/>
              <a:gd name="T31" fmla="*/ 70 h 406"/>
              <a:gd name="T32" fmla="*/ 35 w 406"/>
              <a:gd name="T33" fmla="*/ 95 h 406"/>
              <a:gd name="T34" fmla="*/ 20 w 406"/>
              <a:gd name="T35" fmla="*/ 123 h 406"/>
              <a:gd name="T36" fmla="*/ 10 w 406"/>
              <a:gd name="T37" fmla="*/ 152 h 406"/>
              <a:gd name="T38" fmla="*/ 4 w 406"/>
              <a:gd name="T39" fmla="*/ 183 h 406"/>
              <a:gd name="T40" fmla="*/ 4 w 406"/>
              <a:gd name="T41" fmla="*/ 214 h 406"/>
              <a:gd name="T42" fmla="*/ 8 w 406"/>
              <a:gd name="T43" fmla="*/ 245 h 406"/>
              <a:gd name="T44" fmla="*/ 16 w 406"/>
              <a:gd name="T45" fmla="*/ 274 h 406"/>
              <a:gd name="T46" fmla="*/ 29 w 406"/>
              <a:gd name="T47" fmla="*/ 302 h 406"/>
              <a:gd name="T48" fmla="*/ 47 w 406"/>
              <a:gd name="T49" fmla="*/ 328 h 406"/>
              <a:gd name="T50" fmla="*/ 68 w 406"/>
              <a:gd name="T51" fmla="*/ 350 h 406"/>
              <a:gd name="T52" fmla="*/ 92 w 406"/>
              <a:gd name="T53" fmla="*/ 369 h 406"/>
              <a:gd name="T54" fmla="*/ 119 w 406"/>
              <a:gd name="T55" fmla="*/ 384 h 406"/>
              <a:gd name="T56" fmla="*/ 148 w 406"/>
              <a:gd name="T57" fmla="*/ 395 h 406"/>
              <a:gd name="T58" fmla="*/ 178 w 406"/>
              <a:gd name="T59" fmla="*/ 401 h 406"/>
              <a:gd name="T60" fmla="*/ 209 w 406"/>
              <a:gd name="T61" fmla="*/ 403 h 406"/>
              <a:gd name="T62" fmla="*/ 240 w 406"/>
              <a:gd name="T63" fmla="*/ 399 h 406"/>
              <a:gd name="T64" fmla="*/ 270 w 406"/>
              <a:gd name="T65" fmla="*/ 391 h 406"/>
              <a:gd name="T66" fmla="*/ 299 w 406"/>
              <a:gd name="T67" fmla="*/ 379 h 406"/>
              <a:gd name="T68" fmla="*/ 325 w 406"/>
              <a:gd name="T69" fmla="*/ 362 h 406"/>
              <a:gd name="T70" fmla="*/ 364 w 406"/>
              <a:gd name="T71" fmla="*/ 326 h 406"/>
              <a:gd name="T72" fmla="*/ 381 w 406"/>
              <a:gd name="T73" fmla="*/ 299 h 406"/>
              <a:gd name="T74" fmla="*/ 394 w 406"/>
              <a:gd name="T75" fmla="*/ 270 h 406"/>
              <a:gd name="T76" fmla="*/ 401 w 406"/>
              <a:gd name="T77" fmla="*/ 239 h 406"/>
              <a:gd name="T78" fmla="*/ 355 w 406"/>
              <a:gd name="T79" fmla="*/ 222 h 406"/>
              <a:gd name="T80" fmla="*/ 355 w 406"/>
              <a:gd name="T81" fmla="*/ 222 h 406"/>
              <a:gd name="T82" fmla="*/ 310 w 406"/>
              <a:gd name="T83" fmla="*/ 93 h 406"/>
              <a:gd name="T84" fmla="*/ 191 w 406"/>
              <a:gd name="T85" fmla="*/ 72 h 406"/>
              <a:gd name="T86" fmla="*/ 162 w 406"/>
              <a:gd name="T87" fmla="*/ 56 h 406"/>
              <a:gd name="T88" fmla="*/ 84 w 406"/>
              <a:gd name="T89" fmla="*/ 148 h 406"/>
              <a:gd name="T90" fmla="*/ 66 w 406"/>
              <a:gd name="T91" fmla="*/ 159 h 406"/>
              <a:gd name="T92" fmla="*/ 74 w 406"/>
              <a:gd name="T93" fmla="*/ 179 h 406"/>
              <a:gd name="T94" fmla="*/ 84 w 406"/>
              <a:gd name="T95" fmla="*/ 312 h 406"/>
              <a:gd name="T96" fmla="*/ 111 w 406"/>
              <a:gd name="T97" fmla="*/ 325 h 406"/>
              <a:gd name="T98" fmla="*/ 203 w 406"/>
              <a:gd name="T99" fmla="*/ 317 h 406"/>
              <a:gd name="T100" fmla="*/ 238 w 406"/>
              <a:gd name="T101" fmla="*/ 361 h 406"/>
              <a:gd name="T102" fmla="*/ 306 w 406"/>
              <a:gd name="T103" fmla="*/ 316 h 406"/>
              <a:gd name="T104" fmla="*/ 306 w 406"/>
              <a:gd name="T105" fmla="*/ 316 h 406"/>
              <a:gd name="T106" fmla="*/ 357 w 406"/>
              <a:gd name="T107" fmla="*/ 252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06" h="406">
                <a:moveTo>
                  <a:pt x="386" y="217"/>
                </a:moveTo>
                <a:cubicBezTo>
                  <a:pt x="386" y="211"/>
                  <a:pt x="394" y="206"/>
                  <a:pt x="404" y="207"/>
                </a:cubicBezTo>
                <a:cubicBezTo>
                  <a:pt x="405" y="207"/>
                  <a:pt x="406" y="207"/>
                  <a:pt x="406" y="207"/>
                </a:cubicBezTo>
                <a:cubicBezTo>
                  <a:pt x="406" y="203"/>
                  <a:pt x="406" y="200"/>
                  <a:pt x="406" y="196"/>
                </a:cubicBezTo>
                <a:cubicBezTo>
                  <a:pt x="406" y="196"/>
                  <a:pt x="405" y="196"/>
                  <a:pt x="404" y="197"/>
                </a:cubicBezTo>
                <a:cubicBezTo>
                  <a:pt x="395" y="198"/>
                  <a:pt x="386" y="194"/>
                  <a:pt x="386" y="188"/>
                </a:cubicBezTo>
                <a:cubicBezTo>
                  <a:pt x="385" y="182"/>
                  <a:pt x="392" y="176"/>
                  <a:pt x="402" y="175"/>
                </a:cubicBezTo>
                <a:cubicBezTo>
                  <a:pt x="403" y="175"/>
                  <a:pt x="404" y="175"/>
                  <a:pt x="404" y="175"/>
                </a:cubicBezTo>
                <a:cubicBezTo>
                  <a:pt x="404" y="171"/>
                  <a:pt x="403" y="168"/>
                  <a:pt x="403" y="164"/>
                </a:cubicBezTo>
                <a:cubicBezTo>
                  <a:pt x="402" y="164"/>
                  <a:pt x="401" y="165"/>
                  <a:pt x="400" y="165"/>
                </a:cubicBezTo>
                <a:cubicBezTo>
                  <a:pt x="391" y="167"/>
                  <a:pt x="382" y="165"/>
                  <a:pt x="381" y="159"/>
                </a:cubicBezTo>
                <a:cubicBezTo>
                  <a:pt x="379" y="153"/>
                  <a:pt x="385" y="146"/>
                  <a:pt x="395" y="144"/>
                </a:cubicBezTo>
                <a:cubicBezTo>
                  <a:pt x="396" y="144"/>
                  <a:pt x="397" y="143"/>
                  <a:pt x="397" y="143"/>
                </a:cubicBezTo>
                <a:cubicBezTo>
                  <a:pt x="396" y="140"/>
                  <a:pt x="395" y="136"/>
                  <a:pt x="394" y="133"/>
                </a:cubicBezTo>
                <a:cubicBezTo>
                  <a:pt x="393" y="133"/>
                  <a:pt x="392" y="134"/>
                  <a:pt x="392" y="134"/>
                </a:cubicBezTo>
                <a:cubicBezTo>
                  <a:pt x="383" y="138"/>
                  <a:pt x="374" y="137"/>
                  <a:pt x="371" y="131"/>
                </a:cubicBezTo>
                <a:cubicBezTo>
                  <a:pt x="369" y="126"/>
                  <a:pt x="374" y="118"/>
                  <a:pt x="383" y="114"/>
                </a:cubicBezTo>
                <a:cubicBezTo>
                  <a:pt x="384" y="114"/>
                  <a:pt x="385" y="113"/>
                  <a:pt x="386" y="113"/>
                </a:cubicBezTo>
                <a:cubicBezTo>
                  <a:pt x="384" y="110"/>
                  <a:pt x="382" y="107"/>
                  <a:pt x="380" y="103"/>
                </a:cubicBezTo>
                <a:cubicBezTo>
                  <a:pt x="380" y="104"/>
                  <a:pt x="379" y="105"/>
                  <a:pt x="378" y="105"/>
                </a:cubicBezTo>
                <a:cubicBezTo>
                  <a:pt x="370" y="110"/>
                  <a:pt x="361" y="111"/>
                  <a:pt x="358" y="106"/>
                </a:cubicBezTo>
                <a:cubicBezTo>
                  <a:pt x="354" y="101"/>
                  <a:pt x="358" y="92"/>
                  <a:pt x="366" y="87"/>
                </a:cubicBezTo>
                <a:cubicBezTo>
                  <a:pt x="367" y="86"/>
                  <a:pt x="368" y="86"/>
                  <a:pt x="369" y="85"/>
                </a:cubicBezTo>
                <a:cubicBezTo>
                  <a:pt x="367" y="82"/>
                  <a:pt x="365" y="79"/>
                  <a:pt x="362" y="76"/>
                </a:cubicBezTo>
                <a:cubicBezTo>
                  <a:pt x="362" y="77"/>
                  <a:pt x="361" y="78"/>
                  <a:pt x="360" y="78"/>
                </a:cubicBezTo>
                <a:cubicBezTo>
                  <a:pt x="353" y="85"/>
                  <a:pt x="344" y="87"/>
                  <a:pt x="340" y="82"/>
                </a:cubicBezTo>
                <a:cubicBezTo>
                  <a:pt x="336" y="78"/>
                  <a:pt x="339" y="69"/>
                  <a:pt x="346" y="62"/>
                </a:cubicBezTo>
                <a:cubicBezTo>
                  <a:pt x="346" y="62"/>
                  <a:pt x="347" y="61"/>
                  <a:pt x="348" y="60"/>
                </a:cubicBezTo>
                <a:cubicBezTo>
                  <a:pt x="346" y="58"/>
                  <a:pt x="343" y="55"/>
                  <a:pt x="340" y="53"/>
                </a:cubicBezTo>
                <a:cubicBezTo>
                  <a:pt x="340" y="54"/>
                  <a:pt x="339" y="54"/>
                  <a:pt x="339" y="55"/>
                </a:cubicBezTo>
                <a:cubicBezTo>
                  <a:pt x="333" y="63"/>
                  <a:pt x="324" y="66"/>
                  <a:pt x="319" y="62"/>
                </a:cubicBezTo>
                <a:cubicBezTo>
                  <a:pt x="314" y="58"/>
                  <a:pt x="316" y="49"/>
                  <a:pt x="322" y="42"/>
                </a:cubicBezTo>
                <a:cubicBezTo>
                  <a:pt x="322" y="41"/>
                  <a:pt x="323" y="40"/>
                  <a:pt x="324" y="39"/>
                </a:cubicBezTo>
                <a:cubicBezTo>
                  <a:pt x="321" y="37"/>
                  <a:pt x="318" y="35"/>
                  <a:pt x="315" y="33"/>
                </a:cubicBezTo>
                <a:cubicBezTo>
                  <a:pt x="314" y="34"/>
                  <a:pt x="314" y="35"/>
                  <a:pt x="313" y="35"/>
                </a:cubicBezTo>
                <a:cubicBezTo>
                  <a:pt x="309" y="44"/>
                  <a:pt x="301" y="48"/>
                  <a:pt x="295" y="45"/>
                </a:cubicBezTo>
                <a:cubicBezTo>
                  <a:pt x="290" y="42"/>
                  <a:pt x="290" y="33"/>
                  <a:pt x="295" y="25"/>
                </a:cubicBezTo>
                <a:cubicBezTo>
                  <a:pt x="295" y="24"/>
                  <a:pt x="296" y="23"/>
                  <a:pt x="296" y="22"/>
                </a:cubicBezTo>
                <a:cubicBezTo>
                  <a:pt x="293" y="20"/>
                  <a:pt x="290" y="19"/>
                  <a:pt x="286" y="17"/>
                </a:cubicBezTo>
                <a:cubicBezTo>
                  <a:pt x="286" y="18"/>
                  <a:pt x="286" y="19"/>
                  <a:pt x="285" y="20"/>
                </a:cubicBezTo>
                <a:cubicBezTo>
                  <a:pt x="282" y="29"/>
                  <a:pt x="275" y="34"/>
                  <a:pt x="269" y="32"/>
                </a:cubicBezTo>
                <a:cubicBezTo>
                  <a:pt x="264" y="30"/>
                  <a:pt x="262" y="21"/>
                  <a:pt x="265" y="12"/>
                </a:cubicBezTo>
                <a:cubicBezTo>
                  <a:pt x="265" y="11"/>
                  <a:pt x="266" y="10"/>
                  <a:pt x="266" y="10"/>
                </a:cubicBezTo>
                <a:cubicBezTo>
                  <a:pt x="263" y="9"/>
                  <a:pt x="259" y="7"/>
                  <a:pt x="256" y="7"/>
                </a:cubicBezTo>
                <a:cubicBezTo>
                  <a:pt x="256" y="7"/>
                  <a:pt x="256" y="8"/>
                  <a:pt x="255" y="9"/>
                </a:cubicBezTo>
                <a:cubicBezTo>
                  <a:pt x="253" y="18"/>
                  <a:pt x="247" y="25"/>
                  <a:pt x="241" y="24"/>
                </a:cubicBezTo>
                <a:cubicBezTo>
                  <a:pt x="235" y="23"/>
                  <a:pt x="232" y="14"/>
                  <a:pt x="234" y="4"/>
                </a:cubicBezTo>
                <a:cubicBezTo>
                  <a:pt x="234" y="4"/>
                  <a:pt x="235" y="3"/>
                  <a:pt x="235" y="2"/>
                </a:cubicBezTo>
                <a:cubicBezTo>
                  <a:pt x="231" y="2"/>
                  <a:pt x="228" y="1"/>
                  <a:pt x="224" y="1"/>
                </a:cubicBezTo>
                <a:cubicBezTo>
                  <a:pt x="224" y="1"/>
                  <a:pt x="224" y="2"/>
                  <a:pt x="224" y="3"/>
                </a:cubicBezTo>
                <a:cubicBezTo>
                  <a:pt x="224" y="12"/>
                  <a:pt x="218" y="20"/>
                  <a:pt x="212" y="20"/>
                </a:cubicBezTo>
                <a:cubicBezTo>
                  <a:pt x="206" y="19"/>
                  <a:pt x="202" y="11"/>
                  <a:pt x="202" y="2"/>
                </a:cubicBezTo>
                <a:cubicBezTo>
                  <a:pt x="202" y="1"/>
                  <a:pt x="202" y="0"/>
                  <a:pt x="203" y="0"/>
                </a:cubicBezTo>
                <a:cubicBezTo>
                  <a:pt x="199" y="0"/>
                  <a:pt x="195" y="0"/>
                  <a:pt x="192" y="0"/>
                </a:cubicBezTo>
                <a:cubicBezTo>
                  <a:pt x="192" y="0"/>
                  <a:pt x="192" y="1"/>
                  <a:pt x="192" y="2"/>
                </a:cubicBezTo>
                <a:cubicBezTo>
                  <a:pt x="193" y="11"/>
                  <a:pt x="189" y="19"/>
                  <a:pt x="183" y="20"/>
                </a:cubicBezTo>
                <a:cubicBezTo>
                  <a:pt x="177" y="21"/>
                  <a:pt x="172" y="14"/>
                  <a:pt x="170" y="4"/>
                </a:cubicBezTo>
                <a:cubicBezTo>
                  <a:pt x="170" y="3"/>
                  <a:pt x="170" y="3"/>
                  <a:pt x="170" y="2"/>
                </a:cubicBezTo>
                <a:cubicBezTo>
                  <a:pt x="167" y="3"/>
                  <a:pt x="163" y="3"/>
                  <a:pt x="160" y="4"/>
                </a:cubicBezTo>
                <a:cubicBezTo>
                  <a:pt x="160" y="5"/>
                  <a:pt x="160" y="5"/>
                  <a:pt x="160" y="5"/>
                </a:cubicBezTo>
                <a:cubicBezTo>
                  <a:pt x="163" y="15"/>
                  <a:pt x="160" y="24"/>
                  <a:pt x="154" y="25"/>
                </a:cubicBezTo>
                <a:cubicBezTo>
                  <a:pt x="149" y="27"/>
                  <a:pt x="142" y="20"/>
                  <a:pt x="139" y="11"/>
                </a:cubicBezTo>
                <a:cubicBezTo>
                  <a:pt x="139" y="11"/>
                  <a:pt x="139" y="10"/>
                  <a:pt x="139" y="10"/>
                </a:cubicBezTo>
                <a:cubicBezTo>
                  <a:pt x="136" y="11"/>
                  <a:pt x="132" y="12"/>
                  <a:pt x="129" y="13"/>
                </a:cubicBezTo>
                <a:cubicBezTo>
                  <a:pt x="129" y="14"/>
                  <a:pt x="129" y="14"/>
                  <a:pt x="130" y="14"/>
                </a:cubicBezTo>
                <a:cubicBezTo>
                  <a:pt x="134" y="23"/>
                  <a:pt x="132" y="32"/>
                  <a:pt x="127" y="35"/>
                </a:cubicBezTo>
                <a:cubicBezTo>
                  <a:pt x="121" y="37"/>
                  <a:pt x="114" y="32"/>
                  <a:pt x="110" y="23"/>
                </a:cubicBezTo>
                <a:cubicBezTo>
                  <a:pt x="110" y="23"/>
                  <a:pt x="110" y="23"/>
                  <a:pt x="109" y="22"/>
                </a:cubicBezTo>
                <a:cubicBezTo>
                  <a:pt x="106" y="24"/>
                  <a:pt x="103" y="26"/>
                  <a:pt x="100" y="27"/>
                </a:cubicBezTo>
                <a:cubicBezTo>
                  <a:pt x="100" y="27"/>
                  <a:pt x="100" y="28"/>
                  <a:pt x="101" y="28"/>
                </a:cubicBezTo>
                <a:cubicBezTo>
                  <a:pt x="106" y="36"/>
                  <a:pt x="106" y="45"/>
                  <a:pt x="101" y="48"/>
                </a:cubicBezTo>
                <a:cubicBezTo>
                  <a:pt x="96" y="51"/>
                  <a:pt x="88" y="48"/>
                  <a:pt x="82" y="40"/>
                </a:cubicBezTo>
                <a:cubicBezTo>
                  <a:pt x="82" y="39"/>
                  <a:pt x="82" y="39"/>
                  <a:pt x="82" y="39"/>
                </a:cubicBezTo>
                <a:cubicBezTo>
                  <a:pt x="80" y="41"/>
                  <a:pt x="77" y="44"/>
                  <a:pt x="74" y="46"/>
                </a:cubicBezTo>
                <a:cubicBezTo>
                  <a:pt x="75" y="47"/>
                  <a:pt x="76" y="48"/>
                  <a:pt x="76" y="49"/>
                </a:cubicBezTo>
                <a:cubicBezTo>
                  <a:pt x="81" y="55"/>
                  <a:pt x="82" y="62"/>
                  <a:pt x="78" y="66"/>
                </a:cubicBezTo>
                <a:cubicBezTo>
                  <a:pt x="74" y="69"/>
                  <a:pt x="67" y="68"/>
                  <a:pt x="61" y="63"/>
                </a:cubicBezTo>
                <a:cubicBezTo>
                  <a:pt x="60" y="62"/>
                  <a:pt x="59" y="61"/>
                  <a:pt x="58" y="60"/>
                </a:cubicBezTo>
                <a:cubicBezTo>
                  <a:pt x="56" y="63"/>
                  <a:pt x="53" y="65"/>
                  <a:pt x="51" y="68"/>
                </a:cubicBezTo>
                <a:cubicBezTo>
                  <a:pt x="52" y="69"/>
                  <a:pt x="53" y="69"/>
                  <a:pt x="54" y="70"/>
                </a:cubicBezTo>
                <a:cubicBezTo>
                  <a:pt x="59" y="76"/>
                  <a:pt x="61" y="83"/>
                  <a:pt x="57" y="87"/>
                </a:cubicBezTo>
                <a:cubicBezTo>
                  <a:pt x="54" y="91"/>
                  <a:pt x="47" y="90"/>
                  <a:pt x="41" y="87"/>
                </a:cubicBezTo>
                <a:cubicBezTo>
                  <a:pt x="40" y="86"/>
                  <a:pt x="39" y="85"/>
                  <a:pt x="38" y="85"/>
                </a:cubicBezTo>
                <a:cubicBezTo>
                  <a:pt x="36" y="87"/>
                  <a:pt x="34" y="90"/>
                  <a:pt x="32" y="93"/>
                </a:cubicBezTo>
                <a:cubicBezTo>
                  <a:pt x="33" y="94"/>
                  <a:pt x="34" y="94"/>
                  <a:pt x="35" y="95"/>
                </a:cubicBezTo>
                <a:cubicBezTo>
                  <a:pt x="41" y="100"/>
                  <a:pt x="43" y="106"/>
                  <a:pt x="41" y="110"/>
                </a:cubicBezTo>
                <a:cubicBezTo>
                  <a:pt x="38" y="115"/>
                  <a:pt x="32" y="116"/>
                  <a:pt x="25" y="113"/>
                </a:cubicBezTo>
                <a:cubicBezTo>
                  <a:pt x="23" y="113"/>
                  <a:pt x="22" y="112"/>
                  <a:pt x="21" y="112"/>
                </a:cubicBezTo>
                <a:cubicBezTo>
                  <a:pt x="20" y="115"/>
                  <a:pt x="18" y="118"/>
                  <a:pt x="17" y="121"/>
                </a:cubicBezTo>
                <a:cubicBezTo>
                  <a:pt x="18" y="122"/>
                  <a:pt x="19" y="122"/>
                  <a:pt x="20" y="123"/>
                </a:cubicBezTo>
                <a:cubicBezTo>
                  <a:pt x="26" y="127"/>
                  <a:pt x="30" y="132"/>
                  <a:pt x="28" y="137"/>
                </a:cubicBezTo>
                <a:cubicBezTo>
                  <a:pt x="26" y="141"/>
                  <a:pt x="20" y="143"/>
                  <a:pt x="13" y="142"/>
                </a:cubicBezTo>
                <a:cubicBezTo>
                  <a:pt x="12" y="142"/>
                  <a:pt x="10" y="142"/>
                  <a:pt x="9" y="141"/>
                </a:cubicBezTo>
                <a:cubicBezTo>
                  <a:pt x="8" y="144"/>
                  <a:pt x="7" y="148"/>
                  <a:pt x="6" y="151"/>
                </a:cubicBezTo>
                <a:cubicBezTo>
                  <a:pt x="8" y="151"/>
                  <a:pt x="9" y="152"/>
                  <a:pt x="10" y="152"/>
                </a:cubicBezTo>
                <a:cubicBezTo>
                  <a:pt x="16" y="155"/>
                  <a:pt x="20" y="160"/>
                  <a:pt x="19" y="165"/>
                </a:cubicBezTo>
                <a:cubicBezTo>
                  <a:pt x="18" y="169"/>
                  <a:pt x="13" y="172"/>
                  <a:pt x="6" y="172"/>
                </a:cubicBezTo>
                <a:cubicBezTo>
                  <a:pt x="5" y="172"/>
                  <a:pt x="3" y="172"/>
                  <a:pt x="2" y="172"/>
                </a:cubicBezTo>
                <a:cubicBezTo>
                  <a:pt x="2" y="175"/>
                  <a:pt x="1" y="179"/>
                  <a:pt x="1" y="182"/>
                </a:cubicBezTo>
                <a:cubicBezTo>
                  <a:pt x="2" y="182"/>
                  <a:pt x="3" y="182"/>
                  <a:pt x="4" y="183"/>
                </a:cubicBezTo>
                <a:cubicBezTo>
                  <a:pt x="11" y="185"/>
                  <a:pt x="15" y="189"/>
                  <a:pt x="15" y="193"/>
                </a:cubicBezTo>
                <a:cubicBezTo>
                  <a:pt x="15" y="198"/>
                  <a:pt x="10" y="202"/>
                  <a:pt x="3" y="203"/>
                </a:cubicBezTo>
                <a:cubicBezTo>
                  <a:pt x="2" y="203"/>
                  <a:pt x="1" y="203"/>
                  <a:pt x="0" y="203"/>
                </a:cubicBezTo>
                <a:cubicBezTo>
                  <a:pt x="0" y="207"/>
                  <a:pt x="0" y="210"/>
                  <a:pt x="0" y="214"/>
                </a:cubicBezTo>
                <a:cubicBezTo>
                  <a:pt x="1" y="214"/>
                  <a:pt x="2" y="214"/>
                  <a:pt x="4" y="214"/>
                </a:cubicBezTo>
                <a:cubicBezTo>
                  <a:pt x="10" y="215"/>
                  <a:pt x="15" y="218"/>
                  <a:pt x="16" y="223"/>
                </a:cubicBezTo>
                <a:cubicBezTo>
                  <a:pt x="16" y="227"/>
                  <a:pt x="12" y="232"/>
                  <a:pt x="6" y="234"/>
                </a:cubicBezTo>
                <a:cubicBezTo>
                  <a:pt x="5" y="234"/>
                  <a:pt x="3" y="235"/>
                  <a:pt x="2" y="235"/>
                </a:cubicBezTo>
                <a:cubicBezTo>
                  <a:pt x="3" y="238"/>
                  <a:pt x="3" y="242"/>
                  <a:pt x="4" y="245"/>
                </a:cubicBezTo>
                <a:cubicBezTo>
                  <a:pt x="5" y="245"/>
                  <a:pt x="6" y="245"/>
                  <a:pt x="8" y="245"/>
                </a:cubicBezTo>
                <a:cubicBezTo>
                  <a:pt x="14" y="244"/>
                  <a:pt x="19" y="247"/>
                  <a:pt x="21" y="251"/>
                </a:cubicBezTo>
                <a:cubicBezTo>
                  <a:pt x="22" y="256"/>
                  <a:pt x="18" y="261"/>
                  <a:pt x="13" y="264"/>
                </a:cubicBezTo>
                <a:cubicBezTo>
                  <a:pt x="12" y="264"/>
                  <a:pt x="11" y="265"/>
                  <a:pt x="10" y="265"/>
                </a:cubicBezTo>
                <a:cubicBezTo>
                  <a:pt x="11" y="269"/>
                  <a:pt x="12" y="272"/>
                  <a:pt x="13" y="275"/>
                </a:cubicBezTo>
                <a:cubicBezTo>
                  <a:pt x="14" y="275"/>
                  <a:pt x="15" y="274"/>
                  <a:pt x="16" y="274"/>
                </a:cubicBezTo>
                <a:cubicBezTo>
                  <a:pt x="23" y="273"/>
                  <a:pt x="28" y="275"/>
                  <a:pt x="30" y="279"/>
                </a:cubicBezTo>
                <a:cubicBezTo>
                  <a:pt x="32" y="283"/>
                  <a:pt x="29" y="288"/>
                  <a:pt x="24" y="293"/>
                </a:cubicBezTo>
                <a:cubicBezTo>
                  <a:pt x="23" y="293"/>
                  <a:pt x="23" y="294"/>
                  <a:pt x="22" y="295"/>
                </a:cubicBezTo>
                <a:cubicBezTo>
                  <a:pt x="23" y="298"/>
                  <a:pt x="25" y="301"/>
                  <a:pt x="26" y="303"/>
                </a:cubicBezTo>
                <a:cubicBezTo>
                  <a:pt x="27" y="303"/>
                  <a:pt x="28" y="303"/>
                  <a:pt x="29" y="302"/>
                </a:cubicBezTo>
                <a:cubicBezTo>
                  <a:pt x="36" y="300"/>
                  <a:pt x="41" y="301"/>
                  <a:pt x="44" y="305"/>
                </a:cubicBezTo>
                <a:cubicBezTo>
                  <a:pt x="46" y="308"/>
                  <a:pt x="45" y="314"/>
                  <a:pt x="40" y="319"/>
                </a:cubicBezTo>
                <a:cubicBezTo>
                  <a:pt x="40" y="320"/>
                  <a:pt x="39" y="321"/>
                  <a:pt x="38" y="321"/>
                </a:cubicBezTo>
                <a:cubicBezTo>
                  <a:pt x="40" y="324"/>
                  <a:pt x="42" y="327"/>
                  <a:pt x="44" y="329"/>
                </a:cubicBezTo>
                <a:cubicBezTo>
                  <a:pt x="45" y="329"/>
                  <a:pt x="46" y="328"/>
                  <a:pt x="47" y="328"/>
                </a:cubicBezTo>
                <a:cubicBezTo>
                  <a:pt x="53" y="325"/>
                  <a:pt x="58" y="325"/>
                  <a:pt x="61" y="328"/>
                </a:cubicBezTo>
                <a:cubicBezTo>
                  <a:pt x="64" y="331"/>
                  <a:pt x="64" y="337"/>
                  <a:pt x="60" y="343"/>
                </a:cubicBezTo>
                <a:cubicBezTo>
                  <a:pt x="59" y="344"/>
                  <a:pt x="59" y="344"/>
                  <a:pt x="58" y="345"/>
                </a:cubicBezTo>
                <a:cubicBezTo>
                  <a:pt x="60" y="348"/>
                  <a:pt x="63" y="350"/>
                  <a:pt x="65" y="352"/>
                </a:cubicBezTo>
                <a:cubicBezTo>
                  <a:pt x="66" y="352"/>
                  <a:pt x="67" y="351"/>
                  <a:pt x="68" y="350"/>
                </a:cubicBezTo>
                <a:cubicBezTo>
                  <a:pt x="73" y="347"/>
                  <a:pt x="79" y="346"/>
                  <a:pt x="82" y="348"/>
                </a:cubicBezTo>
                <a:cubicBezTo>
                  <a:pt x="86" y="351"/>
                  <a:pt x="86" y="357"/>
                  <a:pt x="83" y="363"/>
                </a:cubicBezTo>
                <a:cubicBezTo>
                  <a:pt x="83" y="364"/>
                  <a:pt x="82" y="365"/>
                  <a:pt x="82" y="366"/>
                </a:cubicBezTo>
                <a:cubicBezTo>
                  <a:pt x="84" y="368"/>
                  <a:pt x="87" y="370"/>
                  <a:pt x="90" y="372"/>
                </a:cubicBezTo>
                <a:cubicBezTo>
                  <a:pt x="91" y="371"/>
                  <a:pt x="91" y="370"/>
                  <a:pt x="92" y="369"/>
                </a:cubicBezTo>
                <a:cubicBezTo>
                  <a:pt x="97" y="365"/>
                  <a:pt x="102" y="363"/>
                  <a:pt x="106" y="365"/>
                </a:cubicBezTo>
                <a:cubicBezTo>
                  <a:pt x="110" y="367"/>
                  <a:pt x="111" y="373"/>
                  <a:pt x="109" y="380"/>
                </a:cubicBezTo>
                <a:cubicBezTo>
                  <a:pt x="109" y="381"/>
                  <a:pt x="109" y="382"/>
                  <a:pt x="108" y="383"/>
                </a:cubicBezTo>
                <a:cubicBezTo>
                  <a:pt x="111" y="384"/>
                  <a:pt x="114" y="386"/>
                  <a:pt x="117" y="387"/>
                </a:cubicBezTo>
                <a:cubicBezTo>
                  <a:pt x="118" y="386"/>
                  <a:pt x="118" y="385"/>
                  <a:pt x="119" y="384"/>
                </a:cubicBezTo>
                <a:cubicBezTo>
                  <a:pt x="123" y="379"/>
                  <a:pt x="128" y="376"/>
                  <a:pt x="132" y="378"/>
                </a:cubicBezTo>
                <a:cubicBezTo>
                  <a:pt x="137" y="380"/>
                  <a:pt x="139" y="385"/>
                  <a:pt x="138" y="392"/>
                </a:cubicBezTo>
                <a:cubicBezTo>
                  <a:pt x="138" y="393"/>
                  <a:pt x="137" y="394"/>
                  <a:pt x="137" y="395"/>
                </a:cubicBezTo>
                <a:cubicBezTo>
                  <a:pt x="140" y="396"/>
                  <a:pt x="144" y="397"/>
                  <a:pt x="147" y="398"/>
                </a:cubicBezTo>
                <a:cubicBezTo>
                  <a:pt x="147" y="397"/>
                  <a:pt x="148" y="396"/>
                  <a:pt x="148" y="395"/>
                </a:cubicBezTo>
                <a:cubicBezTo>
                  <a:pt x="151" y="389"/>
                  <a:pt x="156" y="386"/>
                  <a:pt x="160" y="387"/>
                </a:cubicBezTo>
                <a:cubicBezTo>
                  <a:pt x="165" y="387"/>
                  <a:pt x="168" y="393"/>
                  <a:pt x="168" y="400"/>
                </a:cubicBezTo>
                <a:cubicBezTo>
                  <a:pt x="168" y="401"/>
                  <a:pt x="168" y="402"/>
                  <a:pt x="168" y="403"/>
                </a:cubicBezTo>
                <a:cubicBezTo>
                  <a:pt x="171" y="404"/>
                  <a:pt x="174" y="404"/>
                  <a:pt x="178" y="405"/>
                </a:cubicBezTo>
                <a:cubicBezTo>
                  <a:pt x="178" y="403"/>
                  <a:pt x="178" y="402"/>
                  <a:pt x="178" y="401"/>
                </a:cubicBezTo>
                <a:cubicBezTo>
                  <a:pt x="180" y="395"/>
                  <a:pt x="184" y="390"/>
                  <a:pt x="189" y="391"/>
                </a:cubicBezTo>
                <a:cubicBezTo>
                  <a:pt x="194" y="391"/>
                  <a:pt x="197" y="396"/>
                  <a:pt x="199" y="403"/>
                </a:cubicBezTo>
                <a:cubicBezTo>
                  <a:pt x="199" y="404"/>
                  <a:pt x="199" y="405"/>
                  <a:pt x="199" y="406"/>
                </a:cubicBezTo>
                <a:cubicBezTo>
                  <a:pt x="202" y="406"/>
                  <a:pt x="206" y="406"/>
                  <a:pt x="209" y="406"/>
                </a:cubicBezTo>
                <a:cubicBezTo>
                  <a:pt x="209" y="405"/>
                  <a:pt x="209" y="404"/>
                  <a:pt x="209" y="403"/>
                </a:cubicBezTo>
                <a:cubicBezTo>
                  <a:pt x="210" y="396"/>
                  <a:pt x="213" y="391"/>
                  <a:pt x="218" y="390"/>
                </a:cubicBezTo>
                <a:cubicBezTo>
                  <a:pt x="223" y="390"/>
                  <a:pt x="228" y="394"/>
                  <a:pt x="230" y="401"/>
                </a:cubicBezTo>
                <a:cubicBezTo>
                  <a:pt x="230" y="402"/>
                  <a:pt x="230" y="403"/>
                  <a:pt x="231" y="404"/>
                </a:cubicBezTo>
                <a:cubicBezTo>
                  <a:pt x="234" y="404"/>
                  <a:pt x="237" y="403"/>
                  <a:pt x="241" y="403"/>
                </a:cubicBezTo>
                <a:cubicBezTo>
                  <a:pt x="240" y="402"/>
                  <a:pt x="240" y="401"/>
                  <a:pt x="240" y="399"/>
                </a:cubicBezTo>
                <a:cubicBezTo>
                  <a:pt x="240" y="392"/>
                  <a:pt x="242" y="386"/>
                  <a:pt x="247" y="385"/>
                </a:cubicBezTo>
                <a:cubicBezTo>
                  <a:pt x="252" y="384"/>
                  <a:pt x="257" y="388"/>
                  <a:pt x="260" y="395"/>
                </a:cubicBezTo>
                <a:cubicBezTo>
                  <a:pt x="261" y="396"/>
                  <a:pt x="261" y="397"/>
                  <a:pt x="262" y="398"/>
                </a:cubicBezTo>
                <a:cubicBezTo>
                  <a:pt x="265" y="397"/>
                  <a:pt x="268" y="396"/>
                  <a:pt x="271" y="395"/>
                </a:cubicBezTo>
                <a:cubicBezTo>
                  <a:pt x="271" y="393"/>
                  <a:pt x="270" y="392"/>
                  <a:pt x="270" y="391"/>
                </a:cubicBezTo>
                <a:cubicBezTo>
                  <a:pt x="268" y="384"/>
                  <a:pt x="270" y="378"/>
                  <a:pt x="274" y="376"/>
                </a:cubicBezTo>
                <a:cubicBezTo>
                  <a:pt x="279" y="374"/>
                  <a:pt x="285" y="377"/>
                  <a:pt x="289" y="383"/>
                </a:cubicBezTo>
                <a:cubicBezTo>
                  <a:pt x="290" y="384"/>
                  <a:pt x="291" y="385"/>
                  <a:pt x="291" y="386"/>
                </a:cubicBezTo>
                <a:cubicBezTo>
                  <a:pt x="294" y="385"/>
                  <a:pt x="297" y="383"/>
                  <a:pt x="300" y="382"/>
                </a:cubicBezTo>
                <a:cubicBezTo>
                  <a:pt x="300" y="381"/>
                  <a:pt x="299" y="380"/>
                  <a:pt x="299" y="379"/>
                </a:cubicBezTo>
                <a:cubicBezTo>
                  <a:pt x="296" y="372"/>
                  <a:pt x="296" y="365"/>
                  <a:pt x="300" y="362"/>
                </a:cubicBezTo>
                <a:cubicBezTo>
                  <a:pt x="305" y="359"/>
                  <a:pt x="311" y="362"/>
                  <a:pt x="316" y="368"/>
                </a:cubicBezTo>
                <a:cubicBezTo>
                  <a:pt x="317" y="368"/>
                  <a:pt x="318" y="369"/>
                  <a:pt x="319" y="370"/>
                </a:cubicBezTo>
                <a:cubicBezTo>
                  <a:pt x="321" y="368"/>
                  <a:pt x="324" y="366"/>
                  <a:pt x="327" y="364"/>
                </a:cubicBezTo>
                <a:cubicBezTo>
                  <a:pt x="326" y="363"/>
                  <a:pt x="325" y="362"/>
                  <a:pt x="325" y="362"/>
                </a:cubicBezTo>
                <a:cubicBezTo>
                  <a:pt x="320" y="355"/>
                  <a:pt x="320" y="348"/>
                  <a:pt x="324" y="345"/>
                </a:cubicBezTo>
                <a:cubicBezTo>
                  <a:pt x="328" y="341"/>
                  <a:pt x="337" y="343"/>
                  <a:pt x="343" y="350"/>
                </a:cubicBezTo>
                <a:cubicBezTo>
                  <a:pt x="346" y="348"/>
                  <a:pt x="348" y="345"/>
                  <a:pt x="351" y="343"/>
                </a:cubicBezTo>
                <a:cubicBezTo>
                  <a:pt x="343" y="337"/>
                  <a:pt x="340" y="328"/>
                  <a:pt x="344" y="324"/>
                </a:cubicBezTo>
                <a:cubicBezTo>
                  <a:pt x="348" y="319"/>
                  <a:pt x="357" y="320"/>
                  <a:pt x="364" y="326"/>
                </a:cubicBezTo>
                <a:cubicBezTo>
                  <a:pt x="364" y="326"/>
                  <a:pt x="365" y="326"/>
                  <a:pt x="365" y="326"/>
                </a:cubicBezTo>
                <a:cubicBezTo>
                  <a:pt x="367" y="324"/>
                  <a:pt x="369" y="321"/>
                  <a:pt x="371" y="318"/>
                </a:cubicBezTo>
                <a:cubicBezTo>
                  <a:pt x="371" y="318"/>
                  <a:pt x="371" y="318"/>
                  <a:pt x="370" y="318"/>
                </a:cubicBezTo>
                <a:cubicBezTo>
                  <a:pt x="362" y="313"/>
                  <a:pt x="358" y="305"/>
                  <a:pt x="361" y="300"/>
                </a:cubicBezTo>
                <a:cubicBezTo>
                  <a:pt x="364" y="295"/>
                  <a:pt x="373" y="294"/>
                  <a:pt x="381" y="299"/>
                </a:cubicBezTo>
                <a:cubicBezTo>
                  <a:pt x="381" y="299"/>
                  <a:pt x="382" y="299"/>
                  <a:pt x="382" y="300"/>
                </a:cubicBezTo>
                <a:cubicBezTo>
                  <a:pt x="384" y="296"/>
                  <a:pt x="385" y="293"/>
                  <a:pt x="387" y="290"/>
                </a:cubicBezTo>
                <a:cubicBezTo>
                  <a:pt x="387" y="290"/>
                  <a:pt x="386" y="290"/>
                  <a:pt x="386" y="290"/>
                </a:cubicBezTo>
                <a:cubicBezTo>
                  <a:pt x="377" y="287"/>
                  <a:pt x="371" y="279"/>
                  <a:pt x="373" y="274"/>
                </a:cubicBezTo>
                <a:cubicBezTo>
                  <a:pt x="376" y="268"/>
                  <a:pt x="385" y="266"/>
                  <a:pt x="394" y="270"/>
                </a:cubicBezTo>
                <a:cubicBezTo>
                  <a:pt x="394" y="270"/>
                  <a:pt x="395" y="270"/>
                  <a:pt x="395" y="270"/>
                </a:cubicBezTo>
                <a:cubicBezTo>
                  <a:pt x="396" y="267"/>
                  <a:pt x="397" y="263"/>
                  <a:pt x="398" y="260"/>
                </a:cubicBezTo>
                <a:cubicBezTo>
                  <a:pt x="398" y="260"/>
                  <a:pt x="397" y="260"/>
                  <a:pt x="397" y="260"/>
                </a:cubicBezTo>
                <a:cubicBezTo>
                  <a:pt x="388" y="258"/>
                  <a:pt x="381" y="252"/>
                  <a:pt x="382" y="246"/>
                </a:cubicBezTo>
                <a:cubicBezTo>
                  <a:pt x="383" y="240"/>
                  <a:pt x="392" y="237"/>
                  <a:pt x="401" y="239"/>
                </a:cubicBezTo>
                <a:cubicBezTo>
                  <a:pt x="402" y="239"/>
                  <a:pt x="403" y="239"/>
                  <a:pt x="403" y="239"/>
                </a:cubicBezTo>
                <a:cubicBezTo>
                  <a:pt x="404" y="236"/>
                  <a:pt x="404" y="232"/>
                  <a:pt x="405" y="229"/>
                </a:cubicBezTo>
                <a:cubicBezTo>
                  <a:pt x="404" y="229"/>
                  <a:pt x="404" y="229"/>
                  <a:pt x="403" y="228"/>
                </a:cubicBezTo>
                <a:cubicBezTo>
                  <a:pt x="393" y="228"/>
                  <a:pt x="386" y="223"/>
                  <a:pt x="386" y="217"/>
                </a:cubicBezTo>
                <a:close/>
                <a:moveTo>
                  <a:pt x="355" y="222"/>
                </a:moveTo>
                <a:cubicBezTo>
                  <a:pt x="347" y="220"/>
                  <a:pt x="338" y="222"/>
                  <a:pt x="332" y="227"/>
                </a:cubicBezTo>
                <a:cubicBezTo>
                  <a:pt x="333" y="219"/>
                  <a:pt x="334" y="211"/>
                  <a:pt x="334" y="203"/>
                </a:cubicBezTo>
                <a:cubicBezTo>
                  <a:pt x="334" y="175"/>
                  <a:pt x="325" y="148"/>
                  <a:pt x="310" y="127"/>
                </a:cubicBezTo>
                <a:cubicBezTo>
                  <a:pt x="318" y="129"/>
                  <a:pt x="326" y="127"/>
                  <a:pt x="333" y="122"/>
                </a:cubicBezTo>
                <a:cubicBezTo>
                  <a:pt x="352" y="152"/>
                  <a:pt x="359" y="188"/>
                  <a:pt x="355" y="222"/>
                </a:cubicBezTo>
                <a:close/>
                <a:moveTo>
                  <a:pt x="310" y="93"/>
                </a:moveTo>
                <a:cubicBezTo>
                  <a:pt x="314" y="90"/>
                  <a:pt x="319" y="90"/>
                  <a:pt x="323" y="94"/>
                </a:cubicBezTo>
                <a:cubicBezTo>
                  <a:pt x="326" y="98"/>
                  <a:pt x="326" y="103"/>
                  <a:pt x="322" y="106"/>
                </a:cubicBezTo>
                <a:cubicBezTo>
                  <a:pt x="318" y="110"/>
                  <a:pt x="313" y="110"/>
                  <a:pt x="310" y="106"/>
                </a:cubicBezTo>
                <a:cubicBezTo>
                  <a:pt x="306" y="102"/>
                  <a:pt x="306" y="97"/>
                  <a:pt x="310" y="93"/>
                </a:cubicBezTo>
                <a:close/>
                <a:moveTo>
                  <a:pt x="198" y="50"/>
                </a:moveTo>
                <a:cubicBezTo>
                  <a:pt x="232" y="49"/>
                  <a:pt x="267" y="60"/>
                  <a:pt x="296" y="81"/>
                </a:cubicBezTo>
                <a:cubicBezTo>
                  <a:pt x="290" y="87"/>
                  <a:pt x="288" y="96"/>
                  <a:pt x="289" y="103"/>
                </a:cubicBezTo>
                <a:cubicBezTo>
                  <a:pt x="266" y="84"/>
                  <a:pt x="236" y="72"/>
                  <a:pt x="203" y="72"/>
                </a:cubicBezTo>
                <a:cubicBezTo>
                  <a:pt x="199" y="72"/>
                  <a:pt x="195" y="72"/>
                  <a:pt x="191" y="72"/>
                </a:cubicBezTo>
                <a:cubicBezTo>
                  <a:pt x="196" y="66"/>
                  <a:pt x="199" y="59"/>
                  <a:pt x="198" y="50"/>
                </a:cubicBezTo>
                <a:close/>
                <a:moveTo>
                  <a:pt x="168" y="45"/>
                </a:moveTo>
                <a:cubicBezTo>
                  <a:pt x="173" y="44"/>
                  <a:pt x="178" y="47"/>
                  <a:pt x="179" y="52"/>
                </a:cubicBezTo>
                <a:cubicBezTo>
                  <a:pt x="180" y="57"/>
                  <a:pt x="177" y="61"/>
                  <a:pt x="172" y="62"/>
                </a:cubicBezTo>
                <a:cubicBezTo>
                  <a:pt x="167" y="63"/>
                  <a:pt x="163" y="60"/>
                  <a:pt x="162" y="56"/>
                </a:cubicBezTo>
                <a:cubicBezTo>
                  <a:pt x="161" y="51"/>
                  <a:pt x="164" y="46"/>
                  <a:pt x="168" y="45"/>
                </a:cubicBezTo>
                <a:close/>
                <a:moveTo>
                  <a:pt x="100" y="90"/>
                </a:moveTo>
                <a:cubicBezTo>
                  <a:pt x="113" y="78"/>
                  <a:pt x="128" y="69"/>
                  <a:pt x="144" y="62"/>
                </a:cubicBezTo>
                <a:cubicBezTo>
                  <a:pt x="146" y="70"/>
                  <a:pt x="152" y="76"/>
                  <a:pt x="159" y="79"/>
                </a:cubicBezTo>
                <a:cubicBezTo>
                  <a:pt x="126" y="91"/>
                  <a:pt x="99" y="116"/>
                  <a:pt x="84" y="148"/>
                </a:cubicBezTo>
                <a:cubicBezTo>
                  <a:pt x="81" y="141"/>
                  <a:pt x="76" y="134"/>
                  <a:pt x="68" y="131"/>
                </a:cubicBezTo>
                <a:cubicBezTo>
                  <a:pt x="76" y="116"/>
                  <a:pt x="87" y="102"/>
                  <a:pt x="100" y="90"/>
                </a:cubicBezTo>
                <a:close/>
                <a:moveTo>
                  <a:pt x="49" y="154"/>
                </a:moveTo>
                <a:cubicBezTo>
                  <a:pt x="50" y="149"/>
                  <a:pt x="55" y="147"/>
                  <a:pt x="60" y="148"/>
                </a:cubicBezTo>
                <a:cubicBezTo>
                  <a:pt x="65" y="150"/>
                  <a:pt x="67" y="155"/>
                  <a:pt x="66" y="159"/>
                </a:cubicBezTo>
                <a:cubicBezTo>
                  <a:pt x="64" y="164"/>
                  <a:pt x="59" y="167"/>
                  <a:pt x="55" y="165"/>
                </a:cubicBezTo>
                <a:cubicBezTo>
                  <a:pt x="50" y="164"/>
                  <a:pt x="47" y="159"/>
                  <a:pt x="49" y="154"/>
                </a:cubicBezTo>
                <a:close/>
                <a:moveTo>
                  <a:pt x="73" y="284"/>
                </a:moveTo>
                <a:cubicBezTo>
                  <a:pt x="54" y="254"/>
                  <a:pt x="47" y="218"/>
                  <a:pt x="52" y="184"/>
                </a:cubicBezTo>
                <a:cubicBezTo>
                  <a:pt x="60" y="186"/>
                  <a:pt x="68" y="184"/>
                  <a:pt x="74" y="179"/>
                </a:cubicBezTo>
                <a:cubicBezTo>
                  <a:pt x="73" y="187"/>
                  <a:pt x="72" y="195"/>
                  <a:pt x="72" y="203"/>
                </a:cubicBezTo>
                <a:cubicBezTo>
                  <a:pt x="72" y="231"/>
                  <a:pt x="81" y="258"/>
                  <a:pt x="96" y="279"/>
                </a:cubicBezTo>
                <a:cubicBezTo>
                  <a:pt x="89" y="277"/>
                  <a:pt x="80" y="279"/>
                  <a:pt x="73" y="284"/>
                </a:cubicBezTo>
                <a:close/>
                <a:moveTo>
                  <a:pt x="96" y="313"/>
                </a:moveTo>
                <a:cubicBezTo>
                  <a:pt x="93" y="316"/>
                  <a:pt x="87" y="316"/>
                  <a:pt x="84" y="312"/>
                </a:cubicBezTo>
                <a:cubicBezTo>
                  <a:pt x="80" y="308"/>
                  <a:pt x="81" y="303"/>
                  <a:pt x="84" y="300"/>
                </a:cubicBezTo>
                <a:cubicBezTo>
                  <a:pt x="88" y="296"/>
                  <a:pt x="93" y="297"/>
                  <a:pt x="97" y="300"/>
                </a:cubicBezTo>
                <a:cubicBezTo>
                  <a:pt x="100" y="304"/>
                  <a:pt x="100" y="309"/>
                  <a:pt x="96" y="313"/>
                </a:cubicBezTo>
                <a:close/>
                <a:moveTo>
                  <a:pt x="208" y="356"/>
                </a:moveTo>
                <a:cubicBezTo>
                  <a:pt x="174" y="357"/>
                  <a:pt x="139" y="347"/>
                  <a:pt x="111" y="325"/>
                </a:cubicBezTo>
                <a:cubicBezTo>
                  <a:pt x="116" y="319"/>
                  <a:pt x="119" y="310"/>
                  <a:pt x="118" y="303"/>
                </a:cubicBezTo>
                <a:cubicBezTo>
                  <a:pt x="141" y="322"/>
                  <a:pt x="170" y="334"/>
                  <a:pt x="203" y="334"/>
                </a:cubicBezTo>
                <a:cubicBezTo>
                  <a:pt x="207" y="334"/>
                  <a:pt x="211" y="334"/>
                  <a:pt x="216" y="334"/>
                </a:cubicBezTo>
                <a:cubicBezTo>
                  <a:pt x="210" y="339"/>
                  <a:pt x="207" y="347"/>
                  <a:pt x="208" y="356"/>
                </a:cubicBezTo>
                <a:close/>
                <a:moveTo>
                  <a:pt x="203" y="317"/>
                </a:moveTo>
                <a:cubicBezTo>
                  <a:pt x="140" y="317"/>
                  <a:pt x="89" y="266"/>
                  <a:pt x="89" y="203"/>
                </a:cubicBezTo>
                <a:cubicBezTo>
                  <a:pt x="89" y="140"/>
                  <a:pt x="140" y="89"/>
                  <a:pt x="203" y="89"/>
                </a:cubicBezTo>
                <a:cubicBezTo>
                  <a:pt x="266" y="89"/>
                  <a:pt x="317" y="140"/>
                  <a:pt x="317" y="203"/>
                </a:cubicBezTo>
                <a:cubicBezTo>
                  <a:pt x="317" y="266"/>
                  <a:pt x="266" y="317"/>
                  <a:pt x="203" y="317"/>
                </a:cubicBezTo>
                <a:close/>
                <a:moveTo>
                  <a:pt x="238" y="361"/>
                </a:moveTo>
                <a:cubicBezTo>
                  <a:pt x="233" y="362"/>
                  <a:pt x="228" y="359"/>
                  <a:pt x="227" y="354"/>
                </a:cubicBezTo>
                <a:cubicBezTo>
                  <a:pt x="226" y="349"/>
                  <a:pt x="229" y="345"/>
                  <a:pt x="234" y="344"/>
                </a:cubicBezTo>
                <a:cubicBezTo>
                  <a:pt x="239" y="343"/>
                  <a:pt x="244" y="346"/>
                  <a:pt x="245" y="350"/>
                </a:cubicBezTo>
                <a:cubicBezTo>
                  <a:pt x="246" y="355"/>
                  <a:pt x="243" y="360"/>
                  <a:pt x="238" y="361"/>
                </a:cubicBezTo>
                <a:close/>
                <a:moveTo>
                  <a:pt x="306" y="316"/>
                </a:moveTo>
                <a:cubicBezTo>
                  <a:pt x="293" y="328"/>
                  <a:pt x="278" y="337"/>
                  <a:pt x="262" y="344"/>
                </a:cubicBezTo>
                <a:cubicBezTo>
                  <a:pt x="260" y="336"/>
                  <a:pt x="254" y="330"/>
                  <a:pt x="247" y="327"/>
                </a:cubicBezTo>
                <a:cubicBezTo>
                  <a:pt x="280" y="315"/>
                  <a:pt x="308" y="290"/>
                  <a:pt x="322" y="257"/>
                </a:cubicBezTo>
                <a:cubicBezTo>
                  <a:pt x="325" y="265"/>
                  <a:pt x="330" y="272"/>
                  <a:pt x="338" y="275"/>
                </a:cubicBezTo>
                <a:cubicBezTo>
                  <a:pt x="330" y="290"/>
                  <a:pt x="320" y="304"/>
                  <a:pt x="306" y="316"/>
                </a:cubicBezTo>
                <a:close/>
                <a:moveTo>
                  <a:pt x="357" y="252"/>
                </a:moveTo>
                <a:cubicBezTo>
                  <a:pt x="356" y="257"/>
                  <a:pt x="351" y="259"/>
                  <a:pt x="346" y="258"/>
                </a:cubicBezTo>
                <a:cubicBezTo>
                  <a:pt x="342" y="256"/>
                  <a:pt x="339" y="251"/>
                  <a:pt x="340" y="247"/>
                </a:cubicBezTo>
                <a:cubicBezTo>
                  <a:pt x="342" y="242"/>
                  <a:pt x="347" y="239"/>
                  <a:pt x="352" y="241"/>
                </a:cubicBezTo>
                <a:cubicBezTo>
                  <a:pt x="356" y="242"/>
                  <a:pt x="359" y="247"/>
                  <a:pt x="357" y="25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6" name="Freeform 17"/>
          <p:cNvSpPr>
            <a:spLocks noEditPoints="1"/>
          </p:cNvSpPr>
          <p:nvPr/>
        </p:nvSpPr>
        <p:spPr bwMode="auto">
          <a:xfrm>
            <a:off x="6061077" y="8582026"/>
            <a:ext cx="4502150" cy="4511676"/>
          </a:xfrm>
          <a:custGeom>
            <a:avLst/>
            <a:gdLst>
              <a:gd name="T0" fmla="*/ 507 w 536"/>
              <a:gd name="T1" fmla="*/ 324 h 537"/>
              <a:gd name="T2" fmla="*/ 513 w 536"/>
              <a:gd name="T3" fmla="*/ 279 h 537"/>
              <a:gd name="T4" fmla="*/ 511 w 536"/>
              <a:gd name="T5" fmla="*/ 234 h 537"/>
              <a:gd name="T6" fmla="*/ 500 w 536"/>
              <a:gd name="T7" fmla="*/ 190 h 537"/>
              <a:gd name="T8" fmla="*/ 482 w 536"/>
              <a:gd name="T9" fmla="*/ 149 h 537"/>
              <a:gd name="T10" fmla="*/ 456 w 536"/>
              <a:gd name="T11" fmla="*/ 112 h 537"/>
              <a:gd name="T12" fmla="*/ 424 w 536"/>
              <a:gd name="T13" fmla="*/ 80 h 537"/>
              <a:gd name="T14" fmla="*/ 387 w 536"/>
              <a:gd name="T15" fmla="*/ 54 h 537"/>
              <a:gd name="T16" fmla="*/ 345 w 536"/>
              <a:gd name="T17" fmla="*/ 36 h 537"/>
              <a:gd name="T18" fmla="*/ 301 w 536"/>
              <a:gd name="T19" fmla="*/ 26 h 537"/>
              <a:gd name="T20" fmla="*/ 256 w 536"/>
              <a:gd name="T21" fmla="*/ 24 h 537"/>
              <a:gd name="T22" fmla="*/ 211 w 536"/>
              <a:gd name="T23" fmla="*/ 30 h 537"/>
              <a:gd name="T24" fmla="*/ 168 w 536"/>
              <a:gd name="T25" fmla="*/ 44 h 537"/>
              <a:gd name="T26" fmla="*/ 129 w 536"/>
              <a:gd name="T27" fmla="*/ 66 h 537"/>
              <a:gd name="T28" fmla="*/ 94 w 536"/>
              <a:gd name="T29" fmla="*/ 95 h 537"/>
              <a:gd name="T30" fmla="*/ 65 w 536"/>
              <a:gd name="T31" fmla="*/ 130 h 537"/>
              <a:gd name="T32" fmla="*/ 43 w 536"/>
              <a:gd name="T33" fmla="*/ 170 h 537"/>
              <a:gd name="T34" fmla="*/ 29 w 536"/>
              <a:gd name="T35" fmla="*/ 213 h 537"/>
              <a:gd name="T36" fmla="*/ 23 w 536"/>
              <a:gd name="T37" fmla="*/ 258 h 537"/>
              <a:gd name="T38" fmla="*/ 25 w 536"/>
              <a:gd name="T39" fmla="*/ 303 h 537"/>
              <a:gd name="T40" fmla="*/ 36 w 536"/>
              <a:gd name="T41" fmla="*/ 347 h 537"/>
              <a:gd name="T42" fmla="*/ 54 w 536"/>
              <a:gd name="T43" fmla="*/ 388 h 537"/>
              <a:gd name="T44" fmla="*/ 80 w 536"/>
              <a:gd name="T45" fmla="*/ 425 h 537"/>
              <a:gd name="T46" fmla="*/ 112 w 536"/>
              <a:gd name="T47" fmla="*/ 457 h 537"/>
              <a:gd name="T48" fmla="*/ 149 w 536"/>
              <a:gd name="T49" fmla="*/ 483 h 537"/>
              <a:gd name="T50" fmla="*/ 190 w 536"/>
              <a:gd name="T51" fmla="*/ 501 h 537"/>
              <a:gd name="T52" fmla="*/ 234 w 536"/>
              <a:gd name="T53" fmla="*/ 511 h 537"/>
              <a:gd name="T54" fmla="*/ 280 w 536"/>
              <a:gd name="T55" fmla="*/ 513 h 537"/>
              <a:gd name="T56" fmla="*/ 324 w 536"/>
              <a:gd name="T57" fmla="*/ 507 h 537"/>
              <a:gd name="T58" fmla="*/ 367 w 536"/>
              <a:gd name="T59" fmla="*/ 493 h 537"/>
              <a:gd name="T60" fmla="*/ 407 w 536"/>
              <a:gd name="T61" fmla="*/ 471 h 537"/>
              <a:gd name="T62" fmla="*/ 442 w 536"/>
              <a:gd name="T63" fmla="*/ 442 h 537"/>
              <a:gd name="T64" fmla="*/ 470 w 536"/>
              <a:gd name="T65" fmla="*/ 407 h 537"/>
              <a:gd name="T66" fmla="*/ 492 w 536"/>
              <a:gd name="T67" fmla="*/ 367 h 537"/>
              <a:gd name="T68" fmla="*/ 81 w 536"/>
              <a:gd name="T69" fmla="*/ 290 h 537"/>
              <a:gd name="T70" fmla="*/ 91 w 536"/>
              <a:gd name="T71" fmla="*/ 231 h 537"/>
              <a:gd name="T72" fmla="*/ 278 w 536"/>
              <a:gd name="T73" fmla="*/ 54 h 537"/>
              <a:gd name="T74" fmla="*/ 268 w 536"/>
              <a:gd name="T75" fmla="*/ 88 h 537"/>
              <a:gd name="T76" fmla="*/ 278 w 536"/>
              <a:gd name="T77" fmla="*/ 54 h 537"/>
              <a:gd name="T78" fmla="*/ 169 w 536"/>
              <a:gd name="T79" fmla="*/ 117 h 537"/>
              <a:gd name="T80" fmla="*/ 123 w 536"/>
              <a:gd name="T81" fmla="*/ 110 h 537"/>
              <a:gd name="T82" fmla="*/ 111 w 536"/>
              <a:gd name="T83" fmla="*/ 371 h 537"/>
              <a:gd name="T84" fmla="*/ 151 w 536"/>
              <a:gd name="T85" fmla="*/ 416 h 537"/>
              <a:gd name="T86" fmla="*/ 231 w 536"/>
              <a:gd name="T87" fmla="*/ 446 h 537"/>
              <a:gd name="T88" fmla="*/ 289 w 536"/>
              <a:gd name="T89" fmla="*/ 455 h 537"/>
              <a:gd name="T90" fmla="*/ 371 w 536"/>
              <a:gd name="T91" fmla="*/ 426 h 537"/>
              <a:gd name="T92" fmla="*/ 415 w 536"/>
              <a:gd name="T93" fmla="*/ 385 h 537"/>
              <a:gd name="T94" fmla="*/ 104 w 536"/>
              <a:gd name="T95" fmla="*/ 269 h 537"/>
              <a:gd name="T96" fmla="*/ 268 w 536"/>
              <a:gd name="T97" fmla="*/ 433 h 537"/>
              <a:gd name="T98" fmla="*/ 380 w 536"/>
              <a:gd name="T99" fmla="*/ 127 h 537"/>
              <a:gd name="T100" fmla="*/ 425 w 536"/>
              <a:gd name="T101" fmla="*/ 166 h 537"/>
              <a:gd name="T102" fmla="*/ 449 w 536"/>
              <a:gd name="T103" fmla="*/ 269 h 537"/>
              <a:gd name="T104" fmla="*/ 483 w 536"/>
              <a:gd name="T105" fmla="*/ 278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36" h="537">
                <a:moveTo>
                  <a:pt x="500" y="346"/>
                </a:moveTo>
                <a:cubicBezTo>
                  <a:pt x="527" y="342"/>
                  <a:pt x="527" y="342"/>
                  <a:pt x="527" y="342"/>
                </a:cubicBezTo>
                <a:cubicBezTo>
                  <a:pt x="507" y="324"/>
                  <a:pt x="507" y="324"/>
                  <a:pt x="507" y="324"/>
                </a:cubicBezTo>
                <a:cubicBezTo>
                  <a:pt x="499" y="318"/>
                  <a:pt x="502" y="306"/>
                  <a:pt x="511" y="302"/>
                </a:cubicBezTo>
                <a:cubicBezTo>
                  <a:pt x="536" y="293"/>
                  <a:pt x="536" y="293"/>
                  <a:pt x="536" y="293"/>
                </a:cubicBezTo>
                <a:cubicBezTo>
                  <a:pt x="513" y="279"/>
                  <a:pt x="513" y="279"/>
                  <a:pt x="513" y="279"/>
                </a:cubicBezTo>
                <a:cubicBezTo>
                  <a:pt x="504" y="274"/>
                  <a:pt x="504" y="262"/>
                  <a:pt x="513" y="257"/>
                </a:cubicBezTo>
                <a:cubicBezTo>
                  <a:pt x="536" y="244"/>
                  <a:pt x="536" y="244"/>
                  <a:pt x="536" y="244"/>
                </a:cubicBezTo>
                <a:cubicBezTo>
                  <a:pt x="511" y="234"/>
                  <a:pt x="511" y="234"/>
                  <a:pt x="511" y="234"/>
                </a:cubicBezTo>
                <a:cubicBezTo>
                  <a:pt x="501" y="231"/>
                  <a:pt x="499" y="219"/>
                  <a:pt x="507" y="212"/>
                </a:cubicBezTo>
                <a:cubicBezTo>
                  <a:pt x="526" y="195"/>
                  <a:pt x="526" y="195"/>
                  <a:pt x="526" y="195"/>
                </a:cubicBezTo>
                <a:cubicBezTo>
                  <a:pt x="500" y="190"/>
                  <a:pt x="500" y="190"/>
                  <a:pt x="500" y="190"/>
                </a:cubicBezTo>
                <a:cubicBezTo>
                  <a:pt x="491" y="189"/>
                  <a:pt x="486" y="177"/>
                  <a:pt x="492" y="170"/>
                </a:cubicBezTo>
                <a:cubicBezTo>
                  <a:pt x="508" y="149"/>
                  <a:pt x="508" y="149"/>
                  <a:pt x="508" y="149"/>
                </a:cubicBezTo>
                <a:cubicBezTo>
                  <a:pt x="482" y="149"/>
                  <a:pt x="482" y="149"/>
                  <a:pt x="482" y="149"/>
                </a:cubicBezTo>
                <a:cubicBezTo>
                  <a:pt x="472" y="149"/>
                  <a:pt x="466" y="139"/>
                  <a:pt x="470" y="130"/>
                </a:cubicBezTo>
                <a:cubicBezTo>
                  <a:pt x="482" y="106"/>
                  <a:pt x="482" y="106"/>
                  <a:pt x="482" y="106"/>
                </a:cubicBezTo>
                <a:cubicBezTo>
                  <a:pt x="456" y="112"/>
                  <a:pt x="456" y="112"/>
                  <a:pt x="456" y="112"/>
                </a:cubicBezTo>
                <a:cubicBezTo>
                  <a:pt x="447" y="114"/>
                  <a:pt x="438" y="105"/>
                  <a:pt x="441" y="95"/>
                </a:cubicBezTo>
                <a:cubicBezTo>
                  <a:pt x="449" y="70"/>
                  <a:pt x="449" y="70"/>
                  <a:pt x="449" y="70"/>
                </a:cubicBezTo>
                <a:cubicBezTo>
                  <a:pt x="424" y="80"/>
                  <a:pt x="424" y="80"/>
                  <a:pt x="424" y="80"/>
                </a:cubicBezTo>
                <a:cubicBezTo>
                  <a:pt x="415" y="83"/>
                  <a:pt x="405" y="76"/>
                  <a:pt x="406" y="66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387" y="54"/>
                  <a:pt x="387" y="54"/>
                  <a:pt x="387" y="54"/>
                </a:cubicBezTo>
                <a:cubicBezTo>
                  <a:pt x="379" y="59"/>
                  <a:pt x="368" y="54"/>
                  <a:pt x="367" y="44"/>
                </a:cubicBezTo>
                <a:cubicBezTo>
                  <a:pt x="365" y="18"/>
                  <a:pt x="365" y="18"/>
                  <a:pt x="365" y="18"/>
                </a:cubicBezTo>
                <a:cubicBezTo>
                  <a:pt x="345" y="36"/>
                  <a:pt x="345" y="36"/>
                  <a:pt x="345" y="36"/>
                </a:cubicBezTo>
                <a:cubicBezTo>
                  <a:pt x="338" y="43"/>
                  <a:pt x="327" y="39"/>
                  <a:pt x="324" y="30"/>
                </a:cubicBezTo>
                <a:cubicBezTo>
                  <a:pt x="317" y="4"/>
                  <a:pt x="317" y="4"/>
                  <a:pt x="317" y="4"/>
                </a:cubicBezTo>
                <a:cubicBezTo>
                  <a:pt x="301" y="26"/>
                  <a:pt x="301" y="26"/>
                  <a:pt x="301" y="26"/>
                </a:cubicBezTo>
                <a:cubicBezTo>
                  <a:pt x="296" y="34"/>
                  <a:pt x="283" y="32"/>
                  <a:pt x="279" y="24"/>
                </a:cubicBezTo>
                <a:cubicBezTo>
                  <a:pt x="268" y="0"/>
                  <a:pt x="268" y="0"/>
                  <a:pt x="268" y="0"/>
                </a:cubicBezTo>
                <a:cubicBezTo>
                  <a:pt x="256" y="24"/>
                  <a:pt x="256" y="24"/>
                  <a:pt x="256" y="24"/>
                </a:cubicBezTo>
                <a:cubicBezTo>
                  <a:pt x="252" y="32"/>
                  <a:pt x="240" y="34"/>
                  <a:pt x="234" y="26"/>
                </a:cubicBezTo>
                <a:cubicBezTo>
                  <a:pt x="218" y="4"/>
                  <a:pt x="218" y="4"/>
                  <a:pt x="218" y="4"/>
                </a:cubicBezTo>
                <a:cubicBezTo>
                  <a:pt x="211" y="30"/>
                  <a:pt x="211" y="30"/>
                  <a:pt x="211" y="30"/>
                </a:cubicBezTo>
                <a:cubicBezTo>
                  <a:pt x="209" y="39"/>
                  <a:pt x="197" y="43"/>
                  <a:pt x="190" y="36"/>
                </a:cubicBezTo>
                <a:cubicBezTo>
                  <a:pt x="171" y="18"/>
                  <a:pt x="171" y="18"/>
                  <a:pt x="171" y="18"/>
                </a:cubicBezTo>
                <a:cubicBezTo>
                  <a:pt x="168" y="44"/>
                  <a:pt x="168" y="44"/>
                  <a:pt x="168" y="44"/>
                </a:cubicBezTo>
                <a:cubicBezTo>
                  <a:pt x="168" y="54"/>
                  <a:pt x="157" y="60"/>
                  <a:pt x="149" y="54"/>
                </a:cubicBezTo>
                <a:cubicBezTo>
                  <a:pt x="126" y="40"/>
                  <a:pt x="126" y="40"/>
                  <a:pt x="126" y="40"/>
                </a:cubicBezTo>
                <a:cubicBezTo>
                  <a:pt x="129" y="66"/>
                  <a:pt x="129" y="66"/>
                  <a:pt x="129" y="66"/>
                </a:cubicBezTo>
                <a:cubicBezTo>
                  <a:pt x="130" y="76"/>
                  <a:pt x="120" y="84"/>
                  <a:pt x="111" y="80"/>
                </a:cubicBezTo>
                <a:cubicBezTo>
                  <a:pt x="87" y="70"/>
                  <a:pt x="87" y="70"/>
                  <a:pt x="87" y="70"/>
                </a:cubicBezTo>
                <a:cubicBezTo>
                  <a:pt x="94" y="95"/>
                  <a:pt x="94" y="95"/>
                  <a:pt x="94" y="95"/>
                </a:cubicBezTo>
                <a:cubicBezTo>
                  <a:pt x="97" y="105"/>
                  <a:pt x="89" y="114"/>
                  <a:pt x="79" y="112"/>
                </a:cubicBezTo>
                <a:cubicBezTo>
                  <a:pt x="53" y="107"/>
                  <a:pt x="53" y="107"/>
                  <a:pt x="53" y="107"/>
                </a:cubicBezTo>
                <a:cubicBezTo>
                  <a:pt x="65" y="130"/>
                  <a:pt x="65" y="130"/>
                  <a:pt x="65" y="130"/>
                </a:cubicBezTo>
                <a:cubicBezTo>
                  <a:pt x="70" y="139"/>
                  <a:pt x="64" y="149"/>
                  <a:pt x="54" y="149"/>
                </a:cubicBezTo>
                <a:cubicBezTo>
                  <a:pt x="27" y="149"/>
                  <a:pt x="27" y="149"/>
                  <a:pt x="27" y="149"/>
                </a:cubicBezTo>
                <a:cubicBezTo>
                  <a:pt x="43" y="170"/>
                  <a:pt x="43" y="170"/>
                  <a:pt x="43" y="170"/>
                </a:cubicBezTo>
                <a:cubicBezTo>
                  <a:pt x="49" y="178"/>
                  <a:pt x="45" y="189"/>
                  <a:pt x="35" y="191"/>
                </a:cubicBezTo>
                <a:cubicBezTo>
                  <a:pt x="9" y="195"/>
                  <a:pt x="9" y="195"/>
                  <a:pt x="9" y="195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6" y="219"/>
                  <a:pt x="34" y="231"/>
                  <a:pt x="25" y="235"/>
                </a:cubicBezTo>
                <a:cubicBezTo>
                  <a:pt x="0" y="244"/>
                  <a:pt x="0" y="244"/>
                  <a:pt x="0" y="244"/>
                </a:cubicBezTo>
                <a:cubicBezTo>
                  <a:pt x="23" y="258"/>
                  <a:pt x="23" y="258"/>
                  <a:pt x="23" y="258"/>
                </a:cubicBezTo>
                <a:cubicBezTo>
                  <a:pt x="31" y="263"/>
                  <a:pt x="31" y="275"/>
                  <a:pt x="23" y="280"/>
                </a:cubicBezTo>
                <a:cubicBezTo>
                  <a:pt x="0" y="294"/>
                  <a:pt x="0" y="294"/>
                  <a:pt x="0" y="294"/>
                </a:cubicBezTo>
                <a:cubicBezTo>
                  <a:pt x="25" y="303"/>
                  <a:pt x="25" y="303"/>
                  <a:pt x="25" y="303"/>
                </a:cubicBezTo>
                <a:cubicBezTo>
                  <a:pt x="34" y="306"/>
                  <a:pt x="37" y="318"/>
                  <a:pt x="29" y="325"/>
                </a:cubicBezTo>
                <a:cubicBezTo>
                  <a:pt x="9" y="342"/>
                  <a:pt x="9" y="342"/>
                  <a:pt x="9" y="342"/>
                </a:cubicBezTo>
                <a:cubicBezTo>
                  <a:pt x="36" y="347"/>
                  <a:pt x="36" y="347"/>
                  <a:pt x="36" y="347"/>
                </a:cubicBezTo>
                <a:cubicBezTo>
                  <a:pt x="45" y="348"/>
                  <a:pt x="50" y="360"/>
                  <a:pt x="44" y="368"/>
                </a:cubicBezTo>
                <a:cubicBezTo>
                  <a:pt x="27" y="389"/>
                  <a:pt x="27" y="389"/>
                  <a:pt x="27" y="389"/>
                </a:cubicBezTo>
                <a:cubicBezTo>
                  <a:pt x="54" y="388"/>
                  <a:pt x="54" y="388"/>
                  <a:pt x="54" y="388"/>
                </a:cubicBezTo>
                <a:cubicBezTo>
                  <a:pt x="64" y="388"/>
                  <a:pt x="70" y="398"/>
                  <a:pt x="66" y="407"/>
                </a:cubicBezTo>
                <a:cubicBezTo>
                  <a:pt x="53" y="431"/>
                  <a:pt x="53" y="431"/>
                  <a:pt x="53" y="431"/>
                </a:cubicBezTo>
                <a:cubicBezTo>
                  <a:pt x="80" y="425"/>
                  <a:pt x="80" y="425"/>
                  <a:pt x="80" y="425"/>
                </a:cubicBezTo>
                <a:cubicBezTo>
                  <a:pt x="89" y="424"/>
                  <a:pt x="97" y="432"/>
                  <a:pt x="95" y="442"/>
                </a:cubicBezTo>
                <a:cubicBezTo>
                  <a:pt x="87" y="467"/>
                  <a:pt x="87" y="467"/>
                  <a:pt x="87" y="467"/>
                </a:cubicBezTo>
                <a:cubicBezTo>
                  <a:pt x="112" y="457"/>
                  <a:pt x="112" y="457"/>
                  <a:pt x="112" y="457"/>
                </a:cubicBezTo>
                <a:cubicBezTo>
                  <a:pt x="121" y="454"/>
                  <a:pt x="130" y="461"/>
                  <a:pt x="129" y="471"/>
                </a:cubicBezTo>
                <a:cubicBezTo>
                  <a:pt x="127" y="497"/>
                  <a:pt x="127" y="497"/>
                  <a:pt x="127" y="497"/>
                </a:cubicBezTo>
                <a:cubicBezTo>
                  <a:pt x="149" y="483"/>
                  <a:pt x="149" y="483"/>
                  <a:pt x="149" y="483"/>
                </a:cubicBezTo>
                <a:cubicBezTo>
                  <a:pt x="157" y="478"/>
                  <a:pt x="168" y="483"/>
                  <a:pt x="169" y="493"/>
                </a:cubicBezTo>
                <a:cubicBezTo>
                  <a:pt x="171" y="519"/>
                  <a:pt x="171" y="519"/>
                  <a:pt x="171" y="519"/>
                </a:cubicBezTo>
                <a:cubicBezTo>
                  <a:pt x="190" y="501"/>
                  <a:pt x="190" y="501"/>
                  <a:pt x="190" y="501"/>
                </a:cubicBezTo>
                <a:cubicBezTo>
                  <a:pt x="197" y="494"/>
                  <a:pt x="209" y="498"/>
                  <a:pt x="212" y="507"/>
                </a:cubicBezTo>
                <a:cubicBezTo>
                  <a:pt x="219" y="533"/>
                  <a:pt x="219" y="533"/>
                  <a:pt x="219" y="533"/>
                </a:cubicBezTo>
                <a:cubicBezTo>
                  <a:pt x="234" y="511"/>
                  <a:pt x="234" y="511"/>
                  <a:pt x="234" y="511"/>
                </a:cubicBezTo>
                <a:cubicBezTo>
                  <a:pt x="240" y="504"/>
                  <a:pt x="252" y="505"/>
                  <a:pt x="257" y="513"/>
                </a:cubicBezTo>
                <a:cubicBezTo>
                  <a:pt x="268" y="537"/>
                  <a:pt x="268" y="537"/>
                  <a:pt x="268" y="537"/>
                </a:cubicBezTo>
                <a:cubicBezTo>
                  <a:pt x="280" y="513"/>
                  <a:pt x="280" y="513"/>
                  <a:pt x="280" y="513"/>
                </a:cubicBezTo>
                <a:cubicBezTo>
                  <a:pt x="284" y="505"/>
                  <a:pt x="296" y="503"/>
                  <a:pt x="302" y="511"/>
                </a:cubicBezTo>
                <a:cubicBezTo>
                  <a:pt x="317" y="533"/>
                  <a:pt x="317" y="533"/>
                  <a:pt x="317" y="533"/>
                </a:cubicBezTo>
                <a:cubicBezTo>
                  <a:pt x="324" y="507"/>
                  <a:pt x="324" y="507"/>
                  <a:pt x="324" y="507"/>
                </a:cubicBezTo>
                <a:cubicBezTo>
                  <a:pt x="327" y="498"/>
                  <a:pt x="339" y="494"/>
                  <a:pt x="346" y="501"/>
                </a:cubicBezTo>
                <a:cubicBezTo>
                  <a:pt x="365" y="519"/>
                  <a:pt x="365" y="519"/>
                  <a:pt x="365" y="519"/>
                </a:cubicBezTo>
                <a:cubicBezTo>
                  <a:pt x="367" y="493"/>
                  <a:pt x="367" y="493"/>
                  <a:pt x="367" y="493"/>
                </a:cubicBezTo>
                <a:cubicBezTo>
                  <a:pt x="368" y="483"/>
                  <a:pt x="379" y="477"/>
                  <a:pt x="387" y="483"/>
                </a:cubicBezTo>
                <a:cubicBezTo>
                  <a:pt x="410" y="497"/>
                  <a:pt x="410" y="497"/>
                  <a:pt x="410" y="497"/>
                </a:cubicBezTo>
                <a:cubicBezTo>
                  <a:pt x="407" y="471"/>
                  <a:pt x="407" y="471"/>
                  <a:pt x="407" y="471"/>
                </a:cubicBezTo>
                <a:cubicBezTo>
                  <a:pt x="406" y="461"/>
                  <a:pt x="415" y="454"/>
                  <a:pt x="424" y="457"/>
                </a:cubicBezTo>
                <a:cubicBezTo>
                  <a:pt x="449" y="467"/>
                  <a:pt x="449" y="467"/>
                  <a:pt x="449" y="467"/>
                </a:cubicBezTo>
                <a:cubicBezTo>
                  <a:pt x="442" y="442"/>
                  <a:pt x="442" y="442"/>
                  <a:pt x="442" y="442"/>
                </a:cubicBezTo>
                <a:cubicBezTo>
                  <a:pt x="439" y="432"/>
                  <a:pt x="447" y="423"/>
                  <a:pt x="456" y="425"/>
                </a:cubicBezTo>
                <a:cubicBezTo>
                  <a:pt x="483" y="430"/>
                  <a:pt x="483" y="430"/>
                  <a:pt x="483" y="430"/>
                </a:cubicBezTo>
                <a:cubicBezTo>
                  <a:pt x="470" y="407"/>
                  <a:pt x="470" y="407"/>
                  <a:pt x="470" y="407"/>
                </a:cubicBezTo>
                <a:cubicBezTo>
                  <a:pt x="466" y="398"/>
                  <a:pt x="472" y="388"/>
                  <a:pt x="482" y="388"/>
                </a:cubicBezTo>
                <a:cubicBezTo>
                  <a:pt x="509" y="388"/>
                  <a:pt x="509" y="388"/>
                  <a:pt x="509" y="388"/>
                </a:cubicBezTo>
                <a:cubicBezTo>
                  <a:pt x="492" y="367"/>
                  <a:pt x="492" y="367"/>
                  <a:pt x="492" y="367"/>
                </a:cubicBezTo>
                <a:cubicBezTo>
                  <a:pt x="486" y="359"/>
                  <a:pt x="491" y="348"/>
                  <a:pt x="500" y="346"/>
                </a:cubicBezTo>
                <a:close/>
                <a:moveTo>
                  <a:pt x="88" y="289"/>
                </a:moveTo>
                <a:cubicBezTo>
                  <a:pt x="86" y="290"/>
                  <a:pt x="84" y="290"/>
                  <a:pt x="81" y="290"/>
                </a:cubicBezTo>
                <a:cubicBezTo>
                  <a:pt x="65" y="289"/>
                  <a:pt x="52" y="275"/>
                  <a:pt x="53" y="259"/>
                </a:cubicBezTo>
                <a:cubicBezTo>
                  <a:pt x="54" y="242"/>
                  <a:pt x="68" y="230"/>
                  <a:pt x="84" y="230"/>
                </a:cubicBezTo>
                <a:cubicBezTo>
                  <a:pt x="86" y="230"/>
                  <a:pt x="89" y="231"/>
                  <a:pt x="91" y="231"/>
                </a:cubicBezTo>
                <a:cubicBezTo>
                  <a:pt x="88" y="243"/>
                  <a:pt x="87" y="256"/>
                  <a:pt x="87" y="269"/>
                </a:cubicBezTo>
                <a:cubicBezTo>
                  <a:pt x="87" y="276"/>
                  <a:pt x="88" y="283"/>
                  <a:pt x="88" y="289"/>
                </a:cubicBezTo>
                <a:close/>
                <a:moveTo>
                  <a:pt x="278" y="54"/>
                </a:moveTo>
                <a:cubicBezTo>
                  <a:pt x="294" y="54"/>
                  <a:pt x="307" y="68"/>
                  <a:pt x="306" y="85"/>
                </a:cubicBezTo>
                <a:cubicBezTo>
                  <a:pt x="306" y="87"/>
                  <a:pt x="306" y="89"/>
                  <a:pt x="305" y="92"/>
                </a:cubicBezTo>
                <a:cubicBezTo>
                  <a:pt x="293" y="89"/>
                  <a:pt x="281" y="88"/>
                  <a:pt x="268" y="88"/>
                </a:cubicBezTo>
                <a:cubicBezTo>
                  <a:pt x="261" y="88"/>
                  <a:pt x="254" y="88"/>
                  <a:pt x="247" y="89"/>
                </a:cubicBezTo>
                <a:cubicBezTo>
                  <a:pt x="247" y="87"/>
                  <a:pt x="246" y="84"/>
                  <a:pt x="246" y="82"/>
                </a:cubicBezTo>
                <a:cubicBezTo>
                  <a:pt x="247" y="66"/>
                  <a:pt x="261" y="53"/>
                  <a:pt x="278" y="54"/>
                </a:cubicBezTo>
                <a:close/>
                <a:moveTo>
                  <a:pt x="123" y="110"/>
                </a:moveTo>
                <a:cubicBezTo>
                  <a:pt x="135" y="99"/>
                  <a:pt x="154" y="99"/>
                  <a:pt x="165" y="112"/>
                </a:cubicBezTo>
                <a:cubicBezTo>
                  <a:pt x="167" y="113"/>
                  <a:pt x="168" y="115"/>
                  <a:pt x="169" y="117"/>
                </a:cubicBezTo>
                <a:cubicBezTo>
                  <a:pt x="153" y="128"/>
                  <a:pt x="138" y="141"/>
                  <a:pt x="126" y="156"/>
                </a:cubicBezTo>
                <a:cubicBezTo>
                  <a:pt x="124" y="155"/>
                  <a:pt x="122" y="154"/>
                  <a:pt x="121" y="152"/>
                </a:cubicBezTo>
                <a:cubicBezTo>
                  <a:pt x="110" y="140"/>
                  <a:pt x="111" y="121"/>
                  <a:pt x="123" y="110"/>
                </a:cubicBezTo>
                <a:close/>
                <a:moveTo>
                  <a:pt x="151" y="416"/>
                </a:moveTo>
                <a:cubicBezTo>
                  <a:pt x="139" y="427"/>
                  <a:pt x="120" y="426"/>
                  <a:pt x="109" y="414"/>
                </a:cubicBezTo>
                <a:cubicBezTo>
                  <a:pt x="98" y="401"/>
                  <a:pt x="99" y="383"/>
                  <a:pt x="111" y="371"/>
                </a:cubicBezTo>
                <a:cubicBezTo>
                  <a:pt x="113" y="370"/>
                  <a:pt x="115" y="368"/>
                  <a:pt x="117" y="367"/>
                </a:cubicBezTo>
                <a:cubicBezTo>
                  <a:pt x="127" y="384"/>
                  <a:pt x="140" y="398"/>
                  <a:pt x="156" y="410"/>
                </a:cubicBezTo>
                <a:cubicBezTo>
                  <a:pt x="154" y="412"/>
                  <a:pt x="153" y="414"/>
                  <a:pt x="151" y="416"/>
                </a:cubicBezTo>
                <a:close/>
                <a:moveTo>
                  <a:pt x="258" y="483"/>
                </a:moveTo>
                <a:cubicBezTo>
                  <a:pt x="242" y="483"/>
                  <a:pt x="229" y="469"/>
                  <a:pt x="230" y="452"/>
                </a:cubicBezTo>
                <a:cubicBezTo>
                  <a:pt x="230" y="450"/>
                  <a:pt x="230" y="448"/>
                  <a:pt x="231" y="446"/>
                </a:cubicBezTo>
                <a:cubicBezTo>
                  <a:pt x="243" y="448"/>
                  <a:pt x="255" y="449"/>
                  <a:pt x="268" y="449"/>
                </a:cubicBezTo>
                <a:cubicBezTo>
                  <a:pt x="275" y="449"/>
                  <a:pt x="282" y="449"/>
                  <a:pt x="289" y="448"/>
                </a:cubicBezTo>
                <a:cubicBezTo>
                  <a:pt x="289" y="450"/>
                  <a:pt x="289" y="453"/>
                  <a:pt x="289" y="455"/>
                </a:cubicBezTo>
                <a:cubicBezTo>
                  <a:pt x="289" y="471"/>
                  <a:pt x="275" y="484"/>
                  <a:pt x="258" y="483"/>
                </a:cubicBezTo>
                <a:close/>
                <a:moveTo>
                  <a:pt x="413" y="427"/>
                </a:moveTo>
                <a:cubicBezTo>
                  <a:pt x="401" y="439"/>
                  <a:pt x="382" y="438"/>
                  <a:pt x="371" y="426"/>
                </a:cubicBezTo>
                <a:cubicBezTo>
                  <a:pt x="369" y="424"/>
                  <a:pt x="368" y="422"/>
                  <a:pt x="367" y="420"/>
                </a:cubicBezTo>
                <a:cubicBezTo>
                  <a:pt x="383" y="409"/>
                  <a:pt x="398" y="396"/>
                  <a:pt x="410" y="381"/>
                </a:cubicBezTo>
                <a:cubicBezTo>
                  <a:pt x="412" y="382"/>
                  <a:pt x="413" y="383"/>
                  <a:pt x="415" y="385"/>
                </a:cubicBezTo>
                <a:cubicBezTo>
                  <a:pt x="426" y="397"/>
                  <a:pt x="425" y="416"/>
                  <a:pt x="413" y="427"/>
                </a:cubicBezTo>
                <a:close/>
                <a:moveTo>
                  <a:pt x="268" y="433"/>
                </a:moveTo>
                <a:cubicBezTo>
                  <a:pt x="177" y="433"/>
                  <a:pt x="104" y="359"/>
                  <a:pt x="104" y="269"/>
                </a:cubicBezTo>
                <a:cubicBezTo>
                  <a:pt x="104" y="178"/>
                  <a:pt x="177" y="104"/>
                  <a:pt x="268" y="104"/>
                </a:cubicBezTo>
                <a:cubicBezTo>
                  <a:pt x="359" y="104"/>
                  <a:pt x="432" y="178"/>
                  <a:pt x="432" y="269"/>
                </a:cubicBezTo>
                <a:cubicBezTo>
                  <a:pt x="432" y="359"/>
                  <a:pt x="359" y="433"/>
                  <a:pt x="268" y="433"/>
                </a:cubicBezTo>
                <a:close/>
                <a:moveTo>
                  <a:pt x="425" y="166"/>
                </a:moveTo>
                <a:cubicBezTo>
                  <a:pt x="423" y="167"/>
                  <a:pt x="421" y="169"/>
                  <a:pt x="419" y="170"/>
                </a:cubicBezTo>
                <a:cubicBezTo>
                  <a:pt x="409" y="153"/>
                  <a:pt x="395" y="139"/>
                  <a:pt x="380" y="127"/>
                </a:cubicBezTo>
                <a:cubicBezTo>
                  <a:pt x="381" y="125"/>
                  <a:pt x="383" y="123"/>
                  <a:pt x="385" y="122"/>
                </a:cubicBezTo>
                <a:cubicBezTo>
                  <a:pt x="397" y="110"/>
                  <a:pt x="416" y="111"/>
                  <a:pt x="427" y="123"/>
                </a:cubicBezTo>
                <a:cubicBezTo>
                  <a:pt x="438" y="136"/>
                  <a:pt x="437" y="155"/>
                  <a:pt x="425" y="166"/>
                </a:cubicBezTo>
                <a:close/>
                <a:moveTo>
                  <a:pt x="452" y="307"/>
                </a:moveTo>
                <a:cubicBezTo>
                  <a:pt x="449" y="307"/>
                  <a:pt x="447" y="306"/>
                  <a:pt x="445" y="306"/>
                </a:cubicBezTo>
                <a:cubicBezTo>
                  <a:pt x="447" y="294"/>
                  <a:pt x="449" y="281"/>
                  <a:pt x="449" y="269"/>
                </a:cubicBezTo>
                <a:cubicBezTo>
                  <a:pt x="449" y="261"/>
                  <a:pt x="448" y="254"/>
                  <a:pt x="447" y="248"/>
                </a:cubicBezTo>
                <a:cubicBezTo>
                  <a:pt x="450" y="247"/>
                  <a:pt x="452" y="247"/>
                  <a:pt x="454" y="247"/>
                </a:cubicBezTo>
                <a:cubicBezTo>
                  <a:pt x="471" y="248"/>
                  <a:pt x="484" y="262"/>
                  <a:pt x="483" y="278"/>
                </a:cubicBezTo>
                <a:cubicBezTo>
                  <a:pt x="482" y="295"/>
                  <a:pt x="468" y="308"/>
                  <a:pt x="452" y="307"/>
                </a:cubicBezTo>
                <a:close/>
              </a:path>
            </a:pathLst>
          </a:custGeom>
          <a:solidFill>
            <a:schemeClr val="accent3"/>
          </a:solidFill>
          <a:ln w="17463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9" name="Freeform 21"/>
          <p:cNvSpPr>
            <a:spLocks noEditPoints="1"/>
          </p:cNvSpPr>
          <p:nvPr/>
        </p:nvSpPr>
        <p:spPr bwMode="auto">
          <a:xfrm>
            <a:off x="14398627" y="7902577"/>
            <a:ext cx="3978274" cy="3997326"/>
          </a:xfrm>
          <a:custGeom>
            <a:avLst/>
            <a:gdLst>
              <a:gd name="T0" fmla="*/ 469 w 486"/>
              <a:gd name="T1" fmla="*/ 224 h 488"/>
              <a:gd name="T2" fmla="*/ 470 w 486"/>
              <a:gd name="T3" fmla="*/ 194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7 w 486"/>
              <a:gd name="T19" fmla="*/ 13 h 488"/>
              <a:gd name="T20" fmla="*/ 226 w 486"/>
              <a:gd name="T21" fmla="*/ 19 h 488"/>
              <a:gd name="T22" fmla="*/ 177 w 486"/>
              <a:gd name="T23" fmla="*/ 9 h 488"/>
              <a:gd name="T24" fmla="*/ 152 w 486"/>
              <a:gd name="T25" fmla="*/ 57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90 h 488"/>
              <a:gd name="T32" fmla="*/ 42 w 486"/>
              <a:gd name="T33" fmla="*/ 139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9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9 h 488"/>
              <a:gd name="T48" fmla="*/ 63 w 486"/>
              <a:gd name="T49" fmla="*/ 409 h 488"/>
              <a:gd name="T50" fmla="*/ 110 w 486"/>
              <a:gd name="T51" fmla="*/ 428 h 488"/>
              <a:gd name="T52" fmla="*/ 133 w 486"/>
              <a:gd name="T53" fmla="*/ 448 h 488"/>
              <a:gd name="T54" fmla="*/ 167 w 486"/>
              <a:gd name="T55" fmla="*/ 458 h 488"/>
              <a:gd name="T56" fmla="*/ 195 w 486"/>
              <a:gd name="T57" fmla="*/ 471 h 488"/>
              <a:gd name="T58" fmla="*/ 230 w 486"/>
              <a:gd name="T59" fmla="*/ 475 h 488"/>
              <a:gd name="T60" fmla="*/ 260 w 486"/>
              <a:gd name="T61" fmla="*/ 470 h 488"/>
              <a:gd name="T62" fmla="*/ 295 w 486"/>
              <a:gd name="T63" fmla="*/ 470 h 488"/>
              <a:gd name="T64" fmla="*/ 323 w 486"/>
              <a:gd name="T65" fmla="*/ 456 h 488"/>
              <a:gd name="T66" fmla="*/ 373 w 486"/>
              <a:gd name="T67" fmla="*/ 451 h 488"/>
              <a:gd name="T68" fmla="*/ 379 w 486"/>
              <a:gd name="T69" fmla="*/ 425 h 488"/>
              <a:gd name="T70" fmla="*/ 426 w 486"/>
              <a:gd name="T71" fmla="*/ 406 h 488"/>
              <a:gd name="T72" fmla="*/ 420 w 486"/>
              <a:gd name="T73" fmla="*/ 355 h 488"/>
              <a:gd name="T74" fmla="*/ 468 w 486"/>
              <a:gd name="T75" fmla="*/ 339 h 488"/>
              <a:gd name="T76" fmla="*/ 455 w 486"/>
              <a:gd name="T77" fmla="*/ 286 h 488"/>
              <a:gd name="T78" fmla="*/ 475 w 486"/>
              <a:gd name="T79" fmla="*/ 260 h 488"/>
              <a:gd name="T80" fmla="*/ 366 w 486"/>
              <a:gd name="T81" fmla="*/ 153 h 488"/>
              <a:gd name="T82" fmla="*/ 184 w 486"/>
              <a:gd name="T83" fmla="*/ 86 h 488"/>
              <a:gd name="T84" fmla="*/ 243 w 486"/>
              <a:gd name="T85" fmla="*/ 100 h 488"/>
              <a:gd name="T86" fmla="*/ 89 w 486"/>
              <a:gd name="T87" fmla="*/ 176 h 488"/>
              <a:gd name="T88" fmla="*/ 107 w 486"/>
              <a:gd name="T89" fmla="*/ 198 h 488"/>
              <a:gd name="T90" fmla="*/ 87 w 486"/>
              <a:gd name="T91" fmla="*/ 308 h 488"/>
              <a:gd name="T92" fmla="*/ 99 w 486"/>
              <a:gd name="T93" fmla="*/ 244 h 488"/>
              <a:gd name="T94" fmla="*/ 181 w 486"/>
              <a:gd name="T95" fmla="*/ 401 h 488"/>
              <a:gd name="T96" fmla="*/ 203 w 486"/>
              <a:gd name="T97" fmla="*/ 382 h 488"/>
              <a:gd name="T98" fmla="*/ 224 w 486"/>
              <a:gd name="T99" fmla="*/ 396 h 488"/>
              <a:gd name="T100" fmla="*/ 318 w 486"/>
              <a:gd name="T101" fmla="*/ 377 h 488"/>
              <a:gd name="T102" fmla="*/ 243 w 486"/>
              <a:gd name="T103" fmla="*/ 113 h 488"/>
              <a:gd name="T104" fmla="*/ 359 w 486"/>
              <a:gd name="T105" fmla="*/ 366 h 488"/>
              <a:gd name="T106" fmla="*/ 390 w 486"/>
              <a:gd name="T107" fmla="*/ 286 h 488"/>
              <a:gd name="T108" fmla="*/ 387 w 486"/>
              <a:gd name="T109" fmla="*/ 244 h 488"/>
              <a:gd name="T110" fmla="*/ 412 w 486"/>
              <a:gd name="T111" fmla="*/ 250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6" h="488">
                <a:moveTo>
                  <a:pt x="475" y="260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1" y="259"/>
                  <a:pt x="453" y="253"/>
                  <a:pt x="452" y="245"/>
                </a:cubicBezTo>
                <a:cubicBezTo>
                  <a:pt x="450" y="234"/>
                  <a:pt x="459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1" y="225"/>
                  <a:pt x="486" y="219"/>
                  <a:pt x="485" y="212"/>
                </a:cubicBezTo>
                <a:cubicBezTo>
                  <a:pt x="485" y="209"/>
                  <a:pt x="484" y="206"/>
                  <a:pt x="484" y="202"/>
                </a:cubicBezTo>
                <a:cubicBezTo>
                  <a:pt x="482" y="196"/>
                  <a:pt x="476" y="192"/>
                  <a:pt x="470" y="194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4" y="186"/>
                </a:cubicBezTo>
                <a:cubicBezTo>
                  <a:pt x="439" y="176"/>
                  <a:pt x="444" y="164"/>
                  <a:pt x="454" y="162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6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1"/>
                  <a:pt x="452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8"/>
                  <a:pt x="417" y="130"/>
                </a:cubicBezTo>
                <a:cubicBezTo>
                  <a:pt x="412" y="121"/>
                  <a:pt x="414" y="110"/>
                  <a:pt x="423" y="105"/>
                </a:cubicBezTo>
                <a:cubicBezTo>
                  <a:pt x="427" y="103"/>
                  <a:pt x="427" y="103"/>
                  <a:pt x="427" y="103"/>
                </a:cubicBezTo>
                <a:cubicBezTo>
                  <a:pt x="432" y="99"/>
                  <a:pt x="434" y="92"/>
                  <a:pt x="429" y="86"/>
                </a:cubicBezTo>
                <a:cubicBezTo>
                  <a:pt x="427" y="84"/>
                  <a:pt x="425" y="81"/>
                  <a:pt x="423" y="79"/>
                </a:cubicBezTo>
                <a:cubicBezTo>
                  <a:pt x="418" y="74"/>
                  <a:pt x="411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7" y="92"/>
                  <a:pt x="380" y="87"/>
                </a:cubicBezTo>
                <a:cubicBezTo>
                  <a:pt x="371" y="81"/>
                  <a:pt x="369" y="68"/>
                  <a:pt x="376" y="60"/>
                </a:cubicBezTo>
                <a:cubicBezTo>
                  <a:pt x="379" y="57"/>
                  <a:pt x="379" y="57"/>
                  <a:pt x="379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5" y="39"/>
                  <a:pt x="372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3"/>
                  <a:pt x="339" y="57"/>
                  <a:pt x="330" y="55"/>
                </a:cubicBezTo>
                <a:cubicBezTo>
                  <a:pt x="320" y="52"/>
                  <a:pt x="315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9" y="7"/>
                  <a:pt x="292" y="11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8"/>
                  <a:pt x="273" y="38"/>
                </a:cubicBezTo>
                <a:cubicBezTo>
                  <a:pt x="262" y="38"/>
                  <a:pt x="254" y="28"/>
                  <a:pt x="256" y="18"/>
                </a:cubicBezTo>
                <a:cubicBezTo>
                  <a:pt x="257" y="13"/>
                  <a:pt x="257" y="13"/>
                  <a:pt x="257" y="13"/>
                </a:cubicBezTo>
                <a:cubicBezTo>
                  <a:pt x="258" y="6"/>
                  <a:pt x="252" y="0"/>
                  <a:pt x="246" y="0"/>
                </a:cubicBezTo>
                <a:cubicBezTo>
                  <a:pt x="243" y="0"/>
                  <a:pt x="239" y="0"/>
                  <a:pt x="236" y="0"/>
                </a:cubicBezTo>
                <a:cubicBezTo>
                  <a:pt x="229" y="0"/>
                  <a:pt x="225" y="6"/>
                  <a:pt x="225" y="13"/>
                </a:cubicBezTo>
                <a:cubicBezTo>
                  <a:pt x="226" y="19"/>
                  <a:pt x="226" y="19"/>
                  <a:pt x="226" y="19"/>
                </a:cubicBezTo>
                <a:cubicBezTo>
                  <a:pt x="227" y="28"/>
                  <a:pt x="221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1" y="11"/>
                  <a:pt x="168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3"/>
                  <a:pt x="163" y="33"/>
                  <a:pt x="163" y="33"/>
                </a:cubicBezTo>
                <a:cubicBezTo>
                  <a:pt x="168" y="42"/>
                  <a:pt x="162" y="54"/>
                  <a:pt x="152" y="57"/>
                </a:cubicBezTo>
                <a:cubicBezTo>
                  <a:pt x="143" y="59"/>
                  <a:pt x="135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7" y="36"/>
                  <a:pt x="119" y="34"/>
                  <a:pt x="114" y="37"/>
                </a:cubicBezTo>
                <a:cubicBezTo>
                  <a:pt x="114" y="37"/>
                  <a:pt x="113" y="37"/>
                  <a:pt x="113" y="37"/>
                </a:cubicBezTo>
                <a:cubicBezTo>
                  <a:pt x="111" y="39"/>
                  <a:pt x="108" y="41"/>
                  <a:pt x="105" y="43"/>
                </a:cubicBezTo>
                <a:cubicBezTo>
                  <a:pt x="100" y="47"/>
                  <a:pt x="99" y="54"/>
                  <a:pt x="103" y="59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12" y="70"/>
                  <a:pt x="113" y="80"/>
                  <a:pt x="107" y="86"/>
                </a:cubicBezTo>
                <a:cubicBezTo>
                  <a:pt x="100" y="95"/>
                  <a:pt x="87" y="94"/>
                  <a:pt x="80" y="86"/>
                </a:cubicBezTo>
                <a:cubicBezTo>
                  <a:pt x="77" y="83"/>
                  <a:pt x="77" y="83"/>
                  <a:pt x="77" y="83"/>
                </a:cubicBezTo>
                <a:cubicBezTo>
                  <a:pt x="73" y="77"/>
                  <a:pt x="65" y="77"/>
                  <a:pt x="60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7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2" y="123"/>
                  <a:pt x="68" y="131"/>
                </a:cubicBezTo>
                <a:cubicBezTo>
                  <a:pt x="64" y="141"/>
                  <a:pt x="51" y="144"/>
                  <a:pt x="42" y="139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3" y="132"/>
                  <a:pt x="25" y="134"/>
                  <a:pt x="22" y="140"/>
                </a:cubicBezTo>
                <a:cubicBezTo>
                  <a:pt x="21" y="143"/>
                  <a:pt x="20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9"/>
                  <a:pt x="45" y="179"/>
                  <a:pt x="43" y="188"/>
                </a:cubicBezTo>
                <a:cubicBezTo>
                  <a:pt x="47" y="196"/>
                  <a:pt x="40" y="205"/>
                  <a:pt x="31" y="203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0" y="196"/>
                  <a:pt x="3" y="200"/>
                  <a:pt x="2" y="207"/>
                </a:cubicBezTo>
                <a:cubicBezTo>
                  <a:pt x="2" y="210"/>
                  <a:pt x="1" y="213"/>
                  <a:pt x="1" y="216"/>
                </a:cubicBezTo>
                <a:cubicBezTo>
                  <a:pt x="0" y="223"/>
                  <a:pt x="5" y="229"/>
                  <a:pt x="12" y="229"/>
                </a:cubicBezTo>
                <a:cubicBezTo>
                  <a:pt x="17" y="229"/>
                  <a:pt x="17" y="229"/>
                  <a:pt x="17" y="229"/>
                </a:cubicBezTo>
                <a:cubicBezTo>
                  <a:pt x="27" y="229"/>
                  <a:pt x="35" y="237"/>
                  <a:pt x="35" y="247"/>
                </a:cubicBezTo>
                <a:cubicBezTo>
                  <a:pt x="35" y="256"/>
                  <a:pt x="27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6" y="264"/>
                  <a:pt x="0" y="270"/>
                  <a:pt x="1" y="276"/>
                </a:cubicBezTo>
                <a:cubicBezTo>
                  <a:pt x="2" y="279"/>
                  <a:pt x="2" y="283"/>
                  <a:pt x="3" y="286"/>
                </a:cubicBezTo>
                <a:cubicBezTo>
                  <a:pt x="4" y="292"/>
                  <a:pt x="10" y="296"/>
                  <a:pt x="17" y="295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2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7" y="314"/>
                  <a:pt x="41" y="324"/>
                  <a:pt x="32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1" y="330"/>
                  <a:pt x="17" y="337"/>
                  <a:pt x="20" y="343"/>
                </a:cubicBezTo>
                <a:cubicBezTo>
                  <a:pt x="21" y="346"/>
                  <a:pt x="23" y="349"/>
                  <a:pt x="24" y="352"/>
                </a:cubicBezTo>
                <a:cubicBezTo>
                  <a:pt x="27" y="358"/>
                  <a:pt x="34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1"/>
                  <a:pt x="69" y="359"/>
                </a:cubicBezTo>
                <a:cubicBezTo>
                  <a:pt x="74" y="367"/>
                  <a:pt x="72" y="378"/>
                  <a:pt x="64" y="383"/>
                </a:cubicBezTo>
                <a:cubicBezTo>
                  <a:pt x="60" y="385"/>
                  <a:pt x="60" y="385"/>
                  <a:pt x="60" y="385"/>
                </a:cubicBezTo>
                <a:cubicBezTo>
                  <a:pt x="54" y="389"/>
                  <a:pt x="53" y="397"/>
                  <a:pt x="57" y="402"/>
                </a:cubicBezTo>
                <a:cubicBezTo>
                  <a:pt x="59" y="404"/>
                  <a:pt x="61" y="407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9"/>
                  <a:pt x="99" y="397"/>
                  <a:pt x="106" y="401"/>
                </a:cubicBezTo>
                <a:cubicBezTo>
                  <a:pt x="115" y="407"/>
                  <a:pt x="117" y="420"/>
                  <a:pt x="110" y="428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2" y="450"/>
                  <a:pt x="114" y="451"/>
                  <a:pt x="117" y="453"/>
                </a:cubicBezTo>
                <a:cubicBezTo>
                  <a:pt x="123" y="457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40" y="434"/>
                  <a:pt x="150" y="431"/>
                  <a:pt x="159" y="435"/>
                </a:cubicBezTo>
                <a:cubicBezTo>
                  <a:pt x="159" y="435"/>
                  <a:pt x="159" y="435"/>
                  <a:pt x="159" y="435"/>
                </a:cubicBezTo>
                <a:cubicBezTo>
                  <a:pt x="167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8" y="482"/>
                  <a:pt x="194" y="478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1"/>
                </a:cubicBezTo>
                <a:cubicBezTo>
                  <a:pt x="225" y="452"/>
                  <a:pt x="232" y="461"/>
                  <a:pt x="230" y="471"/>
                </a:cubicBezTo>
                <a:cubicBezTo>
                  <a:pt x="230" y="475"/>
                  <a:pt x="230" y="475"/>
                  <a:pt x="230" y="475"/>
                </a:cubicBezTo>
                <a:cubicBezTo>
                  <a:pt x="229" y="482"/>
                  <a:pt x="234" y="488"/>
                  <a:pt x="240" y="488"/>
                </a:cubicBezTo>
                <a:cubicBezTo>
                  <a:pt x="244" y="488"/>
                  <a:pt x="247" y="488"/>
                  <a:pt x="250" y="488"/>
                </a:cubicBezTo>
                <a:cubicBezTo>
                  <a:pt x="257" y="488"/>
                  <a:pt x="262" y="482"/>
                  <a:pt x="261" y="476"/>
                </a:cubicBezTo>
                <a:cubicBezTo>
                  <a:pt x="260" y="470"/>
                  <a:pt x="260" y="470"/>
                  <a:pt x="260" y="470"/>
                </a:cubicBezTo>
                <a:cubicBezTo>
                  <a:pt x="259" y="460"/>
                  <a:pt x="266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5" y="449"/>
                  <a:pt x="294" y="456"/>
                  <a:pt x="295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2" y="478"/>
                  <a:pt x="316" y="477"/>
                  <a:pt x="319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7"/>
                  <a:pt x="332" y="433"/>
                </a:cubicBezTo>
                <a:cubicBezTo>
                  <a:pt x="341" y="429"/>
                  <a:pt x="351" y="433"/>
                  <a:pt x="355" y="442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60" y="452"/>
                  <a:pt x="367" y="454"/>
                  <a:pt x="373" y="451"/>
                </a:cubicBezTo>
                <a:cubicBezTo>
                  <a:pt x="373" y="451"/>
                  <a:pt x="373" y="451"/>
                  <a:pt x="373" y="451"/>
                </a:cubicBezTo>
                <a:cubicBezTo>
                  <a:pt x="376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9" y="394"/>
                  <a:pt x="400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3" y="411"/>
                  <a:pt x="421" y="411"/>
                  <a:pt x="426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30" y="382"/>
                </a:cubicBezTo>
                <a:cubicBezTo>
                  <a:pt x="425" y="379"/>
                  <a:pt x="425" y="379"/>
                  <a:pt x="425" y="379"/>
                </a:cubicBezTo>
                <a:cubicBezTo>
                  <a:pt x="417" y="374"/>
                  <a:pt x="414" y="363"/>
                  <a:pt x="420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4" y="356"/>
                  <a:pt x="461" y="354"/>
                  <a:pt x="464" y="348"/>
                </a:cubicBezTo>
                <a:cubicBezTo>
                  <a:pt x="465" y="345"/>
                  <a:pt x="467" y="342"/>
                  <a:pt x="468" y="339"/>
                </a:cubicBezTo>
                <a:cubicBezTo>
                  <a:pt x="470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20"/>
                  <a:pt x="441" y="310"/>
                  <a:pt x="444" y="301"/>
                </a:cubicBezTo>
                <a:cubicBezTo>
                  <a:pt x="439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7" y="292"/>
                  <a:pt x="483" y="288"/>
                  <a:pt x="484" y="282"/>
                </a:cubicBezTo>
                <a:cubicBezTo>
                  <a:pt x="485" y="278"/>
                  <a:pt x="485" y="275"/>
                  <a:pt x="485" y="272"/>
                </a:cubicBezTo>
                <a:cubicBezTo>
                  <a:pt x="486" y="265"/>
                  <a:pt x="481" y="260"/>
                  <a:pt x="475" y="260"/>
                </a:cubicBezTo>
                <a:close/>
                <a:moveTo>
                  <a:pt x="292" y="99"/>
                </a:moveTo>
                <a:cubicBezTo>
                  <a:pt x="294" y="89"/>
                  <a:pt x="303" y="85"/>
                  <a:pt x="312" y="89"/>
                </a:cubicBezTo>
                <a:cubicBezTo>
                  <a:pt x="369" y="131"/>
                  <a:pt x="369" y="131"/>
                  <a:pt x="369" y="131"/>
                </a:cubicBezTo>
                <a:cubicBezTo>
                  <a:pt x="376" y="138"/>
                  <a:pt x="375" y="148"/>
                  <a:pt x="366" y="153"/>
                </a:cubicBezTo>
                <a:cubicBezTo>
                  <a:pt x="359" y="158"/>
                  <a:pt x="359" y="158"/>
                  <a:pt x="359" y="158"/>
                </a:cubicBezTo>
                <a:cubicBezTo>
                  <a:pt x="341" y="135"/>
                  <a:pt x="317" y="117"/>
                  <a:pt x="290" y="108"/>
                </a:cubicBezTo>
                <a:lnTo>
                  <a:pt x="292" y="99"/>
                </a:lnTo>
                <a:close/>
                <a:moveTo>
                  <a:pt x="184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7" y="102"/>
                  <a:pt x="267" y="102"/>
                  <a:pt x="267" y="102"/>
                </a:cubicBezTo>
                <a:cubicBezTo>
                  <a:pt x="259" y="101"/>
                  <a:pt x="251" y="100"/>
                  <a:pt x="243" y="100"/>
                </a:cubicBezTo>
                <a:cubicBezTo>
                  <a:pt x="221" y="100"/>
                  <a:pt x="200" y="105"/>
                  <a:pt x="181" y="114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1" y="98"/>
                  <a:pt x="174" y="89"/>
                  <a:pt x="184" y="86"/>
                </a:cubicBezTo>
                <a:close/>
                <a:moveTo>
                  <a:pt x="89" y="176"/>
                </a:moveTo>
                <a:cubicBezTo>
                  <a:pt x="134" y="116"/>
                  <a:pt x="134" y="116"/>
                  <a:pt x="134" y="116"/>
                </a:cubicBezTo>
                <a:cubicBezTo>
                  <a:pt x="141" y="109"/>
                  <a:pt x="151" y="110"/>
                  <a:pt x="156" y="119"/>
                </a:cubicBezTo>
                <a:cubicBezTo>
                  <a:pt x="161" y="126"/>
                  <a:pt x="161" y="126"/>
                  <a:pt x="161" y="126"/>
                </a:cubicBezTo>
                <a:cubicBezTo>
                  <a:pt x="136" y="143"/>
                  <a:pt x="117" y="168"/>
                  <a:pt x="107" y="198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9" y="194"/>
                  <a:pt x="84" y="185"/>
                  <a:pt x="89" y="176"/>
                </a:cubicBezTo>
                <a:close/>
                <a:moveTo>
                  <a:pt x="108" y="315"/>
                </a:moveTo>
                <a:cubicBezTo>
                  <a:pt x="100" y="320"/>
                  <a:pt x="90" y="317"/>
                  <a:pt x="87" y="308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3" y="218"/>
                </a:cubicBezTo>
                <a:cubicBezTo>
                  <a:pt x="101" y="220"/>
                  <a:pt x="101" y="220"/>
                  <a:pt x="101" y="220"/>
                </a:cubicBezTo>
                <a:cubicBezTo>
                  <a:pt x="100" y="228"/>
                  <a:pt x="99" y="236"/>
                  <a:pt x="99" y="244"/>
                </a:cubicBezTo>
                <a:cubicBezTo>
                  <a:pt x="99" y="268"/>
                  <a:pt x="105" y="291"/>
                  <a:pt x="115" y="311"/>
                </a:cubicBezTo>
                <a:lnTo>
                  <a:pt x="108" y="315"/>
                </a:lnTo>
                <a:close/>
                <a:moveTo>
                  <a:pt x="201" y="391"/>
                </a:moveTo>
                <a:cubicBezTo>
                  <a:pt x="199" y="400"/>
                  <a:pt x="190" y="405"/>
                  <a:pt x="181" y="401"/>
                </a:cubicBez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28" y="330"/>
                  <a:pt x="128" y="330"/>
                  <a:pt x="128" y="330"/>
                </a:cubicBezTo>
                <a:cubicBezTo>
                  <a:pt x="146" y="355"/>
                  <a:pt x="172" y="374"/>
                  <a:pt x="203" y="382"/>
                </a:cubicBezTo>
                <a:lnTo>
                  <a:pt x="201" y="391"/>
                </a:lnTo>
                <a:close/>
                <a:moveTo>
                  <a:pt x="311" y="399"/>
                </a:moveTo>
                <a:cubicBezTo>
                  <a:pt x="238" y="413"/>
                  <a:pt x="238" y="413"/>
                  <a:pt x="238" y="413"/>
                </a:cubicBezTo>
                <a:cubicBezTo>
                  <a:pt x="228" y="413"/>
                  <a:pt x="221" y="405"/>
                  <a:pt x="224" y="396"/>
                </a:cubicBezTo>
                <a:cubicBezTo>
                  <a:pt x="226" y="387"/>
                  <a:pt x="226" y="387"/>
                  <a:pt x="226" y="387"/>
                </a:cubicBezTo>
                <a:cubicBezTo>
                  <a:pt x="231" y="388"/>
                  <a:pt x="237" y="388"/>
                  <a:pt x="243" y="388"/>
                </a:cubicBezTo>
                <a:cubicBezTo>
                  <a:pt x="269" y="388"/>
                  <a:pt x="293" y="382"/>
                  <a:pt x="314" y="370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6"/>
                  <a:pt x="320" y="395"/>
                  <a:pt x="311" y="399"/>
                </a:cubicBezTo>
                <a:close/>
                <a:moveTo>
                  <a:pt x="243" y="375"/>
                </a:moveTo>
                <a:cubicBezTo>
                  <a:pt x="171" y="375"/>
                  <a:pt x="112" y="316"/>
                  <a:pt x="112" y="244"/>
                </a:cubicBezTo>
                <a:cubicBezTo>
                  <a:pt x="112" y="172"/>
                  <a:pt x="171" y="113"/>
                  <a:pt x="243" y="113"/>
                </a:cubicBezTo>
                <a:cubicBezTo>
                  <a:pt x="315" y="113"/>
                  <a:pt x="374" y="172"/>
                  <a:pt x="374" y="244"/>
                </a:cubicBezTo>
                <a:cubicBezTo>
                  <a:pt x="374" y="316"/>
                  <a:pt x="315" y="375"/>
                  <a:pt x="243" y="375"/>
                </a:cubicBezTo>
                <a:close/>
                <a:moveTo>
                  <a:pt x="400" y="307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3" y="374"/>
                  <a:pt x="343" y="373"/>
                  <a:pt x="338" y="364"/>
                </a:cubicBezTo>
                <a:cubicBezTo>
                  <a:pt x="333" y="357"/>
                  <a:pt x="333" y="357"/>
                  <a:pt x="333" y="357"/>
                </a:cubicBezTo>
                <a:cubicBezTo>
                  <a:pt x="356" y="339"/>
                  <a:pt x="373" y="313"/>
                  <a:pt x="381" y="284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400" y="289"/>
                  <a:pt x="404" y="298"/>
                  <a:pt x="400" y="307"/>
                </a:cubicBezTo>
                <a:close/>
                <a:moveTo>
                  <a:pt x="395" y="264"/>
                </a:moveTo>
                <a:cubicBezTo>
                  <a:pt x="386" y="262"/>
                  <a:pt x="386" y="262"/>
                  <a:pt x="386" y="262"/>
                </a:cubicBezTo>
                <a:cubicBezTo>
                  <a:pt x="387" y="256"/>
                  <a:pt x="387" y="250"/>
                  <a:pt x="387" y="244"/>
                </a:cubicBezTo>
                <a:cubicBezTo>
                  <a:pt x="387" y="220"/>
                  <a:pt x="381" y="198"/>
                  <a:pt x="371" y="178"/>
                </a:cubicBezTo>
                <a:cubicBezTo>
                  <a:pt x="379" y="173"/>
                  <a:pt x="379" y="173"/>
                  <a:pt x="379" y="173"/>
                </a:cubicBezTo>
                <a:cubicBezTo>
                  <a:pt x="387" y="168"/>
                  <a:pt x="396" y="171"/>
                  <a:pt x="400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60"/>
                  <a:pt x="405" y="266"/>
                  <a:pt x="395" y="264"/>
                </a:cubicBezTo>
                <a:close/>
              </a:path>
            </a:pathLst>
          </a:custGeom>
          <a:solidFill>
            <a:schemeClr val="accent4"/>
          </a:solidFill>
          <a:ln w="17463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2" name="Freeform 9"/>
          <p:cNvSpPr>
            <a:spLocks noChangeAspect="1"/>
          </p:cNvSpPr>
          <p:nvPr/>
        </p:nvSpPr>
        <p:spPr bwMode="auto">
          <a:xfrm>
            <a:off x="7971251" y="10271657"/>
            <a:ext cx="952782" cy="1237522"/>
          </a:xfrm>
          <a:custGeom>
            <a:avLst/>
            <a:gdLst>
              <a:gd name="T0" fmla="*/ 0 w 84"/>
              <a:gd name="T1" fmla="*/ 110 h 110"/>
              <a:gd name="T2" fmla="*/ 7 w 84"/>
              <a:gd name="T3" fmla="*/ 110 h 110"/>
              <a:gd name="T4" fmla="*/ 7 w 84"/>
              <a:gd name="T5" fmla="*/ 50 h 110"/>
              <a:gd name="T6" fmla="*/ 36 w 84"/>
              <a:gd name="T7" fmla="*/ 51 h 110"/>
              <a:gd name="T8" fmla="*/ 70 w 84"/>
              <a:gd name="T9" fmla="*/ 66 h 110"/>
              <a:gd name="T10" fmla="*/ 76 w 84"/>
              <a:gd name="T11" fmla="*/ 71 h 110"/>
              <a:gd name="T12" fmla="*/ 73 w 84"/>
              <a:gd name="T13" fmla="*/ 33 h 110"/>
              <a:gd name="T14" fmla="*/ 49 w 84"/>
              <a:gd name="T15" fmla="*/ 19 h 110"/>
              <a:gd name="T16" fmla="*/ 35 w 84"/>
              <a:gd name="T17" fmla="*/ 2 h 110"/>
              <a:gd name="T18" fmla="*/ 8 w 84"/>
              <a:gd name="T19" fmla="*/ 2 h 110"/>
              <a:gd name="T20" fmla="*/ 0 w 84"/>
              <a:gd name="T21" fmla="*/ 1 h 110"/>
              <a:gd name="T22" fmla="*/ 0 w 84"/>
              <a:gd name="T23" fmla="*/ 11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10">
                <a:moveTo>
                  <a:pt x="0" y="110"/>
                </a:moveTo>
                <a:cubicBezTo>
                  <a:pt x="7" y="110"/>
                  <a:pt x="7" y="110"/>
                  <a:pt x="7" y="110"/>
                </a:cubicBezTo>
                <a:cubicBezTo>
                  <a:pt x="7" y="50"/>
                  <a:pt x="7" y="50"/>
                  <a:pt x="7" y="50"/>
                </a:cubicBezTo>
                <a:cubicBezTo>
                  <a:pt x="17" y="49"/>
                  <a:pt x="25" y="49"/>
                  <a:pt x="36" y="51"/>
                </a:cubicBezTo>
                <a:cubicBezTo>
                  <a:pt x="37" y="68"/>
                  <a:pt x="52" y="57"/>
                  <a:pt x="70" y="66"/>
                </a:cubicBezTo>
                <a:cubicBezTo>
                  <a:pt x="74" y="68"/>
                  <a:pt x="73" y="69"/>
                  <a:pt x="76" y="71"/>
                </a:cubicBezTo>
                <a:cubicBezTo>
                  <a:pt x="84" y="57"/>
                  <a:pt x="71" y="54"/>
                  <a:pt x="73" y="33"/>
                </a:cubicBezTo>
                <a:cubicBezTo>
                  <a:pt x="74" y="22"/>
                  <a:pt x="57" y="20"/>
                  <a:pt x="49" y="19"/>
                </a:cubicBezTo>
                <a:cubicBezTo>
                  <a:pt x="48" y="10"/>
                  <a:pt x="54" y="3"/>
                  <a:pt x="35" y="2"/>
                </a:cubicBezTo>
                <a:cubicBezTo>
                  <a:pt x="29" y="2"/>
                  <a:pt x="12" y="3"/>
                  <a:pt x="8" y="2"/>
                </a:cubicBezTo>
                <a:cubicBezTo>
                  <a:pt x="5" y="1"/>
                  <a:pt x="6" y="0"/>
                  <a:pt x="0" y="1"/>
                </a:cubicBezTo>
                <a:lnTo>
                  <a:pt x="0" y="11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" name="Freeform 5"/>
          <p:cNvSpPr>
            <a:spLocks noChangeAspect="1" noEditPoints="1"/>
          </p:cNvSpPr>
          <p:nvPr/>
        </p:nvSpPr>
        <p:spPr bwMode="auto">
          <a:xfrm>
            <a:off x="15826383" y="9417351"/>
            <a:ext cx="1150390" cy="883334"/>
          </a:xfrm>
          <a:custGeom>
            <a:avLst/>
            <a:gdLst>
              <a:gd name="T0" fmla="*/ 43 w 109"/>
              <a:gd name="T1" fmla="*/ 54 h 83"/>
              <a:gd name="T2" fmla="*/ 20 w 109"/>
              <a:gd name="T3" fmla="*/ 54 h 83"/>
              <a:gd name="T4" fmla="*/ 20 w 109"/>
              <a:gd name="T5" fmla="*/ 57 h 83"/>
              <a:gd name="T6" fmla="*/ 43 w 109"/>
              <a:gd name="T7" fmla="*/ 57 h 83"/>
              <a:gd name="T8" fmla="*/ 43 w 109"/>
              <a:gd name="T9" fmla="*/ 54 h 83"/>
              <a:gd name="T10" fmla="*/ 57 w 109"/>
              <a:gd name="T11" fmla="*/ 62 h 83"/>
              <a:gd name="T12" fmla="*/ 20 w 109"/>
              <a:gd name="T13" fmla="*/ 62 h 83"/>
              <a:gd name="T14" fmla="*/ 20 w 109"/>
              <a:gd name="T15" fmla="*/ 66 h 83"/>
              <a:gd name="T16" fmla="*/ 57 w 109"/>
              <a:gd name="T17" fmla="*/ 66 h 83"/>
              <a:gd name="T18" fmla="*/ 57 w 109"/>
              <a:gd name="T19" fmla="*/ 62 h 83"/>
              <a:gd name="T20" fmla="*/ 63 w 109"/>
              <a:gd name="T21" fmla="*/ 26 h 83"/>
              <a:gd name="T22" fmla="*/ 63 w 109"/>
              <a:gd name="T23" fmla="*/ 30 h 83"/>
              <a:gd name="T24" fmla="*/ 86 w 109"/>
              <a:gd name="T25" fmla="*/ 30 h 83"/>
              <a:gd name="T26" fmla="*/ 86 w 109"/>
              <a:gd name="T27" fmla="*/ 26 h 83"/>
              <a:gd name="T28" fmla="*/ 63 w 109"/>
              <a:gd name="T29" fmla="*/ 26 h 83"/>
              <a:gd name="T30" fmla="*/ 45 w 109"/>
              <a:gd name="T31" fmla="*/ 17 h 83"/>
              <a:gd name="T32" fmla="*/ 45 w 109"/>
              <a:gd name="T33" fmla="*/ 21 h 83"/>
              <a:gd name="T34" fmla="*/ 86 w 109"/>
              <a:gd name="T35" fmla="*/ 21 h 83"/>
              <a:gd name="T36" fmla="*/ 86 w 109"/>
              <a:gd name="T37" fmla="*/ 17 h 83"/>
              <a:gd name="T38" fmla="*/ 45 w 109"/>
              <a:gd name="T39" fmla="*/ 17 h 83"/>
              <a:gd name="T40" fmla="*/ 58 w 109"/>
              <a:gd name="T41" fmla="*/ 38 h 83"/>
              <a:gd name="T42" fmla="*/ 58 w 109"/>
              <a:gd name="T43" fmla="*/ 45 h 83"/>
              <a:gd name="T44" fmla="*/ 95 w 109"/>
              <a:gd name="T45" fmla="*/ 45 h 83"/>
              <a:gd name="T46" fmla="*/ 109 w 109"/>
              <a:gd name="T47" fmla="*/ 59 h 83"/>
              <a:gd name="T48" fmla="*/ 95 w 109"/>
              <a:gd name="T49" fmla="*/ 75 h 83"/>
              <a:gd name="T50" fmla="*/ 58 w 109"/>
              <a:gd name="T51" fmla="*/ 75 h 83"/>
              <a:gd name="T52" fmla="*/ 58 w 109"/>
              <a:gd name="T53" fmla="*/ 82 h 83"/>
              <a:gd name="T54" fmla="*/ 56 w 109"/>
              <a:gd name="T55" fmla="*/ 83 h 83"/>
              <a:gd name="T56" fmla="*/ 50 w 109"/>
              <a:gd name="T57" fmla="*/ 83 h 83"/>
              <a:gd name="T58" fmla="*/ 48 w 109"/>
              <a:gd name="T59" fmla="*/ 82 h 83"/>
              <a:gd name="T60" fmla="*/ 48 w 109"/>
              <a:gd name="T61" fmla="*/ 75 h 83"/>
              <a:gd name="T62" fmla="*/ 14 w 109"/>
              <a:gd name="T63" fmla="*/ 75 h 83"/>
              <a:gd name="T64" fmla="*/ 12 w 109"/>
              <a:gd name="T65" fmla="*/ 73 h 83"/>
              <a:gd name="T66" fmla="*/ 12 w 109"/>
              <a:gd name="T67" fmla="*/ 47 h 83"/>
              <a:gd name="T68" fmla="*/ 14 w 109"/>
              <a:gd name="T69" fmla="*/ 45 h 83"/>
              <a:gd name="T70" fmla="*/ 48 w 109"/>
              <a:gd name="T71" fmla="*/ 45 h 83"/>
              <a:gd name="T72" fmla="*/ 48 w 109"/>
              <a:gd name="T73" fmla="*/ 38 h 83"/>
              <a:gd name="T74" fmla="*/ 14 w 109"/>
              <a:gd name="T75" fmla="*/ 38 h 83"/>
              <a:gd name="T76" fmla="*/ 0 w 109"/>
              <a:gd name="T77" fmla="*/ 23 h 83"/>
              <a:gd name="T78" fmla="*/ 14 w 109"/>
              <a:gd name="T79" fmla="*/ 8 h 83"/>
              <a:gd name="T80" fmla="*/ 48 w 109"/>
              <a:gd name="T81" fmla="*/ 8 h 83"/>
              <a:gd name="T82" fmla="*/ 48 w 109"/>
              <a:gd name="T83" fmla="*/ 0 h 83"/>
              <a:gd name="T84" fmla="*/ 58 w 109"/>
              <a:gd name="T85" fmla="*/ 0 h 83"/>
              <a:gd name="T86" fmla="*/ 58 w 109"/>
              <a:gd name="T87" fmla="*/ 8 h 83"/>
              <a:gd name="T88" fmla="*/ 95 w 109"/>
              <a:gd name="T89" fmla="*/ 8 h 83"/>
              <a:gd name="T90" fmla="*/ 97 w 109"/>
              <a:gd name="T91" fmla="*/ 10 h 83"/>
              <a:gd name="T92" fmla="*/ 97 w 109"/>
              <a:gd name="T93" fmla="*/ 37 h 83"/>
              <a:gd name="T94" fmla="*/ 95 w 109"/>
              <a:gd name="T95" fmla="*/ 38 h 83"/>
              <a:gd name="T96" fmla="*/ 58 w 109"/>
              <a:gd name="T97" fmla="*/ 38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9" h="83">
                <a:moveTo>
                  <a:pt x="43" y="54"/>
                </a:moveTo>
                <a:cubicBezTo>
                  <a:pt x="20" y="54"/>
                  <a:pt x="20" y="54"/>
                  <a:pt x="20" y="54"/>
                </a:cubicBezTo>
                <a:cubicBezTo>
                  <a:pt x="20" y="57"/>
                  <a:pt x="20" y="57"/>
                  <a:pt x="20" y="57"/>
                </a:cubicBezTo>
                <a:cubicBezTo>
                  <a:pt x="43" y="57"/>
                  <a:pt x="43" y="57"/>
                  <a:pt x="43" y="57"/>
                </a:cubicBezTo>
                <a:lnTo>
                  <a:pt x="43" y="54"/>
                </a:lnTo>
                <a:close/>
                <a:moveTo>
                  <a:pt x="57" y="62"/>
                </a:moveTo>
                <a:cubicBezTo>
                  <a:pt x="20" y="62"/>
                  <a:pt x="20" y="62"/>
                  <a:pt x="20" y="62"/>
                </a:cubicBezTo>
                <a:cubicBezTo>
                  <a:pt x="20" y="66"/>
                  <a:pt x="20" y="66"/>
                  <a:pt x="20" y="66"/>
                </a:cubicBezTo>
                <a:cubicBezTo>
                  <a:pt x="57" y="66"/>
                  <a:pt x="57" y="66"/>
                  <a:pt x="57" y="66"/>
                </a:cubicBezTo>
                <a:lnTo>
                  <a:pt x="57" y="62"/>
                </a:lnTo>
                <a:close/>
                <a:moveTo>
                  <a:pt x="63" y="26"/>
                </a:moveTo>
                <a:cubicBezTo>
                  <a:pt x="63" y="30"/>
                  <a:pt x="63" y="30"/>
                  <a:pt x="63" y="30"/>
                </a:cubicBezTo>
                <a:cubicBezTo>
                  <a:pt x="86" y="30"/>
                  <a:pt x="86" y="30"/>
                  <a:pt x="86" y="30"/>
                </a:cubicBezTo>
                <a:cubicBezTo>
                  <a:pt x="86" y="26"/>
                  <a:pt x="86" y="26"/>
                  <a:pt x="86" y="26"/>
                </a:cubicBezTo>
                <a:lnTo>
                  <a:pt x="63" y="26"/>
                </a:lnTo>
                <a:close/>
                <a:moveTo>
                  <a:pt x="45" y="17"/>
                </a:moveTo>
                <a:cubicBezTo>
                  <a:pt x="45" y="21"/>
                  <a:pt x="45" y="21"/>
                  <a:pt x="45" y="21"/>
                </a:cubicBezTo>
                <a:cubicBezTo>
                  <a:pt x="86" y="21"/>
                  <a:pt x="86" y="21"/>
                  <a:pt x="86" y="21"/>
                </a:cubicBezTo>
                <a:cubicBezTo>
                  <a:pt x="86" y="17"/>
                  <a:pt x="86" y="17"/>
                  <a:pt x="86" y="17"/>
                </a:cubicBezTo>
                <a:lnTo>
                  <a:pt x="45" y="17"/>
                </a:lnTo>
                <a:close/>
                <a:moveTo>
                  <a:pt x="58" y="38"/>
                </a:moveTo>
                <a:cubicBezTo>
                  <a:pt x="58" y="45"/>
                  <a:pt x="58" y="45"/>
                  <a:pt x="58" y="45"/>
                </a:cubicBezTo>
                <a:cubicBezTo>
                  <a:pt x="95" y="45"/>
                  <a:pt x="95" y="45"/>
                  <a:pt x="95" y="45"/>
                </a:cubicBezTo>
                <a:cubicBezTo>
                  <a:pt x="109" y="59"/>
                  <a:pt x="109" y="59"/>
                  <a:pt x="109" y="59"/>
                </a:cubicBezTo>
                <a:cubicBezTo>
                  <a:pt x="95" y="75"/>
                  <a:pt x="95" y="75"/>
                  <a:pt x="95" y="75"/>
                </a:cubicBezTo>
                <a:cubicBezTo>
                  <a:pt x="58" y="75"/>
                  <a:pt x="58" y="75"/>
                  <a:pt x="58" y="75"/>
                </a:cubicBezTo>
                <a:cubicBezTo>
                  <a:pt x="58" y="82"/>
                  <a:pt x="58" y="82"/>
                  <a:pt x="58" y="82"/>
                </a:cubicBezTo>
                <a:cubicBezTo>
                  <a:pt x="58" y="83"/>
                  <a:pt x="57" y="83"/>
                  <a:pt x="56" y="83"/>
                </a:cubicBezTo>
                <a:cubicBezTo>
                  <a:pt x="50" y="83"/>
                  <a:pt x="50" y="83"/>
                  <a:pt x="50" y="83"/>
                </a:cubicBezTo>
                <a:cubicBezTo>
                  <a:pt x="49" y="83"/>
                  <a:pt x="48" y="83"/>
                  <a:pt x="48" y="82"/>
                </a:cubicBezTo>
                <a:cubicBezTo>
                  <a:pt x="48" y="75"/>
                  <a:pt x="48" y="75"/>
                  <a:pt x="48" y="75"/>
                </a:cubicBezTo>
                <a:cubicBezTo>
                  <a:pt x="14" y="75"/>
                  <a:pt x="14" y="75"/>
                  <a:pt x="14" y="75"/>
                </a:cubicBezTo>
                <a:cubicBezTo>
                  <a:pt x="13" y="75"/>
                  <a:pt x="12" y="74"/>
                  <a:pt x="12" y="73"/>
                </a:cubicBezTo>
                <a:cubicBezTo>
                  <a:pt x="12" y="47"/>
                  <a:pt x="12" y="47"/>
                  <a:pt x="12" y="47"/>
                </a:cubicBezTo>
                <a:cubicBezTo>
                  <a:pt x="12" y="46"/>
                  <a:pt x="13" y="45"/>
                  <a:pt x="14" y="45"/>
                </a:cubicBezTo>
                <a:cubicBezTo>
                  <a:pt x="48" y="45"/>
                  <a:pt x="48" y="45"/>
                  <a:pt x="48" y="45"/>
                </a:cubicBezTo>
                <a:cubicBezTo>
                  <a:pt x="48" y="38"/>
                  <a:pt x="48" y="38"/>
                  <a:pt x="48" y="38"/>
                </a:cubicBezTo>
                <a:cubicBezTo>
                  <a:pt x="14" y="38"/>
                  <a:pt x="14" y="38"/>
                  <a:pt x="14" y="38"/>
                </a:cubicBezTo>
                <a:cubicBezTo>
                  <a:pt x="0" y="23"/>
                  <a:pt x="0" y="23"/>
                  <a:pt x="0" y="23"/>
                </a:cubicBezTo>
                <a:cubicBezTo>
                  <a:pt x="14" y="8"/>
                  <a:pt x="14" y="8"/>
                  <a:pt x="14" y="8"/>
                </a:cubicBezTo>
                <a:cubicBezTo>
                  <a:pt x="48" y="8"/>
                  <a:pt x="48" y="8"/>
                  <a:pt x="48" y="8"/>
                </a:cubicBezTo>
                <a:cubicBezTo>
                  <a:pt x="48" y="0"/>
                  <a:pt x="48" y="0"/>
                  <a:pt x="48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58" y="8"/>
                  <a:pt x="58" y="8"/>
                  <a:pt x="58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6" y="8"/>
                  <a:pt x="97" y="9"/>
                  <a:pt x="97" y="10"/>
                </a:cubicBezTo>
                <a:cubicBezTo>
                  <a:pt x="97" y="37"/>
                  <a:pt x="97" y="37"/>
                  <a:pt x="97" y="37"/>
                </a:cubicBezTo>
                <a:cubicBezTo>
                  <a:pt x="97" y="37"/>
                  <a:pt x="96" y="38"/>
                  <a:pt x="95" y="38"/>
                </a:cubicBezTo>
                <a:lnTo>
                  <a:pt x="58" y="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4" name="Freeform 13"/>
          <p:cNvSpPr>
            <a:spLocks noChangeAspect="1" noEditPoints="1"/>
          </p:cNvSpPr>
          <p:nvPr/>
        </p:nvSpPr>
        <p:spPr bwMode="auto">
          <a:xfrm>
            <a:off x="8767199" y="3745169"/>
            <a:ext cx="839430" cy="1175202"/>
          </a:xfrm>
          <a:custGeom>
            <a:avLst/>
            <a:gdLst>
              <a:gd name="T0" fmla="*/ 38 w 77"/>
              <a:gd name="T1" fmla="*/ 18 h 109"/>
              <a:gd name="T2" fmla="*/ 38 w 77"/>
              <a:gd name="T3" fmla="*/ 18 h 109"/>
              <a:gd name="T4" fmla="*/ 20 w 77"/>
              <a:gd name="T5" fmla="*/ 37 h 109"/>
              <a:gd name="T6" fmla="*/ 38 w 77"/>
              <a:gd name="T7" fmla="*/ 56 h 109"/>
              <a:gd name="T8" fmla="*/ 38 w 77"/>
              <a:gd name="T9" fmla="*/ 56 h 109"/>
              <a:gd name="T10" fmla="*/ 57 w 77"/>
              <a:gd name="T11" fmla="*/ 37 h 109"/>
              <a:gd name="T12" fmla="*/ 38 w 77"/>
              <a:gd name="T13" fmla="*/ 18 h 109"/>
              <a:gd name="T14" fmla="*/ 38 w 77"/>
              <a:gd name="T15" fmla="*/ 0 h 109"/>
              <a:gd name="T16" fmla="*/ 38 w 77"/>
              <a:gd name="T17" fmla="*/ 0 h 109"/>
              <a:gd name="T18" fmla="*/ 0 w 77"/>
              <a:gd name="T19" fmla="*/ 38 h 109"/>
              <a:gd name="T20" fmla="*/ 38 w 77"/>
              <a:gd name="T21" fmla="*/ 109 h 109"/>
              <a:gd name="T22" fmla="*/ 38 w 77"/>
              <a:gd name="T23" fmla="*/ 109 h 109"/>
              <a:gd name="T24" fmla="*/ 77 w 77"/>
              <a:gd name="T25" fmla="*/ 38 h 109"/>
              <a:gd name="T26" fmla="*/ 38 w 77"/>
              <a:gd name="T27" fmla="*/ 0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" h="109">
                <a:moveTo>
                  <a:pt x="38" y="18"/>
                </a:moveTo>
                <a:cubicBezTo>
                  <a:pt x="38" y="18"/>
                  <a:pt x="38" y="18"/>
                  <a:pt x="38" y="18"/>
                </a:cubicBezTo>
                <a:cubicBezTo>
                  <a:pt x="28" y="18"/>
                  <a:pt x="20" y="26"/>
                  <a:pt x="20" y="37"/>
                </a:cubicBezTo>
                <a:cubicBezTo>
                  <a:pt x="20" y="47"/>
                  <a:pt x="2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49" y="56"/>
                  <a:pt x="57" y="47"/>
                  <a:pt x="57" y="37"/>
                </a:cubicBezTo>
                <a:cubicBezTo>
                  <a:pt x="57" y="26"/>
                  <a:pt x="49" y="18"/>
                  <a:pt x="38" y="18"/>
                </a:cubicBezTo>
                <a:close/>
                <a:moveTo>
                  <a:pt x="38" y="0"/>
                </a:moveTo>
                <a:cubicBezTo>
                  <a:pt x="38" y="0"/>
                  <a:pt x="38" y="0"/>
                  <a:pt x="38" y="0"/>
                </a:cubicBezTo>
                <a:cubicBezTo>
                  <a:pt x="17" y="0"/>
                  <a:pt x="0" y="17"/>
                  <a:pt x="0" y="38"/>
                </a:cubicBezTo>
                <a:cubicBezTo>
                  <a:pt x="0" y="59"/>
                  <a:pt x="38" y="109"/>
                  <a:pt x="38" y="109"/>
                </a:cubicBezTo>
                <a:cubicBezTo>
                  <a:pt x="38" y="109"/>
                  <a:pt x="38" y="109"/>
                  <a:pt x="38" y="109"/>
                </a:cubicBezTo>
                <a:cubicBezTo>
                  <a:pt x="40" y="107"/>
                  <a:pt x="77" y="59"/>
                  <a:pt x="77" y="38"/>
                </a:cubicBezTo>
                <a:cubicBezTo>
                  <a:pt x="77" y="17"/>
                  <a:pt x="60" y="0"/>
                  <a:pt x="3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5" name="Freeform 17"/>
          <p:cNvSpPr>
            <a:spLocks noEditPoints="1"/>
          </p:cNvSpPr>
          <p:nvPr/>
        </p:nvSpPr>
        <p:spPr bwMode="auto">
          <a:xfrm>
            <a:off x="14646587" y="3613341"/>
            <a:ext cx="1110626" cy="1210366"/>
          </a:xfrm>
          <a:custGeom>
            <a:avLst/>
            <a:gdLst/>
            <a:ahLst/>
            <a:cxnLst>
              <a:cxn ang="0">
                <a:pos x="7" y="171"/>
              </a:cxn>
              <a:cxn ang="0">
                <a:pos x="34" y="106"/>
              </a:cxn>
              <a:cxn ang="0">
                <a:pos x="79" y="54"/>
              </a:cxn>
              <a:cxn ang="0">
                <a:pos x="171" y="6"/>
              </a:cxn>
              <a:cxn ang="0">
                <a:pos x="243" y="0"/>
              </a:cxn>
              <a:cxn ang="0">
                <a:pos x="312" y="18"/>
              </a:cxn>
              <a:cxn ang="0">
                <a:pos x="378" y="59"/>
              </a:cxn>
              <a:cxn ang="0">
                <a:pos x="424" y="122"/>
              </a:cxn>
              <a:cxn ang="0">
                <a:pos x="450" y="224"/>
              </a:cxn>
              <a:cxn ang="0">
                <a:pos x="440" y="288"/>
              </a:cxn>
              <a:cxn ang="0">
                <a:pos x="415" y="346"/>
              </a:cxn>
              <a:cxn ang="0">
                <a:pos x="373" y="394"/>
              </a:cxn>
              <a:cxn ang="0">
                <a:pos x="327" y="374"/>
              </a:cxn>
              <a:cxn ang="0">
                <a:pos x="371" y="328"/>
              </a:cxn>
              <a:cxn ang="0">
                <a:pos x="403" y="246"/>
              </a:cxn>
              <a:cxn ang="0">
                <a:pos x="397" y="171"/>
              </a:cxn>
              <a:cxn ang="0">
                <a:pos x="363" y="110"/>
              </a:cxn>
              <a:cxn ang="0">
                <a:pos x="311" y="67"/>
              </a:cxn>
              <a:cxn ang="0">
                <a:pos x="242" y="45"/>
              </a:cxn>
              <a:cxn ang="0">
                <a:pos x="171" y="53"/>
              </a:cxn>
              <a:cxn ang="0">
                <a:pos x="111" y="86"/>
              </a:cxn>
              <a:cxn ang="0">
                <a:pos x="67" y="139"/>
              </a:cxn>
              <a:cxn ang="0">
                <a:pos x="45" y="206"/>
              </a:cxn>
              <a:cxn ang="0">
                <a:pos x="56" y="290"/>
              </a:cxn>
              <a:cxn ang="0">
                <a:pos x="106" y="358"/>
              </a:cxn>
              <a:cxn ang="0">
                <a:pos x="112" y="419"/>
              </a:cxn>
              <a:cxn ang="0">
                <a:pos x="53" y="371"/>
              </a:cxn>
              <a:cxn ang="0">
                <a:pos x="19" y="317"/>
              </a:cxn>
              <a:cxn ang="0">
                <a:pos x="0" y="242"/>
              </a:cxn>
              <a:cxn ang="0">
                <a:pos x="90" y="211"/>
              </a:cxn>
              <a:cxn ang="0">
                <a:pos x="112" y="150"/>
              </a:cxn>
              <a:cxn ang="0">
                <a:pos x="151" y="112"/>
              </a:cxn>
              <a:cxn ang="0">
                <a:pos x="211" y="90"/>
              </a:cxn>
              <a:cxn ang="0">
                <a:pos x="264" y="94"/>
              </a:cxn>
              <a:cxn ang="0">
                <a:pos x="320" y="130"/>
              </a:cxn>
              <a:cxn ang="0">
                <a:pos x="349" y="173"/>
              </a:cxn>
              <a:cxn ang="0">
                <a:pos x="360" y="224"/>
              </a:cxn>
              <a:cxn ang="0">
                <a:pos x="349" y="277"/>
              </a:cxn>
              <a:cxn ang="0">
                <a:pos x="320" y="320"/>
              </a:cxn>
              <a:cxn ang="0">
                <a:pos x="296" y="280"/>
              </a:cxn>
              <a:cxn ang="0">
                <a:pos x="315" y="224"/>
              </a:cxn>
              <a:cxn ang="0">
                <a:pos x="288" y="162"/>
              </a:cxn>
              <a:cxn ang="0">
                <a:pos x="224" y="134"/>
              </a:cxn>
              <a:cxn ang="0">
                <a:pos x="160" y="162"/>
              </a:cxn>
              <a:cxn ang="0">
                <a:pos x="135" y="224"/>
              </a:cxn>
              <a:cxn ang="0">
                <a:pos x="154" y="280"/>
              </a:cxn>
              <a:cxn ang="0">
                <a:pos x="130" y="320"/>
              </a:cxn>
              <a:cxn ang="0">
                <a:pos x="99" y="277"/>
              </a:cxn>
              <a:cxn ang="0">
                <a:pos x="90" y="224"/>
              </a:cxn>
              <a:cxn ang="0">
                <a:pos x="168" y="326"/>
              </a:cxn>
              <a:cxn ang="0">
                <a:pos x="200" y="296"/>
              </a:cxn>
              <a:cxn ang="0">
                <a:pos x="248" y="296"/>
              </a:cxn>
              <a:cxn ang="0">
                <a:pos x="282" y="326"/>
              </a:cxn>
              <a:cxn ang="0">
                <a:pos x="179" y="517"/>
              </a:cxn>
              <a:cxn ang="0">
                <a:pos x="183" y="242"/>
              </a:cxn>
              <a:cxn ang="0">
                <a:pos x="183" y="206"/>
              </a:cxn>
              <a:cxn ang="0">
                <a:pos x="207" y="182"/>
              </a:cxn>
              <a:cxn ang="0">
                <a:pos x="242" y="182"/>
              </a:cxn>
              <a:cxn ang="0">
                <a:pos x="266" y="206"/>
              </a:cxn>
              <a:cxn ang="0">
                <a:pos x="266" y="242"/>
              </a:cxn>
              <a:cxn ang="0">
                <a:pos x="242" y="266"/>
              </a:cxn>
              <a:cxn ang="0">
                <a:pos x="207" y="266"/>
              </a:cxn>
            </a:cxnLst>
            <a:rect l="0" t="0" r="r" b="b"/>
            <a:pathLst>
              <a:path w="450" h="517">
                <a:moveTo>
                  <a:pt x="0" y="224"/>
                </a:moveTo>
                <a:lnTo>
                  <a:pt x="0" y="224"/>
                </a:lnTo>
                <a:lnTo>
                  <a:pt x="0" y="206"/>
                </a:lnTo>
                <a:lnTo>
                  <a:pt x="2" y="189"/>
                </a:lnTo>
                <a:lnTo>
                  <a:pt x="7" y="171"/>
                </a:lnTo>
                <a:lnTo>
                  <a:pt x="11" y="154"/>
                </a:lnTo>
                <a:lnTo>
                  <a:pt x="11" y="154"/>
                </a:lnTo>
                <a:lnTo>
                  <a:pt x="18" y="138"/>
                </a:lnTo>
                <a:lnTo>
                  <a:pt x="24" y="122"/>
                </a:lnTo>
                <a:lnTo>
                  <a:pt x="34" y="106"/>
                </a:lnTo>
                <a:lnTo>
                  <a:pt x="43" y="91"/>
                </a:lnTo>
                <a:lnTo>
                  <a:pt x="43" y="91"/>
                </a:lnTo>
                <a:lnTo>
                  <a:pt x="59" y="72"/>
                </a:lnTo>
                <a:lnTo>
                  <a:pt x="79" y="54"/>
                </a:lnTo>
                <a:lnTo>
                  <a:pt x="79" y="54"/>
                </a:lnTo>
                <a:lnTo>
                  <a:pt x="99" y="38"/>
                </a:lnTo>
                <a:lnTo>
                  <a:pt x="122" y="24"/>
                </a:lnTo>
                <a:lnTo>
                  <a:pt x="122" y="24"/>
                </a:lnTo>
                <a:lnTo>
                  <a:pt x="146" y="14"/>
                </a:lnTo>
                <a:lnTo>
                  <a:pt x="171" y="6"/>
                </a:lnTo>
                <a:lnTo>
                  <a:pt x="171" y="6"/>
                </a:lnTo>
                <a:lnTo>
                  <a:pt x="197" y="2"/>
                </a:lnTo>
                <a:lnTo>
                  <a:pt x="224" y="0"/>
                </a:lnTo>
                <a:lnTo>
                  <a:pt x="224" y="0"/>
                </a:lnTo>
                <a:lnTo>
                  <a:pt x="243" y="0"/>
                </a:lnTo>
                <a:lnTo>
                  <a:pt x="261" y="3"/>
                </a:lnTo>
                <a:lnTo>
                  <a:pt x="279" y="6"/>
                </a:lnTo>
                <a:lnTo>
                  <a:pt x="296" y="11"/>
                </a:lnTo>
                <a:lnTo>
                  <a:pt x="296" y="11"/>
                </a:lnTo>
                <a:lnTo>
                  <a:pt x="312" y="18"/>
                </a:lnTo>
                <a:lnTo>
                  <a:pt x="328" y="24"/>
                </a:lnTo>
                <a:lnTo>
                  <a:pt x="343" y="34"/>
                </a:lnTo>
                <a:lnTo>
                  <a:pt x="357" y="43"/>
                </a:lnTo>
                <a:lnTo>
                  <a:pt x="357" y="43"/>
                </a:lnTo>
                <a:lnTo>
                  <a:pt x="378" y="59"/>
                </a:lnTo>
                <a:lnTo>
                  <a:pt x="395" y="78"/>
                </a:lnTo>
                <a:lnTo>
                  <a:pt x="395" y="78"/>
                </a:lnTo>
                <a:lnTo>
                  <a:pt x="411" y="99"/>
                </a:lnTo>
                <a:lnTo>
                  <a:pt x="424" y="122"/>
                </a:lnTo>
                <a:lnTo>
                  <a:pt x="424" y="122"/>
                </a:lnTo>
                <a:lnTo>
                  <a:pt x="435" y="146"/>
                </a:lnTo>
                <a:lnTo>
                  <a:pt x="443" y="171"/>
                </a:lnTo>
                <a:lnTo>
                  <a:pt x="443" y="171"/>
                </a:lnTo>
                <a:lnTo>
                  <a:pt x="448" y="197"/>
                </a:lnTo>
                <a:lnTo>
                  <a:pt x="450" y="224"/>
                </a:lnTo>
                <a:lnTo>
                  <a:pt x="450" y="224"/>
                </a:lnTo>
                <a:lnTo>
                  <a:pt x="450" y="242"/>
                </a:lnTo>
                <a:lnTo>
                  <a:pt x="447" y="258"/>
                </a:lnTo>
                <a:lnTo>
                  <a:pt x="445" y="272"/>
                </a:lnTo>
                <a:lnTo>
                  <a:pt x="440" y="288"/>
                </a:lnTo>
                <a:lnTo>
                  <a:pt x="440" y="288"/>
                </a:lnTo>
                <a:lnTo>
                  <a:pt x="435" y="302"/>
                </a:lnTo>
                <a:lnTo>
                  <a:pt x="431" y="317"/>
                </a:lnTo>
                <a:lnTo>
                  <a:pt x="423" y="331"/>
                </a:lnTo>
                <a:lnTo>
                  <a:pt x="415" y="346"/>
                </a:lnTo>
                <a:lnTo>
                  <a:pt x="415" y="346"/>
                </a:lnTo>
                <a:lnTo>
                  <a:pt x="405" y="358"/>
                </a:lnTo>
                <a:lnTo>
                  <a:pt x="395" y="371"/>
                </a:lnTo>
                <a:lnTo>
                  <a:pt x="386" y="382"/>
                </a:lnTo>
                <a:lnTo>
                  <a:pt x="373" y="394"/>
                </a:lnTo>
                <a:lnTo>
                  <a:pt x="362" y="403"/>
                </a:lnTo>
                <a:lnTo>
                  <a:pt x="349" y="411"/>
                </a:lnTo>
                <a:lnTo>
                  <a:pt x="336" y="419"/>
                </a:lnTo>
                <a:lnTo>
                  <a:pt x="322" y="427"/>
                </a:lnTo>
                <a:lnTo>
                  <a:pt x="327" y="374"/>
                </a:lnTo>
                <a:lnTo>
                  <a:pt x="327" y="373"/>
                </a:lnTo>
                <a:lnTo>
                  <a:pt x="327" y="373"/>
                </a:lnTo>
                <a:lnTo>
                  <a:pt x="344" y="358"/>
                </a:lnTo>
                <a:lnTo>
                  <a:pt x="359" y="344"/>
                </a:lnTo>
                <a:lnTo>
                  <a:pt x="371" y="328"/>
                </a:lnTo>
                <a:lnTo>
                  <a:pt x="383" y="309"/>
                </a:lnTo>
                <a:lnTo>
                  <a:pt x="383" y="309"/>
                </a:lnTo>
                <a:lnTo>
                  <a:pt x="392" y="290"/>
                </a:lnTo>
                <a:lnTo>
                  <a:pt x="399" y="269"/>
                </a:lnTo>
                <a:lnTo>
                  <a:pt x="403" y="246"/>
                </a:lnTo>
                <a:lnTo>
                  <a:pt x="405" y="224"/>
                </a:lnTo>
                <a:lnTo>
                  <a:pt x="405" y="224"/>
                </a:lnTo>
                <a:lnTo>
                  <a:pt x="403" y="206"/>
                </a:lnTo>
                <a:lnTo>
                  <a:pt x="400" y="189"/>
                </a:lnTo>
                <a:lnTo>
                  <a:pt x="397" y="171"/>
                </a:lnTo>
                <a:lnTo>
                  <a:pt x="391" y="155"/>
                </a:lnTo>
                <a:lnTo>
                  <a:pt x="391" y="155"/>
                </a:lnTo>
                <a:lnTo>
                  <a:pt x="383" y="139"/>
                </a:lnTo>
                <a:lnTo>
                  <a:pt x="373" y="123"/>
                </a:lnTo>
                <a:lnTo>
                  <a:pt x="363" y="110"/>
                </a:lnTo>
                <a:lnTo>
                  <a:pt x="352" y="98"/>
                </a:lnTo>
                <a:lnTo>
                  <a:pt x="352" y="98"/>
                </a:lnTo>
                <a:lnTo>
                  <a:pt x="339" y="86"/>
                </a:lnTo>
                <a:lnTo>
                  <a:pt x="325" y="75"/>
                </a:lnTo>
                <a:lnTo>
                  <a:pt x="311" y="67"/>
                </a:lnTo>
                <a:lnTo>
                  <a:pt x="295" y="59"/>
                </a:lnTo>
                <a:lnTo>
                  <a:pt x="295" y="59"/>
                </a:lnTo>
                <a:lnTo>
                  <a:pt x="277" y="53"/>
                </a:lnTo>
                <a:lnTo>
                  <a:pt x="259" y="48"/>
                </a:lnTo>
                <a:lnTo>
                  <a:pt x="242" y="45"/>
                </a:lnTo>
                <a:lnTo>
                  <a:pt x="224" y="45"/>
                </a:lnTo>
                <a:lnTo>
                  <a:pt x="224" y="45"/>
                </a:lnTo>
                <a:lnTo>
                  <a:pt x="207" y="45"/>
                </a:lnTo>
                <a:lnTo>
                  <a:pt x="189" y="48"/>
                </a:lnTo>
                <a:lnTo>
                  <a:pt x="171" y="53"/>
                </a:lnTo>
                <a:lnTo>
                  <a:pt x="154" y="59"/>
                </a:lnTo>
                <a:lnTo>
                  <a:pt x="154" y="59"/>
                </a:lnTo>
                <a:lnTo>
                  <a:pt x="139" y="66"/>
                </a:lnTo>
                <a:lnTo>
                  <a:pt x="123" y="75"/>
                </a:lnTo>
                <a:lnTo>
                  <a:pt x="111" y="86"/>
                </a:lnTo>
                <a:lnTo>
                  <a:pt x="98" y="98"/>
                </a:lnTo>
                <a:lnTo>
                  <a:pt x="98" y="98"/>
                </a:lnTo>
                <a:lnTo>
                  <a:pt x="87" y="110"/>
                </a:lnTo>
                <a:lnTo>
                  <a:pt x="75" y="123"/>
                </a:lnTo>
                <a:lnTo>
                  <a:pt x="67" y="139"/>
                </a:lnTo>
                <a:lnTo>
                  <a:pt x="59" y="155"/>
                </a:lnTo>
                <a:lnTo>
                  <a:pt x="59" y="155"/>
                </a:lnTo>
                <a:lnTo>
                  <a:pt x="53" y="171"/>
                </a:lnTo>
                <a:lnTo>
                  <a:pt x="48" y="189"/>
                </a:lnTo>
                <a:lnTo>
                  <a:pt x="45" y="206"/>
                </a:lnTo>
                <a:lnTo>
                  <a:pt x="45" y="224"/>
                </a:lnTo>
                <a:lnTo>
                  <a:pt x="45" y="224"/>
                </a:lnTo>
                <a:lnTo>
                  <a:pt x="47" y="246"/>
                </a:lnTo>
                <a:lnTo>
                  <a:pt x="50" y="269"/>
                </a:lnTo>
                <a:lnTo>
                  <a:pt x="56" y="290"/>
                </a:lnTo>
                <a:lnTo>
                  <a:pt x="66" y="309"/>
                </a:lnTo>
                <a:lnTo>
                  <a:pt x="66" y="309"/>
                </a:lnTo>
                <a:lnTo>
                  <a:pt x="77" y="328"/>
                </a:lnTo>
                <a:lnTo>
                  <a:pt x="90" y="344"/>
                </a:lnTo>
                <a:lnTo>
                  <a:pt x="106" y="358"/>
                </a:lnTo>
                <a:lnTo>
                  <a:pt x="122" y="373"/>
                </a:lnTo>
                <a:lnTo>
                  <a:pt x="122" y="374"/>
                </a:lnTo>
                <a:lnTo>
                  <a:pt x="127" y="427"/>
                </a:lnTo>
                <a:lnTo>
                  <a:pt x="127" y="427"/>
                </a:lnTo>
                <a:lnTo>
                  <a:pt x="112" y="419"/>
                </a:lnTo>
                <a:lnTo>
                  <a:pt x="99" y="411"/>
                </a:lnTo>
                <a:lnTo>
                  <a:pt x="87" y="403"/>
                </a:lnTo>
                <a:lnTo>
                  <a:pt x="75" y="394"/>
                </a:lnTo>
                <a:lnTo>
                  <a:pt x="64" y="382"/>
                </a:lnTo>
                <a:lnTo>
                  <a:pt x="53" y="371"/>
                </a:lnTo>
                <a:lnTo>
                  <a:pt x="43" y="358"/>
                </a:lnTo>
                <a:lnTo>
                  <a:pt x="34" y="346"/>
                </a:lnTo>
                <a:lnTo>
                  <a:pt x="34" y="346"/>
                </a:lnTo>
                <a:lnTo>
                  <a:pt x="26" y="331"/>
                </a:lnTo>
                <a:lnTo>
                  <a:pt x="19" y="317"/>
                </a:lnTo>
                <a:lnTo>
                  <a:pt x="13" y="302"/>
                </a:lnTo>
                <a:lnTo>
                  <a:pt x="8" y="288"/>
                </a:lnTo>
                <a:lnTo>
                  <a:pt x="5" y="272"/>
                </a:lnTo>
                <a:lnTo>
                  <a:pt x="2" y="258"/>
                </a:lnTo>
                <a:lnTo>
                  <a:pt x="0" y="242"/>
                </a:lnTo>
                <a:lnTo>
                  <a:pt x="0" y="224"/>
                </a:lnTo>
                <a:lnTo>
                  <a:pt x="0" y="224"/>
                </a:lnTo>
                <a:close/>
                <a:moveTo>
                  <a:pt x="90" y="224"/>
                </a:moveTo>
                <a:lnTo>
                  <a:pt x="90" y="224"/>
                </a:lnTo>
                <a:lnTo>
                  <a:pt x="90" y="211"/>
                </a:lnTo>
                <a:lnTo>
                  <a:pt x="91" y="198"/>
                </a:lnTo>
                <a:lnTo>
                  <a:pt x="95" y="186"/>
                </a:lnTo>
                <a:lnTo>
                  <a:pt x="99" y="173"/>
                </a:lnTo>
                <a:lnTo>
                  <a:pt x="106" y="162"/>
                </a:lnTo>
                <a:lnTo>
                  <a:pt x="112" y="150"/>
                </a:lnTo>
                <a:lnTo>
                  <a:pt x="120" y="139"/>
                </a:lnTo>
                <a:lnTo>
                  <a:pt x="130" y="130"/>
                </a:lnTo>
                <a:lnTo>
                  <a:pt x="130" y="130"/>
                </a:lnTo>
                <a:lnTo>
                  <a:pt x="139" y="120"/>
                </a:lnTo>
                <a:lnTo>
                  <a:pt x="151" y="112"/>
                </a:lnTo>
                <a:lnTo>
                  <a:pt x="162" y="106"/>
                </a:lnTo>
                <a:lnTo>
                  <a:pt x="173" y="99"/>
                </a:lnTo>
                <a:lnTo>
                  <a:pt x="184" y="94"/>
                </a:lnTo>
                <a:lnTo>
                  <a:pt x="197" y="93"/>
                </a:lnTo>
                <a:lnTo>
                  <a:pt x="211" y="90"/>
                </a:lnTo>
                <a:lnTo>
                  <a:pt x="224" y="90"/>
                </a:lnTo>
                <a:lnTo>
                  <a:pt x="224" y="90"/>
                </a:lnTo>
                <a:lnTo>
                  <a:pt x="239" y="90"/>
                </a:lnTo>
                <a:lnTo>
                  <a:pt x="251" y="93"/>
                </a:lnTo>
                <a:lnTo>
                  <a:pt x="264" y="94"/>
                </a:lnTo>
                <a:lnTo>
                  <a:pt x="277" y="99"/>
                </a:lnTo>
                <a:lnTo>
                  <a:pt x="288" y="106"/>
                </a:lnTo>
                <a:lnTo>
                  <a:pt x="299" y="112"/>
                </a:lnTo>
                <a:lnTo>
                  <a:pt x="311" y="120"/>
                </a:lnTo>
                <a:lnTo>
                  <a:pt x="320" y="130"/>
                </a:lnTo>
                <a:lnTo>
                  <a:pt x="320" y="130"/>
                </a:lnTo>
                <a:lnTo>
                  <a:pt x="330" y="139"/>
                </a:lnTo>
                <a:lnTo>
                  <a:pt x="338" y="150"/>
                </a:lnTo>
                <a:lnTo>
                  <a:pt x="344" y="162"/>
                </a:lnTo>
                <a:lnTo>
                  <a:pt x="349" y="173"/>
                </a:lnTo>
                <a:lnTo>
                  <a:pt x="354" y="186"/>
                </a:lnTo>
                <a:lnTo>
                  <a:pt x="357" y="198"/>
                </a:lnTo>
                <a:lnTo>
                  <a:pt x="359" y="211"/>
                </a:lnTo>
                <a:lnTo>
                  <a:pt x="360" y="224"/>
                </a:lnTo>
                <a:lnTo>
                  <a:pt x="360" y="224"/>
                </a:lnTo>
                <a:lnTo>
                  <a:pt x="359" y="238"/>
                </a:lnTo>
                <a:lnTo>
                  <a:pt x="357" y="251"/>
                </a:lnTo>
                <a:lnTo>
                  <a:pt x="354" y="264"/>
                </a:lnTo>
                <a:lnTo>
                  <a:pt x="349" y="277"/>
                </a:lnTo>
                <a:lnTo>
                  <a:pt x="349" y="277"/>
                </a:lnTo>
                <a:lnTo>
                  <a:pt x="343" y="290"/>
                </a:lnTo>
                <a:lnTo>
                  <a:pt x="336" y="301"/>
                </a:lnTo>
                <a:lnTo>
                  <a:pt x="328" y="310"/>
                </a:lnTo>
                <a:lnTo>
                  <a:pt x="320" y="320"/>
                </a:lnTo>
                <a:lnTo>
                  <a:pt x="320" y="320"/>
                </a:lnTo>
                <a:lnTo>
                  <a:pt x="315" y="309"/>
                </a:lnTo>
                <a:lnTo>
                  <a:pt x="309" y="299"/>
                </a:lnTo>
                <a:lnTo>
                  <a:pt x="303" y="290"/>
                </a:lnTo>
                <a:lnTo>
                  <a:pt x="296" y="280"/>
                </a:lnTo>
                <a:lnTo>
                  <a:pt x="296" y="280"/>
                </a:lnTo>
                <a:lnTo>
                  <a:pt x="304" y="267"/>
                </a:lnTo>
                <a:lnTo>
                  <a:pt x="311" y="253"/>
                </a:lnTo>
                <a:lnTo>
                  <a:pt x="314" y="240"/>
                </a:lnTo>
                <a:lnTo>
                  <a:pt x="315" y="224"/>
                </a:lnTo>
                <a:lnTo>
                  <a:pt x="315" y="224"/>
                </a:lnTo>
                <a:lnTo>
                  <a:pt x="314" y="206"/>
                </a:lnTo>
                <a:lnTo>
                  <a:pt x="307" y="190"/>
                </a:lnTo>
                <a:lnTo>
                  <a:pt x="299" y="174"/>
                </a:lnTo>
                <a:lnTo>
                  <a:pt x="288" y="162"/>
                </a:lnTo>
                <a:lnTo>
                  <a:pt x="288" y="162"/>
                </a:lnTo>
                <a:lnTo>
                  <a:pt x="274" y="149"/>
                </a:lnTo>
                <a:lnTo>
                  <a:pt x="259" y="141"/>
                </a:lnTo>
                <a:lnTo>
                  <a:pt x="242" y="136"/>
                </a:lnTo>
                <a:lnTo>
                  <a:pt x="224" y="134"/>
                </a:lnTo>
                <a:lnTo>
                  <a:pt x="224" y="134"/>
                </a:lnTo>
                <a:lnTo>
                  <a:pt x="207" y="136"/>
                </a:lnTo>
                <a:lnTo>
                  <a:pt x="191" y="141"/>
                </a:lnTo>
                <a:lnTo>
                  <a:pt x="175" y="149"/>
                </a:lnTo>
                <a:lnTo>
                  <a:pt x="160" y="162"/>
                </a:lnTo>
                <a:lnTo>
                  <a:pt x="160" y="162"/>
                </a:lnTo>
                <a:lnTo>
                  <a:pt x="149" y="174"/>
                </a:lnTo>
                <a:lnTo>
                  <a:pt x="141" y="190"/>
                </a:lnTo>
                <a:lnTo>
                  <a:pt x="136" y="206"/>
                </a:lnTo>
                <a:lnTo>
                  <a:pt x="135" y="224"/>
                </a:lnTo>
                <a:lnTo>
                  <a:pt x="135" y="224"/>
                </a:lnTo>
                <a:lnTo>
                  <a:pt x="136" y="240"/>
                </a:lnTo>
                <a:lnTo>
                  <a:pt x="139" y="253"/>
                </a:lnTo>
                <a:lnTo>
                  <a:pt x="146" y="267"/>
                </a:lnTo>
                <a:lnTo>
                  <a:pt x="154" y="280"/>
                </a:lnTo>
                <a:lnTo>
                  <a:pt x="154" y="280"/>
                </a:lnTo>
                <a:lnTo>
                  <a:pt x="146" y="290"/>
                </a:lnTo>
                <a:lnTo>
                  <a:pt x="139" y="299"/>
                </a:lnTo>
                <a:lnTo>
                  <a:pt x="135" y="309"/>
                </a:lnTo>
                <a:lnTo>
                  <a:pt x="130" y="320"/>
                </a:lnTo>
                <a:lnTo>
                  <a:pt x="130" y="320"/>
                </a:lnTo>
                <a:lnTo>
                  <a:pt x="120" y="310"/>
                </a:lnTo>
                <a:lnTo>
                  <a:pt x="112" y="301"/>
                </a:lnTo>
                <a:lnTo>
                  <a:pt x="106" y="290"/>
                </a:lnTo>
                <a:lnTo>
                  <a:pt x="99" y="277"/>
                </a:lnTo>
                <a:lnTo>
                  <a:pt x="99" y="277"/>
                </a:lnTo>
                <a:lnTo>
                  <a:pt x="96" y="264"/>
                </a:lnTo>
                <a:lnTo>
                  <a:pt x="93" y="251"/>
                </a:lnTo>
                <a:lnTo>
                  <a:pt x="90" y="238"/>
                </a:lnTo>
                <a:lnTo>
                  <a:pt x="90" y="224"/>
                </a:lnTo>
                <a:lnTo>
                  <a:pt x="90" y="224"/>
                </a:lnTo>
                <a:close/>
                <a:moveTo>
                  <a:pt x="163" y="354"/>
                </a:moveTo>
                <a:lnTo>
                  <a:pt x="163" y="349"/>
                </a:lnTo>
                <a:lnTo>
                  <a:pt x="163" y="349"/>
                </a:lnTo>
                <a:lnTo>
                  <a:pt x="165" y="338"/>
                </a:lnTo>
                <a:lnTo>
                  <a:pt x="168" y="326"/>
                </a:lnTo>
                <a:lnTo>
                  <a:pt x="173" y="317"/>
                </a:lnTo>
                <a:lnTo>
                  <a:pt x="181" y="309"/>
                </a:lnTo>
                <a:lnTo>
                  <a:pt x="181" y="309"/>
                </a:lnTo>
                <a:lnTo>
                  <a:pt x="191" y="301"/>
                </a:lnTo>
                <a:lnTo>
                  <a:pt x="200" y="296"/>
                </a:lnTo>
                <a:lnTo>
                  <a:pt x="211" y="293"/>
                </a:lnTo>
                <a:lnTo>
                  <a:pt x="224" y="293"/>
                </a:lnTo>
                <a:lnTo>
                  <a:pt x="224" y="293"/>
                </a:lnTo>
                <a:lnTo>
                  <a:pt x="237" y="293"/>
                </a:lnTo>
                <a:lnTo>
                  <a:pt x="248" y="296"/>
                </a:lnTo>
                <a:lnTo>
                  <a:pt x="259" y="301"/>
                </a:lnTo>
                <a:lnTo>
                  <a:pt x="269" y="309"/>
                </a:lnTo>
                <a:lnTo>
                  <a:pt x="269" y="309"/>
                </a:lnTo>
                <a:lnTo>
                  <a:pt x="275" y="317"/>
                </a:lnTo>
                <a:lnTo>
                  <a:pt x="282" y="326"/>
                </a:lnTo>
                <a:lnTo>
                  <a:pt x="285" y="338"/>
                </a:lnTo>
                <a:lnTo>
                  <a:pt x="287" y="349"/>
                </a:lnTo>
                <a:lnTo>
                  <a:pt x="287" y="354"/>
                </a:lnTo>
                <a:lnTo>
                  <a:pt x="269" y="517"/>
                </a:lnTo>
                <a:lnTo>
                  <a:pt x="179" y="517"/>
                </a:lnTo>
                <a:lnTo>
                  <a:pt x="163" y="354"/>
                </a:lnTo>
                <a:close/>
                <a:moveTo>
                  <a:pt x="192" y="256"/>
                </a:moveTo>
                <a:lnTo>
                  <a:pt x="192" y="256"/>
                </a:lnTo>
                <a:lnTo>
                  <a:pt x="187" y="250"/>
                </a:lnTo>
                <a:lnTo>
                  <a:pt x="183" y="242"/>
                </a:lnTo>
                <a:lnTo>
                  <a:pt x="181" y="234"/>
                </a:lnTo>
                <a:lnTo>
                  <a:pt x="179" y="224"/>
                </a:lnTo>
                <a:lnTo>
                  <a:pt x="179" y="224"/>
                </a:lnTo>
                <a:lnTo>
                  <a:pt x="181" y="216"/>
                </a:lnTo>
                <a:lnTo>
                  <a:pt x="183" y="206"/>
                </a:lnTo>
                <a:lnTo>
                  <a:pt x="187" y="200"/>
                </a:lnTo>
                <a:lnTo>
                  <a:pt x="192" y="192"/>
                </a:lnTo>
                <a:lnTo>
                  <a:pt x="192" y="192"/>
                </a:lnTo>
                <a:lnTo>
                  <a:pt x="200" y="187"/>
                </a:lnTo>
                <a:lnTo>
                  <a:pt x="207" y="182"/>
                </a:lnTo>
                <a:lnTo>
                  <a:pt x="216" y="181"/>
                </a:lnTo>
                <a:lnTo>
                  <a:pt x="224" y="179"/>
                </a:lnTo>
                <a:lnTo>
                  <a:pt x="224" y="179"/>
                </a:lnTo>
                <a:lnTo>
                  <a:pt x="234" y="181"/>
                </a:lnTo>
                <a:lnTo>
                  <a:pt x="242" y="182"/>
                </a:lnTo>
                <a:lnTo>
                  <a:pt x="250" y="187"/>
                </a:lnTo>
                <a:lnTo>
                  <a:pt x="256" y="192"/>
                </a:lnTo>
                <a:lnTo>
                  <a:pt x="256" y="192"/>
                </a:lnTo>
                <a:lnTo>
                  <a:pt x="263" y="200"/>
                </a:lnTo>
                <a:lnTo>
                  <a:pt x="266" y="206"/>
                </a:lnTo>
                <a:lnTo>
                  <a:pt x="269" y="216"/>
                </a:lnTo>
                <a:lnTo>
                  <a:pt x="269" y="224"/>
                </a:lnTo>
                <a:lnTo>
                  <a:pt x="269" y="224"/>
                </a:lnTo>
                <a:lnTo>
                  <a:pt x="269" y="234"/>
                </a:lnTo>
                <a:lnTo>
                  <a:pt x="266" y="242"/>
                </a:lnTo>
                <a:lnTo>
                  <a:pt x="263" y="250"/>
                </a:lnTo>
                <a:lnTo>
                  <a:pt x="256" y="256"/>
                </a:lnTo>
                <a:lnTo>
                  <a:pt x="256" y="256"/>
                </a:lnTo>
                <a:lnTo>
                  <a:pt x="250" y="262"/>
                </a:lnTo>
                <a:lnTo>
                  <a:pt x="242" y="266"/>
                </a:lnTo>
                <a:lnTo>
                  <a:pt x="234" y="269"/>
                </a:lnTo>
                <a:lnTo>
                  <a:pt x="224" y="269"/>
                </a:lnTo>
                <a:lnTo>
                  <a:pt x="224" y="269"/>
                </a:lnTo>
                <a:lnTo>
                  <a:pt x="216" y="269"/>
                </a:lnTo>
                <a:lnTo>
                  <a:pt x="207" y="266"/>
                </a:lnTo>
                <a:lnTo>
                  <a:pt x="200" y="262"/>
                </a:lnTo>
                <a:lnTo>
                  <a:pt x="192" y="256"/>
                </a:lnTo>
                <a:lnTo>
                  <a:pt x="192" y="256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ar-SA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8" name="Freeform 19"/>
          <p:cNvSpPr>
            <a:spLocks noChangeAspect="1" noEditPoints="1"/>
          </p:cNvSpPr>
          <p:nvPr/>
        </p:nvSpPr>
        <p:spPr bwMode="auto">
          <a:xfrm>
            <a:off x="11461488" y="6856486"/>
            <a:ext cx="1519080" cy="1522860"/>
          </a:xfrm>
          <a:custGeom>
            <a:avLst/>
            <a:gdLst>
              <a:gd name="T0" fmla="*/ 327 w 402"/>
              <a:gd name="T1" fmla="*/ 235 h 403"/>
              <a:gd name="T2" fmla="*/ 327 w 402"/>
              <a:gd name="T3" fmla="*/ 193 h 403"/>
              <a:gd name="T4" fmla="*/ 209 w 402"/>
              <a:gd name="T5" fmla="*/ 193 h 403"/>
              <a:gd name="T6" fmla="*/ 209 w 402"/>
              <a:gd name="T7" fmla="*/ 168 h 403"/>
              <a:gd name="T8" fmla="*/ 285 w 402"/>
              <a:gd name="T9" fmla="*/ 168 h 403"/>
              <a:gd name="T10" fmla="*/ 285 w 402"/>
              <a:gd name="T11" fmla="*/ 0 h 403"/>
              <a:gd name="T12" fmla="*/ 117 w 402"/>
              <a:gd name="T13" fmla="*/ 0 h 403"/>
              <a:gd name="T14" fmla="*/ 117 w 402"/>
              <a:gd name="T15" fmla="*/ 168 h 403"/>
              <a:gd name="T16" fmla="*/ 193 w 402"/>
              <a:gd name="T17" fmla="*/ 168 h 403"/>
              <a:gd name="T18" fmla="*/ 193 w 402"/>
              <a:gd name="T19" fmla="*/ 193 h 403"/>
              <a:gd name="T20" fmla="*/ 75 w 402"/>
              <a:gd name="T21" fmla="*/ 193 h 403"/>
              <a:gd name="T22" fmla="*/ 75 w 402"/>
              <a:gd name="T23" fmla="*/ 235 h 403"/>
              <a:gd name="T24" fmla="*/ 0 w 402"/>
              <a:gd name="T25" fmla="*/ 235 h 403"/>
              <a:gd name="T26" fmla="*/ 0 w 402"/>
              <a:gd name="T27" fmla="*/ 403 h 403"/>
              <a:gd name="T28" fmla="*/ 168 w 402"/>
              <a:gd name="T29" fmla="*/ 403 h 403"/>
              <a:gd name="T30" fmla="*/ 168 w 402"/>
              <a:gd name="T31" fmla="*/ 235 h 403"/>
              <a:gd name="T32" fmla="*/ 92 w 402"/>
              <a:gd name="T33" fmla="*/ 235 h 403"/>
              <a:gd name="T34" fmla="*/ 92 w 402"/>
              <a:gd name="T35" fmla="*/ 210 h 403"/>
              <a:gd name="T36" fmla="*/ 310 w 402"/>
              <a:gd name="T37" fmla="*/ 210 h 403"/>
              <a:gd name="T38" fmla="*/ 310 w 402"/>
              <a:gd name="T39" fmla="*/ 235 h 403"/>
              <a:gd name="T40" fmla="*/ 235 w 402"/>
              <a:gd name="T41" fmla="*/ 235 h 403"/>
              <a:gd name="T42" fmla="*/ 235 w 402"/>
              <a:gd name="T43" fmla="*/ 403 h 403"/>
              <a:gd name="T44" fmla="*/ 402 w 402"/>
              <a:gd name="T45" fmla="*/ 403 h 403"/>
              <a:gd name="T46" fmla="*/ 402 w 402"/>
              <a:gd name="T47" fmla="*/ 235 h 403"/>
              <a:gd name="T48" fmla="*/ 327 w 402"/>
              <a:gd name="T49" fmla="*/ 235 h 403"/>
              <a:gd name="T50" fmla="*/ 134 w 402"/>
              <a:gd name="T51" fmla="*/ 16 h 403"/>
              <a:gd name="T52" fmla="*/ 268 w 402"/>
              <a:gd name="T53" fmla="*/ 16 h 403"/>
              <a:gd name="T54" fmla="*/ 268 w 402"/>
              <a:gd name="T55" fmla="*/ 151 h 403"/>
              <a:gd name="T56" fmla="*/ 134 w 402"/>
              <a:gd name="T57" fmla="*/ 151 h 403"/>
              <a:gd name="T58" fmla="*/ 134 w 402"/>
              <a:gd name="T59" fmla="*/ 16 h 403"/>
              <a:gd name="T60" fmla="*/ 151 w 402"/>
              <a:gd name="T61" fmla="*/ 386 h 403"/>
              <a:gd name="T62" fmla="*/ 17 w 402"/>
              <a:gd name="T63" fmla="*/ 386 h 403"/>
              <a:gd name="T64" fmla="*/ 17 w 402"/>
              <a:gd name="T65" fmla="*/ 252 h 403"/>
              <a:gd name="T66" fmla="*/ 151 w 402"/>
              <a:gd name="T67" fmla="*/ 252 h 403"/>
              <a:gd name="T68" fmla="*/ 151 w 402"/>
              <a:gd name="T69" fmla="*/ 386 h 403"/>
              <a:gd name="T70" fmla="*/ 386 w 402"/>
              <a:gd name="T71" fmla="*/ 386 h 403"/>
              <a:gd name="T72" fmla="*/ 251 w 402"/>
              <a:gd name="T73" fmla="*/ 386 h 403"/>
              <a:gd name="T74" fmla="*/ 251 w 402"/>
              <a:gd name="T75" fmla="*/ 252 h 403"/>
              <a:gd name="T76" fmla="*/ 386 w 402"/>
              <a:gd name="T77" fmla="*/ 252 h 403"/>
              <a:gd name="T78" fmla="*/ 386 w 402"/>
              <a:gd name="T79" fmla="*/ 386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02" h="403">
                <a:moveTo>
                  <a:pt x="327" y="235"/>
                </a:moveTo>
                <a:lnTo>
                  <a:pt x="327" y="193"/>
                </a:lnTo>
                <a:lnTo>
                  <a:pt x="209" y="193"/>
                </a:lnTo>
                <a:lnTo>
                  <a:pt x="209" y="168"/>
                </a:lnTo>
                <a:lnTo>
                  <a:pt x="285" y="168"/>
                </a:lnTo>
                <a:lnTo>
                  <a:pt x="285" y="0"/>
                </a:lnTo>
                <a:lnTo>
                  <a:pt x="117" y="0"/>
                </a:lnTo>
                <a:lnTo>
                  <a:pt x="117" y="168"/>
                </a:lnTo>
                <a:lnTo>
                  <a:pt x="193" y="168"/>
                </a:lnTo>
                <a:lnTo>
                  <a:pt x="193" y="193"/>
                </a:lnTo>
                <a:lnTo>
                  <a:pt x="75" y="193"/>
                </a:lnTo>
                <a:lnTo>
                  <a:pt x="75" y="235"/>
                </a:lnTo>
                <a:lnTo>
                  <a:pt x="0" y="235"/>
                </a:lnTo>
                <a:lnTo>
                  <a:pt x="0" y="403"/>
                </a:lnTo>
                <a:lnTo>
                  <a:pt x="168" y="403"/>
                </a:lnTo>
                <a:lnTo>
                  <a:pt x="168" y="235"/>
                </a:lnTo>
                <a:lnTo>
                  <a:pt x="92" y="235"/>
                </a:lnTo>
                <a:lnTo>
                  <a:pt x="92" y="210"/>
                </a:lnTo>
                <a:lnTo>
                  <a:pt x="310" y="210"/>
                </a:lnTo>
                <a:lnTo>
                  <a:pt x="310" y="235"/>
                </a:lnTo>
                <a:lnTo>
                  <a:pt x="235" y="235"/>
                </a:lnTo>
                <a:lnTo>
                  <a:pt x="235" y="403"/>
                </a:lnTo>
                <a:lnTo>
                  <a:pt x="402" y="403"/>
                </a:lnTo>
                <a:lnTo>
                  <a:pt x="402" y="235"/>
                </a:lnTo>
                <a:lnTo>
                  <a:pt x="327" y="235"/>
                </a:lnTo>
                <a:close/>
                <a:moveTo>
                  <a:pt x="134" y="16"/>
                </a:moveTo>
                <a:lnTo>
                  <a:pt x="268" y="16"/>
                </a:lnTo>
                <a:lnTo>
                  <a:pt x="268" y="151"/>
                </a:lnTo>
                <a:lnTo>
                  <a:pt x="134" y="151"/>
                </a:lnTo>
                <a:lnTo>
                  <a:pt x="134" y="16"/>
                </a:lnTo>
                <a:close/>
                <a:moveTo>
                  <a:pt x="151" y="386"/>
                </a:moveTo>
                <a:lnTo>
                  <a:pt x="17" y="386"/>
                </a:lnTo>
                <a:lnTo>
                  <a:pt x="17" y="252"/>
                </a:lnTo>
                <a:lnTo>
                  <a:pt x="151" y="252"/>
                </a:lnTo>
                <a:lnTo>
                  <a:pt x="151" y="386"/>
                </a:lnTo>
                <a:close/>
                <a:moveTo>
                  <a:pt x="386" y="386"/>
                </a:moveTo>
                <a:lnTo>
                  <a:pt x="251" y="386"/>
                </a:lnTo>
                <a:lnTo>
                  <a:pt x="251" y="252"/>
                </a:lnTo>
                <a:lnTo>
                  <a:pt x="386" y="252"/>
                </a:lnTo>
                <a:lnTo>
                  <a:pt x="386" y="38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>
              <a:defRPr/>
            </a:pPr>
            <a:endParaRPr lang="en-US" sz="108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320532" y="3499146"/>
            <a:ext cx="52636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319011" y="290374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2980B9"/>
                </a:solidFill>
                <a:latin typeface="Poppins"/>
              </a:rPr>
              <a:t>DATA TAMPL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7484703" y="3252726"/>
            <a:ext cx="522289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483181" y="265732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9BBB59"/>
                </a:solidFill>
                <a:latin typeface="Poppins"/>
              </a:rPr>
              <a:t>DATA TAMPL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275413" y="9821650"/>
            <a:ext cx="447333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273891" y="922625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8664173" y="8869646"/>
            <a:ext cx="426372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8662651" y="827424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</p:spTree>
    <p:extLst>
      <p:ext uri="{BB962C8B-B14F-4D97-AF65-F5344CB8AC3E}">
        <p14:creationId xmlns:p14="http://schemas.microsoft.com/office/powerpoint/2010/main" val="226158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/>
          <p:cNvSpPr/>
          <p:nvPr/>
        </p:nvSpPr>
        <p:spPr>
          <a:xfrm>
            <a:off x="5783742" y="5508329"/>
            <a:ext cx="3923616" cy="6993462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0390222" y="5508329"/>
            <a:ext cx="3923616" cy="6993462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15100398" y="5508329"/>
            <a:ext cx="3923616" cy="6993462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9677098" y="5508329"/>
            <a:ext cx="3923616" cy="6993462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39848" y="5508329"/>
            <a:ext cx="3923616" cy="6993462"/>
          </a:xfrm>
          <a:prstGeom prst="rect">
            <a:avLst/>
          </a:prstGeom>
          <a:solidFill>
            <a:schemeClr val="tx1">
              <a:lumMod val="20000"/>
              <a:lumOff val="80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23" name="Freeform 17"/>
          <p:cNvSpPr>
            <a:spLocks noEditPoints="1"/>
          </p:cNvSpPr>
          <p:nvPr/>
        </p:nvSpPr>
        <p:spPr bwMode="auto">
          <a:xfrm>
            <a:off x="18724346" y="6750421"/>
            <a:ext cx="1215368" cy="1215370"/>
          </a:xfrm>
          <a:custGeom>
            <a:avLst/>
            <a:gdLst>
              <a:gd name="T0" fmla="*/ 58 w 390"/>
              <a:gd name="T1" fmla="*/ 56 h 391"/>
              <a:gd name="T2" fmla="*/ 58 w 390"/>
              <a:gd name="T3" fmla="*/ 84 h 391"/>
              <a:gd name="T4" fmla="*/ 20 w 390"/>
              <a:gd name="T5" fmla="*/ 110 h 391"/>
              <a:gd name="T6" fmla="*/ 23 w 390"/>
              <a:gd name="T7" fmla="*/ 155 h 391"/>
              <a:gd name="T8" fmla="*/ 1 w 390"/>
              <a:gd name="T9" fmla="*/ 173 h 391"/>
              <a:gd name="T10" fmla="*/ 18 w 390"/>
              <a:gd name="T11" fmla="*/ 202 h 391"/>
              <a:gd name="T12" fmla="*/ 0 w 390"/>
              <a:gd name="T13" fmla="*/ 215 h 391"/>
              <a:gd name="T14" fmla="*/ 22 w 390"/>
              <a:gd name="T15" fmla="*/ 233 h 391"/>
              <a:gd name="T16" fmla="*/ 18 w 390"/>
              <a:gd name="T17" fmla="*/ 279 h 391"/>
              <a:gd name="T18" fmla="*/ 56 w 390"/>
              <a:gd name="T19" fmla="*/ 305 h 391"/>
              <a:gd name="T20" fmla="*/ 56 w 390"/>
              <a:gd name="T21" fmla="*/ 333 h 391"/>
              <a:gd name="T22" fmla="*/ 89 w 390"/>
              <a:gd name="T23" fmla="*/ 360 h 391"/>
              <a:gd name="T24" fmla="*/ 116 w 390"/>
              <a:gd name="T25" fmla="*/ 354 h 391"/>
              <a:gd name="T26" fmla="*/ 150 w 390"/>
              <a:gd name="T27" fmla="*/ 386 h 391"/>
              <a:gd name="T28" fmla="*/ 172 w 390"/>
              <a:gd name="T29" fmla="*/ 371 h 391"/>
              <a:gd name="T30" fmla="*/ 194 w 390"/>
              <a:gd name="T31" fmla="*/ 372 h 391"/>
              <a:gd name="T32" fmla="*/ 216 w 390"/>
              <a:gd name="T33" fmla="*/ 390 h 391"/>
              <a:gd name="T34" fmla="*/ 257 w 390"/>
              <a:gd name="T35" fmla="*/ 381 h 391"/>
              <a:gd name="T36" fmla="*/ 270 w 390"/>
              <a:gd name="T37" fmla="*/ 356 h 391"/>
              <a:gd name="T38" fmla="*/ 315 w 390"/>
              <a:gd name="T39" fmla="*/ 349 h 391"/>
              <a:gd name="T40" fmla="*/ 314 w 390"/>
              <a:gd name="T41" fmla="*/ 326 h 391"/>
              <a:gd name="T42" fmla="*/ 355 w 390"/>
              <a:gd name="T43" fmla="*/ 307 h 391"/>
              <a:gd name="T44" fmla="*/ 359 w 390"/>
              <a:gd name="T45" fmla="*/ 261 h 391"/>
              <a:gd name="T46" fmla="*/ 383 w 390"/>
              <a:gd name="T47" fmla="*/ 247 h 391"/>
              <a:gd name="T48" fmla="*/ 390 w 390"/>
              <a:gd name="T49" fmla="*/ 205 h 391"/>
              <a:gd name="T50" fmla="*/ 371 w 390"/>
              <a:gd name="T51" fmla="*/ 184 h 391"/>
              <a:gd name="T52" fmla="*/ 382 w 390"/>
              <a:gd name="T53" fmla="*/ 140 h 391"/>
              <a:gd name="T54" fmla="*/ 348 w 390"/>
              <a:gd name="T55" fmla="*/ 108 h 391"/>
              <a:gd name="T56" fmla="*/ 352 w 390"/>
              <a:gd name="T57" fmla="*/ 80 h 391"/>
              <a:gd name="T58" fmla="*/ 316 w 390"/>
              <a:gd name="T59" fmla="*/ 67 h 391"/>
              <a:gd name="T60" fmla="*/ 311 w 390"/>
              <a:gd name="T61" fmla="*/ 39 h 391"/>
              <a:gd name="T62" fmla="*/ 275 w 390"/>
              <a:gd name="T63" fmla="*/ 18 h 391"/>
              <a:gd name="T64" fmla="*/ 248 w 390"/>
              <a:gd name="T65" fmla="*/ 28 h 391"/>
              <a:gd name="T66" fmla="*/ 211 w 390"/>
              <a:gd name="T67" fmla="*/ 1 h 391"/>
              <a:gd name="T68" fmla="*/ 169 w 390"/>
              <a:gd name="T69" fmla="*/ 21 h 391"/>
              <a:gd name="T70" fmla="*/ 145 w 390"/>
              <a:gd name="T71" fmla="*/ 7 h 391"/>
              <a:gd name="T72" fmla="*/ 106 w 390"/>
              <a:gd name="T73" fmla="*/ 22 h 391"/>
              <a:gd name="T74" fmla="*/ 97 w 390"/>
              <a:gd name="T75" fmla="*/ 49 h 391"/>
              <a:gd name="T76" fmla="*/ 41 w 390"/>
              <a:gd name="T77" fmla="*/ 203 h 391"/>
              <a:gd name="T78" fmla="*/ 173 w 390"/>
              <a:gd name="T79" fmla="*/ 348 h 391"/>
              <a:gd name="T80" fmla="*/ 213 w 390"/>
              <a:gd name="T81" fmla="*/ 179 h 391"/>
              <a:gd name="T82" fmla="*/ 178 w 390"/>
              <a:gd name="T83" fmla="*/ 178 h 391"/>
              <a:gd name="T84" fmla="*/ 202 w 390"/>
              <a:gd name="T85" fmla="*/ 349 h 391"/>
              <a:gd name="T86" fmla="*/ 346 w 390"/>
              <a:gd name="T87" fmla="*/ 217 h 391"/>
              <a:gd name="T88" fmla="*/ 296 w 390"/>
              <a:gd name="T89" fmla="*/ 186 h 391"/>
              <a:gd name="T90" fmla="*/ 307 w 390"/>
              <a:gd name="T91" fmla="*/ 93 h 391"/>
              <a:gd name="T92" fmla="*/ 94 w 390"/>
              <a:gd name="T93" fmla="*/ 177 h 391"/>
              <a:gd name="T94" fmla="*/ 187 w 390"/>
              <a:gd name="T95" fmla="*/ 4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90" h="391">
                <a:moveTo>
                  <a:pt x="76" y="65"/>
                </a:moveTo>
                <a:cubicBezTo>
                  <a:pt x="76" y="65"/>
                  <a:pt x="75" y="65"/>
                  <a:pt x="75" y="66"/>
                </a:cubicBezTo>
                <a:cubicBezTo>
                  <a:pt x="58" y="56"/>
                  <a:pt x="58" y="56"/>
                  <a:pt x="58" y="56"/>
                </a:cubicBezTo>
                <a:cubicBezTo>
                  <a:pt x="53" y="62"/>
                  <a:pt x="53" y="62"/>
                  <a:pt x="53" y="62"/>
                </a:cubicBezTo>
                <a:cubicBezTo>
                  <a:pt x="47" y="68"/>
                  <a:pt x="47" y="68"/>
                  <a:pt x="47" y="68"/>
                </a:cubicBezTo>
                <a:cubicBezTo>
                  <a:pt x="58" y="84"/>
                  <a:pt x="58" y="84"/>
                  <a:pt x="58" y="84"/>
                </a:cubicBezTo>
                <a:cubicBezTo>
                  <a:pt x="52" y="91"/>
                  <a:pt x="47" y="99"/>
                  <a:pt x="42" y="10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0" y="110"/>
                  <a:pt x="20" y="110"/>
                  <a:pt x="20" y="110"/>
                </a:cubicBezTo>
                <a:cubicBezTo>
                  <a:pt x="16" y="117"/>
                  <a:pt x="16" y="117"/>
                  <a:pt x="16" y="117"/>
                </a:cubicBezTo>
                <a:cubicBezTo>
                  <a:pt x="31" y="130"/>
                  <a:pt x="31" y="130"/>
                  <a:pt x="31" y="130"/>
                </a:cubicBezTo>
                <a:cubicBezTo>
                  <a:pt x="28" y="138"/>
                  <a:pt x="25" y="147"/>
                  <a:pt x="23" y="155"/>
                </a:cubicBezTo>
                <a:cubicBezTo>
                  <a:pt x="3" y="157"/>
                  <a:pt x="3" y="157"/>
                  <a:pt x="3" y="157"/>
                </a:cubicBezTo>
                <a:cubicBezTo>
                  <a:pt x="2" y="165"/>
                  <a:pt x="2" y="165"/>
                  <a:pt x="2" y="165"/>
                </a:cubicBezTo>
                <a:cubicBezTo>
                  <a:pt x="1" y="173"/>
                  <a:pt x="1" y="173"/>
                  <a:pt x="1" y="173"/>
                </a:cubicBezTo>
                <a:cubicBezTo>
                  <a:pt x="19" y="181"/>
                  <a:pt x="19" y="181"/>
                  <a:pt x="19" y="181"/>
                </a:cubicBezTo>
                <a:cubicBezTo>
                  <a:pt x="18" y="186"/>
                  <a:pt x="18" y="191"/>
                  <a:pt x="18" y="197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4"/>
                  <a:pt x="18" y="206"/>
                  <a:pt x="19" y="208"/>
                </a:cubicBezTo>
                <a:cubicBezTo>
                  <a:pt x="0" y="215"/>
                  <a:pt x="0" y="215"/>
                  <a:pt x="0" y="215"/>
                </a:cubicBezTo>
                <a:cubicBezTo>
                  <a:pt x="1" y="223"/>
                  <a:pt x="1" y="223"/>
                  <a:pt x="1" y="223"/>
                </a:cubicBezTo>
                <a:cubicBezTo>
                  <a:pt x="3" y="231"/>
                  <a:pt x="3" y="231"/>
                  <a:pt x="3" y="231"/>
                </a:cubicBezTo>
                <a:cubicBezTo>
                  <a:pt x="22" y="233"/>
                  <a:pt x="22" y="233"/>
                  <a:pt x="22" y="233"/>
                </a:cubicBezTo>
                <a:cubicBezTo>
                  <a:pt x="24" y="242"/>
                  <a:pt x="27" y="251"/>
                  <a:pt x="30" y="259"/>
                </a:cubicBezTo>
                <a:cubicBezTo>
                  <a:pt x="15" y="271"/>
                  <a:pt x="15" y="271"/>
                  <a:pt x="15" y="271"/>
                </a:cubicBezTo>
                <a:cubicBezTo>
                  <a:pt x="18" y="279"/>
                  <a:pt x="18" y="279"/>
                  <a:pt x="18" y="279"/>
                </a:cubicBezTo>
                <a:cubicBezTo>
                  <a:pt x="22" y="286"/>
                  <a:pt x="22" y="286"/>
                  <a:pt x="22" y="286"/>
                </a:cubicBezTo>
                <a:cubicBezTo>
                  <a:pt x="41" y="282"/>
                  <a:pt x="41" y="282"/>
                  <a:pt x="41" y="282"/>
                </a:cubicBezTo>
                <a:cubicBezTo>
                  <a:pt x="45" y="290"/>
                  <a:pt x="50" y="298"/>
                  <a:pt x="56" y="305"/>
                </a:cubicBezTo>
                <a:cubicBezTo>
                  <a:pt x="45" y="321"/>
                  <a:pt x="45" y="321"/>
                  <a:pt x="45" y="321"/>
                </a:cubicBezTo>
                <a:cubicBezTo>
                  <a:pt x="51" y="327"/>
                  <a:pt x="51" y="327"/>
                  <a:pt x="51" y="327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73" y="324"/>
                  <a:pt x="73" y="324"/>
                  <a:pt x="73" y="324"/>
                </a:cubicBezTo>
                <a:cubicBezTo>
                  <a:pt x="80" y="330"/>
                  <a:pt x="87" y="336"/>
                  <a:pt x="94" y="341"/>
                </a:cubicBezTo>
                <a:cubicBezTo>
                  <a:pt x="89" y="360"/>
                  <a:pt x="89" y="360"/>
                  <a:pt x="89" y="360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103" y="368"/>
                  <a:pt x="103" y="368"/>
                  <a:pt x="103" y="368"/>
                </a:cubicBezTo>
                <a:cubicBezTo>
                  <a:pt x="116" y="354"/>
                  <a:pt x="116" y="354"/>
                  <a:pt x="116" y="354"/>
                </a:cubicBezTo>
                <a:cubicBezTo>
                  <a:pt x="125" y="358"/>
                  <a:pt x="133" y="361"/>
                  <a:pt x="142" y="364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50" y="386"/>
                  <a:pt x="150" y="386"/>
                  <a:pt x="150" y="386"/>
                </a:cubicBezTo>
                <a:cubicBezTo>
                  <a:pt x="158" y="387"/>
                  <a:pt x="158" y="387"/>
                  <a:pt x="158" y="387"/>
                </a:cubicBezTo>
                <a:cubicBezTo>
                  <a:pt x="167" y="370"/>
                  <a:pt x="167" y="370"/>
                  <a:pt x="167" y="370"/>
                </a:cubicBezTo>
                <a:cubicBezTo>
                  <a:pt x="168" y="370"/>
                  <a:pt x="170" y="370"/>
                  <a:pt x="172" y="371"/>
                </a:cubicBezTo>
                <a:cubicBezTo>
                  <a:pt x="172" y="371"/>
                  <a:pt x="172" y="371"/>
                  <a:pt x="172" y="371"/>
                </a:cubicBezTo>
                <a:cubicBezTo>
                  <a:pt x="178" y="371"/>
                  <a:pt x="178" y="371"/>
                  <a:pt x="178" y="371"/>
                </a:cubicBezTo>
                <a:cubicBezTo>
                  <a:pt x="183" y="372"/>
                  <a:pt x="188" y="372"/>
                  <a:pt x="194" y="372"/>
                </a:cubicBezTo>
                <a:cubicBezTo>
                  <a:pt x="199" y="391"/>
                  <a:pt x="199" y="391"/>
                  <a:pt x="199" y="391"/>
                </a:cubicBezTo>
                <a:cubicBezTo>
                  <a:pt x="208" y="390"/>
                  <a:pt x="208" y="390"/>
                  <a:pt x="208" y="390"/>
                </a:cubicBezTo>
                <a:cubicBezTo>
                  <a:pt x="216" y="390"/>
                  <a:pt x="216" y="390"/>
                  <a:pt x="216" y="390"/>
                </a:cubicBezTo>
                <a:cubicBezTo>
                  <a:pt x="219" y="370"/>
                  <a:pt x="219" y="370"/>
                  <a:pt x="219" y="370"/>
                </a:cubicBezTo>
                <a:cubicBezTo>
                  <a:pt x="228" y="369"/>
                  <a:pt x="237" y="367"/>
                  <a:pt x="246" y="365"/>
                </a:cubicBezTo>
                <a:cubicBezTo>
                  <a:pt x="257" y="381"/>
                  <a:pt x="257" y="381"/>
                  <a:pt x="257" y="381"/>
                </a:cubicBezTo>
                <a:cubicBezTo>
                  <a:pt x="265" y="378"/>
                  <a:pt x="265" y="378"/>
                  <a:pt x="265" y="378"/>
                </a:cubicBezTo>
                <a:cubicBezTo>
                  <a:pt x="272" y="375"/>
                  <a:pt x="272" y="375"/>
                  <a:pt x="272" y="375"/>
                </a:cubicBezTo>
                <a:cubicBezTo>
                  <a:pt x="270" y="356"/>
                  <a:pt x="270" y="356"/>
                  <a:pt x="270" y="356"/>
                </a:cubicBezTo>
                <a:cubicBezTo>
                  <a:pt x="278" y="352"/>
                  <a:pt x="286" y="347"/>
                  <a:pt x="293" y="342"/>
                </a:cubicBezTo>
                <a:cubicBezTo>
                  <a:pt x="309" y="354"/>
                  <a:pt x="309" y="354"/>
                  <a:pt x="309" y="354"/>
                </a:cubicBezTo>
                <a:cubicBezTo>
                  <a:pt x="315" y="349"/>
                  <a:pt x="315" y="349"/>
                  <a:pt x="315" y="349"/>
                </a:cubicBezTo>
                <a:cubicBezTo>
                  <a:pt x="322" y="344"/>
                  <a:pt x="322" y="344"/>
                  <a:pt x="322" y="344"/>
                </a:cubicBezTo>
                <a:cubicBezTo>
                  <a:pt x="313" y="326"/>
                  <a:pt x="313" y="326"/>
                  <a:pt x="313" y="326"/>
                </a:cubicBezTo>
                <a:cubicBezTo>
                  <a:pt x="314" y="326"/>
                  <a:pt x="314" y="326"/>
                  <a:pt x="314" y="326"/>
                </a:cubicBezTo>
                <a:cubicBezTo>
                  <a:pt x="320" y="320"/>
                  <a:pt x="327" y="313"/>
                  <a:pt x="332" y="307"/>
                </a:cubicBezTo>
                <a:cubicBezTo>
                  <a:pt x="350" y="314"/>
                  <a:pt x="350" y="314"/>
                  <a:pt x="350" y="314"/>
                </a:cubicBezTo>
                <a:cubicBezTo>
                  <a:pt x="355" y="307"/>
                  <a:pt x="355" y="307"/>
                  <a:pt x="355" y="307"/>
                </a:cubicBezTo>
                <a:cubicBezTo>
                  <a:pt x="360" y="300"/>
                  <a:pt x="360" y="300"/>
                  <a:pt x="360" y="300"/>
                </a:cubicBezTo>
                <a:cubicBezTo>
                  <a:pt x="347" y="285"/>
                  <a:pt x="347" y="285"/>
                  <a:pt x="347" y="285"/>
                </a:cubicBezTo>
                <a:cubicBezTo>
                  <a:pt x="351" y="278"/>
                  <a:pt x="355" y="269"/>
                  <a:pt x="359" y="261"/>
                </a:cubicBezTo>
                <a:cubicBezTo>
                  <a:pt x="378" y="263"/>
                  <a:pt x="378" y="263"/>
                  <a:pt x="378" y="263"/>
                </a:cubicBezTo>
                <a:cubicBezTo>
                  <a:pt x="381" y="255"/>
                  <a:pt x="381" y="255"/>
                  <a:pt x="381" y="255"/>
                </a:cubicBezTo>
                <a:cubicBezTo>
                  <a:pt x="383" y="247"/>
                  <a:pt x="383" y="247"/>
                  <a:pt x="383" y="24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68" y="228"/>
                  <a:pt x="370" y="219"/>
                  <a:pt x="371" y="210"/>
                </a:cubicBezTo>
                <a:cubicBezTo>
                  <a:pt x="390" y="205"/>
                  <a:pt x="390" y="205"/>
                  <a:pt x="390" y="205"/>
                </a:cubicBezTo>
                <a:cubicBezTo>
                  <a:pt x="390" y="197"/>
                  <a:pt x="390" y="197"/>
                  <a:pt x="390" y="197"/>
                </a:cubicBezTo>
                <a:cubicBezTo>
                  <a:pt x="390" y="189"/>
                  <a:pt x="390" y="189"/>
                  <a:pt x="390" y="189"/>
                </a:cubicBezTo>
                <a:cubicBezTo>
                  <a:pt x="371" y="184"/>
                  <a:pt x="371" y="184"/>
                  <a:pt x="371" y="184"/>
                </a:cubicBezTo>
                <a:cubicBezTo>
                  <a:pt x="370" y="175"/>
                  <a:pt x="369" y="166"/>
                  <a:pt x="367" y="157"/>
                </a:cubicBezTo>
                <a:cubicBezTo>
                  <a:pt x="384" y="148"/>
                  <a:pt x="384" y="148"/>
                  <a:pt x="384" y="148"/>
                </a:cubicBezTo>
                <a:cubicBezTo>
                  <a:pt x="382" y="140"/>
                  <a:pt x="382" y="140"/>
                  <a:pt x="382" y="140"/>
                </a:cubicBezTo>
                <a:cubicBezTo>
                  <a:pt x="379" y="132"/>
                  <a:pt x="379" y="132"/>
                  <a:pt x="379" y="132"/>
                </a:cubicBezTo>
                <a:cubicBezTo>
                  <a:pt x="360" y="133"/>
                  <a:pt x="360" y="133"/>
                  <a:pt x="360" y="133"/>
                </a:cubicBezTo>
                <a:cubicBezTo>
                  <a:pt x="356" y="124"/>
                  <a:pt x="353" y="116"/>
                  <a:pt x="348" y="108"/>
                </a:cubicBezTo>
                <a:cubicBezTo>
                  <a:pt x="361" y="94"/>
                  <a:pt x="361" y="94"/>
                  <a:pt x="361" y="94"/>
                </a:cubicBezTo>
                <a:cubicBezTo>
                  <a:pt x="357" y="87"/>
                  <a:pt x="357" y="87"/>
                  <a:pt x="357" y="87"/>
                </a:cubicBezTo>
                <a:cubicBezTo>
                  <a:pt x="352" y="80"/>
                  <a:pt x="352" y="80"/>
                  <a:pt x="352" y="80"/>
                </a:cubicBezTo>
                <a:cubicBezTo>
                  <a:pt x="334" y="87"/>
                  <a:pt x="334" y="87"/>
                  <a:pt x="334" y="87"/>
                </a:cubicBezTo>
                <a:cubicBezTo>
                  <a:pt x="331" y="83"/>
                  <a:pt x="328" y="80"/>
                  <a:pt x="325" y="77"/>
                </a:cubicBezTo>
                <a:cubicBezTo>
                  <a:pt x="322" y="73"/>
                  <a:pt x="319" y="70"/>
                  <a:pt x="316" y="67"/>
                </a:cubicBezTo>
                <a:cubicBezTo>
                  <a:pt x="324" y="49"/>
                  <a:pt x="324" y="49"/>
                  <a:pt x="324" y="49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1" y="39"/>
                  <a:pt x="311" y="39"/>
                  <a:pt x="311" y="39"/>
                </a:cubicBezTo>
                <a:cubicBezTo>
                  <a:pt x="296" y="51"/>
                  <a:pt x="296" y="51"/>
                  <a:pt x="296" y="51"/>
                </a:cubicBezTo>
                <a:cubicBezTo>
                  <a:pt x="288" y="46"/>
                  <a:pt x="280" y="41"/>
                  <a:pt x="272" y="37"/>
                </a:cubicBezTo>
                <a:cubicBezTo>
                  <a:pt x="275" y="18"/>
                  <a:pt x="275" y="18"/>
                  <a:pt x="275" y="18"/>
                </a:cubicBezTo>
                <a:cubicBezTo>
                  <a:pt x="267" y="15"/>
                  <a:pt x="267" y="15"/>
                  <a:pt x="267" y="15"/>
                </a:cubicBezTo>
                <a:cubicBezTo>
                  <a:pt x="260" y="11"/>
                  <a:pt x="260" y="11"/>
                  <a:pt x="260" y="11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0" y="25"/>
                  <a:pt x="231" y="23"/>
                  <a:pt x="222" y="21"/>
                </a:cubicBezTo>
                <a:cubicBezTo>
                  <a:pt x="219" y="2"/>
                  <a:pt x="219" y="2"/>
                  <a:pt x="219" y="2"/>
                </a:cubicBezTo>
                <a:cubicBezTo>
                  <a:pt x="211" y="1"/>
                  <a:pt x="211" y="1"/>
                  <a:pt x="211" y="1"/>
                </a:cubicBezTo>
                <a:cubicBezTo>
                  <a:pt x="203" y="0"/>
                  <a:pt x="203" y="0"/>
                  <a:pt x="203" y="0"/>
                </a:cubicBezTo>
                <a:cubicBezTo>
                  <a:pt x="196" y="19"/>
                  <a:pt x="196" y="19"/>
                  <a:pt x="196" y="19"/>
                </a:cubicBezTo>
                <a:cubicBezTo>
                  <a:pt x="187" y="19"/>
                  <a:pt x="178" y="20"/>
                  <a:pt x="169" y="21"/>
                </a:cubicBezTo>
                <a:cubicBezTo>
                  <a:pt x="161" y="3"/>
                  <a:pt x="161" y="3"/>
                  <a:pt x="161" y="3"/>
                </a:cubicBezTo>
                <a:cubicBezTo>
                  <a:pt x="153" y="5"/>
                  <a:pt x="153" y="5"/>
                  <a:pt x="153" y="5"/>
                </a:cubicBezTo>
                <a:cubicBezTo>
                  <a:pt x="145" y="7"/>
                  <a:pt x="145" y="7"/>
                  <a:pt x="145" y="7"/>
                </a:cubicBezTo>
                <a:cubicBezTo>
                  <a:pt x="144" y="26"/>
                  <a:pt x="144" y="26"/>
                  <a:pt x="144" y="26"/>
                </a:cubicBezTo>
                <a:cubicBezTo>
                  <a:pt x="136" y="29"/>
                  <a:pt x="127" y="32"/>
                  <a:pt x="119" y="36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98" y="26"/>
                  <a:pt x="98" y="26"/>
                  <a:pt x="98" y="26"/>
                </a:cubicBezTo>
                <a:cubicBezTo>
                  <a:pt x="91" y="30"/>
                  <a:pt x="91" y="30"/>
                  <a:pt x="91" y="30"/>
                </a:cubicBezTo>
                <a:cubicBezTo>
                  <a:pt x="97" y="49"/>
                  <a:pt x="97" y="49"/>
                  <a:pt x="97" y="49"/>
                </a:cubicBezTo>
                <a:cubicBezTo>
                  <a:pt x="89" y="54"/>
                  <a:pt x="82" y="59"/>
                  <a:pt x="76" y="65"/>
                </a:cubicBezTo>
                <a:close/>
                <a:moveTo>
                  <a:pt x="81" y="299"/>
                </a:moveTo>
                <a:cubicBezTo>
                  <a:pt x="56" y="272"/>
                  <a:pt x="43" y="238"/>
                  <a:pt x="41" y="203"/>
                </a:cubicBezTo>
                <a:cubicBezTo>
                  <a:pt x="92" y="206"/>
                  <a:pt x="92" y="206"/>
                  <a:pt x="92" y="206"/>
                </a:cubicBezTo>
                <a:cubicBezTo>
                  <a:pt x="140" y="208"/>
                  <a:pt x="178" y="249"/>
                  <a:pt x="175" y="297"/>
                </a:cubicBezTo>
                <a:cubicBezTo>
                  <a:pt x="173" y="348"/>
                  <a:pt x="173" y="348"/>
                  <a:pt x="173" y="348"/>
                </a:cubicBezTo>
                <a:cubicBezTo>
                  <a:pt x="139" y="343"/>
                  <a:pt x="106" y="327"/>
                  <a:pt x="81" y="299"/>
                </a:cubicBezTo>
                <a:close/>
                <a:moveTo>
                  <a:pt x="178" y="178"/>
                </a:moveTo>
                <a:cubicBezTo>
                  <a:pt x="188" y="169"/>
                  <a:pt x="203" y="169"/>
                  <a:pt x="213" y="179"/>
                </a:cubicBezTo>
                <a:cubicBezTo>
                  <a:pt x="222" y="189"/>
                  <a:pt x="221" y="205"/>
                  <a:pt x="211" y="214"/>
                </a:cubicBezTo>
                <a:cubicBezTo>
                  <a:pt x="201" y="223"/>
                  <a:pt x="185" y="223"/>
                  <a:pt x="176" y="213"/>
                </a:cubicBezTo>
                <a:cubicBezTo>
                  <a:pt x="167" y="203"/>
                  <a:pt x="168" y="187"/>
                  <a:pt x="178" y="178"/>
                </a:cubicBezTo>
                <a:close/>
                <a:moveTo>
                  <a:pt x="346" y="217"/>
                </a:moveTo>
                <a:cubicBezTo>
                  <a:pt x="341" y="251"/>
                  <a:pt x="325" y="284"/>
                  <a:pt x="298" y="309"/>
                </a:cubicBezTo>
                <a:cubicBezTo>
                  <a:pt x="270" y="334"/>
                  <a:pt x="236" y="347"/>
                  <a:pt x="202" y="349"/>
                </a:cubicBezTo>
                <a:cubicBezTo>
                  <a:pt x="204" y="298"/>
                  <a:pt x="204" y="298"/>
                  <a:pt x="204" y="298"/>
                </a:cubicBezTo>
                <a:cubicBezTo>
                  <a:pt x="206" y="250"/>
                  <a:pt x="247" y="213"/>
                  <a:pt x="295" y="215"/>
                </a:cubicBezTo>
                <a:lnTo>
                  <a:pt x="346" y="217"/>
                </a:lnTo>
                <a:close/>
                <a:moveTo>
                  <a:pt x="307" y="93"/>
                </a:moveTo>
                <a:cubicBezTo>
                  <a:pt x="333" y="120"/>
                  <a:pt x="346" y="154"/>
                  <a:pt x="347" y="189"/>
                </a:cubicBezTo>
                <a:cubicBezTo>
                  <a:pt x="296" y="186"/>
                  <a:pt x="296" y="186"/>
                  <a:pt x="296" y="186"/>
                </a:cubicBezTo>
                <a:cubicBezTo>
                  <a:pt x="248" y="184"/>
                  <a:pt x="211" y="143"/>
                  <a:pt x="213" y="95"/>
                </a:cubicBezTo>
                <a:cubicBezTo>
                  <a:pt x="216" y="44"/>
                  <a:pt x="216" y="44"/>
                  <a:pt x="216" y="44"/>
                </a:cubicBezTo>
                <a:cubicBezTo>
                  <a:pt x="250" y="49"/>
                  <a:pt x="282" y="65"/>
                  <a:pt x="307" y="93"/>
                </a:cubicBezTo>
                <a:close/>
                <a:moveTo>
                  <a:pt x="187" y="43"/>
                </a:moveTo>
                <a:cubicBezTo>
                  <a:pt x="185" y="94"/>
                  <a:pt x="185" y="94"/>
                  <a:pt x="185" y="94"/>
                </a:cubicBezTo>
                <a:cubicBezTo>
                  <a:pt x="182" y="142"/>
                  <a:pt x="142" y="179"/>
                  <a:pt x="94" y="177"/>
                </a:cubicBezTo>
                <a:cubicBezTo>
                  <a:pt x="43" y="175"/>
                  <a:pt x="43" y="175"/>
                  <a:pt x="43" y="175"/>
                </a:cubicBezTo>
                <a:cubicBezTo>
                  <a:pt x="47" y="141"/>
                  <a:pt x="64" y="108"/>
                  <a:pt x="91" y="83"/>
                </a:cubicBezTo>
                <a:cubicBezTo>
                  <a:pt x="118" y="58"/>
                  <a:pt x="153" y="45"/>
                  <a:pt x="187" y="43"/>
                </a:cubicBezTo>
                <a:close/>
              </a:path>
            </a:pathLst>
          </a:custGeom>
          <a:solidFill>
            <a:schemeClr val="accent6">
              <a:alpha val="45000"/>
            </a:schemeClr>
          </a:solidFill>
          <a:ln w="11113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1140105" y="3597921"/>
            <a:ext cx="3770362" cy="37703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 rot="548339">
            <a:off x="732072" y="3220893"/>
            <a:ext cx="4539168" cy="45509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3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90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9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9 h 488"/>
              <a:gd name="T48" fmla="*/ 63 w 486"/>
              <a:gd name="T49" fmla="*/ 409 h 488"/>
              <a:gd name="T50" fmla="*/ 110 w 486"/>
              <a:gd name="T51" fmla="*/ 428 h 488"/>
              <a:gd name="T52" fmla="*/ 133 w 486"/>
              <a:gd name="T53" fmla="*/ 448 h 488"/>
              <a:gd name="T54" fmla="*/ 167 w 486"/>
              <a:gd name="T55" fmla="*/ 458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70 h 488"/>
              <a:gd name="T64" fmla="*/ 323 w 486"/>
              <a:gd name="T65" fmla="*/ 456 h 488"/>
              <a:gd name="T66" fmla="*/ 372 w 486"/>
              <a:gd name="T67" fmla="*/ 451 h 488"/>
              <a:gd name="T68" fmla="*/ 379 w 486"/>
              <a:gd name="T69" fmla="*/ 425 h 488"/>
              <a:gd name="T70" fmla="*/ 425 w 486"/>
              <a:gd name="T71" fmla="*/ 406 h 488"/>
              <a:gd name="T72" fmla="*/ 419 w 486"/>
              <a:gd name="T73" fmla="*/ 355 h 488"/>
              <a:gd name="T74" fmla="*/ 468 w 486"/>
              <a:gd name="T75" fmla="*/ 339 h 488"/>
              <a:gd name="T76" fmla="*/ 455 w 486"/>
              <a:gd name="T77" fmla="*/ 286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9 h 488"/>
              <a:gd name="T86" fmla="*/ 89 w 486"/>
              <a:gd name="T87" fmla="*/ 176 h 488"/>
              <a:gd name="T88" fmla="*/ 106 w 486"/>
              <a:gd name="T89" fmla="*/ 197 h 488"/>
              <a:gd name="T90" fmla="*/ 87 w 486"/>
              <a:gd name="T91" fmla="*/ 307 h 488"/>
              <a:gd name="T92" fmla="*/ 98 w 486"/>
              <a:gd name="T93" fmla="*/ 244 h 488"/>
              <a:gd name="T94" fmla="*/ 118 w 486"/>
              <a:gd name="T95" fmla="*/ 357 h 488"/>
              <a:gd name="T96" fmla="*/ 201 w 486"/>
              <a:gd name="T97" fmla="*/ 391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7 h 488"/>
              <a:gd name="T106" fmla="*/ 371 w 486"/>
              <a:gd name="T107" fmla="*/ 177 h 488"/>
              <a:gd name="T108" fmla="*/ 395 w 486"/>
              <a:gd name="T109" fmla="*/ 264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5"/>
                </a:cubicBezTo>
                <a:cubicBezTo>
                  <a:pt x="450" y="234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9"/>
                  <a:pt x="485" y="212"/>
                </a:cubicBezTo>
                <a:cubicBezTo>
                  <a:pt x="484" y="209"/>
                  <a:pt x="484" y="205"/>
                  <a:pt x="483" y="202"/>
                </a:cubicBezTo>
                <a:cubicBezTo>
                  <a:pt x="482" y="196"/>
                  <a:pt x="476" y="192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1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3"/>
                  <a:pt x="426" y="103"/>
                  <a:pt x="426" y="103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4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7"/>
                  <a:pt x="379" y="57"/>
                  <a:pt x="379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4" y="38"/>
                  <a:pt x="371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2"/>
                  <a:pt x="338" y="57"/>
                  <a:pt x="330" y="55"/>
                </a:cubicBezTo>
                <a:cubicBezTo>
                  <a:pt x="319" y="52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0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8"/>
                </a:cubicBezTo>
                <a:cubicBezTo>
                  <a:pt x="262" y="38"/>
                  <a:pt x="254" y="28"/>
                  <a:pt x="255" y="17"/>
                </a:cubicBezTo>
                <a:cubicBezTo>
                  <a:pt x="256" y="13"/>
                  <a:pt x="256" y="13"/>
                  <a:pt x="256" y="13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3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4"/>
                  <a:pt x="151" y="56"/>
                </a:cubicBezTo>
                <a:cubicBezTo>
                  <a:pt x="143" y="59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4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3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70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1" y="123"/>
                  <a:pt x="68" y="131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8"/>
                  <a:pt x="45" y="178"/>
                  <a:pt x="42" y="188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7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9"/>
                </a:cubicBezTo>
                <a:cubicBezTo>
                  <a:pt x="17" y="229"/>
                  <a:pt x="17" y="229"/>
                  <a:pt x="17" y="229"/>
                </a:cubicBezTo>
                <a:cubicBezTo>
                  <a:pt x="27" y="229"/>
                  <a:pt x="35" y="237"/>
                  <a:pt x="34" y="246"/>
                </a:cubicBezTo>
                <a:cubicBezTo>
                  <a:pt x="34" y="256"/>
                  <a:pt x="26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5" y="264"/>
                  <a:pt x="0" y="269"/>
                  <a:pt x="1" y="276"/>
                </a:cubicBezTo>
                <a:cubicBezTo>
                  <a:pt x="1" y="279"/>
                  <a:pt x="2" y="282"/>
                  <a:pt x="2" y="286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1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30"/>
                  <a:pt x="17" y="337"/>
                  <a:pt x="20" y="343"/>
                </a:cubicBezTo>
                <a:cubicBezTo>
                  <a:pt x="21" y="346"/>
                  <a:pt x="23" y="349"/>
                  <a:pt x="24" y="352"/>
                </a:cubicBezTo>
                <a:cubicBezTo>
                  <a:pt x="27" y="358"/>
                  <a:pt x="34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9"/>
                </a:cubicBezTo>
                <a:cubicBezTo>
                  <a:pt x="74" y="367"/>
                  <a:pt x="71" y="378"/>
                  <a:pt x="63" y="383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7"/>
                  <a:pt x="57" y="402"/>
                </a:cubicBezTo>
                <a:cubicBezTo>
                  <a:pt x="59" y="404"/>
                  <a:pt x="61" y="407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7"/>
                  <a:pt x="106" y="401"/>
                </a:cubicBezTo>
                <a:cubicBezTo>
                  <a:pt x="115" y="407"/>
                  <a:pt x="117" y="420"/>
                  <a:pt x="110" y="428"/>
                </a:cubicBezTo>
                <a:cubicBezTo>
                  <a:pt x="106" y="431"/>
                  <a:pt x="106" y="431"/>
                  <a:pt x="106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50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2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8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8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9"/>
                  <a:pt x="293" y="455"/>
                  <a:pt x="294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9"/>
                  <a:pt x="351" y="433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1"/>
                </a:cubicBezTo>
                <a:cubicBezTo>
                  <a:pt x="372" y="451"/>
                  <a:pt x="372" y="451"/>
                  <a:pt x="372" y="451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4"/>
                  <a:pt x="399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3" y="411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4"/>
                  <a:pt x="414" y="363"/>
                  <a:pt x="419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8"/>
                </a:cubicBezTo>
                <a:cubicBezTo>
                  <a:pt x="465" y="345"/>
                  <a:pt x="466" y="342"/>
                  <a:pt x="468" y="339"/>
                </a:cubicBezTo>
                <a:cubicBezTo>
                  <a:pt x="470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10"/>
                  <a:pt x="443" y="300"/>
                </a:cubicBezTo>
                <a:cubicBezTo>
                  <a:pt x="438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2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8"/>
                  <a:pt x="366" y="153"/>
                </a:cubicBezTo>
                <a:cubicBezTo>
                  <a:pt x="359" y="157"/>
                  <a:pt x="359" y="157"/>
                  <a:pt x="359" y="157"/>
                </a:cubicBezTo>
                <a:cubicBezTo>
                  <a:pt x="342" y="134"/>
                  <a:pt x="317" y="116"/>
                  <a:pt x="289" y="107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7" y="101"/>
                  <a:pt x="267" y="101"/>
                  <a:pt x="267" y="101"/>
                </a:cubicBezTo>
                <a:cubicBezTo>
                  <a:pt x="259" y="100"/>
                  <a:pt x="251" y="99"/>
                  <a:pt x="243" y="99"/>
                </a:cubicBezTo>
                <a:cubicBezTo>
                  <a:pt x="220" y="99"/>
                  <a:pt x="199" y="104"/>
                  <a:pt x="180" y="113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6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60" y="125"/>
                  <a:pt x="160" y="125"/>
                  <a:pt x="160" y="125"/>
                </a:cubicBezTo>
                <a:cubicBezTo>
                  <a:pt x="135" y="143"/>
                  <a:pt x="116" y="168"/>
                  <a:pt x="106" y="197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8" y="193"/>
                  <a:pt x="84" y="184"/>
                  <a:pt x="89" y="176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100" y="220"/>
                  <a:pt x="100" y="220"/>
                  <a:pt x="100" y="220"/>
                </a:cubicBezTo>
                <a:cubicBezTo>
                  <a:pt x="99" y="228"/>
                  <a:pt x="98" y="236"/>
                  <a:pt x="98" y="244"/>
                </a:cubicBezTo>
                <a:cubicBezTo>
                  <a:pt x="98" y="268"/>
                  <a:pt x="104" y="291"/>
                  <a:pt x="114" y="311"/>
                </a:cubicBezTo>
                <a:lnTo>
                  <a:pt x="108" y="315"/>
                </a:lnTo>
                <a:close/>
                <a:moveTo>
                  <a:pt x="180" y="401"/>
                </a:move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27" y="331"/>
                  <a:pt x="127" y="331"/>
                  <a:pt x="127" y="331"/>
                </a:cubicBezTo>
                <a:cubicBezTo>
                  <a:pt x="145" y="355"/>
                  <a:pt x="172" y="374"/>
                  <a:pt x="202" y="383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198" y="400"/>
                  <a:pt x="189" y="405"/>
                  <a:pt x="180" y="401"/>
                </a:cubicBezTo>
                <a:close/>
                <a:moveTo>
                  <a:pt x="311" y="398"/>
                </a:moveTo>
                <a:cubicBezTo>
                  <a:pt x="237" y="413"/>
                  <a:pt x="237" y="413"/>
                  <a:pt x="237" y="413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5" y="388"/>
                  <a:pt x="225" y="388"/>
                  <a:pt x="225" y="388"/>
                </a:cubicBezTo>
                <a:cubicBezTo>
                  <a:pt x="231" y="388"/>
                  <a:pt x="237" y="389"/>
                  <a:pt x="243" y="389"/>
                </a:cubicBezTo>
                <a:cubicBezTo>
                  <a:pt x="269" y="389"/>
                  <a:pt x="293" y="382"/>
                  <a:pt x="314" y="370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7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3"/>
                  <a:pt x="337" y="364"/>
                </a:cubicBezTo>
                <a:cubicBezTo>
                  <a:pt x="333" y="357"/>
                  <a:pt x="333" y="357"/>
                  <a:pt x="333" y="357"/>
                </a:cubicBezTo>
                <a:cubicBezTo>
                  <a:pt x="356" y="339"/>
                  <a:pt x="373" y="314"/>
                  <a:pt x="382" y="284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8"/>
                  <a:pt x="400" y="307"/>
                </a:cubicBezTo>
                <a:close/>
                <a:moveTo>
                  <a:pt x="395" y="264"/>
                </a:moveTo>
                <a:cubicBezTo>
                  <a:pt x="387" y="262"/>
                  <a:pt x="387" y="262"/>
                  <a:pt x="387" y="262"/>
                </a:cubicBezTo>
                <a:cubicBezTo>
                  <a:pt x="387" y="256"/>
                  <a:pt x="388" y="250"/>
                  <a:pt x="388" y="244"/>
                </a:cubicBezTo>
                <a:cubicBezTo>
                  <a:pt x="388" y="220"/>
                  <a:pt x="382" y="197"/>
                  <a:pt x="371" y="177"/>
                </a:cubicBezTo>
                <a:cubicBezTo>
                  <a:pt x="378" y="173"/>
                  <a:pt x="378" y="173"/>
                  <a:pt x="378" y="173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59"/>
                  <a:pt x="404" y="266"/>
                  <a:pt x="395" y="2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99091" y="4870713"/>
            <a:ext cx="805130" cy="1196122"/>
            <a:chOff x="1299545" y="2435356"/>
            <a:chExt cx="402565" cy="598061"/>
          </a:xfrm>
        </p:grpSpPr>
        <p:sp>
          <p:nvSpPr>
            <p:cNvPr id="13" name="Oval 35"/>
            <p:cNvSpPr>
              <a:spLocks noChangeArrowheads="1"/>
            </p:cNvSpPr>
            <p:nvPr/>
          </p:nvSpPr>
          <p:spPr bwMode="auto">
            <a:xfrm>
              <a:off x="1339415" y="2435356"/>
              <a:ext cx="322824" cy="3202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5" name="Freeform 36"/>
            <p:cNvSpPr>
              <a:spLocks/>
            </p:cNvSpPr>
            <p:nvPr/>
          </p:nvSpPr>
          <p:spPr bwMode="auto">
            <a:xfrm>
              <a:off x="1299545" y="2762039"/>
              <a:ext cx="402565" cy="271378"/>
            </a:xfrm>
            <a:custGeom>
              <a:avLst/>
              <a:gdLst>
                <a:gd name="T0" fmla="*/ 65 w 130"/>
                <a:gd name="T1" fmla="*/ 12 h 88"/>
                <a:gd name="T2" fmla="*/ 24 w 130"/>
                <a:gd name="T3" fmla="*/ 0 h 88"/>
                <a:gd name="T4" fmla="*/ 0 w 130"/>
                <a:gd name="T5" fmla="*/ 88 h 88"/>
                <a:gd name="T6" fmla="*/ 130 w 130"/>
                <a:gd name="T7" fmla="*/ 88 h 88"/>
                <a:gd name="T8" fmla="*/ 106 w 130"/>
                <a:gd name="T9" fmla="*/ 0 h 88"/>
                <a:gd name="T10" fmla="*/ 65 w 130"/>
                <a:gd name="T11" fmla="*/ 1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8">
                  <a:moveTo>
                    <a:pt x="65" y="12"/>
                  </a:moveTo>
                  <a:cubicBezTo>
                    <a:pt x="50" y="12"/>
                    <a:pt x="36" y="7"/>
                    <a:pt x="24" y="0"/>
                  </a:cubicBezTo>
                  <a:cubicBezTo>
                    <a:pt x="10" y="20"/>
                    <a:pt x="0" y="52"/>
                    <a:pt x="0" y="88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30" y="52"/>
                    <a:pt x="120" y="20"/>
                    <a:pt x="106" y="0"/>
                  </a:cubicBezTo>
                  <a:cubicBezTo>
                    <a:pt x="94" y="7"/>
                    <a:pt x="80" y="12"/>
                    <a:pt x="65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48" name="Oval 47"/>
          <p:cNvSpPr/>
          <p:nvPr/>
        </p:nvSpPr>
        <p:spPr>
          <a:xfrm>
            <a:off x="5843146" y="3573247"/>
            <a:ext cx="3770360" cy="37703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7" name="Freeform 9"/>
          <p:cNvSpPr>
            <a:spLocks noEditPoints="1"/>
          </p:cNvSpPr>
          <p:nvPr/>
        </p:nvSpPr>
        <p:spPr bwMode="auto">
          <a:xfrm>
            <a:off x="5481872" y="3220893"/>
            <a:ext cx="4527356" cy="4535230"/>
          </a:xfrm>
          <a:custGeom>
            <a:avLst/>
            <a:gdLst>
              <a:gd name="T0" fmla="*/ 508 w 536"/>
              <a:gd name="T1" fmla="*/ 238 h 537"/>
              <a:gd name="T2" fmla="*/ 524 w 536"/>
              <a:gd name="T3" fmla="*/ 191 h 537"/>
              <a:gd name="T4" fmla="*/ 478 w 536"/>
              <a:gd name="T5" fmla="*/ 148 h 537"/>
              <a:gd name="T6" fmla="*/ 484 w 536"/>
              <a:gd name="T7" fmla="*/ 109 h 537"/>
              <a:gd name="T8" fmla="*/ 434 w 536"/>
              <a:gd name="T9" fmla="*/ 91 h 537"/>
              <a:gd name="T10" fmla="*/ 428 w 536"/>
              <a:gd name="T11" fmla="*/ 52 h 537"/>
              <a:gd name="T12" fmla="*/ 378 w 536"/>
              <a:gd name="T13" fmla="*/ 23 h 537"/>
              <a:gd name="T14" fmla="*/ 341 w 536"/>
              <a:gd name="T15" fmla="*/ 37 h 537"/>
              <a:gd name="T16" fmla="*/ 305 w 536"/>
              <a:gd name="T17" fmla="*/ 28 h 537"/>
              <a:gd name="T18" fmla="*/ 278 w 536"/>
              <a:gd name="T19" fmla="*/ 0 h 537"/>
              <a:gd name="T20" fmla="*/ 221 w 536"/>
              <a:gd name="T21" fmla="*/ 4 h 537"/>
              <a:gd name="T22" fmla="*/ 198 w 536"/>
              <a:gd name="T23" fmla="*/ 35 h 537"/>
              <a:gd name="T24" fmla="*/ 135 w 536"/>
              <a:gd name="T25" fmla="*/ 35 h 537"/>
              <a:gd name="T26" fmla="*/ 104 w 536"/>
              <a:gd name="T27" fmla="*/ 89 h 537"/>
              <a:gd name="T28" fmla="*/ 72 w 536"/>
              <a:gd name="T29" fmla="*/ 84 h 537"/>
              <a:gd name="T30" fmla="*/ 58 w 536"/>
              <a:gd name="T31" fmla="*/ 145 h 537"/>
              <a:gd name="T32" fmla="*/ 31 w 536"/>
              <a:gd name="T33" fmla="*/ 140 h 537"/>
              <a:gd name="T34" fmla="*/ 42 w 536"/>
              <a:gd name="T35" fmla="*/ 177 h 537"/>
              <a:gd name="T36" fmla="*/ 2 w 536"/>
              <a:gd name="T37" fmla="*/ 226 h 537"/>
              <a:gd name="T38" fmla="*/ 25 w 536"/>
              <a:gd name="T39" fmla="*/ 285 h 537"/>
              <a:gd name="T40" fmla="*/ 3 w 536"/>
              <a:gd name="T41" fmla="*/ 317 h 537"/>
              <a:gd name="T42" fmla="*/ 20 w 536"/>
              <a:gd name="T43" fmla="*/ 372 h 537"/>
              <a:gd name="T44" fmla="*/ 56 w 536"/>
              <a:gd name="T45" fmla="*/ 387 h 537"/>
              <a:gd name="T46" fmla="*/ 69 w 536"/>
              <a:gd name="T47" fmla="*/ 449 h 537"/>
              <a:gd name="T48" fmla="*/ 129 w 536"/>
              <a:gd name="T49" fmla="*/ 468 h 537"/>
              <a:gd name="T50" fmla="*/ 141 w 536"/>
              <a:gd name="T51" fmla="*/ 505 h 537"/>
              <a:gd name="T52" fmla="*/ 194 w 536"/>
              <a:gd name="T53" fmla="*/ 527 h 537"/>
              <a:gd name="T54" fmla="*/ 229 w 536"/>
              <a:gd name="T55" fmla="*/ 508 h 537"/>
              <a:gd name="T56" fmla="*/ 285 w 536"/>
              <a:gd name="T57" fmla="*/ 536 h 537"/>
              <a:gd name="T58" fmla="*/ 338 w 536"/>
              <a:gd name="T59" fmla="*/ 501 h 537"/>
              <a:gd name="T60" fmla="*/ 374 w 536"/>
              <a:gd name="T61" fmla="*/ 515 h 537"/>
              <a:gd name="T62" fmla="*/ 371 w 536"/>
              <a:gd name="T63" fmla="*/ 488 h 537"/>
              <a:gd name="T64" fmla="*/ 433 w 536"/>
              <a:gd name="T65" fmla="*/ 479 h 537"/>
              <a:gd name="T66" fmla="*/ 431 w 536"/>
              <a:gd name="T67" fmla="*/ 447 h 537"/>
              <a:gd name="T68" fmla="*/ 488 w 536"/>
              <a:gd name="T69" fmla="*/ 421 h 537"/>
              <a:gd name="T70" fmla="*/ 493 w 536"/>
              <a:gd name="T71" fmla="*/ 358 h 537"/>
              <a:gd name="T72" fmla="*/ 527 w 536"/>
              <a:gd name="T73" fmla="*/ 339 h 537"/>
              <a:gd name="T74" fmla="*/ 536 w 536"/>
              <a:gd name="T75" fmla="*/ 282 h 537"/>
              <a:gd name="T76" fmla="*/ 510 w 536"/>
              <a:gd name="T77" fmla="*/ 252 h 537"/>
              <a:gd name="T78" fmla="*/ 442 w 536"/>
              <a:gd name="T79" fmla="*/ 224 h 537"/>
              <a:gd name="T80" fmla="*/ 422 w 536"/>
              <a:gd name="T81" fmla="*/ 127 h 537"/>
              <a:gd name="T82" fmla="*/ 279 w 536"/>
              <a:gd name="T83" fmla="*/ 89 h 537"/>
              <a:gd name="T84" fmla="*/ 91 w 536"/>
              <a:gd name="T85" fmla="*/ 152 h 537"/>
              <a:gd name="T86" fmla="*/ 101 w 536"/>
              <a:gd name="T87" fmla="*/ 202 h 537"/>
              <a:gd name="T88" fmla="*/ 102 w 536"/>
              <a:gd name="T89" fmla="*/ 400 h 537"/>
              <a:gd name="T90" fmla="*/ 153 w 536"/>
              <a:gd name="T91" fmla="*/ 406 h 537"/>
              <a:gd name="T92" fmla="*/ 342 w 536"/>
              <a:gd name="T93" fmla="*/ 466 h 537"/>
              <a:gd name="T94" fmla="*/ 367 w 536"/>
              <a:gd name="T95" fmla="*/ 454 h 537"/>
              <a:gd name="T96" fmla="*/ 477 w 536"/>
              <a:gd name="T97" fmla="*/ 259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6" h="537">
                <a:moveTo>
                  <a:pt x="510" y="252"/>
                </a:moveTo>
                <a:cubicBezTo>
                  <a:pt x="509" y="250"/>
                  <a:pt x="509" y="247"/>
                  <a:pt x="509" y="245"/>
                </a:cubicBezTo>
                <a:cubicBezTo>
                  <a:pt x="508" y="238"/>
                  <a:pt x="508" y="238"/>
                  <a:pt x="508" y="238"/>
                </a:cubicBezTo>
                <a:cubicBezTo>
                  <a:pt x="507" y="230"/>
                  <a:pt x="506" y="223"/>
                  <a:pt x="504" y="216"/>
                </a:cubicBezTo>
                <a:cubicBezTo>
                  <a:pt x="528" y="202"/>
                  <a:pt x="528" y="202"/>
                  <a:pt x="528" y="202"/>
                </a:cubicBezTo>
                <a:cubicBezTo>
                  <a:pt x="524" y="191"/>
                  <a:pt x="524" y="191"/>
                  <a:pt x="524" y="191"/>
                </a:cubicBezTo>
                <a:cubicBezTo>
                  <a:pt x="521" y="180"/>
                  <a:pt x="521" y="180"/>
                  <a:pt x="521" y="180"/>
                </a:cubicBezTo>
                <a:cubicBezTo>
                  <a:pt x="494" y="182"/>
                  <a:pt x="494" y="182"/>
                  <a:pt x="494" y="182"/>
                </a:cubicBezTo>
                <a:cubicBezTo>
                  <a:pt x="490" y="170"/>
                  <a:pt x="485" y="159"/>
                  <a:pt x="478" y="148"/>
                </a:cubicBezTo>
                <a:cubicBezTo>
                  <a:pt x="497" y="128"/>
                  <a:pt x="497" y="128"/>
                  <a:pt x="497" y="128"/>
                </a:cubicBezTo>
                <a:cubicBezTo>
                  <a:pt x="490" y="119"/>
                  <a:pt x="490" y="119"/>
                  <a:pt x="490" y="119"/>
                </a:cubicBezTo>
                <a:cubicBezTo>
                  <a:pt x="484" y="109"/>
                  <a:pt x="484" y="109"/>
                  <a:pt x="484" y="109"/>
                </a:cubicBezTo>
                <a:cubicBezTo>
                  <a:pt x="459" y="119"/>
                  <a:pt x="459" y="119"/>
                  <a:pt x="459" y="119"/>
                </a:cubicBezTo>
                <a:cubicBezTo>
                  <a:pt x="455" y="114"/>
                  <a:pt x="451" y="109"/>
                  <a:pt x="447" y="104"/>
                </a:cubicBezTo>
                <a:cubicBezTo>
                  <a:pt x="442" y="100"/>
                  <a:pt x="438" y="95"/>
                  <a:pt x="434" y="91"/>
                </a:cubicBezTo>
                <a:cubicBezTo>
                  <a:pt x="445" y="67"/>
                  <a:pt x="445" y="67"/>
                  <a:pt x="445" y="67"/>
                </a:cubicBezTo>
                <a:cubicBezTo>
                  <a:pt x="436" y="60"/>
                  <a:pt x="436" y="60"/>
                  <a:pt x="436" y="60"/>
                </a:cubicBezTo>
                <a:cubicBezTo>
                  <a:pt x="428" y="52"/>
                  <a:pt x="428" y="52"/>
                  <a:pt x="428" y="52"/>
                </a:cubicBezTo>
                <a:cubicBezTo>
                  <a:pt x="406" y="69"/>
                  <a:pt x="406" y="69"/>
                  <a:pt x="406" y="69"/>
                </a:cubicBezTo>
                <a:cubicBezTo>
                  <a:pt x="396" y="62"/>
                  <a:pt x="385" y="55"/>
                  <a:pt x="374" y="50"/>
                </a:cubicBezTo>
                <a:cubicBezTo>
                  <a:pt x="378" y="23"/>
                  <a:pt x="378" y="23"/>
                  <a:pt x="378" y="23"/>
                </a:cubicBezTo>
                <a:cubicBezTo>
                  <a:pt x="367" y="19"/>
                  <a:pt x="367" y="19"/>
                  <a:pt x="367" y="19"/>
                </a:cubicBezTo>
                <a:cubicBezTo>
                  <a:pt x="357" y="15"/>
                  <a:pt x="357" y="15"/>
                  <a:pt x="357" y="15"/>
                </a:cubicBezTo>
                <a:cubicBezTo>
                  <a:pt x="341" y="37"/>
                  <a:pt x="341" y="37"/>
                  <a:pt x="341" y="37"/>
                </a:cubicBezTo>
                <a:cubicBezTo>
                  <a:pt x="334" y="35"/>
                  <a:pt x="327" y="33"/>
                  <a:pt x="319" y="31"/>
                </a:cubicBezTo>
                <a:cubicBezTo>
                  <a:pt x="313" y="30"/>
                  <a:pt x="313" y="30"/>
                  <a:pt x="313" y="30"/>
                </a:cubicBezTo>
                <a:cubicBezTo>
                  <a:pt x="310" y="29"/>
                  <a:pt x="308" y="29"/>
                  <a:pt x="305" y="28"/>
                </a:cubicBezTo>
                <a:cubicBezTo>
                  <a:pt x="301" y="2"/>
                  <a:pt x="301" y="2"/>
                  <a:pt x="301" y="2"/>
                </a:cubicBezTo>
                <a:cubicBezTo>
                  <a:pt x="290" y="1"/>
                  <a:pt x="290" y="1"/>
                  <a:pt x="290" y="1"/>
                </a:cubicBezTo>
                <a:cubicBezTo>
                  <a:pt x="278" y="0"/>
                  <a:pt x="278" y="0"/>
                  <a:pt x="278" y="0"/>
                </a:cubicBezTo>
                <a:cubicBezTo>
                  <a:pt x="270" y="25"/>
                  <a:pt x="270" y="25"/>
                  <a:pt x="270" y="25"/>
                </a:cubicBezTo>
                <a:cubicBezTo>
                  <a:pt x="257" y="25"/>
                  <a:pt x="245" y="26"/>
                  <a:pt x="233" y="28"/>
                </a:cubicBezTo>
                <a:cubicBezTo>
                  <a:pt x="221" y="4"/>
                  <a:pt x="221" y="4"/>
                  <a:pt x="221" y="4"/>
                </a:cubicBezTo>
                <a:cubicBezTo>
                  <a:pt x="210" y="6"/>
                  <a:pt x="210" y="6"/>
                  <a:pt x="210" y="6"/>
                </a:cubicBezTo>
                <a:cubicBezTo>
                  <a:pt x="199" y="8"/>
                  <a:pt x="199" y="8"/>
                  <a:pt x="199" y="8"/>
                </a:cubicBezTo>
                <a:cubicBezTo>
                  <a:pt x="198" y="35"/>
                  <a:pt x="198" y="35"/>
                  <a:pt x="198" y="35"/>
                </a:cubicBezTo>
                <a:cubicBezTo>
                  <a:pt x="186" y="39"/>
                  <a:pt x="175" y="43"/>
                  <a:pt x="163" y="49"/>
                </a:cubicBezTo>
                <a:cubicBezTo>
                  <a:pt x="145" y="29"/>
                  <a:pt x="145" y="29"/>
                  <a:pt x="145" y="29"/>
                </a:cubicBezTo>
                <a:cubicBezTo>
                  <a:pt x="135" y="35"/>
                  <a:pt x="135" y="35"/>
                  <a:pt x="135" y="35"/>
                </a:cubicBezTo>
                <a:cubicBezTo>
                  <a:pt x="125" y="40"/>
                  <a:pt x="125" y="40"/>
                  <a:pt x="125" y="40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22" y="73"/>
                  <a:pt x="113" y="80"/>
                  <a:pt x="104" y="89"/>
                </a:cubicBezTo>
                <a:cubicBezTo>
                  <a:pt x="103" y="89"/>
                  <a:pt x="103" y="89"/>
                  <a:pt x="103" y="89"/>
                </a:cubicBezTo>
                <a:cubicBezTo>
                  <a:pt x="80" y="76"/>
                  <a:pt x="80" y="76"/>
                  <a:pt x="80" y="76"/>
                </a:cubicBezTo>
                <a:cubicBezTo>
                  <a:pt x="72" y="84"/>
                  <a:pt x="72" y="84"/>
                  <a:pt x="72" y="84"/>
                </a:cubicBezTo>
                <a:cubicBezTo>
                  <a:pt x="64" y="92"/>
                  <a:pt x="64" y="92"/>
                  <a:pt x="64" y="92"/>
                </a:cubicBezTo>
                <a:cubicBezTo>
                  <a:pt x="79" y="115"/>
                  <a:pt x="79" y="115"/>
                  <a:pt x="79" y="115"/>
                </a:cubicBezTo>
                <a:cubicBezTo>
                  <a:pt x="71" y="125"/>
                  <a:pt x="64" y="135"/>
                  <a:pt x="58" y="145"/>
                </a:cubicBezTo>
                <a:cubicBezTo>
                  <a:pt x="47" y="143"/>
                  <a:pt x="47" y="143"/>
                  <a:pt x="47" y="143"/>
                </a:cubicBezTo>
                <a:cubicBezTo>
                  <a:pt x="47" y="143"/>
                  <a:pt x="47" y="143"/>
                  <a:pt x="47" y="143"/>
                </a:cubicBezTo>
                <a:cubicBezTo>
                  <a:pt x="31" y="140"/>
                  <a:pt x="31" y="140"/>
                  <a:pt x="31" y="140"/>
                </a:cubicBezTo>
                <a:cubicBezTo>
                  <a:pt x="26" y="150"/>
                  <a:pt x="26" y="150"/>
                  <a:pt x="26" y="150"/>
                </a:cubicBezTo>
                <a:cubicBezTo>
                  <a:pt x="21" y="160"/>
                  <a:pt x="21" y="160"/>
                  <a:pt x="21" y="160"/>
                </a:cubicBezTo>
                <a:cubicBezTo>
                  <a:pt x="42" y="177"/>
                  <a:pt x="42" y="177"/>
                  <a:pt x="42" y="177"/>
                </a:cubicBezTo>
                <a:cubicBezTo>
                  <a:pt x="37" y="189"/>
                  <a:pt x="34" y="201"/>
                  <a:pt x="31" y="213"/>
                </a:cubicBezTo>
                <a:cubicBezTo>
                  <a:pt x="4" y="215"/>
                  <a:pt x="4" y="215"/>
                  <a:pt x="4" y="215"/>
                </a:cubicBezTo>
                <a:cubicBezTo>
                  <a:pt x="2" y="226"/>
                  <a:pt x="2" y="226"/>
                  <a:pt x="2" y="226"/>
                </a:cubicBezTo>
                <a:cubicBezTo>
                  <a:pt x="0" y="237"/>
                  <a:pt x="0" y="237"/>
                  <a:pt x="0" y="237"/>
                </a:cubicBezTo>
                <a:cubicBezTo>
                  <a:pt x="25" y="248"/>
                  <a:pt x="25" y="248"/>
                  <a:pt x="25" y="248"/>
                </a:cubicBezTo>
                <a:cubicBezTo>
                  <a:pt x="24" y="260"/>
                  <a:pt x="24" y="272"/>
                  <a:pt x="25" y="285"/>
                </a:cubicBezTo>
                <a:cubicBezTo>
                  <a:pt x="0" y="295"/>
                  <a:pt x="0" y="295"/>
                  <a:pt x="0" y="295"/>
                </a:cubicBezTo>
                <a:cubicBezTo>
                  <a:pt x="2" y="306"/>
                  <a:pt x="2" y="306"/>
                  <a:pt x="2" y="306"/>
                </a:cubicBezTo>
                <a:cubicBezTo>
                  <a:pt x="3" y="317"/>
                  <a:pt x="3" y="317"/>
                  <a:pt x="3" y="317"/>
                </a:cubicBezTo>
                <a:cubicBezTo>
                  <a:pt x="30" y="320"/>
                  <a:pt x="30" y="320"/>
                  <a:pt x="30" y="320"/>
                </a:cubicBezTo>
                <a:cubicBezTo>
                  <a:pt x="33" y="332"/>
                  <a:pt x="36" y="344"/>
                  <a:pt x="41" y="356"/>
                </a:cubicBezTo>
                <a:cubicBezTo>
                  <a:pt x="20" y="372"/>
                  <a:pt x="20" y="372"/>
                  <a:pt x="20" y="372"/>
                </a:cubicBezTo>
                <a:cubicBezTo>
                  <a:pt x="24" y="383"/>
                  <a:pt x="24" y="383"/>
                  <a:pt x="24" y="383"/>
                </a:cubicBezTo>
                <a:cubicBezTo>
                  <a:pt x="29" y="393"/>
                  <a:pt x="29" y="393"/>
                  <a:pt x="29" y="393"/>
                </a:cubicBezTo>
                <a:cubicBezTo>
                  <a:pt x="56" y="387"/>
                  <a:pt x="56" y="387"/>
                  <a:pt x="56" y="387"/>
                </a:cubicBezTo>
                <a:cubicBezTo>
                  <a:pt x="62" y="398"/>
                  <a:pt x="69" y="409"/>
                  <a:pt x="77" y="418"/>
                </a:cubicBezTo>
                <a:cubicBezTo>
                  <a:pt x="61" y="441"/>
                  <a:pt x="61" y="441"/>
                  <a:pt x="61" y="441"/>
                </a:cubicBezTo>
                <a:cubicBezTo>
                  <a:pt x="69" y="449"/>
                  <a:pt x="69" y="449"/>
                  <a:pt x="69" y="449"/>
                </a:cubicBezTo>
                <a:cubicBezTo>
                  <a:pt x="77" y="458"/>
                  <a:pt x="77" y="458"/>
                  <a:pt x="77" y="458"/>
                </a:cubicBezTo>
                <a:cubicBezTo>
                  <a:pt x="100" y="444"/>
                  <a:pt x="100" y="444"/>
                  <a:pt x="100" y="444"/>
                </a:cubicBezTo>
                <a:cubicBezTo>
                  <a:pt x="110" y="453"/>
                  <a:pt x="119" y="461"/>
                  <a:pt x="129" y="468"/>
                </a:cubicBezTo>
                <a:cubicBezTo>
                  <a:pt x="121" y="494"/>
                  <a:pt x="121" y="494"/>
                  <a:pt x="121" y="494"/>
                </a:cubicBezTo>
                <a:cubicBezTo>
                  <a:pt x="131" y="500"/>
                  <a:pt x="131" y="500"/>
                  <a:pt x="131" y="500"/>
                </a:cubicBezTo>
                <a:cubicBezTo>
                  <a:pt x="141" y="505"/>
                  <a:pt x="141" y="505"/>
                  <a:pt x="141" y="505"/>
                </a:cubicBezTo>
                <a:cubicBezTo>
                  <a:pt x="160" y="486"/>
                  <a:pt x="160" y="486"/>
                  <a:pt x="160" y="486"/>
                </a:cubicBezTo>
                <a:cubicBezTo>
                  <a:pt x="171" y="491"/>
                  <a:pt x="183" y="496"/>
                  <a:pt x="194" y="500"/>
                </a:cubicBezTo>
                <a:cubicBezTo>
                  <a:pt x="194" y="527"/>
                  <a:pt x="194" y="527"/>
                  <a:pt x="194" y="527"/>
                </a:cubicBezTo>
                <a:cubicBezTo>
                  <a:pt x="205" y="529"/>
                  <a:pt x="205" y="529"/>
                  <a:pt x="205" y="529"/>
                </a:cubicBezTo>
                <a:cubicBezTo>
                  <a:pt x="216" y="532"/>
                  <a:pt x="216" y="532"/>
                  <a:pt x="216" y="532"/>
                </a:cubicBezTo>
                <a:cubicBezTo>
                  <a:pt x="229" y="508"/>
                  <a:pt x="229" y="508"/>
                  <a:pt x="229" y="508"/>
                </a:cubicBezTo>
                <a:cubicBezTo>
                  <a:pt x="241" y="510"/>
                  <a:pt x="253" y="511"/>
                  <a:pt x="266" y="511"/>
                </a:cubicBezTo>
                <a:cubicBezTo>
                  <a:pt x="274" y="537"/>
                  <a:pt x="274" y="537"/>
                  <a:pt x="274" y="537"/>
                </a:cubicBezTo>
                <a:cubicBezTo>
                  <a:pt x="285" y="536"/>
                  <a:pt x="285" y="536"/>
                  <a:pt x="285" y="536"/>
                </a:cubicBezTo>
                <a:cubicBezTo>
                  <a:pt x="297" y="535"/>
                  <a:pt x="297" y="535"/>
                  <a:pt x="297" y="535"/>
                </a:cubicBezTo>
                <a:cubicBezTo>
                  <a:pt x="301" y="509"/>
                  <a:pt x="301" y="509"/>
                  <a:pt x="301" y="509"/>
                </a:cubicBezTo>
                <a:cubicBezTo>
                  <a:pt x="313" y="507"/>
                  <a:pt x="326" y="504"/>
                  <a:pt x="338" y="501"/>
                </a:cubicBezTo>
                <a:cubicBezTo>
                  <a:pt x="353" y="523"/>
                  <a:pt x="353" y="523"/>
                  <a:pt x="353" y="523"/>
                </a:cubicBezTo>
                <a:cubicBezTo>
                  <a:pt x="363" y="519"/>
                  <a:pt x="363" y="519"/>
                  <a:pt x="363" y="519"/>
                </a:cubicBezTo>
                <a:cubicBezTo>
                  <a:pt x="374" y="515"/>
                  <a:pt x="374" y="515"/>
                  <a:pt x="374" y="515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1" y="488"/>
                  <a:pt x="371" y="488"/>
                  <a:pt x="371" y="488"/>
                </a:cubicBezTo>
                <a:cubicBezTo>
                  <a:pt x="382" y="483"/>
                  <a:pt x="393" y="477"/>
                  <a:pt x="403" y="470"/>
                </a:cubicBezTo>
                <a:cubicBezTo>
                  <a:pt x="424" y="486"/>
                  <a:pt x="424" y="486"/>
                  <a:pt x="424" y="486"/>
                </a:cubicBezTo>
                <a:cubicBezTo>
                  <a:pt x="433" y="479"/>
                  <a:pt x="433" y="479"/>
                  <a:pt x="433" y="479"/>
                </a:cubicBezTo>
                <a:cubicBezTo>
                  <a:pt x="442" y="472"/>
                  <a:pt x="442" y="472"/>
                  <a:pt x="442" y="472"/>
                </a:cubicBezTo>
                <a:cubicBezTo>
                  <a:pt x="431" y="448"/>
                  <a:pt x="431" y="448"/>
                  <a:pt x="431" y="448"/>
                </a:cubicBezTo>
                <a:cubicBezTo>
                  <a:pt x="431" y="448"/>
                  <a:pt x="431" y="448"/>
                  <a:pt x="431" y="447"/>
                </a:cubicBezTo>
                <a:cubicBezTo>
                  <a:pt x="440" y="439"/>
                  <a:pt x="449" y="430"/>
                  <a:pt x="456" y="421"/>
                </a:cubicBezTo>
                <a:cubicBezTo>
                  <a:pt x="481" y="431"/>
                  <a:pt x="481" y="431"/>
                  <a:pt x="481" y="431"/>
                </a:cubicBezTo>
                <a:cubicBezTo>
                  <a:pt x="488" y="421"/>
                  <a:pt x="488" y="421"/>
                  <a:pt x="488" y="421"/>
                </a:cubicBezTo>
                <a:cubicBezTo>
                  <a:pt x="494" y="412"/>
                  <a:pt x="494" y="412"/>
                  <a:pt x="494" y="412"/>
                </a:cubicBezTo>
                <a:cubicBezTo>
                  <a:pt x="476" y="392"/>
                  <a:pt x="476" y="392"/>
                  <a:pt x="476" y="392"/>
                </a:cubicBezTo>
                <a:cubicBezTo>
                  <a:pt x="483" y="381"/>
                  <a:pt x="488" y="370"/>
                  <a:pt x="493" y="358"/>
                </a:cubicBezTo>
                <a:cubicBezTo>
                  <a:pt x="520" y="360"/>
                  <a:pt x="520" y="360"/>
                  <a:pt x="520" y="360"/>
                </a:cubicBezTo>
                <a:cubicBezTo>
                  <a:pt x="523" y="349"/>
                  <a:pt x="523" y="349"/>
                  <a:pt x="523" y="349"/>
                </a:cubicBezTo>
                <a:cubicBezTo>
                  <a:pt x="527" y="339"/>
                  <a:pt x="527" y="339"/>
                  <a:pt x="527" y="339"/>
                </a:cubicBezTo>
                <a:cubicBezTo>
                  <a:pt x="503" y="325"/>
                  <a:pt x="503" y="325"/>
                  <a:pt x="503" y="325"/>
                </a:cubicBezTo>
                <a:cubicBezTo>
                  <a:pt x="506" y="312"/>
                  <a:pt x="508" y="300"/>
                  <a:pt x="509" y="288"/>
                </a:cubicBezTo>
                <a:cubicBezTo>
                  <a:pt x="536" y="282"/>
                  <a:pt x="536" y="282"/>
                  <a:pt x="536" y="282"/>
                </a:cubicBezTo>
                <a:cubicBezTo>
                  <a:pt x="536" y="270"/>
                  <a:pt x="536" y="270"/>
                  <a:pt x="536" y="270"/>
                </a:cubicBezTo>
                <a:cubicBezTo>
                  <a:pt x="536" y="259"/>
                  <a:pt x="536" y="259"/>
                  <a:pt x="536" y="259"/>
                </a:cubicBezTo>
                <a:lnTo>
                  <a:pt x="510" y="252"/>
                </a:lnTo>
                <a:close/>
                <a:moveTo>
                  <a:pt x="422" y="127"/>
                </a:moveTo>
                <a:cubicBezTo>
                  <a:pt x="450" y="157"/>
                  <a:pt x="467" y="193"/>
                  <a:pt x="474" y="231"/>
                </a:cubicBezTo>
                <a:cubicBezTo>
                  <a:pt x="442" y="224"/>
                  <a:pt x="442" y="224"/>
                  <a:pt x="442" y="224"/>
                </a:cubicBezTo>
                <a:cubicBezTo>
                  <a:pt x="427" y="166"/>
                  <a:pt x="383" y="119"/>
                  <a:pt x="327" y="99"/>
                </a:cubicBezTo>
                <a:cubicBezTo>
                  <a:pt x="323" y="66"/>
                  <a:pt x="323" y="66"/>
                  <a:pt x="323" y="66"/>
                </a:cubicBezTo>
                <a:cubicBezTo>
                  <a:pt x="360" y="76"/>
                  <a:pt x="395" y="96"/>
                  <a:pt x="422" y="127"/>
                </a:cubicBezTo>
                <a:close/>
                <a:moveTo>
                  <a:pt x="125" y="113"/>
                </a:moveTo>
                <a:cubicBezTo>
                  <a:pt x="173" y="69"/>
                  <a:pt x="236" y="52"/>
                  <a:pt x="296" y="60"/>
                </a:cubicBezTo>
                <a:cubicBezTo>
                  <a:pt x="279" y="89"/>
                  <a:pt x="279" y="89"/>
                  <a:pt x="279" y="89"/>
                </a:cubicBezTo>
                <a:cubicBezTo>
                  <a:pt x="275" y="89"/>
                  <a:pt x="272" y="89"/>
                  <a:pt x="268" y="89"/>
                </a:cubicBezTo>
                <a:cubicBezTo>
                  <a:pt x="210" y="89"/>
                  <a:pt x="158" y="116"/>
                  <a:pt x="125" y="159"/>
                </a:cubicBezTo>
                <a:cubicBezTo>
                  <a:pt x="91" y="152"/>
                  <a:pt x="91" y="152"/>
                  <a:pt x="91" y="152"/>
                </a:cubicBezTo>
                <a:cubicBezTo>
                  <a:pt x="100" y="138"/>
                  <a:pt x="112" y="125"/>
                  <a:pt x="125" y="113"/>
                </a:cubicBezTo>
                <a:close/>
                <a:moveTo>
                  <a:pt x="77" y="176"/>
                </a:moveTo>
                <a:cubicBezTo>
                  <a:pt x="101" y="202"/>
                  <a:pt x="101" y="202"/>
                  <a:pt x="101" y="202"/>
                </a:cubicBezTo>
                <a:cubicBezTo>
                  <a:pt x="93" y="223"/>
                  <a:pt x="88" y="245"/>
                  <a:pt x="88" y="268"/>
                </a:cubicBezTo>
                <a:cubicBezTo>
                  <a:pt x="88" y="306"/>
                  <a:pt x="100" y="341"/>
                  <a:pt x="120" y="369"/>
                </a:cubicBezTo>
                <a:cubicBezTo>
                  <a:pt x="102" y="400"/>
                  <a:pt x="102" y="400"/>
                  <a:pt x="102" y="400"/>
                </a:cubicBezTo>
                <a:cubicBezTo>
                  <a:pt x="50" y="335"/>
                  <a:pt x="42" y="248"/>
                  <a:pt x="77" y="176"/>
                </a:cubicBezTo>
                <a:close/>
                <a:moveTo>
                  <a:pt x="121" y="421"/>
                </a:moveTo>
                <a:cubicBezTo>
                  <a:pt x="153" y="406"/>
                  <a:pt x="153" y="406"/>
                  <a:pt x="153" y="406"/>
                </a:cubicBezTo>
                <a:cubicBezTo>
                  <a:pt x="184" y="432"/>
                  <a:pt x="224" y="448"/>
                  <a:pt x="268" y="448"/>
                </a:cubicBezTo>
                <a:cubicBezTo>
                  <a:pt x="285" y="448"/>
                  <a:pt x="302" y="445"/>
                  <a:pt x="318" y="440"/>
                </a:cubicBezTo>
                <a:cubicBezTo>
                  <a:pt x="342" y="466"/>
                  <a:pt x="342" y="466"/>
                  <a:pt x="342" y="466"/>
                </a:cubicBezTo>
                <a:cubicBezTo>
                  <a:pt x="267" y="494"/>
                  <a:pt x="181" y="478"/>
                  <a:pt x="121" y="421"/>
                </a:cubicBezTo>
                <a:close/>
                <a:moveTo>
                  <a:pt x="409" y="424"/>
                </a:moveTo>
                <a:cubicBezTo>
                  <a:pt x="396" y="436"/>
                  <a:pt x="382" y="446"/>
                  <a:pt x="367" y="454"/>
                </a:cubicBezTo>
                <a:cubicBezTo>
                  <a:pt x="363" y="420"/>
                  <a:pt x="363" y="420"/>
                  <a:pt x="363" y="420"/>
                </a:cubicBezTo>
                <a:cubicBezTo>
                  <a:pt x="413" y="389"/>
                  <a:pt x="446" y="335"/>
                  <a:pt x="447" y="273"/>
                </a:cubicBezTo>
                <a:cubicBezTo>
                  <a:pt x="477" y="259"/>
                  <a:pt x="477" y="259"/>
                  <a:pt x="477" y="259"/>
                </a:cubicBezTo>
                <a:cubicBezTo>
                  <a:pt x="480" y="319"/>
                  <a:pt x="457" y="380"/>
                  <a:pt x="409" y="42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320519" y="4830946"/>
            <a:ext cx="1007382" cy="1275652"/>
            <a:chOff x="3660259" y="2415473"/>
            <a:chExt cx="503691" cy="637826"/>
          </a:xfrm>
        </p:grpSpPr>
        <p:sp>
          <p:nvSpPr>
            <p:cNvPr id="18" name="Oval 40"/>
            <p:cNvSpPr>
              <a:spLocks noChangeArrowheads="1"/>
            </p:cNvSpPr>
            <p:nvPr/>
          </p:nvSpPr>
          <p:spPr bwMode="auto">
            <a:xfrm>
              <a:off x="3706796" y="2415473"/>
              <a:ext cx="339444" cy="3421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9" name="Freeform 41"/>
            <p:cNvSpPr>
              <a:spLocks/>
            </p:cNvSpPr>
            <p:nvPr/>
          </p:nvSpPr>
          <p:spPr bwMode="auto">
            <a:xfrm>
              <a:off x="3660259" y="2760392"/>
              <a:ext cx="395562" cy="292907"/>
            </a:xfrm>
            <a:custGeom>
              <a:avLst/>
              <a:gdLst>
                <a:gd name="T0" fmla="*/ 86 w 120"/>
                <a:gd name="T1" fmla="*/ 50 h 89"/>
                <a:gd name="T2" fmla="*/ 114 w 120"/>
                <a:gd name="T3" fmla="*/ 13 h 89"/>
                <a:gd name="T4" fmla="*/ 106 w 120"/>
                <a:gd name="T5" fmla="*/ 0 h 89"/>
                <a:gd name="T6" fmla="*/ 65 w 120"/>
                <a:gd name="T7" fmla="*/ 12 h 89"/>
                <a:gd name="T8" fmla="*/ 24 w 120"/>
                <a:gd name="T9" fmla="*/ 0 h 89"/>
                <a:gd name="T10" fmla="*/ 0 w 120"/>
                <a:gd name="T11" fmla="*/ 89 h 89"/>
                <a:gd name="T12" fmla="*/ 120 w 120"/>
                <a:gd name="T13" fmla="*/ 89 h 89"/>
                <a:gd name="T14" fmla="*/ 86 w 120"/>
                <a:gd name="T15" fmla="*/ 5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89">
                  <a:moveTo>
                    <a:pt x="86" y="50"/>
                  </a:moveTo>
                  <a:cubicBezTo>
                    <a:pt x="86" y="33"/>
                    <a:pt x="98" y="18"/>
                    <a:pt x="114" y="13"/>
                  </a:cubicBezTo>
                  <a:cubicBezTo>
                    <a:pt x="112" y="8"/>
                    <a:pt x="109" y="4"/>
                    <a:pt x="106" y="0"/>
                  </a:cubicBezTo>
                  <a:cubicBezTo>
                    <a:pt x="95" y="8"/>
                    <a:pt x="80" y="12"/>
                    <a:pt x="65" y="12"/>
                  </a:cubicBezTo>
                  <a:cubicBezTo>
                    <a:pt x="50" y="12"/>
                    <a:pt x="36" y="8"/>
                    <a:pt x="24" y="0"/>
                  </a:cubicBezTo>
                  <a:cubicBezTo>
                    <a:pt x="10" y="21"/>
                    <a:pt x="1" y="53"/>
                    <a:pt x="0" y="89"/>
                  </a:cubicBezTo>
                  <a:cubicBezTo>
                    <a:pt x="120" y="89"/>
                    <a:pt x="120" y="89"/>
                    <a:pt x="120" y="89"/>
                  </a:cubicBezTo>
                  <a:cubicBezTo>
                    <a:pt x="101" y="86"/>
                    <a:pt x="86" y="70"/>
                    <a:pt x="86" y="5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1" name="Freeform 42"/>
            <p:cNvSpPr>
              <a:spLocks noEditPoints="1"/>
            </p:cNvSpPr>
            <p:nvPr/>
          </p:nvSpPr>
          <p:spPr bwMode="auto">
            <a:xfrm>
              <a:off x="3980541" y="2832935"/>
              <a:ext cx="183409" cy="184778"/>
            </a:xfrm>
            <a:custGeom>
              <a:avLst/>
              <a:gdLst>
                <a:gd name="T0" fmla="*/ 28 w 56"/>
                <a:gd name="T1" fmla="*/ 0 h 56"/>
                <a:gd name="T2" fmla="*/ 21 w 56"/>
                <a:gd name="T3" fmla="*/ 1 h 56"/>
                <a:gd name="T4" fmla="*/ 0 w 56"/>
                <a:gd name="T5" fmla="*/ 28 h 56"/>
                <a:gd name="T6" fmla="*/ 28 w 56"/>
                <a:gd name="T7" fmla="*/ 56 h 56"/>
                <a:gd name="T8" fmla="*/ 33 w 56"/>
                <a:gd name="T9" fmla="*/ 56 h 56"/>
                <a:gd name="T10" fmla="*/ 56 w 56"/>
                <a:gd name="T11" fmla="*/ 28 h 56"/>
                <a:gd name="T12" fmla="*/ 28 w 56"/>
                <a:gd name="T13" fmla="*/ 0 h 56"/>
                <a:gd name="T14" fmla="*/ 47 w 56"/>
                <a:gd name="T15" fmla="*/ 34 h 56"/>
                <a:gd name="T16" fmla="*/ 33 w 56"/>
                <a:gd name="T17" fmla="*/ 34 h 56"/>
                <a:gd name="T18" fmla="*/ 33 w 56"/>
                <a:gd name="T19" fmla="*/ 48 h 56"/>
                <a:gd name="T20" fmla="*/ 33 w 56"/>
                <a:gd name="T21" fmla="*/ 48 h 56"/>
                <a:gd name="T22" fmla="*/ 22 w 56"/>
                <a:gd name="T23" fmla="*/ 48 h 56"/>
                <a:gd name="T24" fmla="*/ 22 w 56"/>
                <a:gd name="T25" fmla="*/ 34 h 56"/>
                <a:gd name="T26" fmla="*/ 8 w 56"/>
                <a:gd name="T27" fmla="*/ 34 h 56"/>
                <a:gd name="T28" fmla="*/ 8 w 56"/>
                <a:gd name="T29" fmla="*/ 23 h 56"/>
                <a:gd name="T30" fmla="*/ 22 w 56"/>
                <a:gd name="T31" fmla="*/ 23 h 56"/>
                <a:gd name="T32" fmla="*/ 22 w 56"/>
                <a:gd name="T33" fmla="*/ 9 h 56"/>
                <a:gd name="T34" fmla="*/ 24 w 56"/>
                <a:gd name="T35" fmla="*/ 9 h 56"/>
                <a:gd name="T36" fmla="*/ 33 w 56"/>
                <a:gd name="T37" fmla="*/ 9 h 56"/>
                <a:gd name="T38" fmla="*/ 33 w 56"/>
                <a:gd name="T39" fmla="*/ 23 h 56"/>
                <a:gd name="T40" fmla="*/ 47 w 56"/>
                <a:gd name="T41" fmla="*/ 23 h 56"/>
                <a:gd name="T42" fmla="*/ 47 w 56"/>
                <a:gd name="T4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26" y="0"/>
                    <a:pt x="23" y="0"/>
                    <a:pt x="21" y="1"/>
                  </a:cubicBezTo>
                  <a:cubicBezTo>
                    <a:pt x="9" y="4"/>
                    <a:pt x="0" y="15"/>
                    <a:pt x="0" y="28"/>
                  </a:cubicBezTo>
                  <a:cubicBezTo>
                    <a:pt x="0" y="44"/>
                    <a:pt x="12" y="56"/>
                    <a:pt x="28" y="56"/>
                  </a:cubicBezTo>
                  <a:cubicBezTo>
                    <a:pt x="30" y="56"/>
                    <a:pt x="31" y="56"/>
                    <a:pt x="33" y="56"/>
                  </a:cubicBezTo>
                  <a:cubicBezTo>
                    <a:pt x="46" y="53"/>
                    <a:pt x="56" y="42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  <a:moveTo>
                    <a:pt x="4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47" y="23"/>
                    <a:pt x="47" y="23"/>
                    <a:pt x="47" y="23"/>
                  </a:cubicBezTo>
                  <a:lnTo>
                    <a:pt x="47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50" name="Oval 49"/>
          <p:cNvSpPr/>
          <p:nvPr/>
        </p:nvSpPr>
        <p:spPr>
          <a:xfrm>
            <a:off x="15171682" y="3597921"/>
            <a:ext cx="3770360" cy="37703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2" name="Freeform 29"/>
          <p:cNvSpPr>
            <a:spLocks noEditPoints="1"/>
          </p:cNvSpPr>
          <p:nvPr/>
        </p:nvSpPr>
        <p:spPr bwMode="auto">
          <a:xfrm>
            <a:off x="14800496" y="3220893"/>
            <a:ext cx="4523420" cy="4535230"/>
          </a:xfrm>
          <a:custGeom>
            <a:avLst/>
            <a:gdLst>
              <a:gd name="T0" fmla="*/ 508 w 536"/>
              <a:gd name="T1" fmla="*/ 238 h 537"/>
              <a:gd name="T2" fmla="*/ 524 w 536"/>
              <a:gd name="T3" fmla="*/ 191 h 537"/>
              <a:gd name="T4" fmla="*/ 478 w 536"/>
              <a:gd name="T5" fmla="*/ 148 h 537"/>
              <a:gd name="T6" fmla="*/ 484 w 536"/>
              <a:gd name="T7" fmla="*/ 109 h 537"/>
              <a:gd name="T8" fmla="*/ 434 w 536"/>
              <a:gd name="T9" fmla="*/ 91 h 537"/>
              <a:gd name="T10" fmla="*/ 428 w 536"/>
              <a:gd name="T11" fmla="*/ 52 h 537"/>
              <a:gd name="T12" fmla="*/ 378 w 536"/>
              <a:gd name="T13" fmla="*/ 23 h 537"/>
              <a:gd name="T14" fmla="*/ 341 w 536"/>
              <a:gd name="T15" fmla="*/ 37 h 537"/>
              <a:gd name="T16" fmla="*/ 305 w 536"/>
              <a:gd name="T17" fmla="*/ 28 h 537"/>
              <a:gd name="T18" fmla="*/ 278 w 536"/>
              <a:gd name="T19" fmla="*/ 0 h 537"/>
              <a:gd name="T20" fmla="*/ 221 w 536"/>
              <a:gd name="T21" fmla="*/ 4 h 537"/>
              <a:gd name="T22" fmla="*/ 198 w 536"/>
              <a:gd name="T23" fmla="*/ 35 h 537"/>
              <a:gd name="T24" fmla="*/ 135 w 536"/>
              <a:gd name="T25" fmla="*/ 35 h 537"/>
              <a:gd name="T26" fmla="*/ 104 w 536"/>
              <a:gd name="T27" fmla="*/ 89 h 537"/>
              <a:gd name="T28" fmla="*/ 72 w 536"/>
              <a:gd name="T29" fmla="*/ 84 h 537"/>
              <a:gd name="T30" fmla="*/ 58 w 536"/>
              <a:gd name="T31" fmla="*/ 145 h 537"/>
              <a:gd name="T32" fmla="*/ 31 w 536"/>
              <a:gd name="T33" fmla="*/ 140 h 537"/>
              <a:gd name="T34" fmla="*/ 42 w 536"/>
              <a:gd name="T35" fmla="*/ 177 h 537"/>
              <a:gd name="T36" fmla="*/ 2 w 536"/>
              <a:gd name="T37" fmla="*/ 226 h 537"/>
              <a:gd name="T38" fmla="*/ 25 w 536"/>
              <a:gd name="T39" fmla="*/ 285 h 537"/>
              <a:gd name="T40" fmla="*/ 3 w 536"/>
              <a:gd name="T41" fmla="*/ 317 h 537"/>
              <a:gd name="T42" fmla="*/ 20 w 536"/>
              <a:gd name="T43" fmla="*/ 372 h 537"/>
              <a:gd name="T44" fmla="*/ 56 w 536"/>
              <a:gd name="T45" fmla="*/ 387 h 537"/>
              <a:gd name="T46" fmla="*/ 69 w 536"/>
              <a:gd name="T47" fmla="*/ 449 h 537"/>
              <a:gd name="T48" fmla="*/ 129 w 536"/>
              <a:gd name="T49" fmla="*/ 468 h 537"/>
              <a:gd name="T50" fmla="*/ 141 w 536"/>
              <a:gd name="T51" fmla="*/ 505 h 537"/>
              <a:gd name="T52" fmla="*/ 194 w 536"/>
              <a:gd name="T53" fmla="*/ 527 h 537"/>
              <a:gd name="T54" fmla="*/ 229 w 536"/>
              <a:gd name="T55" fmla="*/ 508 h 537"/>
              <a:gd name="T56" fmla="*/ 285 w 536"/>
              <a:gd name="T57" fmla="*/ 536 h 537"/>
              <a:gd name="T58" fmla="*/ 338 w 536"/>
              <a:gd name="T59" fmla="*/ 501 h 537"/>
              <a:gd name="T60" fmla="*/ 374 w 536"/>
              <a:gd name="T61" fmla="*/ 515 h 537"/>
              <a:gd name="T62" fmla="*/ 371 w 536"/>
              <a:gd name="T63" fmla="*/ 488 h 537"/>
              <a:gd name="T64" fmla="*/ 433 w 536"/>
              <a:gd name="T65" fmla="*/ 479 h 537"/>
              <a:gd name="T66" fmla="*/ 431 w 536"/>
              <a:gd name="T67" fmla="*/ 447 h 537"/>
              <a:gd name="T68" fmla="*/ 488 w 536"/>
              <a:gd name="T69" fmla="*/ 421 h 537"/>
              <a:gd name="T70" fmla="*/ 493 w 536"/>
              <a:gd name="T71" fmla="*/ 358 h 537"/>
              <a:gd name="T72" fmla="*/ 527 w 536"/>
              <a:gd name="T73" fmla="*/ 339 h 537"/>
              <a:gd name="T74" fmla="*/ 536 w 536"/>
              <a:gd name="T75" fmla="*/ 282 h 537"/>
              <a:gd name="T76" fmla="*/ 510 w 536"/>
              <a:gd name="T77" fmla="*/ 252 h 537"/>
              <a:gd name="T78" fmla="*/ 442 w 536"/>
              <a:gd name="T79" fmla="*/ 224 h 537"/>
              <a:gd name="T80" fmla="*/ 422 w 536"/>
              <a:gd name="T81" fmla="*/ 127 h 537"/>
              <a:gd name="T82" fmla="*/ 279 w 536"/>
              <a:gd name="T83" fmla="*/ 89 h 537"/>
              <a:gd name="T84" fmla="*/ 91 w 536"/>
              <a:gd name="T85" fmla="*/ 152 h 537"/>
              <a:gd name="T86" fmla="*/ 101 w 536"/>
              <a:gd name="T87" fmla="*/ 202 h 537"/>
              <a:gd name="T88" fmla="*/ 102 w 536"/>
              <a:gd name="T89" fmla="*/ 400 h 537"/>
              <a:gd name="T90" fmla="*/ 153 w 536"/>
              <a:gd name="T91" fmla="*/ 406 h 537"/>
              <a:gd name="T92" fmla="*/ 342 w 536"/>
              <a:gd name="T93" fmla="*/ 466 h 537"/>
              <a:gd name="T94" fmla="*/ 367 w 536"/>
              <a:gd name="T95" fmla="*/ 454 h 537"/>
              <a:gd name="T96" fmla="*/ 477 w 536"/>
              <a:gd name="T97" fmla="*/ 259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6" h="537">
                <a:moveTo>
                  <a:pt x="510" y="252"/>
                </a:moveTo>
                <a:cubicBezTo>
                  <a:pt x="509" y="250"/>
                  <a:pt x="509" y="247"/>
                  <a:pt x="509" y="245"/>
                </a:cubicBezTo>
                <a:cubicBezTo>
                  <a:pt x="508" y="238"/>
                  <a:pt x="508" y="238"/>
                  <a:pt x="508" y="238"/>
                </a:cubicBezTo>
                <a:cubicBezTo>
                  <a:pt x="507" y="230"/>
                  <a:pt x="506" y="223"/>
                  <a:pt x="504" y="216"/>
                </a:cubicBezTo>
                <a:cubicBezTo>
                  <a:pt x="528" y="202"/>
                  <a:pt x="528" y="202"/>
                  <a:pt x="528" y="202"/>
                </a:cubicBezTo>
                <a:cubicBezTo>
                  <a:pt x="524" y="191"/>
                  <a:pt x="524" y="191"/>
                  <a:pt x="524" y="191"/>
                </a:cubicBezTo>
                <a:cubicBezTo>
                  <a:pt x="521" y="180"/>
                  <a:pt x="521" y="180"/>
                  <a:pt x="521" y="180"/>
                </a:cubicBezTo>
                <a:cubicBezTo>
                  <a:pt x="494" y="182"/>
                  <a:pt x="494" y="182"/>
                  <a:pt x="494" y="182"/>
                </a:cubicBezTo>
                <a:cubicBezTo>
                  <a:pt x="490" y="170"/>
                  <a:pt x="485" y="159"/>
                  <a:pt x="478" y="148"/>
                </a:cubicBezTo>
                <a:cubicBezTo>
                  <a:pt x="497" y="128"/>
                  <a:pt x="497" y="128"/>
                  <a:pt x="497" y="128"/>
                </a:cubicBezTo>
                <a:cubicBezTo>
                  <a:pt x="490" y="119"/>
                  <a:pt x="490" y="119"/>
                  <a:pt x="490" y="119"/>
                </a:cubicBezTo>
                <a:cubicBezTo>
                  <a:pt x="484" y="109"/>
                  <a:pt x="484" y="109"/>
                  <a:pt x="484" y="109"/>
                </a:cubicBezTo>
                <a:cubicBezTo>
                  <a:pt x="459" y="119"/>
                  <a:pt x="459" y="119"/>
                  <a:pt x="459" y="119"/>
                </a:cubicBezTo>
                <a:cubicBezTo>
                  <a:pt x="455" y="114"/>
                  <a:pt x="451" y="109"/>
                  <a:pt x="447" y="104"/>
                </a:cubicBezTo>
                <a:cubicBezTo>
                  <a:pt x="442" y="100"/>
                  <a:pt x="438" y="95"/>
                  <a:pt x="434" y="91"/>
                </a:cubicBezTo>
                <a:cubicBezTo>
                  <a:pt x="445" y="67"/>
                  <a:pt x="445" y="67"/>
                  <a:pt x="445" y="67"/>
                </a:cubicBezTo>
                <a:cubicBezTo>
                  <a:pt x="436" y="60"/>
                  <a:pt x="436" y="60"/>
                  <a:pt x="436" y="60"/>
                </a:cubicBezTo>
                <a:cubicBezTo>
                  <a:pt x="428" y="52"/>
                  <a:pt x="428" y="52"/>
                  <a:pt x="428" y="52"/>
                </a:cubicBezTo>
                <a:cubicBezTo>
                  <a:pt x="406" y="69"/>
                  <a:pt x="406" y="69"/>
                  <a:pt x="406" y="69"/>
                </a:cubicBezTo>
                <a:cubicBezTo>
                  <a:pt x="396" y="62"/>
                  <a:pt x="385" y="55"/>
                  <a:pt x="374" y="50"/>
                </a:cubicBezTo>
                <a:cubicBezTo>
                  <a:pt x="378" y="23"/>
                  <a:pt x="378" y="23"/>
                  <a:pt x="378" y="23"/>
                </a:cubicBezTo>
                <a:cubicBezTo>
                  <a:pt x="367" y="19"/>
                  <a:pt x="367" y="19"/>
                  <a:pt x="367" y="19"/>
                </a:cubicBezTo>
                <a:cubicBezTo>
                  <a:pt x="357" y="15"/>
                  <a:pt x="357" y="15"/>
                  <a:pt x="357" y="15"/>
                </a:cubicBezTo>
                <a:cubicBezTo>
                  <a:pt x="341" y="37"/>
                  <a:pt x="341" y="37"/>
                  <a:pt x="341" y="37"/>
                </a:cubicBezTo>
                <a:cubicBezTo>
                  <a:pt x="334" y="35"/>
                  <a:pt x="327" y="33"/>
                  <a:pt x="319" y="31"/>
                </a:cubicBezTo>
                <a:cubicBezTo>
                  <a:pt x="313" y="30"/>
                  <a:pt x="313" y="30"/>
                  <a:pt x="313" y="30"/>
                </a:cubicBezTo>
                <a:cubicBezTo>
                  <a:pt x="310" y="29"/>
                  <a:pt x="308" y="29"/>
                  <a:pt x="305" y="28"/>
                </a:cubicBezTo>
                <a:cubicBezTo>
                  <a:pt x="301" y="2"/>
                  <a:pt x="301" y="2"/>
                  <a:pt x="301" y="2"/>
                </a:cubicBezTo>
                <a:cubicBezTo>
                  <a:pt x="290" y="1"/>
                  <a:pt x="290" y="1"/>
                  <a:pt x="290" y="1"/>
                </a:cubicBezTo>
                <a:cubicBezTo>
                  <a:pt x="278" y="0"/>
                  <a:pt x="278" y="0"/>
                  <a:pt x="278" y="0"/>
                </a:cubicBezTo>
                <a:cubicBezTo>
                  <a:pt x="270" y="25"/>
                  <a:pt x="270" y="25"/>
                  <a:pt x="270" y="25"/>
                </a:cubicBezTo>
                <a:cubicBezTo>
                  <a:pt x="257" y="25"/>
                  <a:pt x="245" y="26"/>
                  <a:pt x="233" y="28"/>
                </a:cubicBezTo>
                <a:cubicBezTo>
                  <a:pt x="221" y="4"/>
                  <a:pt x="221" y="4"/>
                  <a:pt x="221" y="4"/>
                </a:cubicBezTo>
                <a:cubicBezTo>
                  <a:pt x="210" y="6"/>
                  <a:pt x="210" y="6"/>
                  <a:pt x="210" y="6"/>
                </a:cubicBezTo>
                <a:cubicBezTo>
                  <a:pt x="199" y="8"/>
                  <a:pt x="199" y="8"/>
                  <a:pt x="199" y="8"/>
                </a:cubicBezTo>
                <a:cubicBezTo>
                  <a:pt x="198" y="35"/>
                  <a:pt x="198" y="35"/>
                  <a:pt x="198" y="35"/>
                </a:cubicBezTo>
                <a:cubicBezTo>
                  <a:pt x="186" y="39"/>
                  <a:pt x="175" y="43"/>
                  <a:pt x="163" y="49"/>
                </a:cubicBezTo>
                <a:cubicBezTo>
                  <a:pt x="145" y="29"/>
                  <a:pt x="145" y="29"/>
                  <a:pt x="145" y="29"/>
                </a:cubicBezTo>
                <a:cubicBezTo>
                  <a:pt x="135" y="35"/>
                  <a:pt x="135" y="35"/>
                  <a:pt x="135" y="35"/>
                </a:cubicBezTo>
                <a:cubicBezTo>
                  <a:pt x="125" y="40"/>
                  <a:pt x="125" y="40"/>
                  <a:pt x="125" y="40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22" y="73"/>
                  <a:pt x="113" y="80"/>
                  <a:pt x="104" y="89"/>
                </a:cubicBezTo>
                <a:cubicBezTo>
                  <a:pt x="103" y="89"/>
                  <a:pt x="103" y="89"/>
                  <a:pt x="103" y="89"/>
                </a:cubicBezTo>
                <a:cubicBezTo>
                  <a:pt x="80" y="76"/>
                  <a:pt x="80" y="76"/>
                  <a:pt x="80" y="76"/>
                </a:cubicBezTo>
                <a:cubicBezTo>
                  <a:pt x="72" y="84"/>
                  <a:pt x="72" y="84"/>
                  <a:pt x="72" y="84"/>
                </a:cubicBezTo>
                <a:cubicBezTo>
                  <a:pt x="64" y="92"/>
                  <a:pt x="64" y="92"/>
                  <a:pt x="64" y="92"/>
                </a:cubicBezTo>
                <a:cubicBezTo>
                  <a:pt x="79" y="115"/>
                  <a:pt x="79" y="115"/>
                  <a:pt x="79" y="115"/>
                </a:cubicBezTo>
                <a:cubicBezTo>
                  <a:pt x="71" y="125"/>
                  <a:pt x="64" y="135"/>
                  <a:pt x="58" y="145"/>
                </a:cubicBezTo>
                <a:cubicBezTo>
                  <a:pt x="47" y="143"/>
                  <a:pt x="47" y="143"/>
                  <a:pt x="47" y="143"/>
                </a:cubicBezTo>
                <a:cubicBezTo>
                  <a:pt x="47" y="143"/>
                  <a:pt x="47" y="143"/>
                  <a:pt x="47" y="143"/>
                </a:cubicBezTo>
                <a:cubicBezTo>
                  <a:pt x="31" y="140"/>
                  <a:pt x="31" y="140"/>
                  <a:pt x="31" y="140"/>
                </a:cubicBezTo>
                <a:cubicBezTo>
                  <a:pt x="26" y="150"/>
                  <a:pt x="26" y="150"/>
                  <a:pt x="26" y="150"/>
                </a:cubicBezTo>
                <a:cubicBezTo>
                  <a:pt x="21" y="160"/>
                  <a:pt x="21" y="160"/>
                  <a:pt x="21" y="160"/>
                </a:cubicBezTo>
                <a:cubicBezTo>
                  <a:pt x="42" y="177"/>
                  <a:pt x="42" y="177"/>
                  <a:pt x="42" y="177"/>
                </a:cubicBezTo>
                <a:cubicBezTo>
                  <a:pt x="37" y="189"/>
                  <a:pt x="34" y="201"/>
                  <a:pt x="31" y="213"/>
                </a:cubicBezTo>
                <a:cubicBezTo>
                  <a:pt x="4" y="215"/>
                  <a:pt x="4" y="215"/>
                  <a:pt x="4" y="215"/>
                </a:cubicBezTo>
                <a:cubicBezTo>
                  <a:pt x="2" y="226"/>
                  <a:pt x="2" y="226"/>
                  <a:pt x="2" y="226"/>
                </a:cubicBezTo>
                <a:cubicBezTo>
                  <a:pt x="0" y="237"/>
                  <a:pt x="0" y="237"/>
                  <a:pt x="0" y="237"/>
                </a:cubicBezTo>
                <a:cubicBezTo>
                  <a:pt x="25" y="248"/>
                  <a:pt x="25" y="248"/>
                  <a:pt x="25" y="248"/>
                </a:cubicBezTo>
                <a:cubicBezTo>
                  <a:pt x="24" y="260"/>
                  <a:pt x="24" y="272"/>
                  <a:pt x="25" y="285"/>
                </a:cubicBezTo>
                <a:cubicBezTo>
                  <a:pt x="0" y="295"/>
                  <a:pt x="0" y="295"/>
                  <a:pt x="0" y="295"/>
                </a:cubicBezTo>
                <a:cubicBezTo>
                  <a:pt x="2" y="306"/>
                  <a:pt x="2" y="306"/>
                  <a:pt x="2" y="306"/>
                </a:cubicBezTo>
                <a:cubicBezTo>
                  <a:pt x="3" y="317"/>
                  <a:pt x="3" y="317"/>
                  <a:pt x="3" y="317"/>
                </a:cubicBezTo>
                <a:cubicBezTo>
                  <a:pt x="30" y="320"/>
                  <a:pt x="30" y="320"/>
                  <a:pt x="30" y="320"/>
                </a:cubicBezTo>
                <a:cubicBezTo>
                  <a:pt x="33" y="332"/>
                  <a:pt x="36" y="344"/>
                  <a:pt x="41" y="356"/>
                </a:cubicBezTo>
                <a:cubicBezTo>
                  <a:pt x="20" y="372"/>
                  <a:pt x="20" y="372"/>
                  <a:pt x="20" y="372"/>
                </a:cubicBezTo>
                <a:cubicBezTo>
                  <a:pt x="24" y="383"/>
                  <a:pt x="24" y="383"/>
                  <a:pt x="24" y="383"/>
                </a:cubicBezTo>
                <a:cubicBezTo>
                  <a:pt x="29" y="393"/>
                  <a:pt x="29" y="393"/>
                  <a:pt x="29" y="393"/>
                </a:cubicBezTo>
                <a:cubicBezTo>
                  <a:pt x="56" y="387"/>
                  <a:pt x="56" y="387"/>
                  <a:pt x="56" y="387"/>
                </a:cubicBezTo>
                <a:cubicBezTo>
                  <a:pt x="62" y="398"/>
                  <a:pt x="69" y="409"/>
                  <a:pt x="77" y="418"/>
                </a:cubicBezTo>
                <a:cubicBezTo>
                  <a:pt x="61" y="441"/>
                  <a:pt x="61" y="441"/>
                  <a:pt x="61" y="441"/>
                </a:cubicBezTo>
                <a:cubicBezTo>
                  <a:pt x="69" y="449"/>
                  <a:pt x="69" y="449"/>
                  <a:pt x="69" y="449"/>
                </a:cubicBezTo>
                <a:cubicBezTo>
                  <a:pt x="77" y="458"/>
                  <a:pt x="77" y="458"/>
                  <a:pt x="77" y="458"/>
                </a:cubicBezTo>
                <a:cubicBezTo>
                  <a:pt x="100" y="444"/>
                  <a:pt x="100" y="444"/>
                  <a:pt x="100" y="444"/>
                </a:cubicBezTo>
                <a:cubicBezTo>
                  <a:pt x="110" y="453"/>
                  <a:pt x="119" y="461"/>
                  <a:pt x="129" y="468"/>
                </a:cubicBezTo>
                <a:cubicBezTo>
                  <a:pt x="121" y="494"/>
                  <a:pt x="121" y="494"/>
                  <a:pt x="121" y="494"/>
                </a:cubicBezTo>
                <a:cubicBezTo>
                  <a:pt x="131" y="500"/>
                  <a:pt x="131" y="500"/>
                  <a:pt x="131" y="500"/>
                </a:cubicBezTo>
                <a:cubicBezTo>
                  <a:pt x="141" y="505"/>
                  <a:pt x="141" y="505"/>
                  <a:pt x="141" y="505"/>
                </a:cubicBezTo>
                <a:cubicBezTo>
                  <a:pt x="160" y="486"/>
                  <a:pt x="160" y="486"/>
                  <a:pt x="160" y="486"/>
                </a:cubicBezTo>
                <a:cubicBezTo>
                  <a:pt x="171" y="491"/>
                  <a:pt x="183" y="496"/>
                  <a:pt x="194" y="500"/>
                </a:cubicBezTo>
                <a:cubicBezTo>
                  <a:pt x="194" y="527"/>
                  <a:pt x="194" y="527"/>
                  <a:pt x="194" y="527"/>
                </a:cubicBezTo>
                <a:cubicBezTo>
                  <a:pt x="205" y="529"/>
                  <a:pt x="205" y="529"/>
                  <a:pt x="205" y="529"/>
                </a:cubicBezTo>
                <a:cubicBezTo>
                  <a:pt x="216" y="532"/>
                  <a:pt x="216" y="532"/>
                  <a:pt x="216" y="532"/>
                </a:cubicBezTo>
                <a:cubicBezTo>
                  <a:pt x="229" y="508"/>
                  <a:pt x="229" y="508"/>
                  <a:pt x="229" y="508"/>
                </a:cubicBezTo>
                <a:cubicBezTo>
                  <a:pt x="241" y="510"/>
                  <a:pt x="253" y="511"/>
                  <a:pt x="266" y="511"/>
                </a:cubicBezTo>
                <a:cubicBezTo>
                  <a:pt x="274" y="537"/>
                  <a:pt x="274" y="537"/>
                  <a:pt x="274" y="537"/>
                </a:cubicBezTo>
                <a:cubicBezTo>
                  <a:pt x="285" y="536"/>
                  <a:pt x="285" y="536"/>
                  <a:pt x="285" y="536"/>
                </a:cubicBezTo>
                <a:cubicBezTo>
                  <a:pt x="297" y="535"/>
                  <a:pt x="297" y="535"/>
                  <a:pt x="297" y="535"/>
                </a:cubicBezTo>
                <a:cubicBezTo>
                  <a:pt x="301" y="509"/>
                  <a:pt x="301" y="509"/>
                  <a:pt x="301" y="509"/>
                </a:cubicBezTo>
                <a:cubicBezTo>
                  <a:pt x="313" y="507"/>
                  <a:pt x="326" y="504"/>
                  <a:pt x="338" y="501"/>
                </a:cubicBezTo>
                <a:cubicBezTo>
                  <a:pt x="353" y="523"/>
                  <a:pt x="353" y="523"/>
                  <a:pt x="353" y="523"/>
                </a:cubicBezTo>
                <a:cubicBezTo>
                  <a:pt x="363" y="519"/>
                  <a:pt x="363" y="519"/>
                  <a:pt x="363" y="519"/>
                </a:cubicBezTo>
                <a:cubicBezTo>
                  <a:pt x="374" y="515"/>
                  <a:pt x="374" y="515"/>
                  <a:pt x="374" y="515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2" y="499"/>
                  <a:pt x="372" y="499"/>
                  <a:pt x="372" y="499"/>
                </a:cubicBezTo>
                <a:cubicBezTo>
                  <a:pt x="371" y="488"/>
                  <a:pt x="371" y="488"/>
                  <a:pt x="371" y="488"/>
                </a:cubicBezTo>
                <a:cubicBezTo>
                  <a:pt x="382" y="483"/>
                  <a:pt x="393" y="477"/>
                  <a:pt x="403" y="470"/>
                </a:cubicBezTo>
                <a:cubicBezTo>
                  <a:pt x="424" y="486"/>
                  <a:pt x="424" y="486"/>
                  <a:pt x="424" y="486"/>
                </a:cubicBezTo>
                <a:cubicBezTo>
                  <a:pt x="433" y="479"/>
                  <a:pt x="433" y="479"/>
                  <a:pt x="433" y="479"/>
                </a:cubicBezTo>
                <a:cubicBezTo>
                  <a:pt x="442" y="472"/>
                  <a:pt x="442" y="472"/>
                  <a:pt x="442" y="472"/>
                </a:cubicBezTo>
                <a:cubicBezTo>
                  <a:pt x="431" y="448"/>
                  <a:pt x="431" y="448"/>
                  <a:pt x="431" y="448"/>
                </a:cubicBezTo>
                <a:cubicBezTo>
                  <a:pt x="431" y="448"/>
                  <a:pt x="431" y="448"/>
                  <a:pt x="431" y="447"/>
                </a:cubicBezTo>
                <a:cubicBezTo>
                  <a:pt x="440" y="439"/>
                  <a:pt x="449" y="430"/>
                  <a:pt x="456" y="421"/>
                </a:cubicBezTo>
                <a:cubicBezTo>
                  <a:pt x="481" y="431"/>
                  <a:pt x="481" y="431"/>
                  <a:pt x="481" y="431"/>
                </a:cubicBezTo>
                <a:cubicBezTo>
                  <a:pt x="488" y="421"/>
                  <a:pt x="488" y="421"/>
                  <a:pt x="488" y="421"/>
                </a:cubicBezTo>
                <a:cubicBezTo>
                  <a:pt x="494" y="412"/>
                  <a:pt x="494" y="412"/>
                  <a:pt x="494" y="412"/>
                </a:cubicBezTo>
                <a:cubicBezTo>
                  <a:pt x="476" y="392"/>
                  <a:pt x="476" y="392"/>
                  <a:pt x="476" y="392"/>
                </a:cubicBezTo>
                <a:cubicBezTo>
                  <a:pt x="483" y="381"/>
                  <a:pt x="488" y="370"/>
                  <a:pt x="493" y="358"/>
                </a:cubicBezTo>
                <a:cubicBezTo>
                  <a:pt x="520" y="360"/>
                  <a:pt x="520" y="360"/>
                  <a:pt x="520" y="360"/>
                </a:cubicBezTo>
                <a:cubicBezTo>
                  <a:pt x="523" y="349"/>
                  <a:pt x="523" y="349"/>
                  <a:pt x="523" y="349"/>
                </a:cubicBezTo>
                <a:cubicBezTo>
                  <a:pt x="527" y="339"/>
                  <a:pt x="527" y="339"/>
                  <a:pt x="527" y="339"/>
                </a:cubicBezTo>
                <a:cubicBezTo>
                  <a:pt x="503" y="325"/>
                  <a:pt x="503" y="325"/>
                  <a:pt x="503" y="325"/>
                </a:cubicBezTo>
                <a:cubicBezTo>
                  <a:pt x="506" y="312"/>
                  <a:pt x="508" y="300"/>
                  <a:pt x="509" y="288"/>
                </a:cubicBezTo>
                <a:cubicBezTo>
                  <a:pt x="536" y="282"/>
                  <a:pt x="536" y="282"/>
                  <a:pt x="536" y="282"/>
                </a:cubicBezTo>
                <a:cubicBezTo>
                  <a:pt x="536" y="270"/>
                  <a:pt x="536" y="270"/>
                  <a:pt x="536" y="270"/>
                </a:cubicBezTo>
                <a:cubicBezTo>
                  <a:pt x="536" y="259"/>
                  <a:pt x="536" y="259"/>
                  <a:pt x="536" y="259"/>
                </a:cubicBezTo>
                <a:lnTo>
                  <a:pt x="510" y="252"/>
                </a:lnTo>
                <a:close/>
                <a:moveTo>
                  <a:pt x="422" y="127"/>
                </a:moveTo>
                <a:cubicBezTo>
                  <a:pt x="450" y="157"/>
                  <a:pt x="467" y="193"/>
                  <a:pt x="474" y="231"/>
                </a:cubicBezTo>
                <a:cubicBezTo>
                  <a:pt x="442" y="224"/>
                  <a:pt x="442" y="224"/>
                  <a:pt x="442" y="224"/>
                </a:cubicBezTo>
                <a:cubicBezTo>
                  <a:pt x="427" y="166"/>
                  <a:pt x="383" y="119"/>
                  <a:pt x="327" y="99"/>
                </a:cubicBezTo>
                <a:cubicBezTo>
                  <a:pt x="323" y="66"/>
                  <a:pt x="323" y="66"/>
                  <a:pt x="323" y="66"/>
                </a:cubicBezTo>
                <a:cubicBezTo>
                  <a:pt x="360" y="76"/>
                  <a:pt x="395" y="96"/>
                  <a:pt x="422" y="127"/>
                </a:cubicBezTo>
                <a:close/>
                <a:moveTo>
                  <a:pt x="125" y="113"/>
                </a:moveTo>
                <a:cubicBezTo>
                  <a:pt x="173" y="69"/>
                  <a:pt x="236" y="52"/>
                  <a:pt x="296" y="60"/>
                </a:cubicBezTo>
                <a:cubicBezTo>
                  <a:pt x="279" y="89"/>
                  <a:pt x="279" y="89"/>
                  <a:pt x="279" y="89"/>
                </a:cubicBezTo>
                <a:cubicBezTo>
                  <a:pt x="275" y="89"/>
                  <a:pt x="272" y="89"/>
                  <a:pt x="268" y="89"/>
                </a:cubicBezTo>
                <a:cubicBezTo>
                  <a:pt x="210" y="89"/>
                  <a:pt x="158" y="116"/>
                  <a:pt x="125" y="159"/>
                </a:cubicBezTo>
                <a:cubicBezTo>
                  <a:pt x="91" y="152"/>
                  <a:pt x="91" y="152"/>
                  <a:pt x="91" y="152"/>
                </a:cubicBezTo>
                <a:cubicBezTo>
                  <a:pt x="100" y="138"/>
                  <a:pt x="112" y="125"/>
                  <a:pt x="125" y="113"/>
                </a:cubicBezTo>
                <a:close/>
                <a:moveTo>
                  <a:pt x="77" y="176"/>
                </a:moveTo>
                <a:cubicBezTo>
                  <a:pt x="101" y="202"/>
                  <a:pt x="101" y="202"/>
                  <a:pt x="101" y="202"/>
                </a:cubicBezTo>
                <a:cubicBezTo>
                  <a:pt x="93" y="223"/>
                  <a:pt x="88" y="245"/>
                  <a:pt x="88" y="268"/>
                </a:cubicBezTo>
                <a:cubicBezTo>
                  <a:pt x="88" y="306"/>
                  <a:pt x="100" y="341"/>
                  <a:pt x="120" y="369"/>
                </a:cubicBezTo>
                <a:cubicBezTo>
                  <a:pt x="102" y="400"/>
                  <a:pt x="102" y="400"/>
                  <a:pt x="102" y="400"/>
                </a:cubicBezTo>
                <a:cubicBezTo>
                  <a:pt x="50" y="335"/>
                  <a:pt x="42" y="248"/>
                  <a:pt x="77" y="176"/>
                </a:cubicBezTo>
                <a:close/>
                <a:moveTo>
                  <a:pt x="121" y="421"/>
                </a:moveTo>
                <a:cubicBezTo>
                  <a:pt x="153" y="406"/>
                  <a:pt x="153" y="406"/>
                  <a:pt x="153" y="406"/>
                </a:cubicBezTo>
                <a:cubicBezTo>
                  <a:pt x="184" y="432"/>
                  <a:pt x="224" y="448"/>
                  <a:pt x="268" y="448"/>
                </a:cubicBezTo>
                <a:cubicBezTo>
                  <a:pt x="285" y="448"/>
                  <a:pt x="302" y="445"/>
                  <a:pt x="318" y="440"/>
                </a:cubicBezTo>
                <a:cubicBezTo>
                  <a:pt x="342" y="466"/>
                  <a:pt x="342" y="466"/>
                  <a:pt x="342" y="466"/>
                </a:cubicBezTo>
                <a:cubicBezTo>
                  <a:pt x="267" y="494"/>
                  <a:pt x="181" y="478"/>
                  <a:pt x="121" y="421"/>
                </a:cubicBezTo>
                <a:close/>
                <a:moveTo>
                  <a:pt x="409" y="424"/>
                </a:moveTo>
                <a:cubicBezTo>
                  <a:pt x="396" y="436"/>
                  <a:pt x="382" y="446"/>
                  <a:pt x="367" y="454"/>
                </a:cubicBezTo>
                <a:cubicBezTo>
                  <a:pt x="363" y="420"/>
                  <a:pt x="363" y="420"/>
                  <a:pt x="363" y="420"/>
                </a:cubicBezTo>
                <a:cubicBezTo>
                  <a:pt x="413" y="389"/>
                  <a:pt x="446" y="335"/>
                  <a:pt x="447" y="273"/>
                </a:cubicBezTo>
                <a:cubicBezTo>
                  <a:pt x="477" y="259"/>
                  <a:pt x="477" y="259"/>
                  <a:pt x="477" y="259"/>
                </a:cubicBezTo>
                <a:cubicBezTo>
                  <a:pt x="480" y="319"/>
                  <a:pt x="457" y="380"/>
                  <a:pt x="409" y="42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6415812" y="4801631"/>
            <a:ext cx="1296412" cy="1334282"/>
            <a:chOff x="8207906" y="2400815"/>
            <a:chExt cx="648206" cy="667141"/>
          </a:xfrm>
        </p:grpSpPr>
        <p:sp>
          <p:nvSpPr>
            <p:cNvPr id="24" name="Freeform 25"/>
            <p:cNvSpPr>
              <a:spLocks noEditPoints="1"/>
            </p:cNvSpPr>
            <p:nvPr/>
          </p:nvSpPr>
          <p:spPr bwMode="auto">
            <a:xfrm>
              <a:off x="8317155" y="2498410"/>
              <a:ext cx="426796" cy="569546"/>
            </a:xfrm>
            <a:custGeom>
              <a:avLst/>
              <a:gdLst>
                <a:gd name="T0" fmla="*/ 61 w 122"/>
                <a:gd name="T1" fmla="*/ 0 h 163"/>
                <a:gd name="T2" fmla="*/ 0 w 122"/>
                <a:gd name="T3" fmla="*/ 61 h 163"/>
                <a:gd name="T4" fmla="*/ 41 w 122"/>
                <a:gd name="T5" fmla="*/ 118 h 163"/>
                <a:gd name="T6" fmla="*/ 41 w 122"/>
                <a:gd name="T7" fmla="*/ 152 h 163"/>
                <a:gd name="T8" fmla="*/ 47 w 122"/>
                <a:gd name="T9" fmla="*/ 156 h 163"/>
                <a:gd name="T10" fmla="*/ 52 w 122"/>
                <a:gd name="T11" fmla="*/ 163 h 163"/>
                <a:gd name="T12" fmla="*/ 70 w 122"/>
                <a:gd name="T13" fmla="*/ 163 h 163"/>
                <a:gd name="T14" fmla="*/ 75 w 122"/>
                <a:gd name="T15" fmla="*/ 156 h 163"/>
                <a:gd name="T16" fmla="*/ 81 w 122"/>
                <a:gd name="T17" fmla="*/ 152 h 163"/>
                <a:gd name="T18" fmla="*/ 81 w 122"/>
                <a:gd name="T19" fmla="*/ 152 h 163"/>
                <a:gd name="T20" fmla="*/ 81 w 122"/>
                <a:gd name="T21" fmla="*/ 118 h 163"/>
                <a:gd name="T22" fmla="*/ 122 w 122"/>
                <a:gd name="T23" fmla="*/ 61 h 163"/>
                <a:gd name="T24" fmla="*/ 61 w 122"/>
                <a:gd name="T25" fmla="*/ 0 h 163"/>
                <a:gd name="T26" fmla="*/ 61 w 122"/>
                <a:gd name="T27" fmla="*/ 113 h 163"/>
                <a:gd name="T28" fmla="*/ 9 w 122"/>
                <a:gd name="T29" fmla="*/ 61 h 163"/>
                <a:gd name="T30" fmla="*/ 61 w 122"/>
                <a:gd name="T31" fmla="*/ 9 h 163"/>
                <a:gd name="T32" fmla="*/ 113 w 122"/>
                <a:gd name="T33" fmla="*/ 61 h 163"/>
                <a:gd name="T34" fmla="*/ 61 w 122"/>
                <a:gd name="T35" fmla="*/ 11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63">
                  <a:moveTo>
                    <a:pt x="61" y="0"/>
                  </a:moveTo>
                  <a:cubicBezTo>
                    <a:pt x="28" y="0"/>
                    <a:pt x="0" y="27"/>
                    <a:pt x="0" y="61"/>
                  </a:cubicBezTo>
                  <a:cubicBezTo>
                    <a:pt x="0" y="87"/>
                    <a:pt x="17" y="110"/>
                    <a:pt x="41" y="118"/>
                  </a:cubicBezTo>
                  <a:cubicBezTo>
                    <a:pt x="41" y="152"/>
                    <a:pt x="41" y="152"/>
                    <a:pt x="41" y="152"/>
                  </a:cubicBezTo>
                  <a:cubicBezTo>
                    <a:pt x="47" y="156"/>
                    <a:pt x="47" y="156"/>
                    <a:pt x="47" y="156"/>
                  </a:cubicBezTo>
                  <a:cubicBezTo>
                    <a:pt x="52" y="163"/>
                    <a:pt x="52" y="163"/>
                    <a:pt x="52" y="163"/>
                  </a:cubicBezTo>
                  <a:cubicBezTo>
                    <a:pt x="70" y="163"/>
                    <a:pt x="70" y="163"/>
                    <a:pt x="70" y="163"/>
                  </a:cubicBezTo>
                  <a:cubicBezTo>
                    <a:pt x="75" y="156"/>
                    <a:pt x="75" y="156"/>
                    <a:pt x="75" y="156"/>
                  </a:cubicBezTo>
                  <a:cubicBezTo>
                    <a:pt x="81" y="152"/>
                    <a:pt x="81" y="152"/>
                    <a:pt x="81" y="152"/>
                  </a:cubicBezTo>
                  <a:cubicBezTo>
                    <a:pt x="81" y="152"/>
                    <a:pt x="81" y="152"/>
                    <a:pt x="81" y="152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105" y="110"/>
                    <a:pt x="122" y="87"/>
                    <a:pt x="122" y="61"/>
                  </a:cubicBezTo>
                  <a:cubicBezTo>
                    <a:pt x="122" y="27"/>
                    <a:pt x="95" y="0"/>
                    <a:pt x="61" y="0"/>
                  </a:cubicBezTo>
                  <a:close/>
                  <a:moveTo>
                    <a:pt x="61" y="113"/>
                  </a:moveTo>
                  <a:cubicBezTo>
                    <a:pt x="32" y="113"/>
                    <a:pt x="9" y="89"/>
                    <a:pt x="9" y="61"/>
                  </a:cubicBezTo>
                  <a:cubicBezTo>
                    <a:pt x="9" y="32"/>
                    <a:pt x="32" y="9"/>
                    <a:pt x="61" y="9"/>
                  </a:cubicBezTo>
                  <a:cubicBezTo>
                    <a:pt x="90" y="9"/>
                    <a:pt x="113" y="32"/>
                    <a:pt x="113" y="61"/>
                  </a:cubicBezTo>
                  <a:cubicBezTo>
                    <a:pt x="113" y="89"/>
                    <a:pt x="90" y="113"/>
                    <a:pt x="61" y="1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8207906" y="2805761"/>
              <a:ext cx="97595" cy="59722"/>
            </a:xfrm>
            <a:custGeom>
              <a:avLst/>
              <a:gdLst>
                <a:gd name="T0" fmla="*/ 0 w 28"/>
                <a:gd name="T1" fmla="*/ 7 h 17"/>
                <a:gd name="T2" fmla="*/ 4 w 28"/>
                <a:gd name="T3" fmla="*/ 17 h 17"/>
                <a:gd name="T4" fmla="*/ 28 w 28"/>
                <a:gd name="T5" fmla="*/ 5 h 17"/>
                <a:gd name="T6" fmla="*/ 26 w 28"/>
                <a:gd name="T7" fmla="*/ 0 h 17"/>
                <a:gd name="T8" fmla="*/ 0 w 28"/>
                <a:gd name="T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0" y="7"/>
                  </a:moveTo>
                  <a:cubicBezTo>
                    <a:pt x="1" y="11"/>
                    <a:pt x="3" y="14"/>
                    <a:pt x="4" y="17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7" y="3"/>
                    <a:pt x="27" y="2"/>
                    <a:pt x="26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8757060" y="2578525"/>
              <a:ext cx="99052" cy="59722"/>
            </a:xfrm>
            <a:custGeom>
              <a:avLst/>
              <a:gdLst>
                <a:gd name="T0" fmla="*/ 28 w 28"/>
                <a:gd name="T1" fmla="*/ 10 h 17"/>
                <a:gd name="T2" fmla="*/ 24 w 28"/>
                <a:gd name="T3" fmla="*/ 0 h 17"/>
                <a:gd name="T4" fmla="*/ 0 w 28"/>
                <a:gd name="T5" fmla="*/ 12 h 17"/>
                <a:gd name="T6" fmla="*/ 2 w 28"/>
                <a:gd name="T7" fmla="*/ 17 h 17"/>
                <a:gd name="T8" fmla="*/ 28 w 28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10"/>
                  </a:moveTo>
                  <a:cubicBezTo>
                    <a:pt x="27" y="6"/>
                    <a:pt x="25" y="3"/>
                    <a:pt x="24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4"/>
                    <a:pt x="1" y="15"/>
                    <a:pt x="2" y="17"/>
                  </a:cubicBezTo>
                  <a:lnTo>
                    <a:pt x="28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8207906" y="2575612"/>
              <a:ext cx="97595" cy="62635"/>
            </a:xfrm>
            <a:custGeom>
              <a:avLst/>
              <a:gdLst>
                <a:gd name="T0" fmla="*/ 0 w 28"/>
                <a:gd name="T1" fmla="*/ 10 h 18"/>
                <a:gd name="T2" fmla="*/ 26 w 28"/>
                <a:gd name="T3" fmla="*/ 18 h 18"/>
                <a:gd name="T4" fmla="*/ 28 w 28"/>
                <a:gd name="T5" fmla="*/ 13 h 18"/>
                <a:gd name="T6" fmla="*/ 4 w 28"/>
                <a:gd name="T7" fmla="*/ 0 h 18"/>
                <a:gd name="T8" fmla="*/ 0 w 28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8">
                  <a:moveTo>
                    <a:pt x="0" y="10"/>
                  </a:moveTo>
                  <a:cubicBezTo>
                    <a:pt x="26" y="18"/>
                    <a:pt x="26" y="18"/>
                    <a:pt x="26" y="18"/>
                  </a:cubicBezTo>
                  <a:cubicBezTo>
                    <a:pt x="27" y="16"/>
                    <a:pt x="27" y="15"/>
                    <a:pt x="28" y="1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4"/>
                    <a:pt x="1" y="7"/>
                    <a:pt x="0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8757060" y="2808674"/>
              <a:ext cx="99052" cy="59722"/>
            </a:xfrm>
            <a:custGeom>
              <a:avLst/>
              <a:gdLst>
                <a:gd name="T0" fmla="*/ 0 w 28"/>
                <a:gd name="T1" fmla="*/ 4 h 17"/>
                <a:gd name="T2" fmla="*/ 23 w 28"/>
                <a:gd name="T3" fmla="*/ 17 h 17"/>
                <a:gd name="T4" fmla="*/ 28 w 28"/>
                <a:gd name="T5" fmla="*/ 7 h 17"/>
                <a:gd name="T6" fmla="*/ 2 w 28"/>
                <a:gd name="T7" fmla="*/ 0 h 17"/>
                <a:gd name="T8" fmla="*/ 0 w 28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0" y="4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5" y="13"/>
                    <a:pt x="26" y="10"/>
                    <a:pt x="28" y="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0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8387073" y="2400815"/>
              <a:ext cx="58266" cy="93225"/>
            </a:xfrm>
            <a:custGeom>
              <a:avLst/>
              <a:gdLst>
                <a:gd name="T0" fmla="*/ 17 w 17"/>
                <a:gd name="T1" fmla="*/ 26 h 27"/>
                <a:gd name="T2" fmla="*/ 10 w 17"/>
                <a:gd name="T3" fmla="*/ 0 h 27"/>
                <a:gd name="T4" fmla="*/ 0 w 17"/>
                <a:gd name="T5" fmla="*/ 4 h 27"/>
                <a:gd name="T6" fmla="*/ 13 w 17"/>
                <a:gd name="T7" fmla="*/ 27 h 27"/>
                <a:gd name="T8" fmla="*/ 17 w 17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17" y="2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1"/>
                    <a:pt x="3" y="2"/>
                    <a:pt x="0" y="4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4" y="27"/>
                    <a:pt x="16" y="26"/>
                    <a:pt x="17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auto">
            <a:xfrm>
              <a:off x="8617223" y="2400815"/>
              <a:ext cx="59723" cy="93225"/>
            </a:xfrm>
            <a:custGeom>
              <a:avLst/>
              <a:gdLst>
                <a:gd name="T0" fmla="*/ 17 w 17"/>
                <a:gd name="T1" fmla="*/ 4 h 27"/>
                <a:gd name="T2" fmla="*/ 7 w 17"/>
                <a:gd name="T3" fmla="*/ 0 h 27"/>
                <a:gd name="T4" fmla="*/ 0 w 17"/>
                <a:gd name="T5" fmla="*/ 26 h 27"/>
                <a:gd name="T6" fmla="*/ 4 w 17"/>
                <a:gd name="T7" fmla="*/ 27 h 27"/>
                <a:gd name="T8" fmla="*/ 17 w 17"/>
                <a:gd name="T9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17" y="4"/>
                  </a:moveTo>
                  <a:cubicBezTo>
                    <a:pt x="14" y="2"/>
                    <a:pt x="10" y="1"/>
                    <a:pt x="7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3" y="27"/>
                    <a:pt x="4" y="27"/>
                  </a:cubicBezTo>
                  <a:lnTo>
                    <a:pt x="17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49" name="Oval 48"/>
          <p:cNvSpPr/>
          <p:nvPr/>
        </p:nvSpPr>
        <p:spPr>
          <a:xfrm>
            <a:off x="10429573" y="3597921"/>
            <a:ext cx="3770362" cy="37703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6" name="Freeform 21"/>
          <p:cNvSpPr>
            <a:spLocks noEditPoints="1"/>
          </p:cNvSpPr>
          <p:nvPr/>
        </p:nvSpPr>
        <p:spPr bwMode="auto">
          <a:xfrm>
            <a:off x="10082446" y="3220893"/>
            <a:ext cx="4539168" cy="45509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3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90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9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9 h 488"/>
              <a:gd name="T48" fmla="*/ 63 w 486"/>
              <a:gd name="T49" fmla="*/ 409 h 488"/>
              <a:gd name="T50" fmla="*/ 110 w 486"/>
              <a:gd name="T51" fmla="*/ 428 h 488"/>
              <a:gd name="T52" fmla="*/ 133 w 486"/>
              <a:gd name="T53" fmla="*/ 448 h 488"/>
              <a:gd name="T54" fmla="*/ 167 w 486"/>
              <a:gd name="T55" fmla="*/ 458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70 h 488"/>
              <a:gd name="T64" fmla="*/ 323 w 486"/>
              <a:gd name="T65" fmla="*/ 456 h 488"/>
              <a:gd name="T66" fmla="*/ 372 w 486"/>
              <a:gd name="T67" fmla="*/ 451 h 488"/>
              <a:gd name="T68" fmla="*/ 379 w 486"/>
              <a:gd name="T69" fmla="*/ 425 h 488"/>
              <a:gd name="T70" fmla="*/ 425 w 486"/>
              <a:gd name="T71" fmla="*/ 406 h 488"/>
              <a:gd name="T72" fmla="*/ 419 w 486"/>
              <a:gd name="T73" fmla="*/ 355 h 488"/>
              <a:gd name="T74" fmla="*/ 468 w 486"/>
              <a:gd name="T75" fmla="*/ 339 h 488"/>
              <a:gd name="T76" fmla="*/ 455 w 486"/>
              <a:gd name="T77" fmla="*/ 286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9 h 488"/>
              <a:gd name="T86" fmla="*/ 89 w 486"/>
              <a:gd name="T87" fmla="*/ 176 h 488"/>
              <a:gd name="T88" fmla="*/ 106 w 486"/>
              <a:gd name="T89" fmla="*/ 197 h 488"/>
              <a:gd name="T90" fmla="*/ 87 w 486"/>
              <a:gd name="T91" fmla="*/ 307 h 488"/>
              <a:gd name="T92" fmla="*/ 98 w 486"/>
              <a:gd name="T93" fmla="*/ 244 h 488"/>
              <a:gd name="T94" fmla="*/ 118 w 486"/>
              <a:gd name="T95" fmla="*/ 357 h 488"/>
              <a:gd name="T96" fmla="*/ 201 w 486"/>
              <a:gd name="T97" fmla="*/ 391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7 h 488"/>
              <a:gd name="T106" fmla="*/ 371 w 486"/>
              <a:gd name="T107" fmla="*/ 177 h 488"/>
              <a:gd name="T108" fmla="*/ 395 w 486"/>
              <a:gd name="T109" fmla="*/ 264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5"/>
                </a:cubicBezTo>
                <a:cubicBezTo>
                  <a:pt x="450" y="234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9"/>
                  <a:pt x="485" y="212"/>
                </a:cubicBezTo>
                <a:cubicBezTo>
                  <a:pt x="484" y="209"/>
                  <a:pt x="484" y="205"/>
                  <a:pt x="483" y="202"/>
                </a:cubicBezTo>
                <a:cubicBezTo>
                  <a:pt x="482" y="196"/>
                  <a:pt x="476" y="192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1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3"/>
                  <a:pt x="426" y="103"/>
                  <a:pt x="426" y="103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4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7"/>
                  <a:pt x="379" y="57"/>
                  <a:pt x="379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4" y="38"/>
                  <a:pt x="371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2"/>
                  <a:pt x="338" y="57"/>
                  <a:pt x="330" y="55"/>
                </a:cubicBezTo>
                <a:cubicBezTo>
                  <a:pt x="319" y="52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0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8"/>
                </a:cubicBezTo>
                <a:cubicBezTo>
                  <a:pt x="262" y="38"/>
                  <a:pt x="254" y="28"/>
                  <a:pt x="255" y="17"/>
                </a:cubicBezTo>
                <a:cubicBezTo>
                  <a:pt x="256" y="13"/>
                  <a:pt x="256" y="13"/>
                  <a:pt x="256" y="13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3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4"/>
                  <a:pt x="151" y="56"/>
                </a:cubicBezTo>
                <a:cubicBezTo>
                  <a:pt x="143" y="59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4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3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70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1" y="123"/>
                  <a:pt x="68" y="131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8"/>
                  <a:pt x="45" y="178"/>
                  <a:pt x="42" y="188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7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9"/>
                </a:cubicBezTo>
                <a:cubicBezTo>
                  <a:pt x="17" y="229"/>
                  <a:pt x="17" y="229"/>
                  <a:pt x="17" y="229"/>
                </a:cubicBezTo>
                <a:cubicBezTo>
                  <a:pt x="27" y="229"/>
                  <a:pt x="35" y="237"/>
                  <a:pt x="34" y="246"/>
                </a:cubicBezTo>
                <a:cubicBezTo>
                  <a:pt x="34" y="256"/>
                  <a:pt x="26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5" y="264"/>
                  <a:pt x="0" y="269"/>
                  <a:pt x="1" y="276"/>
                </a:cubicBezTo>
                <a:cubicBezTo>
                  <a:pt x="1" y="279"/>
                  <a:pt x="2" y="282"/>
                  <a:pt x="2" y="286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1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30"/>
                  <a:pt x="17" y="337"/>
                  <a:pt x="20" y="343"/>
                </a:cubicBezTo>
                <a:cubicBezTo>
                  <a:pt x="21" y="346"/>
                  <a:pt x="23" y="349"/>
                  <a:pt x="24" y="352"/>
                </a:cubicBezTo>
                <a:cubicBezTo>
                  <a:pt x="27" y="358"/>
                  <a:pt x="34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9"/>
                </a:cubicBezTo>
                <a:cubicBezTo>
                  <a:pt x="74" y="367"/>
                  <a:pt x="71" y="378"/>
                  <a:pt x="63" y="383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7"/>
                  <a:pt x="57" y="402"/>
                </a:cubicBezTo>
                <a:cubicBezTo>
                  <a:pt x="59" y="404"/>
                  <a:pt x="61" y="407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7"/>
                  <a:pt x="106" y="401"/>
                </a:cubicBezTo>
                <a:cubicBezTo>
                  <a:pt x="115" y="407"/>
                  <a:pt x="117" y="420"/>
                  <a:pt x="110" y="428"/>
                </a:cubicBezTo>
                <a:cubicBezTo>
                  <a:pt x="106" y="431"/>
                  <a:pt x="106" y="431"/>
                  <a:pt x="106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50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2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8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8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9"/>
                  <a:pt x="293" y="455"/>
                  <a:pt x="294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9"/>
                  <a:pt x="351" y="433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1"/>
                </a:cubicBezTo>
                <a:cubicBezTo>
                  <a:pt x="372" y="451"/>
                  <a:pt x="372" y="451"/>
                  <a:pt x="372" y="451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4"/>
                  <a:pt x="399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3" y="411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4"/>
                  <a:pt x="414" y="363"/>
                  <a:pt x="419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8"/>
                </a:cubicBezTo>
                <a:cubicBezTo>
                  <a:pt x="465" y="345"/>
                  <a:pt x="466" y="342"/>
                  <a:pt x="468" y="339"/>
                </a:cubicBezTo>
                <a:cubicBezTo>
                  <a:pt x="470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10"/>
                  <a:pt x="443" y="300"/>
                </a:cubicBezTo>
                <a:cubicBezTo>
                  <a:pt x="438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2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8"/>
                  <a:pt x="366" y="153"/>
                </a:cubicBezTo>
                <a:cubicBezTo>
                  <a:pt x="359" y="157"/>
                  <a:pt x="359" y="157"/>
                  <a:pt x="359" y="157"/>
                </a:cubicBezTo>
                <a:cubicBezTo>
                  <a:pt x="342" y="134"/>
                  <a:pt x="317" y="116"/>
                  <a:pt x="289" y="107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7" y="101"/>
                  <a:pt x="267" y="101"/>
                  <a:pt x="267" y="101"/>
                </a:cubicBezTo>
                <a:cubicBezTo>
                  <a:pt x="259" y="100"/>
                  <a:pt x="251" y="99"/>
                  <a:pt x="243" y="99"/>
                </a:cubicBezTo>
                <a:cubicBezTo>
                  <a:pt x="220" y="99"/>
                  <a:pt x="199" y="104"/>
                  <a:pt x="180" y="113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6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60" y="125"/>
                  <a:pt x="160" y="125"/>
                  <a:pt x="160" y="125"/>
                </a:cubicBezTo>
                <a:cubicBezTo>
                  <a:pt x="135" y="143"/>
                  <a:pt x="116" y="168"/>
                  <a:pt x="106" y="197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8" y="193"/>
                  <a:pt x="84" y="184"/>
                  <a:pt x="89" y="176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100" y="220"/>
                  <a:pt x="100" y="220"/>
                  <a:pt x="100" y="220"/>
                </a:cubicBezTo>
                <a:cubicBezTo>
                  <a:pt x="99" y="228"/>
                  <a:pt x="98" y="236"/>
                  <a:pt x="98" y="244"/>
                </a:cubicBezTo>
                <a:cubicBezTo>
                  <a:pt x="98" y="268"/>
                  <a:pt x="104" y="291"/>
                  <a:pt x="114" y="311"/>
                </a:cubicBezTo>
                <a:lnTo>
                  <a:pt x="108" y="315"/>
                </a:lnTo>
                <a:close/>
                <a:moveTo>
                  <a:pt x="180" y="401"/>
                </a:move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27" y="331"/>
                  <a:pt x="127" y="331"/>
                  <a:pt x="127" y="331"/>
                </a:cubicBezTo>
                <a:cubicBezTo>
                  <a:pt x="145" y="355"/>
                  <a:pt x="172" y="374"/>
                  <a:pt x="202" y="383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198" y="400"/>
                  <a:pt x="189" y="405"/>
                  <a:pt x="180" y="401"/>
                </a:cubicBezTo>
                <a:close/>
                <a:moveTo>
                  <a:pt x="311" y="398"/>
                </a:moveTo>
                <a:cubicBezTo>
                  <a:pt x="237" y="413"/>
                  <a:pt x="237" y="413"/>
                  <a:pt x="237" y="413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5" y="388"/>
                  <a:pt x="225" y="388"/>
                  <a:pt x="225" y="388"/>
                </a:cubicBezTo>
                <a:cubicBezTo>
                  <a:pt x="231" y="388"/>
                  <a:pt x="237" y="389"/>
                  <a:pt x="243" y="389"/>
                </a:cubicBezTo>
                <a:cubicBezTo>
                  <a:pt x="269" y="389"/>
                  <a:pt x="293" y="382"/>
                  <a:pt x="314" y="370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7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3"/>
                  <a:pt x="337" y="364"/>
                </a:cubicBezTo>
                <a:cubicBezTo>
                  <a:pt x="333" y="357"/>
                  <a:pt x="333" y="357"/>
                  <a:pt x="333" y="357"/>
                </a:cubicBezTo>
                <a:cubicBezTo>
                  <a:pt x="356" y="339"/>
                  <a:pt x="373" y="314"/>
                  <a:pt x="382" y="284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8"/>
                  <a:pt x="400" y="307"/>
                </a:cubicBezTo>
                <a:close/>
                <a:moveTo>
                  <a:pt x="395" y="264"/>
                </a:moveTo>
                <a:cubicBezTo>
                  <a:pt x="387" y="262"/>
                  <a:pt x="387" y="262"/>
                  <a:pt x="387" y="262"/>
                </a:cubicBezTo>
                <a:cubicBezTo>
                  <a:pt x="387" y="256"/>
                  <a:pt x="388" y="250"/>
                  <a:pt x="388" y="244"/>
                </a:cubicBezTo>
                <a:cubicBezTo>
                  <a:pt x="388" y="220"/>
                  <a:pt x="382" y="197"/>
                  <a:pt x="371" y="177"/>
                </a:cubicBezTo>
                <a:cubicBezTo>
                  <a:pt x="378" y="173"/>
                  <a:pt x="378" y="173"/>
                  <a:pt x="378" y="173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59"/>
                  <a:pt x="404" y="266"/>
                  <a:pt x="395" y="26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709811" y="4826479"/>
            <a:ext cx="1035426" cy="1284590"/>
            <a:chOff x="5854905" y="2413239"/>
            <a:chExt cx="517713" cy="642295"/>
          </a:xfrm>
        </p:grpSpPr>
        <p:sp>
          <p:nvSpPr>
            <p:cNvPr id="36" name="Oval 50"/>
            <p:cNvSpPr>
              <a:spLocks noChangeArrowheads="1"/>
            </p:cNvSpPr>
            <p:nvPr/>
          </p:nvSpPr>
          <p:spPr bwMode="auto">
            <a:xfrm>
              <a:off x="5892280" y="2413239"/>
              <a:ext cx="276851" cy="2768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7" name="Freeform 51"/>
            <p:cNvSpPr>
              <a:spLocks/>
            </p:cNvSpPr>
            <p:nvPr/>
          </p:nvSpPr>
          <p:spPr bwMode="auto">
            <a:xfrm>
              <a:off x="5854905" y="2692859"/>
              <a:ext cx="290694" cy="235324"/>
            </a:xfrm>
            <a:custGeom>
              <a:avLst/>
              <a:gdLst>
                <a:gd name="T0" fmla="*/ 87 w 87"/>
                <a:gd name="T1" fmla="*/ 49 h 71"/>
                <a:gd name="T2" fmla="*/ 78 w 87"/>
                <a:gd name="T3" fmla="*/ 24 h 71"/>
                <a:gd name="T4" fmla="*/ 86 w 87"/>
                <a:gd name="T5" fmla="*/ 0 h 71"/>
                <a:gd name="T6" fmla="*/ 85 w 87"/>
                <a:gd name="T7" fmla="*/ 0 h 71"/>
                <a:gd name="T8" fmla="*/ 53 w 87"/>
                <a:gd name="T9" fmla="*/ 10 h 71"/>
                <a:gd name="T10" fmla="*/ 20 w 87"/>
                <a:gd name="T11" fmla="*/ 0 h 71"/>
                <a:gd name="T12" fmla="*/ 0 w 87"/>
                <a:gd name="T13" fmla="*/ 71 h 71"/>
                <a:gd name="T14" fmla="*/ 76 w 87"/>
                <a:gd name="T15" fmla="*/ 71 h 71"/>
                <a:gd name="T16" fmla="*/ 85 w 87"/>
                <a:gd name="T17" fmla="*/ 52 h 71"/>
                <a:gd name="T18" fmla="*/ 87 w 87"/>
                <a:gd name="T19" fmla="*/ 4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87" y="49"/>
                  </a:moveTo>
                  <a:cubicBezTo>
                    <a:pt x="81" y="42"/>
                    <a:pt x="78" y="33"/>
                    <a:pt x="78" y="24"/>
                  </a:cubicBezTo>
                  <a:cubicBezTo>
                    <a:pt x="78" y="15"/>
                    <a:pt x="81" y="7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76" y="6"/>
                    <a:pt x="65" y="10"/>
                    <a:pt x="53" y="10"/>
                  </a:cubicBezTo>
                  <a:cubicBezTo>
                    <a:pt x="40" y="10"/>
                    <a:pt x="29" y="6"/>
                    <a:pt x="20" y="0"/>
                  </a:cubicBezTo>
                  <a:cubicBezTo>
                    <a:pt x="8" y="17"/>
                    <a:pt x="1" y="42"/>
                    <a:pt x="0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8" y="64"/>
                    <a:pt x="81" y="57"/>
                    <a:pt x="85" y="52"/>
                  </a:cubicBezTo>
                  <a:lnTo>
                    <a:pt x="87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39" name="Freeform 52"/>
            <p:cNvSpPr>
              <a:spLocks/>
            </p:cNvSpPr>
            <p:nvPr/>
          </p:nvSpPr>
          <p:spPr bwMode="auto">
            <a:xfrm>
              <a:off x="6138678" y="2669327"/>
              <a:ext cx="206255" cy="206255"/>
            </a:xfrm>
            <a:custGeom>
              <a:avLst/>
              <a:gdLst>
                <a:gd name="T0" fmla="*/ 0 w 62"/>
                <a:gd name="T1" fmla="*/ 31 h 62"/>
                <a:gd name="T2" fmla="*/ 19 w 62"/>
                <a:gd name="T3" fmla="*/ 59 h 62"/>
                <a:gd name="T4" fmla="*/ 31 w 62"/>
                <a:gd name="T5" fmla="*/ 62 h 62"/>
                <a:gd name="T6" fmla="*/ 62 w 62"/>
                <a:gd name="T7" fmla="*/ 31 h 62"/>
                <a:gd name="T8" fmla="*/ 31 w 62"/>
                <a:gd name="T9" fmla="*/ 0 h 62"/>
                <a:gd name="T10" fmla="*/ 5 w 62"/>
                <a:gd name="T11" fmla="*/ 14 h 62"/>
                <a:gd name="T12" fmla="*/ 0 w 62"/>
                <a:gd name="T13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62">
                  <a:moveTo>
                    <a:pt x="0" y="31"/>
                  </a:moveTo>
                  <a:cubicBezTo>
                    <a:pt x="0" y="44"/>
                    <a:pt x="7" y="55"/>
                    <a:pt x="19" y="59"/>
                  </a:cubicBezTo>
                  <a:cubicBezTo>
                    <a:pt x="22" y="61"/>
                    <a:pt x="26" y="62"/>
                    <a:pt x="31" y="62"/>
                  </a:cubicBezTo>
                  <a:cubicBezTo>
                    <a:pt x="48" y="62"/>
                    <a:pt x="62" y="48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20" y="0"/>
                    <a:pt x="10" y="5"/>
                    <a:pt x="5" y="14"/>
                  </a:cubicBezTo>
                  <a:cubicBezTo>
                    <a:pt x="1" y="19"/>
                    <a:pt x="0" y="25"/>
                    <a:pt x="0" y="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0" name="Freeform 53"/>
            <p:cNvSpPr>
              <a:spLocks/>
            </p:cNvSpPr>
            <p:nvPr/>
          </p:nvSpPr>
          <p:spPr bwMode="auto">
            <a:xfrm>
              <a:off x="6108224" y="2878349"/>
              <a:ext cx="264394" cy="177185"/>
            </a:xfrm>
            <a:custGeom>
              <a:avLst/>
              <a:gdLst>
                <a:gd name="T0" fmla="*/ 64 w 79"/>
                <a:gd name="T1" fmla="*/ 0 h 53"/>
                <a:gd name="T2" fmla="*/ 40 w 79"/>
                <a:gd name="T3" fmla="*/ 7 h 53"/>
                <a:gd name="T4" fmla="*/ 28 w 79"/>
                <a:gd name="T5" fmla="*/ 6 h 53"/>
                <a:gd name="T6" fmla="*/ 15 w 79"/>
                <a:gd name="T7" fmla="*/ 0 h 53"/>
                <a:gd name="T8" fmla="*/ 7 w 79"/>
                <a:gd name="T9" fmla="*/ 15 h 53"/>
                <a:gd name="T10" fmla="*/ 0 w 79"/>
                <a:gd name="T11" fmla="*/ 53 h 53"/>
                <a:gd name="T12" fmla="*/ 79 w 79"/>
                <a:gd name="T13" fmla="*/ 53 h 53"/>
                <a:gd name="T14" fmla="*/ 64 w 7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53">
                  <a:moveTo>
                    <a:pt x="64" y="0"/>
                  </a:moveTo>
                  <a:cubicBezTo>
                    <a:pt x="57" y="5"/>
                    <a:pt x="49" y="7"/>
                    <a:pt x="40" y="7"/>
                  </a:cubicBezTo>
                  <a:cubicBezTo>
                    <a:pt x="36" y="7"/>
                    <a:pt x="32" y="7"/>
                    <a:pt x="28" y="6"/>
                  </a:cubicBezTo>
                  <a:cubicBezTo>
                    <a:pt x="24" y="5"/>
                    <a:pt x="19" y="3"/>
                    <a:pt x="15" y="0"/>
                  </a:cubicBezTo>
                  <a:cubicBezTo>
                    <a:pt x="12" y="4"/>
                    <a:pt x="9" y="9"/>
                    <a:pt x="7" y="15"/>
                  </a:cubicBezTo>
                  <a:cubicBezTo>
                    <a:pt x="3" y="26"/>
                    <a:pt x="1" y="39"/>
                    <a:pt x="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8" y="31"/>
                    <a:pt x="73" y="12"/>
                    <a:pt x="6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51" name="Oval 50"/>
          <p:cNvSpPr/>
          <p:nvPr/>
        </p:nvSpPr>
        <p:spPr>
          <a:xfrm>
            <a:off x="19721455" y="3573247"/>
            <a:ext cx="3770362" cy="37703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8" name="Freeform 37"/>
          <p:cNvSpPr>
            <a:spLocks noEditPoints="1"/>
          </p:cNvSpPr>
          <p:nvPr/>
        </p:nvSpPr>
        <p:spPr bwMode="auto">
          <a:xfrm>
            <a:off x="19369322" y="3220893"/>
            <a:ext cx="4539168" cy="45509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3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90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9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9 h 488"/>
              <a:gd name="T48" fmla="*/ 63 w 486"/>
              <a:gd name="T49" fmla="*/ 409 h 488"/>
              <a:gd name="T50" fmla="*/ 110 w 486"/>
              <a:gd name="T51" fmla="*/ 428 h 488"/>
              <a:gd name="T52" fmla="*/ 133 w 486"/>
              <a:gd name="T53" fmla="*/ 448 h 488"/>
              <a:gd name="T54" fmla="*/ 167 w 486"/>
              <a:gd name="T55" fmla="*/ 458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70 h 488"/>
              <a:gd name="T64" fmla="*/ 323 w 486"/>
              <a:gd name="T65" fmla="*/ 456 h 488"/>
              <a:gd name="T66" fmla="*/ 372 w 486"/>
              <a:gd name="T67" fmla="*/ 451 h 488"/>
              <a:gd name="T68" fmla="*/ 379 w 486"/>
              <a:gd name="T69" fmla="*/ 425 h 488"/>
              <a:gd name="T70" fmla="*/ 425 w 486"/>
              <a:gd name="T71" fmla="*/ 406 h 488"/>
              <a:gd name="T72" fmla="*/ 419 w 486"/>
              <a:gd name="T73" fmla="*/ 355 h 488"/>
              <a:gd name="T74" fmla="*/ 468 w 486"/>
              <a:gd name="T75" fmla="*/ 339 h 488"/>
              <a:gd name="T76" fmla="*/ 455 w 486"/>
              <a:gd name="T77" fmla="*/ 286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9 h 488"/>
              <a:gd name="T86" fmla="*/ 89 w 486"/>
              <a:gd name="T87" fmla="*/ 176 h 488"/>
              <a:gd name="T88" fmla="*/ 106 w 486"/>
              <a:gd name="T89" fmla="*/ 197 h 488"/>
              <a:gd name="T90" fmla="*/ 87 w 486"/>
              <a:gd name="T91" fmla="*/ 307 h 488"/>
              <a:gd name="T92" fmla="*/ 98 w 486"/>
              <a:gd name="T93" fmla="*/ 244 h 488"/>
              <a:gd name="T94" fmla="*/ 118 w 486"/>
              <a:gd name="T95" fmla="*/ 357 h 488"/>
              <a:gd name="T96" fmla="*/ 201 w 486"/>
              <a:gd name="T97" fmla="*/ 391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7 h 488"/>
              <a:gd name="T106" fmla="*/ 371 w 486"/>
              <a:gd name="T107" fmla="*/ 177 h 488"/>
              <a:gd name="T108" fmla="*/ 395 w 486"/>
              <a:gd name="T109" fmla="*/ 264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5"/>
                </a:cubicBezTo>
                <a:cubicBezTo>
                  <a:pt x="450" y="234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9"/>
                  <a:pt x="485" y="212"/>
                </a:cubicBezTo>
                <a:cubicBezTo>
                  <a:pt x="484" y="209"/>
                  <a:pt x="484" y="205"/>
                  <a:pt x="483" y="202"/>
                </a:cubicBezTo>
                <a:cubicBezTo>
                  <a:pt x="482" y="196"/>
                  <a:pt x="476" y="192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1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3"/>
                  <a:pt x="426" y="103"/>
                  <a:pt x="426" y="103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4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7"/>
                  <a:pt x="379" y="57"/>
                  <a:pt x="379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4" y="38"/>
                  <a:pt x="371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2"/>
                  <a:pt x="338" y="57"/>
                  <a:pt x="330" y="55"/>
                </a:cubicBezTo>
                <a:cubicBezTo>
                  <a:pt x="319" y="52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0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8"/>
                </a:cubicBezTo>
                <a:cubicBezTo>
                  <a:pt x="262" y="38"/>
                  <a:pt x="254" y="28"/>
                  <a:pt x="255" y="17"/>
                </a:cubicBezTo>
                <a:cubicBezTo>
                  <a:pt x="256" y="13"/>
                  <a:pt x="256" y="13"/>
                  <a:pt x="256" y="13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3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4"/>
                  <a:pt x="151" y="56"/>
                </a:cubicBezTo>
                <a:cubicBezTo>
                  <a:pt x="143" y="59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4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3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70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1" y="123"/>
                  <a:pt x="68" y="131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8"/>
                  <a:pt x="45" y="178"/>
                  <a:pt x="42" y="188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7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9"/>
                </a:cubicBezTo>
                <a:cubicBezTo>
                  <a:pt x="17" y="229"/>
                  <a:pt x="17" y="229"/>
                  <a:pt x="17" y="229"/>
                </a:cubicBezTo>
                <a:cubicBezTo>
                  <a:pt x="27" y="229"/>
                  <a:pt x="35" y="237"/>
                  <a:pt x="34" y="246"/>
                </a:cubicBezTo>
                <a:cubicBezTo>
                  <a:pt x="34" y="256"/>
                  <a:pt x="26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5" y="264"/>
                  <a:pt x="0" y="269"/>
                  <a:pt x="1" y="276"/>
                </a:cubicBezTo>
                <a:cubicBezTo>
                  <a:pt x="1" y="279"/>
                  <a:pt x="2" y="282"/>
                  <a:pt x="2" y="286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1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30"/>
                  <a:pt x="17" y="337"/>
                  <a:pt x="20" y="343"/>
                </a:cubicBezTo>
                <a:cubicBezTo>
                  <a:pt x="21" y="346"/>
                  <a:pt x="23" y="349"/>
                  <a:pt x="24" y="352"/>
                </a:cubicBezTo>
                <a:cubicBezTo>
                  <a:pt x="27" y="358"/>
                  <a:pt x="34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9"/>
                </a:cubicBezTo>
                <a:cubicBezTo>
                  <a:pt x="74" y="367"/>
                  <a:pt x="71" y="378"/>
                  <a:pt x="63" y="383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7"/>
                  <a:pt x="57" y="402"/>
                </a:cubicBezTo>
                <a:cubicBezTo>
                  <a:pt x="59" y="404"/>
                  <a:pt x="61" y="407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7"/>
                  <a:pt x="106" y="401"/>
                </a:cubicBezTo>
                <a:cubicBezTo>
                  <a:pt x="115" y="407"/>
                  <a:pt x="117" y="420"/>
                  <a:pt x="110" y="428"/>
                </a:cubicBezTo>
                <a:cubicBezTo>
                  <a:pt x="106" y="431"/>
                  <a:pt x="106" y="431"/>
                  <a:pt x="106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50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2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8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8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9"/>
                  <a:pt x="293" y="455"/>
                  <a:pt x="294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9"/>
                  <a:pt x="351" y="433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1"/>
                </a:cubicBezTo>
                <a:cubicBezTo>
                  <a:pt x="372" y="451"/>
                  <a:pt x="372" y="451"/>
                  <a:pt x="372" y="451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4"/>
                  <a:pt x="399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3" y="411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4"/>
                  <a:pt x="414" y="363"/>
                  <a:pt x="419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8"/>
                </a:cubicBezTo>
                <a:cubicBezTo>
                  <a:pt x="465" y="345"/>
                  <a:pt x="466" y="342"/>
                  <a:pt x="468" y="339"/>
                </a:cubicBezTo>
                <a:cubicBezTo>
                  <a:pt x="470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10"/>
                  <a:pt x="443" y="300"/>
                </a:cubicBezTo>
                <a:cubicBezTo>
                  <a:pt x="438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2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8"/>
                  <a:pt x="366" y="153"/>
                </a:cubicBezTo>
                <a:cubicBezTo>
                  <a:pt x="359" y="157"/>
                  <a:pt x="359" y="157"/>
                  <a:pt x="359" y="157"/>
                </a:cubicBezTo>
                <a:cubicBezTo>
                  <a:pt x="342" y="134"/>
                  <a:pt x="317" y="116"/>
                  <a:pt x="289" y="107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7" y="101"/>
                  <a:pt x="267" y="101"/>
                  <a:pt x="267" y="101"/>
                </a:cubicBezTo>
                <a:cubicBezTo>
                  <a:pt x="259" y="100"/>
                  <a:pt x="251" y="99"/>
                  <a:pt x="243" y="99"/>
                </a:cubicBezTo>
                <a:cubicBezTo>
                  <a:pt x="220" y="99"/>
                  <a:pt x="199" y="104"/>
                  <a:pt x="180" y="113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6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60" y="125"/>
                  <a:pt x="160" y="125"/>
                  <a:pt x="160" y="125"/>
                </a:cubicBezTo>
                <a:cubicBezTo>
                  <a:pt x="135" y="143"/>
                  <a:pt x="116" y="168"/>
                  <a:pt x="106" y="197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8" y="193"/>
                  <a:pt x="84" y="184"/>
                  <a:pt x="89" y="176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100" y="220"/>
                  <a:pt x="100" y="220"/>
                  <a:pt x="100" y="220"/>
                </a:cubicBezTo>
                <a:cubicBezTo>
                  <a:pt x="99" y="228"/>
                  <a:pt x="98" y="236"/>
                  <a:pt x="98" y="244"/>
                </a:cubicBezTo>
                <a:cubicBezTo>
                  <a:pt x="98" y="268"/>
                  <a:pt x="104" y="291"/>
                  <a:pt x="114" y="311"/>
                </a:cubicBezTo>
                <a:lnTo>
                  <a:pt x="108" y="315"/>
                </a:lnTo>
                <a:close/>
                <a:moveTo>
                  <a:pt x="180" y="401"/>
                </a:move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27" y="331"/>
                  <a:pt x="127" y="331"/>
                  <a:pt x="127" y="331"/>
                </a:cubicBezTo>
                <a:cubicBezTo>
                  <a:pt x="145" y="355"/>
                  <a:pt x="172" y="374"/>
                  <a:pt x="202" y="383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198" y="400"/>
                  <a:pt x="189" y="405"/>
                  <a:pt x="180" y="401"/>
                </a:cubicBezTo>
                <a:close/>
                <a:moveTo>
                  <a:pt x="311" y="398"/>
                </a:moveTo>
                <a:cubicBezTo>
                  <a:pt x="237" y="413"/>
                  <a:pt x="237" y="413"/>
                  <a:pt x="237" y="413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5" y="388"/>
                  <a:pt x="225" y="388"/>
                  <a:pt x="225" y="388"/>
                </a:cubicBezTo>
                <a:cubicBezTo>
                  <a:pt x="231" y="388"/>
                  <a:pt x="237" y="389"/>
                  <a:pt x="243" y="389"/>
                </a:cubicBezTo>
                <a:cubicBezTo>
                  <a:pt x="269" y="389"/>
                  <a:pt x="293" y="382"/>
                  <a:pt x="314" y="370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7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3"/>
                  <a:pt x="337" y="364"/>
                </a:cubicBezTo>
                <a:cubicBezTo>
                  <a:pt x="333" y="357"/>
                  <a:pt x="333" y="357"/>
                  <a:pt x="333" y="357"/>
                </a:cubicBezTo>
                <a:cubicBezTo>
                  <a:pt x="356" y="339"/>
                  <a:pt x="373" y="314"/>
                  <a:pt x="382" y="284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8"/>
                  <a:pt x="400" y="307"/>
                </a:cubicBezTo>
                <a:close/>
                <a:moveTo>
                  <a:pt x="395" y="264"/>
                </a:moveTo>
                <a:cubicBezTo>
                  <a:pt x="387" y="262"/>
                  <a:pt x="387" y="262"/>
                  <a:pt x="387" y="262"/>
                </a:cubicBezTo>
                <a:cubicBezTo>
                  <a:pt x="387" y="256"/>
                  <a:pt x="388" y="250"/>
                  <a:pt x="388" y="244"/>
                </a:cubicBezTo>
                <a:cubicBezTo>
                  <a:pt x="388" y="220"/>
                  <a:pt x="382" y="197"/>
                  <a:pt x="371" y="177"/>
                </a:cubicBezTo>
                <a:cubicBezTo>
                  <a:pt x="378" y="173"/>
                  <a:pt x="378" y="173"/>
                  <a:pt x="378" y="173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59"/>
                  <a:pt x="404" y="266"/>
                  <a:pt x="395" y="26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2" name="Freeform 46"/>
          <p:cNvSpPr>
            <a:spLocks/>
          </p:cNvSpPr>
          <p:nvPr/>
        </p:nvSpPr>
        <p:spPr bwMode="auto">
          <a:xfrm>
            <a:off x="21325226" y="5279212"/>
            <a:ext cx="627356" cy="758244"/>
          </a:xfrm>
          <a:custGeom>
            <a:avLst/>
            <a:gdLst>
              <a:gd name="T0" fmla="*/ 103 w 115"/>
              <a:gd name="T1" fmla="*/ 29 h 140"/>
              <a:gd name="T2" fmla="*/ 113 w 115"/>
              <a:gd name="T3" fmla="*/ 12 h 140"/>
              <a:gd name="T4" fmla="*/ 96 w 115"/>
              <a:gd name="T5" fmla="*/ 2 h 140"/>
              <a:gd name="T6" fmla="*/ 12 w 115"/>
              <a:gd name="T7" fmla="*/ 25 h 140"/>
              <a:gd name="T8" fmla="*/ 2 w 115"/>
              <a:gd name="T9" fmla="*/ 42 h 140"/>
              <a:gd name="T10" fmla="*/ 20 w 115"/>
              <a:gd name="T11" fmla="*/ 52 h 140"/>
              <a:gd name="T12" fmla="*/ 20 w 115"/>
              <a:gd name="T13" fmla="*/ 52 h 140"/>
              <a:gd name="T14" fmla="*/ 20 w 115"/>
              <a:gd name="T15" fmla="*/ 57 h 140"/>
              <a:gd name="T16" fmla="*/ 13 w 115"/>
              <a:gd name="T17" fmla="*/ 57 h 140"/>
              <a:gd name="T18" fmla="*/ 1 w 115"/>
              <a:gd name="T19" fmla="*/ 72 h 140"/>
              <a:gd name="T20" fmla="*/ 1 w 115"/>
              <a:gd name="T21" fmla="*/ 91 h 140"/>
              <a:gd name="T22" fmla="*/ 13 w 115"/>
              <a:gd name="T23" fmla="*/ 106 h 140"/>
              <a:gd name="T24" fmla="*/ 27 w 115"/>
              <a:gd name="T25" fmla="*/ 106 h 140"/>
              <a:gd name="T26" fmla="*/ 27 w 115"/>
              <a:gd name="T27" fmla="*/ 106 h 140"/>
              <a:gd name="T28" fmla="*/ 27 w 115"/>
              <a:gd name="T29" fmla="*/ 126 h 140"/>
              <a:gd name="T30" fmla="*/ 40 w 115"/>
              <a:gd name="T31" fmla="*/ 140 h 140"/>
              <a:gd name="T32" fmla="*/ 73 w 115"/>
              <a:gd name="T33" fmla="*/ 140 h 140"/>
              <a:gd name="T34" fmla="*/ 86 w 115"/>
              <a:gd name="T35" fmla="*/ 126 h 140"/>
              <a:gd name="T36" fmla="*/ 86 w 115"/>
              <a:gd name="T37" fmla="*/ 106 h 140"/>
              <a:gd name="T38" fmla="*/ 86 w 115"/>
              <a:gd name="T39" fmla="*/ 106 h 140"/>
              <a:gd name="T40" fmla="*/ 99 w 115"/>
              <a:gd name="T41" fmla="*/ 106 h 140"/>
              <a:gd name="T42" fmla="*/ 112 w 115"/>
              <a:gd name="T43" fmla="*/ 91 h 140"/>
              <a:gd name="T44" fmla="*/ 112 w 115"/>
              <a:gd name="T45" fmla="*/ 72 h 140"/>
              <a:gd name="T46" fmla="*/ 99 w 115"/>
              <a:gd name="T47" fmla="*/ 57 h 140"/>
              <a:gd name="T48" fmla="*/ 94 w 115"/>
              <a:gd name="T49" fmla="*/ 57 h 140"/>
              <a:gd name="T50" fmla="*/ 94 w 115"/>
              <a:gd name="T51" fmla="*/ 56 h 140"/>
              <a:gd name="T52" fmla="*/ 94 w 115"/>
              <a:gd name="T53" fmla="*/ 39 h 140"/>
              <a:gd name="T54" fmla="*/ 94 w 115"/>
              <a:gd name="T55" fmla="*/ 39 h 140"/>
              <a:gd name="T56" fmla="*/ 73 w 115"/>
              <a:gd name="T57" fmla="*/ 44 h 140"/>
              <a:gd name="T58" fmla="*/ 73 w 115"/>
              <a:gd name="T59" fmla="*/ 56 h 140"/>
              <a:gd name="T60" fmla="*/ 73 w 115"/>
              <a:gd name="T61" fmla="*/ 57 h 140"/>
              <a:gd name="T62" fmla="*/ 41 w 115"/>
              <a:gd name="T63" fmla="*/ 57 h 140"/>
              <a:gd name="T64" fmla="*/ 41 w 115"/>
              <a:gd name="T65" fmla="*/ 46 h 140"/>
              <a:gd name="T66" fmla="*/ 103 w 115"/>
              <a:gd name="T67" fmla="*/ 29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5" h="140">
                <a:moveTo>
                  <a:pt x="103" y="29"/>
                </a:move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20" y="52"/>
                  <a:pt x="20" y="52"/>
                  <a:pt x="20" y="52"/>
                </a:cubicBezTo>
                <a:cubicBezTo>
                  <a:pt x="20" y="57"/>
                  <a:pt x="20" y="57"/>
                  <a:pt x="20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7" y="57"/>
                  <a:pt x="1" y="64"/>
                  <a:pt x="1" y="72"/>
                </a:cubicBezTo>
                <a:cubicBezTo>
                  <a:pt x="1" y="91"/>
                  <a:pt x="1" y="91"/>
                  <a:pt x="1" y="91"/>
                </a:cubicBezTo>
                <a:cubicBezTo>
                  <a:pt x="1" y="99"/>
                  <a:pt x="7" y="106"/>
                  <a:pt x="13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26"/>
                  <a:pt x="27" y="126"/>
                  <a:pt x="27" y="126"/>
                </a:cubicBezTo>
                <a:cubicBezTo>
                  <a:pt x="27" y="134"/>
                  <a:pt x="37" y="140"/>
                  <a:pt x="40" y="140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76" y="140"/>
                  <a:pt x="86" y="134"/>
                  <a:pt x="86" y="12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6" y="106"/>
                  <a:pt x="112" y="99"/>
                  <a:pt x="112" y="91"/>
                </a:cubicBezTo>
                <a:cubicBezTo>
                  <a:pt x="112" y="72"/>
                  <a:pt x="112" y="72"/>
                  <a:pt x="112" y="72"/>
                </a:cubicBezTo>
                <a:cubicBezTo>
                  <a:pt x="112" y="64"/>
                  <a:pt x="106" y="57"/>
                  <a:pt x="99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4" y="57"/>
                  <a:pt x="94" y="56"/>
                  <a:pt x="94" y="56"/>
                </a:cubicBezTo>
                <a:cubicBezTo>
                  <a:pt x="94" y="39"/>
                  <a:pt x="94" y="39"/>
                  <a:pt x="94" y="39"/>
                </a:cubicBezTo>
                <a:cubicBezTo>
                  <a:pt x="94" y="39"/>
                  <a:pt x="94" y="39"/>
                  <a:pt x="94" y="39"/>
                </a:cubicBezTo>
                <a:cubicBezTo>
                  <a:pt x="73" y="44"/>
                  <a:pt x="73" y="44"/>
                  <a:pt x="73" y="44"/>
                </a:cubicBezTo>
                <a:cubicBezTo>
                  <a:pt x="73" y="56"/>
                  <a:pt x="73" y="56"/>
                  <a:pt x="73" y="56"/>
                </a:cubicBezTo>
                <a:cubicBezTo>
                  <a:pt x="73" y="56"/>
                  <a:pt x="73" y="57"/>
                  <a:pt x="73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46"/>
                  <a:pt x="41" y="46"/>
                  <a:pt x="41" y="46"/>
                </a:cubicBezTo>
                <a:lnTo>
                  <a:pt x="103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3" name="Freeform 47"/>
          <p:cNvSpPr>
            <a:spLocks/>
          </p:cNvSpPr>
          <p:nvPr/>
        </p:nvSpPr>
        <p:spPr bwMode="auto">
          <a:xfrm>
            <a:off x="21325226" y="5089652"/>
            <a:ext cx="627356" cy="291112"/>
          </a:xfrm>
          <a:custGeom>
            <a:avLst/>
            <a:gdLst>
              <a:gd name="T0" fmla="*/ 96 w 115"/>
              <a:gd name="T1" fmla="*/ 2 h 54"/>
              <a:gd name="T2" fmla="*/ 12 w 115"/>
              <a:gd name="T3" fmla="*/ 25 h 54"/>
              <a:gd name="T4" fmla="*/ 2 w 115"/>
              <a:gd name="T5" fmla="*/ 42 h 54"/>
              <a:gd name="T6" fmla="*/ 20 w 115"/>
              <a:gd name="T7" fmla="*/ 52 h 54"/>
              <a:gd name="T8" fmla="*/ 103 w 115"/>
              <a:gd name="T9" fmla="*/ 29 h 54"/>
              <a:gd name="T10" fmla="*/ 113 w 115"/>
              <a:gd name="T11" fmla="*/ 12 h 54"/>
              <a:gd name="T12" fmla="*/ 96 w 115"/>
              <a:gd name="T13" fmla="*/ 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4">
                <a:moveTo>
                  <a:pt x="96" y="2"/>
                </a:move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103" y="29"/>
                  <a:pt x="103" y="29"/>
                  <a:pt x="103" y="29"/>
                </a:cubicBez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4" name="Freeform 48"/>
          <p:cNvSpPr>
            <a:spLocks/>
          </p:cNvSpPr>
          <p:nvPr/>
        </p:nvSpPr>
        <p:spPr bwMode="auto">
          <a:xfrm>
            <a:off x="21325226" y="4900091"/>
            <a:ext cx="627356" cy="297882"/>
          </a:xfrm>
          <a:custGeom>
            <a:avLst/>
            <a:gdLst>
              <a:gd name="T0" fmla="*/ 20 w 115"/>
              <a:gd name="T1" fmla="*/ 53 h 55"/>
              <a:gd name="T2" fmla="*/ 103 w 115"/>
              <a:gd name="T3" fmla="*/ 30 h 55"/>
              <a:gd name="T4" fmla="*/ 113 w 115"/>
              <a:gd name="T5" fmla="*/ 12 h 55"/>
              <a:gd name="T6" fmla="*/ 96 w 115"/>
              <a:gd name="T7" fmla="*/ 3 h 55"/>
              <a:gd name="T8" fmla="*/ 12 w 115"/>
              <a:gd name="T9" fmla="*/ 25 h 55"/>
              <a:gd name="T10" fmla="*/ 2 w 115"/>
              <a:gd name="T11" fmla="*/ 43 h 55"/>
              <a:gd name="T12" fmla="*/ 20 w 115"/>
              <a:gd name="T13" fmla="*/ 5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5">
                <a:moveTo>
                  <a:pt x="20" y="53"/>
                </a:moveTo>
                <a:cubicBezTo>
                  <a:pt x="103" y="30"/>
                  <a:pt x="103" y="30"/>
                  <a:pt x="103" y="30"/>
                </a:cubicBezTo>
                <a:cubicBezTo>
                  <a:pt x="111" y="28"/>
                  <a:pt x="115" y="20"/>
                  <a:pt x="113" y="12"/>
                </a:cubicBezTo>
                <a:cubicBezTo>
                  <a:pt x="111" y="5"/>
                  <a:pt x="104" y="0"/>
                  <a:pt x="96" y="3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8"/>
                  <a:pt x="0" y="35"/>
                  <a:pt x="2" y="43"/>
                </a:cubicBezTo>
                <a:cubicBezTo>
                  <a:pt x="4" y="51"/>
                  <a:pt x="12" y="55"/>
                  <a:pt x="20" y="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5" name="Freeform 49"/>
          <p:cNvSpPr>
            <a:spLocks/>
          </p:cNvSpPr>
          <p:nvPr/>
        </p:nvSpPr>
        <p:spPr bwMode="auto">
          <a:xfrm>
            <a:off x="21449344" y="4909116"/>
            <a:ext cx="318192" cy="88012"/>
          </a:xfrm>
          <a:custGeom>
            <a:avLst/>
            <a:gdLst>
              <a:gd name="T0" fmla="*/ 58 w 58"/>
              <a:gd name="T1" fmla="*/ 0 h 16"/>
              <a:gd name="T2" fmla="*/ 11 w 58"/>
              <a:gd name="T3" fmla="*/ 0 h 16"/>
              <a:gd name="T4" fmla="*/ 3 w 58"/>
              <a:gd name="T5" fmla="*/ 3 h 16"/>
              <a:gd name="T6" fmla="*/ 0 w 58"/>
              <a:gd name="T7" fmla="*/ 12 h 16"/>
              <a:gd name="T8" fmla="*/ 1 w 58"/>
              <a:gd name="T9" fmla="*/ 16 h 16"/>
              <a:gd name="T10" fmla="*/ 58 w 58"/>
              <a:gd name="T11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16">
                <a:moveTo>
                  <a:pt x="58" y="0"/>
                </a:move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5" y="1"/>
                  <a:pt x="3" y="3"/>
                </a:cubicBezTo>
                <a:cubicBezTo>
                  <a:pt x="1" y="5"/>
                  <a:pt x="0" y="8"/>
                  <a:pt x="0" y="12"/>
                </a:cubicBezTo>
                <a:cubicBezTo>
                  <a:pt x="0" y="13"/>
                  <a:pt x="0" y="14"/>
                  <a:pt x="1" y="16"/>
                </a:cubicBezTo>
                <a:lnTo>
                  <a:pt x="5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6" name="Freeform 17"/>
          <p:cNvSpPr>
            <a:spLocks noEditPoints="1"/>
          </p:cNvSpPr>
          <p:nvPr/>
        </p:nvSpPr>
        <p:spPr bwMode="auto">
          <a:xfrm>
            <a:off x="9435030" y="6728315"/>
            <a:ext cx="1215368" cy="1215370"/>
          </a:xfrm>
          <a:custGeom>
            <a:avLst/>
            <a:gdLst>
              <a:gd name="T0" fmla="*/ 58 w 390"/>
              <a:gd name="T1" fmla="*/ 56 h 391"/>
              <a:gd name="T2" fmla="*/ 58 w 390"/>
              <a:gd name="T3" fmla="*/ 84 h 391"/>
              <a:gd name="T4" fmla="*/ 20 w 390"/>
              <a:gd name="T5" fmla="*/ 110 h 391"/>
              <a:gd name="T6" fmla="*/ 23 w 390"/>
              <a:gd name="T7" fmla="*/ 155 h 391"/>
              <a:gd name="T8" fmla="*/ 1 w 390"/>
              <a:gd name="T9" fmla="*/ 173 h 391"/>
              <a:gd name="T10" fmla="*/ 18 w 390"/>
              <a:gd name="T11" fmla="*/ 202 h 391"/>
              <a:gd name="T12" fmla="*/ 0 w 390"/>
              <a:gd name="T13" fmla="*/ 215 h 391"/>
              <a:gd name="T14" fmla="*/ 22 w 390"/>
              <a:gd name="T15" fmla="*/ 233 h 391"/>
              <a:gd name="T16" fmla="*/ 18 w 390"/>
              <a:gd name="T17" fmla="*/ 279 h 391"/>
              <a:gd name="T18" fmla="*/ 56 w 390"/>
              <a:gd name="T19" fmla="*/ 305 h 391"/>
              <a:gd name="T20" fmla="*/ 56 w 390"/>
              <a:gd name="T21" fmla="*/ 333 h 391"/>
              <a:gd name="T22" fmla="*/ 89 w 390"/>
              <a:gd name="T23" fmla="*/ 360 h 391"/>
              <a:gd name="T24" fmla="*/ 116 w 390"/>
              <a:gd name="T25" fmla="*/ 354 h 391"/>
              <a:gd name="T26" fmla="*/ 150 w 390"/>
              <a:gd name="T27" fmla="*/ 386 h 391"/>
              <a:gd name="T28" fmla="*/ 172 w 390"/>
              <a:gd name="T29" fmla="*/ 371 h 391"/>
              <a:gd name="T30" fmla="*/ 194 w 390"/>
              <a:gd name="T31" fmla="*/ 372 h 391"/>
              <a:gd name="T32" fmla="*/ 216 w 390"/>
              <a:gd name="T33" fmla="*/ 390 h 391"/>
              <a:gd name="T34" fmla="*/ 257 w 390"/>
              <a:gd name="T35" fmla="*/ 381 h 391"/>
              <a:gd name="T36" fmla="*/ 270 w 390"/>
              <a:gd name="T37" fmla="*/ 356 h 391"/>
              <a:gd name="T38" fmla="*/ 315 w 390"/>
              <a:gd name="T39" fmla="*/ 349 h 391"/>
              <a:gd name="T40" fmla="*/ 314 w 390"/>
              <a:gd name="T41" fmla="*/ 326 h 391"/>
              <a:gd name="T42" fmla="*/ 355 w 390"/>
              <a:gd name="T43" fmla="*/ 307 h 391"/>
              <a:gd name="T44" fmla="*/ 359 w 390"/>
              <a:gd name="T45" fmla="*/ 261 h 391"/>
              <a:gd name="T46" fmla="*/ 383 w 390"/>
              <a:gd name="T47" fmla="*/ 247 h 391"/>
              <a:gd name="T48" fmla="*/ 390 w 390"/>
              <a:gd name="T49" fmla="*/ 205 h 391"/>
              <a:gd name="T50" fmla="*/ 371 w 390"/>
              <a:gd name="T51" fmla="*/ 184 h 391"/>
              <a:gd name="T52" fmla="*/ 382 w 390"/>
              <a:gd name="T53" fmla="*/ 140 h 391"/>
              <a:gd name="T54" fmla="*/ 348 w 390"/>
              <a:gd name="T55" fmla="*/ 108 h 391"/>
              <a:gd name="T56" fmla="*/ 352 w 390"/>
              <a:gd name="T57" fmla="*/ 80 h 391"/>
              <a:gd name="T58" fmla="*/ 316 w 390"/>
              <a:gd name="T59" fmla="*/ 67 h 391"/>
              <a:gd name="T60" fmla="*/ 311 w 390"/>
              <a:gd name="T61" fmla="*/ 39 h 391"/>
              <a:gd name="T62" fmla="*/ 275 w 390"/>
              <a:gd name="T63" fmla="*/ 18 h 391"/>
              <a:gd name="T64" fmla="*/ 248 w 390"/>
              <a:gd name="T65" fmla="*/ 28 h 391"/>
              <a:gd name="T66" fmla="*/ 211 w 390"/>
              <a:gd name="T67" fmla="*/ 1 h 391"/>
              <a:gd name="T68" fmla="*/ 169 w 390"/>
              <a:gd name="T69" fmla="*/ 21 h 391"/>
              <a:gd name="T70" fmla="*/ 145 w 390"/>
              <a:gd name="T71" fmla="*/ 7 h 391"/>
              <a:gd name="T72" fmla="*/ 106 w 390"/>
              <a:gd name="T73" fmla="*/ 22 h 391"/>
              <a:gd name="T74" fmla="*/ 97 w 390"/>
              <a:gd name="T75" fmla="*/ 49 h 391"/>
              <a:gd name="T76" fmla="*/ 41 w 390"/>
              <a:gd name="T77" fmla="*/ 203 h 391"/>
              <a:gd name="T78" fmla="*/ 173 w 390"/>
              <a:gd name="T79" fmla="*/ 348 h 391"/>
              <a:gd name="T80" fmla="*/ 213 w 390"/>
              <a:gd name="T81" fmla="*/ 179 h 391"/>
              <a:gd name="T82" fmla="*/ 178 w 390"/>
              <a:gd name="T83" fmla="*/ 178 h 391"/>
              <a:gd name="T84" fmla="*/ 202 w 390"/>
              <a:gd name="T85" fmla="*/ 349 h 391"/>
              <a:gd name="T86" fmla="*/ 346 w 390"/>
              <a:gd name="T87" fmla="*/ 217 h 391"/>
              <a:gd name="T88" fmla="*/ 296 w 390"/>
              <a:gd name="T89" fmla="*/ 186 h 391"/>
              <a:gd name="T90" fmla="*/ 307 w 390"/>
              <a:gd name="T91" fmla="*/ 93 h 391"/>
              <a:gd name="T92" fmla="*/ 94 w 390"/>
              <a:gd name="T93" fmla="*/ 177 h 391"/>
              <a:gd name="T94" fmla="*/ 187 w 390"/>
              <a:gd name="T95" fmla="*/ 4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90" h="391">
                <a:moveTo>
                  <a:pt x="76" y="65"/>
                </a:moveTo>
                <a:cubicBezTo>
                  <a:pt x="76" y="65"/>
                  <a:pt x="75" y="65"/>
                  <a:pt x="75" y="66"/>
                </a:cubicBezTo>
                <a:cubicBezTo>
                  <a:pt x="58" y="56"/>
                  <a:pt x="58" y="56"/>
                  <a:pt x="58" y="56"/>
                </a:cubicBezTo>
                <a:cubicBezTo>
                  <a:pt x="53" y="62"/>
                  <a:pt x="53" y="62"/>
                  <a:pt x="53" y="62"/>
                </a:cubicBezTo>
                <a:cubicBezTo>
                  <a:pt x="47" y="68"/>
                  <a:pt x="47" y="68"/>
                  <a:pt x="47" y="68"/>
                </a:cubicBezTo>
                <a:cubicBezTo>
                  <a:pt x="58" y="84"/>
                  <a:pt x="58" y="84"/>
                  <a:pt x="58" y="84"/>
                </a:cubicBezTo>
                <a:cubicBezTo>
                  <a:pt x="52" y="91"/>
                  <a:pt x="47" y="99"/>
                  <a:pt x="42" y="10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0" y="110"/>
                  <a:pt x="20" y="110"/>
                  <a:pt x="20" y="110"/>
                </a:cubicBezTo>
                <a:cubicBezTo>
                  <a:pt x="16" y="117"/>
                  <a:pt x="16" y="117"/>
                  <a:pt x="16" y="117"/>
                </a:cubicBezTo>
                <a:cubicBezTo>
                  <a:pt x="31" y="130"/>
                  <a:pt x="31" y="130"/>
                  <a:pt x="31" y="130"/>
                </a:cubicBezTo>
                <a:cubicBezTo>
                  <a:pt x="28" y="138"/>
                  <a:pt x="25" y="147"/>
                  <a:pt x="23" y="155"/>
                </a:cubicBezTo>
                <a:cubicBezTo>
                  <a:pt x="3" y="157"/>
                  <a:pt x="3" y="157"/>
                  <a:pt x="3" y="157"/>
                </a:cubicBezTo>
                <a:cubicBezTo>
                  <a:pt x="2" y="165"/>
                  <a:pt x="2" y="165"/>
                  <a:pt x="2" y="165"/>
                </a:cubicBezTo>
                <a:cubicBezTo>
                  <a:pt x="1" y="173"/>
                  <a:pt x="1" y="173"/>
                  <a:pt x="1" y="173"/>
                </a:cubicBezTo>
                <a:cubicBezTo>
                  <a:pt x="19" y="181"/>
                  <a:pt x="19" y="181"/>
                  <a:pt x="19" y="181"/>
                </a:cubicBezTo>
                <a:cubicBezTo>
                  <a:pt x="18" y="186"/>
                  <a:pt x="18" y="191"/>
                  <a:pt x="18" y="197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4"/>
                  <a:pt x="18" y="206"/>
                  <a:pt x="19" y="208"/>
                </a:cubicBezTo>
                <a:cubicBezTo>
                  <a:pt x="0" y="215"/>
                  <a:pt x="0" y="215"/>
                  <a:pt x="0" y="215"/>
                </a:cubicBezTo>
                <a:cubicBezTo>
                  <a:pt x="1" y="223"/>
                  <a:pt x="1" y="223"/>
                  <a:pt x="1" y="223"/>
                </a:cubicBezTo>
                <a:cubicBezTo>
                  <a:pt x="3" y="231"/>
                  <a:pt x="3" y="231"/>
                  <a:pt x="3" y="231"/>
                </a:cubicBezTo>
                <a:cubicBezTo>
                  <a:pt x="22" y="233"/>
                  <a:pt x="22" y="233"/>
                  <a:pt x="22" y="233"/>
                </a:cubicBezTo>
                <a:cubicBezTo>
                  <a:pt x="24" y="242"/>
                  <a:pt x="27" y="251"/>
                  <a:pt x="30" y="259"/>
                </a:cubicBezTo>
                <a:cubicBezTo>
                  <a:pt x="15" y="271"/>
                  <a:pt x="15" y="271"/>
                  <a:pt x="15" y="271"/>
                </a:cubicBezTo>
                <a:cubicBezTo>
                  <a:pt x="18" y="279"/>
                  <a:pt x="18" y="279"/>
                  <a:pt x="18" y="279"/>
                </a:cubicBezTo>
                <a:cubicBezTo>
                  <a:pt x="22" y="286"/>
                  <a:pt x="22" y="286"/>
                  <a:pt x="22" y="286"/>
                </a:cubicBezTo>
                <a:cubicBezTo>
                  <a:pt x="41" y="282"/>
                  <a:pt x="41" y="282"/>
                  <a:pt x="41" y="282"/>
                </a:cubicBezTo>
                <a:cubicBezTo>
                  <a:pt x="45" y="290"/>
                  <a:pt x="50" y="298"/>
                  <a:pt x="56" y="305"/>
                </a:cubicBezTo>
                <a:cubicBezTo>
                  <a:pt x="45" y="321"/>
                  <a:pt x="45" y="321"/>
                  <a:pt x="45" y="321"/>
                </a:cubicBezTo>
                <a:cubicBezTo>
                  <a:pt x="51" y="327"/>
                  <a:pt x="51" y="327"/>
                  <a:pt x="51" y="327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73" y="324"/>
                  <a:pt x="73" y="324"/>
                  <a:pt x="73" y="324"/>
                </a:cubicBezTo>
                <a:cubicBezTo>
                  <a:pt x="80" y="330"/>
                  <a:pt x="87" y="336"/>
                  <a:pt x="94" y="341"/>
                </a:cubicBezTo>
                <a:cubicBezTo>
                  <a:pt x="89" y="360"/>
                  <a:pt x="89" y="360"/>
                  <a:pt x="89" y="360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103" y="368"/>
                  <a:pt x="103" y="368"/>
                  <a:pt x="103" y="368"/>
                </a:cubicBezTo>
                <a:cubicBezTo>
                  <a:pt x="116" y="354"/>
                  <a:pt x="116" y="354"/>
                  <a:pt x="116" y="354"/>
                </a:cubicBezTo>
                <a:cubicBezTo>
                  <a:pt x="125" y="358"/>
                  <a:pt x="133" y="361"/>
                  <a:pt x="142" y="364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50" y="386"/>
                  <a:pt x="150" y="386"/>
                  <a:pt x="150" y="386"/>
                </a:cubicBezTo>
                <a:cubicBezTo>
                  <a:pt x="158" y="387"/>
                  <a:pt x="158" y="387"/>
                  <a:pt x="158" y="387"/>
                </a:cubicBezTo>
                <a:cubicBezTo>
                  <a:pt x="167" y="370"/>
                  <a:pt x="167" y="370"/>
                  <a:pt x="167" y="370"/>
                </a:cubicBezTo>
                <a:cubicBezTo>
                  <a:pt x="168" y="370"/>
                  <a:pt x="170" y="370"/>
                  <a:pt x="172" y="371"/>
                </a:cubicBezTo>
                <a:cubicBezTo>
                  <a:pt x="172" y="371"/>
                  <a:pt x="172" y="371"/>
                  <a:pt x="172" y="371"/>
                </a:cubicBezTo>
                <a:cubicBezTo>
                  <a:pt x="178" y="371"/>
                  <a:pt x="178" y="371"/>
                  <a:pt x="178" y="371"/>
                </a:cubicBezTo>
                <a:cubicBezTo>
                  <a:pt x="183" y="372"/>
                  <a:pt x="188" y="372"/>
                  <a:pt x="194" y="372"/>
                </a:cubicBezTo>
                <a:cubicBezTo>
                  <a:pt x="199" y="391"/>
                  <a:pt x="199" y="391"/>
                  <a:pt x="199" y="391"/>
                </a:cubicBezTo>
                <a:cubicBezTo>
                  <a:pt x="208" y="390"/>
                  <a:pt x="208" y="390"/>
                  <a:pt x="208" y="390"/>
                </a:cubicBezTo>
                <a:cubicBezTo>
                  <a:pt x="216" y="390"/>
                  <a:pt x="216" y="390"/>
                  <a:pt x="216" y="390"/>
                </a:cubicBezTo>
                <a:cubicBezTo>
                  <a:pt x="219" y="370"/>
                  <a:pt x="219" y="370"/>
                  <a:pt x="219" y="370"/>
                </a:cubicBezTo>
                <a:cubicBezTo>
                  <a:pt x="228" y="369"/>
                  <a:pt x="237" y="367"/>
                  <a:pt x="246" y="365"/>
                </a:cubicBezTo>
                <a:cubicBezTo>
                  <a:pt x="257" y="381"/>
                  <a:pt x="257" y="381"/>
                  <a:pt x="257" y="381"/>
                </a:cubicBezTo>
                <a:cubicBezTo>
                  <a:pt x="265" y="378"/>
                  <a:pt x="265" y="378"/>
                  <a:pt x="265" y="378"/>
                </a:cubicBezTo>
                <a:cubicBezTo>
                  <a:pt x="272" y="375"/>
                  <a:pt x="272" y="375"/>
                  <a:pt x="272" y="375"/>
                </a:cubicBezTo>
                <a:cubicBezTo>
                  <a:pt x="270" y="356"/>
                  <a:pt x="270" y="356"/>
                  <a:pt x="270" y="356"/>
                </a:cubicBezTo>
                <a:cubicBezTo>
                  <a:pt x="278" y="352"/>
                  <a:pt x="286" y="347"/>
                  <a:pt x="293" y="342"/>
                </a:cubicBezTo>
                <a:cubicBezTo>
                  <a:pt x="309" y="354"/>
                  <a:pt x="309" y="354"/>
                  <a:pt x="309" y="354"/>
                </a:cubicBezTo>
                <a:cubicBezTo>
                  <a:pt x="315" y="349"/>
                  <a:pt x="315" y="349"/>
                  <a:pt x="315" y="349"/>
                </a:cubicBezTo>
                <a:cubicBezTo>
                  <a:pt x="322" y="344"/>
                  <a:pt x="322" y="344"/>
                  <a:pt x="322" y="344"/>
                </a:cubicBezTo>
                <a:cubicBezTo>
                  <a:pt x="313" y="326"/>
                  <a:pt x="313" y="326"/>
                  <a:pt x="313" y="326"/>
                </a:cubicBezTo>
                <a:cubicBezTo>
                  <a:pt x="314" y="326"/>
                  <a:pt x="314" y="326"/>
                  <a:pt x="314" y="326"/>
                </a:cubicBezTo>
                <a:cubicBezTo>
                  <a:pt x="320" y="320"/>
                  <a:pt x="327" y="313"/>
                  <a:pt x="332" y="307"/>
                </a:cubicBezTo>
                <a:cubicBezTo>
                  <a:pt x="350" y="314"/>
                  <a:pt x="350" y="314"/>
                  <a:pt x="350" y="314"/>
                </a:cubicBezTo>
                <a:cubicBezTo>
                  <a:pt x="355" y="307"/>
                  <a:pt x="355" y="307"/>
                  <a:pt x="355" y="307"/>
                </a:cubicBezTo>
                <a:cubicBezTo>
                  <a:pt x="360" y="300"/>
                  <a:pt x="360" y="300"/>
                  <a:pt x="360" y="300"/>
                </a:cubicBezTo>
                <a:cubicBezTo>
                  <a:pt x="347" y="285"/>
                  <a:pt x="347" y="285"/>
                  <a:pt x="347" y="285"/>
                </a:cubicBezTo>
                <a:cubicBezTo>
                  <a:pt x="351" y="278"/>
                  <a:pt x="355" y="269"/>
                  <a:pt x="359" y="261"/>
                </a:cubicBezTo>
                <a:cubicBezTo>
                  <a:pt x="378" y="263"/>
                  <a:pt x="378" y="263"/>
                  <a:pt x="378" y="263"/>
                </a:cubicBezTo>
                <a:cubicBezTo>
                  <a:pt x="381" y="255"/>
                  <a:pt x="381" y="255"/>
                  <a:pt x="381" y="255"/>
                </a:cubicBezTo>
                <a:cubicBezTo>
                  <a:pt x="383" y="247"/>
                  <a:pt x="383" y="247"/>
                  <a:pt x="383" y="24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68" y="228"/>
                  <a:pt x="370" y="219"/>
                  <a:pt x="371" y="210"/>
                </a:cubicBezTo>
                <a:cubicBezTo>
                  <a:pt x="390" y="205"/>
                  <a:pt x="390" y="205"/>
                  <a:pt x="390" y="205"/>
                </a:cubicBezTo>
                <a:cubicBezTo>
                  <a:pt x="390" y="197"/>
                  <a:pt x="390" y="197"/>
                  <a:pt x="390" y="197"/>
                </a:cubicBezTo>
                <a:cubicBezTo>
                  <a:pt x="390" y="189"/>
                  <a:pt x="390" y="189"/>
                  <a:pt x="390" y="189"/>
                </a:cubicBezTo>
                <a:cubicBezTo>
                  <a:pt x="371" y="184"/>
                  <a:pt x="371" y="184"/>
                  <a:pt x="371" y="184"/>
                </a:cubicBezTo>
                <a:cubicBezTo>
                  <a:pt x="370" y="175"/>
                  <a:pt x="369" y="166"/>
                  <a:pt x="367" y="157"/>
                </a:cubicBezTo>
                <a:cubicBezTo>
                  <a:pt x="384" y="148"/>
                  <a:pt x="384" y="148"/>
                  <a:pt x="384" y="148"/>
                </a:cubicBezTo>
                <a:cubicBezTo>
                  <a:pt x="382" y="140"/>
                  <a:pt x="382" y="140"/>
                  <a:pt x="382" y="140"/>
                </a:cubicBezTo>
                <a:cubicBezTo>
                  <a:pt x="379" y="132"/>
                  <a:pt x="379" y="132"/>
                  <a:pt x="379" y="132"/>
                </a:cubicBezTo>
                <a:cubicBezTo>
                  <a:pt x="360" y="133"/>
                  <a:pt x="360" y="133"/>
                  <a:pt x="360" y="133"/>
                </a:cubicBezTo>
                <a:cubicBezTo>
                  <a:pt x="356" y="124"/>
                  <a:pt x="353" y="116"/>
                  <a:pt x="348" y="108"/>
                </a:cubicBezTo>
                <a:cubicBezTo>
                  <a:pt x="361" y="94"/>
                  <a:pt x="361" y="94"/>
                  <a:pt x="361" y="94"/>
                </a:cubicBezTo>
                <a:cubicBezTo>
                  <a:pt x="357" y="87"/>
                  <a:pt x="357" y="87"/>
                  <a:pt x="357" y="87"/>
                </a:cubicBezTo>
                <a:cubicBezTo>
                  <a:pt x="352" y="80"/>
                  <a:pt x="352" y="80"/>
                  <a:pt x="352" y="80"/>
                </a:cubicBezTo>
                <a:cubicBezTo>
                  <a:pt x="334" y="87"/>
                  <a:pt x="334" y="87"/>
                  <a:pt x="334" y="87"/>
                </a:cubicBezTo>
                <a:cubicBezTo>
                  <a:pt x="331" y="83"/>
                  <a:pt x="328" y="80"/>
                  <a:pt x="325" y="77"/>
                </a:cubicBezTo>
                <a:cubicBezTo>
                  <a:pt x="322" y="73"/>
                  <a:pt x="319" y="70"/>
                  <a:pt x="316" y="67"/>
                </a:cubicBezTo>
                <a:cubicBezTo>
                  <a:pt x="324" y="49"/>
                  <a:pt x="324" y="49"/>
                  <a:pt x="324" y="49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1" y="39"/>
                  <a:pt x="311" y="39"/>
                  <a:pt x="311" y="39"/>
                </a:cubicBezTo>
                <a:cubicBezTo>
                  <a:pt x="296" y="51"/>
                  <a:pt x="296" y="51"/>
                  <a:pt x="296" y="51"/>
                </a:cubicBezTo>
                <a:cubicBezTo>
                  <a:pt x="288" y="46"/>
                  <a:pt x="280" y="41"/>
                  <a:pt x="272" y="37"/>
                </a:cubicBezTo>
                <a:cubicBezTo>
                  <a:pt x="275" y="18"/>
                  <a:pt x="275" y="18"/>
                  <a:pt x="275" y="18"/>
                </a:cubicBezTo>
                <a:cubicBezTo>
                  <a:pt x="267" y="15"/>
                  <a:pt x="267" y="15"/>
                  <a:pt x="267" y="15"/>
                </a:cubicBezTo>
                <a:cubicBezTo>
                  <a:pt x="260" y="11"/>
                  <a:pt x="260" y="11"/>
                  <a:pt x="260" y="11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0" y="25"/>
                  <a:pt x="231" y="23"/>
                  <a:pt x="222" y="21"/>
                </a:cubicBezTo>
                <a:cubicBezTo>
                  <a:pt x="219" y="2"/>
                  <a:pt x="219" y="2"/>
                  <a:pt x="219" y="2"/>
                </a:cubicBezTo>
                <a:cubicBezTo>
                  <a:pt x="211" y="1"/>
                  <a:pt x="211" y="1"/>
                  <a:pt x="211" y="1"/>
                </a:cubicBezTo>
                <a:cubicBezTo>
                  <a:pt x="203" y="0"/>
                  <a:pt x="203" y="0"/>
                  <a:pt x="203" y="0"/>
                </a:cubicBezTo>
                <a:cubicBezTo>
                  <a:pt x="196" y="19"/>
                  <a:pt x="196" y="19"/>
                  <a:pt x="196" y="19"/>
                </a:cubicBezTo>
                <a:cubicBezTo>
                  <a:pt x="187" y="19"/>
                  <a:pt x="178" y="20"/>
                  <a:pt x="169" y="21"/>
                </a:cubicBezTo>
                <a:cubicBezTo>
                  <a:pt x="161" y="3"/>
                  <a:pt x="161" y="3"/>
                  <a:pt x="161" y="3"/>
                </a:cubicBezTo>
                <a:cubicBezTo>
                  <a:pt x="153" y="5"/>
                  <a:pt x="153" y="5"/>
                  <a:pt x="153" y="5"/>
                </a:cubicBezTo>
                <a:cubicBezTo>
                  <a:pt x="145" y="7"/>
                  <a:pt x="145" y="7"/>
                  <a:pt x="145" y="7"/>
                </a:cubicBezTo>
                <a:cubicBezTo>
                  <a:pt x="144" y="26"/>
                  <a:pt x="144" y="26"/>
                  <a:pt x="144" y="26"/>
                </a:cubicBezTo>
                <a:cubicBezTo>
                  <a:pt x="136" y="29"/>
                  <a:pt x="127" y="32"/>
                  <a:pt x="119" y="36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98" y="26"/>
                  <a:pt x="98" y="26"/>
                  <a:pt x="98" y="26"/>
                </a:cubicBezTo>
                <a:cubicBezTo>
                  <a:pt x="91" y="30"/>
                  <a:pt x="91" y="30"/>
                  <a:pt x="91" y="30"/>
                </a:cubicBezTo>
                <a:cubicBezTo>
                  <a:pt x="97" y="49"/>
                  <a:pt x="97" y="49"/>
                  <a:pt x="97" y="49"/>
                </a:cubicBezTo>
                <a:cubicBezTo>
                  <a:pt x="89" y="54"/>
                  <a:pt x="82" y="59"/>
                  <a:pt x="76" y="65"/>
                </a:cubicBezTo>
                <a:close/>
                <a:moveTo>
                  <a:pt x="81" y="299"/>
                </a:moveTo>
                <a:cubicBezTo>
                  <a:pt x="56" y="272"/>
                  <a:pt x="43" y="238"/>
                  <a:pt x="41" y="203"/>
                </a:cubicBezTo>
                <a:cubicBezTo>
                  <a:pt x="92" y="206"/>
                  <a:pt x="92" y="206"/>
                  <a:pt x="92" y="206"/>
                </a:cubicBezTo>
                <a:cubicBezTo>
                  <a:pt x="140" y="208"/>
                  <a:pt x="178" y="249"/>
                  <a:pt x="175" y="297"/>
                </a:cubicBezTo>
                <a:cubicBezTo>
                  <a:pt x="173" y="348"/>
                  <a:pt x="173" y="348"/>
                  <a:pt x="173" y="348"/>
                </a:cubicBezTo>
                <a:cubicBezTo>
                  <a:pt x="139" y="343"/>
                  <a:pt x="106" y="327"/>
                  <a:pt x="81" y="299"/>
                </a:cubicBezTo>
                <a:close/>
                <a:moveTo>
                  <a:pt x="178" y="178"/>
                </a:moveTo>
                <a:cubicBezTo>
                  <a:pt x="188" y="169"/>
                  <a:pt x="203" y="169"/>
                  <a:pt x="213" y="179"/>
                </a:cubicBezTo>
                <a:cubicBezTo>
                  <a:pt x="222" y="189"/>
                  <a:pt x="221" y="205"/>
                  <a:pt x="211" y="214"/>
                </a:cubicBezTo>
                <a:cubicBezTo>
                  <a:pt x="201" y="223"/>
                  <a:pt x="185" y="223"/>
                  <a:pt x="176" y="213"/>
                </a:cubicBezTo>
                <a:cubicBezTo>
                  <a:pt x="167" y="203"/>
                  <a:pt x="168" y="187"/>
                  <a:pt x="178" y="178"/>
                </a:cubicBezTo>
                <a:close/>
                <a:moveTo>
                  <a:pt x="346" y="217"/>
                </a:moveTo>
                <a:cubicBezTo>
                  <a:pt x="341" y="251"/>
                  <a:pt x="325" y="284"/>
                  <a:pt x="298" y="309"/>
                </a:cubicBezTo>
                <a:cubicBezTo>
                  <a:pt x="270" y="334"/>
                  <a:pt x="236" y="347"/>
                  <a:pt x="202" y="349"/>
                </a:cubicBezTo>
                <a:cubicBezTo>
                  <a:pt x="204" y="298"/>
                  <a:pt x="204" y="298"/>
                  <a:pt x="204" y="298"/>
                </a:cubicBezTo>
                <a:cubicBezTo>
                  <a:pt x="206" y="250"/>
                  <a:pt x="247" y="213"/>
                  <a:pt x="295" y="215"/>
                </a:cubicBezTo>
                <a:lnTo>
                  <a:pt x="346" y="217"/>
                </a:lnTo>
                <a:close/>
                <a:moveTo>
                  <a:pt x="307" y="93"/>
                </a:moveTo>
                <a:cubicBezTo>
                  <a:pt x="333" y="120"/>
                  <a:pt x="346" y="154"/>
                  <a:pt x="347" y="189"/>
                </a:cubicBezTo>
                <a:cubicBezTo>
                  <a:pt x="296" y="186"/>
                  <a:pt x="296" y="186"/>
                  <a:pt x="296" y="186"/>
                </a:cubicBezTo>
                <a:cubicBezTo>
                  <a:pt x="248" y="184"/>
                  <a:pt x="211" y="143"/>
                  <a:pt x="213" y="95"/>
                </a:cubicBezTo>
                <a:cubicBezTo>
                  <a:pt x="216" y="44"/>
                  <a:pt x="216" y="44"/>
                  <a:pt x="216" y="44"/>
                </a:cubicBezTo>
                <a:cubicBezTo>
                  <a:pt x="250" y="49"/>
                  <a:pt x="282" y="65"/>
                  <a:pt x="307" y="93"/>
                </a:cubicBezTo>
                <a:close/>
                <a:moveTo>
                  <a:pt x="187" y="43"/>
                </a:moveTo>
                <a:cubicBezTo>
                  <a:pt x="185" y="94"/>
                  <a:pt x="185" y="94"/>
                  <a:pt x="185" y="94"/>
                </a:cubicBezTo>
                <a:cubicBezTo>
                  <a:pt x="182" y="142"/>
                  <a:pt x="142" y="179"/>
                  <a:pt x="94" y="177"/>
                </a:cubicBezTo>
                <a:cubicBezTo>
                  <a:pt x="43" y="175"/>
                  <a:pt x="43" y="175"/>
                  <a:pt x="43" y="175"/>
                </a:cubicBezTo>
                <a:cubicBezTo>
                  <a:pt x="47" y="141"/>
                  <a:pt x="64" y="108"/>
                  <a:pt x="91" y="83"/>
                </a:cubicBezTo>
                <a:cubicBezTo>
                  <a:pt x="118" y="58"/>
                  <a:pt x="153" y="45"/>
                  <a:pt x="187" y="43"/>
                </a:cubicBezTo>
                <a:close/>
              </a:path>
            </a:pathLst>
          </a:custGeom>
          <a:solidFill>
            <a:schemeClr val="accent6">
              <a:alpha val="45000"/>
            </a:schemeClr>
          </a:solidFill>
          <a:ln w="11113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7" name="Freeform 17"/>
          <p:cNvSpPr>
            <a:spLocks noEditPoints="1"/>
          </p:cNvSpPr>
          <p:nvPr/>
        </p:nvSpPr>
        <p:spPr bwMode="auto">
          <a:xfrm>
            <a:off x="14147324" y="3261011"/>
            <a:ext cx="1215368" cy="1215370"/>
          </a:xfrm>
          <a:custGeom>
            <a:avLst/>
            <a:gdLst>
              <a:gd name="T0" fmla="*/ 58 w 390"/>
              <a:gd name="T1" fmla="*/ 56 h 391"/>
              <a:gd name="T2" fmla="*/ 58 w 390"/>
              <a:gd name="T3" fmla="*/ 84 h 391"/>
              <a:gd name="T4" fmla="*/ 20 w 390"/>
              <a:gd name="T5" fmla="*/ 110 h 391"/>
              <a:gd name="T6" fmla="*/ 23 w 390"/>
              <a:gd name="T7" fmla="*/ 155 h 391"/>
              <a:gd name="T8" fmla="*/ 1 w 390"/>
              <a:gd name="T9" fmla="*/ 173 h 391"/>
              <a:gd name="T10" fmla="*/ 18 w 390"/>
              <a:gd name="T11" fmla="*/ 202 h 391"/>
              <a:gd name="T12" fmla="*/ 0 w 390"/>
              <a:gd name="T13" fmla="*/ 215 h 391"/>
              <a:gd name="T14" fmla="*/ 22 w 390"/>
              <a:gd name="T15" fmla="*/ 233 h 391"/>
              <a:gd name="T16" fmla="*/ 18 w 390"/>
              <a:gd name="T17" fmla="*/ 279 h 391"/>
              <a:gd name="T18" fmla="*/ 56 w 390"/>
              <a:gd name="T19" fmla="*/ 305 h 391"/>
              <a:gd name="T20" fmla="*/ 56 w 390"/>
              <a:gd name="T21" fmla="*/ 333 h 391"/>
              <a:gd name="T22" fmla="*/ 89 w 390"/>
              <a:gd name="T23" fmla="*/ 360 h 391"/>
              <a:gd name="T24" fmla="*/ 116 w 390"/>
              <a:gd name="T25" fmla="*/ 354 h 391"/>
              <a:gd name="T26" fmla="*/ 150 w 390"/>
              <a:gd name="T27" fmla="*/ 386 h 391"/>
              <a:gd name="T28" fmla="*/ 172 w 390"/>
              <a:gd name="T29" fmla="*/ 371 h 391"/>
              <a:gd name="T30" fmla="*/ 194 w 390"/>
              <a:gd name="T31" fmla="*/ 372 h 391"/>
              <a:gd name="T32" fmla="*/ 216 w 390"/>
              <a:gd name="T33" fmla="*/ 390 h 391"/>
              <a:gd name="T34" fmla="*/ 257 w 390"/>
              <a:gd name="T35" fmla="*/ 381 h 391"/>
              <a:gd name="T36" fmla="*/ 270 w 390"/>
              <a:gd name="T37" fmla="*/ 356 h 391"/>
              <a:gd name="T38" fmla="*/ 315 w 390"/>
              <a:gd name="T39" fmla="*/ 349 h 391"/>
              <a:gd name="T40" fmla="*/ 314 w 390"/>
              <a:gd name="T41" fmla="*/ 326 h 391"/>
              <a:gd name="T42" fmla="*/ 355 w 390"/>
              <a:gd name="T43" fmla="*/ 307 h 391"/>
              <a:gd name="T44" fmla="*/ 359 w 390"/>
              <a:gd name="T45" fmla="*/ 261 h 391"/>
              <a:gd name="T46" fmla="*/ 383 w 390"/>
              <a:gd name="T47" fmla="*/ 247 h 391"/>
              <a:gd name="T48" fmla="*/ 390 w 390"/>
              <a:gd name="T49" fmla="*/ 205 h 391"/>
              <a:gd name="T50" fmla="*/ 371 w 390"/>
              <a:gd name="T51" fmla="*/ 184 h 391"/>
              <a:gd name="T52" fmla="*/ 382 w 390"/>
              <a:gd name="T53" fmla="*/ 140 h 391"/>
              <a:gd name="T54" fmla="*/ 348 w 390"/>
              <a:gd name="T55" fmla="*/ 108 h 391"/>
              <a:gd name="T56" fmla="*/ 352 w 390"/>
              <a:gd name="T57" fmla="*/ 80 h 391"/>
              <a:gd name="T58" fmla="*/ 316 w 390"/>
              <a:gd name="T59" fmla="*/ 67 h 391"/>
              <a:gd name="T60" fmla="*/ 311 w 390"/>
              <a:gd name="T61" fmla="*/ 39 h 391"/>
              <a:gd name="T62" fmla="*/ 275 w 390"/>
              <a:gd name="T63" fmla="*/ 18 h 391"/>
              <a:gd name="T64" fmla="*/ 248 w 390"/>
              <a:gd name="T65" fmla="*/ 28 h 391"/>
              <a:gd name="T66" fmla="*/ 211 w 390"/>
              <a:gd name="T67" fmla="*/ 1 h 391"/>
              <a:gd name="T68" fmla="*/ 169 w 390"/>
              <a:gd name="T69" fmla="*/ 21 h 391"/>
              <a:gd name="T70" fmla="*/ 145 w 390"/>
              <a:gd name="T71" fmla="*/ 7 h 391"/>
              <a:gd name="T72" fmla="*/ 106 w 390"/>
              <a:gd name="T73" fmla="*/ 22 h 391"/>
              <a:gd name="T74" fmla="*/ 97 w 390"/>
              <a:gd name="T75" fmla="*/ 49 h 391"/>
              <a:gd name="T76" fmla="*/ 41 w 390"/>
              <a:gd name="T77" fmla="*/ 203 h 391"/>
              <a:gd name="T78" fmla="*/ 173 w 390"/>
              <a:gd name="T79" fmla="*/ 348 h 391"/>
              <a:gd name="T80" fmla="*/ 213 w 390"/>
              <a:gd name="T81" fmla="*/ 179 h 391"/>
              <a:gd name="T82" fmla="*/ 178 w 390"/>
              <a:gd name="T83" fmla="*/ 178 h 391"/>
              <a:gd name="T84" fmla="*/ 202 w 390"/>
              <a:gd name="T85" fmla="*/ 349 h 391"/>
              <a:gd name="T86" fmla="*/ 346 w 390"/>
              <a:gd name="T87" fmla="*/ 217 h 391"/>
              <a:gd name="T88" fmla="*/ 296 w 390"/>
              <a:gd name="T89" fmla="*/ 186 h 391"/>
              <a:gd name="T90" fmla="*/ 307 w 390"/>
              <a:gd name="T91" fmla="*/ 93 h 391"/>
              <a:gd name="T92" fmla="*/ 94 w 390"/>
              <a:gd name="T93" fmla="*/ 177 h 391"/>
              <a:gd name="T94" fmla="*/ 187 w 390"/>
              <a:gd name="T95" fmla="*/ 4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90" h="391">
                <a:moveTo>
                  <a:pt x="76" y="65"/>
                </a:moveTo>
                <a:cubicBezTo>
                  <a:pt x="76" y="65"/>
                  <a:pt x="75" y="65"/>
                  <a:pt x="75" y="66"/>
                </a:cubicBezTo>
                <a:cubicBezTo>
                  <a:pt x="58" y="56"/>
                  <a:pt x="58" y="56"/>
                  <a:pt x="58" y="56"/>
                </a:cubicBezTo>
                <a:cubicBezTo>
                  <a:pt x="53" y="62"/>
                  <a:pt x="53" y="62"/>
                  <a:pt x="53" y="62"/>
                </a:cubicBezTo>
                <a:cubicBezTo>
                  <a:pt x="47" y="68"/>
                  <a:pt x="47" y="68"/>
                  <a:pt x="47" y="68"/>
                </a:cubicBezTo>
                <a:cubicBezTo>
                  <a:pt x="58" y="84"/>
                  <a:pt x="58" y="84"/>
                  <a:pt x="58" y="84"/>
                </a:cubicBezTo>
                <a:cubicBezTo>
                  <a:pt x="52" y="91"/>
                  <a:pt x="47" y="99"/>
                  <a:pt x="42" y="10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0" y="110"/>
                  <a:pt x="20" y="110"/>
                  <a:pt x="20" y="110"/>
                </a:cubicBezTo>
                <a:cubicBezTo>
                  <a:pt x="16" y="117"/>
                  <a:pt x="16" y="117"/>
                  <a:pt x="16" y="117"/>
                </a:cubicBezTo>
                <a:cubicBezTo>
                  <a:pt x="31" y="130"/>
                  <a:pt x="31" y="130"/>
                  <a:pt x="31" y="130"/>
                </a:cubicBezTo>
                <a:cubicBezTo>
                  <a:pt x="28" y="138"/>
                  <a:pt x="25" y="147"/>
                  <a:pt x="23" y="155"/>
                </a:cubicBezTo>
                <a:cubicBezTo>
                  <a:pt x="3" y="157"/>
                  <a:pt x="3" y="157"/>
                  <a:pt x="3" y="157"/>
                </a:cubicBezTo>
                <a:cubicBezTo>
                  <a:pt x="2" y="165"/>
                  <a:pt x="2" y="165"/>
                  <a:pt x="2" y="165"/>
                </a:cubicBezTo>
                <a:cubicBezTo>
                  <a:pt x="1" y="173"/>
                  <a:pt x="1" y="173"/>
                  <a:pt x="1" y="173"/>
                </a:cubicBezTo>
                <a:cubicBezTo>
                  <a:pt x="19" y="181"/>
                  <a:pt x="19" y="181"/>
                  <a:pt x="19" y="181"/>
                </a:cubicBezTo>
                <a:cubicBezTo>
                  <a:pt x="18" y="186"/>
                  <a:pt x="18" y="191"/>
                  <a:pt x="18" y="197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4"/>
                  <a:pt x="18" y="206"/>
                  <a:pt x="19" y="208"/>
                </a:cubicBezTo>
                <a:cubicBezTo>
                  <a:pt x="0" y="215"/>
                  <a:pt x="0" y="215"/>
                  <a:pt x="0" y="215"/>
                </a:cubicBezTo>
                <a:cubicBezTo>
                  <a:pt x="1" y="223"/>
                  <a:pt x="1" y="223"/>
                  <a:pt x="1" y="223"/>
                </a:cubicBezTo>
                <a:cubicBezTo>
                  <a:pt x="3" y="231"/>
                  <a:pt x="3" y="231"/>
                  <a:pt x="3" y="231"/>
                </a:cubicBezTo>
                <a:cubicBezTo>
                  <a:pt x="22" y="233"/>
                  <a:pt x="22" y="233"/>
                  <a:pt x="22" y="233"/>
                </a:cubicBezTo>
                <a:cubicBezTo>
                  <a:pt x="24" y="242"/>
                  <a:pt x="27" y="251"/>
                  <a:pt x="30" y="259"/>
                </a:cubicBezTo>
                <a:cubicBezTo>
                  <a:pt x="15" y="271"/>
                  <a:pt x="15" y="271"/>
                  <a:pt x="15" y="271"/>
                </a:cubicBezTo>
                <a:cubicBezTo>
                  <a:pt x="18" y="279"/>
                  <a:pt x="18" y="279"/>
                  <a:pt x="18" y="279"/>
                </a:cubicBezTo>
                <a:cubicBezTo>
                  <a:pt x="22" y="286"/>
                  <a:pt x="22" y="286"/>
                  <a:pt x="22" y="286"/>
                </a:cubicBezTo>
                <a:cubicBezTo>
                  <a:pt x="41" y="282"/>
                  <a:pt x="41" y="282"/>
                  <a:pt x="41" y="282"/>
                </a:cubicBezTo>
                <a:cubicBezTo>
                  <a:pt x="45" y="290"/>
                  <a:pt x="50" y="298"/>
                  <a:pt x="56" y="305"/>
                </a:cubicBezTo>
                <a:cubicBezTo>
                  <a:pt x="45" y="321"/>
                  <a:pt x="45" y="321"/>
                  <a:pt x="45" y="321"/>
                </a:cubicBezTo>
                <a:cubicBezTo>
                  <a:pt x="51" y="327"/>
                  <a:pt x="51" y="327"/>
                  <a:pt x="51" y="327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73" y="324"/>
                  <a:pt x="73" y="324"/>
                  <a:pt x="73" y="324"/>
                </a:cubicBezTo>
                <a:cubicBezTo>
                  <a:pt x="80" y="330"/>
                  <a:pt x="87" y="336"/>
                  <a:pt x="94" y="341"/>
                </a:cubicBezTo>
                <a:cubicBezTo>
                  <a:pt x="89" y="360"/>
                  <a:pt x="89" y="360"/>
                  <a:pt x="89" y="360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103" y="368"/>
                  <a:pt x="103" y="368"/>
                  <a:pt x="103" y="368"/>
                </a:cubicBezTo>
                <a:cubicBezTo>
                  <a:pt x="116" y="354"/>
                  <a:pt x="116" y="354"/>
                  <a:pt x="116" y="354"/>
                </a:cubicBezTo>
                <a:cubicBezTo>
                  <a:pt x="125" y="358"/>
                  <a:pt x="133" y="361"/>
                  <a:pt x="142" y="364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50" y="386"/>
                  <a:pt x="150" y="386"/>
                  <a:pt x="150" y="386"/>
                </a:cubicBezTo>
                <a:cubicBezTo>
                  <a:pt x="158" y="387"/>
                  <a:pt x="158" y="387"/>
                  <a:pt x="158" y="387"/>
                </a:cubicBezTo>
                <a:cubicBezTo>
                  <a:pt x="167" y="370"/>
                  <a:pt x="167" y="370"/>
                  <a:pt x="167" y="370"/>
                </a:cubicBezTo>
                <a:cubicBezTo>
                  <a:pt x="168" y="370"/>
                  <a:pt x="170" y="370"/>
                  <a:pt x="172" y="371"/>
                </a:cubicBezTo>
                <a:cubicBezTo>
                  <a:pt x="172" y="371"/>
                  <a:pt x="172" y="371"/>
                  <a:pt x="172" y="371"/>
                </a:cubicBezTo>
                <a:cubicBezTo>
                  <a:pt x="178" y="371"/>
                  <a:pt x="178" y="371"/>
                  <a:pt x="178" y="371"/>
                </a:cubicBezTo>
                <a:cubicBezTo>
                  <a:pt x="183" y="372"/>
                  <a:pt x="188" y="372"/>
                  <a:pt x="194" y="372"/>
                </a:cubicBezTo>
                <a:cubicBezTo>
                  <a:pt x="199" y="391"/>
                  <a:pt x="199" y="391"/>
                  <a:pt x="199" y="391"/>
                </a:cubicBezTo>
                <a:cubicBezTo>
                  <a:pt x="208" y="390"/>
                  <a:pt x="208" y="390"/>
                  <a:pt x="208" y="390"/>
                </a:cubicBezTo>
                <a:cubicBezTo>
                  <a:pt x="216" y="390"/>
                  <a:pt x="216" y="390"/>
                  <a:pt x="216" y="390"/>
                </a:cubicBezTo>
                <a:cubicBezTo>
                  <a:pt x="219" y="370"/>
                  <a:pt x="219" y="370"/>
                  <a:pt x="219" y="370"/>
                </a:cubicBezTo>
                <a:cubicBezTo>
                  <a:pt x="228" y="369"/>
                  <a:pt x="237" y="367"/>
                  <a:pt x="246" y="365"/>
                </a:cubicBezTo>
                <a:cubicBezTo>
                  <a:pt x="257" y="381"/>
                  <a:pt x="257" y="381"/>
                  <a:pt x="257" y="381"/>
                </a:cubicBezTo>
                <a:cubicBezTo>
                  <a:pt x="265" y="378"/>
                  <a:pt x="265" y="378"/>
                  <a:pt x="265" y="378"/>
                </a:cubicBezTo>
                <a:cubicBezTo>
                  <a:pt x="272" y="375"/>
                  <a:pt x="272" y="375"/>
                  <a:pt x="272" y="375"/>
                </a:cubicBezTo>
                <a:cubicBezTo>
                  <a:pt x="270" y="356"/>
                  <a:pt x="270" y="356"/>
                  <a:pt x="270" y="356"/>
                </a:cubicBezTo>
                <a:cubicBezTo>
                  <a:pt x="278" y="352"/>
                  <a:pt x="286" y="347"/>
                  <a:pt x="293" y="342"/>
                </a:cubicBezTo>
                <a:cubicBezTo>
                  <a:pt x="309" y="354"/>
                  <a:pt x="309" y="354"/>
                  <a:pt x="309" y="354"/>
                </a:cubicBezTo>
                <a:cubicBezTo>
                  <a:pt x="315" y="349"/>
                  <a:pt x="315" y="349"/>
                  <a:pt x="315" y="349"/>
                </a:cubicBezTo>
                <a:cubicBezTo>
                  <a:pt x="322" y="344"/>
                  <a:pt x="322" y="344"/>
                  <a:pt x="322" y="344"/>
                </a:cubicBezTo>
                <a:cubicBezTo>
                  <a:pt x="313" y="326"/>
                  <a:pt x="313" y="326"/>
                  <a:pt x="313" y="326"/>
                </a:cubicBezTo>
                <a:cubicBezTo>
                  <a:pt x="314" y="326"/>
                  <a:pt x="314" y="326"/>
                  <a:pt x="314" y="326"/>
                </a:cubicBezTo>
                <a:cubicBezTo>
                  <a:pt x="320" y="320"/>
                  <a:pt x="327" y="313"/>
                  <a:pt x="332" y="307"/>
                </a:cubicBezTo>
                <a:cubicBezTo>
                  <a:pt x="350" y="314"/>
                  <a:pt x="350" y="314"/>
                  <a:pt x="350" y="314"/>
                </a:cubicBezTo>
                <a:cubicBezTo>
                  <a:pt x="355" y="307"/>
                  <a:pt x="355" y="307"/>
                  <a:pt x="355" y="307"/>
                </a:cubicBezTo>
                <a:cubicBezTo>
                  <a:pt x="360" y="300"/>
                  <a:pt x="360" y="300"/>
                  <a:pt x="360" y="300"/>
                </a:cubicBezTo>
                <a:cubicBezTo>
                  <a:pt x="347" y="285"/>
                  <a:pt x="347" y="285"/>
                  <a:pt x="347" y="285"/>
                </a:cubicBezTo>
                <a:cubicBezTo>
                  <a:pt x="351" y="278"/>
                  <a:pt x="355" y="269"/>
                  <a:pt x="359" y="261"/>
                </a:cubicBezTo>
                <a:cubicBezTo>
                  <a:pt x="378" y="263"/>
                  <a:pt x="378" y="263"/>
                  <a:pt x="378" y="263"/>
                </a:cubicBezTo>
                <a:cubicBezTo>
                  <a:pt x="381" y="255"/>
                  <a:pt x="381" y="255"/>
                  <a:pt x="381" y="255"/>
                </a:cubicBezTo>
                <a:cubicBezTo>
                  <a:pt x="383" y="247"/>
                  <a:pt x="383" y="247"/>
                  <a:pt x="383" y="24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68" y="228"/>
                  <a:pt x="370" y="219"/>
                  <a:pt x="371" y="210"/>
                </a:cubicBezTo>
                <a:cubicBezTo>
                  <a:pt x="390" y="205"/>
                  <a:pt x="390" y="205"/>
                  <a:pt x="390" y="205"/>
                </a:cubicBezTo>
                <a:cubicBezTo>
                  <a:pt x="390" y="197"/>
                  <a:pt x="390" y="197"/>
                  <a:pt x="390" y="197"/>
                </a:cubicBezTo>
                <a:cubicBezTo>
                  <a:pt x="390" y="189"/>
                  <a:pt x="390" y="189"/>
                  <a:pt x="390" y="189"/>
                </a:cubicBezTo>
                <a:cubicBezTo>
                  <a:pt x="371" y="184"/>
                  <a:pt x="371" y="184"/>
                  <a:pt x="371" y="184"/>
                </a:cubicBezTo>
                <a:cubicBezTo>
                  <a:pt x="370" y="175"/>
                  <a:pt x="369" y="166"/>
                  <a:pt x="367" y="157"/>
                </a:cubicBezTo>
                <a:cubicBezTo>
                  <a:pt x="384" y="148"/>
                  <a:pt x="384" y="148"/>
                  <a:pt x="384" y="148"/>
                </a:cubicBezTo>
                <a:cubicBezTo>
                  <a:pt x="382" y="140"/>
                  <a:pt x="382" y="140"/>
                  <a:pt x="382" y="140"/>
                </a:cubicBezTo>
                <a:cubicBezTo>
                  <a:pt x="379" y="132"/>
                  <a:pt x="379" y="132"/>
                  <a:pt x="379" y="132"/>
                </a:cubicBezTo>
                <a:cubicBezTo>
                  <a:pt x="360" y="133"/>
                  <a:pt x="360" y="133"/>
                  <a:pt x="360" y="133"/>
                </a:cubicBezTo>
                <a:cubicBezTo>
                  <a:pt x="356" y="124"/>
                  <a:pt x="353" y="116"/>
                  <a:pt x="348" y="108"/>
                </a:cubicBezTo>
                <a:cubicBezTo>
                  <a:pt x="361" y="94"/>
                  <a:pt x="361" y="94"/>
                  <a:pt x="361" y="94"/>
                </a:cubicBezTo>
                <a:cubicBezTo>
                  <a:pt x="357" y="87"/>
                  <a:pt x="357" y="87"/>
                  <a:pt x="357" y="87"/>
                </a:cubicBezTo>
                <a:cubicBezTo>
                  <a:pt x="352" y="80"/>
                  <a:pt x="352" y="80"/>
                  <a:pt x="352" y="80"/>
                </a:cubicBezTo>
                <a:cubicBezTo>
                  <a:pt x="334" y="87"/>
                  <a:pt x="334" y="87"/>
                  <a:pt x="334" y="87"/>
                </a:cubicBezTo>
                <a:cubicBezTo>
                  <a:pt x="331" y="83"/>
                  <a:pt x="328" y="80"/>
                  <a:pt x="325" y="77"/>
                </a:cubicBezTo>
                <a:cubicBezTo>
                  <a:pt x="322" y="73"/>
                  <a:pt x="319" y="70"/>
                  <a:pt x="316" y="67"/>
                </a:cubicBezTo>
                <a:cubicBezTo>
                  <a:pt x="324" y="49"/>
                  <a:pt x="324" y="49"/>
                  <a:pt x="324" y="49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1" y="39"/>
                  <a:pt x="311" y="39"/>
                  <a:pt x="311" y="39"/>
                </a:cubicBezTo>
                <a:cubicBezTo>
                  <a:pt x="296" y="51"/>
                  <a:pt x="296" y="51"/>
                  <a:pt x="296" y="51"/>
                </a:cubicBezTo>
                <a:cubicBezTo>
                  <a:pt x="288" y="46"/>
                  <a:pt x="280" y="41"/>
                  <a:pt x="272" y="37"/>
                </a:cubicBezTo>
                <a:cubicBezTo>
                  <a:pt x="275" y="18"/>
                  <a:pt x="275" y="18"/>
                  <a:pt x="275" y="18"/>
                </a:cubicBezTo>
                <a:cubicBezTo>
                  <a:pt x="267" y="15"/>
                  <a:pt x="267" y="15"/>
                  <a:pt x="267" y="15"/>
                </a:cubicBezTo>
                <a:cubicBezTo>
                  <a:pt x="260" y="11"/>
                  <a:pt x="260" y="11"/>
                  <a:pt x="260" y="11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0" y="25"/>
                  <a:pt x="231" y="23"/>
                  <a:pt x="222" y="21"/>
                </a:cubicBezTo>
                <a:cubicBezTo>
                  <a:pt x="219" y="2"/>
                  <a:pt x="219" y="2"/>
                  <a:pt x="219" y="2"/>
                </a:cubicBezTo>
                <a:cubicBezTo>
                  <a:pt x="211" y="1"/>
                  <a:pt x="211" y="1"/>
                  <a:pt x="211" y="1"/>
                </a:cubicBezTo>
                <a:cubicBezTo>
                  <a:pt x="203" y="0"/>
                  <a:pt x="203" y="0"/>
                  <a:pt x="203" y="0"/>
                </a:cubicBezTo>
                <a:cubicBezTo>
                  <a:pt x="196" y="19"/>
                  <a:pt x="196" y="19"/>
                  <a:pt x="196" y="19"/>
                </a:cubicBezTo>
                <a:cubicBezTo>
                  <a:pt x="187" y="19"/>
                  <a:pt x="178" y="20"/>
                  <a:pt x="169" y="21"/>
                </a:cubicBezTo>
                <a:cubicBezTo>
                  <a:pt x="161" y="3"/>
                  <a:pt x="161" y="3"/>
                  <a:pt x="161" y="3"/>
                </a:cubicBezTo>
                <a:cubicBezTo>
                  <a:pt x="153" y="5"/>
                  <a:pt x="153" y="5"/>
                  <a:pt x="153" y="5"/>
                </a:cubicBezTo>
                <a:cubicBezTo>
                  <a:pt x="145" y="7"/>
                  <a:pt x="145" y="7"/>
                  <a:pt x="145" y="7"/>
                </a:cubicBezTo>
                <a:cubicBezTo>
                  <a:pt x="144" y="26"/>
                  <a:pt x="144" y="26"/>
                  <a:pt x="144" y="26"/>
                </a:cubicBezTo>
                <a:cubicBezTo>
                  <a:pt x="136" y="29"/>
                  <a:pt x="127" y="32"/>
                  <a:pt x="119" y="36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98" y="26"/>
                  <a:pt x="98" y="26"/>
                  <a:pt x="98" y="26"/>
                </a:cubicBezTo>
                <a:cubicBezTo>
                  <a:pt x="91" y="30"/>
                  <a:pt x="91" y="30"/>
                  <a:pt x="91" y="30"/>
                </a:cubicBezTo>
                <a:cubicBezTo>
                  <a:pt x="97" y="49"/>
                  <a:pt x="97" y="49"/>
                  <a:pt x="97" y="49"/>
                </a:cubicBezTo>
                <a:cubicBezTo>
                  <a:pt x="89" y="54"/>
                  <a:pt x="82" y="59"/>
                  <a:pt x="76" y="65"/>
                </a:cubicBezTo>
                <a:close/>
                <a:moveTo>
                  <a:pt x="81" y="299"/>
                </a:moveTo>
                <a:cubicBezTo>
                  <a:pt x="56" y="272"/>
                  <a:pt x="43" y="238"/>
                  <a:pt x="41" y="203"/>
                </a:cubicBezTo>
                <a:cubicBezTo>
                  <a:pt x="92" y="206"/>
                  <a:pt x="92" y="206"/>
                  <a:pt x="92" y="206"/>
                </a:cubicBezTo>
                <a:cubicBezTo>
                  <a:pt x="140" y="208"/>
                  <a:pt x="178" y="249"/>
                  <a:pt x="175" y="297"/>
                </a:cubicBezTo>
                <a:cubicBezTo>
                  <a:pt x="173" y="348"/>
                  <a:pt x="173" y="348"/>
                  <a:pt x="173" y="348"/>
                </a:cubicBezTo>
                <a:cubicBezTo>
                  <a:pt x="139" y="343"/>
                  <a:pt x="106" y="327"/>
                  <a:pt x="81" y="299"/>
                </a:cubicBezTo>
                <a:close/>
                <a:moveTo>
                  <a:pt x="178" y="178"/>
                </a:moveTo>
                <a:cubicBezTo>
                  <a:pt x="188" y="169"/>
                  <a:pt x="203" y="169"/>
                  <a:pt x="213" y="179"/>
                </a:cubicBezTo>
                <a:cubicBezTo>
                  <a:pt x="222" y="189"/>
                  <a:pt x="221" y="205"/>
                  <a:pt x="211" y="214"/>
                </a:cubicBezTo>
                <a:cubicBezTo>
                  <a:pt x="201" y="223"/>
                  <a:pt x="185" y="223"/>
                  <a:pt x="176" y="213"/>
                </a:cubicBezTo>
                <a:cubicBezTo>
                  <a:pt x="167" y="203"/>
                  <a:pt x="168" y="187"/>
                  <a:pt x="178" y="178"/>
                </a:cubicBezTo>
                <a:close/>
                <a:moveTo>
                  <a:pt x="346" y="217"/>
                </a:moveTo>
                <a:cubicBezTo>
                  <a:pt x="341" y="251"/>
                  <a:pt x="325" y="284"/>
                  <a:pt x="298" y="309"/>
                </a:cubicBezTo>
                <a:cubicBezTo>
                  <a:pt x="270" y="334"/>
                  <a:pt x="236" y="347"/>
                  <a:pt x="202" y="349"/>
                </a:cubicBezTo>
                <a:cubicBezTo>
                  <a:pt x="204" y="298"/>
                  <a:pt x="204" y="298"/>
                  <a:pt x="204" y="298"/>
                </a:cubicBezTo>
                <a:cubicBezTo>
                  <a:pt x="206" y="250"/>
                  <a:pt x="247" y="213"/>
                  <a:pt x="295" y="215"/>
                </a:cubicBezTo>
                <a:lnTo>
                  <a:pt x="346" y="217"/>
                </a:lnTo>
                <a:close/>
                <a:moveTo>
                  <a:pt x="307" y="93"/>
                </a:moveTo>
                <a:cubicBezTo>
                  <a:pt x="333" y="120"/>
                  <a:pt x="346" y="154"/>
                  <a:pt x="347" y="189"/>
                </a:cubicBezTo>
                <a:cubicBezTo>
                  <a:pt x="296" y="186"/>
                  <a:pt x="296" y="186"/>
                  <a:pt x="296" y="186"/>
                </a:cubicBezTo>
                <a:cubicBezTo>
                  <a:pt x="248" y="184"/>
                  <a:pt x="211" y="143"/>
                  <a:pt x="213" y="95"/>
                </a:cubicBezTo>
                <a:cubicBezTo>
                  <a:pt x="216" y="44"/>
                  <a:pt x="216" y="44"/>
                  <a:pt x="216" y="44"/>
                </a:cubicBezTo>
                <a:cubicBezTo>
                  <a:pt x="250" y="49"/>
                  <a:pt x="282" y="65"/>
                  <a:pt x="307" y="93"/>
                </a:cubicBezTo>
                <a:close/>
                <a:moveTo>
                  <a:pt x="187" y="43"/>
                </a:moveTo>
                <a:cubicBezTo>
                  <a:pt x="185" y="94"/>
                  <a:pt x="185" y="94"/>
                  <a:pt x="185" y="94"/>
                </a:cubicBezTo>
                <a:cubicBezTo>
                  <a:pt x="182" y="142"/>
                  <a:pt x="142" y="179"/>
                  <a:pt x="94" y="177"/>
                </a:cubicBezTo>
                <a:cubicBezTo>
                  <a:pt x="43" y="175"/>
                  <a:pt x="43" y="175"/>
                  <a:pt x="43" y="175"/>
                </a:cubicBezTo>
                <a:cubicBezTo>
                  <a:pt x="47" y="141"/>
                  <a:pt x="64" y="108"/>
                  <a:pt x="91" y="83"/>
                </a:cubicBezTo>
                <a:cubicBezTo>
                  <a:pt x="118" y="58"/>
                  <a:pt x="153" y="45"/>
                  <a:pt x="187" y="43"/>
                </a:cubicBezTo>
                <a:close/>
              </a:path>
            </a:pathLst>
          </a:custGeom>
          <a:solidFill>
            <a:schemeClr val="accent6">
              <a:alpha val="45000"/>
            </a:schemeClr>
          </a:solidFill>
          <a:ln w="11113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8" name="Freeform 17"/>
          <p:cNvSpPr>
            <a:spLocks noEditPoints="1"/>
          </p:cNvSpPr>
          <p:nvPr/>
        </p:nvSpPr>
        <p:spPr bwMode="auto">
          <a:xfrm>
            <a:off x="4759664" y="3220893"/>
            <a:ext cx="1215368" cy="1215370"/>
          </a:xfrm>
          <a:custGeom>
            <a:avLst/>
            <a:gdLst>
              <a:gd name="T0" fmla="*/ 58 w 390"/>
              <a:gd name="T1" fmla="*/ 56 h 391"/>
              <a:gd name="T2" fmla="*/ 58 w 390"/>
              <a:gd name="T3" fmla="*/ 84 h 391"/>
              <a:gd name="T4" fmla="*/ 20 w 390"/>
              <a:gd name="T5" fmla="*/ 110 h 391"/>
              <a:gd name="T6" fmla="*/ 23 w 390"/>
              <a:gd name="T7" fmla="*/ 155 h 391"/>
              <a:gd name="T8" fmla="*/ 1 w 390"/>
              <a:gd name="T9" fmla="*/ 173 h 391"/>
              <a:gd name="T10" fmla="*/ 18 w 390"/>
              <a:gd name="T11" fmla="*/ 202 h 391"/>
              <a:gd name="T12" fmla="*/ 0 w 390"/>
              <a:gd name="T13" fmla="*/ 215 h 391"/>
              <a:gd name="T14" fmla="*/ 22 w 390"/>
              <a:gd name="T15" fmla="*/ 233 h 391"/>
              <a:gd name="T16" fmla="*/ 18 w 390"/>
              <a:gd name="T17" fmla="*/ 279 h 391"/>
              <a:gd name="T18" fmla="*/ 56 w 390"/>
              <a:gd name="T19" fmla="*/ 305 h 391"/>
              <a:gd name="T20" fmla="*/ 56 w 390"/>
              <a:gd name="T21" fmla="*/ 333 h 391"/>
              <a:gd name="T22" fmla="*/ 89 w 390"/>
              <a:gd name="T23" fmla="*/ 360 h 391"/>
              <a:gd name="T24" fmla="*/ 116 w 390"/>
              <a:gd name="T25" fmla="*/ 354 h 391"/>
              <a:gd name="T26" fmla="*/ 150 w 390"/>
              <a:gd name="T27" fmla="*/ 386 h 391"/>
              <a:gd name="T28" fmla="*/ 172 w 390"/>
              <a:gd name="T29" fmla="*/ 371 h 391"/>
              <a:gd name="T30" fmla="*/ 194 w 390"/>
              <a:gd name="T31" fmla="*/ 372 h 391"/>
              <a:gd name="T32" fmla="*/ 216 w 390"/>
              <a:gd name="T33" fmla="*/ 390 h 391"/>
              <a:gd name="T34" fmla="*/ 257 w 390"/>
              <a:gd name="T35" fmla="*/ 381 h 391"/>
              <a:gd name="T36" fmla="*/ 270 w 390"/>
              <a:gd name="T37" fmla="*/ 356 h 391"/>
              <a:gd name="T38" fmla="*/ 315 w 390"/>
              <a:gd name="T39" fmla="*/ 349 h 391"/>
              <a:gd name="T40" fmla="*/ 314 w 390"/>
              <a:gd name="T41" fmla="*/ 326 h 391"/>
              <a:gd name="T42" fmla="*/ 355 w 390"/>
              <a:gd name="T43" fmla="*/ 307 h 391"/>
              <a:gd name="T44" fmla="*/ 359 w 390"/>
              <a:gd name="T45" fmla="*/ 261 h 391"/>
              <a:gd name="T46" fmla="*/ 383 w 390"/>
              <a:gd name="T47" fmla="*/ 247 h 391"/>
              <a:gd name="T48" fmla="*/ 390 w 390"/>
              <a:gd name="T49" fmla="*/ 205 h 391"/>
              <a:gd name="T50" fmla="*/ 371 w 390"/>
              <a:gd name="T51" fmla="*/ 184 h 391"/>
              <a:gd name="T52" fmla="*/ 382 w 390"/>
              <a:gd name="T53" fmla="*/ 140 h 391"/>
              <a:gd name="T54" fmla="*/ 348 w 390"/>
              <a:gd name="T55" fmla="*/ 108 h 391"/>
              <a:gd name="T56" fmla="*/ 352 w 390"/>
              <a:gd name="T57" fmla="*/ 80 h 391"/>
              <a:gd name="T58" fmla="*/ 316 w 390"/>
              <a:gd name="T59" fmla="*/ 67 h 391"/>
              <a:gd name="T60" fmla="*/ 311 w 390"/>
              <a:gd name="T61" fmla="*/ 39 h 391"/>
              <a:gd name="T62" fmla="*/ 275 w 390"/>
              <a:gd name="T63" fmla="*/ 18 h 391"/>
              <a:gd name="T64" fmla="*/ 248 w 390"/>
              <a:gd name="T65" fmla="*/ 28 h 391"/>
              <a:gd name="T66" fmla="*/ 211 w 390"/>
              <a:gd name="T67" fmla="*/ 1 h 391"/>
              <a:gd name="T68" fmla="*/ 169 w 390"/>
              <a:gd name="T69" fmla="*/ 21 h 391"/>
              <a:gd name="T70" fmla="*/ 145 w 390"/>
              <a:gd name="T71" fmla="*/ 7 h 391"/>
              <a:gd name="T72" fmla="*/ 106 w 390"/>
              <a:gd name="T73" fmla="*/ 22 h 391"/>
              <a:gd name="T74" fmla="*/ 97 w 390"/>
              <a:gd name="T75" fmla="*/ 49 h 391"/>
              <a:gd name="T76" fmla="*/ 41 w 390"/>
              <a:gd name="T77" fmla="*/ 203 h 391"/>
              <a:gd name="T78" fmla="*/ 173 w 390"/>
              <a:gd name="T79" fmla="*/ 348 h 391"/>
              <a:gd name="T80" fmla="*/ 213 w 390"/>
              <a:gd name="T81" fmla="*/ 179 h 391"/>
              <a:gd name="T82" fmla="*/ 178 w 390"/>
              <a:gd name="T83" fmla="*/ 178 h 391"/>
              <a:gd name="T84" fmla="*/ 202 w 390"/>
              <a:gd name="T85" fmla="*/ 349 h 391"/>
              <a:gd name="T86" fmla="*/ 346 w 390"/>
              <a:gd name="T87" fmla="*/ 217 h 391"/>
              <a:gd name="T88" fmla="*/ 296 w 390"/>
              <a:gd name="T89" fmla="*/ 186 h 391"/>
              <a:gd name="T90" fmla="*/ 307 w 390"/>
              <a:gd name="T91" fmla="*/ 93 h 391"/>
              <a:gd name="T92" fmla="*/ 94 w 390"/>
              <a:gd name="T93" fmla="*/ 177 h 391"/>
              <a:gd name="T94" fmla="*/ 187 w 390"/>
              <a:gd name="T95" fmla="*/ 4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90" h="391">
                <a:moveTo>
                  <a:pt x="76" y="65"/>
                </a:moveTo>
                <a:cubicBezTo>
                  <a:pt x="76" y="65"/>
                  <a:pt x="75" y="65"/>
                  <a:pt x="75" y="66"/>
                </a:cubicBezTo>
                <a:cubicBezTo>
                  <a:pt x="58" y="56"/>
                  <a:pt x="58" y="56"/>
                  <a:pt x="58" y="56"/>
                </a:cubicBezTo>
                <a:cubicBezTo>
                  <a:pt x="53" y="62"/>
                  <a:pt x="53" y="62"/>
                  <a:pt x="53" y="62"/>
                </a:cubicBezTo>
                <a:cubicBezTo>
                  <a:pt x="47" y="68"/>
                  <a:pt x="47" y="68"/>
                  <a:pt x="47" y="68"/>
                </a:cubicBezTo>
                <a:cubicBezTo>
                  <a:pt x="58" y="84"/>
                  <a:pt x="58" y="84"/>
                  <a:pt x="58" y="84"/>
                </a:cubicBezTo>
                <a:cubicBezTo>
                  <a:pt x="52" y="91"/>
                  <a:pt x="47" y="99"/>
                  <a:pt x="42" y="10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0" y="110"/>
                  <a:pt x="20" y="110"/>
                  <a:pt x="20" y="110"/>
                </a:cubicBezTo>
                <a:cubicBezTo>
                  <a:pt x="16" y="117"/>
                  <a:pt x="16" y="117"/>
                  <a:pt x="16" y="117"/>
                </a:cubicBezTo>
                <a:cubicBezTo>
                  <a:pt x="31" y="130"/>
                  <a:pt x="31" y="130"/>
                  <a:pt x="31" y="130"/>
                </a:cubicBezTo>
                <a:cubicBezTo>
                  <a:pt x="28" y="138"/>
                  <a:pt x="25" y="147"/>
                  <a:pt x="23" y="155"/>
                </a:cubicBezTo>
                <a:cubicBezTo>
                  <a:pt x="3" y="157"/>
                  <a:pt x="3" y="157"/>
                  <a:pt x="3" y="157"/>
                </a:cubicBezTo>
                <a:cubicBezTo>
                  <a:pt x="2" y="165"/>
                  <a:pt x="2" y="165"/>
                  <a:pt x="2" y="165"/>
                </a:cubicBezTo>
                <a:cubicBezTo>
                  <a:pt x="1" y="173"/>
                  <a:pt x="1" y="173"/>
                  <a:pt x="1" y="173"/>
                </a:cubicBezTo>
                <a:cubicBezTo>
                  <a:pt x="19" y="181"/>
                  <a:pt x="19" y="181"/>
                  <a:pt x="19" y="181"/>
                </a:cubicBezTo>
                <a:cubicBezTo>
                  <a:pt x="18" y="186"/>
                  <a:pt x="18" y="191"/>
                  <a:pt x="18" y="197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4"/>
                  <a:pt x="18" y="206"/>
                  <a:pt x="19" y="208"/>
                </a:cubicBezTo>
                <a:cubicBezTo>
                  <a:pt x="0" y="215"/>
                  <a:pt x="0" y="215"/>
                  <a:pt x="0" y="215"/>
                </a:cubicBezTo>
                <a:cubicBezTo>
                  <a:pt x="1" y="223"/>
                  <a:pt x="1" y="223"/>
                  <a:pt x="1" y="223"/>
                </a:cubicBezTo>
                <a:cubicBezTo>
                  <a:pt x="3" y="231"/>
                  <a:pt x="3" y="231"/>
                  <a:pt x="3" y="231"/>
                </a:cubicBezTo>
                <a:cubicBezTo>
                  <a:pt x="22" y="233"/>
                  <a:pt x="22" y="233"/>
                  <a:pt x="22" y="233"/>
                </a:cubicBezTo>
                <a:cubicBezTo>
                  <a:pt x="24" y="242"/>
                  <a:pt x="27" y="251"/>
                  <a:pt x="30" y="259"/>
                </a:cubicBezTo>
                <a:cubicBezTo>
                  <a:pt x="15" y="271"/>
                  <a:pt x="15" y="271"/>
                  <a:pt x="15" y="271"/>
                </a:cubicBezTo>
                <a:cubicBezTo>
                  <a:pt x="18" y="279"/>
                  <a:pt x="18" y="279"/>
                  <a:pt x="18" y="279"/>
                </a:cubicBezTo>
                <a:cubicBezTo>
                  <a:pt x="22" y="286"/>
                  <a:pt x="22" y="286"/>
                  <a:pt x="22" y="286"/>
                </a:cubicBezTo>
                <a:cubicBezTo>
                  <a:pt x="41" y="282"/>
                  <a:pt x="41" y="282"/>
                  <a:pt x="41" y="282"/>
                </a:cubicBezTo>
                <a:cubicBezTo>
                  <a:pt x="45" y="290"/>
                  <a:pt x="50" y="298"/>
                  <a:pt x="56" y="305"/>
                </a:cubicBezTo>
                <a:cubicBezTo>
                  <a:pt x="45" y="321"/>
                  <a:pt x="45" y="321"/>
                  <a:pt x="45" y="321"/>
                </a:cubicBezTo>
                <a:cubicBezTo>
                  <a:pt x="51" y="327"/>
                  <a:pt x="51" y="327"/>
                  <a:pt x="51" y="327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73" y="324"/>
                  <a:pt x="73" y="324"/>
                  <a:pt x="73" y="324"/>
                </a:cubicBezTo>
                <a:cubicBezTo>
                  <a:pt x="80" y="330"/>
                  <a:pt x="87" y="336"/>
                  <a:pt x="94" y="341"/>
                </a:cubicBezTo>
                <a:cubicBezTo>
                  <a:pt x="89" y="360"/>
                  <a:pt x="89" y="360"/>
                  <a:pt x="89" y="360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103" y="368"/>
                  <a:pt x="103" y="368"/>
                  <a:pt x="103" y="368"/>
                </a:cubicBezTo>
                <a:cubicBezTo>
                  <a:pt x="116" y="354"/>
                  <a:pt x="116" y="354"/>
                  <a:pt x="116" y="354"/>
                </a:cubicBezTo>
                <a:cubicBezTo>
                  <a:pt x="125" y="358"/>
                  <a:pt x="133" y="361"/>
                  <a:pt x="142" y="364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50" y="386"/>
                  <a:pt x="150" y="386"/>
                  <a:pt x="150" y="386"/>
                </a:cubicBezTo>
                <a:cubicBezTo>
                  <a:pt x="158" y="387"/>
                  <a:pt x="158" y="387"/>
                  <a:pt x="158" y="387"/>
                </a:cubicBezTo>
                <a:cubicBezTo>
                  <a:pt x="167" y="370"/>
                  <a:pt x="167" y="370"/>
                  <a:pt x="167" y="370"/>
                </a:cubicBezTo>
                <a:cubicBezTo>
                  <a:pt x="168" y="370"/>
                  <a:pt x="170" y="370"/>
                  <a:pt x="172" y="371"/>
                </a:cubicBezTo>
                <a:cubicBezTo>
                  <a:pt x="172" y="371"/>
                  <a:pt x="172" y="371"/>
                  <a:pt x="172" y="371"/>
                </a:cubicBezTo>
                <a:cubicBezTo>
                  <a:pt x="178" y="371"/>
                  <a:pt x="178" y="371"/>
                  <a:pt x="178" y="371"/>
                </a:cubicBezTo>
                <a:cubicBezTo>
                  <a:pt x="183" y="372"/>
                  <a:pt x="188" y="372"/>
                  <a:pt x="194" y="372"/>
                </a:cubicBezTo>
                <a:cubicBezTo>
                  <a:pt x="199" y="391"/>
                  <a:pt x="199" y="391"/>
                  <a:pt x="199" y="391"/>
                </a:cubicBezTo>
                <a:cubicBezTo>
                  <a:pt x="208" y="390"/>
                  <a:pt x="208" y="390"/>
                  <a:pt x="208" y="390"/>
                </a:cubicBezTo>
                <a:cubicBezTo>
                  <a:pt x="216" y="390"/>
                  <a:pt x="216" y="390"/>
                  <a:pt x="216" y="390"/>
                </a:cubicBezTo>
                <a:cubicBezTo>
                  <a:pt x="219" y="370"/>
                  <a:pt x="219" y="370"/>
                  <a:pt x="219" y="370"/>
                </a:cubicBezTo>
                <a:cubicBezTo>
                  <a:pt x="228" y="369"/>
                  <a:pt x="237" y="367"/>
                  <a:pt x="246" y="365"/>
                </a:cubicBezTo>
                <a:cubicBezTo>
                  <a:pt x="257" y="381"/>
                  <a:pt x="257" y="381"/>
                  <a:pt x="257" y="381"/>
                </a:cubicBezTo>
                <a:cubicBezTo>
                  <a:pt x="265" y="378"/>
                  <a:pt x="265" y="378"/>
                  <a:pt x="265" y="378"/>
                </a:cubicBezTo>
                <a:cubicBezTo>
                  <a:pt x="272" y="375"/>
                  <a:pt x="272" y="375"/>
                  <a:pt x="272" y="375"/>
                </a:cubicBezTo>
                <a:cubicBezTo>
                  <a:pt x="270" y="356"/>
                  <a:pt x="270" y="356"/>
                  <a:pt x="270" y="356"/>
                </a:cubicBezTo>
                <a:cubicBezTo>
                  <a:pt x="278" y="352"/>
                  <a:pt x="286" y="347"/>
                  <a:pt x="293" y="342"/>
                </a:cubicBezTo>
                <a:cubicBezTo>
                  <a:pt x="309" y="354"/>
                  <a:pt x="309" y="354"/>
                  <a:pt x="309" y="354"/>
                </a:cubicBezTo>
                <a:cubicBezTo>
                  <a:pt x="315" y="349"/>
                  <a:pt x="315" y="349"/>
                  <a:pt x="315" y="349"/>
                </a:cubicBezTo>
                <a:cubicBezTo>
                  <a:pt x="322" y="344"/>
                  <a:pt x="322" y="344"/>
                  <a:pt x="322" y="344"/>
                </a:cubicBezTo>
                <a:cubicBezTo>
                  <a:pt x="313" y="326"/>
                  <a:pt x="313" y="326"/>
                  <a:pt x="313" y="326"/>
                </a:cubicBezTo>
                <a:cubicBezTo>
                  <a:pt x="314" y="326"/>
                  <a:pt x="314" y="326"/>
                  <a:pt x="314" y="326"/>
                </a:cubicBezTo>
                <a:cubicBezTo>
                  <a:pt x="320" y="320"/>
                  <a:pt x="327" y="313"/>
                  <a:pt x="332" y="307"/>
                </a:cubicBezTo>
                <a:cubicBezTo>
                  <a:pt x="350" y="314"/>
                  <a:pt x="350" y="314"/>
                  <a:pt x="350" y="314"/>
                </a:cubicBezTo>
                <a:cubicBezTo>
                  <a:pt x="355" y="307"/>
                  <a:pt x="355" y="307"/>
                  <a:pt x="355" y="307"/>
                </a:cubicBezTo>
                <a:cubicBezTo>
                  <a:pt x="360" y="300"/>
                  <a:pt x="360" y="300"/>
                  <a:pt x="360" y="300"/>
                </a:cubicBezTo>
                <a:cubicBezTo>
                  <a:pt x="347" y="285"/>
                  <a:pt x="347" y="285"/>
                  <a:pt x="347" y="285"/>
                </a:cubicBezTo>
                <a:cubicBezTo>
                  <a:pt x="351" y="278"/>
                  <a:pt x="355" y="269"/>
                  <a:pt x="359" y="261"/>
                </a:cubicBezTo>
                <a:cubicBezTo>
                  <a:pt x="378" y="263"/>
                  <a:pt x="378" y="263"/>
                  <a:pt x="378" y="263"/>
                </a:cubicBezTo>
                <a:cubicBezTo>
                  <a:pt x="381" y="255"/>
                  <a:pt x="381" y="255"/>
                  <a:pt x="381" y="255"/>
                </a:cubicBezTo>
                <a:cubicBezTo>
                  <a:pt x="383" y="247"/>
                  <a:pt x="383" y="247"/>
                  <a:pt x="383" y="24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68" y="228"/>
                  <a:pt x="370" y="219"/>
                  <a:pt x="371" y="210"/>
                </a:cubicBezTo>
                <a:cubicBezTo>
                  <a:pt x="390" y="205"/>
                  <a:pt x="390" y="205"/>
                  <a:pt x="390" y="205"/>
                </a:cubicBezTo>
                <a:cubicBezTo>
                  <a:pt x="390" y="197"/>
                  <a:pt x="390" y="197"/>
                  <a:pt x="390" y="197"/>
                </a:cubicBezTo>
                <a:cubicBezTo>
                  <a:pt x="390" y="189"/>
                  <a:pt x="390" y="189"/>
                  <a:pt x="390" y="189"/>
                </a:cubicBezTo>
                <a:cubicBezTo>
                  <a:pt x="371" y="184"/>
                  <a:pt x="371" y="184"/>
                  <a:pt x="371" y="184"/>
                </a:cubicBezTo>
                <a:cubicBezTo>
                  <a:pt x="370" y="175"/>
                  <a:pt x="369" y="166"/>
                  <a:pt x="367" y="157"/>
                </a:cubicBezTo>
                <a:cubicBezTo>
                  <a:pt x="384" y="148"/>
                  <a:pt x="384" y="148"/>
                  <a:pt x="384" y="148"/>
                </a:cubicBezTo>
                <a:cubicBezTo>
                  <a:pt x="382" y="140"/>
                  <a:pt x="382" y="140"/>
                  <a:pt x="382" y="140"/>
                </a:cubicBezTo>
                <a:cubicBezTo>
                  <a:pt x="379" y="132"/>
                  <a:pt x="379" y="132"/>
                  <a:pt x="379" y="132"/>
                </a:cubicBezTo>
                <a:cubicBezTo>
                  <a:pt x="360" y="133"/>
                  <a:pt x="360" y="133"/>
                  <a:pt x="360" y="133"/>
                </a:cubicBezTo>
                <a:cubicBezTo>
                  <a:pt x="356" y="124"/>
                  <a:pt x="353" y="116"/>
                  <a:pt x="348" y="108"/>
                </a:cubicBezTo>
                <a:cubicBezTo>
                  <a:pt x="361" y="94"/>
                  <a:pt x="361" y="94"/>
                  <a:pt x="361" y="94"/>
                </a:cubicBezTo>
                <a:cubicBezTo>
                  <a:pt x="357" y="87"/>
                  <a:pt x="357" y="87"/>
                  <a:pt x="357" y="87"/>
                </a:cubicBezTo>
                <a:cubicBezTo>
                  <a:pt x="352" y="80"/>
                  <a:pt x="352" y="80"/>
                  <a:pt x="352" y="80"/>
                </a:cubicBezTo>
                <a:cubicBezTo>
                  <a:pt x="334" y="87"/>
                  <a:pt x="334" y="87"/>
                  <a:pt x="334" y="87"/>
                </a:cubicBezTo>
                <a:cubicBezTo>
                  <a:pt x="331" y="83"/>
                  <a:pt x="328" y="80"/>
                  <a:pt x="325" y="77"/>
                </a:cubicBezTo>
                <a:cubicBezTo>
                  <a:pt x="322" y="73"/>
                  <a:pt x="319" y="70"/>
                  <a:pt x="316" y="67"/>
                </a:cubicBezTo>
                <a:cubicBezTo>
                  <a:pt x="324" y="49"/>
                  <a:pt x="324" y="49"/>
                  <a:pt x="324" y="49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1" y="39"/>
                  <a:pt x="311" y="39"/>
                  <a:pt x="311" y="39"/>
                </a:cubicBezTo>
                <a:cubicBezTo>
                  <a:pt x="296" y="51"/>
                  <a:pt x="296" y="51"/>
                  <a:pt x="296" y="51"/>
                </a:cubicBezTo>
                <a:cubicBezTo>
                  <a:pt x="288" y="46"/>
                  <a:pt x="280" y="41"/>
                  <a:pt x="272" y="37"/>
                </a:cubicBezTo>
                <a:cubicBezTo>
                  <a:pt x="275" y="18"/>
                  <a:pt x="275" y="18"/>
                  <a:pt x="275" y="18"/>
                </a:cubicBezTo>
                <a:cubicBezTo>
                  <a:pt x="267" y="15"/>
                  <a:pt x="267" y="15"/>
                  <a:pt x="267" y="15"/>
                </a:cubicBezTo>
                <a:cubicBezTo>
                  <a:pt x="260" y="11"/>
                  <a:pt x="260" y="11"/>
                  <a:pt x="260" y="11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0" y="25"/>
                  <a:pt x="231" y="23"/>
                  <a:pt x="222" y="21"/>
                </a:cubicBezTo>
                <a:cubicBezTo>
                  <a:pt x="219" y="2"/>
                  <a:pt x="219" y="2"/>
                  <a:pt x="219" y="2"/>
                </a:cubicBezTo>
                <a:cubicBezTo>
                  <a:pt x="211" y="1"/>
                  <a:pt x="211" y="1"/>
                  <a:pt x="211" y="1"/>
                </a:cubicBezTo>
                <a:cubicBezTo>
                  <a:pt x="203" y="0"/>
                  <a:pt x="203" y="0"/>
                  <a:pt x="203" y="0"/>
                </a:cubicBezTo>
                <a:cubicBezTo>
                  <a:pt x="196" y="19"/>
                  <a:pt x="196" y="19"/>
                  <a:pt x="196" y="19"/>
                </a:cubicBezTo>
                <a:cubicBezTo>
                  <a:pt x="187" y="19"/>
                  <a:pt x="178" y="20"/>
                  <a:pt x="169" y="21"/>
                </a:cubicBezTo>
                <a:cubicBezTo>
                  <a:pt x="161" y="3"/>
                  <a:pt x="161" y="3"/>
                  <a:pt x="161" y="3"/>
                </a:cubicBezTo>
                <a:cubicBezTo>
                  <a:pt x="153" y="5"/>
                  <a:pt x="153" y="5"/>
                  <a:pt x="153" y="5"/>
                </a:cubicBezTo>
                <a:cubicBezTo>
                  <a:pt x="145" y="7"/>
                  <a:pt x="145" y="7"/>
                  <a:pt x="145" y="7"/>
                </a:cubicBezTo>
                <a:cubicBezTo>
                  <a:pt x="144" y="26"/>
                  <a:pt x="144" y="26"/>
                  <a:pt x="144" y="26"/>
                </a:cubicBezTo>
                <a:cubicBezTo>
                  <a:pt x="136" y="29"/>
                  <a:pt x="127" y="32"/>
                  <a:pt x="119" y="36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98" y="26"/>
                  <a:pt x="98" y="26"/>
                  <a:pt x="98" y="26"/>
                </a:cubicBezTo>
                <a:cubicBezTo>
                  <a:pt x="91" y="30"/>
                  <a:pt x="91" y="30"/>
                  <a:pt x="91" y="30"/>
                </a:cubicBezTo>
                <a:cubicBezTo>
                  <a:pt x="97" y="49"/>
                  <a:pt x="97" y="49"/>
                  <a:pt x="97" y="49"/>
                </a:cubicBezTo>
                <a:cubicBezTo>
                  <a:pt x="89" y="54"/>
                  <a:pt x="82" y="59"/>
                  <a:pt x="76" y="65"/>
                </a:cubicBezTo>
                <a:close/>
                <a:moveTo>
                  <a:pt x="81" y="299"/>
                </a:moveTo>
                <a:cubicBezTo>
                  <a:pt x="56" y="272"/>
                  <a:pt x="43" y="238"/>
                  <a:pt x="41" y="203"/>
                </a:cubicBezTo>
                <a:cubicBezTo>
                  <a:pt x="92" y="206"/>
                  <a:pt x="92" y="206"/>
                  <a:pt x="92" y="206"/>
                </a:cubicBezTo>
                <a:cubicBezTo>
                  <a:pt x="140" y="208"/>
                  <a:pt x="178" y="249"/>
                  <a:pt x="175" y="297"/>
                </a:cubicBezTo>
                <a:cubicBezTo>
                  <a:pt x="173" y="348"/>
                  <a:pt x="173" y="348"/>
                  <a:pt x="173" y="348"/>
                </a:cubicBezTo>
                <a:cubicBezTo>
                  <a:pt x="139" y="343"/>
                  <a:pt x="106" y="327"/>
                  <a:pt x="81" y="299"/>
                </a:cubicBezTo>
                <a:close/>
                <a:moveTo>
                  <a:pt x="178" y="178"/>
                </a:moveTo>
                <a:cubicBezTo>
                  <a:pt x="188" y="169"/>
                  <a:pt x="203" y="169"/>
                  <a:pt x="213" y="179"/>
                </a:cubicBezTo>
                <a:cubicBezTo>
                  <a:pt x="222" y="189"/>
                  <a:pt x="221" y="205"/>
                  <a:pt x="211" y="214"/>
                </a:cubicBezTo>
                <a:cubicBezTo>
                  <a:pt x="201" y="223"/>
                  <a:pt x="185" y="223"/>
                  <a:pt x="176" y="213"/>
                </a:cubicBezTo>
                <a:cubicBezTo>
                  <a:pt x="167" y="203"/>
                  <a:pt x="168" y="187"/>
                  <a:pt x="178" y="178"/>
                </a:cubicBezTo>
                <a:close/>
                <a:moveTo>
                  <a:pt x="346" y="217"/>
                </a:moveTo>
                <a:cubicBezTo>
                  <a:pt x="341" y="251"/>
                  <a:pt x="325" y="284"/>
                  <a:pt x="298" y="309"/>
                </a:cubicBezTo>
                <a:cubicBezTo>
                  <a:pt x="270" y="334"/>
                  <a:pt x="236" y="347"/>
                  <a:pt x="202" y="349"/>
                </a:cubicBezTo>
                <a:cubicBezTo>
                  <a:pt x="204" y="298"/>
                  <a:pt x="204" y="298"/>
                  <a:pt x="204" y="298"/>
                </a:cubicBezTo>
                <a:cubicBezTo>
                  <a:pt x="206" y="250"/>
                  <a:pt x="247" y="213"/>
                  <a:pt x="295" y="215"/>
                </a:cubicBezTo>
                <a:lnTo>
                  <a:pt x="346" y="217"/>
                </a:lnTo>
                <a:close/>
                <a:moveTo>
                  <a:pt x="307" y="93"/>
                </a:moveTo>
                <a:cubicBezTo>
                  <a:pt x="333" y="120"/>
                  <a:pt x="346" y="154"/>
                  <a:pt x="347" y="189"/>
                </a:cubicBezTo>
                <a:cubicBezTo>
                  <a:pt x="296" y="186"/>
                  <a:pt x="296" y="186"/>
                  <a:pt x="296" y="186"/>
                </a:cubicBezTo>
                <a:cubicBezTo>
                  <a:pt x="248" y="184"/>
                  <a:pt x="211" y="143"/>
                  <a:pt x="213" y="95"/>
                </a:cubicBezTo>
                <a:cubicBezTo>
                  <a:pt x="216" y="44"/>
                  <a:pt x="216" y="44"/>
                  <a:pt x="216" y="44"/>
                </a:cubicBezTo>
                <a:cubicBezTo>
                  <a:pt x="250" y="49"/>
                  <a:pt x="282" y="65"/>
                  <a:pt x="307" y="93"/>
                </a:cubicBezTo>
                <a:close/>
                <a:moveTo>
                  <a:pt x="187" y="43"/>
                </a:moveTo>
                <a:cubicBezTo>
                  <a:pt x="185" y="94"/>
                  <a:pt x="185" y="94"/>
                  <a:pt x="185" y="94"/>
                </a:cubicBezTo>
                <a:cubicBezTo>
                  <a:pt x="182" y="142"/>
                  <a:pt x="142" y="179"/>
                  <a:pt x="94" y="177"/>
                </a:cubicBezTo>
                <a:cubicBezTo>
                  <a:pt x="43" y="175"/>
                  <a:pt x="43" y="175"/>
                  <a:pt x="43" y="175"/>
                </a:cubicBezTo>
                <a:cubicBezTo>
                  <a:pt x="47" y="141"/>
                  <a:pt x="64" y="108"/>
                  <a:pt x="91" y="83"/>
                </a:cubicBezTo>
                <a:cubicBezTo>
                  <a:pt x="118" y="58"/>
                  <a:pt x="153" y="45"/>
                  <a:pt x="187" y="43"/>
                </a:cubicBezTo>
                <a:close/>
              </a:path>
            </a:pathLst>
          </a:custGeom>
          <a:solidFill>
            <a:schemeClr val="accent6">
              <a:alpha val="45000"/>
            </a:schemeClr>
          </a:solidFill>
          <a:ln w="11113" cap="flat">
            <a:noFill/>
            <a:prstDash val="solid"/>
            <a:miter lim="800000"/>
            <a:headEnd/>
            <a:tailEnd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117926" y="8955685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601689" y="8295340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2980B9"/>
                </a:solidFill>
                <a:latin typeface="Poppins"/>
              </a:rPr>
              <a:t>DATA TAMPLE</a:t>
            </a:r>
          </a:p>
        </p:txBody>
      </p:sp>
      <p:sp>
        <p:nvSpPr>
          <p:cNvPr id="66" name="Rectangle 65"/>
          <p:cNvSpPr/>
          <p:nvPr/>
        </p:nvSpPr>
        <p:spPr>
          <a:xfrm>
            <a:off x="5889226" y="9016421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372989" y="8356076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9BBB59"/>
                </a:solidFill>
                <a:latin typeface="Poppins"/>
              </a:rPr>
              <a:t>DATA TAMPLE</a:t>
            </a:r>
          </a:p>
        </p:txBody>
      </p:sp>
      <p:sp>
        <p:nvSpPr>
          <p:cNvPr id="68" name="Rectangle 67"/>
          <p:cNvSpPr/>
          <p:nvPr/>
        </p:nvSpPr>
        <p:spPr>
          <a:xfrm>
            <a:off x="10511202" y="9073967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10994965" y="841362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5169408" y="9107307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5653171" y="844696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  <p:sp>
        <p:nvSpPr>
          <p:cNvPr id="72" name="Rectangle 71"/>
          <p:cNvSpPr/>
          <p:nvPr/>
        </p:nvSpPr>
        <p:spPr>
          <a:xfrm>
            <a:off x="19770256" y="9073967"/>
            <a:ext cx="37674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20254019" y="841362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41B176"/>
                </a:solidFill>
                <a:latin typeface="Poppins"/>
              </a:rPr>
              <a:t>DATA TAMPLE</a:t>
            </a:r>
          </a:p>
        </p:txBody>
      </p:sp>
    </p:spTree>
    <p:extLst>
      <p:ext uri="{BB962C8B-B14F-4D97-AF65-F5344CB8AC3E}">
        <p14:creationId xmlns:p14="http://schemas.microsoft.com/office/powerpoint/2010/main" val="92324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 rot="2069510">
            <a:off x="4551833" y="7397845"/>
            <a:ext cx="3348550" cy="3425974"/>
          </a:xfrm>
          <a:custGeom>
            <a:avLst/>
            <a:gdLst>
              <a:gd name="T0" fmla="*/ 191 w 218"/>
              <a:gd name="T1" fmla="*/ 0 h 223"/>
              <a:gd name="T2" fmla="*/ 116 w 218"/>
              <a:gd name="T3" fmla="*/ 223 h 223"/>
              <a:gd name="T4" fmla="*/ 116 w 218"/>
              <a:gd name="T5" fmla="*/ 223 h 223"/>
              <a:gd name="T6" fmla="*/ 0 w 218"/>
              <a:gd name="T7" fmla="*/ 60 h 223"/>
              <a:gd name="T8" fmla="*/ 191 w 218"/>
              <a:gd name="T9" fmla="*/ 0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" h="223">
                <a:moveTo>
                  <a:pt x="191" y="0"/>
                </a:moveTo>
                <a:cubicBezTo>
                  <a:pt x="218" y="85"/>
                  <a:pt x="185" y="174"/>
                  <a:pt x="116" y="223"/>
                </a:cubicBezTo>
                <a:cubicBezTo>
                  <a:pt x="116" y="223"/>
                  <a:pt x="116" y="223"/>
                  <a:pt x="116" y="223"/>
                </a:cubicBezTo>
                <a:cubicBezTo>
                  <a:pt x="0" y="60"/>
                  <a:pt x="0" y="60"/>
                  <a:pt x="0" y="60"/>
                </a:cubicBezTo>
                <a:lnTo>
                  <a:pt x="191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 rot="2069510">
            <a:off x="5905274" y="5541317"/>
            <a:ext cx="2935632" cy="3071118"/>
          </a:xfrm>
          <a:custGeom>
            <a:avLst/>
            <a:gdLst>
              <a:gd name="T0" fmla="*/ 3 w 191"/>
              <a:gd name="T1" fmla="*/ 0 h 200"/>
              <a:gd name="T2" fmla="*/ 191 w 191"/>
              <a:gd name="T3" fmla="*/ 140 h 200"/>
              <a:gd name="T4" fmla="*/ 0 w 191"/>
              <a:gd name="T5" fmla="*/ 200 h 200"/>
              <a:gd name="T6" fmla="*/ 3 w 191"/>
              <a:gd name="T7" fmla="*/ 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1" h="200">
                <a:moveTo>
                  <a:pt x="3" y="0"/>
                </a:moveTo>
                <a:cubicBezTo>
                  <a:pt x="87" y="1"/>
                  <a:pt x="165" y="55"/>
                  <a:pt x="191" y="140"/>
                </a:cubicBezTo>
                <a:cubicBezTo>
                  <a:pt x="0" y="200"/>
                  <a:pt x="0" y="200"/>
                  <a:pt x="0" y="200"/>
                </a:cubicBezTo>
                <a:cubicBezTo>
                  <a:pt x="3" y="0"/>
                  <a:pt x="3" y="0"/>
                  <a:pt x="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 rot="2069510">
            <a:off x="2554742" y="7213817"/>
            <a:ext cx="3606632" cy="3238870"/>
          </a:xfrm>
          <a:custGeom>
            <a:avLst/>
            <a:gdLst>
              <a:gd name="T0" fmla="*/ 235 w 235"/>
              <a:gd name="T1" fmla="*/ 163 h 211"/>
              <a:gd name="T2" fmla="*/ 235 w 235"/>
              <a:gd name="T3" fmla="*/ 163 h 211"/>
              <a:gd name="T4" fmla="*/ 179 w 235"/>
              <a:gd name="T5" fmla="*/ 191 h 211"/>
              <a:gd name="T6" fmla="*/ 0 w 235"/>
              <a:gd name="T7" fmla="*/ 160 h 211"/>
              <a:gd name="T8" fmla="*/ 0 w 235"/>
              <a:gd name="T9" fmla="*/ 160 h 211"/>
              <a:gd name="T10" fmla="*/ 119 w 235"/>
              <a:gd name="T11" fmla="*/ 0 h 211"/>
              <a:gd name="T12" fmla="*/ 235 w 235"/>
              <a:gd name="T13" fmla="*/ 163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5" h="211">
                <a:moveTo>
                  <a:pt x="235" y="163"/>
                </a:moveTo>
                <a:cubicBezTo>
                  <a:pt x="235" y="163"/>
                  <a:pt x="235" y="163"/>
                  <a:pt x="235" y="163"/>
                </a:cubicBezTo>
                <a:cubicBezTo>
                  <a:pt x="218" y="175"/>
                  <a:pt x="200" y="184"/>
                  <a:pt x="179" y="191"/>
                </a:cubicBezTo>
                <a:cubicBezTo>
                  <a:pt x="115" y="211"/>
                  <a:pt x="49" y="197"/>
                  <a:pt x="0" y="160"/>
                </a:cubicBezTo>
                <a:cubicBezTo>
                  <a:pt x="0" y="160"/>
                  <a:pt x="0" y="160"/>
                  <a:pt x="0" y="160"/>
                </a:cubicBezTo>
                <a:cubicBezTo>
                  <a:pt x="119" y="0"/>
                  <a:pt x="119" y="0"/>
                  <a:pt x="119" y="0"/>
                </a:cubicBezTo>
                <a:lnTo>
                  <a:pt x="235" y="16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 rot="2069510">
            <a:off x="3511162" y="3900831"/>
            <a:ext cx="2948536" cy="3071118"/>
          </a:xfrm>
          <a:custGeom>
            <a:avLst/>
            <a:gdLst>
              <a:gd name="T0" fmla="*/ 192 w 192"/>
              <a:gd name="T1" fmla="*/ 0 h 200"/>
              <a:gd name="T2" fmla="*/ 189 w 192"/>
              <a:gd name="T3" fmla="*/ 200 h 200"/>
              <a:gd name="T4" fmla="*/ 0 w 192"/>
              <a:gd name="T5" fmla="*/ 136 h 200"/>
              <a:gd name="T6" fmla="*/ 0 w 192"/>
              <a:gd name="T7" fmla="*/ 136 h 200"/>
              <a:gd name="T8" fmla="*/ 130 w 192"/>
              <a:gd name="T9" fmla="*/ 9 h 200"/>
              <a:gd name="T10" fmla="*/ 192 w 192"/>
              <a:gd name="T11" fmla="*/ 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2" h="200">
                <a:moveTo>
                  <a:pt x="192" y="0"/>
                </a:moveTo>
                <a:cubicBezTo>
                  <a:pt x="189" y="200"/>
                  <a:pt x="189" y="200"/>
                  <a:pt x="189" y="200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36"/>
                  <a:pt x="0" y="136"/>
                  <a:pt x="0" y="136"/>
                </a:cubicBezTo>
                <a:cubicBezTo>
                  <a:pt x="20" y="77"/>
                  <a:pt x="66" y="29"/>
                  <a:pt x="130" y="9"/>
                </a:cubicBezTo>
                <a:cubicBezTo>
                  <a:pt x="150" y="3"/>
                  <a:pt x="171" y="0"/>
                  <a:pt x="1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rot="2069510">
            <a:off x="2019018" y="5507578"/>
            <a:ext cx="3135640" cy="3438876"/>
          </a:xfrm>
          <a:custGeom>
            <a:avLst/>
            <a:gdLst>
              <a:gd name="T0" fmla="*/ 204 w 204"/>
              <a:gd name="T1" fmla="*/ 64 h 224"/>
              <a:gd name="T2" fmla="*/ 85 w 204"/>
              <a:gd name="T3" fmla="*/ 224 h 224"/>
              <a:gd name="T4" fmla="*/ 85 w 204"/>
              <a:gd name="T5" fmla="*/ 224 h 224"/>
              <a:gd name="T6" fmla="*/ 13 w 204"/>
              <a:gd name="T7" fmla="*/ 123 h 224"/>
              <a:gd name="T8" fmla="*/ 15 w 204"/>
              <a:gd name="T9" fmla="*/ 0 h 224"/>
              <a:gd name="T10" fmla="*/ 15 w 204"/>
              <a:gd name="T11" fmla="*/ 0 h 224"/>
              <a:gd name="T12" fmla="*/ 204 w 204"/>
              <a:gd name="T13" fmla="*/ 6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4" h="224">
                <a:moveTo>
                  <a:pt x="204" y="64"/>
                </a:moveTo>
                <a:cubicBezTo>
                  <a:pt x="85" y="224"/>
                  <a:pt x="85" y="224"/>
                  <a:pt x="85" y="224"/>
                </a:cubicBezTo>
                <a:cubicBezTo>
                  <a:pt x="85" y="224"/>
                  <a:pt x="85" y="224"/>
                  <a:pt x="85" y="224"/>
                </a:cubicBezTo>
                <a:cubicBezTo>
                  <a:pt x="52" y="200"/>
                  <a:pt x="26" y="165"/>
                  <a:pt x="13" y="123"/>
                </a:cubicBezTo>
                <a:cubicBezTo>
                  <a:pt x="0" y="81"/>
                  <a:pt x="2" y="38"/>
                  <a:pt x="15" y="0"/>
                </a:cubicBezTo>
                <a:cubicBezTo>
                  <a:pt x="15" y="0"/>
                  <a:pt x="15" y="0"/>
                  <a:pt x="15" y="0"/>
                </a:cubicBezTo>
                <a:lnTo>
                  <a:pt x="204" y="6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4" name="Freeform 13"/>
          <p:cNvSpPr>
            <a:spLocks noEditPoints="1"/>
          </p:cNvSpPr>
          <p:nvPr/>
        </p:nvSpPr>
        <p:spPr bwMode="auto">
          <a:xfrm rot="21101668">
            <a:off x="1219200" y="3535051"/>
            <a:ext cx="8229556" cy="8211302"/>
          </a:xfrm>
          <a:custGeom>
            <a:avLst/>
            <a:gdLst>
              <a:gd name="T0" fmla="*/ 488 w 488"/>
              <a:gd name="T1" fmla="*/ 237 h 487"/>
              <a:gd name="T2" fmla="*/ 470 w 488"/>
              <a:gd name="T3" fmla="*/ 218 h 487"/>
              <a:gd name="T4" fmla="*/ 468 w 488"/>
              <a:gd name="T5" fmla="*/ 183 h 487"/>
              <a:gd name="T6" fmla="*/ 458 w 488"/>
              <a:gd name="T7" fmla="*/ 154 h 487"/>
              <a:gd name="T8" fmla="*/ 438 w 488"/>
              <a:gd name="T9" fmla="*/ 125 h 487"/>
              <a:gd name="T10" fmla="*/ 441 w 488"/>
              <a:gd name="T11" fmla="*/ 99 h 487"/>
              <a:gd name="T12" fmla="*/ 395 w 488"/>
              <a:gd name="T13" fmla="*/ 100 h 487"/>
              <a:gd name="T14" fmla="*/ 399 w 488"/>
              <a:gd name="T15" fmla="*/ 55 h 487"/>
              <a:gd name="T16" fmla="*/ 373 w 488"/>
              <a:gd name="T17" fmla="*/ 57 h 487"/>
              <a:gd name="T18" fmla="*/ 345 w 488"/>
              <a:gd name="T19" fmla="*/ 35 h 487"/>
              <a:gd name="T20" fmla="*/ 316 w 488"/>
              <a:gd name="T21" fmla="*/ 23 h 487"/>
              <a:gd name="T22" fmla="*/ 281 w 488"/>
              <a:gd name="T23" fmla="*/ 20 h 487"/>
              <a:gd name="T24" fmla="*/ 263 w 488"/>
              <a:gd name="T25" fmla="*/ 1 h 487"/>
              <a:gd name="T26" fmla="*/ 237 w 488"/>
              <a:gd name="T27" fmla="*/ 35 h 487"/>
              <a:gd name="T28" fmla="*/ 204 w 488"/>
              <a:gd name="T29" fmla="*/ 3 h 487"/>
              <a:gd name="T30" fmla="*/ 187 w 488"/>
              <a:gd name="T31" fmla="*/ 25 h 487"/>
              <a:gd name="T32" fmla="*/ 153 w 488"/>
              <a:gd name="T33" fmla="*/ 31 h 487"/>
              <a:gd name="T34" fmla="*/ 125 w 488"/>
              <a:gd name="T35" fmla="*/ 45 h 487"/>
              <a:gd name="T36" fmla="*/ 99 w 488"/>
              <a:gd name="T37" fmla="*/ 69 h 487"/>
              <a:gd name="T38" fmla="*/ 80 w 488"/>
              <a:gd name="T39" fmla="*/ 64 h 487"/>
              <a:gd name="T40" fmla="*/ 78 w 488"/>
              <a:gd name="T41" fmla="*/ 90 h 487"/>
              <a:gd name="T42" fmla="*/ 52 w 488"/>
              <a:gd name="T43" fmla="*/ 114 h 487"/>
              <a:gd name="T44" fmla="*/ 36 w 488"/>
              <a:gd name="T45" fmla="*/ 141 h 487"/>
              <a:gd name="T46" fmla="*/ 28 w 488"/>
              <a:gd name="T47" fmla="*/ 176 h 487"/>
              <a:gd name="T48" fmla="*/ 6 w 488"/>
              <a:gd name="T49" fmla="*/ 191 h 487"/>
              <a:gd name="T50" fmla="*/ 37 w 488"/>
              <a:gd name="T51" fmla="*/ 224 h 487"/>
              <a:gd name="T52" fmla="*/ 1 w 488"/>
              <a:gd name="T53" fmla="*/ 250 h 487"/>
              <a:gd name="T54" fmla="*/ 20 w 488"/>
              <a:gd name="T55" fmla="*/ 269 h 487"/>
              <a:gd name="T56" fmla="*/ 21 w 488"/>
              <a:gd name="T57" fmla="*/ 304 h 487"/>
              <a:gd name="T58" fmla="*/ 31 w 488"/>
              <a:gd name="T59" fmla="*/ 334 h 487"/>
              <a:gd name="T60" fmla="*/ 59 w 488"/>
              <a:gd name="T61" fmla="*/ 339 h 487"/>
              <a:gd name="T62" fmla="*/ 43 w 488"/>
              <a:gd name="T63" fmla="*/ 381 h 487"/>
              <a:gd name="T64" fmla="*/ 69 w 488"/>
              <a:gd name="T65" fmla="*/ 386 h 487"/>
              <a:gd name="T66" fmla="*/ 89 w 488"/>
              <a:gd name="T67" fmla="*/ 416 h 487"/>
              <a:gd name="T68" fmla="*/ 113 w 488"/>
              <a:gd name="T69" fmla="*/ 435 h 487"/>
              <a:gd name="T70" fmla="*/ 146 w 488"/>
              <a:gd name="T71" fmla="*/ 448 h 487"/>
              <a:gd name="T72" fmla="*/ 158 w 488"/>
              <a:gd name="T73" fmla="*/ 472 h 487"/>
              <a:gd name="T74" fmla="*/ 195 w 488"/>
              <a:gd name="T75" fmla="*/ 446 h 487"/>
              <a:gd name="T76" fmla="*/ 207 w 488"/>
              <a:gd name="T77" fmla="*/ 472 h 487"/>
              <a:gd name="T78" fmla="*/ 238 w 488"/>
              <a:gd name="T79" fmla="*/ 476 h 487"/>
              <a:gd name="T80" fmla="*/ 272 w 488"/>
              <a:gd name="T81" fmla="*/ 469 h 487"/>
              <a:gd name="T82" fmla="*/ 295 w 488"/>
              <a:gd name="T83" fmla="*/ 482 h 487"/>
              <a:gd name="T84" fmla="*/ 313 w 488"/>
              <a:gd name="T85" fmla="*/ 441 h 487"/>
              <a:gd name="T86" fmla="*/ 336 w 488"/>
              <a:gd name="T87" fmla="*/ 456 h 487"/>
              <a:gd name="T88" fmla="*/ 364 w 488"/>
              <a:gd name="T89" fmla="*/ 443 h 487"/>
              <a:gd name="T90" fmla="*/ 390 w 488"/>
              <a:gd name="T91" fmla="*/ 418 h 487"/>
              <a:gd name="T92" fmla="*/ 409 w 488"/>
              <a:gd name="T93" fmla="*/ 424 h 487"/>
              <a:gd name="T94" fmla="*/ 411 w 488"/>
              <a:gd name="T95" fmla="*/ 397 h 487"/>
              <a:gd name="T96" fmla="*/ 437 w 488"/>
              <a:gd name="T97" fmla="*/ 373 h 487"/>
              <a:gd name="T98" fmla="*/ 453 w 488"/>
              <a:gd name="T99" fmla="*/ 346 h 487"/>
              <a:gd name="T100" fmla="*/ 461 w 488"/>
              <a:gd name="T101" fmla="*/ 312 h 487"/>
              <a:gd name="T102" fmla="*/ 483 w 488"/>
              <a:gd name="T103" fmla="*/ 297 h 487"/>
              <a:gd name="T104" fmla="*/ 452 w 488"/>
              <a:gd name="T105" fmla="*/ 263 h 487"/>
              <a:gd name="T106" fmla="*/ 76 w 488"/>
              <a:gd name="T107" fmla="*/ 244 h 487"/>
              <a:gd name="T108" fmla="*/ 244 w 488"/>
              <a:gd name="T109" fmla="*/ 413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8" h="487">
                <a:moveTo>
                  <a:pt x="460" y="247"/>
                </a:moveTo>
                <a:cubicBezTo>
                  <a:pt x="476" y="249"/>
                  <a:pt x="476" y="249"/>
                  <a:pt x="476" y="249"/>
                </a:cubicBezTo>
                <a:cubicBezTo>
                  <a:pt x="483" y="249"/>
                  <a:pt x="488" y="244"/>
                  <a:pt x="488" y="237"/>
                </a:cubicBezTo>
                <a:cubicBezTo>
                  <a:pt x="488" y="234"/>
                  <a:pt x="488" y="231"/>
                  <a:pt x="488" y="228"/>
                </a:cubicBezTo>
                <a:cubicBezTo>
                  <a:pt x="487" y="221"/>
                  <a:pt x="481" y="216"/>
                  <a:pt x="475" y="218"/>
                </a:cubicBezTo>
                <a:cubicBezTo>
                  <a:pt x="470" y="218"/>
                  <a:pt x="470" y="218"/>
                  <a:pt x="470" y="218"/>
                </a:cubicBezTo>
                <a:cubicBezTo>
                  <a:pt x="461" y="220"/>
                  <a:pt x="453" y="215"/>
                  <a:pt x="450" y="207"/>
                </a:cubicBezTo>
                <a:cubicBezTo>
                  <a:pt x="446" y="197"/>
                  <a:pt x="453" y="186"/>
                  <a:pt x="463" y="184"/>
                </a:cubicBezTo>
                <a:cubicBezTo>
                  <a:pt x="468" y="183"/>
                  <a:pt x="468" y="183"/>
                  <a:pt x="468" y="183"/>
                </a:cubicBezTo>
                <a:cubicBezTo>
                  <a:pt x="475" y="182"/>
                  <a:pt x="479" y="175"/>
                  <a:pt x="477" y="169"/>
                </a:cubicBezTo>
                <a:cubicBezTo>
                  <a:pt x="476" y="166"/>
                  <a:pt x="475" y="163"/>
                  <a:pt x="474" y="160"/>
                </a:cubicBezTo>
                <a:cubicBezTo>
                  <a:pt x="471" y="154"/>
                  <a:pt x="464" y="151"/>
                  <a:pt x="458" y="154"/>
                </a:cubicBezTo>
                <a:cubicBezTo>
                  <a:pt x="453" y="156"/>
                  <a:pt x="453" y="156"/>
                  <a:pt x="453" y="156"/>
                </a:cubicBezTo>
                <a:cubicBezTo>
                  <a:pt x="446" y="160"/>
                  <a:pt x="436" y="158"/>
                  <a:pt x="431" y="151"/>
                </a:cubicBezTo>
                <a:cubicBezTo>
                  <a:pt x="425" y="142"/>
                  <a:pt x="428" y="129"/>
                  <a:pt x="438" y="125"/>
                </a:cubicBezTo>
                <a:cubicBezTo>
                  <a:pt x="442" y="123"/>
                  <a:pt x="442" y="123"/>
                  <a:pt x="442" y="123"/>
                </a:cubicBezTo>
                <a:cubicBezTo>
                  <a:pt x="448" y="120"/>
                  <a:pt x="450" y="112"/>
                  <a:pt x="446" y="107"/>
                </a:cubicBezTo>
                <a:cubicBezTo>
                  <a:pt x="444" y="104"/>
                  <a:pt x="442" y="101"/>
                  <a:pt x="441" y="99"/>
                </a:cubicBezTo>
                <a:cubicBezTo>
                  <a:pt x="437" y="93"/>
                  <a:pt x="429" y="93"/>
                  <a:pt x="424" y="97"/>
                </a:cubicBezTo>
                <a:cubicBezTo>
                  <a:pt x="420" y="101"/>
                  <a:pt x="420" y="101"/>
                  <a:pt x="420" y="101"/>
                </a:cubicBezTo>
                <a:cubicBezTo>
                  <a:pt x="413" y="108"/>
                  <a:pt x="402" y="107"/>
                  <a:pt x="395" y="100"/>
                </a:cubicBezTo>
                <a:cubicBezTo>
                  <a:pt x="389" y="93"/>
                  <a:pt x="389" y="82"/>
                  <a:pt x="396" y="75"/>
                </a:cubicBezTo>
                <a:cubicBezTo>
                  <a:pt x="400" y="72"/>
                  <a:pt x="400" y="72"/>
                  <a:pt x="400" y="72"/>
                </a:cubicBezTo>
                <a:cubicBezTo>
                  <a:pt x="405" y="67"/>
                  <a:pt x="405" y="60"/>
                  <a:pt x="399" y="55"/>
                </a:cubicBezTo>
                <a:cubicBezTo>
                  <a:pt x="397" y="53"/>
                  <a:pt x="394" y="51"/>
                  <a:pt x="392" y="49"/>
                </a:cubicBezTo>
                <a:cubicBezTo>
                  <a:pt x="387" y="45"/>
                  <a:pt x="379" y="47"/>
                  <a:pt x="376" y="52"/>
                </a:cubicBezTo>
                <a:cubicBezTo>
                  <a:pt x="373" y="57"/>
                  <a:pt x="373" y="57"/>
                  <a:pt x="373" y="57"/>
                </a:cubicBezTo>
                <a:cubicBezTo>
                  <a:pt x="368" y="64"/>
                  <a:pt x="359" y="68"/>
                  <a:pt x="351" y="65"/>
                </a:cubicBezTo>
                <a:cubicBezTo>
                  <a:pt x="341" y="61"/>
                  <a:pt x="337" y="48"/>
                  <a:pt x="343" y="39"/>
                </a:cubicBezTo>
                <a:cubicBezTo>
                  <a:pt x="345" y="35"/>
                  <a:pt x="345" y="35"/>
                  <a:pt x="345" y="35"/>
                </a:cubicBezTo>
                <a:cubicBezTo>
                  <a:pt x="349" y="29"/>
                  <a:pt x="346" y="22"/>
                  <a:pt x="340" y="19"/>
                </a:cubicBezTo>
                <a:cubicBezTo>
                  <a:pt x="337" y="18"/>
                  <a:pt x="334" y="17"/>
                  <a:pt x="331" y="16"/>
                </a:cubicBezTo>
                <a:cubicBezTo>
                  <a:pt x="325" y="13"/>
                  <a:pt x="318" y="17"/>
                  <a:pt x="316" y="23"/>
                </a:cubicBezTo>
                <a:cubicBezTo>
                  <a:pt x="315" y="28"/>
                  <a:pt x="315" y="28"/>
                  <a:pt x="315" y="28"/>
                </a:cubicBezTo>
                <a:cubicBezTo>
                  <a:pt x="313" y="37"/>
                  <a:pt x="305" y="43"/>
                  <a:pt x="296" y="42"/>
                </a:cubicBezTo>
                <a:cubicBezTo>
                  <a:pt x="285" y="41"/>
                  <a:pt x="278" y="30"/>
                  <a:pt x="281" y="20"/>
                </a:cubicBezTo>
                <a:cubicBezTo>
                  <a:pt x="282" y="15"/>
                  <a:pt x="282" y="15"/>
                  <a:pt x="282" y="15"/>
                </a:cubicBezTo>
                <a:cubicBezTo>
                  <a:pt x="284" y="9"/>
                  <a:pt x="280" y="2"/>
                  <a:pt x="273" y="1"/>
                </a:cubicBezTo>
                <a:cubicBezTo>
                  <a:pt x="270" y="1"/>
                  <a:pt x="266" y="1"/>
                  <a:pt x="263" y="1"/>
                </a:cubicBezTo>
                <a:cubicBezTo>
                  <a:pt x="257" y="0"/>
                  <a:pt x="251" y="5"/>
                  <a:pt x="251" y="12"/>
                </a:cubicBezTo>
                <a:cubicBezTo>
                  <a:pt x="251" y="17"/>
                  <a:pt x="251" y="17"/>
                  <a:pt x="251" y="17"/>
                </a:cubicBezTo>
                <a:cubicBezTo>
                  <a:pt x="252" y="26"/>
                  <a:pt x="246" y="34"/>
                  <a:pt x="237" y="35"/>
                </a:cubicBezTo>
                <a:cubicBezTo>
                  <a:pt x="227" y="37"/>
                  <a:pt x="217" y="29"/>
                  <a:pt x="216" y="19"/>
                </a:cubicBezTo>
                <a:cubicBezTo>
                  <a:pt x="216" y="14"/>
                  <a:pt x="216" y="14"/>
                  <a:pt x="216" y="14"/>
                </a:cubicBezTo>
                <a:cubicBezTo>
                  <a:pt x="216" y="7"/>
                  <a:pt x="210" y="2"/>
                  <a:pt x="204" y="3"/>
                </a:cubicBezTo>
                <a:cubicBezTo>
                  <a:pt x="200" y="4"/>
                  <a:pt x="197" y="4"/>
                  <a:pt x="194" y="5"/>
                </a:cubicBezTo>
                <a:cubicBezTo>
                  <a:pt x="187" y="6"/>
                  <a:pt x="184" y="13"/>
                  <a:pt x="186" y="19"/>
                </a:cubicBezTo>
                <a:cubicBezTo>
                  <a:pt x="187" y="25"/>
                  <a:pt x="187" y="25"/>
                  <a:pt x="187" y="25"/>
                </a:cubicBezTo>
                <a:cubicBezTo>
                  <a:pt x="190" y="34"/>
                  <a:pt x="185" y="44"/>
                  <a:pt x="176" y="47"/>
                </a:cubicBezTo>
                <a:cubicBezTo>
                  <a:pt x="170" y="53"/>
                  <a:pt x="159" y="50"/>
                  <a:pt x="156" y="42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1" y="25"/>
                  <a:pt x="143" y="22"/>
                  <a:pt x="137" y="24"/>
                </a:cubicBezTo>
                <a:cubicBezTo>
                  <a:pt x="134" y="26"/>
                  <a:pt x="132" y="27"/>
                  <a:pt x="129" y="29"/>
                </a:cubicBezTo>
                <a:cubicBezTo>
                  <a:pt x="123" y="32"/>
                  <a:pt x="121" y="39"/>
                  <a:pt x="125" y="45"/>
                </a:cubicBezTo>
                <a:cubicBezTo>
                  <a:pt x="128" y="50"/>
                  <a:pt x="128" y="50"/>
                  <a:pt x="128" y="50"/>
                </a:cubicBezTo>
                <a:cubicBezTo>
                  <a:pt x="134" y="59"/>
                  <a:pt x="131" y="71"/>
                  <a:pt x="121" y="76"/>
                </a:cubicBezTo>
                <a:cubicBezTo>
                  <a:pt x="113" y="79"/>
                  <a:pt x="104" y="76"/>
                  <a:pt x="99" y="69"/>
                </a:cubicBezTo>
                <a:cubicBezTo>
                  <a:pt x="96" y="66"/>
                  <a:pt x="96" y="66"/>
                  <a:pt x="96" y="66"/>
                </a:cubicBezTo>
                <a:cubicBezTo>
                  <a:pt x="93" y="60"/>
                  <a:pt x="85" y="59"/>
                  <a:pt x="80" y="64"/>
                </a:cubicBezTo>
                <a:cubicBezTo>
                  <a:pt x="80" y="64"/>
                  <a:pt x="80" y="64"/>
                  <a:pt x="80" y="64"/>
                </a:cubicBezTo>
                <a:cubicBezTo>
                  <a:pt x="78" y="66"/>
                  <a:pt x="75" y="68"/>
                  <a:pt x="73" y="70"/>
                </a:cubicBezTo>
                <a:cubicBezTo>
                  <a:pt x="68" y="75"/>
                  <a:pt x="69" y="83"/>
                  <a:pt x="74" y="87"/>
                </a:cubicBezTo>
                <a:cubicBezTo>
                  <a:pt x="78" y="90"/>
                  <a:pt x="78" y="90"/>
                  <a:pt x="78" y="90"/>
                </a:cubicBezTo>
                <a:cubicBezTo>
                  <a:pt x="84" y="96"/>
                  <a:pt x="87" y="105"/>
                  <a:pt x="82" y="113"/>
                </a:cubicBezTo>
                <a:cubicBezTo>
                  <a:pt x="77" y="122"/>
                  <a:pt x="64" y="124"/>
                  <a:pt x="56" y="117"/>
                </a:cubicBezTo>
                <a:cubicBezTo>
                  <a:pt x="52" y="114"/>
                  <a:pt x="52" y="114"/>
                  <a:pt x="52" y="114"/>
                </a:cubicBezTo>
                <a:cubicBezTo>
                  <a:pt x="47" y="110"/>
                  <a:pt x="39" y="111"/>
                  <a:pt x="36" y="117"/>
                </a:cubicBezTo>
                <a:cubicBezTo>
                  <a:pt x="34" y="120"/>
                  <a:pt x="32" y="123"/>
                  <a:pt x="31" y="126"/>
                </a:cubicBezTo>
                <a:cubicBezTo>
                  <a:pt x="28" y="131"/>
                  <a:pt x="30" y="139"/>
                  <a:pt x="36" y="141"/>
                </a:cubicBezTo>
                <a:cubicBezTo>
                  <a:pt x="41" y="143"/>
                  <a:pt x="41" y="143"/>
                  <a:pt x="41" y="143"/>
                </a:cubicBezTo>
                <a:cubicBezTo>
                  <a:pt x="49" y="147"/>
                  <a:pt x="54" y="155"/>
                  <a:pt x="52" y="164"/>
                </a:cubicBezTo>
                <a:cubicBezTo>
                  <a:pt x="49" y="174"/>
                  <a:pt x="38" y="180"/>
                  <a:pt x="28" y="176"/>
                </a:cubicBezTo>
                <a:cubicBezTo>
                  <a:pt x="24" y="174"/>
                  <a:pt x="24" y="174"/>
                  <a:pt x="24" y="174"/>
                </a:cubicBezTo>
                <a:cubicBezTo>
                  <a:pt x="17" y="171"/>
                  <a:pt x="10" y="175"/>
                  <a:pt x="9" y="181"/>
                </a:cubicBezTo>
                <a:cubicBezTo>
                  <a:pt x="8" y="184"/>
                  <a:pt x="7" y="187"/>
                  <a:pt x="6" y="191"/>
                </a:cubicBezTo>
                <a:cubicBezTo>
                  <a:pt x="5" y="197"/>
                  <a:pt x="9" y="203"/>
                  <a:pt x="16" y="204"/>
                </a:cubicBezTo>
                <a:cubicBezTo>
                  <a:pt x="22" y="205"/>
                  <a:pt x="22" y="205"/>
                  <a:pt x="22" y="205"/>
                </a:cubicBezTo>
                <a:cubicBezTo>
                  <a:pt x="31" y="206"/>
                  <a:pt x="38" y="214"/>
                  <a:pt x="37" y="224"/>
                </a:cubicBezTo>
                <a:cubicBezTo>
                  <a:pt x="43" y="231"/>
                  <a:pt x="38" y="242"/>
                  <a:pt x="29" y="241"/>
                </a:cubicBezTo>
                <a:cubicBezTo>
                  <a:pt x="13" y="239"/>
                  <a:pt x="13" y="239"/>
                  <a:pt x="13" y="239"/>
                </a:cubicBezTo>
                <a:cubicBezTo>
                  <a:pt x="6" y="238"/>
                  <a:pt x="0" y="243"/>
                  <a:pt x="1" y="250"/>
                </a:cubicBezTo>
                <a:cubicBezTo>
                  <a:pt x="1" y="253"/>
                  <a:pt x="1" y="257"/>
                  <a:pt x="1" y="260"/>
                </a:cubicBezTo>
                <a:cubicBezTo>
                  <a:pt x="1" y="266"/>
                  <a:pt x="7" y="271"/>
                  <a:pt x="14" y="270"/>
                </a:cubicBezTo>
                <a:cubicBezTo>
                  <a:pt x="20" y="269"/>
                  <a:pt x="20" y="269"/>
                  <a:pt x="20" y="269"/>
                </a:cubicBezTo>
                <a:cubicBezTo>
                  <a:pt x="29" y="267"/>
                  <a:pt x="38" y="274"/>
                  <a:pt x="40" y="283"/>
                </a:cubicBezTo>
                <a:cubicBezTo>
                  <a:pt x="42" y="293"/>
                  <a:pt x="35" y="302"/>
                  <a:pt x="26" y="304"/>
                </a:cubicBezTo>
                <a:cubicBezTo>
                  <a:pt x="21" y="304"/>
                  <a:pt x="21" y="304"/>
                  <a:pt x="21" y="304"/>
                </a:cubicBezTo>
                <a:cubicBezTo>
                  <a:pt x="14" y="305"/>
                  <a:pt x="10" y="312"/>
                  <a:pt x="12" y="318"/>
                </a:cubicBezTo>
                <a:cubicBezTo>
                  <a:pt x="13" y="322"/>
                  <a:pt x="14" y="325"/>
                  <a:pt x="15" y="328"/>
                </a:cubicBezTo>
                <a:cubicBezTo>
                  <a:pt x="18" y="334"/>
                  <a:pt x="25" y="337"/>
                  <a:pt x="31" y="334"/>
                </a:cubicBezTo>
                <a:cubicBezTo>
                  <a:pt x="36" y="331"/>
                  <a:pt x="36" y="331"/>
                  <a:pt x="36" y="331"/>
                </a:cubicBezTo>
                <a:cubicBezTo>
                  <a:pt x="45" y="327"/>
                  <a:pt x="55" y="331"/>
                  <a:pt x="59" y="339"/>
                </a:cubicBezTo>
                <a:cubicBezTo>
                  <a:pt x="59" y="339"/>
                  <a:pt x="59" y="339"/>
                  <a:pt x="59" y="339"/>
                </a:cubicBezTo>
                <a:cubicBezTo>
                  <a:pt x="64" y="348"/>
                  <a:pt x="60" y="359"/>
                  <a:pt x="51" y="363"/>
                </a:cubicBezTo>
                <a:cubicBezTo>
                  <a:pt x="47" y="365"/>
                  <a:pt x="47" y="365"/>
                  <a:pt x="47" y="365"/>
                </a:cubicBezTo>
                <a:cubicBezTo>
                  <a:pt x="41" y="368"/>
                  <a:pt x="39" y="375"/>
                  <a:pt x="43" y="381"/>
                </a:cubicBezTo>
                <a:cubicBezTo>
                  <a:pt x="45" y="384"/>
                  <a:pt x="46" y="386"/>
                  <a:pt x="48" y="389"/>
                </a:cubicBezTo>
                <a:cubicBezTo>
                  <a:pt x="52" y="394"/>
                  <a:pt x="60" y="395"/>
                  <a:pt x="65" y="390"/>
                </a:cubicBezTo>
                <a:cubicBezTo>
                  <a:pt x="69" y="386"/>
                  <a:pt x="69" y="386"/>
                  <a:pt x="69" y="386"/>
                </a:cubicBezTo>
                <a:cubicBezTo>
                  <a:pt x="76" y="380"/>
                  <a:pt x="87" y="380"/>
                  <a:pt x="94" y="388"/>
                </a:cubicBezTo>
                <a:cubicBezTo>
                  <a:pt x="100" y="395"/>
                  <a:pt x="100" y="406"/>
                  <a:pt x="93" y="412"/>
                </a:cubicBezTo>
                <a:cubicBezTo>
                  <a:pt x="89" y="416"/>
                  <a:pt x="89" y="416"/>
                  <a:pt x="89" y="416"/>
                </a:cubicBezTo>
                <a:cubicBezTo>
                  <a:pt x="84" y="420"/>
                  <a:pt x="84" y="428"/>
                  <a:pt x="89" y="432"/>
                </a:cubicBezTo>
                <a:cubicBezTo>
                  <a:pt x="92" y="434"/>
                  <a:pt x="95" y="436"/>
                  <a:pt x="97" y="438"/>
                </a:cubicBezTo>
                <a:cubicBezTo>
                  <a:pt x="102" y="442"/>
                  <a:pt x="110" y="441"/>
                  <a:pt x="113" y="435"/>
                </a:cubicBezTo>
                <a:cubicBezTo>
                  <a:pt x="116" y="431"/>
                  <a:pt x="116" y="431"/>
                  <a:pt x="116" y="431"/>
                </a:cubicBezTo>
                <a:cubicBezTo>
                  <a:pt x="121" y="423"/>
                  <a:pt x="130" y="420"/>
                  <a:pt x="138" y="423"/>
                </a:cubicBezTo>
                <a:cubicBezTo>
                  <a:pt x="148" y="427"/>
                  <a:pt x="152" y="439"/>
                  <a:pt x="146" y="448"/>
                </a:cubicBezTo>
                <a:cubicBezTo>
                  <a:pt x="144" y="452"/>
                  <a:pt x="144" y="452"/>
                  <a:pt x="144" y="452"/>
                </a:cubicBezTo>
                <a:cubicBezTo>
                  <a:pt x="140" y="458"/>
                  <a:pt x="143" y="466"/>
                  <a:pt x="149" y="468"/>
                </a:cubicBezTo>
                <a:cubicBezTo>
                  <a:pt x="152" y="470"/>
                  <a:pt x="155" y="471"/>
                  <a:pt x="158" y="472"/>
                </a:cubicBezTo>
                <a:cubicBezTo>
                  <a:pt x="164" y="474"/>
                  <a:pt x="171" y="471"/>
                  <a:pt x="172" y="464"/>
                </a:cubicBezTo>
                <a:cubicBezTo>
                  <a:pt x="174" y="459"/>
                  <a:pt x="174" y="459"/>
                  <a:pt x="174" y="459"/>
                </a:cubicBezTo>
                <a:cubicBezTo>
                  <a:pt x="176" y="449"/>
                  <a:pt x="186" y="444"/>
                  <a:pt x="195" y="446"/>
                </a:cubicBezTo>
                <a:cubicBezTo>
                  <a:pt x="195" y="446"/>
                  <a:pt x="195" y="446"/>
                  <a:pt x="195" y="446"/>
                </a:cubicBezTo>
                <a:cubicBezTo>
                  <a:pt x="205" y="449"/>
                  <a:pt x="210" y="458"/>
                  <a:pt x="208" y="468"/>
                </a:cubicBezTo>
                <a:cubicBezTo>
                  <a:pt x="207" y="472"/>
                  <a:pt x="207" y="472"/>
                  <a:pt x="207" y="472"/>
                </a:cubicBezTo>
                <a:cubicBezTo>
                  <a:pt x="205" y="479"/>
                  <a:pt x="209" y="485"/>
                  <a:pt x="216" y="486"/>
                </a:cubicBezTo>
                <a:cubicBezTo>
                  <a:pt x="219" y="486"/>
                  <a:pt x="222" y="487"/>
                  <a:pt x="226" y="487"/>
                </a:cubicBezTo>
                <a:cubicBezTo>
                  <a:pt x="232" y="487"/>
                  <a:pt x="238" y="482"/>
                  <a:pt x="238" y="476"/>
                </a:cubicBezTo>
                <a:cubicBezTo>
                  <a:pt x="237" y="470"/>
                  <a:pt x="237" y="470"/>
                  <a:pt x="237" y="470"/>
                </a:cubicBezTo>
                <a:cubicBezTo>
                  <a:pt x="237" y="460"/>
                  <a:pt x="245" y="452"/>
                  <a:pt x="254" y="452"/>
                </a:cubicBezTo>
                <a:cubicBezTo>
                  <a:pt x="264" y="452"/>
                  <a:pt x="272" y="459"/>
                  <a:pt x="272" y="469"/>
                </a:cubicBezTo>
                <a:cubicBezTo>
                  <a:pt x="273" y="474"/>
                  <a:pt x="273" y="474"/>
                  <a:pt x="273" y="474"/>
                </a:cubicBezTo>
                <a:cubicBezTo>
                  <a:pt x="273" y="480"/>
                  <a:pt x="279" y="485"/>
                  <a:pt x="285" y="484"/>
                </a:cubicBezTo>
                <a:cubicBezTo>
                  <a:pt x="289" y="484"/>
                  <a:pt x="292" y="483"/>
                  <a:pt x="295" y="482"/>
                </a:cubicBezTo>
                <a:cubicBezTo>
                  <a:pt x="301" y="481"/>
                  <a:pt x="305" y="475"/>
                  <a:pt x="303" y="468"/>
                </a:cubicBezTo>
                <a:cubicBezTo>
                  <a:pt x="301" y="463"/>
                  <a:pt x="301" y="463"/>
                  <a:pt x="301" y="463"/>
                </a:cubicBezTo>
                <a:cubicBezTo>
                  <a:pt x="298" y="453"/>
                  <a:pt x="304" y="444"/>
                  <a:pt x="313" y="441"/>
                </a:cubicBezTo>
                <a:cubicBezTo>
                  <a:pt x="313" y="441"/>
                  <a:pt x="313" y="441"/>
                  <a:pt x="313" y="441"/>
                </a:cubicBezTo>
                <a:cubicBezTo>
                  <a:pt x="322" y="438"/>
                  <a:pt x="332" y="443"/>
                  <a:pt x="335" y="452"/>
                </a:cubicBezTo>
                <a:cubicBezTo>
                  <a:pt x="336" y="456"/>
                  <a:pt x="336" y="456"/>
                  <a:pt x="336" y="456"/>
                </a:cubicBezTo>
                <a:cubicBezTo>
                  <a:pt x="338" y="463"/>
                  <a:pt x="345" y="466"/>
                  <a:pt x="351" y="463"/>
                </a:cubicBezTo>
                <a:cubicBezTo>
                  <a:pt x="354" y="462"/>
                  <a:pt x="357" y="460"/>
                  <a:pt x="360" y="459"/>
                </a:cubicBezTo>
                <a:cubicBezTo>
                  <a:pt x="366" y="455"/>
                  <a:pt x="368" y="448"/>
                  <a:pt x="364" y="443"/>
                </a:cubicBezTo>
                <a:cubicBezTo>
                  <a:pt x="361" y="438"/>
                  <a:pt x="361" y="438"/>
                  <a:pt x="361" y="438"/>
                </a:cubicBezTo>
                <a:cubicBezTo>
                  <a:pt x="355" y="430"/>
                  <a:pt x="357" y="419"/>
                  <a:pt x="365" y="413"/>
                </a:cubicBezTo>
                <a:cubicBezTo>
                  <a:pt x="373" y="408"/>
                  <a:pt x="384" y="410"/>
                  <a:pt x="390" y="418"/>
                </a:cubicBezTo>
                <a:cubicBezTo>
                  <a:pt x="392" y="422"/>
                  <a:pt x="392" y="422"/>
                  <a:pt x="392" y="422"/>
                </a:cubicBezTo>
                <a:cubicBezTo>
                  <a:pt x="396" y="427"/>
                  <a:pt x="404" y="428"/>
                  <a:pt x="409" y="424"/>
                </a:cubicBezTo>
                <a:cubicBezTo>
                  <a:pt x="409" y="424"/>
                  <a:pt x="409" y="424"/>
                  <a:pt x="409" y="424"/>
                </a:cubicBezTo>
                <a:cubicBezTo>
                  <a:pt x="411" y="422"/>
                  <a:pt x="414" y="419"/>
                  <a:pt x="416" y="417"/>
                </a:cubicBezTo>
                <a:cubicBezTo>
                  <a:pt x="421" y="413"/>
                  <a:pt x="420" y="405"/>
                  <a:pt x="415" y="401"/>
                </a:cubicBezTo>
                <a:cubicBezTo>
                  <a:pt x="411" y="397"/>
                  <a:pt x="411" y="397"/>
                  <a:pt x="411" y="397"/>
                </a:cubicBezTo>
                <a:cubicBezTo>
                  <a:pt x="403" y="391"/>
                  <a:pt x="402" y="380"/>
                  <a:pt x="408" y="372"/>
                </a:cubicBezTo>
                <a:cubicBezTo>
                  <a:pt x="414" y="365"/>
                  <a:pt x="425" y="364"/>
                  <a:pt x="433" y="370"/>
                </a:cubicBezTo>
                <a:cubicBezTo>
                  <a:pt x="437" y="373"/>
                  <a:pt x="437" y="373"/>
                  <a:pt x="437" y="373"/>
                </a:cubicBezTo>
                <a:cubicBezTo>
                  <a:pt x="442" y="377"/>
                  <a:pt x="450" y="376"/>
                  <a:pt x="453" y="370"/>
                </a:cubicBezTo>
                <a:cubicBezTo>
                  <a:pt x="455" y="368"/>
                  <a:pt x="456" y="365"/>
                  <a:pt x="458" y="362"/>
                </a:cubicBezTo>
                <a:cubicBezTo>
                  <a:pt x="461" y="356"/>
                  <a:pt x="459" y="349"/>
                  <a:pt x="453" y="346"/>
                </a:cubicBezTo>
                <a:cubicBezTo>
                  <a:pt x="447" y="344"/>
                  <a:pt x="447" y="344"/>
                  <a:pt x="447" y="344"/>
                </a:cubicBezTo>
                <a:cubicBezTo>
                  <a:pt x="438" y="340"/>
                  <a:pt x="434" y="330"/>
                  <a:pt x="438" y="321"/>
                </a:cubicBezTo>
                <a:cubicBezTo>
                  <a:pt x="442" y="312"/>
                  <a:pt x="452" y="308"/>
                  <a:pt x="461" y="312"/>
                </a:cubicBezTo>
                <a:cubicBezTo>
                  <a:pt x="465" y="314"/>
                  <a:pt x="465" y="314"/>
                  <a:pt x="465" y="314"/>
                </a:cubicBezTo>
                <a:cubicBezTo>
                  <a:pt x="471" y="316"/>
                  <a:pt x="479" y="313"/>
                  <a:pt x="480" y="306"/>
                </a:cubicBezTo>
                <a:cubicBezTo>
                  <a:pt x="481" y="303"/>
                  <a:pt x="482" y="300"/>
                  <a:pt x="483" y="297"/>
                </a:cubicBezTo>
                <a:cubicBezTo>
                  <a:pt x="484" y="291"/>
                  <a:pt x="480" y="284"/>
                  <a:pt x="473" y="284"/>
                </a:cubicBezTo>
                <a:cubicBezTo>
                  <a:pt x="467" y="283"/>
                  <a:pt x="467" y="283"/>
                  <a:pt x="467" y="283"/>
                </a:cubicBezTo>
                <a:cubicBezTo>
                  <a:pt x="458" y="282"/>
                  <a:pt x="451" y="273"/>
                  <a:pt x="452" y="263"/>
                </a:cubicBezTo>
                <a:cubicBezTo>
                  <a:pt x="446" y="257"/>
                  <a:pt x="451" y="246"/>
                  <a:pt x="460" y="247"/>
                </a:cubicBezTo>
                <a:close/>
                <a:moveTo>
                  <a:pt x="244" y="413"/>
                </a:moveTo>
                <a:cubicBezTo>
                  <a:pt x="151" y="413"/>
                  <a:pt x="76" y="337"/>
                  <a:pt x="76" y="244"/>
                </a:cubicBezTo>
                <a:cubicBezTo>
                  <a:pt x="76" y="150"/>
                  <a:pt x="151" y="75"/>
                  <a:pt x="244" y="75"/>
                </a:cubicBezTo>
                <a:cubicBezTo>
                  <a:pt x="338" y="75"/>
                  <a:pt x="413" y="150"/>
                  <a:pt x="413" y="244"/>
                </a:cubicBezTo>
                <a:cubicBezTo>
                  <a:pt x="413" y="337"/>
                  <a:pt x="338" y="413"/>
                  <a:pt x="244" y="41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 rot="21101668">
            <a:off x="4421197" y="6722072"/>
            <a:ext cx="1840150" cy="18365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2" name="Oval 35"/>
          <p:cNvSpPr>
            <a:spLocks noChangeArrowheads="1"/>
          </p:cNvSpPr>
          <p:nvPr/>
        </p:nvSpPr>
        <p:spPr bwMode="auto">
          <a:xfrm>
            <a:off x="5033383" y="5168105"/>
            <a:ext cx="520706" cy="516558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" name="Freeform 36"/>
          <p:cNvSpPr>
            <a:spLocks/>
          </p:cNvSpPr>
          <p:nvPr/>
        </p:nvSpPr>
        <p:spPr bwMode="auto">
          <a:xfrm>
            <a:off x="4969073" y="5695035"/>
            <a:ext cx="649326" cy="437726"/>
          </a:xfrm>
          <a:custGeom>
            <a:avLst/>
            <a:gdLst>
              <a:gd name="T0" fmla="*/ 65 w 130"/>
              <a:gd name="T1" fmla="*/ 12 h 88"/>
              <a:gd name="T2" fmla="*/ 24 w 130"/>
              <a:gd name="T3" fmla="*/ 0 h 88"/>
              <a:gd name="T4" fmla="*/ 0 w 130"/>
              <a:gd name="T5" fmla="*/ 88 h 88"/>
              <a:gd name="T6" fmla="*/ 130 w 130"/>
              <a:gd name="T7" fmla="*/ 88 h 88"/>
              <a:gd name="T8" fmla="*/ 106 w 130"/>
              <a:gd name="T9" fmla="*/ 0 h 88"/>
              <a:gd name="T10" fmla="*/ 65 w 130"/>
              <a:gd name="T11" fmla="*/ 1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" h="88">
                <a:moveTo>
                  <a:pt x="65" y="12"/>
                </a:moveTo>
                <a:cubicBezTo>
                  <a:pt x="50" y="12"/>
                  <a:pt x="36" y="7"/>
                  <a:pt x="24" y="0"/>
                </a:cubicBezTo>
                <a:cubicBezTo>
                  <a:pt x="10" y="20"/>
                  <a:pt x="0" y="52"/>
                  <a:pt x="0" y="88"/>
                </a:cubicBezTo>
                <a:cubicBezTo>
                  <a:pt x="130" y="88"/>
                  <a:pt x="130" y="88"/>
                  <a:pt x="130" y="88"/>
                </a:cubicBezTo>
                <a:cubicBezTo>
                  <a:pt x="130" y="52"/>
                  <a:pt x="120" y="20"/>
                  <a:pt x="106" y="0"/>
                </a:cubicBezTo>
                <a:cubicBezTo>
                  <a:pt x="94" y="7"/>
                  <a:pt x="80" y="12"/>
                  <a:pt x="65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7" name="Oval 40"/>
          <p:cNvSpPr>
            <a:spLocks noChangeArrowheads="1"/>
          </p:cNvSpPr>
          <p:nvPr/>
        </p:nvSpPr>
        <p:spPr bwMode="auto">
          <a:xfrm>
            <a:off x="6985873" y="6407113"/>
            <a:ext cx="547514" cy="55193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8" name="Freeform 41"/>
          <p:cNvSpPr>
            <a:spLocks/>
          </p:cNvSpPr>
          <p:nvPr/>
        </p:nvSpPr>
        <p:spPr bwMode="auto">
          <a:xfrm>
            <a:off x="6910810" y="6963456"/>
            <a:ext cx="638032" cy="472452"/>
          </a:xfrm>
          <a:custGeom>
            <a:avLst/>
            <a:gdLst>
              <a:gd name="T0" fmla="*/ 86 w 120"/>
              <a:gd name="T1" fmla="*/ 50 h 89"/>
              <a:gd name="T2" fmla="*/ 114 w 120"/>
              <a:gd name="T3" fmla="*/ 13 h 89"/>
              <a:gd name="T4" fmla="*/ 106 w 120"/>
              <a:gd name="T5" fmla="*/ 0 h 89"/>
              <a:gd name="T6" fmla="*/ 65 w 120"/>
              <a:gd name="T7" fmla="*/ 12 h 89"/>
              <a:gd name="T8" fmla="*/ 24 w 120"/>
              <a:gd name="T9" fmla="*/ 0 h 89"/>
              <a:gd name="T10" fmla="*/ 0 w 120"/>
              <a:gd name="T11" fmla="*/ 89 h 89"/>
              <a:gd name="T12" fmla="*/ 120 w 120"/>
              <a:gd name="T13" fmla="*/ 89 h 89"/>
              <a:gd name="T14" fmla="*/ 86 w 120"/>
              <a:gd name="T15" fmla="*/ 5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0" h="89">
                <a:moveTo>
                  <a:pt x="86" y="50"/>
                </a:moveTo>
                <a:cubicBezTo>
                  <a:pt x="86" y="33"/>
                  <a:pt x="98" y="18"/>
                  <a:pt x="114" y="13"/>
                </a:cubicBezTo>
                <a:cubicBezTo>
                  <a:pt x="112" y="8"/>
                  <a:pt x="109" y="4"/>
                  <a:pt x="106" y="0"/>
                </a:cubicBezTo>
                <a:cubicBezTo>
                  <a:pt x="95" y="8"/>
                  <a:pt x="80" y="12"/>
                  <a:pt x="65" y="12"/>
                </a:cubicBezTo>
                <a:cubicBezTo>
                  <a:pt x="50" y="12"/>
                  <a:pt x="36" y="8"/>
                  <a:pt x="24" y="0"/>
                </a:cubicBezTo>
                <a:cubicBezTo>
                  <a:pt x="10" y="21"/>
                  <a:pt x="1" y="53"/>
                  <a:pt x="0" y="89"/>
                </a:cubicBezTo>
                <a:cubicBezTo>
                  <a:pt x="120" y="89"/>
                  <a:pt x="120" y="89"/>
                  <a:pt x="120" y="89"/>
                </a:cubicBezTo>
                <a:cubicBezTo>
                  <a:pt x="101" y="86"/>
                  <a:pt x="86" y="70"/>
                  <a:pt x="86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9" name="Freeform 42"/>
          <p:cNvSpPr>
            <a:spLocks noEditPoints="1"/>
          </p:cNvSpPr>
          <p:nvPr/>
        </p:nvSpPr>
        <p:spPr bwMode="auto">
          <a:xfrm>
            <a:off x="7427417" y="7080467"/>
            <a:ext cx="295834" cy="298042"/>
          </a:xfrm>
          <a:custGeom>
            <a:avLst/>
            <a:gdLst>
              <a:gd name="T0" fmla="*/ 28 w 56"/>
              <a:gd name="T1" fmla="*/ 0 h 56"/>
              <a:gd name="T2" fmla="*/ 21 w 56"/>
              <a:gd name="T3" fmla="*/ 1 h 56"/>
              <a:gd name="T4" fmla="*/ 0 w 56"/>
              <a:gd name="T5" fmla="*/ 28 h 56"/>
              <a:gd name="T6" fmla="*/ 28 w 56"/>
              <a:gd name="T7" fmla="*/ 56 h 56"/>
              <a:gd name="T8" fmla="*/ 33 w 56"/>
              <a:gd name="T9" fmla="*/ 56 h 56"/>
              <a:gd name="T10" fmla="*/ 56 w 56"/>
              <a:gd name="T11" fmla="*/ 28 h 56"/>
              <a:gd name="T12" fmla="*/ 28 w 56"/>
              <a:gd name="T13" fmla="*/ 0 h 56"/>
              <a:gd name="T14" fmla="*/ 47 w 56"/>
              <a:gd name="T15" fmla="*/ 34 h 56"/>
              <a:gd name="T16" fmla="*/ 33 w 56"/>
              <a:gd name="T17" fmla="*/ 34 h 56"/>
              <a:gd name="T18" fmla="*/ 33 w 56"/>
              <a:gd name="T19" fmla="*/ 48 h 56"/>
              <a:gd name="T20" fmla="*/ 33 w 56"/>
              <a:gd name="T21" fmla="*/ 48 h 56"/>
              <a:gd name="T22" fmla="*/ 22 w 56"/>
              <a:gd name="T23" fmla="*/ 48 h 56"/>
              <a:gd name="T24" fmla="*/ 22 w 56"/>
              <a:gd name="T25" fmla="*/ 34 h 56"/>
              <a:gd name="T26" fmla="*/ 8 w 56"/>
              <a:gd name="T27" fmla="*/ 34 h 56"/>
              <a:gd name="T28" fmla="*/ 8 w 56"/>
              <a:gd name="T29" fmla="*/ 23 h 56"/>
              <a:gd name="T30" fmla="*/ 22 w 56"/>
              <a:gd name="T31" fmla="*/ 23 h 56"/>
              <a:gd name="T32" fmla="*/ 22 w 56"/>
              <a:gd name="T33" fmla="*/ 9 h 56"/>
              <a:gd name="T34" fmla="*/ 24 w 56"/>
              <a:gd name="T35" fmla="*/ 9 h 56"/>
              <a:gd name="T36" fmla="*/ 33 w 56"/>
              <a:gd name="T37" fmla="*/ 9 h 56"/>
              <a:gd name="T38" fmla="*/ 33 w 56"/>
              <a:gd name="T39" fmla="*/ 23 h 56"/>
              <a:gd name="T40" fmla="*/ 47 w 56"/>
              <a:gd name="T41" fmla="*/ 23 h 56"/>
              <a:gd name="T42" fmla="*/ 47 w 56"/>
              <a:gd name="T43" fmla="*/ 3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6" h="56">
                <a:moveTo>
                  <a:pt x="28" y="0"/>
                </a:moveTo>
                <a:cubicBezTo>
                  <a:pt x="26" y="0"/>
                  <a:pt x="23" y="0"/>
                  <a:pt x="21" y="1"/>
                </a:cubicBezTo>
                <a:cubicBezTo>
                  <a:pt x="9" y="4"/>
                  <a:pt x="0" y="15"/>
                  <a:pt x="0" y="28"/>
                </a:cubicBezTo>
                <a:cubicBezTo>
                  <a:pt x="0" y="44"/>
                  <a:pt x="12" y="56"/>
                  <a:pt x="28" y="56"/>
                </a:cubicBezTo>
                <a:cubicBezTo>
                  <a:pt x="30" y="56"/>
                  <a:pt x="31" y="56"/>
                  <a:pt x="33" y="56"/>
                </a:cubicBezTo>
                <a:cubicBezTo>
                  <a:pt x="46" y="53"/>
                  <a:pt x="56" y="42"/>
                  <a:pt x="56" y="28"/>
                </a:cubicBezTo>
                <a:cubicBezTo>
                  <a:pt x="56" y="13"/>
                  <a:pt x="43" y="0"/>
                  <a:pt x="28" y="0"/>
                </a:cubicBezTo>
                <a:close/>
                <a:moveTo>
                  <a:pt x="47" y="34"/>
                </a:moveTo>
                <a:cubicBezTo>
                  <a:pt x="33" y="34"/>
                  <a:pt x="33" y="34"/>
                  <a:pt x="33" y="34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22" y="48"/>
                  <a:pt x="22" y="48"/>
                  <a:pt x="22" y="48"/>
                </a:cubicBezTo>
                <a:cubicBezTo>
                  <a:pt x="22" y="34"/>
                  <a:pt x="22" y="34"/>
                  <a:pt x="22" y="34"/>
                </a:cubicBezTo>
                <a:cubicBezTo>
                  <a:pt x="8" y="34"/>
                  <a:pt x="8" y="34"/>
                  <a:pt x="8" y="34"/>
                </a:cubicBezTo>
                <a:cubicBezTo>
                  <a:pt x="8" y="23"/>
                  <a:pt x="8" y="23"/>
                  <a:pt x="8" y="23"/>
                </a:cubicBezTo>
                <a:cubicBezTo>
                  <a:pt x="22" y="23"/>
                  <a:pt x="22" y="23"/>
                  <a:pt x="22" y="23"/>
                </a:cubicBezTo>
                <a:cubicBezTo>
                  <a:pt x="22" y="9"/>
                  <a:pt x="22" y="9"/>
                  <a:pt x="22" y="9"/>
                </a:cubicBezTo>
                <a:cubicBezTo>
                  <a:pt x="24" y="9"/>
                  <a:pt x="24" y="9"/>
                  <a:pt x="24" y="9"/>
                </a:cubicBezTo>
                <a:cubicBezTo>
                  <a:pt x="33" y="9"/>
                  <a:pt x="33" y="9"/>
                  <a:pt x="33" y="9"/>
                </a:cubicBezTo>
                <a:cubicBezTo>
                  <a:pt x="33" y="23"/>
                  <a:pt x="33" y="23"/>
                  <a:pt x="33" y="23"/>
                </a:cubicBezTo>
                <a:cubicBezTo>
                  <a:pt x="47" y="23"/>
                  <a:pt x="47" y="23"/>
                  <a:pt x="47" y="23"/>
                </a:cubicBezTo>
                <a:lnTo>
                  <a:pt x="47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1" name="Freeform 25"/>
          <p:cNvSpPr>
            <a:spLocks noEditPoints="1"/>
          </p:cNvSpPr>
          <p:nvPr/>
        </p:nvSpPr>
        <p:spPr bwMode="auto">
          <a:xfrm>
            <a:off x="4001175" y="8730209"/>
            <a:ext cx="688410" cy="918662"/>
          </a:xfrm>
          <a:custGeom>
            <a:avLst/>
            <a:gdLst>
              <a:gd name="T0" fmla="*/ 61 w 122"/>
              <a:gd name="T1" fmla="*/ 0 h 163"/>
              <a:gd name="T2" fmla="*/ 0 w 122"/>
              <a:gd name="T3" fmla="*/ 61 h 163"/>
              <a:gd name="T4" fmla="*/ 41 w 122"/>
              <a:gd name="T5" fmla="*/ 118 h 163"/>
              <a:gd name="T6" fmla="*/ 41 w 122"/>
              <a:gd name="T7" fmla="*/ 152 h 163"/>
              <a:gd name="T8" fmla="*/ 47 w 122"/>
              <a:gd name="T9" fmla="*/ 156 h 163"/>
              <a:gd name="T10" fmla="*/ 52 w 122"/>
              <a:gd name="T11" fmla="*/ 163 h 163"/>
              <a:gd name="T12" fmla="*/ 70 w 122"/>
              <a:gd name="T13" fmla="*/ 163 h 163"/>
              <a:gd name="T14" fmla="*/ 75 w 122"/>
              <a:gd name="T15" fmla="*/ 156 h 163"/>
              <a:gd name="T16" fmla="*/ 81 w 122"/>
              <a:gd name="T17" fmla="*/ 152 h 163"/>
              <a:gd name="T18" fmla="*/ 81 w 122"/>
              <a:gd name="T19" fmla="*/ 152 h 163"/>
              <a:gd name="T20" fmla="*/ 81 w 122"/>
              <a:gd name="T21" fmla="*/ 118 h 163"/>
              <a:gd name="T22" fmla="*/ 122 w 122"/>
              <a:gd name="T23" fmla="*/ 61 h 163"/>
              <a:gd name="T24" fmla="*/ 61 w 122"/>
              <a:gd name="T25" fmla="*/ 0 h 163"/>
              <a:gd name="T26" fmla="*/ 61 w 122"/>
              <a:gd name="T27" fmla="*/ 113 h 163"/>
              <a:gd name="T28" fmla="*/ 9 w 122"/>
              <a:gd name="T29" fmla="*/ 61 h 163"/>
              <a:gd name="T30" fmla="*/ 61 w 122"/>
              <a:gd name="T31" fmla="*/ 9 h 163"/>
              <a:gd name="T32" fmla="*/ 113 w 122"/>
              <a:gd name="T33" fmla="*/ 61 h 163"/>
              <a:gd name="T34" fmla="*/ 61 w 122"/>
              <a:gd name="T35" fmla="*/ 11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22" h="163">
                <a:moveTo>
                  <a:pt x="61" y="0"/>
                </a:moveTo>
                <a:cubicBezTo>
                  <a:pt x="28" y="0"/>
                  <a:pt x="0" y="27"/>
                  <a:pt x="0" y="61"/>
                </a:cubicBezTo>
                <a:cubicBezTo>
                  <a:pt x="0" y="87"/>
                  <a:pt x="17" y="110"/>
                  <a:pt x="41" y="118"/>
                </a:cubicBezTo>
                <a:cubicBezTo>
                  <a:pt x="41" y="152"/>
                  <a:pt x="41" y="152"/>
                  <a:pt x="41" y="152"/>
                </a:cubicBezTo>
                <a:cubicBezTo>
                  <a:pt x="47" y="156"/>
                  <a:pt x="47" y="156"/>
                  <a:pt x="47" y="156"/>
                </a:cubicBezTo>
                <a:cubicBezTo>
                  <a:pt x="52" y="163"/>
                  <a:pt x="52" y="163"/>
                  <a:pt x="52" y="163"/>
                </a:cubicBezTo>
                <a:cubicBezTo>
                  <a:pt x="70" y="163"/>
                  <a:pt x="70" y="163"/>
                  <a:pt x="70" y="163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81" y="152"/>
                  <a:pt x="81" y="152"/>
                  <a:pt x="81" y="152"/>
                </a:cubicBezTo>
                <a:cubicBezTo>
                  <a:pt x="81" y="152"/>
                  <a:pt x="81" y="152"/>
                  <a:pt x="81" y="152"/>
                </a:cubicBezTo>
                <a:cubicBezTo>
                  <a:pt x="81" y="118"/>
                  <a:pt x="81" y="118"/>
                  <a:pt x="81" y="118"/>
                </a:cubicBezTo>
                <a:cubicBezTo>
                  <a:pt x="105" y="110"/>
                  <a:pt x="122" y="87"/>
                  <a:pt x="122" y="61"/>
                </a:cubicBezTo>
                <a:cubicBezTo>
                  <a:pt x="122" y="27"/>
                  <a:pt x="95" y="0"/>
                  <a:pt x="61" y="0"/>
                </a:cubicBezTo>
                <a:close/>
                <a:moveTo>
                  <a:pt x="61" y="113"/>
                </a:moveTo>
                <a:cubicBezTo>
                  <a:pt x="32" y="113"/>
                  <a:pt x="9" y="89"/>
                  <a:pt x="9" y="61"/>
                </a:cubicBezTo>
                <a:cubicBezTo>
                  <a:pt x="9" y="32"/>
                  <a:pt x="32" y="9"/>
                  <a:pt x="61" y="9"/>
                </a:cubicBezTo>
                <a:cubicBezTo>
                  <a:pt x="90" y="9"/>
                  <a:pt x="113" y="32"/>
                  <a:pt x="113" y="61"/>
                </a:cubicBezTo>
                <a:cubicBezTo>
                  <a:pt x="113" y="89"/>
                  <a:pt x="90" y="113"/>
                  <a:pt x="61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2" name="Freeform 26"/>
          <p:cNvSpPr>
            <a:spLocks/>
          </p:cNvSpPr>
          <p:nvPr/>
        </p:nvSpPr>
        <p:spPr bwMode="auto">
          <a:xfrm>
            <a:off x="3824961" y="9225957"/>
            <a:ext cx="157418" cy="96330"/>
          </a:xfrm>
          <a:custGeom>
            <a:avLst/>
            <a:gdLst>
              <a:gd name="T0" fmla="*/ 0 w 28"/>
              <a:gd name="T1" fmla="*/ 7 h 17"/>
              <a:gd name="T2" fmla="*/ 4 w 28"/>
              <a:gd name="T3" fmla="*/ 17 h 17"/>
              <a:gd name="T4" fmla="*/ 28 w 28"/>
              <a:gd name="T5" fmla="*/ 5 h 17"/>
              <a:gd name="T6" fmla="*/ 26 w 28"/>
              <a:gd name="T7" fmla="*/ 0 h 17"/>
              <a:gd name="T8" fmla="*/ 0 w 28"/>
              <a:gd name="T9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0" y="7"/>
                </a:moveTo>
                <a:cubicBezTo>
                  <a:pt x="1" y="11"/>
                  <a:pt x="3" y="14"/>
                  <a:pt x="4" y="17"/>
                </a:cubicBezTo>
                <a:cubicBezTo>
                  <a:pt x="28" y="5"/>
                  <a:pt x="28" y="5"/>
                  <a:pt x="28" y="5"/>
                </a:cubicBezTo>
                <a:cubicBezTo>
                  <a:pt x="27" y="3"/>
                  <a:pt x="27" y="2"/>
                  <a:pt x="26" y="0"/>
                </a:cubicBezTo>
                <a:lnTo>
                  <a:pt x="0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3" name="Freeform 27"/>
          <p:cNvSpPr>
            <a:spLocks/>
          </p:cNvSpPr>
          <p:nvPr/>
        </p:nvSpPr>
        <p:spPr bwMode="auto">
          <a:xfrm>
            <a:off x="4710730" y="8859433"/>
            <a:ext cx="159768" cy="96330"/>
          </a:xfrm>
          <a:custGeom>
            <a:avLst/>
            <a:gdLst>
              <a:gd name="T0" fmla="*/ 28 w 28"/>
              <a:gd name="T1" fmla="*/ 10 h 17"/>
              <a:gd name="T2" fmla="*/ 24 w 28"/>
              <a:gd name="T3" fmla="*/ 0 h 17"/>
              <a:gd name="T4" fmla="*/ 0 w 28"/>
              <a:gd name="T5" fmla="*/ 12 h 17"/>
              <a:gd name="T6" fmla="*/ 2 w 28"/>
              <a:gd name="T7" fmla="*/ 17 h 17"/>
              <a:gd name="T8" fmla="*/ 28 w 28"/>
              <a:gd name="T9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28" y="10"/>
                </a:moveTo>
                <a:cubicBezTo>
                  <a:pt x="27" y="6"/>
                  <a:pt x="25" y="3"/>
                  <a:pt x="24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1" y="14"/>
                  <a:pt x="1" y="15"/>
                  <a:pt x="2" y="17"/>
                </a:cubicBezTo>
                <a:lnTo>
                  <a:pt x="28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4" name="Freeform 28"/>
          <p:cNvSpPr>
            <a:spLocks/>
          </p:cNvSpPr>
          <p:nvPr/>
        </p:nvSpPr>
        <p:spPr bwMode="auto">
          <a:xfrm>
            <a:off x="3824961" y="8854732"/>
            <a:ext cx="157418" cy="101028"/>
          </a:xfrm>
          <a:custGeom>
            <a:avLst/>
            <a:gdLst>
              <a:gd name="T0" fmla="*/ 0 w 28"/>
              <a:gd name="T1" fmla="*/ 10 h 18"/>
              <a:gd name="T2" fmla="*/ 26 w 28"/>
              <a:gd name="T3" fmla="*/ 18 h 18"/>
              <a:gd name="T4" fmla="*/ 28 w 28"/>
              <a:gd name="T5" fmla="*/ 13 h 18"/>
              <a:gd name="T6" fmla="*/ 4 w 28"/>
              <a:gd name="T7" fmla="*/ 0 h 18"/>
              <a:gd name="T8" fmla="*/ 0 w 28"/>
              <a:gd name="T9" fmla="*/ 1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8">
                <a:moveTo>
                  <a:pt x="0" y="10"/>
                </a:moveTo>
                <a:cubicBezTo>
                  <a:pt x="26" y="18"/>
                  <a:pt x="26" y="18"/>
                  <a:pt x="26" y="18"/>
                </a:cubicBezTo>
                <a:cubicBezTo>
                  <a:pt x="27" y="16"/>
                  <a:pt x="27" y="15"/>
                  <a:pt x="28" y="13"/>
                </a:cubicBezTo>
                <a:cubicBezTo>
                  <a:pt x="4" y="0"/>
                  <a:pt x="4" y="0"/>
                  <a:pt x="4" y="0"/>
                </a:cubicBezTo>
                <a:cubicBezTo>
                  <a:pt x="3" y="4"/>
                  <a:pt x="1" y="7"/>
                  <a:pt x="0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auto">
          <a:xfrm>
            <a:off x="4710730" y="9230657"/>
            <a:ext cx="159768" cy="96330"/>
          </a:xfrm>
          <a:custGeom>
            <a:avLst/>
            <a:gdLst>
              <a:gd name="T0" fmla="*/ 0 w 28"/>
              <a:gd name="T1" fmla="*/ 4 h 17"/>
              <a:gd name="T2" fmla="*/ 23 w 28"/>
              <a:gd name="T3" fmla="*/ 17 h 17"/>
              <a:gd name="T4" fmla="*/ 28 w 28"/>
              <a:gd name="T5" fmla="*/ 7 h 17"/>
              <a:gd name="T6" fmla="*/ 2 w 28"/>
              <a:gd name="T7" fmla="*/ 0 h 17"/>
              <a:gd name="T8" fmla="*/ 0 w 28"/>
              <a:gd name="T9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0" y="4"/>
                </a:moveTo>
                <a:cubicBezTo>
                  <a:pt x="23" y="17"/>
                  <a:pt x="23" y="17"/>
                  <a:pt x="23" y="17"/>
                </a:cubicBezTo>
                <a:cubicBezTo>
                  <a:pt x="25" y="13"/>
                  <a:pt x="26" y="10"/>
                  <a:pt x="28" y="7"/>
                </a:cubicBezTo>
                <a:cubicBezTo>
                  <a:pt x="2" y="0"/>
                  <a:pt x="2" y="0"/>
                  <a:pt x="2" y="0"/>
                </a:cubicBezTo>
                <a:cubicBezTo>
                  <a:pt x="1" y="1"/>
                  <a:pt x="1" y="2"/>
                  <a:pt x="0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auto">
          <a:xfrm>
            <a:off x="4113952" y="8572791"/>
            <a:ext cx="93980" cy="150370"/>
          </a:xfrm>
          <a:custGeom>
            <a:avLst/>
            <a:gdLst>
              <a:gd name="T0" fmla="*/ 17 w 17"/>
              <a:gd name="T1" fmla="*/ 26 h 27"/>
              <a:gd name="T2" fmla="*/ 10 w 17"/>
              <a:gd name="T3" fmla="*/ 0 h 27"/>
              <a:gd name="T4" fmla="*/ 0 w 17"/>
              <a:gd name="T5" fmla="*/ 4 h 27"/>
              <a:gd name="T6" fmla="*/ 13 w 17"/>
              <a:gd name="T7" fmla="*/ 27 h 27"/>
              <a:gd name="T8" fmla="*/ 17 w 17"/>
              <a:gd name="T9" fmla="*/ 2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7">
                <a:moveTo>
                  <a:pt x="17" y="26"/>
                </a:moveTo>
                <a:cubicBezTo>
                  <a:pt x="10" y="0"/>
                  <a:pt x="10" y="0"/>
                  <a:pt x="10" y="0"/>
                </a:cubicBezTo>
                <a:cubicBezTo>
                  <a:pt x="7" y="1"/>
                  <a:pt x="3" y="2"/>
                  <a:pt x="0" y="4"/>
                </a:cubicBezTo>
                <a:cubicBezTo>
                  <a:pt x="13" y="27"/>
                  <a:pt x="13" y="27"/>
                  <a:pt x="13" y="27"/>
                </a:cubicBezTo>
                <a:cubicBezTo>
                  <a:pt x="14" y="27"/>
                  <a:pt x="16" y="26"/>
                  <a:pt x="17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7" name="Freeform 31"/>
          <p:cNvSpPr>
            <a:spLocks/>
          </p:cNvSpPr>
          <p:nvPr/>
        </p:nvSpPr>
        <p:spPr bwMode="auto">
          <a:xfrm>
            <a:off x="4485176" y="8572791"/>
            <a:ext cx="96332" cy="150370"/>
          </a:xfrm>
          <a:custGeom>
            <a:avLst/>
            <a:gdLst>
              <a:gd name="T0" fmla="*/ 17 w 17"/>
              <a:gd name="T1" fmla="*/ 4 h 27"/>
              <a:gd name="T2" fmla="*/ 7 w 17"/>
              <a:gd name="T3" fmla="*/ 0 h 27"/>
              <a:gd name="T4" fmla="*/ 0 w 17"/>
              <a:gd name="T5" fmla="*/ 26 h 27"/>
              <a:gd name="T6" fmla="*/ 4 w 17"/>
              <a:gd name="T7" fmla="*/ 27 h 27"/>
              <a:gd name="T8" fmla="*/ 17 w 17"/>
              <a:gd name="T9" fmla="*/ 4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7">
                <a:moveTo>
                  <a:pt x="17" y="4"/>
                </a:moveTo>
                <a:cubicBezTo>
                  <a:pt x="14" y="2"/>
                  <a:pt x="10" y="1"/>
                  <a:pt x="7" y="0"/>
                </a:cubicBezTo>
                <a:cubicBezTo>
                  <a:pt x="0" y="26"/>
                  <a:pt x="0" y="26"/>
                  <a:pt x="0" y="26"/>
                </a:cubicBezTo>
                <a:cubicBezTo>
                  <a:pt x="1" y="26"/>
                  <a:pt x="3" y="27"/>
                  <a:pt x="4" y="27"/>
                </a:cubicBezTo>
                <a:lnTo>
                  <a:pt x="17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9" name="Oval 50"/>
          <p:cNvSpPr>
            <a:spLocks noChangeArrowheads="1"/>
          </p:cNvSpPr>
          <p:nvPr/>
        </p:nvSpPr>
        <p:spPr bwMode="auto">
          <a:xfrm>
            <a:off x="6127003" y="8563587"/>
            <a:ext cx="446554" cy="44655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0" name="Freeform 51"/>
          <p:cNvSpPr>
            <a:spLocks/>
          </p:cNvSpPr>
          <p:nvPr/>
        </p:nvSpPr>
        <p:spPr bwMode="auto">
          <a:xfrm>
            <a:off x="6066716" y="9014605"/>
            <a:ext cx="468880" cy="379570"/>
          </a:xfrm>
          <a:custGeom>
            <a:avLst/>
            <a:gdLst>
              <a:gd name="T0" fmla="*/ 87 w 87"/>
              <a:gd name="T1" fmla="*/ 49 h 71"/>
              <a:gd name="T2" fmla="*/ 78 w 87"/>
              <a:gd name="T3" fmla="*/ 24 h 71"/>
              <a:gd name="T4" fmla="*/ 86 w 87"/>
              <a:gd name="T5" fmla="*/ 0 h 71"/>
              <a:gd name="T6" fmla="*/ 85 w 87"/>
              <a:gd name="T7" fmla="*/ 0 h 71"/>
              <a:gd name="T8" fmla="*/ 53 w 87"/>
              <a:gd name="T9" fmla="*/ 10 h 71"/>
              <a:gd name="T10" fmla="*/ 20 w 87"/>
              <a:gd name="T11" fmla="*/ 0 h 71"/>
              <a:gd name="T12" fmla="*/ 0 w 87"/>
              <a:gd name="T13" fmla="*/ 71 h 71"/>
              <a:gd name="T14" fmla="*/ 76 w 87"/>
              <a:gd name="T15" fmla="*/ 71 h 71"/>
              <a:gd name="T16" fmla="*/ 85 w 87"/>
              <a:gd name="T17" fmla="*/ 52 h 71"/>
              <a:gd name="T18" fmla="*/ 87 w 87"/>
              <a:gd name="T19" fmla="*/ 49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" h="71">
                <a:moveTo>
                  <a:pt x="87" y="49"/>
                </a:moveTo>
                <a:cubicBezTo>
                  <a:pt x="81" y="42"/>
                  <a:pt x="78" y="33"/>
                  <a:pt x="78" y="24"/>
                </a:cubicBezTo>
                <a:cubicBezTo>
                  <a:pt x="78" y="15"/>
                  <a:pt x="81" y="7"/>
                  <a:pt x="86" y="0"/>
                </a:cubicBezTo>
                <a:cubicBezTo>
                  <a:pt x="86" y="0"/>
                  <a:pt x="85" y="0"/>
                  <a:pt x="85" y="0"/>
                </a:cubicBezTo>
                <a:cubicBezTo>
                  <a:pt x="76" y="6"/>
                  <a:pt x="65" y="10"/>
                  <a:pt x="53" y="10"/>
                </a:cubicBezTo>
                <a:cubicBezTo>
                  <a:pt x="40" y="10"/>
                  <a:pt x="29" y="6"/>
                  <a:pt x="20" y="0"/>
                </a:cubicBezTo>
                <a:cubicBezTo>
                  <a:pt x="8" y="17"/>
                  <a:pt x="1" y="42"/>
                  <a:pt x="0" y="71"/>
                </a:cubicBezTo>
                <a:cubicBezTo>
                  <a:pt x="76" y="71"/>
                  <a:pt x="76" y="71"/>
                  <a:pt x="76" y="71"/>
                </a:cubicBezTo>
                <a:cubicBezTo>
                  <a:pt x="78" y="64"/>
                  <a:pt x="81" y="57"/>
                  <a:pt x="85" y="52"/>
                </a:cubicBezTo>
                <a:lnTo>
                  <a:pt x="87" y="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1" name="Freeform 52"/>
          <p:cNvSpPr>
            <a:spLocks/>
          </p:cNvSpPr>
          <p:nvPr/>
        </p:nvSpPr>
        <p:spPr bwMode="auto">
          <a:xfrm>
            <a:off x="6524435" y="8976648"/>
            <a:ext cx="332682" cy="332684"/>
          </a:xfrm>
          <a:custGeom>
            <a:avLst/>
            <a:gdLst>
              <a:gd name="T0" fmla="*/ 0 w 62"/>
              <a:gd name="T1" fmla="*/ 31 h 62"/>
              <a:gd name="T2" fmla="*/ 19 w 62"/>
              <a:gd name="T3" fmla="*/ 59 h 62"/>
              <a:gd name="T4" fmla="*/ 31 w 62"/>
              <a:gd name="T5" fmla="*/ 62 h 62"/>
              <a:gd name="T6" fmla="*/ 62 w 62"/>
              <a:gd name="T7" fmla="*/ 31 h 62"/>
              <a:gd name="T8" fmla="*/ 31 w 62"/>
              <a:gd name="T9" fmla="*/ 0 h 62"/>
              <a:gd name="T10" fmla="*/ 5 w 62"/>
              <a:gd name="T11" fmla="*/ 14 h 62"/>
              <a:gd name="T12" fmla="*/ 0 w 62"/>
              <a:gd name="T13" fmla="*/ 31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" h="62">
                <a:moveTo>
                  <a:pt x="0" y="31"/>
                </a:moveTo>
                <a:cubicBezTo>
                  <a:pt x="0" y="44"/>
                  <a:pt x="7" y="55"/>
                  <a:pt x="19" y="59"/>
                </a:cubicBezTo>
                <a:cubicBezTo>
                  <a:pt x="22" y="61"/>
                  <a:pt x="26" y="62"/>
                  <a:pt x="31" y="62"/>
                </a:cubicBezTo>
                <a:cubicBezTo>
                  <a:pt x="48" y="62"/>
                  <a:pt x="62" y="48"/>
                  <a:pt x="62" y="31"/>
                </a:cubicBezTo>
                <a:cubicBezTo>
                  <a:pt x="62" y="14"/>
                  <a:pt x="48" y="0"/>
                  <a:pt x="31" y="0"/>
                </a:cubicBezTo>
                <a:cubicBezTo>
                  <a:pt x="20" y="0"/>
                  <a:pt x="10" y="5"/>
                  <a:pt x="5" y="14"/>
                </a:cubicBezTo>
                <a:cubicBezTo>
                  <a:pt x="1" y="19"/>
                  <a:pt x="0" y="25"/>
                  <a:pt x="0" y="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2" name="Freeform 53"/>
          <p:cNvSpPr>
            <a:spLocks/>
          </p:cNvSpPr>
          <p:nvPr/>
        </p:nvSpPr>
        <p:spPr bwMode="auto">
          <a:xfrm>
            <a:off x="6475312" y="9313797"/>
            <a:ext cx="426460" cy="285794"/>
          </a:xfrm>
          <a:custGeom>
            <a:avLst/>
            <a:gdLst>
              <a:gd name="T0" fmla="*/ 64 w 79"/>
              <a:gd name="T1" fmla="*/ 0 h 53"/>
              <a:gd name="T2" fmla="*/ 40 w 79"/>
              <a:gd name="T3" fmla="*/ 7 h 53"/>
              <a:gd name="T4" fmla="*/ 28 w 79"/>
              <a:gd name="T5" fmla="*/ 6 h 53"/>
              <a:gd name="T6" fmla="*/ 15 w 79"/>
              <a:gd name="T7" fmla="*/ 0 h 53"/>
              <a:gd name="T8" fmla="*/ 7 w 79"/>
              <a:gd name="T9" fmla="*/ 15 h 53"/>
              <a:gd name="T10" fmla="*/ 0 w 79"/>
              <a:gd name="T11" fmla="*/ 53 h 53"/>
              <a:gd name="T12" fmla="*/ 79 w 79"/>
              <a:gd name="T13" fmla="*/ 53 h 53"/>
              <a:gd name="T14" fmla="*/ 64 w 79"/>
              <a:gd name="T15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9" h="53">
                <a:moveTo>
                  <a:pt x="64" y="0"/>
                </a:moveTo>
                <a:cubicBezTo>
                  <a:pt x="57" y="5"/>
                  <a:pt x="49" y="7"/>
                  <a:pt x="40" y="7"/>
                </a:cubicBezTo>
                <a:cubicBezTo>
                  <a:pt x="36" y="7"/>
                  <a:pt x="32" y="7"/>
                  <a:pt x="28" y="6"/>
                </a:cubicBezTo>
                <a:cubicBezTo>
                  <a:pt x="24" y="5"/>
                  <a:pt x="19" y="3"/>
                  <a:pt x="15" y="0"/>
                </a:cubicBezTo>
                <a:cubicBezTo>
                  <a:pt x="12" y="4"/>
                  <a:pt x="9" y="9"/>
                  <a:pt x="7" y="15"/>
                </a:cubicBezTo>
                <a:cubicBezTo>
                  <a:pt x="3" y="26"/>
                  <a:pt x="1" y="39"/>
                  <a:pt x="0" y="53"/>
                </a:cubicBezTo>
                <a:cubicBezTo>
                  <a:pt x="79" y="53"/>
                  <a:pt x="79" y="53"/>
                  <a:pt x="79" y="53"/>
                </a:cubicBezTo>
                <a:cubicBezTo>
                  <a:pt x="78" y="31"/>
                  <a:pt x="73" y="12"/>
                  <a:pt x="6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4" name="Freeform 46"/>
          <p:cNvSpPr>
            <a:spLocks/>
          </p:cNvSpPr>
          <p:nvPr/>
        </p:nvSpPr>
        <p:spPr bwMode="auto">
          <a:xfrm>
            <a:off x="3246023" y="6980079"/>
            <a:ext cx="505954" cy="611514"/>
          </a:xfrm>
          <a:custGeom>
            <a:avLst/>
            <a:gdLst>
              <a:gd name="T0" fmla="*/ 103 w 115"/>
              <a:gd name="T1" fmla="*/ 29 h 140"/>
              <a:gd name="T2" fmla="*/ 113 w 115"/>
              <a:gd name="T3" fmla="*/ 12 h 140"/>
              <a:gd name="T4" fmla="*/ 96 w 115"/>
              <a:gd name="T5" fmla="*/ 2 h 140"/>
              <a:gd name="T6" fmla="*/ 12 w 115"/>
              <a:gd name="T7" fmla="*/ 25 h 140"/>
              <a:gd name="T8" fmla="*/ 2 w 115"/>
              <a:gd name="T9" fmla="*/ 42 h 140"/>
              <a:gd name="T10" fmla="*/ 20 w 115"/>
              <a:gd name="T11" fmla="*/ 52 h 140"/>
              <a:gd name="T12" fmla="*/ 20 w 115"/>
              <a:gd name="T13" fmla="*/ 52 h 140"/>
              <a:gd name="T14" fmla="*/ 20 w 115"/>
              <a:gd name="T15" fmla="*/ 57 h 140"/>
              <a:gd name="T16" fmla="*/ 13 w 115"/>
              <a:gd name="T17" fmla="*/ 57 h 140"/>
              <a:gd name="T18" fmla="*/ 1 w 115"/>
              <a:gd name="T19" fmla="*/ 72 h 140"/>
              <a:gd name="T20" fmla="*/ 1 w 115"/>
              <a:gd name="T21" fmla="*/ 91 h 140"/>
              <a:gd name="T22" fmla="*/ 13 w 115"/>
              <a:gd name="T23" fmla="*/ 106 h 140"/>
              <a:gd name="T24" fmla="*/ 27 w 115"/>
              <a:gd name="T25" fmla="*/ 106 h 140"/>
              <a:gd name="T26" fmla="*/ 27 w 115"/>
              <a:gd name="T27" fmla="*/ 106 h 140"/>
              <a:gd name="T28" fmla="*/ 27 w 115"/>
              <a:gd name="T29" fmla="*/ 126 h 140"/>
              <a:gd name="T30" fmla="*/ 40 w 115"/>
              <a:gd name="T31" fmla="*/ 140 h 140"/>
              <a:gd name="T32" fmla="*/ 73 w 115"/>
              <a:gd name="T33" fmla="*/ 140 h 140"/>
              <a:gd name="T34" fmla="*/ 86 w 115"/>
              <a:gd name="T35" fmla="*/ 126 h 140"/>
              <a:gd name="T36" fmla="*/ 86 w 115"/>
              <a:gd name="T37" fmla="*/ 106 h 140"/>
              <a:gd name="T38" fmla="*/ 86 w 115"/>
              <a:gd name="T39" fmla="*/ 106 h 140"/>
              <a:gd name="T40" fmla="*/ 99 w 115"/>
              <a:gd name="T41" fmla="*/ 106 h 140"/>
              <a:gd name="T42" fmla="*/ 112 w 115"/>
              <a:gd name="T43" fmla="*/ 91 h 140"/>
              <a:gd name="T44" fmla="*/ 112 w 115"/>
              <a:gd name="T45" fmla="*/ 72 h 140"/>
              <a:gd name="T46" fmla="*/ 99 w 115"/>
              <a:gd name="T47" fmla="*/ 57 h 140"/>
              <a:gd name="T48" fmla="*/ 94 w 115"/>
              <a:gd name="T49" fmla="*/ 57 h 140"/>
              <a:gd name="T50" fmla="*/ 94 w 115"/>
              <a:gd name="T51" fmla="*/ 56 h 140"/>
              <a:gd name="T52" fmla="*/ 94 w 115"/>
              <a:gd name="T53" fmla="*/ 39 h 140"/>
              <a:gd name="T54" fmla="*/ 94 w 115"/>
              <a:gd name="T55" fmla="*/ 39 h 140"/>
              <a:gd name="T56" fmla="*/ 73 w 115"/>
              <a:gd name="T57" fmla="*/ 44 h 140"/>
              <a:gd name="T58" fmla="*/ 73 w 115"/>
              <a:gd name="T59" fmla="*/ 56 h 140"/>
              <a:gd name="T60" fmla="*/ 73 w 115"/>
              <a:gd name="T61" fmla="*/ 57 h 140"/>
              <a:gd name="T62" fmla="*/ 41 w 115"/>
              <a:gd name="T63" fmla="*/ 57 h 140"/>
              <a:gd name="T64" fmla="*/ 41 w 115"/>
              <a:gd name="T65" fmla="*/ 46 h 140"/>
              <a:gd name="T66" fmla="*/ 103 w 115"/>
              <a:gd name="T67" fmla="*/ 29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5" h="140">
                <a:moveTo>
                  <a:pt x="103" y="29"/>
                </a:move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20" y="52"/>
                  <a:pt x="20" y="52"/>
                  <a:pt x="20" y="52"/>
                </a:cubicBezTo>
                <a:cubicBezTo>
                  <a:pt x="20" y="57"/>
                  <a:pt x="20" y="57"/>
                  <a:pt x="20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7" y="57"/>
                  <a:pt x="1" y="64"/>
                  <a:pt x="1" y="72"/>
                </a:cubicBezTo>
                <a:cubicBezTo>
                  <a:pt x="1" y="91"/>
                  <a:pt x="1" y="91"/>
                  <a:pt x="1" y="91"/>
                </a:cubicBezTo>
                <a:cubicBezTo>
                  <a:pt x="1" y="99"/>
                  <a:pt x="7" y="106"/>
                  <a:pt x="13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26"/>
                  <a:pt x="27" y="126"/>
                  <a:pt x="27" y="126"/>
                </a:cubicBezTo>
                <a:cubicBezTo>
                  <a:pt x="27" y="134"/>
                  <a:pt x="37" y="140"/>
                  <a:pt x="40" y="140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76" y="140"/>
                  <a:pt x="86" y="134"/>
                  <a:pt x="86" y="12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6" y="106"/>
                  <a:pt x="112" y="99"/>
                  <a:pt x="112" y="91"/>
                </a:cubicBezTo>
                <a:cubicBezTo>
                  <a:pt x="112" y="72"/>
                  <a:pt x="112" y="72"/>
                  <a:pt x="112" y="72"/>
                </a:cubicBezTo>
                <a:cubicBezTo>
                  <a:pt x="112" y="64"/>
                  <a:pt x="106" y="57"/>
                  <a:pt x="99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4" y="57"/>
                  <a:pt x="94" y="56"/>
                  <a:pt x="94" y="56"/>
                </a:cubicBezTo>
                <a:cubicBezTo>
                  <a:pt x="94" y="39"/>
                  <a:pt x="94" y="39"/>
                  <a:pt x="94" y="39"/>
                </a:cubicBezTo>
                <a:cubicBezTo>
                  <a:pt x="94" y="39"/>
                  <a:pt x="94" y="39"/>
                  <a:pt x="94" y="39"/>
                </a:cubicBezTo>
                <a:cubicBezTo>
                  <a:pt x="73" y="44"/>
                  <a:pt x="73" y="44"/>
                  <a:pt x="73" y="44"/>
                </a:cubicBezTo>
                <a:cubicBezTo>
                  <a:pt x="73" y="56"/>
                  <a:pt x="73" y="56"/>
                  <a:pt x="73" y="56"/>
                </a:cubicBezTo>
                <a:cubicBezTo>
                  <a:pt x="73" y="56"/>
                  <a:pt x="73" y="57"/>
                  <a:pt x="73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46"/>
                  <a:pt x="41" y="46"/>
                  <a:pt x="41" y="46"/>
                </a:cubicBezTo>
                <a:lnTo>
                  <a:pt x="103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5" name="Freeform 47"/>
          <p:cNvSpPr>
            <a:spLocks/>
          </p:cNvSpPr>
          <p:nvPr/>
        </p:nvSpPr>
        <p:spPr bwMode="auto">
          <a:xfrm>
            <a:off x="3246023" y="6827201"/>
            <a:ext cx="505954" cy="234778"/>
          </a:xfrm>
          <a:custGeom>
            <a:avLst/>
            <a:gdLst>
              <a:gd name="T0" fmla="*/ 96 w 115"/>
              <a:gd name="T1" fmla="*/ 2 h 54"/>
              <a:gd name="T2" fmla="*/ 12 w 115"/>
              <a:gd name="T3" fmla="*/ 25 h 54"/>
              <a:gd name="T4" fmla="*/ 2 w 115"/>
              <a:gd name="T5" fmla="*/ 42 h 54"/>
              <a:gd name="T6" fmla="*/ 20 w 115"/>
              <a:gd name="T7" fmla="*/ 52 h 54"/>
              <a:gd name="T8" fmla="*/ 103 w 115"/>
              <a:gd name="T9" fmla="*/ 29 h 54"/>
              <a:gd name="T10" fmla="*/ 113 w 115"/>
              <a:gd name="T11" fmla="*/ 12 h 54"/>
              <a:gd name="T12" fmla="*/ 96 w 115"/>
              <a:gd name="T13" fmla="*/ 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4">
                <a:moveTo>
                  <a:pt x="96" y="2"/>
                </a:move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103" y="29"/>
                  <a:pt x="103" y="29"/>
                  <a:pt x="103" y="29"/>
                </a:cubicBez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Freeform 48"/>
          <p:cNvSpPr>
            <a:spLocks/>
          </p:cNvSpPr>
          <p:nvPr/>
        </p:nvSpPr>
        <p:spPr bwMode="auto">
          <a:xfrm>
            <a:off x="3246023" y="6674323"/>
            <a:ext cx="505954" cy="240238"/>
          </a:xfrm>
          <a:custGeom>
            <a:avLst/>
            <a:gdLst>
              <a:gd name="T0" fmla="*/ 20 w 115"/>
              <a:gd name="T1" fmla="*/ 53 h 55"/>
              <a:gd name="T2" fmla="*/ 103 w 115"/>
              <a:gd name="T3" fmla="*/ 30 h 55"/>
              <a:gd name="T4" fmla="*/ 113 w 115"/>
              <a:gd name="T5" fmla="*/ 12 h 55"/>
              <a:gd name="T6" fmla="*/ 96 w 115"/>
              <a:gd name="T7" fmla="*/ 3 h 55"/>
              <a:gd name="T8" fmla="*/ 12 w 115"/>
              <a:gd name="T9" fmla="*/ 25 h 55"/>
              <a:gd name="T10" fmla="*/ 2 w 115"/>
              <a:gd name="T11" fmla="*/ 43 h 55"/>
              <a:gd name="T12" fmla="*/ 20 w 115"/>
              <a:gd name="T13" fmla="*/ 5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5">
                <a:moveTo>
                  <a:pt x="20" y="53"/>
                </a:moveTo>
                <a:cubicBezTo>
                  <a:pt x="103" y="30"/>
                  <a:pt x="103" y="30"/>
                  <a:pt x="103" y="30"/>
                </a:cubicBezTo>
                <a:cubicBezTo>
                  <a:pt x="111" y="28"/>
                  <a:pt x="115" y="20"/>
                  <a:pt x="113" y="12"/>
                </a:cubicBezTo>
                <a:cubicBezTo>
                  <a:pt x="111" y="5"/>
                  <a:pt x="104" y="0"/>
                  <a:pt x="96" y="3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8"/>
                  <a:pt x="0" y="35"/>
                  <a:pt x="2" y="43"/>
                </a:cubicBezTo>
                <a:cubicBezTo>
                  <a:pt x="4" y="51"/>
                  <a:pt x="12" y="55"/>
                  <a:pt x="20" y="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7" name="Freeform 49"/>
          <p:cNvSpPr>
            <a:spLocks/>
          </p:cNvSpPr>
          <p:nvPr/>
        </p:nvSpPr>
        <p:spPr bwMode="auto">
          <a:xfrm>
            <a:off x="3346123" y="6681602"/>
            <a:ext cx="256618" cy="70980"/>
          </a:xfrm>
          <a:custGeom>
            <a:avLst/>
            <a:gdLst>
              <a:gd name="T0" fmla="*/ 58 w 58"/>
              <a:gd name="T1" fmla="*/ 0 h 16"/>
              <a:gd name="T2" fmla="*/ 11 w 58"/>
              <a:gd name="T3" fmla="*/ 0 h 16"/>
              <a:gd name="T4" fmla="*/ 3 w 58"/>
              <a:gd name="T5" fmla="*/ 3 h 16"/>
              <a:gd name="T6" fmla="*/ 0 w 58"/>
              <a:gd name="T7" fmla="*/ 12 h 16"/>
              <a:gd name="T8" fmla="*/ 1 w 58"/>
              <a:gd name="T9" fmla="*/ 16 h 16"/>
              <a:gd name="T10" fmla="*/ 58 w 58"/>
              <a:gd name="T11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16">
                <a:moveTo>
                  <a:pt x="58" y="0"/>
                </a:move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5" y="1"/>
                  <a:pt x="3" y="3"/>
                </a:cubicBezTo>
                <a:cubicBezTo>
                  <a:pt x="1" y="5"/>
                  <a:pt x="0" y="8"/>
                  <a:pt x="0" y="12"/>
                </a:cubicBezTo>
                <a:cubicBezTo>
                  <a:pt x="0" y="13"/>
                  <a:pt x="0" y="14"/>
                  <a:pt x="1" y="16"/>
                </a:cubicBezTo>
                <a:lnTo>
                  <a:pt x="5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43914" y="7282537"/>
            <a:ext cx="11624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3200" b="1" kern="1200" dirty="0">
                <a:solidFill>
                  <a:prstClr val="white"/>
                </a:solidFill>
                <a:latin typeface="Open Sans"/>
              </a:rPr>
              <a:t>TEXT</a:t>
            </a:r>
          </a:p>
        </p:txBody>
      </p:sp>
      <p:sp>
        <p:nvSpPr>
          <p:cNvPr id="38" name="Freeform 13"/>
          <p:cNvSpPr>
            <a:spLocks noEditPoints="1"/>
          </p:cNvSpPr>
          <p:nvPr/>
        </p:nvSpPr>
        <p:spPr bwMode="auto">
          <a:xfrm rot="20959773">
            <a:off x="12223551" y="2763473"/>
            <a:ext cx="1094678" cy="10946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2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89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8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8 h 488"/>
              <a:gd name="T48" fmla="*/ 63 w 486"/>
              <a:gd name="T49" fmla="*/ 409 h 488"/>
              <a:gd name="T50" fmla="*/ 110 w 486"/>
              <a:gd name="T51" fmla="*/ 427 h 488"/>
              <a:gd name="T52" fmla="*/ 133 w 486"/>
              <a:gd name="T53" fmla="*/ 448 h 488"/>
              <a:gd name="T54" fmla="*/ 167 w 486"/>
              <a:gd name="T55" fmla="*/ 457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69 h 488"/>
              <a:gd name="T64" fmla="*/ 323 w 486"/>
              <a:gd name="T65" fmla="*/ 455 h 488"/>
              <a:gd name="T66" fmla="*/ 372 w 486"/>
              <a:gd name="T67" fmla="*/ 450 h 488"/>
              <a:gd name="T68" fmla="*/ 379 w 486"/>
              <a:gd name="T69" fmla="*/ 424 h 488"/>
              <a:gd name="T70" fmla="*/ 425 w 486"/>
              <a:gd name="T71" fmla="*/ 406 h 488"/>
              <a:gd name="T72" fmla="*/ 419 w 486"/>
              <a:gd name="T73" fmla="*/ 354 h 488"/>
              <a:gd name="T74" fmla="*/ 468 w 486"/>
              <a:gd name="T75" fmla="*/ 338 h 488"/>
              <a:gd name="T76" fmla="*/ 455 w 486"/>
              <a:gd name="T77" fmla="*/ 285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2 h 488"/>
              <a:gd name="T86" fmla="*/ 89 w 486"/>
              <a:gd name="T87" fmla="*/ 175 h 488"/>
              <a:gd name="T88" fmla="*/ 99 w 486"/>
              <a:gd name="T89" fmla="*/ 196 h 488"/>
              <a:gd name="T90" fmla="*/ 87 w 486"/>
              <a:gd name="T91" fmla="*/ 307 h 488"/>
              <a:gd name="T92" fmla="*/ 92 w 486"/>
              <a:gd name="T93" fmla="*/ 244 h 488"/>
              <a:gd name="T94" fmla="*/ 118 w 486"/>
              <a:gd name="T95" fmla="*/ 356 h 488"/>
              <a:gd name="T96" fmla="*/ 201 w 486"/>
              <a:gd name="T97" fmla="*/ 390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6 h 488"/>
              <a:gd name="T106" fmla="*/ 377 w 486"/>
              <a:gd name="T107" fmla="*/ 173 h 488"/>
              <a:gd name="T108" fmla="*/ 395 w 486"/>
              <a:gd name="T109" fmla="*/ 263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4"/>
                </a:cubicBezTo>
                <a:cubicBezTo>
                  <a:pt x="450" y="233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8"/>
                  <a:pt x="485" y="212"/>
                </a:cubicBezTo>
                <a:cubicBezTo>
                  <a:pt x="484" y="208"/>
                  <a:pt x="484" y="205"/>
                  <a:pt x="483" y="202"/>
                </a:cubicBezTo>
                <a:cubicBezTo>
                  <a:pt x="482" y="196"/>
                  <a:pt x="476" y="191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3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2" y="128"/>
                  <a:pt x="446" y="131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2"/>
                  <a:pt x="426" y="102"/>
                  <a:pt x="426" y="102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3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89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6"/>
                  <a:pt x="379" y="56"/>
                  <a:pt x="379" y="56"/>
                </a:cubicBezTo>
                <a:cubicBezTo>
                  <a:pt x="384" y="51"/>
                  <a:pt x="383" y="44"/>
                  <a:pt x="377" y="40"/>
                </a:cubicBezTo>
                <a:cubicBezTo>
                  <a:pt x="374" y="38"/>
                  <a:pt x="371" y="36"/>
                  <a:pt x="369" y="35"/>
                </a:cubicBezTo>
                <a:cubicBezTo>
                  <a:pt x="363" y="31"/>
                  <a:pt x="356" y="34"/>
                  <a:pt x="353" y="39"/>
                </a:cubicBezTo>
                <a:cubicBezTo>
                  <a:pt x="351" y="44"/>
                  <a:pt x="351" y="44"/>
                  <a:pt x="351" y="44"/>
                </a:cubicBezTo>
                <a:cubicBezTo>
                  <a:pt x="347" y="52"/>
                  <a:pt x="338" y="57"/>
                  <a:pt x="330" y="54"/>
                </a:cubicBezTo>
                <a:cubicBezTo>
                  <a:pt x="319" y="51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2"/>
                  <a:pt x="314" y="10"/>
                </a:cubicBezTo>
                <a:cubicBezTo>
                  <a:pt x="311" y="9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7"/>
                </a:cubicBezTo>
                <a:cubicBezTo>
                  <a:pt x="262" y="38"/>
                  <a:pt x="254" y="28"/>
                  <a:pt x="256" y="17"/>
                </a:cubicBezTo>
                <a:cubicBezTo>
                  <a:pt x="256" y="12"/>
                  <a:pt x="256" y="12"/>
                  <a:pt x="256" y="12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2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1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3"/>
                  <a:pt x="151" y="56"/>
                </a:cubicBezTo>
                <a:cubicBezTo>
                  <a:pt x="143" y="58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3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2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69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4"/>
                  <a:pt x="56" y="87"/>
                  <a:pt x="54" y="89"/>
                </a:cubicBezTo>
                <a:cubicBezTo>
                  <a:pt x="50" y="94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3"/>
                  <a:pt x="71" y="123"/>
                  <a:pt x="68" y="130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5"/>
                  <a:pt x="38" y="135"/>
                  <a:pt x="38" y="135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5"/>
                  <a:pt x="31" y="165"/>
                  <a:pt x="31" y="165"/>
                </a:cubicBezTo>
                <a:cubicBezTo>
                  <a:pt x="40" y="168"/>
                  <a:pt x="45" y="178"/>
                  <a:pt x="42" y="187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6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8"/>
                </a:cubicBezTo>
                <a:cubicBezTo>
                  <a:pt x="17" y="228"/>
                  <a:pt x="17" y="228"/>
                  <a:pt x="17" y="228"/>
                </a:cubicBezTo>
                <a:cubicBezTo>
                  <a:pt x="27" y="228"/>
                  <a:pt x="35" y="236"/>
                  <a:pt x="35" y="246"/>
                </a:cubicBezTo>
                <a:cubicBezTo>
                  <a:pt x="34" y="256"/>
                  <a:pt x="26" y="264"/>
                  <a:pt x="17" y="263"/>
                </a:cubicBezTo>
                <a:cubicBezTo>
                  <a:pt x="12" y="263"/>
                  <a:pt x="12" y="263"/>
                  <a:pt x="12" y="263"/>
                </a:cubicBezTo>
                <a:cubicBezTo>
                  <a:pt x="5" y="263"/>
                  <a:pt x="0" y="269"/>
                  <a:pt x="1" y="276"/>
                </a:cubicBezTo>
                <a:cubicBezTo>
                  <a:pt x="1" y="279"/>
                  <a:pt x="2" y="282"/>
                  <a:pt x="2" y="285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5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2" y="326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29"/>
                  <a:pt x="17" y="336"/>
                  <a:pt x="20" y="343"/>
                </a:cubicBezTo>
                <a:cubicBezTo>
                  <a:pt x="21" y="346"/>
                  <a:pt x="23" y="349"/>
                  <a:pt x="24" y="351"/>
                </a:cubicBezTo>
                <a:cubicBezTo>
                  <a:pt x="27" y="357"/>
                  <a:pt x="34" y="359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8"/>
                </a:cubicBezTo>
                <a:cubicBezTo>
                  <a:pt x="74" y="366"/>
                  <a:pt x="72" y="377"/>
                  <a:pt x="63" y="382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6"/>
                  <a:pt x="57" y="401"/>
                </a:cubicBezTo>
                <a:cubicBezTo>
                  <a:pt x="59" y="404"/>
                  <a:pt x="61" y="406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6"/>
                  <a:pt x="106" y="401"/>
                </a:cubicBezTo>
                <a:cubicBezTo>
                  <a:pt x="115" y="407"/>
                  <a:pt x="117" y="419"/>
                  <a:pt x="110" y="427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49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8"/>
                  <a:pt x="171" y="449"/>
                  <a:pt x="167" y="457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1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5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7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9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8"/>
                  <a:pt x="293" y="455"/>
                  <a:pt x="295" y="465"/>
                </a:cubicBezTo>
                <a:cubicBezTo>
                  <a:pt x="295" y="469"/>
                  <a:pt x="295" y="469"/>
                  <a:pt x="295" y="469"/>
                </a:cubicBezTo>
                <a:cubicBezTo>
                  <a:pt x="296" y="476"/>
                  <a:pt x="303" y="480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5"/>
                  <a:pt x="323" y="455"/>
                  <a:pt x="323" y="455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8"/>
                  <a:pt x="351" y="432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0"/>
                </a:cubicBezTo>
                <a:cubicBezTo>
                  <a:pt x="372" y="450"/>
                  <a:pt x="372" y="450"/>
                  <a:pt x="373" y="450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1"/>
                  <a:pt x="387" y="434"/>
                  <a:pt x="383" y="429"/>
                </a:cubicBezTo>
                <a:cubicBezTo>
                  <a:pt x="379" y="424"/>
                  <a:pt x="379" y="424"/>
                  <a:pt x="379" y="424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3"/>
                  <a:pt x="400" y="394"/>
                  <a:pt x="406" y="402"/>
                </a:cubicBezTo>
                <a:cubicBezTo>
                  <a:pt x="409" y="405"/>
                  <a:pt x="409" y="405"/>
                  <a:pt x="409" y="405"/>
                </a:cubicBezTo>
                <a:cubicBezTo>
                  <a:pt x="413" y="410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5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3"/>
                  <a:pt x="414" y="362"/>
                  <a:pt x="419" y="354"/>
                </a:cubicBezTo>
                <a:cubicBezTo>
                  <a:pt x="425" y="346"/>
                  <a:pt x="436" y="344"/>
                  <a:pt x="444" y="349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7"/>
                </a:cubicBezTo>
                <a:cubicBezTo>
                  <a:pt x="465" y="345"/>
                  <a:pt x="466" y="342"/>
                  <a:pt x="468" y="338"/>
                </a:cubicBezTo>
                <a:cubicBezTo>
                  <a:pt x="470" y="332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09"/>
                  <a:pt x="443" y="300"/>
                </a:cubicBezTo>
                <a:cubicBezTo>
                  <a:pt x="438" y="292"/>
                  <a:pt x="446" y="283"/>
                  <a:pt x="455" y="285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1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7"/>
                  <a:pt x="366" y="153"/>
                </a:cubicBezTo>
                <a:cubicBezTo>
                  <a:pt x="364" y="154"/>
                  <a:pt x="364" y="154"/>
                  <a:pt x="364" y="154"/>
                </a:cubicBezTo>
                <a:cubicBezTo>
                  <a:pt x="346" y="129"/>
                  <a:pt x="321" y="110"/>
                  <a:pt x="291" y="100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5"/>
                  <a:pt x="271" y="83"/>
                  <a:pt x="269" y="93"/>
                </a:cubicBezTo>
                <a:cubicBezTo>
                  <a:pt x="268" y="95"/>
                  <a:pt x="268" y="95"/>
                  <a:pt x="268" y="95"/>
                </a:cubicBezTo>
                <a:cubicBezTo>
                  <a:pt x="260" y="93"/>
                  <a:pt x="252" y="92"/>
                  <a:pt x="243" y="92"/>
                </a:cubicBezTo>
                <a:cubicBezTo>
                  <a:pt x="219" y="92"/>
                  <a:pt x="197" y="98"/>
                  <a:pt x="177" y="108"/>
                </a:cubicBezTo>
                <a:cubicBezTo>
                  <a:pt x="176" y="106"/>
                  <a:pt x="176" y="106"/>
                  <a:pt x="176" y="106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5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57" y="120"/>
                  <a:pt x="157" y="120"/>
                  <a:pt x="157" y="120"/>
                </a:cubicBezTo>
                <a:cubicBezTo>
                  <a:pt x="130" y="138"/>
                  <a:pt x="110" y="165"/>
                  <a:pt x="99" y="196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88" y="193"/>
                  <a:pt x="84" y="184"/>
                  <a:pt x="89" y="175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94" y="218"/>
                  <a:pt x="94" y="218"/>
                  <a:pt x="94" y="218"/>
                </a:cubicBezTo>
                <a:cubicBezTo>
                  <a:pt x="92" y="227"/>
                  <a:pt x="92" y="235"/>
                  <a:pt x="92" y="244"/>
                </a:cubicBezTo>
                <a:cubicBezTo>
                  <a:pt x="92" y="269"/>
                  <a:pt x="98" y="293"/>
                  <a:pt x="109" y="314"/>
                </a:cubicBezTo>
                <a:lnTo>
                  <a:pt x="108" y="315"/>
                </a:lnTo>
                <a:close/>
                <a:moveTo>
                  <a:pt x="180" y="400"/>
                </a:moveTo>
                <a:cubicBezTo>
                  <a:pt x="118" y="356"/>
                  <a:pt x="118" y="356"/>
                  <a:pt x="118" y="356"/>
                </a:cubicBezTo>
                <a:cubicBezTo>
                  <a:pt x="111" y="350"/>
                  <a:pt x="112" y="340"/>
                  <a:pt x="120" y="334"/>
                </a:cubicBezTo>
                <a:cubicBezTo>
                  <a:pt x="121" y="334"/>
                  <a:pt x="121" y="334"/>
                  <a:pt x="121" y="334"/>
                </a:cubicBezTo>
                <a:cubicBezTo>
                  <a:pt x="141" y="360"/>
                  <a:pt x="169" y="380"/>
                  <a:pt x="201" y="389"/>
                </a:cubicBezTo>
                <a:cubicBezTo>
                  <a:pt x="201" y="390"/>
                  <a:pt x="201" y="390"/>
                  <a:pt x="201" y="390"/>
                </a:cubicBezTo>
                <a:cubicBezTo>
                  <a:pt x="198" y="400"/>
                  <a:pt x="189" y="404"/>
                  <a:pt x="180" y="400"/>
                </a:cubicBezTo>
                <a:close/>
                <a:moveTo>
                  <a:pt x="311" y="398"/>
                </a:moveTo>
                <a:cubicBezTo>
                  <a:pt x="237" y="412"/>
                  <a:pt x="237" y="412"/>
                  <a:pt x="237" y="412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6" y="395"/>
                  <a:pt x="243" y="395"/>
                </a:cubicBezTo>
                <a:cubicBezTo>
                  <a:pt x="270" y="395"/>
                  <a:pt x="295" y="388"/>
                  <a:pt x="317" y="375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6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2"/>
                  <a:pt x="337" y="364"/>
                </a:cubicBezTo>
                <a:cubicBezTo>
                  <a:pt x="336" y="362"/>
                  <a:pt x="336" y="362"/>
                  <a:pt x="336" y="362"/>
                </a:cubicBezTo>
                <a:cubicBezTo>
                  <a:pt x="361" y="343"/>
                  <a:pt x="379" y="316"/>
                  <a:pt x="388" y="286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7"/>
                  <a:pt x="400" y="306"/>
                </a:cubicBezTo>
                <a:close/>
                <a:moveTo>
                  <a:pt x="395" y="263"/>
                </a:moveTo>
                <a:cubicBezTo>
                  <a:pt x="393" y="263"/>
                  <a:pt x="393" y="263"/>
                  <a:pt x="393" y="263"/>
                </a:cubicBezTo>
                <a:cubicBezTo>
                  <a:pt x="394" y="257"/>
                  <a:pt x="394" y="250"/>
                  <a:pt x="394" y="244"/>
                </a:cubicBezTo>
                <a:cubicBezTo>
                  <a:pt x="394" y="218"/>
                  <a:pt x="388" y="194"/>
                  <a:pt x="377" y="173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49"/>
                  <a:pt x="412" y="249"/>
                  <a:pt x="412" y="249"/>
                </a:cubicBezTo>
                <a:cubicBezTo>
                  <a:pt x="412" y="259"/>
                  <a:pt x="404" y="265"/>
                  <a:pt x="395" y="2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2980B9"/>
              </a:solidFill>
              <a:latin typeface="Open Sans"/>
            </a:endParaRPr>
          </a:p>
        </p:txBody>
      </p:sp>
      <p:sp>
        <p:nvSpPr>
          <p:cNvPr id="41" name="Freeform 13"/>
          <p:cNvSpPr>
            <a:spLocks noEditPoints="1"/>
          </p:cNvSpPr>
          <p:nvPr/>
        </p:nvSpPr>
        <p:spPr bwMode="auto">
          <a:xfrm rot="20959773">
            <a:off x="12223551" y="4832659"/>
            <a:ext cx="1094678" cy="10946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2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89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8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8 h 488"/>
              <a:gd name="T48" fmla="*/ 63 w 486"/>
              <a:gd name="T49" fmla="*/ 409 h 488"/>
              <a:gd name="T50" fmla="*/ 110 w 486"/>
              <a:gd name="T51" fmla="*/ 427 h 488"/>
              <a:gd name="T52" fmla="*/ 133 w 486"/>
              <a:gd name="T53" fmla="*/ 448 h 488"/>
              <a:gd name="T54" fmla="*/ 167 w 486"/>
              <a:gd name="T55" fmla="*/ 457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69 h 488"/>
              <a:gd name="T64" fmla="*/ 323 w 486"/>
              <a:gd name="T65" fmla="*/ 455 h 488"/>
              <a:gd name="T66" fmla="*/ 372 w 486"/>
              <a:gd name="T67" fmla="*/ 450 h 488"/>
              <a:gd name="T68" fmla="*/ 379 w 486"/>
              <a:gd name="T69" fmla="*/ 424 h 488"/>
              <a:gd name="T70" fmla="*/ 425 w 486"/>
              <a:gd name="T71" fmla="*/ 406 h 488"/>
              <a:gd name="T72" fmla="*/ 419 w 486"/>
              <a:gd name="T73" fmla="*/ 354 h 488"/>
              <a:gd name="T74" fmla="*/ 468 w 486"/>
              <a:gd name="T75" fmla="*/ 338 h 488"/>
              <a:gd name="T76" fmla="*/ 455 w 486"/>
              <a:gd name="T77" fmla="*/ 285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2 h 488"/>
              <a:gd name="T86" fmla="*/ 89 w 486"/>
              <a:gd name="T87" fmla="*/ 175 h 488"/>
              <a:gd name="T88" fmla="*/ 99 w 486"/>
              <a:gd name="T89" fmla="*/ 196 h 488"/>
              <a:gd name="T90" fmla="*/ 87 w 486"/>
              <a:gd name="T91" fmla="*/ 307 h 488"/>
              <a:gd name="T92" fmla="*/ 92 w 486"/>
              <a:gd name="T93" fmla="*/ 244 h 488"/>
              <a:gd name="T94" fmla="*/ 118 w 486"/>
              <a:gd name="T95" fmla="*/ 356 h 488"/>
              <a:gd name="T96" fmla="*/ 201 w 486"/>
              <a:gd name="T97" fmla="*/ 390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6 h 488"/>
              <a:gd name="T106" fmla="*/ 377 w 486"/>
              <a:gd name="T107" fmla="*/ 173 h 488"/>
              <a:gd name="T108" fmla="*/ 395 w 486"/>
              <a:gd name="T109" fmla="*/ 263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4"/>
                </a:cubicBezTo>
                <a:cubicBezTo>
                  <a:pt x="450" y="233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8"/>
                  <a:pt x="485" y="212"/>
                </a:cubicBezTo>
                <a:cubicBezTo>
                  <a:pt x="484" y="208"/>
                  <a:pt x="484" y="205"/>
                  <a:pt x="483" y="202"/>
                </a:cubicBezTo>
                <a:cubicBezTo>
                  <a:pt x="482" y="196"/>
                  <a:pt x="476" y="191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3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2" y="128"/>
                  <a:pt x="446" y="131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2"/>
                  <a:pt x="426" y="102"/>
                  <a:pt x="426" y="102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3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89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6"/>
                  <a:pt x="379" y="56"/>
                  <a:pt x="379" y="56"/>
                </a:cubicBezTo>
                <a:cubicBezTo>
                  <a:pt x="384" y="51"/>
                  <a:pt x="383" y="44"/>
                  <a:pt x="377" y="40"/>
                </a:cubicBezTo>
                <a:cubicBezTo>
                  <a:pt x="374" y="38"/>
                  <a:pt x="371" y="36"/>
                  <a:pt x="369" y="35"/>
                </a:cubicBezTo>
                <a:cubicBezTo>
                  <a:pt x="363" y="31"/>
                  <a:pt x="356" y="34"/>
                  <a:pt x="353" y="39"/>
                </a:cubicBezTo>
                <a:cubicBezTo>
                  <a:pt x="351" y="44"/>
                  <a:pt x="351" y="44"/>
                  <a:pt x="351" y="44"/>
                </a:cubicBezTo>
                <a:cubicBezTo>
                  <a:pt x="347" y="52"/>
                  <a:pt x="338" y="57"/>
                  <a:pt x="330" y="54"/>
                </a:cubicBezTo>
                <a:cubicBezTo>
                  <a:pt x="319" y="51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2"/>
                  <a:pt x="314" y="10"/>
                </a:cubicBezTo>
                <a:cubicBezTo>
                  <a:pt x="311" y="9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7"/>
                </a:cubicBezTo>
                <a:cubicBezTo>
                  <a:pt x="262" y="38"/>
                  <a:pt x="254" y="28"/>
                  <a:pt x="256" y="17"/>
                </a:cubicBezTo>
                <a:cubicBezTo>
                  <a:pt x="256" y="12"/>
                  <a:pt x="256" y="12"/>
                  <a:pt x="256" y="12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2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1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3"/>
                  <a:pt x="151" y="56"/>
                </a:cubicBezTo>
                <a:cubicBezTo>
                  <a:pt x="143" y="58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3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2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69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4"/>
                  <a:pt x="56" y="87"/>
                  <a:pt x="54" y="89"/>
                </a:cubicBezTo>
                <a:cubicBezTo>
                  <a:pt x="50" y="94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3"/>
                  <a:pt x="71" y="123"/>
                  <a:pt x="68" y="130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5"/>
                  <a:pt x="38" y="135"/>
                  <a:pt x="38" y="135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5"/>
                  <a:pt x="31" y="165"/>
                  <a:pt x="31" y="165"/>
                </a:cubicBezTo>
                <a:cubicBezTo>
                  <a:pt x="40" y="168"/>
                  <a:pt x="45" y="178"/>
                  <a:pt x="42" y="187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6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8"/>
                </a:cubicBezTo>
                <a:cubicBezTo>
                  <a:pt x="17" y="228"/>
                  <a:pt x="17" y="228"/>
                  <a:pt x="17" y="228"/>
                </a:cubicBezTo>
                <a:cubicBezTo>
                  <a:pt x="27" y="228"/>
                  <a:pt x="35" y="236"/>
                  <a:pt x="35" y="246"/>
                </a:cubicBezTo>
                <a:cubicBezTo>
                  <a:pt x="34" y="256"/>
                  <a:pt x="26" y="264"/>
                  <a:pt x="17" y="263"/>
                </a:cubicBezTo>
                <a:cubicBezTo>
                  <a:pt x="12" y="263"/>
                  <a:pt x="12" y="263"/>
                  <a:pt x="12" y="263"/>
                </a:cubicBezTo>
                <a:cubicBezTo>
                  <a:pt x="5" y="263"/>
                  <a:pt x="0" y="269"/>
                  <a:pt x="1" y="276"/>
                </a:cubicBezTo>
                <a:cubicBezTo>
                  <a:pt x="1" y="279"/>
                  <a:pt x="2" y="282"/>
                  <a:pt x="2" y="285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5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2" y="326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29"/>
                  <a:pt x="17" y="336"/>
                  <a:pt x="20" y="343"/>
                </a:cubicBezTo>
                <a:cubicBezTo>
                  <a:pt x="21" y="346"/>
                  <a:pt x="23" y="349"/>
                  <a:pt x="24" y="351"/>
                </a:cubicBezTo>
                <a:cubicBezTo>
                  <a:pt x="27" y="357"/>
                  <a:pt x="34" y="359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8"/>
                </a:cubicBezTo>
                <a:cubicBezTo>
                  <a:pt x="74" y="366"/>
                  <a:pt x="72" y="377"/>
                  <a:pt x="63" y="382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6"/>
                  <a:pt x="57" y="401"/>
                </a:cubicBezTo>
                <a:cubicBezTo>
                  <a:pt x="59" y="404"/>
                  <a:pt x="61" y="406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6"/>
                  <a:pt x="106" y="401"/>
                </a:cubicBezTo>
                <a:cubicBezTo>
                  <a:pt x="115" y="407"/>
                  <a:pt x="117" y="419"/>
                  <a:pt x="110" y="427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49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8"/>
                  <a:pt x="171" y="449"/>
                  <a:pt x="167" y="457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1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5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7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9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8"/>
                  <a:pt x="293" y="455"/>
                  <a:pt x="295" y="465"/>
                </a:cubicBezTo>
                <a:cubicBezTo>
                  <a:pt x="295" y="469"/>
                  <a:pt x="295" y="469"/>
                  <a:pt x="295" y="469"/>
                </a:cubicBezTo>
                <a:cubicBezTo>
                  <a:pt x="296" y="476"/>
                  <a:pt x="303" y="480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5"/>
                  <a:pt x="323" y="455"/>
                  <a:pt x="323" y="455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8"/>
                  <a:pt x="351" y="432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0"/>
                </a:cubicBezTo>
                <a:cubicBezTo>
                  <a:pt x="372" y="450"/>
                  <a:pt x="372" y="450"/>
                  <a:pt x="373" y="450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1"/>
                  <a:pt x="387" y="434"/>
                  <a:pt x="383" y="429"/>
                </a:cubicBezTo>
                <a:cubicBezTo>
                  <a:pt x="379" y="424"/>
                  <a:pt x="379" y="424"/>
                  <a:pt x="379" y="424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3"/>
                  <a:pt x="400" y="394"/>
                  <a:pt x="406" y="402"/>
                </a:cubicBezTo>
                <a:cubicBezTo>
                  <a:pt x="409" y="405"/>
                  <a:pt x="409" y="405"/>
                  <a:pt x="409" y="405"/>
                </a:cubicBezTo>
                <a:cubicBezTo>
                  <a:pt x="413" y="410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5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3"/>
                  <a:pt x="414" y="362"/>
                  <a:pt x="419" y="354"/>
                </a:cubicBezTo>
                <a:cubicBezTo>
                  <a:pt x="425" y="346"/>
                  <a:pt x="436" y="344"/>
                  <a:pt x="444" y="349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7"/>
                </a:cubicBezTo>
                <a:cubicBezTo>
                  <a:pt x="465" y="345"/>
                  <a:pt x="466" y="342"/>
                  <a:pt x="468" y="338"/>
                </a:cubicBezTo>
                <a:cubicBezTo>
                  <a:pt x="470" y="332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09"/>
                  <a:pt x="443" y="300"/>
                </a:cubicBezTo>
                <a:cubicBezTo>
                  <a:pt x="438" y="292"/>
                  <a:pt x="446" y="283"/>
                  <a:pt x="455" y="285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1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7"/>
                  <a:pt x="366" y="153"/>
                </a:cubicBezTo>
                <a:cubicBezTo>
                  <a:pt x="364" y="154"/>
                  <a:pt x="364" y="154"/>
                  <a:pt x="364" y="154"/>
                </a:cubicBezTo>
                <a:cubicBezTo>
                  <a:pt x="346" y="129"/>
                  <a:pt x="321" y="110"/>
                  <a:pt x="291" y="100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5"/>
                  <a:pt x="271" y="83"/>
                  <a:pt x="269" y="93"/>
                </a:cubicBezTo>
                <a:cubicBezTo>
                  <a:pt x="268" y="95"/>
                  <a:pt x="268" y="95"/>
                  <a:pt x="268" y="95"/>
                </a:cubicBezTo>
                <a:cubicBezTo>
                  <a:pt x="260" y="93"/>
                  <a:pt x="252" y="92"/>
                  <a:pt x="243" y="92"/>
                </a:cubicBezTo>
                <a:cubicBezTo>
                  <a:pt x="219" y="92"/>
                  <a:pt x="197" y="98"/>
                  <a:pt x="177" y="108"/>
                </a:cubicBezTo>
                <a:cubicBezTo>
                  <a:pt x="176" y="106"/>
                  <a:pt x="176" y="106"/>
                  <a:pt x="176" y="106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5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57" y="120"/>
                  <a:pt x="157" y="120"/>
                  <a:pt x="157" y="120"/>
                </a:cubicBezTo>
                <a:cubicBezTo>
                  <a:pt x="130" y="138"/>
                  <a:pt x="110" y="165"/>
                  <a:pt x="99" y="196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88" y="193"/>
                  <a:pt x="84" y="184"/>
                  <a:pt x="89" y="175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94" y="218"/>
                  <a:pt x="94" y="218"/>
                  <a:pt x="94" y="218"/>
                </a:cubicBezTo>
                <a:cubicBezTo>
                  <a:pt x="92" y="227"/>
                  <a:pt x="92" y="235"/>
                  <a:pt x="92" y="244"/>
                </a:cubicBezTo>
                <a:cubicBezTo>
                  <a:pt x="92" y="269"/>
                  <a:pt x="98" y="293"/>
                  <a:pt x="109" y="314"/>
                </a:cubicBezTo>
                <a:lnTo>
                  <a:pt x="108" y="315"/>
                </a:lnTo>
                <a:close/>
                <a:moveTo>
                  <a:pt x="180" y="400"/>
                </a:moveTo>
                <a:cubicBezTo>
                  <a:pt x="118" y="356"/>
                  <a:pt x="118" y="356"/>
                  <a:pt x="118" y="356"/>
                </a:cubicBezTo>
                <a:cubicBezTo>
                  <a:pt x="111" y="350"/>
                  <a:pt x="112" y="340"/>
                  <a:pt x="120" y="334"/>
                </a:cubicBezTo>
                <a:cubicBezTo>
                  <a:pt x="121" y="334"/>
                  <a:pt x="121" y="334"/>
                  <a:pt x="121" y="334"/>
                </a:cubicBezTo>
                <a:cubicBezTo>
                  <a:pt x="141" y="360"/>
                  <a:pt x="169" y="380"/>
                  <a:pt x="201" y="389"/>
                </a:cubicBezTo>
                <a:cubicBezTo>
                  <a:pt x="201" y="390"/>
                  <a:pt x="201" y="390"/>
                  <a:pt x="201" y="390"/>
                </a:cubicBezTo>
                <a:cubicBezTo>
                  <a:pt x="198" y="400"/>
                  <a:pt x="189" y="404"/>
                  <a:pt x="180" y="400"/>
                </a:cubicBezTo>
                <a:close/>
                <a:moveTo>
                  <a:pt x="311" y="398"/>
                </a:moveTo>
                <a:cubicBezTo>
                  <a:pt x="237" y="412"/>
                  <a:pt x="237" y="412"/>
                  <a:pt x="237" y="412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6" y="395"/>
                  <a:pt x="243" y="395"/>
                </a:cubicBezTo>
                <a:cubicBezTo>
                  <a:pt x="270" y="395"/>
                  <a:pt x="295" y="388"/>
                  <a:pt x="317" y="375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6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2"/>
                  <a:pt x="337" y="364"/>
                </a:cubicBezTo>
                <a:cubicBezTo>
                  <a:pt x="336" y="362"/>
                  <a:pt x="336" y="362"/>
                  <a:pt x="336" y="362"/>
                </a:cubicBezTo>
                <a:cubicBezTo>
                  <a:pt x="361" y="343"/>
                  <a:pt x="379" y="316"/>
                  <a:pt x="388" y="286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7"/>
                  <a:pt x="400" y="306"/>
                </a:cubicBezTo>
                <a:close/>
                <a:moveTo>
                  <a:pt x="395" y="263"/>
                </a:moveTo>
                <a:cubicBezTo>
                  <a:pt x="393" y="263"/>
                  <a:pt x="393" y="263"/>
                  <a:pt x="393" y="263"/>
                </a:cubicBezTo>
                <a:cubicBezTo>
                  <a:pt x="394" y="257"/>
                  <a:pt x="394" y="250"/>
                  <a:pt x="394" y="244"/>
                </a:cubicBezTo>
                <a:cubicBezTo>
                  <a:pt x="394" y="218"/>
                  <a:pt x="388" y="194"/>
                  <a:pt x="377" y="173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49"/>
                  <a:pt x="412" y="249"/>
                  <a:pt x="412" y="249"/>
                </a:cubicBezTo>
                <a:cubicBezTo>
                  <a:pt x="412" y="259"/>
                  <a:pt x="404" y="265"/>
                  <a:pt x="395" y="2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2980B9"/>
              </a:solidFill>
              <a:latin typeface="Open Sans"/>
            </a:endParaRPr>
          </a:p>
        </p:txBody>
      </p:sp>
      <p:sp>
        <p:nvSpPr>
          <p:cNvPr id="42" name="Freeform 13"/>
          <p:cNvSpPr>
            <a:spLocks noEditPoints="1"/>
          </p:cNvSpPr>
          <p:nvPr/>
        </p:nvSpPr>
        <p:spPr bwMode="auto">
          <a:xfrm rot="20959773">
            <a:off x="12223551" y="6863893"/>
            <a:ext cx="1094678" cy="10946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2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89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8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8 h 488"/>
              <a:gd name="T48" fmla="*/ 63 w 486"/>
              <a:gd name="T49" fmla="*/ 409 h 488"/>
              <a:gd name="T50" fmla="*/ 110 w 486"/>
              <a:gd name="T51" fmla="*/ 427 h 488"/>
              <a:gd name="T52" fmla="*/ 133 w 486"/>
              <a:gd name="T53" fmla="*/ 448 h 488"/>
              <a:gd name="T54" fmla="*/ 167 w 486"/>
              <a:gd name="T55" fmla="*/ 457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69 h 488"/>
              <a:gd name="T64" fmla="*/ 323 w 486"/>
              <a:gd name="T65" fmla="*/ 455 h 488"/>
              <a:gd name="T66" fmla="*/ 372 w 486"/>
              <a:gd name="T67" fmla="*/ 450 h 488"/>
              <a:gd name="T68" fmla="*/ 379 w 486"/>
              <a:gd name="T69" fmla="*/ 424 h 488"/>
              <a:gd name="T70" fmla="*/ 425 w 486"/>
              <a:gd name="T71" fmla="*/ 406 h 488"/>
              <a:gd name="T72" fmla="*/ 419 w 486"/>
              <a:gd name="T73" fmla="*/ 354 h 488"/>
              <a:gd name="T74" fmla="*/ 468 w 486"/>
              <a:gd name="T75" fmla="*/ 338 h 488"/>
              <a:gd name="T76" fmla="*/ 455 w 486"/>
              <a:gd name="T77" fmla="*/ 285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2 h 488"/>
              <a:gd name="T86" fmla="*/ 89 w 486"/>
              <a:gd name="T87" fmla="*/ 175 h 488"/>
              <a:gd name="T88" fmla="*/ 99 w 486"/>
              <a:gd name="T89" fmla="*/ 196 h 488"/>
              <a:gd name="T90" fmla="*/ 87 w 486"/>
              <a:gd name="T91" fmla="*/ 307 h 488"/>
              <a:gd name="T92" fmla="*/ 92 w 486"/>
              <a:gd name="T93" fmla="*/ 244 h 488"/>
              <a:gd name="T94" fmla="*/ 118 w 486"/>
              <a:gd name="T95" fmla="*/ 356 h 488"/>
              <a:gd name="T96" fmla="*/ 201 w 486"/>
              <a:gd name="T97" fmla="*/ 390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6 h 488"/>
              <a:gd name="T106" fmla="*/ 377 w 486"/>
              <a:gd name="T107" fmla="*/ 173 h 488"/>
              <a:gd name="T108" fmla="*/ 395 w 486"/>
              <a:gd name="T109" fmla="*/ 263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4"/>
                </a:cubicBezTo>
                <a:cubicBezTo>
                  <a:pt x="450" y="233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8"/>
                  <a:pt x="485" y="212"/>
                </a:cubicBezTo>
                <a:cubicBezTo>
                  <a:pt x="484" y="208"/>
                  <a:pt x="484" y="205"/>
                  <a:pt x="483" y="202"/>
                </a:cubicBezTo>
                <a:cubicBezTo>
                  <a:pt x="482" y="196"/>
                  <a:pt x="476" y="191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3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2" y="128"/>
                  <a:pt x="446" y="131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2"/>
                  <a:pt x="426" y="102"/>
                  <a:pt x="426" y="102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3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89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6"/>
                  <a:pt x="379" y="56"/>
                  <a:pt x="379" y="56"/>
                </a:cubicBezTo>
                <a:cubicBezTo>
                  <a:pt x="384" y="51"/>
                  <a:pt x="383" y="44"/>
                  <a:pt x="377" y="40"/>
                </a:cubicBezTo>
                <a:cubicBezTo>
                  <a:pt x="374" y="38"/>
                  <a:pt x="371" y="36"/>
                  <a:pt x="369" y="35"/>
                </a:cubicBezTo>
                <a:cubicBezTo>
                  <a:pt x="363" y="31"/>
                  <a:pt x="356" y="34"/>
                  <a:pt x="353" y="39"/>
                </a:cubicBezTo>
                <a:cubicBezTo>
                  <a:pt x="351" y="44"/>
                  <a:pt x="351" y="44"/>
                  <a:pt x="351" y="44"/>
                </a:cubicBezTo>
                <a:cubicBezTo>
                  <a:pt x="347" y="52"/>
                  <a:pt x="338" y="57"/>
                  <a:pt x="330" y="54"/>
                </a:cubicBezTo>
                <a:cubicBezTo>
                  <a:pt x="319" y="51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2"/>
                  <a:pt x="314" y="10"/>
                </a:cubicBezTo>
                <a:cubicBezTo>
                  <a:pt x="311" y="9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7"/>
                </a:cubicBezTo>
                <a:cubicBezTo>
                  <a:pt x="262" y="38"/>
                  <a:pt x="254" y="28"/>
                  <a:pt x="256" y="17"/>
                </a:cubicBezTo>
                <a:cubicBezTo>
                  <a:pt x="256" y="12"/>
                  <a:pt x="256" y="12"/>
                  <a:pt x="256" y="12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2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1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3"/>
                  <a:pt x="151" y="56"/>
                </a:cubicBezTo>
                <a:cubicBezTo>
                  <a:pt x="143" y="58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3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2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69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4"/>
                  <a:pt x="56" y="87"/>
                  <a:pt x="54" y="89"/>
                </a:cubicBezTo>
                <a:cubicBezTo>
                  <a:pt x="50" y="94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3"/>
                  <a:pt x="71" y="123"/>
                  <a:pt x="68" y="130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5"/>
                  <a:pt x="38" y="135"/>
                  <a:pt x="38" y="135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5"/>
                  <a:pt x="31" y="165"/>
                  <a:pt x="31" y="165"/>
                </a:cubicBezTo>
                <a:cubicBezTo>
                  <a:pt x="40" y="168"/>
                  <a:pt x="45" y="178"/>
                  <a:pt x="42" y="187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6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8"/>
                </a:cubicBezTo>
                <a:cubicBezTo>
                  <a:pt x="17" y="228"/>
                  <a:pt x="17" y="228"/>
                  <a:pt x="17" y="228"/>
                </a:cubicBezTo>
                <a:cubicBezTo>
                  <a:pt x="27" y="228"/>
                  <a:pt x="35" y="236"/>
                  <a:pt x="35" y="246"/>
                </a:cubicBezTo>
                <a:cubicBezTo>
                  <a:pt x="34" y="256"/>
                  <a:pt x="26" y="264"/>
                  <a:pt x="17" y="263"/>
                </a:cubicBezTo>
                <a:cubicBezTo>
                  <a:pt x="12" y="263"/>
                  <a:pt x="12" y="263"/>
                  <a:pt x="12" y="263"/>
                </a:cubicBezTo>
                <a:cubicBezTo>
                  <a:pt x="5" y="263"/>
                  <a:pt x="0" y="269"/>
                  <a:pt x="1" y="276"/>
                </a:cubicBezTo>
                <a:cubicBezTo>
                  <a:pt x="1" y="279"/>
                  <a:pt x="2" y="282"/>
                  <a:pt x="2" y="285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5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2" y="326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29"/>
                  <a:pt x="17" y="336"/>
                  <a:pt x="20" y="343"/>
                </a:cubicBezTo>
                <a:cubicBezTo>
                  <a:pt x="21" y="346"/>
                  <a:pt x="23" y="349"/>
                  <a:pt x="24" y="351"/>
                </a:cubicBezTo>
                <a:cubicBezTo>
                  <a:pt x="27" y="357"/>
                  <a:pt x="34" y="359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8"/>
                </a:cubicBezTo>
                <a:cubicBezTo>
                  <a:pt x="74" y="366"/>
                  <a:pt x="72" y="377"/>
                  <a:pt x="63" y="382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6"/>
                  <a:pt x="57" y="401"/>
                </a:cubicBezTo>
                <a:cubicBezTo>
                  <a:pt x="59" y="404"/>
                  <a:pt x="61" y="406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6"/>
                  <a:pt x="106" y="401"/>
                </a:cubicBezTo>
                <a:cubicBezTo>
                  <a:pt x="115" y="407"/>
                  <a:pt x="117" y="419"/>
                  <a:pt x="110" y="427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49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8"/>
                  <a:pt x="171" y="449"/>
                  <a:pt x="167" y="457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1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5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7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9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8"/>
                  <a:pt x="293" y="455"/>
                  <a:pt x="295" y="465"/>
                </a:cubicBezTo>
                <a:cubicBezTo>
                  <a:pt x="295" y="469"/>
                  <a:pt x="295" y="469"/>
                  <a:pt x="295" y="469"/>
                </a:cubicBezTo>
                <a:cubicBezTo>
                  <a:pt x="296" y="476"/>
                  <a:pt x="303" y="480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5"/>
                  <a:pt x="323" y="455"/>
                  <a:pt x="323" y="455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8"/>
                  <a:pt x="351" y="432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0"/>
                </a:cubicBezTo>
                <a:cubicBezTo>
                  <a:pt x="372" y="450"/>
                  <a:pt x="372" y="450"/>
                  <a:pt x="373" y="450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1"/>
                  <a:pt x="387" y="434"/>
                  <a:pt x="383" y="429"/>
                </a:cubicBezTo>
                <a:cubicBezTo>
                  <a:pt x="379" y="424"/>
                  <a:pt x="379" y="424"/>
                  <a:pt x="379" y="424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3"/>
                  <a:pt x="400" y="394"/>
                  <a:pt x="406" y="402"/>
                </a:cubicBezTo>
                <a:cubicBezTo>
                  <a:pt x="409" y="405"/>
                  <a:pt x="409" y="405"/>
                  <a:pt x="409" y="405"/>
                </a:cubicBezTo>
                <a:cubicBezTo>
                  <a:pt x="413" y="410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5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3"/>
                  <a:pt x="414" y="362"/>
                  <a:pt x="419" y="354"/>
                </a:cubicBezTo>
                <a:cubicBezTo>
                  <a:pt x="425" y="346"/>
                  <a:pt x="436" y="344"/>
                  <a:pt x="444" y="349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7"/>
                </a:cubicBezTo>
                <a:cubicBezTo>
                  <a:pt x="465" y="345"/>
                  <a:pt x="466" y="342"/>
                  <a:pt x="468" y="338"/>
                </a:cubicBezTo>
                <a:cubicBezTo>
                  <a:pt x="470" y="332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09"/>
                  <a:pt x="443" y="300"/>
                </a:cubicBezTo>
                <a:cubicBezTo>
                  <a:pt x="438" y="292"/>
                  <a:pt x="446" y="283"/>
                  <a:pt x="455" y="285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1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7"/>
                  <a:pt x="366" y="153"/>
                </a:cubicBezTo>
                <a:cubicBezTo>
                  <a:pt x="364" y="154"/>
                  <a:pt x="364" y="154"/>
                  <a:pt x="364" y="154"/>
                </a:cubicBezTo>
                <a:cubicBezTo>
                  <a:pt x="346" y="129"/>
                  <a:pt x="321" y="110"/>
                  <a:pt x="291" y="100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5"/>
                  <a:pt x="271" y="83"/>
                  <a:pt x="269" y="93"/>
                </a:cubicBezTo>
                <a:cubicBezTo>
                  <a:pt x="268" y="95"/>
                  <a:pt x="268" y="95"/>
                  <a:pt x="268" y="95"/>
                </a:cubicBezTo>
                <a:cubicBezTo>
                  <a:pt x="260" y="93"/>
                  <a:pt x="252" y="92"/>
                  <a:pt x="243" y="92"/>
                </a:cubicBezTo>
                <a:cubicBezTo>
                  <a:pt x="219" y="92"/>
                  <a:pt x="197" y="98"/>
                  <a:pt x="177" y="108"/>
                </a:cubicBezTo>
                <a:cubicBezTo>
                  <a:pt x="176" y="106"/>
                  <a:pt x="176" y="106"/>
                  <a:pt x="176" y="106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5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57" y="120"/>
                  <a:pt x="157" y="120"/>
                  <a:pt x="157" y="120"/>
                </a:cubicBezTo>
                <a:cubicBezTo>
                  <a:pt x="130" y="138"/>
                  <a:pt x="110" y="165"/>
                  <a:pt x="99" y="196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88" y="193"/>
                  <a:pt x="84" y="184"/>
                  <a:pt x="89" y="175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94" y="218"/>
                  <a:pt x="94" y="218"/>
                  <a:pt x="94" y="218"/>
                </a:cubicBezTo>
                <a:cubicBezTo>
                  <a:pt x="92" y="227"/>
                  <a:pt x="92" y="235"/>
                  <a:pt x="92" y="244"/>
                </a:cubicBezTo>
                <a:cubicBezTo>
                  <a:pt x="92" y="269"/>
                  <a:pt x="98" y="293"/>
                  <a:pt x="109" y="314"/>
                </a:cubicBezTo>
                <a:lnTo>
                  <a:pt x="108" y="315"/>
                </a:lnTo>
                <a:close/>
                <a:moveTo>
                  <a:pt x="180" y="400"/>
                </a:moveTo>
                <a:cubicBezTo>
                  <a:pt x="118" y="356"/>
                  <a:pt x="118" y="356"/>
                  <a:pt x="118" y="356"/>
                </a:cubicBezTo>
                <a:cubicBezTo>
                  <a:pt x="111" y="350"/>
                  <a:pt x="112" y="340"/>
                  <a:pt x="120" y="334"/>
                </a:cubicBezTo>
                <a:cubicBezTo>
                  <a:pt x="121" y="334"/>
                  <a:pt x="121" y="334"/>
                  <a:pt x="121" y="334"/>
                </a:cubicBezTo>
                <a:cubicBezTo>
                  <a:pt x="141" y="360"/>
                  <a:pt x="169" y="380"/>
                  <a:pt x="201" y="389"/>
                </a:cubicBezTo>
                <a:cubicBezTo>
                  <a:pt x="201" y="390"/>
                  <a:pt x="201" y="390"/>
                  <a:pt x="201" y="390"/>
                </a:cubicBezTo>
                <a:cubicBezTo>
                  <a:pt x="198" y="400"/>
                  <a:pt x="189" y="404"/>
                  <a:pt x="180" y="400"/>
                </a:cubicBezTo>
                <a:close/>
                <a:moveTo>
                  <a:pt x="311" y="398"/>
                </a:moveTo>
                <a:cubicBezTo>
                  <a:pt x="237" y="412"/>
                  <a:pt x="237" y="412"/>
                  <a:pt x="237" y="412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6" y="395"/>
                  <a:pt x="243" y="395"/>
                </a:cubicBezTo>
                <a:cubicBezTo>
                  <a:pt x="270" y="395"/>
                  <a:pt x="295" y="388"/>
                  <a:pt x="317" y="375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6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2"/>
                  <a:pt x="337" y="364"/>
                </a:cubicBezTo>
                <a:cubicBezTo>
                  <a:pt x="336" y="362"/>
                  <a:pt x="336" y="362"/>
                  <a:pt x="336" y="362"/>
                </a:cubicBezTo>
                <a:cubicBezTo>
                  <a:pt x="361" y="343"/>
                  <a:pt x="379" y="316"/>
                  <a:pt x="388" y="286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7"/>
                  <a:pt x="400" y="306"/>
                </a:cubicBezTo>
                <a:close/>
                <a:moveTo>
                  <a:pt x="395" y="263"/>
                </a:moveTo>
                <a:cubicBezTo>
                  <a:pt x="393" y="263"/>
                  <a:pt x="393" y="263"/>
                  <a:pt x="393" y="263"/>
                </a:cubicBezTo>
                <a:cubicBezTo>
                  <a:pt x="394" y="257"/>
                  <a:pt x="394" y="250"/>
                  <a:pt x="394" y="244"/>
                </a:cubicBezTo>
                <a:cubicBezTo>
                  <a:pt x="394" y="218"/>
                  <a:pt x="388" y="194"/>
                  <a:pt x="377" y="173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49"/>
                  <a:pt x="412" y="249"/>
                  <a:pt x="412" y="249"/>
                </a:cubicBezTo>
                <a:cubicBezTo>
                  <a:pt x="412" y="259"/>
                  <a:pt x="404" y="265"/>
                  <a:pt x="395" y="26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2980B9"/>
              </a:solidFill>
              <a:latin typeface="Open Sans"/>
            </a:endParaRPr>
          </a:p>
        </p:txBody>
      </p:sp>
      <p:sp>
        <p:nvSpPr>
          <p:cNvPr id="43" name="Freeform 13"/>
          <p:cNvSpPr>
            <a:spLocks noEditPoints="1"/>
          </p:cNvSpPr>
          <p:nvPr/>
        </p:nvSpPr>
        <p:spPr bwMode="auto">
          <a:xfrm rot="20959773">
            <a:off x="12223551" y="8959779"/>
            <a:ext cx="1094678" cy="10946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2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89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8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8 h 488"/>
              <a:gd name="T48" fmla="*/ 63 w 486"/>
              <a:gd name="T49" fmla="*/ 409 h 488"/>
              <a:gd name="T50" fmla="*/ 110 w 486"/>
              <a:gd name="T51" fmla="*/ 427 h 488"/>
              <a:gd name="T52" fmla="*/ 133 w 486"/>
              <a:gd name="T53" fmla="*/ 448 h 488"/>
              <a:gd name="T54" fmla="*/ 167 w 486"/>
              <a:gd name="T55" fmla="*/ 457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69 h 488"/>
              <a:gd name="T64" fmla="*/ 323 w 486"/>
              <a:gd name="T65" fmla="*/ 455 h 488"/>
              <a:gd name="T66" fmla="*/ 372 w 486"/>
              <a:gd name="T67" fmla="*/ 450 h 488"/>
              <a:gd name="T68" fmla="*/ 379 w 486"/>
              <a:gd name="T69" fmla="*/ 424 h 488"/>
              <a:gd name="T70" fmla="*/ 425 w 486"/>
              <a:gd name="T71" fmla="*/ 406 h 488"/>
              <a:gd name="T72" fmla="*/ 419 w 486"/>
              <a:gd name="T73" fmla="*/ 354 h 488"/>
              <a:gd name="T74" fmla="*/ 468 w 486"/>
              <a:gd name="T75" fmla="*/ 338 h 488"/>
              <a:gd name="T76" fmla="*/ 455 w 486"/>
              <a:gd name="T77" fmla="*/ 285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2 h 488"/>
              <a:gd name="T86" fmla="*/ 89 w 486"/>
              <a:gd name="T87" fmla="*/ 175 h 488"/>
              <a:gd name="T88" fmla="*/ 99 w 486"/>
              <a:gd name="T89" fmla="*/ 196 h 488"/>
              <a:gd name="T90" fmla="*/ 87 w 486"/>
              <a:gd name="T91" fmla="*/ 307 h 488"/>
              <a:gd name="T92" fmla="*/ 92 w 486"/>
              <a:gd name="T93" fmla="*/ 244 h 488"/>
              <a:gd name="T94" fmla="*/ 118 w 486"/>
              <a:gd name="T95" fmla="*/ 356 h 488"/>
              <a:gd name="T96" fmla="*/ 201 w 486"/>
              <a:gd name="T97" fmla="*/ 390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6 h 488"/>
              <a:gd name="T106" fmla="*/ 377 w 486"/>
              <a:gd name="T107" fmla="*/ 173 h 488"/>
              <a:gd name="T108" fmla="*/ 395 w 486"/>
              <a:gd name="T109" fmla="*/ 263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4"/>
                </a:cubicBezTo>
                <a:cubicBezTo>
                  <a:pt x="450" y="233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8"/>
                  <a:pt x="485" y="212"/>
                </a:cubicBezTo>
                <a:cubicBezTo>
                  <a:pt x="484" y="208"/>
                  <a:pt x="484" y="205"/>
                  <a:pt x="483" y="202"/>
                </a:cubicBezTo>
                <a:cubicBezTo>
                  <a:pt x="482" y="196"/>
                  <a:pt x="476" y="191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3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2" y="128"/>
                  <a:pt x="446" y="131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2"/>
                  <a:pt x="426" y="102"/>
                  <a:pt x="426" y="102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3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89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6"/>
                  <a:pt x="379" y="56"/>
                  <a:pt x="379" y="56"/>
                </a:cubicBezTo>
                <a:cubicBezTo>
                  <a:pt x="384" y="51"/>
                  <a:pt x="383" y="44"/>
                  <a:pt x="377" y="40"/>
                </a:cubicBezTo>
                <a:cubicBezTo>
                  <a:pt x="374" y="38"/>
                  <a:pt x="371" y="36"/>
                  <a:pt x="369" y="35"/>
                </a:cubicBezTo>
                <a:cubicBezTo>
                  <a:pt x="363" y="31"/>
                  <a:pt x="356" y="34"/>
                  <a:pt x="353" y="39"/>
                </a:cubicBezTo>
                <a:cubicBezTo>
                  <a:pt x="351" y="44"/>
                  <a:pt x="351" y="44"/>
                  <a:pt x="351" y="44"/>
                </a:cubicBezTo>
                <a:cubicBezTo>
                  <a:pt x="347" y="52"/>
                  <a:pt x="338" y="57"/>
                  <a:pt x="330" y="54"/>
                </a:cubicBezTo>
                <a:cubicBezTo>
                  <a:pt x="319" y="51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2"/>
                  <a:pt x="314" y="10"/>
                </a:cubicBezTo>
                <a:cubicBezTo>
                  <a:pt x="311" y="9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7"/>
                </a:cubicBezTo>
                <a:cubicBezTo>
                  <a:pt x="262" y="38"/>
                  <a:pt x="254" y="28"/>
                  <a:pt x="256" y="17"/>
                </a:cubicBezTo>
                <a:cubicBezTo>
                  <a:pt x="256" y="12"/>
                  <a:pt x="256" y="12"/>
                  <a:pt x="256" y="12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2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1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3"/>
                  <a:pt x="151" y="56"/>
                </a:cubicBezTo>
                <a:cubicBezTo>
                  <a:pt x="143" y="58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3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2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69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4"/>
                  <a:pt x="56" y="87"/>
                  <a:pt x="54" y="89"/>
                </a:cubicBezTo>
                <a:cubicBezTo>
                  <a:pt x="50" y="94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3"/>
                  <a:pt x="71" y="123"/>
                  <a:pt x="68" y="130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5"/>
                  <a:pt x="38" y="135"/>
                  <a:pt x="38" y="135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5"/>
                  <a:pt x="31" y="165"/>
                  <a:pt x="31" y="165"/>
                </a:cubicBezTo>
                <a:cubicBezTo>
                  <a:pt x="40" y="168"/>
                  <a:pt x="45" y="178"/>
                  <a:pt x="42" y="187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6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8"/>
                </a:cubicBezTo>
                <a:cubicBezTo>
                  <a:pt x="17" y="228"/>
                  <a:pt x="17" y="228"/>
                  <a:pt x="17" y="228"/>
                </a:cubicBezTo>
                <a:cubicBezTo>
                  <a:pt x="27" y="228"/>
                  <a:pt x="35" y="236"/>
                  <a:pt x="35" y="246"/>
                </a:cubicBezTo>
                <a:cubicBezTo>
                  <a:pt x="34" y="256"/>
                  <a:pt x="26" y="264"/>
                  <a:pt x="17" y="263"/>
                </a:cubicBezTo>
                <a:cubicBezTo>
                  <a:pt x="12" y="263"/>
                  <a:pt x="12" y="263"/>
                  <a:pt x="12" y="263"/>
                </a:cubicBezTo>
                <a:cubicBezTo>
                  <a:pt x="5" y="263"/>
                  <a:pt x="0" y="269"/>
                  <a:pt x="1" y="276"/>
                </a:cubicBezTo>
                <a:cubicBezTo>
                  <a:pt x="1" y="279"/>
                  <a:pt x="2" y="282"/>
                  <a:pt x="2" y="285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5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2" y="326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29"/>
                  <a:pt x="17" y="336"/>
                  <a:pt x="20" y="343"/>
                </a:cubicBezTo>
                <a:cubicBezTo>
                  <a:pt x="21" y="346"/>
                  <a:pt x="23" y="349"/>
                  <a:pt x="24" y="351"/>
                </a:cubicBezTo>
                <a:cubicBezTo>
                  <a:pt x="27" y="357"/>
                  <a:pt x="34" y="359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8"/>
                </a:cubicBezTo>
                <a:cubicBezTo>
                  <a:pt x="74" y="366"/>
                  <a:pt x="72" y="377"/>
                  <a:pt x="63" y="382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6"/>
                  <a:pt x="57" y="401"/>
                </a:cubicBezTo>
                <a:cubicBezTo>
                  <a:pt x="59" y="404"/>
                  <a:pt x="61" y="406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6"/>
                  <a:pt x="106" y="401"/>
                </a:cubicBezTo>
                <a:cubicBezTo>
                  <a:pt x="115" y="407"/>
                  <a:pt x="117" y="419"/>
                  <a:pt x="110" y="427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49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8"/>
                  <a:pt x="171" y="449"/>
                  <a:pt x="167" y="457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1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5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7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9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8"/>
                  <a:pt x="293" y="455"/>
                  <a:pt x="295" y="465"/>
                </a:cubicBezTo>
                <a:cubicBezTo>
                  <a:pt x="295" y="469"/>
                  <a:pt x="295" y="469"/>
                  <a:pt x="295" y="469"/>
                </a:cubicBezTo>
                <a:cubicBezTo>
                  <a:pt x="296" y="476"/>
                  <a:pt x="303" y="480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5"/>
                  <a:pt x="323" y="455"/>
                  <a:pt x="323" y="455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8"/>
                  <a:pt x="351" y="432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0"/>
                </a:cubicBezTo>
                <a:cubicBezTo>
                  <a:pt x="372" y="450"/>
                  <a:pt x="372" y="450"/>
                  <a:pt x="373" y="450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1"/>
                  <a:pt x="387" y="434"/>
                  <a:pt x="383" y="429"/>
                </a:cubicBezTo>
                <a:cubicBezTo>
                  <a:pt x="379" y="424"/>
                  <a:pt x="379" y="424"/>
                  <a:pt x="379" y="424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3"/>
                  <a:pt x="400" y="394"/>
                  <a:pt x="406" y="402"/>
                </a:cubicBezTo>
                <a:cubicBezTo>
                  <a:pt x="409" y="405"/>
                  <a:pt x="409" y="405"/>
                  <a:pt x="409" y="405"/>
                </a:cubicBezTo>
                <a:cubicBezTo>
                  <a:pt x="413" y="410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5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3"/>
                  <a:pt x="414" y="362"/>
                  <a:pt x="419" y="354"/>
                </a:cubicBezTo>
                <a:cubicBezTo>
                  <a:pt x="425" y="346"/>
                  <a:pt x="436" y="344"/>
                  <a:pt x="444" y="349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7"/>
                </a:cubicBezTo>
                <a:cubicBezTo>
                  <a:pt x="465" y="345"/>
                  <a:pt x="466" y="342"/>
                  <a:pt x="468" y="338"/>
                </a:cubicBezTo>
                <a:cubicBezTo>
                  <a:pt x="470" y="332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09"/>
                  <a:pt x="443" y="300"/>
                </a:cubicBezTo>
                <a:cubicBezTo>
                  <a:pt x="438" y="292"/>
                  <a:pt x="446" y="283"/>
                  <a:pt x="455" y="285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1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7"/>
                  <a:pt x="366" y="153"/>
                </a:cubicBezTo>
                <a:cubicBezTo>
                  <a:pt x="364" y="154"/>
                  <a:pt x="364" y="154"/>
                  <a:pt x="364" y="154"/>
                </a:cubicBezTo>
                <a:cubicBezTo>
                  <a:pt x="346" y="129"/>
                  <a:pt x="321" y="110"/>
                  <a:pt x="291" y="100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5"/>
                  <a:pt x="271" y="83"/>
                  <a:pt x="269" y="93"/>
                </a:cubicBezTo>
                <a:cubicBezTo>
                  <a:pt x="268" y="95"/>
                  <a:pt x="268" y="95"/>
                  <a:pt x="268" y="95"/>
                </a:cubicBezTo>
                <a:cubicBezTo>
                  <a:pt x="260" y="93"/>
                  <a:pt x="252" y="92"/>
                  <a:pt x="243" y="92"/>
                </a:cubicBezTo>
                <a:cubicBezTo>
                  <a:pt x="219" y="92"/>
                  <a:pt x="197" y="98"/>
                  <a:pt x="177" y="108"/>
                </a:cubicBezTo>
                <a:cubicBezTo>
                  <a:pt x="176" y="106"/>
                  <a:pt x="176" y="106"/>
                  <a:pt x="176" y="106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5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57" y="120"/>
                  <a:pt x="157" y="120"/>
                  <a:pt x="157" y="120"/>
                </a:cubicBezTo>
                <a:cubicBezTo>
                  <a:pt x="130" y="138"/>
                  <a:pt x="110" y="165"/>
                  <a:pt x="99" y="196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88" y="193"/>
                  <a:pt x="84" y="184"/>
                  <a:pt x="89" y="175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94" y="218"/>
                  <a:pt x="94" y="218"/>
                  <a:pt x="94" y="218"/>
                </a:cubicBezTo>
                <a:cubicBezTo>
                  <a:pt x="92" y="227"/>
                  <a:pt x="92" y="235"/>
                  <a:pt x="92" y="244"/>
                </a:cubicBezTo>
                <a:cubicBezTo>
                  <a:pt x="92" y="269"/>
                  <a:pt x="98" y="293"/>
                  <a:pt x="109" y="314"/>
                </a:cubicBezTo>
                <a:lnTo>
                  <a:pt x="108" y="315"/>
                </a:lnTo>
                <a:close/>
                <a:moveTo>
                  <a:pt x="180" y="400"/>
                </a:moveTo>
                <a:cubicBezTo>
                  <a:pt x="118" y="356"/>
                  <a:pt x="118" y="356"/>
                  <a:pt x="118" y="356"/>
                </a:cubicBezTo>
                <a:cubicBezTo>
                  <a:pt x="111" y="350"/>
                  <a:pt x="112" y="340"/>
                  <a:pt x="120" y="334"/>
                </a:cubicBezTo>
                <a:cubicBezTo>
                  <a:pt x="121" y="334"/>
                  <a:pt x="121" y="334"/>
                  <a:pt x="121" y="334"/>
                </a:cubicBezTo>
                <a:cubicBezTo>
                  <a:pt x="141" y="360"/>
                  <a:pt x="169" y="380"/>
                  <a:pt x="201" y="389"/>
                </a:cubicBezTo>
                <a:cubicBezTo>
                  <a:pt x="201" y="390"/>
                  <a:pt x="201" y="390"/>
                  <a:pt x="201" y="390"/>
                </a:cubicBezTo>
                <a:cubicBezTo>
                  <a:pt x="198" y="400"/>
                  <a:pt x="189" y="404"/>
                  <a:pt x="180" y="400"/>
                </a:cubicBezTo>
                <a:close/>
                <a:moveTo>
                  <a:pt x="311" y="398"/>
                </a:moveTo>
                <a:cubicBezTo>
                  <a:pt x="237" y="412"/>
                  <a:pt x="237" y="412"/>
                  <a:pt x="237" y="412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6" y="395"/>
                  <a:pt x="243" y="395"/>
                </a:cubicBezTo>
                <a:cubicBezTo>
                  <a:pt x="270" y="395"/>
                  <a:pt x="295" y="388"/>
                  <a:pt x="317" y="375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6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2"/>
                  <a:pt x="337" y="364"/>
                </a:cubicBezTo>
                <a:cubicBezTo>
                  <a:pt x="336" y="362"/>
                  <a:pt x="336" y="362"/>
                  <a:pt x="336" y="362"/>
                </a:cubicBezTo>
                <a:cubicBezTo>
                  <a:pt x="361" y="343"/>
                  <a:pt x="379" y="316"/>
                  <a:pt x="388" y="286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7"/>
                  <a:pt x="400" y="306"/>
                </a:cubicBezTo>
                <a:close/>
                <a:moveTo>
                  <a:pt x="395" y="263"/>
                </a:moveTo>
                <a:cubicBezTo>
                  <a:pt x="393" y="263"/>
                  <a:pt x="393" y="263"/>
                  <a:pt x="393" y="263"/>
                </a:cubicBezTo>
                <a:cubicBezTo>
                  <a:pt x="394" y="257"/>
                  <a:pt x="394" y="250"/>
                  <a:pt x="394" y="244"/>
                </a:cubicBezTo>
                <a:cubicBezTo>
                  <a:pt x="394" y="218"/>
                  <a:pt x="388" y="194"/>
                  <a:pt x="377" y="173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49"/>
                  <a:pt x="412" y="249"/>
                  <a:pt x="412" y="249"/>
                </a:cubicBezTo>
                <a:cubicBezTo>
                  <a:pt x="412" y="259"/>
                  <a:pt x="404" y="265"/>
                  <a:pt x="395" y="26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2980B9"/>
              </a:solidFill>
              <a:latin typeface="Open Sans"/>
            </a:endParaRPr>
          </a:p>
        </p:txBody>
      </p:sp>
      <p:sp>
        <p:nvSpPr>
          <p:cNvPr id="44" name="Freeform 13"/>
          <p:cNvSpPr>
            <a:spLocks noEditPoints="1"/>
          </p:cNvSpPr>
          <p:nvPr/>
        </p:nvSpPr>
        <p:spPr bwMode="auto">
          <a:xfrm rot="20959773">
            <a:off x="12223551" y="11096295"/>
            <a:ext cx="1094678" cy="1094678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2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89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8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8 h 488"/>
              <a:gd name="T48" fmla="*/ 63 w 486"/>
              <a:gd name="T49" fmla="*/ 409 h 488"/>
              <a:gd name="T50" fmla="*/ 110 w 486"/>
              <a:gd name="T51" fmla="*/ 427 h 488"/>
              <a:gd name="T52" fmla="*/ 133 w 486"/>
              <a:gd name="T53" fmla="*/ 448 h 488"/>
              <a:gd name="T54" fmla="*/ 167 w 486"/>
              <a:gd name="T55" fmla="*/ 457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69 h 488"/>
              <a:gd name="T64" fmla="*/ 323 w 486"/>
              <a:gd name="T65" fmla="*/ 455 h 488"/>
              <a:gd name="T66" fmla="*/ 372 w 486"/>
              <a:gd name="T67" fmla="*/ 450 h 488"/>
              <a:gd name="T68" fmla="*/ 379 w 486"/>
              <a:gd name="T69" fmla="*/ 424 h 488"/>
              <a:gd name="T70" fmla="*/ 425 w 486"/>
              <a:gd name="T71" fmla="*/ 406 h 488"/>
              <a:gd name="T72" fmla="*/ 419 w 486"/>
              <a:gd name="T73" fmla="*/ 354 h 488"/>
              <a:gd name="T74" fmla="*/ 468 w 486"/>
              <a:gd name="T75" fmla="*/ 338 h 488"/>
              <a:gd name="T76" fmla="*/ 455 w 486"/>
              <a:gd name="T77" fmla="*/ 285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2 h 488"/>
              <a:gd name="T86" fmla="*/ 89 w 486"/>
              <a:gd name="T87" fmla="*/ 175 h 488"/>
              <a:gd name="T88" fmla="*/ 99 w 486"/>
              <a:gd name="T89" fmla="*/ 196 h 488"/>
              <a:gd name="T90" fmla="*/ 87 w 486"/>
              <a:gd name="T91" fmla="*/ 307 h 488"/>
              <a:gd name="T92" fmla="*/ 92 w 486"/>
              <a:gd name="T93" fmla="*/ 244 h 488"/>
              <a:gd name="T94" fmla="*/ 118 w 486"/>
              <a:gd name="T95" fmla="*/ 356 h 488"/>
              <a:gd name="T96" fmla="*/ 201 w 486"/>
              <a:gd name="T97" fmla="*/ 390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6 h 488"/>
              <a:gd name="T106" fmla="*/ 377 w 486"/>
              <a:gd name="T107" fmla="*/ 173 h 488"/>
              <a:gd name="T108" fmla="*/ 395 w 486"/>
              <a:gd name="T109" fmla="*/ 263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4"/>
                </a:cubicBezTo>
                <a:cubicBezTo>
                  <a:pt x="450" y="233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8"/>
                  <a:pt x="485" y="212"/>
                </a:cubicBezTo>
                <a:cubicBezTo>
                  <a:pt x="484" y="208"/>
                  <a:pt x="484" y="205"/>
                  <a:pt x="483" y="202"/>
                </a:cubicBezTo>
                <a:cubicBezTo>
                  <a:pt x="482" y="196"/>
                  <a:pt x="476" y="191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3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2" y="128"/>
                  <a:pt x="446" y="131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2"/>
                  <a:pt x="426" y="102"/>
                  <a:pt x="426" y="102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3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89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6"/>
                  <a:pt x="379" y="56"/>
                  <a:pt x="379" y="56"/>
                </a:cubicBezTo>
                <a:cubicBezTo>
                  <a:pt x="384" y="51"/>
                  <a:pt x="383" y="44"/>
                  <a:pt x="377" y="40"/>
                </a:cubicBezTo>
                <a:cubicBezTo>
                  <a:pt x="374" y="38"/>
                  <a:pt x="371" y="36"/>
                  <a:pt x="369" y="35"/>
                </a:cubicBezTo>
                <a:cubicBezTo>
                  <a:pt x="363" y="31"/>
                  <a:pt x="356" y="34"/>
                  <a:pt x="353" y="39"/>
                </a:cubicBezTo>
                <a:cubicBezTo>
                  <a:pt x="351" y="44"/>
                  <a:pt x="351" y="44"/>
                  <a:pt x="351" y="44"/>
                </a:cubicBezTo>
                <a:cubicBezTo>
                  <a:pt x="347" y="52"/>
                  <a:pt x="338" y="57"/>
                  <a:pt x="330" y="54"/>
                </a:cubicBezTo>
                <a:cubicBezTo>
                  <a:pt x="319" y="51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2"/>
                  <a:pt x="314" y="10"/>
                </a:cubicBezTo>
                <a:cubicBezTo>
                  <a:pt x="311" y="9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7"/>
                </a:cubicBezTo>
                <a:cubicBezTo>
                  <a:pt x="262" y="38"/>
                  <a:pt x="254" y="28"/>
                  <a:pt x="256" y="17"/>
                </a:cubicBezTo>
                <a:cubicBezTo>
                  <a:pt x="256" y="12"/>
                  <a:pt x="256" y="12"/>
                  <a:pt x="256" y="12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2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1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3"/>
                  <a:pt x="151" y="56"/>
                </a:cubicBezTo>
                <a:cubicBezTo>
                  <a:pt x="143" y="58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3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2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69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4"/>
                  <a:pt x="56" y="87"/>
                  <a:pt x="54" y="89"/>
                </a:cubicBezTo>
                <a:cubicBezTo>
                  <a:pt x="50" y="94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3"/>
                  <a:pt x="71" y="123"/>
                  <a:pt x="68" y="130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5"/>
                  <a:pt x="38" y="135"/>
                  <a:pt x="38" y="135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5"/>
                  <a:pt x="31" y="165"/>
                  <a:pt x="31" y="165"/>
                </a:cubicBezTo>
                <a:cubicBezTo>
                  <a:pt x="40" y="168"/>
                  <a:pt x="45" y="178"/>
                  <a:pt x="42" y="187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6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8"/>
                </a:cubicBezTo>
                <a:cubicBezTo>
                  <a:pt x="17" y="228"/>
                  <a:pt x="17" y="228"/>
                  <a:pt x="17" y="228"/>
                </a:cubicBezTo>
                <a:cubicBezTo>
                  <a:pt x="27" y="228"/>
                  <a:pt x="35" y="236"/>
                  <a:pt x="35" y="246"/>
                </a:cubicBezTo>
                <a:cubicBezTo>
                  <a:pt x="34" y="256"/>
                  <a:pt x="26" y="264"/>
                  <a:pt x="17" y="263"/>
                </a:cubicBezTo>
                <a:cubicBezTo>
                  <a:pt x="12" y="263"/>
                  <a:pt x="12" y="263"/>
                  <a:pt x="12" y="263"/>
                </a:cubicBezTo>
                <a:cubicBezTo>
                  <a:pt x="5" y="263"/>
                  <a:pt x="0" y="269"/>
                  <a:pt x="1" y="276"/>
                </a:cubicBezTo>
                <a:cubicBezTo>
                  <a:pt x="1" y="279"/>
                  <a:pt x="2" y="282"/>
                  <a:pt x="2" y="285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5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2" y="326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29"/>
                  <a:pt x="17" y="336"/>
                  <a:pt x="20" y="343"/>
                </a:cubicBezTo>
                <a:cubicBezTo>
                  <a:pt x="21" y="346"/>
                  <a:pt x="23" y="349"/>
                  <a:pt x="24" y="351"/>
                </a:cubicBezTo>
                <a:cubicBezTo>
                  <a:pt x="27" y="357"/>
                  <a:pt x="34" y="359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8"/>
                </a:cubicBezTo>
                <a:cubicBezTo>
                  <a:pt x="74" y="366"/>
                  <a:pt x="72" y="377"/>
                  <a:pt x="63" y="382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6"/>
                  <a:pt x="57" y="401"/>
                </a:cubicBezTo>
                <a:cubicBezTo>
                  <a:pt x="59" y="404"/>
                  <a:pt x="61" y="406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6"/>
                  <a:pt x="106" y="401"/>
                </a:cubicBezTo>
                <a:cubicBezTo>
                  <a:pt x="115" y="407"/>
                  <a:pt x="117" y="419"/>
                  <a:pt x="110" y="427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49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8"/>
                  <a:pt x="171" y="449"/>
                  <a:pt x="167" y="457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1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5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7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9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8"/>
                  <a:pt x="293" y="455"/>
                  <a:pt x="295" y="465"/>
                </a:cubicBezTo>
                <a:cubicBezTo>
                  <a:pt x="295" y="469"/>
                  <a:pt x="295" y="469"/>
                  <a:pt x="295" y="469"/>
                </a:cubicBezTo>
                <a:cubicBezTo>
                  <a:pt x="296" y="476"/>
                  <a:pt x="303" y="480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5"/>
                  <a:pt x="323" y="455"/>
                  <a:pt x="323" y="455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8"/>
                  <a:pt x="351" y="432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0"/>
                </a:cubicBezTo>
                <a:cubicBezTo>
                  <a:pt x="372" y="450"/>
                  <a:pt x="372" y="450"/>
                  <a:pt x="373" y="450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1"/>
                  <a:pt x="387" y="434"/>
                  <a:pt x="383" y="429"/>
                </a:cubicBezTo>
                <a:cubicBezTo>
                  <a:pt x="379" y="424"/>
                  <a:pt x="379" y="424"/>
                  <a:pt x="379" y="424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3"/>
                  <a:pt x="400" y="394"/>
                  <a:pt x="406" y="402"/>
                </a:cubicBezTo>
                <a:cubicBezTo>
                  <a:pt x="409" y="405"/>
                  <a:pt x="409" y="405"/>
                  <a:pt x="409" y="405"/>
                </a:cubicBezTo>
                <a:cubicBezTo>
                  <a:pt x="413" y="410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5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3"/>
                  <a:pt x="414" y="362"/>
                  <a:pt x="419" y="354"/>
                </a:cubicBezTo>
                <a:cubicBezTo>
                  <a:pt x="425" y="346"/>
                  <a:pt x="436" y="344"/>
                  <a:pt x="444" y="349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7"/>
                </a:cubicBezTo>
                <a:cubicBezTo>
                  <a:pt x="465" y="345"/>
                  <a:pt x="466" y="342"/>
                  <a:pt x="468" y="338"/>
                </a:cubicBezTo>
                <a:cubicBezTo>
                  <a:pt x="470" y="332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09"/>
                  <a:pt x="443" y="300"/>
                </a:cubicBezTo>
                <a:cubicBezTo>
                  <a:pt x="438" y="292"/>
                  <a:pt x="446" y="283"/>
                  <a:pt x="455" y="285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1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7"/>
                  <a:pt x="366" y="153"/>
                </a:cubicBezTo>
                <a:cubicBezTo>
                  <a:pt x="364" y="154"/>
                  <a:pt x="364" y="154"/>
                  <a:pt x="364" y="154"/>
                </a:cubicBezTo>
                <a:cubicBezTo>
                  <a:pt x="346" y="129"/>
                  <a:pt x="321" y="110"/>
                  <a:pt x="291" y="100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5"/>
                  <a:pt x="271" y="83"/>
                  <a:pt x="269" y="93"/>
                </a:cubicBezTo>
                <a:cubicBezTo>
                  <a:pt x="268" y="95"/>
                  <a:pt x="268" y="95"/>
                  <a:pt x="268" y="95"/>
                </a:cubicBezTo>
                <a:cubicBezTo>
                  <a:pt x="260" y="93"/>
                  <a:pt x="252" y="92"/>
                  <a:pt x="243" y="92"/>
                </a:cubicBezTo>
                <a:cubicBezTo>
                  <a:pt x="219" y="92"/>
                  <a:pt x="197" y="98"/>
                  <a:pt x="177" y="108"/>
                </a:cubicBezTo>
                <a:cubicBezTo>
                  <a:pt x="176" y="106"/>
                  <a:pt x="176" y="106"/>
                  <a:pt x="176" y="106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5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57" y="120"/>
                  <a:pt x="157" y="120"/>
                  <a:pt x="157" y="120"/>
                </a:cubicBezTo>
                <a:cubicBezTo>
                  <a:pt x="130" y="138"/>
                  <a:pt x="110" y="165"/>
                  <a:pt x="99" y="196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88" y="193"/>
                  <a:pt x="84" y="184"/>
                  <a:pt x="89" y="175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94" y="218"/>
                  <a:pt x="94" y="218"/>
                  <a:pt x="94" y="218"/>
                </a:cubicBezTo>
                <a:cubicBezTo>
                  <a:pt x="92" y="227"/>
                  <a:pt x="92" y="235"/>
                  <a:pt x="92" y="244"/>
                </a:cubicBezTo>
                <a:cubicBezTo>
                  <a:pt x="92" y="269"/>
                  <a:pt x="98" y="293"/>
                  <a:pt x="109" y="314"/>
                </a:cubicBezTo>
                <a:lnTo>
                  <a:pt x="108" y="315"/>
                </a:lnTo>
                <a:close/>
                <a:moveTo>
                  <a:pt x="180" y="400"/>
                </a:moveTo>
                <a:cubicBezTo>
                  <a:pt x="118" y="356"/>
                  <a:pt x="118" y="356"/>
                  <a:pt x="118" y="356"/>
                </a:cubicBezTo>
                <a:cubicBezTo>
                  <a:pt x="111" y="350"/>
                  <a:pt x="112" y="340"/>
                  <a:pt x="120" y="334"/>
                </a:cubicBezTo>
                <a:cubicBezTo>
                  <a:pt x="121" y="334"/>
                  <a:pt x="121" y="334"/>
                  <a:pt x="121" y="334"/>
                </a:cubicBezTo>
                <a:cubicBezTo>
                  <a:pt x="141" y="360"/>
                  <a:pt x="169" y="380"/>
                  <a:pt x="201" y="389"/>
                </a:cubicBezTo>
                <a:cubicBezTo>
                  <a:pt x="201" y="390"/>
                  <a:pt x="201" y="390"/>
                  <a:pt x="201" y="390"/>
                </a:cubicBezTo>
                <a:cubicBezTo>
                  <a:pt x="198" y="400"/>
                  <a:pt x="189" y="404"/>
                  <a:pt x="180" y="400"/>
                </a:cubicBezTo>
                <a:close/>
                <a:moveTo>
                  <a:pt x="311" y="398"/>
                </a:moveTo>
                <a:cubicBezTo>
                  <a:pt x="237" y="412"/>
                  <a:pt x="237" y="412"/>
                  <a:pt x="237" y="412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6" y="395"/>
                  <a:pt x="243" y="395"/>
                </a:cubicBezTo>
                <a:cubicBezTo>
                  <a:pt x="270" y="395"/>
                  <a:pt x="295" y="388"/>
                  <a:pt x="317" y="375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6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2"/>
                  <a:pt x="337" y="364"/>
                </a:cubicBezTo>
                <a:cubicBezTo>
                  <a:pt x="336" y="362"/>
                  <a:pt x="336" y="362"/>
                  <a:pt x="336" y="362"/>
                </a:cubicBezTo>
                <a:cubicBezTo>
                  <a:pt x="361" y="343"/>
                  <a:pt x="379" y="316"/>
                  <a:pt x="388" y="286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7"/>
                  <a:pt x="400" y="306"/>
                </a:cubicBezTo>
                <a:close/>
                <a:moveTo>
                  <a:pt x="395" y="263"/>
                </a:moveTo>
                <a:cubicBezTo>
                  <a:pt x="393" y="263"/>
                  <a:pt x="393" y="263"/>
                  <a:pt x="393" y="263"/>
                </a:cubicBezTo>
                <a:cubicBezTo>
                  <a:pt x="394" y="257"/>
                  <a:pt x="394" y="250"/>
                  <a:pt x="394" y="244"/>
                </a:cubicBezTo>
                <a:cubicBezTo>
                  <a:pt x="394" y="218"/>
                  <a:pt x="388" y="194"/>
                  <a:pt x="377" y="173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49"/>
                  <a:pt x="412" y="249"/>
                  <a:pt x="412" y="249"/>
                </a:cubicBezTo>
                <a:cubicBezTo>
                  <a:pt x="412" y="259"/>
                  <a:pt x="404" y="265"/>
                  <a:pt x="395" y="26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2980B9"/>
              </a:solidFill>
              <a:latin typeface="Open San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3410111" y="3425046"/>
            <a:ext cx="10364290" cy="947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>
              <a:lnSpc>
                <a:spcPct val="12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Integer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ris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rcu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ringilla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e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rci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eg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acilis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ell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In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el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ucto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urp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Nam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dio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nec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ulputate</a:t>
            </a:r>
            <a:endParaRPr lang="en-US" sz="2400" kern="1200" dirty="0">
              <a:solidFill>
                <a:srgbClr val="3F3F3F"/>
              </a:solidFill>
              <a:latin typeface="Open Sans"/>
              <a:ea typeface="Roboto Lt" pitchFamily="2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13410110" y="2925640"/>
            <a:ext cx="29250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2980B9"/>
                </a:solidFill>
                <a:latin typeface="Open Sans"/>
              </a:rPr>
              <a:t>CONTENT TITL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13410111" y="5408554"/>
            <a:ext cx="10364290" cy="947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>
              <a:lnSpc>
                <a:spcPct val="12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Integer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ris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rcu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ringilla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e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rci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eg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acilis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ell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In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el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ucto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urp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Nam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dio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nec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ulputate</a:t>
            </a:r>
            <a:endParaRPr lang="en-US" sz="2400" kern="1200" dirty="0">
              <a:solidFill>
                <a:srgbClr val="3F3F3F"/>
              </a:solidFill>
              <a:latin typeface="Open Sans"/>
              <a:ea typeface="Roboto Lt" pitchFamily="2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3410110" y="4909148"/>
            <a:ext cx="29250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9BBB59"/>
                </a:solidFill>
                <a:latin typeface="Open Sans"/>
              </a:rPr>
              <a:t>CONTENT TITL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13410111" y="7578108"/>
            <a:ext cx="10364290" cy="947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>
              <a:lnSpc>
                <a:spcPct val="12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Integer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ris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rcu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ringilla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e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rci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eg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acilis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ell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In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el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ucto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urp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Nam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dio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nec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ulputate</a:t>
            </a:r>
            <a:endParaRPr lang="en-US" sz="2400" kern="1200" dirty="0">
              <a:solidFill>
                <a:srgbClr val="3F3F3F"/>
              </a:solidFill>
              <a:latin typeface="Open Sans"/>
              <a:ea typeface="Roboto Lt" pitchFamily="2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3410110" y="7078702"/>
            <a:ext cx="29250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Open Sans"/>
              </a:rPr>
              <a:t>CONTENT TITL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3410111" y="9658242"/>
            <a:ext cx="10364290" cy="947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>
              <a:lnSpc>
                <a:spcPct val="12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Integer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ris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rcu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ringilla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e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rci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eg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acilis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ell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In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el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ucto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urp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Nam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dio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nec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ulputate</a:t>
            </a:r>
            <a:endParaRPr lang="en-US" sz="2400" kern="1200" dirty="0">
              <a:solidFill>
                <a:srgbClr val="3F3F3F"/>
              </a:solidFill>
              <a:latin typeface="Open Sans"/>
              <a:ea typeface="Roboto Lt" pitchFamily="2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3410110" y="9158836"/>
            <a:ext cx="29250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Open Sans"/>
              </a:rPr>
              <a:t>CONTENT TITL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3410111" y="11785876"/>
            <a:ext cx="10364290" cy="947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>
              <a:lnSpc>
                <a:spcPct val="120000"/>
              </a:lnSpc>
            </a:pP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Integer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ris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rcu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ringilla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et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rci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eg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,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facilis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et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ellu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In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el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uctor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turpis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. Nam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aliquam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odio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nec</a:t>
            </a:r>
            <a:r>
              <a:rPr lang="en-US" sz="2400" kern="1200" dirty="0">
                <a:solidFill>
                  <a:srgbClr val="3F3F3F"/>
                </a:solidFill>
                <a:latin typeface="Open Sans"/>
                <a:ea typeface="Roboto Lt" pitchFamily="2" charset="0"/>
              </a:rPr>
              <a:t> </a:t>
            </a:r>
            <a:r>
              <a:rPr lang="en-US" sz="2400" kern="1200" dirty="0" err="1">
                <a:solidFill>
                  <a:srgbClr val="3F3F3F"/>
                </a:solidFill>
                <a:latin typeface="Open Sans"/>
                <a:ea typeface="Roboto Lt" pitchFamily="2" charset="0"/>
              </a:rPr>
              <a:t>vulputate</a:t>
            </a:r>
            <a:endParaRPr lang="en-US" sz="2400" kern="1200" dirty="0">
              <a:solidFill>
                <a:srgbClr val="3F3F3F"/>
              </a:solidFill>
              <a:latin typeface="Open Sans"/>
              <a:ea typeface="Roboto Lt" pitchFamily="2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13410110" y="11286470"/>
            <a:ext cx="29250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41B176"/>
                </a:solidFill>
                <a:latin typeface="Open Sans"/>
              </a:rPr>
              <a:t>CONTENT TITLE</a:t>
            </a:r>
          </a:p>
        </p:txBody>
      </p:sp>
    </p:spTree>
    <p:extLst>
      <p:ext uri="{BB962C8B-B14F-4D97-AF65-F5344CB8AC3E}">
        <p14:creationId xmlns:p14="http://schemas.microsoft.com/office/powerpoint/2010/main" val="33873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25"/>
          <p:cNvSpPr>
            <a:spLocks noEditPoints="1"/>
          </p:cNvSpPr>
          <p:nvPr/>
        </p:nvSpPr>
        <p:spPr bwMode="auto">
          <a:xfrm>
            <a:off x="17365287" y="1866969"/>
            <a:ext cx="9519534" cy="9485370"/>
          </a:xfrm>
          <a:custGeom>
            <a:avLst/>
            <a:gdLst>
              <a:gd name="T0" fmla="*/ 59 w 351"/>
              <a:gd name="T1" fmla="*/ 80 h 350"/>
              <a:gd name="T2" fmla="*/ 22 w 351"/>
              <a:gd name="T3" fmla="*/ 90 h 350"/>
              <a:gd name="T4" fmla="*/ 20 w 351"/>
              <a:gd name="T5" fmla="*/ 126 h 350"/>
              <a:gd name="T6" fmla="*/ 11 w 351"/>
              <a:gd name="T7" fmla="*/ 146 h 350"/>
              <a:gd name="T8" fmla="*/ 9 w 351"/>
              <a:gd name="T9" fmla="*/ 171 h 350"/>
              <a:gd name="T10" fmla="*/ 14 w 351"/>
              <a:gd name="T11" fmla="*/ 193 h 350"/>
              <a:gd name="T12" fmla="*/ 9 w 351"/>
              <a:gd name="T13" fmla="*/ 228 h 350"/>
              <a:gd name="T14" fmla="*/ 43 w 351"/>
              <a:gd name="T15" fmla="*/ 243 h 350"/>
              <a:gd name="T16" fmla="*/ 31 w 351"/>
              <a:gd name="T17" fmla="*/ 273 h 350"/>
              <a:gd name="T18" fmla="*/ 67 w 351"/>
              <a:gd name="T19" fmla="*/ 278 h 350"/>
              <a:gd name="T20" fmla="*/ 70 w 351"/>
              <a:gd name="T21" fmla="*/ 315 h 350"/>
              <a:gd name="T22" fmla="*/ 105 w 351"/>
              <a:gd name="T23" fmla="*/ 322 h 350"/>
              <a:gd name="T24" fmla="*/ 124 w 351"/>
              <a:gd name="T25" fmla="*/ 334 h 350"/>
              <a:gd name="T26" fmla="*/ 150 w 351"/>
              <a:gd name="T27" fmla="*/ 336 h 350"/>
              <a:gd name="T28" fmla="*/ 171 w 351"/>
              <a:gd name="T29" fmla="*/ 342 h 350"/>
              <a:gd name="T30" fmla="*/ 196 w 351"/>
              <a:gd name="T31" fmla="*/ 341 h 350"/>
              <a:gd name="T32" fmla="*/ 217 w 351"/>
              <a:gd name="T33" fmla="*/ 333 h 350"/>
              <a:gd name="T34" fmla="*/ 253 w 351"/>
              <a:gd name="T35" fmla="*/ 333 h 350"/>
              <a:gd name="T36" fmla="*/ 263 w 351"/>
              <a:gd name="T37" fmla="*/ 297 h 350"/>
              <a:gd name="T38" fmla="*/ 294 w 351"/>
              <a:gd name="T39" fmla="*/ 305 h 350"/>
              <a:gd name="T40" fmla="*/ 294 w 351"/>
              <a:gd name="T41" fmla="*/ 268 h 350"/>
              <a:gd name="T42" fmla="*/ 329 w 351"/>
              <a:gd name="T43" fmla="*/ 261 h 350"/>
              <a:gd name="T44" fmla="*/ 331 w 351"/>
              <a:gd name="T45" fmla="*/ 225 h 350"/>
              <a:gd name="T46" fmla="*/ 340 w 351"/>
              <a:gd name="T47" fmla="*/ 204 h 350"/>
              <a:gd name="T48" fmla="*/ 342 w 351"/>
              <a:gd name="T49" fmla="*/ 179 h 350"/>
              <a:gd name="T50" fmla="*/ 337 w 351"/>
              <a:gd name="T51" fmla="*/ 157 h 350"/>
              <a:gd name="T52" fmla="*/ 342 w 351"/>
              <a:gd name="T53" fmla="*/ 122 h 350"/>
              <a:gd name="T54" fmla="*/ 310 w 351"/>
              <a:gd name="T55" fmla="*/ 109 h 350"/>
              <a:gd name="T56" fmla="*/ 316 w 351"/>
              <a:gd name="T57" fmla="*/ 71 h 350"/>
              <a:gd name="T58" fmla="*/ 284 w 351"/>
              <a:gd name="T59" fmla="*/ 54 h 350"/>
              <a:gd name="T60" fmla="*/ 269 w 351"/>
              <a:gd name="T61" fmla="*/ 38 h 350"/>
              <a:gd name="T62" fmla="*/ 247 w 351"/>
              <a:gd name="T63" fmla="*/ 25 h 350"/>
              <a:gd name="T64" fmla="*/ 226 w 351"/>
              <a:gd name="T65" fmla="*/ 20 h 350"/>
              <a:gd name="T66" fmla="*/ 195 w 351"/>
              <a:gd name="T67" fmla="*/ 1 h 350"/>
              <a:gd name="T68" fmla="*/ 170 w 351"/>
              <a:gd name="T69" fmla="*/ 25 h 350"/>
              <a:gd name="T70" fmla="*/ 138 w 351"/>
              <a:gd name="T71" fmla="*/ 3 h 350"/>
              <a:gd name="T72" fmla="*/ 111 w 351"/>
              <a:gd name="T73" fmla="*/ 29 h 350"/>
              <a:gd name="T74" fmla="*/ 89 w 351"/>
              <a:gd name="T75" fmla="*/ 32 h 350"/>
              <a:gd name="T76" fmla="*/ 69 w 351"/>
              <a:gd name="T77" fmla="*/ 47 h 350"/>
              <a:gd name="T78" fmla="*/ 215 w 351"/>
              <a:gd name="T79" fmla="*/ 283 h 350"/>
              <a:gd name="T80" fmla="*/ 215 w 351"/>
              <a:gd name="T81" fmla="*/ 283 h 350"/>
              <a:gd name="T82" fmla="*/ 258 w 351"/>
              <a:gd name="T83" fmla="*/ 213 h 350"/>
              <a:gd name="T84" fmla="*/ 215 w 351"/>
              <a:gd name="T85" fmla="*/ 229 h 350"/>
              <a:gd name="T86" fmla="*/ 115 w 351"/>
              <a:gd name="T87" fmla="*/ 172 h 350"/>
              <a:gd name="T88" fmla="*/ 82 w 351"/>
              <a:gd name="T89" fmla="*/ 221 h 350"/>
              <a:gd name="T90" fmla="*/ 82 w 351"/>
              <a:gd name="T91" fmla="*/ 221 h 350"/>
              <a:gd name="T92" fmla="*/ 130 w 351"/>
              <a:gd name="T93" fmla="*/ 227 h 350"/>
              <a:gd name="T94" fmla="*/ 137 w 351"/>
              <a:gd name="T95" fmla="*/ 257 h 350"/>
              <a:gd name="T96" fmla="*/ 165 w 351"/>
              <a:gd name="T97" fmla="*/ 242 h 350"/>
              <a:gd name="T98" fmla="*/ 251 w 351"/>
              <a:gd name="T99" fmla="*/ 177 h 350"/>
              <a:gd name="T100" fmla="*/ 251 w 351"/>
              <a:gd name="T101" fmla="*/ 177 h 350"/>
              <a:gd name="T102" fmla="*/ 261 w 351"/>
              <a:gd name="T103" fmla="*/ 143 h 350"/>
              <a:gd name="T104" fmla="*/ 219 w 351"/>
              <a:gd name="T105" fmla="*/ 133 h 350"/>
              <a:gd name="T106" fmla="*/ 200 w 351"/>
              <a:gd name="T107" fmla="*/ 204 h 350"/>
              <a:gd name="T108" fmla="*/ 224 w 351"/>
              <a:gd name="T109" fmla="*/ 69 h 350"/>
              <a:gd name="T110" fmla="*/ 224 w 351"/>
              <a:gd name="T111" fmla="*/ 69 h 350"/>
              <a:gd name="T112" fmla="*/ 169 w 351"/>
              <a:gd name="T113" fmla="*/ 106 h 350"/>
              <a:gd name="T114" fmla="*/ 123 w 351"/>
              <a:gd name="T115" fmla="*/ 130 h 350"/>
              <a:gd name="T116" fmla="*/ 70 w 351"/>
              <a:gd name="T117" fmla="*/ 125 h 350"/>
              <a:gd name="T118" fmla="*/ 135 w 351"/>
              <a:gd name="T119" fmla="*/ 65 h 350"/>
              <a:gd name="T120" fmla="*/ 135 w 351"/>
              <a:gd name="T121" fmla="*/ 65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1" h="350">
                <a:moveTo>
                  <a:pt x="52" y="50"/>
                </a:moveTo>
                <a:cubicBezTo>
                  <a:pt x="48" y="53"/>
                  <a:pt x="49" y="59"/>
                  <a:pt x="52" y="62"/>
                </a:cubicBezTo>
                <a:cubicBezTo>
                  <a:pt x="55" y="64"/>
                  <a:pt x="55" y="64"/>
                  <a:pt x="55" y="64"/>
                </a:cubicBezTo>
                <a:cubicBezTo>
                  <a:pt x="60" y="68"/>
                  <a:pt x="62" y="75"/>
                  <a:pt x="59" y="80"/>
                </a:cubicBezTo>
                <a:cubicBezTo>
                  <a:pt x="55" y="87"/>
                  <a:pt x="46" y="89"/>
                  <a:pt x="40" y="84"/>
                </a:cubicBezTo>
                <a:cubicBezTo>
                  <a:pt x="37" y="82"/>
                  <a:pt x="37" y="82"/>
                  <a:pt x="37" y="82"/>
                </a:cubicBezTo>
                <a:cubicBezTo>
                  <a:pt x="33" y="79"/>
                  <a:pt x="28" y="79"/>
                  <a:pt x="25" y="84"/>
                </a:cubicBezTo>
                <a:cubicBezTo>
                  <a:pt x="24" y="86"/>
                  <a:pt x="23" y="88"/>
                  <a:pt x="22" y="90"/>
                </a:cubicBezTo>
                <a:cubicBezTo>
                  <a:pt x="19" y="94"/>
                  <a:pt x="21" y="99"/>
                  <a:pt x="26" y="101"/>
                </a:cubicBezTo>
                <a:cubicBezTo>
                  <a:pt x="29" y="102"/>
                  <a:pt x="29" y="102"/>
                  <a:pt x="29" y="102"/>
                </a:cubicBezTo>
                <a:cubicBezTo>
                  <a:pt x="35" y="105"/>
                  <a:pt x="38" y="111"/>
                  <a:pt x="37" y="117"/>
                </a:cubicBezTo>
                <a:cubicBezTo>
                  <a:pt x="35" y="125"/>
                  <a:pt x="27" y="129"/>
                  <a:pt x="20" y="126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2" y="122"/>
                  <a:pt x="7" y="125"/>
                  <a:pt x="6" y="129"/>
                </a:cubicBezTo>
                <a:cubicBezTo>
                  <a:pt x="5" y="132"/>
                  <a:pt x="5" y="134"/>
                  <a:pt x="4" y="136"/>
                </a:cubicBezTo>
                <a:cubicBezTo>
                  <a:pt x="3" y="141"/>
                  <a:pt x="6" y="145"/>
                  <a:pt x="11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22" y="147"/>
                  <a:pt x="27" y="154"/>
                  <a:pt x="26" y="160"/>
                </a:cubicBezTo>
                <a:cubicBezTo>
                  <a:pt x="31" y="165"/>
                  <a:pt x="27" y="173"/>
                  <a:pt x="20" y="172"/>
                </a:cubicBezTo>
                <a:cubicBezTo>
                  <a:pt x="9" y="171"/>
                  <a:pt x="9" y="171"/>
                  <a:pt x="9" y="171"/>
                </a:cubicBezTo>
                <a:cubicBezTo>
                  <a:pt x="4" y="170"/>
                  <a:pt x="0" y="174"/>
                  <a:pt x="0" y="179"/>
                </a:cubicBezTo>
                <a:cubicBezTo>
                  <a:pt x="0" y="181"/>
                  <a:pt x="0" y="184"/>
                  <a:pt x="1" y="186"/>
                </a:cubicBezTo>
                <a:cubicBezTo>
                  <a:pt x="1" y="191"/>
                  <a:pt x="5" y="194"/>
                  <a:pt x="10" y="193"/>
                </a:cubicBezTo>
                <a:cubicBezTo>
                  <a:pt x="14" y="193"/>
                  <a:pt x="14" y="193"/>
                  <a:pt x="14" y="193"/>
                </a:cubicBezTo>
                <a:cubicBezTo>
                  <a:pt x="21" y="192"/>
                  <a:pt x="27" y="196"/>
                  <a:pt x="29" y="203"/>
                </a:cubicBezTo>
                <a:cubicBezTo>
                  <a:pt x="30" y="210"/>
                  <a:pt x="25" y="216"/>
                  <a:pt x="18" y="218"/>
                </a:cubicBezTo>
                <a:cubicBezTo>
                  <a:pt x="15" y="218"/>
                  <a:pt x="15" y="218"/>
                  <a:pt x="15" y="218"/>
                </a:cubicBezTo>
                <a:cubicBezTo>
                  <a:pt x="10" y="219"/>
                  <a:pt x="7" y="224"/>
                  <a:pt x="9" y="228"/>
                </a:cubicBezTo>
                <a:cubicBezTo>
                  <a:pt x="9" y="231"/>
                  <a:pt x="10" y="233"/>
                  <a:pt x="11" y="235"/>
                </a:cubicBezTo>
                <a:cubicBezTo>
                  <a:pt x="13" y="239"/>
                  <a:pt x="18" y="241"/>
                  <a:pt x="22" y="239"/>
                </a:cubicBezTo>
                <a:cubicBezTo>
                  <a:pt x="26" y="238"/>
                  <a:pt x="26" y="238"/>
                  <a:pt x="26" y="238"/>
                </a:cubicBezTo>
                <a:cubicBezTo>
                  <a:pt x="32" y="235"/>
                  <a:pt x="40" y="237"/>
                  <a:pt x="43" y="243"/>
                </a:cubicBezTo>
                <a:cubicBezTo>
                  <a:pt x="43" y="243"/>
                  <a:pt x="43" y="243"/>
                  <a:pt x="43" y="243"/>
                </a:cubicBezTo>
                <a:cubicBezTo>
                  <a:pt x="46" y="250"/>
                  <a:pt x="43" y="257"/>
                  <a:pt x="37" y="260"/>
                </a:cubicBezTo>
                <a:cubicBezTo>
                  <a:pt x="34" y="262"/>
                  <a:pt x="34" y="262"/>
                  <a:pt x="34" y="262"/>
                </a:cubicBezTo>
                <a:cubicBezTo>
                  <a:pt x="29" y="264"/>
                  <a:pt x="28" y="269"/>
                  <a:pt x="31" y="273"/>
                </a:cubicBezTo>
                <a:cubicBezTo>
                  <a:pt x="32" y="275"/>
                  <a:pt x="33" y="277"/>
                  <a:pt x="35" y="279"/>
                </a:cubicBezTo>
                <a:cubicBezTo>
                  <a:pt x="38" y="283"/>
                  <a:pt x="43" y="283"/>
                  <a:pt x="47" y="280"/>
                </a:cubicBezTo>
                <a:cubicBezTo>
                  <a:pt x="50" y="277"/>
                  <a:pt x="50" y="277"/>
                  <a:pt x="50" y="277"/>
                </a:cubicBezTo>
                <a:cubicBezTo>
                  <a:pt x="55" y="273"/>
                  <a:pt x="63" y="273"/>
                  <a:pt x="67" y="278"/>
                </a:cubicBezTo>
                <a:cubicBezTo>
                  <a:pt x="72" y="283"/>
                  <a:pt x="72" y="291"/>
                  <a:pt x="67" y="29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61" y="302"/>
                  <a:pt x="61" y="307"/>
                  <a:pt x="65" y="310"/>
                </a:cubicBezTo>
                <a:cubicBezTo>
                  <a:pt x="66" y="312"/>
                  <a:pt x="68" y="313"/>
                  <a:pt x="70" y="315"/>
                </a:cubicBezTo>
                <a:cubicBezTo>
                  <a:pt x="74" y="318"/>
                  <a:pt x="79" y="316"/>
                  <a:pt x="82" y="312"/>
                </a:cubicBezTo>
                <a:cubicBezTo>
                  <a:pt x="84" y="309"/>
                  <a:pt x="84" y="309"/>
                  <a:pt x="84" y="309"/>
                </a:cubicBezTo>
                <a:cubicBezTo>
                  <a:pt x="87" y="304"/>
                  <a:pt x="93" y="301"/>
                  <a:pt x="99" y="304"/>
                </a:cubicBezTo>
                <a:cubicBezTo>
                  <a:pt x="107" y="307"/>
                  <a:pt x="109" y="315"/>
                  <a:pt x="105" y="322"/>
                </a:cubicBezTo>
                <a:cubicBezTo>
                  <a:pt x="104" y="325"/>
                  <a:pt x="104" y="325"/>
                  <a:pt x="104" y="325"/>
                </a:cubicBezTo>
                <a:cubicBezTo>
                  <a:pt x="101" y="329"/>
                  <a:pt x="103" y="334"/>
                  <a:pt x="107" y="336"/>
                </a:cubicBezTo>
                <a:cubicBezTo>
                  <a:pt x="109" y="337"/>
                  <a:pt x="112" y="338"/>
                  <a:pt x="114" y="339"/>
                </a:cubicBezTo>
                <a:cubicBezTo>
                  <a:pt x="118" y="341"/>
                  <a:pt x="123" y="338"/>
                  <a:pt x="124" y="334"/>
                </a:cubicBezTo>
                <a:cubicBezTo>
                  <a:pt x="125" y="330"/>
                  <a:pt x="125" y="330"/>
                  <a:pt x="125" y="330"/>
                </a:cubicBezTo>
                <a:cubicBezTo>
                  <a:pt x="127" y="323"/>
                  <a:pt x="134" y="319"/>
                  <a:pt x="141" y="321"/>
                </a:cubicBezTo>
                <a:cubicBezTo>
                  <a:pt x="141" y="321"/>
                  <a:pt x="141" y="321"/>
                  <a:pt x="141" y="321"/>
                </a:cubicBezTo>
                <a:cubicBezTo>
                  <a:pt x="147" y="322"/>
                  <a:pt x="151" y="329"/>
                  <a:pt x="150" y="336"/>
                </a:cubicBezTo>
                <a:cubicBezTo>
                  <a:pt x="149" y="339"/>
                  <a:pt x="149" y="339"/>
                  <a:pt x="149" y="339"/>
                </a:cubicBezTo>
                <a:cubicBezTo>
                  <a:pt x="148" y="344"/>
                  <a:pt x="151" y="349"/>
                  <a:pt x="156" y="349"/>
                </a:cubicBezTo>
                <a:cubicBezTo>
                  <a:pt x="158" y="350"/>
                  <a:pt x="160" y="350"/>
                  <a:pt x="163" y="350"/>
                </a:cubicBezTo>
                <a:cubicBezTo>
                  <a:pt x="167" y="350"/>
                  <a:pt x="171" y="347"/>
                  <a:pt x="171" y="342"/>
                </a:cubicBezTo>
                <a:cubicBezTo>
                  <a:pt x="171" y="338"/>
                  <a:pt x="171" y="338"/>
                  <a:pt x="171" y="338"/>
                </a:cubicBezTo>
                <a:cubicBezTo>
                  <a:pt x="171" y="331"/>
                  <a:pt x="176" y="325"/>
                  <a:pt x="183" y="325"/>
                </a:cubicBezTo>
                <a:cubicBezTo>
                  <a:pt x="190" y="325"/>
                  <a:pt x="196" y="330"/>
                  <a:pt x="196" y="337"/>
                </a:cubicBezTo>
                <a:cubicBezTo>
                  <a:pt x="196" y="341"/>
                  <a:pt x="196" y="341"/>
                  <a:pt x="196" y="341"/>
                </a:cubicBezTo>
                <a:cubicBezTo>
                  <a:pt x="196" y="345"/>
                  <a:pt x="201" y="349"/>
                  <a:pt x="205" y="348"/>
                </a:cubicBezTo>
                <a:cubicBezTo>
                  <a:pt x="208" y="348"/>
                  <a:pt x="210" y="347"/>
                  <a:pt x="212" y="347"/>
                </a:cubicBezTo>
                <a:cubicBezTo>
                  <a:pt x="217" y="346"/>
                  <a:pt x="220" y="341"/>
                  <a:pt x="218" y="337"/>
                </a:cubicBezTo>
                <a:cubicBezTo>
                  <a:pt x="217" y="333"/>
                  <a:pt x="217" y="333"/>
                  <a:pt x="217" y="333"/>
                </a:cubicBezTo>
                <a:cubicBezTo>
                  <a:pt x="215" y="326"/>
                  <a:pt x="218" y="319"/>
                  <a:pt x="225" y="317"/>
                </a:cubicBezTo>
                <a:cubicBezTo>
                  <a:pt x="232" y="315"/>
                  <a:pt x="239" y="318"/>
                  <a:pt x="241" y="325"/>
                </a:cubicBezTo>
                <a:cubicBezTo>
                  <a:pt x="242" y="328"/>
                  <a:pt x="242" y="328"/>
                  <a:pt x="242" y="328"/>
                </a:cubicBezTo>
                <a:cubicBezTo>
                  <a:pt x="243" y="333"/>
                  <a:pt x="249" y="335"/>
                  <a:pt x="253" y="333"/>
                </a:cubicBezTo>
                <a:cubicBezTo>
                  <a:pt x="255" y="332"/>
                  <a:pt x="257" y="331"/>
                  <a:pt x="259" y="330"/>
                </a:cubicBezTo>
                <a:cubicBezTo>
                  <a:pt x="263" y="328"/>
                  <a:pt x="265" y="322"/>
                  <a:pt x="262" y="318"/>
                </a:cubicBezTo>
                <a:cubicBezTo>
                  <a:pt x="260" y="315"/>
                  <a:pt x="260" y="315"/>
                  <a:pt x="260" y="315"/>
                </a:cubicBezTo>
                <a:cubicBezTo>
                  <a:pt x="256" y="309"/>
                  <a:pt x="257" y="301"/>
                  <a:pt x="263" y="297"/>
                </a:cubicBezTo>
                <a:cubicBezTo>
                  <a:pt x="269" y="294"/>
                  <a:pt x="276" y="295"/>
                  <a:pt x="280" y="301"/>
                </a:cubicBezTo>
                <a:cubicBezTo>
                  <a:pt x="282" y="304"/>
                  <a:pt x="282" y="304"/>
                  <a:pt x="282" y="304"/>
                </a:cubicBezTo>
                <a:cubicBezTo>
                  <a:pt x="285" y="308"/>
                  <a:pt x="291" y="308"/>
                  <a:pt x="294" y="305"/>
                </a:cubicBezTo>
                <a:cubicBezTo>
                  <a:pt x="294" y="305"/>
                  <a:pt x="294" y="305"/>
                  <a:pt x="294" y="305"/>
                </a:cubicBezTo>
                <a:cubicBezTo>
                  <a:pt x="296" y="304"/>
                  <a:pt x="298" y="302"/>
                  <a:pt x="299" y="300"/>
                </a:cubicBezTo>
                <a:cubicBezTo>
                  <a:pt x="303" y="297"/>
                  <a:pt x="302" y="292"/>
                  <a:pt x="299" y="289"/>
                </a:cubicBezTo>
                <a:cubicBezTo>
                  <a:pt x="295" y="286"/>
                  <a:pt x="295" y="286"/>
                  <a:pt x="295" y="286"/>
                </a:cubicBezTo>
                <a:cubicBezTo>
                  <a:pt x="290" y="281"/>
                  <a:pt x="289" y="273"/>
                  <a:pt x="294" y="268"/>
                </a:cubicBezTo>
                <a:cubicBezTo>
                  <a:pt x="298" y="263"/>
                  <a:pt x="306" y="262"/>
                  <a:pt x="311" y="266"/>
                </a:cubicBezTo>
                <a:cubicBezTo>
                  <a:pt x="314" y="269"/>
                  <a:pt x="314" y="269"/>
                  <a:pt x="314" y="269"/>
                </a:cubicBezTo>
                <a:cubicBezTo>
                  <a:pt x="318" y="272"/>
                  <a:pt x="323" y="271"/>
                  <a:pt x="326" y="267"/>
                </a:cubicBezTo>
                <a:cubicBezTo>
                  <a:pt x="327" y="265"/>
                  <a:pt x="328" y="263"/>
                  <a:pt x="329" y="261"/>
                </a:cubicBezTo>
                <a:cubicBezTo>
                  <a:pt x="331" y="256"/>
                  <a:pt x="330" y="251"/>
                  <a:pt x="325" y="249"/>
                </a:cubicBezTo>
                <a:cubicBezTo>
                  <a:pt x="321" y="248"/>
                  <a:pt x="321" y="248"/>
                  <a:pt x="321" y="248"/>
                </a:cubicBezTo>
                <a:cubicBezTo>
                  <a:pt x="315" y="245"/>
                  <a:pt x="312" y="238"/>
                  <a:pt x="315" y="231"/>
                </a:cubicBezTo>
                <a:cubicBezTo>
                  <a:pt x="317" y="225"/>
                  <a:pt x="325" y="222"/>
                  <a:pt x="331" y="225"/>
                </a:cubicBezTo>
                <a:cubicBezTo>
                  <a:pt x="334" y="226"/>
                  <a:pt x="334" y="226"/>
                  <a:pt x="334" y="226"/>
                </a:cubicBezTo>
                <a:cubicBezTo>
                  <a:pt x="339" y="228"/>
                  <a:pt x="344" y="225"/>
                  <a:pt x="345" y="221"/>
                </a:cubicBezTo>
                <a:cubicBezTo>
                  <a:pt x="346" y="218"/>
                  <a:pt x="346" y="216"/>
                  <a:pt x="347" y="214"/>
                </a:cubicBezTo>
                <a:cubicBezTo>
                  <a:pt x="348" y="209"/>
                  <a:pt x="345" y="205"/>
                  <a:pt x="340" y="204"/>
                </a:cubicBezTo>
                <a:cubicBezTo>
                  <a:pt x="336" y="204"/>
                  <a:pt x="336" y="204"/>
                  <a:pt x="336" y="204"/>
                </a:cubicBezTo>
                <a:cubicBezTo>
                  <a:pt x="329" y="203"/>
                  <a:pt x="324" y="197"/>
                  <a:pt x="325" y="190"/>
                </a:cubicBezTo>
                <a:cubicBezTo>
                  <a:pt x="320" y="185"/>
                  <a:pt x="324" y="177"/>
                  <a:pt x="331" y="178"/>
                </a:cubicBezTo>
                <a:cubicBezTo>
                  <a:pt x="342" y="179"/>
                  <a:pt x="342" y="179"/>
                  <a:pt x="342" y="179"/>
                </a:cubicBezTo>
                <a:cubicBezTo>
                  <a:pt x="347" y="180"/>
                  <a:pt x="351" y="176"/>
                  <a:pt x="351" y="171"/>
                </a:cubicBezTo>
                <a:cubicBezTo>
                  <a:pt x="351" y="169"/>
                  <a:pt x="351" y="166"/>
                  <a:pt x="350" y="164"/>
                </a:cubicBezTo>
                <a:cubicBezTo>
                  <a:pt x="350" y="159"/>
                  <a:pt x="346" y="156"/>
                  <a:pt x="341" y="157"/>
                </a:cubicBezTo>
                <a:cubicBezTo>
                  <a:pt x="337" y="157"/>
                  <a:pt x="337" y="157"/>
                  <a:pt x="337" y="157"/>
                </a:cubicBezTo>
                <a:cubicBezTo>
                  <a:pt x="331" y="158"/>
                  <a:pt x="325" y="155"/>
                  <a:pt x="323" y="149"/>
                </a:cubicBezTo>
                <a:cubicBezTo>
                  <a:pt x="320" y="142"/>
                  <a:pt x="325" y="134"/>
                  <a:pt x="333" y="133"/>
                </a:cubicBezTo>
                <a:cubicBezTo>
                  <a:pt x="336" y="132"/>
                  <a:pt x="336" y="132"/>
                  <a:pt x="336" y="132"/>
                </a:cubicBezTo>
                <a:cubicBezTo>
                  <a:pt x="341" y="131"/>
                  <a:pt x="344" y="127"/>
                  <a:pt x="342" y="122"/>
                </a:cubicBezTo>
                <a:cubicBezTo>
                  <a:pt x="341" y="120"/>
                  <a:pt x="341" y="117"/>
                  <a:pt x="340" y="115"/>
                </a:cubicBezTo>
                <a:cubicBezTo>
                  <a:pt x="338" y="111"/>
                  <a:pt x="333" y="109"/>
                  <a:pt x="329" y="111"/>
                </a:cubicBezTo>
                <a:cubicBezTo>
                  <a:pt x="325" y="113"/>
                  <a:pt x="325" y="113"/>
                  <a:pt x="325" y="113"/>
                </a:cubicBezTo>
                <a:cubicBezTo>
                  <a:pt x="320" y="115"/>
                  <a:pt x="313" y="114"/>
                  <a:pt x="310" y="109"/>
                </a:cubicBezTo>
                <a:cubicBezTo>
                  <a:pt x="305" y="102"/>
                  <a:pt x="307" y="93"/>
                  <a:pt x="314" y="90"/>
                </a:cubicBezTo>
                <a:cubicBezTo>
                  <a:pt x="317" y="88"/>
                  <a:pt x="317" y="88"/>
                  <a:pt x="317" y="88"/>
                </a:cubicBezTo>
                <a:cubicBezTo>
                  <a:pt x="321" y="86"/>
                  <a:pt x="323" y="81"/>
                  <a:pt x="320" y="77"/>
                </a:cubicBezTo>
                <a:cubicBezTo>
                  <a:pt x="319" y="75"/>
                  <a:pt x="317" y="73"/>
                  <a:pt x="316" y="71"/>
                </a:cubicBezTo>
                <a:cubicBezTo>
                  <a:pt x="313" y="67"/>
                  <a:pt x="308" y="67"/>
                  <a:pt x="304" y="70"/>
                </a:cubicBezTo>
                <a:cubicBezTo>
                  <a:pt x="301" y="73"/>
                  <a:pt x="301" y="73"/>
                  <a:pt x="301" y="73"/>
                </a:cubicBezTo>
                <a:cubicBezTo>
                  <a:pt x="296" y="78"/>
                  <a:pt x="288" y="77"/>
                  <a:pt x="283" y="72"/>
                </a:cubicBezTo>
                <a:cubicBezTo>
                  <a:pt x="279" y="67"/>
                  <a:pt x="279" y="59"/>
                  <a:pt x="284" y="54"/>
                </a:cubicBezTo>
                <a:cubicBezTo>
                  <a:pt x="287" y="52"/>
                  <a:pt x="287" y="52"/>
                  <a:pt x="287" y="52"/>
                </a:cubicBezTo>
                <a:cubicBezTo>
                  <a:pt x="290" y="49"/>
                  <a:pt x="290" y="43"/>
                  <a:pt x="286" y="40"/>
                </a:cubicBezTo>
                <a:cubicBezTo>
                  <a:pt x="285" y="38"/>
                  <a:pt x="283" y="37"/>
                  <a:pt x="281" y="36"/>
                </a:cubicBezTo>
                <a:cubicBezTo>
                  <a:pt x="277" y="33"/>
                  <a:pt x="272" y="34"/>
                  <a:pt x="269" y="38"/>
                </a:cubicBezTo>
                <a:cubicBezTo>
                  <a:pt x="267" y="41"/>
                  <a:pt x="267" y="41"/>
                  <a:pt x="267" y="41"/>
                </a:cubicBezTo>
                <a:cubicBezTo>
                  <a:pt x="264" y="46"/>
                  <a:pt x="258" y="49"/>
                  <a:pt x="252" y="47"/>
                </a:cubicBezTo>
                <a:cubicBezTo>
                  <a:pt x="244" y="44"/>
                  <a:pt x="242" y="35"/>
                  <a:pt x="246" y="28"/>
                </a:cubicBezTo>
                <a:cubicBezTo>
                  <a:pt x="247" y="25"/>
                  <a:pt x="247" y="25"/>
                  <a:pt x="247" y="25"/>
                </a:cubicBezTo>
                <a:cubicBezTo>
                  <a:pt x="250" y="21"/>
                  <a:pt x="248" y="16"/>
                  <a:pt x="244" y="14"/>
                </a:cubicBezTo>
                <a:cubicBezTo>
                  <a:pt x="241" y="13"/>
                  <a:pt x="239" y="12"/>
                  <a:pt x="237" y="11"/>
                </a:cubicBezTo>
                <a:cubicBezTo>
                  <a:pt x="233" y="10"/>
                  <a:pt x="228" y="12"/>
                  <a:pt x="227" y="17"/>
                </a:cubicBezTo>
                <a:cubicBezTo>
                  <a:pt x="226" y="20"/>
                  <a:pt x="226" y="20"/>
                  <a:pt x="226" y="20"/>
                </a:cubicBezTo>
                <a:cubicBezTo>
                  <a:pt x="224" y="26"/>
                  <a:pt x="218" y="31"/>
                  <a:pt x="212" y="30"/>
                </a:cubicBezTo>
                <a:cubicBezTo>
                  <a:pt x="204" y="29"/>
                  <a:pt x="199" y="22"/>
                  <a:pt x="201" y="14"/>
                </a:cubicBezTo>
                <a:cubicBezTo>
                  <a:pt x="202" y="11"/>
                  <a:pt x="202" y="11"/>
                  <a:pt x="202" y="11"/>
                </a:cubicBezTo>
                <a:cubicBezTo>
                  <a:pt x="203" y="6"/>
                  <a:pt x="200" y="1"/>
                  <a:pt x="195" y="1"/>
                </a:cubicBezTo>
                <a:cubicBezTo>
                  <a:pt x="193" y="1"/>
                  <a:pt x="191" y="0"/>
                  <a:pt x="188" y="0"/>
                </a:cubicBezTo>
                <a:cubicBezTo>
                  <a:pt x="184" y="0"/>
                  <a:pt x="180" y="4"/>
                  <a:pt x="180" y="8"/>
                </a:cubicBezTo>
                <a:cubicBezTo>
                  <a:pt x="180" y="12"/>
                  <a:pt x="180" y="12"/>
                  <a:pt x="180" y="12"/>
                </a:cubicBezTo>
                <a:cubicBezTo>
                  <a:pt x="180" y="18"/>
                  <a:pt x="176" y="24"/>
                  <a:pt x="170" y="25"/>
                </a:cubicBezTo>
                <a:cubicBezTo>
                  <a:pt x="162" y="27"/>
                  <a:pt x="155" y="21"/>
                  <a:pt x="155" y="13"/>
                </a:cubicBezTo>
                <a:cubicBezTo>
                  <a:pt x="155" y="10"/>
                  <a:pt x="155" y="10"/>
                  <a:pt x="155" y="10"/>
                </a:cubicBezTo>
                <a:cubicBezTo>
                  <a:pt x="155" y="5"/>
                  <a:pt x="150" y="1"/>
                  <a:pt x="145" y="2"/>
                </a:cubicBezTo>
                <a:cubicBezTo>
                  <a:pt x="143" y="2"/>
                  <a:pt x="141" y="3"/>
                  <a:pt x="138" y="3"/>
                </a:cubicBezTo>
                <a:cubicBezTo>
                  <a:pt x="134" y="4"/>
                  <a:pt x="131" y="9"/>
                  <a:pt x="133" y="13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36" y="24"/>
                  <a:pt x="132" y="31"/>
                  <a:pt x="126" y="33"/>
                </a:cubicBezTo>
                <a:cubicBezTo>
                  <a:pt x="121" y="38"/>
                  <a:pt x="113" y="36"/>
                  <a:pt x="111" y="29"/>
                </a:cubicBezTo>
                <a:cubicBezTo>
                  <a:pt x="109" y="22"/>
                  <a:pt x="109" y="22"/>
                  <a:pt x="109" y="22"/>
                </a:cubicBezTo>
                <a:cubicBezTo>
                  <a:pt x="107" y="17"/>
                  <a:pt x="102" y="15"/>
                  <a:pt x="98" y="17"/>
                </a:cubicBezTo>
                <a:cubicBezTo>
                  <a:pt x="96" y="18"/>
                  <a:pt x="94" y="19"/>
                  <a:pt x="92" y="20"/>
                </a:cubicBezTo>
                <a:cubicBezTo>
                  <a:pt x="88" y="23"/>
                  <a:pt x="86" y="28"/>
                  <a:pt x="89" y="32"/>
                </a:cubicBezTo>
                <a:cubicBezTo>
                  <a:pt x="91" y="35"/>
                  <a:pt x="91" y="35"/>
                  <a:pt x="91" y="35"/>
                </a:cubicBezTo>
                <a:cubicBezTo>
                  <a:pt x="96" y="42"/>
                  <a:pt x="93" y="51"/>
                  <a:pt x="86" y="54"/>
                </a:cubicBezTo>
                <a:cubicBezTo>
                  <a:pt x="81" y="56"/>
                  <a:pt x="74" y="54"/>
                  <a:pt x="70" y="49"/>
                </a:cubicBezTo>
                <a:cubicBezTo>
                  <a:pt x="69" y="47"/>
                  <a:pt x="69" y="47"/>
                  <a:pt x="69" y="47"/>
                </a:cubicBezTo>
                <a:cubicBezTo>
                  <a:pt x="66" y="43"/>
                  <a:pt x="60" y="42"/>
                  <a:pt x="57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55" y="47"/>
                  <a:pt x="53" y="48"/>
                  <a:pt x="52" y="50"/>
                </a:cubicBezTo>
                <a:close/>
                <a:moveTo>
                  <a:pt x="215" y="283"/>
                </a:moveTo>
                <a:cubicBezTo>
                  <a:pt x="208" y="285"/>
                  <a:pt x="201" y="282"/>
                  <a:pt x="199" y="275"/>
                </a:cubicBezTo>
                <a:cubicBezTo>
                  <a:pt x="197" y="269"/>
                  <a:pt x="200" y="262"/>
                  <a:pt x="207" y="260"/>
                </a:cubicBezTo>
                <a:cubicBezTo>
                  <a:pt x="213" y="258"/>
                  <a:pt x="220" y="261"/>
                  <a:pt x="222" y="267"/>
                </a:cubicBezTo>
                <a:cubicBezTo>
                  <a:pt x="224" y="274"/>
                  <a:pt x="221" y="281"/>
                  <a:pt x="215" y="283"/>
                </a:cubicBezTo>
                <a:close/>
                <a:moveTo>
                  <a:pt x="274" y="207"/>
                </a:moveTo>
                <a:cubicBezTo>
                  <a:pt x="280" y="210"/>
                  <a:pt x="283" y="217"/>
                  <a:pt x="280" y="223"/>
                </a:cubicBezTo>
                <a:cubicBezTo>
                  <a:pt x="277" y="229"/>
                  <a:pt x="270" y="232"/>
                  <a:pt x="264" y="229"/>
                </a:cubicBezTo>
                <a:cubicBezTo>
                  <a:pt x="258" y="226"/>
                  <a:pt x="255" y="219"/>
                  <a:pt x="258" y="213"/>
                </a:cubicBezTo>
                <a:cubicBezTo>
                  <a:pt x="261" y="206"/>
                  <a:pt x="268" y="204"/>
                  <a:pt x="274" y="207"/>
                </a:cubicBezTo>
                <a:close/>
                <a:moveTo>
                  <a:pt x="227" y="219"/>
                </a:moveTo>
                <a:cubicBezTo>
                  <a:pt x="230" y="222"/>
                  <a:pt x="230" y="227"/>
                  <a:pt x="227" y="230"/>
                </a:cubicBezTo>
                <a:cubicBezTo>
                  <a:pt x="224" y="233"/>
                  <a:pt x="218" y="233"/>
                  <a:pt x="215" y="229"/>
                </a:cubicBezTo>
                <a:cubicBezTo>
                  <a:pt x="213" y="226"/>
                  <a:pt x="213" y="221"/>
                  <a:pt x="216" y="218"/>
                </a:cubicBezTo>
                <a:cubicBezTo>
                  <a:pt x="219" y="215"/>
                  <a:pt x="224" y="215"/>
                  <a:pt x="227" y="219"/>
                </a:cubicBezTo>
                <a:close/>
                <a:moveTo>
                  <a:pt x="107" y="164"/>
                </a:moveTo>
                <a:cubicBezTo>
                  <a:pt x="111" y="164"/>
                  <a:pt x="115" y="168"/>
                  <a:pt x="115" y="172"/>
                </a:cubicBezTo>
                <a:cubicBezTo>
                  <a:pt x="114" y="176"/>
                  <a:pt x="111" y="180"/>
                  <a:pt x="106" y="180"/>
                </a:cubicBezTo>
                <a:cubicBezTo>
                  <a:pt x="102" y="179"/>
                  <a:pt x="99" y="176"/>
                  <a:pt x="99" y="171"/>
                </a:cubicBezTo>
                <a:cubicBezTo>
                  <a:pt x="99" y="167"/>
                  <a:pt x="103" y="164"/>
                  <a:pt x="107" y="164"/>
                </a:cubicBezTo>
                <a:close/>
                <a:moveTo>
                  <a:pt x="82" y="221"/>
                </a:moveTo>
                <a:cubicBezTo>
                  <a:pt x="75" y="223"/>
                  <a:pt x="68" y="220"/>
                  <a:pt x="66" y="214"/>
                </a:cubicBezTo>
                <a:cubicBezTo>
                  <a:pt x="64" y="208"/>
                  <a:pt x="67" y="201"/>
                  <a:pt x="74" y="198"/>
                </a:cubicBezTo>
                <a:cubicBezTo>
                  <a:pt x="80" y="196"/>
                  <a:pt x="87" y="199"/>
                  <a:pt x="89" y="206"/>
                </a:cubicBezTo>
                <a:cubicBezTo>
                  <a:pt x="91" y="212"/>
                  <a:pt x="88" y="219"/>
                  <a:pt x="82" y="221"/>
                </a:cubicBezTo>
                <a:close/>
                <a:moveTo>
                  <a:pt x="119" y="226"/>
                </a:moveTo>
                <a:cubicBezTo>
                  <a:pt x="116" y="223"/>
                  <a:pt x="116" y="218"/>
                  <a:pt x="120" y="215"/>
                </a:cubicBezTo>
                <a:cubicBezTo>
                  <a:pt x="123" y="212"/>
                  <a:pt x="128" y="212"/>
                  <a:pt x="131" y="215"/>
                </a:cubicBezTo>
                <a:cubicBezTo>
                  <a:pt x="134" y="219"/>
                  <a:pt x="134" y="224"/>
                  <a:pt x="130" y="227"/>
                </a:cubicBezTo>
                <a:cubicBezTo>
                  <a:pt x="127" y="229"/>
                  <a:pt x="122" y="229"/>
                  <a:pt x="119" y="226"/>
                </a:cubicBezTo>
                <a:close/>
                <a:moveTo>
                  <a:pt x="126" y="279"/>
                </a:moveTo>
                <a:cubicBezTo>
                  <a:pt x="120" y="276"/>
                  <a:pt x="118" y="269"/>
                  <a:pt x="120" y="263"/>
                </a:cubicBezTo>
                <a:cubicBezTo>
                  <a:pt x="123" y="257"/>
                  <a:pt x="131" y="254"/>
                  <a:pt x="137" y="257"/>
                </a:cubicBezTo>
                <a:cubicBezTo>
                  <a:pt x="143" y="260"/>
                  <a:pt x="145" y="267"/>
                  <a:pt x="142" y="273"/>
                </a:cubicBezTo>
                <a:cubicBezTo>
                  <a:pt x="139" y="279"/>
                  <a:pt x="132" y="282"/>
                  <a:pt x="126" y="279"/>
                </a:cubicBezTo>
                <a:close/>
                <a:moveTo>
                  <a:pt x="172" y="250"/>
                </a:moveTo>
                <a:cubicBezTo>
                  <a:pt x="168" y="250"/>
                  <a:pt x="164" y="246"/>
                  <a:pt x="165" y="242"/>
                </a:cubicBezTo>
                <a:cubicBezTo>
                  <a:pt x="165" y="238"/>
                  <a:pt x="168" y="234"/>
                  <a:pt x="173" y="234"/>
                </a:cubicBezTo>
                <a:cubicBezTo>
                  <a:pt x="177" y="235"/>
                  <a:pt x="181" y="238"/>
                  <a:pt x="180" y="243"/>
                </a:cubicBezTo>
                <a:cubicBezTo>
                  <a:pt x="180" y="247"/>
                  <a:pt x="177" y="250"/>
                  <a:pt x="172" y="250"/>
                </a:cubicBezTo>
                <a:close/>
                <a:moveTo>
                  <a:pt x="251" y="177"/>
                </a:moveTo>
                <a:cubicBezTo>
                  <a:pt x="251" y="181"/>
                  <a:pt x="247" y="185"/>
                  <a:pt x="243" y="185"/>
                </a:cubicBezTo>
                <a:cubicBezTo>
                  <a:pt x="238" y="184"/>
                  <a:pt x="235" y="181"/>
                  <a:pt x="235" y="176"/>
                </a:cubicBezTo>
                <a:cubicBezTo>
                  <a:pt x="235" y="172"/>
                  <a:pt x="239" y="168"/>
                  <a:pt x="243" y="169"/>
                </a:cubicBezTo>
                <a:cubicBezTo>
                  <a:pt x="248" y="169"/>
                  <a:pt x="251" y="173"/>
                  <a:pt x="251" y="177"/>
                </a:cubicBezTo>
                <a:close/>
                <a:moveTo>
                  <a:pt x="268" y="127"/>
                </a:moveTo>
                <a:cubicBezTo>
                  <a:pt x="274" y="125"/>
                  <a:pt x="281" y="128"/>
                  <a:pt x="284" y="134"/>
                </a:cubicBezTo>
                <a:cubicBezTo>
                  <a:pt x="286" y="141"/>
                  <a:pt x="283" y="148"/>
                  <a:pt x="276" y="150"/>
                </a:cubicBezTo>
                <a:cubicBezTo>
                  <a:pt x="270" y="152"/>
                  <a:pt x="263" y="149"/>
                  <a:pt x="261" y="143"/>
                </a:cubicBezTo>
                <a:cubicBezTo>
                  <a:pt x="259" y="136"/>
                  <a:pt x="262" y="129"/>
                  <a:pt x="268" y="127"/>
                </a:cubicBezTo>
                <a:close/>
                <a:moveTo>
                  <a:pt x="231" y="122"/>
                </a:moveTo>
                <a:cubicBezTo>
                  <a:pt x="234" y="126"/>
                  <a:pt x="233" y="131"/>
                  <a:pt x="230" y="134"/>
                </a:cubicBezTo>
                <a:cubicBezTo>
                  <a:pt x="227" y="137"/>
                  <a:pt x="222" y="136"/>
                  <a:pt x="219" y="133"/>
                </a:cubicBezTo>
                <a:cubicBezTo>
                  <a:pt x="216" y="130"/>
                  <a:pt x="216" y="125"/>
                  <a:pt x="219" y="122"/>
                </a:cubicBezTo>
                <a:cubicBezTo>
                  <a:pt x="223" y="119"/>
                  <a:pt x="228" y="119"/>
                  <a:pt x="231" y="122"/>
                </a:cubicBezTo>
                <a:close/>
                <a:moveTo>
                  <a:pt x="202" y="150"/>
                </a:moveTo>
                <a:cubicBezTo>
                  <a:pt x="216" y="166"/>
                  <a:pt x="215" y="190"/>
                  <a:pt x="200" y="204"/>
                </a:cubicBezTo>
                <a:cubicBezTo>
                  <a:pt x="184" y="218"/>
                  <a:pt x="160" y="217"/>
                  <a:pt x="146" y="202"/>
                </a:cubicBezTo>
                <a:cubicBezTo>
                  <a:pt x="132" y="186"/>
                  <a:pt x="133" y="162"/>
                  <a:pt x="148" y="148"/>
                </a:cubicBezTo>
                <a:cubicBezTo>
                  <a:pt x="164" y="134"/>
                  <a:pt x="188" y="135"/>
                  <a:pt x="202" y="150"/>
                </a:cubicBezTo>
                <a:close/>
                <a:moveTo>
                  <a:pt x="224" y="69"/>
                </a:moveTo>
                <a:cubicBezTo>
                  <a:pt x="230" y="72"/>
                  <a:pt x="232" y="79"/>
                  <a:pt x="229" y="85"/>
                </a:cubicBezTo>
                <a:cubicBezTo>
                  <a:pt x="227" y="91"/>
                  <a:pt x="219" y="94"/>
                  <a:pt x="213" y="91"/>
                </a:cubicBezTo>
                <a:cubicBezTo>
                  <a:pt x="207" y="88"/>
                  <a:pt x="205" y="81"/>
                  <a:pt x="208" y="75"/>
                </a:cubicBezTo>
                <a:cubicBezTo>
                  <a:pt x="210" y="69"/>
                  <a:pt x="218" y="66"/>
                  <a:pt x="224" y="69"/>
                </a:cubicBezTo>
                <a:close/>
                <a:moveTo>
                  <a:pt x="178" y="98"/>
                </a:moveTo>
                <a:cubicBezTo>
                  <a:pt x="182" y="98"/>
                  <a:pt x="185" y="102"/>
                  <a:pt x="185" y="106"/>
                </a:cubicBezTo>
                <a:cubicBezTo>
                  <a:pt x="185" y="111"/>
                  <a:pt x="181" y="114"/>
                  <a:pt x="177" y="114"/>
                </a:cubicBezTo>
                <a:cubicBezTo>
                  <a:pt x="173" y="114"/>
                  <a:pt x="169" y="110"/>
                  <a:pt x="169" y="106"/>
                </a:cubicBezTo>
                <a:cubicBezTo>
                  <a:pt x="170" y="101"/>
                  <a:pt x="173" y="98"/>
                  <a:pt x="178" y="98"/>
                </a:cubicBezTo>
                <a:close/>
                <a:moveTo>
                  <a:pt x="134" y="119"/>
                </a:moveTo>
                <a:cubicBezTo>
                  <a:pt x="137" y="122"/>
                  <a:pt x="137" y="127"/>
                  <a:pt x="134" y="130"/>
                </a:cubicBezTo>
                <a:cubicBezTo>
                  <a:pt x="131" y="133"/>
                  <a:pt x="126" y="133"/>
                  <a:pt x="123" y="130"/>
                </a:cubicBezTo>
                <a:cubicBezTo>
                  <a:pt x="120" y="126"/>
                  <a:pt x="120" y="121"/>
                  <a:pt x="123" y="118"/>
                </a:cubicBezTo>
                <a:cubicBezTo>
                  <a:pt x="126" y="115"/>
                  <a:pt x="131" y="116"/>
                  <a:pt x="134" y="119"/>
                </a:cubicBezTo>
                <a:close/>
                <a:moveTo>
                  <a:pt x="76" y="142"/>
                </a:moveTo>
                <a:cubicBezTo>
                  <a:pt x="70" y="139"/>
                  <a:pt x="67" y="131"/>
                  <a:pt x="70" y="125"/>
                </a:cubicBezTo>
                <a:cubicBezTo>
                  <a:pt x="73" y="119"/>
                  <a:pt x="80" y="117"/>
                  <a:pt x="86" y="120"/>
                </a:cubicBezTo>
                <a:cubicBezTo>
                  <a:pt x="92" y="123"/>
                  <a:pt x="95" y="130"/>
                  <a:pt x="92" y="136"/>
                </a:cubicBezTo>
                <a:cubicBezTo>
                  <a:pt x="89" y="142"/>
                  <a:pt x="82" y="144"/>
                  <a:pt x="76" y="142"/>
                </a:cubicBezTo>
                <a:close/>
                <a:moveTo>
                  <a:pt x="135" y="65"/>
                </a:moveTo>
                <a:cubicBezTo>
                  <a:pt x="141" y="63"/>
                  <a:pt x="148" y="67"/>
                  <a:pt x="151" y="73"/>
                </a:cubicBezTo>
                <a:cubicBezTo>
                  <a:pt x="153" y="79"/>
                  <a:pt x="150" y="86"/>
                  <a:pt x="143" y="88"/>
                </a:cubicBezTo>
                <a:cubicBezTo>
                  <a:pt x="137" y="91"/>
                  <a:pt x="130" y="87"/>
                  <a:pt x="128" y="81"/>
                </a:cubicBezTo>
                <a:cubicBezTo>
                  <a:pt x="126" y="75"/>
                  <a:pt x="129" y="68"/>
                  <a:pt x="135" y="65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4834460" y="3540270"/>
            <a:ext cx="3657600" cy="3657600"/>
          </a:xfrm>
          <a:custGeom>
            <a:avLst/>
            <a:gdLst>
              <a:gd name="T0" fmla="*/ 535 w 539"/>
              <a:gd name="T1" fmla="*/ 267 h 539"/>
              <a:gd name="T2" fmla="*/ 534 w 539"/>
              <a:gd name="T3" fmla="*/ 238 h 539"/>
              <a:gd name="T4" fmla="*/ 531 w 539"/>
              <a:gd name="T5" fmla="*/ 225 h 539"/>
              <a:gd name="T6" fmla="*/ 529 w 539"/>
              <a:gd name="T7" fmla="*/ 196 h 539"/>
              <a:gd name="T8" fmla="*/ 514 w 539"/>
              <a:gd name="T9" fmla="*/ 156 h 539"/>
              <a:gd name="T10" fmla="*/ 493 w 539"/>
              <a:gd name="T11" fmla="*/ 118 h 539"/>
              <a:gd name="T12" fmla="*/ 466 w 539"/>
              <a:gd name="T13" fmla="*/ 85 h 539"/>
              <a:gd name="T14" fmla="*/ 434 w 539"/>
              <a:gd name="T15" fmla="*/ 56 h 539"/>
              <a:gd name="T16" fmla="*/ 398 w 539"/>
              <a:gd name="T17" fmla="*/ 33 h 539"/>
              <a:gd name="T18" fmla="*/ 359 w 539"/>
              <a:gd name="T19" fmla="*/ 15 h 539"/>
              <a:gd name="T20" fmla="*/ 317 w 539"/>
              <a:gd name="T21" fmla="*/ 4 h 539"/>
              <a:gd name="T22" fmla="*/ 274 w 539"/>
              <a:gd name="T23" fmla="*/ 5 h 539"/>
              <a:gd name="T24" fmla="*/ 261 w 539"/>
              <a:gd name="T25" fmla="*/ 2 h 539"/>
              <a:gd name="T26" fmla="*/ 232 w 539"/>
              <a:gd name="T27" fmla="*/ 4 h 539"/>
              <a:gd name="T28" fmla="*/ 192 w 539"/>
              <a:gd name="T29" fmla="*/ 17 h 539"/>
              <a:gd name="T30" fmla="*/ 174 w 539"/>
              <a:gd name="T31" fmla="*/ 44 h 539"/>
              <a:gd name="T32" fmla="*/ 139 w 539"/>
              <a:gd name="T33" fmla="*/ 34 h 539"/>
              <a:gd name="T34" fmla="*/ 104 w 539"/>
              <a:gd name="T35" fmla="*/ 57 h 539"/>
              <a:gd name="T36" fmla="*/ 73 w 539"/>
              <a:gd name="T37" fmla="*/ 86 h 539"/>
              <a:gd name="T38" fmla="*/ 47 w 539"/>
              <a:gd name="T39" fmla="*/ 119 h 539"/>
              <a:gd name="T40" fmla="*/ 26 w 539"/>
              <a:gd name="T41" fmla="*/ 155 h 539"/>
              <a:gd name="T42" fmla="*/ 11 w 539"/>
              <a:gd name="T43" fmla="*/ 195 h 539"/>
              <a:gd name="T44" fmla="*/ 3 w 539"/>
              <a:gd name="T45" fmla="*/ 235 h 539"/>
              <a:gd name="T46" fmla="*/ 0 w 539"/>
              <a:gd name="T47" fmla="*/ 277 h 539"/>
              <a:gd name="T48" fmla="*/ 5 w 539"/>
              <a:gd name="T49" fmla="*/ 319 h 539"/>
              <a:gd name="T50" fmla="*/ 16 w 539"/>
              <a:gd name="T51" fmla="*/ 359 h 539"/>
              <a:gd name="T52" fmla="*/ 32 w 539"/>
              <a:gd name="T53" fmla="*/ 397 h 539"/>
              <a:gd name="T54" fmla="*/ 55 w 539"/>
              <a:gd name="T55" fmla="*/ 432 h 539"/>
              <a:gd name="T56" fmla="*/ 82 w 539"/>
              <a:gd name="T57" fmla="*/ 463 h 539"/>
              <a:gd name="T58" fmla="*/ 114 w 539"/>
              <a:gd name="T59" fmla="*/ 490 h 539"/>
              <a:gd name="T60" fmla="*/ 150 w 539"/>
              <a:gd name="T61" fmla="*/ 511 h 539"/>
              <a:gd name="T62" fmla="*/ 189 w 539"/>
              <a:gd name="T63" fmla="*/ 527 h 539"/>
              <a:gd name="T64" fmla="*/ 230 w 539"/>
              <a:gd name="T65" fmla="*/ 536 h 539"/>
              <a:gd name="T66" fmla="*/ 271 w 539"/>
              <a:gd name="T67" fmla="*/ 539 h 539"/>
              <a:gd name="T68" fmla="*/ 313 w 539"/>
              <a:gd name="T69" fmla="*/ 536 h 539"/>
              <a:gd name="T70" fmla="*/ 354 w 539"/>
              <a:gd name="T71" fmla="*/ 526 h 539"/>
              <a:gd name="T72" fmla="*/ 393 w 539"/>
              <a:gd name="T73" fmla="*/ 509 h 539"/>
              <a:gd name="T74" fmla="*/ 425 w 539"/>
              <a:gd name="T75" fmla="*/ 460 h 539"/>
              <a:gd name="T76" fmla="*/ 452 w 539"/>
              <a:gd name="T77" fmla="*/ 433 h 539"/>
              <a:gd name="T78" fmla="*/ 475 w 539"/>
              <a:gd name="T79" fmla="*/ 402 h 539"/>
              <a:gd name="T80" fmla="*/ 507 w 539"/>
              <a:gd name="T81" fmla="*/ 389 h 539"/>
              <a:gd name="T82" fmla="*/ 527 w 539"/>
              <a:gd name="T83" fmla="*/ 351 h 539"/>
              <a:gd name="T84" fmla="*/ 529 w 539"/>
              <a:gd name="T85" fmla="*/ 322 h 539"/>
              <a:gd name="T86" fmla="*/ 532 w 539"/>
              <a:gd name="T87" fmla="*/ 309 h 539"/>
              <a:gd name="T88" fmla="*/ 536 w 539"/>
              <a:gd name="T89" fmla="*/ 280 h 539"/>
              <a:gd name="T90" fmla="*/ 383 w 539"/>
              <a:gd name="T91" fmla="*/ 116 h 539"/>
              <a:gd name="T92" fmla="*/ 270 w 539"/>
              <a:gd name="T93" fmla="*/ 80 h 539"/>
              <a:gd name="T94" fmla="*/ 146 w 539"/>
              <a:gd name="T95" fmla="*/ 125 h 539"/>
              <a:gd name="T96" fmla="*/ 93 w 539"/>
              <a:gd name="T97" fmla="*/ 381 h 539"/>
              <a:gd name="T98" fmla="*/ 93 w 539"/>
              <a:gd name="T99" fmla="*/ 381 h 539"/>
              <a:gd name="T100" fmla="*/ 346 w 539"/>
              <a:gd name="T101" fmla="*/ 444 h 539"/>
              <a:gd name="T102" fmla="*/ 393 w 539"/>
              <a:gd name="T103" fmla="*/ 414 h 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9" h="539">
                <a:moveTo>
                  <a:pt x="536" y="280"/>
                </a:moveTo>
                <a:cubicBezTo>
                  <a:pt x="537" y="280"/>
                  <a:pt x="538" y="280"/>
                  <a:pt x="539" y="281"/>
                </a:cubicBezTo>
                <a:cubicBezTo>
                  <a:pt x="539" y="276"/>
                  <a:pt x="539" y="271"/>
                  <a:pt x="539" y="266"/>
                </a:cubicBezTo>
                <a:cubicBezTo>
                  <a:pt x="538" y="266"/>
                  <a:pt x="537" y="266"/>
                  <a:pt x="536" y="267"/>
                </a:cubicBezTo>
                <a:cubicBezTo>
                  <a:pt x="536" y="267"/>
                  <a:pt x="535" y="267"/>
                  <a:pt x="535" y="267"/>
                </a:cubicBezTo>
                <a:cubicBezTo>
                  <a:pt x="535" y="267"/>
                  <a:pt x="535" y="267"/>
                  <a:pt x="535" y="267"/>
                </a:cubicBezTo>
                <a:cubicBezTo>
                  <a:pt x="523" y="267"/>
                  <a:pt x="513" y="262"/>
                  <a:pt x="512" y="254"/>
                </a:cubicBezTo>
                <a:cubicBezTo>
                  <a:pt x="511" y="247"/>
                  <a:pt x="520" y="239"/>
                  <a:pt x="533" y="238"/>
                </a:cubicBezTo>
                <a:cubicBezTo>
                  <a:pt x="533" y="238"/>
                  <a:pt x="533" y="238"/>
                  <a:pt x="533" y="238"/>
                </a:cubicBezTo>
                <a:cubicBezTo>
                  <a:pt x="533" y="238"/>
                  <a:pt x="533" y="238"/>
                  <a:pt x="534" y="238"/>
                </a:cubicBezTo>
                <a:cubicBezTo>
                  <a:pt x="535" y="238"/>
                  <a:pt x="536" y="238"/>
                  <a:pt x="537" y="238"/>
                </a:cubicBezTo>
                <a:cubicBezTo>
                  <a:pt x="537" y="233"/>
                  <a:pt x="536" y="228"/>
                  <a:pt x="535" y="223"/>
                </a:cubicBezTo>
                <a:cubicBezTo>
                  <a:pt x="534" y="224"/>
                  <a:pt x="533" y="224"/>
                  <a:pt x="532" y="224"/>
                </a:cubicBezTo>
                <a:cubicBezTo>
                  <a:pt x="532" y="224"/>
                  <a:pt x="531" y="225"/>
                  <a:pt x="531" y="225"/>
                </a:cubicBezTo>
                <a:cubicBezTo>
                  <a:pt x="531" y="225"/>
                  <a:pt x="531" y="225"/>
                  <a:pt x="531" y="225"/>
                </a:cubicBezTo>
                <a:cubicBezTo>
                  <a:pt x="519" y="227"/>
                  <a:pt x="508" y="224"/>
                  <a:pt x="506" y="216"/>
                </a:cubicBezTo>
                <a:cubicBezTo>
                  <a:pt x="504" y="209"/>
                  <a:pt x="512" y="200"/>
                  <a:pt x="524" y="197"/>
                </a:cubicBezTo>
                <a:cubicBezTo>
                  <a:pt x="524" y="197"/>
                  <a:pt x="524" y="197"/>
                  <a:pt x="524" y="197"/>
                </a:cubicBezTo>
                <a:cubicBezTo>
                  <a:pt x="525" y="197"/>
                  <a:pt x="525" y="197"/>
                  <a:pt x="525" y="196"/>
                </a:cubicBezTo>
                <a:cubicBezTo>
                  <a:pt x="526" y="196"/>
                  <a:pt x="528" y="196"/>
                  <a:pt x="529" y="196"/>
                </a:cubicBezTo>
                <a:cubicBezTo>
                  <a:pt x="528" y="191"/>
                  <a:pt x="526" y="186"/>
                  <a:pt x="525" y="182"/>
                </a:cubicBezTo>
                <a:cubicBezTo>
                  <a:pt x="524" y="182"/>
                  <a:pt x="523" y="183"/>
                  <a:pt x="521" y="183"/>
                </a:cubicBezTo>
                <a:cubicBezTo>
                  <a:pt x="510" y="188"/>
                  <a:pt x="498" y="187"/>
                  <a:pt x="494" y="179"/>
                </a:cubicBezTo>
                <a:cubicBezTo>
                  <a:pt x="491" y="172"/>
                  <a:pt x="498" y="162"/>
                  <a:pt x="510" y="157"/>
                </a:cubicBezTo>
                <a:cubicBezTo>
                  <a:pt x="511" y="156"/>
                  <a:pt x="513" y="156"/>
                  <a:pt x="514" y="156"/>
                </a:cubicBezTo>
                <a:cubicBezTo>
                  <a:pt x="512" y="151"/>
                  <a:pt x="510" y="147"/>
                  <a:pt x="507" y="142"/>
                </a:cubicBezTo>
                <a:cubicBezTo>
                  <a:pt x="506" y="143"/>
                  <a:pt x="505" y="144"/>
                  <a:pt x="504" y="145"/>
                </a:cubicBezTo>
                <a:cubicBezTo>
                  <a:pt x="494" y="151"/>
                  <a:pt x="481" y="151"/>
                  <a:pt x="477" y="145"/>
                </a:cubicBezTo>
                <a:cubicBezTo>
                  <a:pt x="473" y="138"/>
                  <a:pt x="478" y="127"/>
                  <a:pt x="489" y="120"/>
                </a:cubicBezTo>
                <a:cubicBezTo>
                  <a:pt x="490" y="119"/>
                  <a:pt x="492" y="119"/>
                  <a:pt x="493" y="118"/>
                </a:cubicBezTo>
                <a:cubicBezTo>
                  <a:pt x="490" y="114"/>
                  <a:pt x="487" y="110"/>
                  <a:pt x="484" y="106"/>
                </a:cubicBezTo>
                <a:cubicBezTo>
                  <a:pt x="483" y="107"/>
                  <a:pt x="482" y="108"/>
                  <a:pt x="482" y="109"/>
                </a:cubicBezTo>
                <a:cubicBezTo>
                  <a:pt x="472" y="117"/>
                  <a:pt x="460" y="119"/>
                  <a:pt x="455" y="113"/>
                </a:cubicBezTo>
                <a:cubicBezTo>
                  <a:pt x="449" y="107"/>
                  <a:pt x="453" y="96"/>
                  <a:pt x="463" y="87"/>
                </a:cubicBezTo>
                <a:cubicBezTo>
                  <a:pt x="464" y="86"/>
                  <a:pt x="465" y="85"/>
                  <a:pt x="466" y="85"/>
                </a:cubicBezTo>
                <a:cubicBezTo>
                  <a:pt x="463" y="81"/>
                  <a:pt x="459" y="78"/>
                  <a:pt x="456" y="74"/>
                </a:cubicBezTo>
                <a:cubicBezTo>
                  <a:pt x="455" y="75"/>
                  <a:pt x="454" y="76"/>
                  <a:pt x="453" y="77"/>
                </a:cubicBezTo>
                <a:cubicBezTo>
                  <a:pt x="445" y="87"/>
                  <a:pt x="434" y="91"/>
                  <a:pt x="427" y="86"/>
                </a:cubicBezTo>
                <a:cubicBezTo>
                  <a:pt x="421" y="81"/>
                  <a:pt x="423" y="69"/>
                  <a:pt x="431" y="59"/>
                </a:cubicBezTo>
                <a:cubicBezTo>
                  <a:pt x="432" y="58"/>
                  <a:pt x="433" y="57"/>
                  <a:pt x="434" y="56"/>
                </a:cubicBezTo>
                <a:cubicBezTo>
                  <a:pt x="430" y="53"/>
                  <a:pt x="426" y="50"/>
                  <a:pt x="422" y="47"/>
                </a:cubicBezTo>
                <a:cubicBezTo>
                  <a:pt x="422" y="48"/>
                  <a:pt x="421" y="49"/>
                  <a:pt x="421" y="50"/>
                </a:cubicBezTo>
                <a:cubicBezTo>
                  <a:pt x="414" y="61"/>
                  <a:pt x="403" y="67"/>
                  <a:pt x="396" y="63"/>
                </a:cubicBezTo>
                <a:cubicBezTo>
                  <a:pt x="390" y="59"/>
                  <a:pt x="389" y="47"/>
                  <a:pt x="396" y="36"/>
                </a:cubicBezTo>
                <a:cubicBezTo>
                  <a:pt x="397" y="34"/>
                  <a:pt x="397" y="33"/>
                  <a:pt x="398" y="33"/>
                </a:cubicBezTo>
                <a:cubicBezTo>
                  <a:pt x="394" y="30"/>
                  <a:pt x="389" y="28"/>
                  <a:pt x="385" y="26"/>
                </a:cubicBezTo>
                <a:cubicBezTo>
                  <a:pt x="385" y="27"/>
                  <a:pt x="384" y="28"/>
                  <a:pt x="384" y="29"/>
                </a:cubicBezTo>
                <a:cubicBezTo>
                  <a:pt x="379" y="41"/>
                  <a:pt x="369" y="48"/>
                  <a:pt x="362" y="45"/>
                </a:cubicBezTo>
                <a:cubicBezTo>
                  <a:pt x="355" y="42"/>
                  <a:pt x="353" y="30"/>
                  <a:pt x="357" y="18"/>
                </a:cubicBezTo>
                <a:cubicBezTo>
                  <a:pt x="358" y="17"/>
                  <a:pt x="358" y="16"/>
                  <a:pt x="359" y="15"/>
                </a:cubicBezTo>
                <a:cubicBezTo>
                  <a:pt x="354" y="14"/>
                  <a:pt x="350" y="12"/>
                  <a:pt x="345" y="11"/>
                </a:cubicBezTo>
                <a:cubicBezTo>
                  <a:pt x="345" y="12"/>
                  <a:pt x="345" y="13"/>
                  <a:pt x="345" y="13"/>
                </a:cubicBezTo>
                <a:cubicBezTo>
                  <a:pt x="342" y="26"/>
                  <a:pt x="333" y="35"/>
                  <a:pt x="325" y="33"/>
                </a:cubicBezTo>
                <a:cubicBezTo>
                  <a:pt x="318" y="31"/>
                  <a:pt x="314" y="19"/>
                  <a:pt x="317" y="7"/>
                </a:cubicBezTo>
                <a:cubicBezTo>
                  <a:pt x="317" y="6"/>
                  <a:pt x="317" y="5"/>
                  <a:pt x="317" y="4"/>
                </a:cubicBezTo>
                <a:cubicBezTo>
                  <a:pt x="313" y="4"/>
                  <a:pt x="308" y="3"/>
                  <a:pt x="303" y="2"/>
                </a:cubicBezTo>
                <a:cubicBezTo>
                  <a:pt x="303" y="3"/>
                  <a:pt x="303" y="4"/>
                  <a:pt x="303" y="4"/>
                </a:cubicBezTo>
                <a:cubicBezTo>
                  <a:pt x="303" y="5"/>
                  <a:pt x="303" y="6"/>
                  <a:pt x="303" y="7"/>
                </a:cubicBezTo>
                <a:cubicBezTo>
                  <a:pt x="301" y="18"/>
                  <a:pt x="295" y="27"/>
                  <a:pt x="287" y="26"/>
                </a:cubicBezTo>
                <a:cubicBezTo>
                  <a:pt x="280" y="26"/>
                  <a:pt x="274" y="17"/>
                  <a:pt x="274" y="5"/>
                </a:cubicBezTo>
                <a:cubicBezTo>
                  <a:pt x="274" y="5"/>
                  <a:pt x="274" y="5"/>
                  <a:pt x="274" y="5"/>
                </a:cubicBezTo>
                <a:cubicBezTo>
                  <a:pt x="274" y="4"/>
                  <a:pt x="274" y="3"/>
                  <a:pt x="274" y="2"/>
                </a:cubicBezTo>
                <a:cubicBezTo>
                  <a:pt x="274" y="2"/>
                  <a:pt x="275" y="1"/>
                  <a:pt x="275" y="0"/>
                </a:cubicBezTo>
                <a:cubicBezTo>
                  <a:pt x="270" y="0"/>
                  <a:pt x="265" y="0"/>
                  <a:pt x="261" y="0"/>
                </a:cubicBezTo>
                <a:cubicBezTo>
                  <a:pt x="261" y="1"/>
                  <a:pt x="261" y="1"/>
                  <a:pt x="261" y="2"/>
                </a:cubicBezTo>
                <a:cubicBezTo>
                  <a:pt x="261" y="3"/>
                  <a:pt x="261" y="4"/>
                  <a:pt x="261" y="5"/>
                </a:cubicBezTo>
                <a:cubicBezTo>
                  <a:pt x="261" y="16"/>
                  <a:pt x="256" y="26"/>
                  <a:pt x="249" y="26"/>
                </a:cubicBezTo>
                <a:cubicBezTo>
                  <a:pt x="241" y="27"/>
                  <a:pt x="235" y="19"/>
                  <a:pt x="233" y="8"/>
                </a:cubicBezTo>
                <a:cubicBezTo>
                  <a:pt x="233" y="8"/>
                  <a:pt x="233" y="8"/>
                  <a:pt x="233" y="8"/>
                </a:cubicBezTo>
                <a:cubicBezTo>
                  <a:pt x="232" y="7"/>
                  <a:pt x="232" y="6"/>
                  <a:pt x="232" y="4"/>
                </a:cubicBezTo>
                <a:cubicBezTo>
                  <a:pt x="232" y="4"/>
                  <a:pt x="232" y="3"/>
                  <a:pt x="232" y="3"/>
                </a:cubicBezTo>
                <a:cubicBezTo>
                  <a:pt x="228" y="3"/>
                  <a:pt x="223" y="4"/>
                  <a:pt x="218" y="5"/>
                </a:cubicBezTo>
                <a:cubicBezTo>
                  <a:pt x="218" y="5"/>
                  <a:pt x="219" y="6"/>
                  <a:pt x="219" y="6"/>
                </a:cubicBezTo>
                <a:cubicBezTo>
                  <a:pt x="222" y="18"/>
                  <a:pt x="218" y="30"/>
                  <a:pt x="210" y="32"/>
                </a:cubicBezTo>
                <a:cubicBezTo>
                  <a:pt x="203" y="34"/>
                  <a:pt x="196" y="27"/>
                  <a:pt x="192" y="17"/>
                </a:cubicBezTo>
                <a:cubicBezTo>
                  <a:pt x="191" y="16"/>
                  <a:pt x="191" y="14"/>
                  <a:pt x="191" y="13"/>
                </a:cubicBezTo>
                <a:cubicBezTo>
                  <a:pt x="191" y="13"/>
                  <a:pt x="191" y="12"/>
                  <a:pt x="191" y="12"/>
                </a:cubicBezTo>
                <a:cubicBezTo>
                  <a:pt x="186" y="13"/>
                  <a:pt x="182" y="15"/>
                  <a:pt x="178" y="16"/>
                </a:cubicBezTo>
                <a:cubicBezTo>
                  <a:pt x="178" y="17"/>
                  <a:pt x="178" y="17"/>
                  <a:pt x="178" y="17"/>
                </a:cubicBezTo>
                <a:cubicBezTo>
                  <a:pt x="183" y="28"/>
                  <a:pt x="181" y="41"/>
                  <a:pt x="174" y="44"/>
                </a:cubicBezTo>
                <a:cubicBezTo>
                  <a:pt x="167" y="46"/>
                  <a:pt x="159" y="41"/>
                  <a:pt x="153" y="32"/>
                </a:cubicBezTo>
                <a:cubicBezTo>
                  <a:pt x="153" y="32"/>
                  <a:pt x="153" y="32"/>
                  <a:pt x="153" y="32"/>
                </a:cubicBezTo>
                <a:cubicBezTo>
                  <a:pt x="152" y="31"/>
                  <a:pt x="152" y="29"/>
                  <a:pt x="151" y="28"/>
                </a:cubicBezTo>
                <a:cubicBezTo>
                  <a:pt x="151" y="28"/>
                  <a:pt x="151" y="28"/>
                  <a:pt x="151" y="28"/>
                </a:cubicBezTo>
                <a:cubicBezTo>
                  <a:pt x="147" y="30"/>
                  <a:pt x="143" y="32"/>
                  <a:pt x="139" y="34"/>
                </a:cubicBezTo>
                <a:cubicBezTo>
                  <a:pt x="140" y="35"/>
                  <a:pt x="141" y="37"/>
                  <a:pt x="141" y="38"/>
                </a:cubicBezTo>
                <a:cubicBezTo>
                  <a:pt x="145" y="48"/>
                  <a:pt x="145" y="57"/>
                  <a:pt x="139" y="61"/>
                </a:cubicBezTo>
                <a:cubicBezTo>
                  <a:pt x="133" y="65"/>
                  <a:pt x="124" y="61"/>
                  <a:pt x="118" y="53"/>
                </a:cubicBezTo>
                <a:cubicBezTo>
                  <a:pt x="117" y="52"/>
                  <a:pt x="116" y="51"/>
                  <a:pt x="115" y="49"/>
                </a:cubicBezTo>
                <a:cubicBezTo>
                  <a:pt x="111" y="52"/>
                  <a:pt x="107" y="55"/>
                  <a:pt x="104" y="57"/>
                </a:cubicBezTo>
                <a:cubicBezTo>
                  <a:pt x="105" y="59"/>
                  <a:pt x="106" y="60"/>
                  <a:pt x="107" y="61"/>
                </a:cubicBezTo>
                <a:cubicBezTo>
                  <a:pt x="112" y="70"/>
                  <a:pt x="113" y="79"/>
                  <a:pt x="108" y="83"/>
                </a:cubicBezTo>
                <a:cubicBezTo>
                  <a:pt x="102" y="88"/>
                  <a:pt x="93" y="86"/>
                  <a:pt x="86" y="80"/>
                </a:cubicBezTo>
                <a:cubicBezTo>
                  <a:pt x="84" y="79"/>
                  <a:pt x="83" y="77"/>
                  <a:pt x="82" y="76"/>
                </a:cubicBezTo>
                <a:cubicBezTo>
                  <a:pt x="79" y="79"/>
                  <a:pt x="76" y="83"/>
                  <a:pt x="73" y="86"/>
                </a:cubicBezTo>
                <a:cubicBezTo>
                  <a:pt x="74" y="87"/>
                  <a:pt x="75" y="88"/>
                  <a:pt x="76" y="89"/>
                </a:cubicBezTo>
                <a:cubicBezTo>
                  <a:pt x="82" y="97"/>
                  <a:pt x="84" y="106"/>
                  <a:pt x="80" y="111"/>
                </a:cubicBezTo>
                <a:cubicBezTo>
                  <a:pt x="76" y="116"/>
                  <a:pt x="67" y="115"/>
                  <a:pt x="58" y="110"/>
                </a:cubicBezTo>
                <a:cubicBezTo>
                  <a:pt x="57" y="110"/>
                  <a:pt x="56" y="109"/>
                  <a:pt x="54" y="108"/>
                </a:cubicBezTo>
                <a:cubicBezTo>
                  <a:pt x="52" y="111"/>
                  <a:pt x="49" y="115"/>
                  <a:pt x="47" y="119"/>
                </a:cubicBezTo>
                <a:cubicBezTo>
                  <a:pt x="48" y="120"/>
                  <a:pt x="49" y="121"/>
                  <a:pt x="50" y="122"/>
                </a:cubicBezTo>
                <a:cubicBezTo>
                  <a:pt x="57" y="128"/>
                  <a:pt x="60" y="136"/>
                  <a:pt x="57" y="142"/>
                </a:cubicBezTo>
                <a:cubicBezTo>
                  <a:pt x="54" y="147"/>
                  <a:pt x="45" y="148"/>
                  <a:pt x="36" y="145"/>
                </a:cubicBezTo>
                <a:cubicBezTo>
                  <a:pt x="35" y="145"/>
                  <a:pt x="33" y="144"/>
                  <a:pt x="32" y="143"/>
                </a:cubicBezTo>
                <a:cubicBezTo>
                  <a:pt x="30" y="147"/>
                  <a:pt x="28" y="151"/>
                  <a:pt x="26" y="155"/>
                </a:cubicBezTo>
                <a:cubicBezTo>
                  <a:pt x="27" y="156"/>
                  <a:pt x="29" y="157"/>
                  <a:pt x="30" y="158"/>
                </a:cubicBezTo>
                <a:cubicBezTo>
                  <a:pt x="38" y="163"/>
                  <a:pt x="42" y="170"/>
                  <a:pt x="39" y="176"/>
                </a:cubicBezTo>
                <a:cubicBezTo>
                  <a:pt x="37" y="182"/>
                  <a:pt x="29" y="184"/>
                  <a:pt x="20" y="183"/>
                </a:cubicBezTo>
                <a:cubicBezTo>
                  <a:pt x="18" y="183"/>
                  <a:pt x="17" y="182"/>
                  <a:pt x="15" y="182"/>
                </a:cubicBezTo>
                <a:cubicBezTo>
                  <a:pt x="14" y="186"/>
                  <a:pt x="12" y="190"/>
                  <a:pt x="11" y="195"/>
                </a:cubicBezTo>
                <a:cubicBezTo>
                  <a:pt x="13" y="195"/>
                  <a:pt x="14" y="196"/>
                  <a:pt x="15" y="196"/>
                </a:cubicBezTo>
                <a:cubicBezTo>
                  <a:pt x="23" y="200"/>
                  <a:pt x="28" y="207"/>
                  <a:pt x="27" y="213"/>
                </a:cubicBezTo>
                <a:cubicBezTo>
                  <a:pt x="26" y="219"/>
                  <a:pt x="18" y="222"/>
                  <a:pt x="9" y="222"/>
                </a:cubicBezTo>
                <a:cubicBezTo>
                  <a:pt x="8" y="222"/>
                  <a:pt x="6" y="222"/>
                  <a:pt x="5" y="222"/>
                </a:cubicBezTo>
                <a:cubicBezTo>
                  <a:pt x="4" y="227"/>
                  <a:pt x="3" y="231"/>
                  <a:pt x="3" y="235"/>
                </a:cubicBezTo>
                <a:cubicBezTo>
                  <a:pt x="4" y="236"/>
                  <a:pt x="6" y="236"/>
                  <a:pt x="7" y="237"/>
                </a:cubicBezTo>
                <a:cubicBezTo>
                  <a:pt x="15" y="239"/>
                  <a:pt x="21" y="245"/>
                  <a:pt x="21" y="251"/>
                </a:cubicBezTo>
                <a:cubicBezTo>
                  <a:pt x="20" y="257"/>
                  <a:pt x="14" y="262"/>
                  <a:pt x="5" y="263"/>
                </a:cubicBezTo>
                <a:cubicBezTo>
                  <a:pt x="4" y="263"/>
                  <a:pt x="2" y="264"/>
                  <a:pt x="0" y="264"/>
                </a:cubicBezTo>
                <a:cubicBezTo>
                  <a:pt x="0" y="268"/>
                  <a:pt x="0" y="273"/>
                  <a:pt x="0" y="277"/>
                </a:cubicBezTo>
                <a:cubicBezTo>
                  <a:pt x="2" y="277"/>
                  <a:pt x="4" y="277"/>
                  <a:pt x="5" y="278"/>
                </a:cubicBezTo>
                <a:cubicBezTo>
                  <a:pt x="14" y="279"/>
                  <a:pt x="20" y="284"/>
                  <a:pt x="20" y="290"/>
                </a:cubicBezTo>
                <a:cubicBezTo>
                  <a:pt x="21" y="296"/>
                  <a:pt x="15" y="301"/>
                  <a:pt x="7" y="304"/>
                </a:cubicBezTo>
                <a:cubicBezTo>
                  <a:pt x="6" y="305"/>
                  <a:pt x="4" y="305"/>
                  <a:pt x="3" y="305"/>
                </a:cubicBezTo>
                <a:cubicBezTo>
                  <a:pt x="3" y="310"/>
                  <a:pt x="4" y="314"/>
                  <a:pt x="5" y="319"/>
                </a:cubicBezTo>
                <a:cubicBezTo>
                  <a:pt x="6" y="318"/>
                  <a:pt x="8" y="318"/>
                  <a:pt x="9" y="318"/>
                </a:cubicBezTo>
                <a:cubicBezTo>
                  <a:pt x="18" y="318"/>
                  <a:pt x="25" y="322"/>
                  <a:pt x="26" y="328"/>
                </a:cubicBezTo>
                <a:cubicBezTo>
                  <a:pt x="28" y="334"/>
                  <a:pt x="23" y="340"/>
                  <a:pt x="16" y="344"/>
                </a:cubicBezTo>
                <a:cubicBezTo>
                  <a:pt x="14" y="345"/>
                  <a:pt x="13" y="345"/>
                  <a:pt x="11" y="346"/>
                </a:cubicBezTo>
                <a:cubicBezTo>
                  <a:pt x="13" y="350"/>
                  <a:pt x="14" y="355"/>
                  <a:pt x="16" y="359"/>
                </a:cubicBezTo>
                <a:cubicBezTo>
                  <a:pt x="17" y="358"/>
                  <a:pt x="19" y="358"/>
                  <a:pt x="20" y="358"/>
                </a:cubicBezTo>
                <a:cubicBezTo>
                  <a:pt x="28" y="357"/>
                  <a:pt x="36" y="359"/>
                  <a:pt x="38" y="365"/>
                </a:cubicBezTo>
                <a:cubicBezTo>
                  <a:pt x="40" y="370"/>
                  <a:pt x="37" y="377"/>
                  <a:pt x="30" y="382"/>
                </a:cubicBezTo>
                <a:cubicBezTo>
                  <a:pt x="29" y="383"/>
                  <a:pt x="28" y="384"/>
                  <a:pt x="26" y="385"/>
                </a:cubicBezTo>
                <a:cubicBezTo>
                  <a:pt x="28" y="389"/>
                  <a:pt x="30" y="393"/>
                  <a:pt x="32" y="397"/>
                </a:cubicBezTo>
                <a:cubicBezTo>
                  <a:pt x="34" y="396"/>
                  <a:pt x="35" y="396"/>
                  <a:pt x="37" y="395"/>
                </a:cubicBezTo>
                <a:cubicBezTo>
                  <a:pt x="45" y="393"/>
                  <a:pt x="52" y="394"/>
                  <a:pt x="55" y="399"/>
                </a:cubicBezTo>
                <a:cubicBezTo>
                  <a:pt x="58" y="404"/>
                  <a:pt x="56" y="412"/>
                  <a:pt x="50" y="418"/>
                </a:cubicBezTo>
                <a:cubicBezTo>
                  <a:pt x="49" y="419"/>
                  <a:pt x="48" y="420"/>
                  <a:pt x="47" y="421"/>
                </a:cubicBezTo>
                <a:cubicBezTo>
                  <a:pt x="49" y="425"/>
                  <a:pt x="52" y="428"/>
                  <a:pt x="55" y="432"/>
                </a:cubicBezTo>
                <a:cubicBezTo>
                  <a:pt x="56" y="431"/>
                  <a:pt x="57" y="430"/>
                  <a:pt x="59" y="430"/>
                </a:cubicBezTo>
                <a:cubicBezTo>
                  <a:pt x="66" y="426"/>
                  <a:pt x="74" y="426"/>
                  <a:pt x="78" y="431"/>
                </a:cubicBezTo>
                <a:cubicBezTo>
                  <a:pt x="82" y="435"/>
                  <a:pt x="81" y="443"/>
                  <a:pt x="76" y="450"/>
                </a:cubicBezTo>
                <a:cubicBezTo>
                  <a:pt x="75" y="451"/>
                  <a:pt x="74" y="452"/>
                  <a:pt x="73" y="454"/>
                </a:cubicBezTo>
                <a:cubicBezTo>
                  <a:pt x="76" y="457"/>
                  <a:pt x="79" y="460"/>
                  <a:pt x="82" y="463"/>
                </a:cubicBezTo>
                <a:cubicBezTo>
                  <a:pt x="83" y="462"/>
                  <a:pt x="85" y="461"/>
                  <a:pt x="86" y="460"/>
                </a:cubicBezTo>
                <a:cubicBezTo>
                  <a:pt x="93" y="456"/>
                  <a:pt x="100" y="454"/>
                  <a:pt x="105" y="458"/>
                </a:cubicBezTo>
                <a:cubicBezTo>
                  <a:pt x="110" y="462"/>
                  <a:pt x="110" y="470"/>
                  <a:pt x="106" y="478"/>
                </a:cubicBezTo>
                <a:cubicBezTo>
                  <a:pt x="105" y="479"/>
                  <a:pt x="104" y="480"/>
                  <a:pt x="104" y="482"/>
                </a:cubicBezTo>
                <a:cubicBezTo>
                  <a:pt x="107" y="484"/>
                  <a:pt x="111" y="487"/>
                  <a:pt x="114" y="490"/>
                </a:cubicBezTo>
                <a:cubicBezTo>
                  <a:pt x="115" y="489"/>
                  <a:pt x="116" y="487"/>
                  <a:pt x="117" y="486"/>
                </a:cubicBezTo>
                <a:cubicBezTo>
                  <a:pt x="123" y="480"/>
                  <a:pt x="131" y="478"/>
                  <a:pt x="136" y="481"/>
                </a:cubicBezTo>
                <a:cubicBezTo>
                  <a:pt x="141" y="484"/>
                  <a:pt x="143" y="492"/>
                  <a:pt x="140" y="501"/>
                </a:cubicBezTo>
                <a:cubicBezTo>
                  <a:pt x="139" y="502"/>
                  <a:pt x="139" y="503"/>
                  <a:pt x="138" y="505"/>
                </a:cubicBezTo>
                <a:cubicBezTo>
                  <a:pt x="142" y="507"/>
                  <a:pt x="146" y="509"/>
                  <a:pt x="150" y="511"/>
                </a:cubicBezTo>
                <a:cubicBezTo>
                  <a:pt x="151" y="510"/>
                  <a:pt x="152" y="508"/>
                  <a:pt x="153" y="507"/>
                </a:cubicBezTo>
                <a:cubicBezTo>
                  <a:pt x="158" y="500"/>
                  <a:pt x="165" y="497"/>
                  <a:pt x="170" y="499"/>
                </a:cubicBezTo>
                <a:cubicBezTo>
                  <a:pt x="176" y="501"/>
                  <a:pt x="179" y="509"/>
                  <a:pt x="177" y="518"/>
                </a:cubicBezTo>
                <a:cubicBezTo>
                  <a:pt x="177" y="519"/>
                  <a:pt x="177" y="521"/>
                  <a:pt x="176" y="522"/>
                </a:cubicBezTo>
                <a:cubicBezTo>
                  <a:pt x="180" y="524"/>
                  <a:pt x="185" y="525"/>
                  <a:pt x="189" y="527"/>
                </a:cubicBezTo>
                <a:cubicBezTo>
                  <a:pt x="189" y="525"/>
                  <a:pt x="190" y="524"/>
                  <a:pt x="191" y="522"/>
                </a:cubicBezTo>
                <a:cubicBezTo>
                  <a:pt x="195" y="515"/>
                  <a:pt x="201" y="510"/>
                  <a:pt x="207" y="511"/>
                </a:cubicBezTo>
                <a:cubicBezTo>
                  <a:pt x="213" y="512"/>
                  <a:pt x="217" y="520"/>
                  <a:pt x="217" y="529"/>
                </a:cubicBezTo>
                <a:cubicBezTo>
                  <a:pt x="217" y="531"/>
                  <a:pt x="217" y="532"/>
                  <a:pt x="216" y="534"/>
                </a:cubicBezTo>
                <a:cubicBezTo>
                  <a:pt x="221" y="535"/>
                  <a:pt x="225" y="535"/>
                  <a:pt x="230" y="536"/>
                </a:cubicBezTo>
                <a:cubicBezTo>
                  <a:pt x="230" y="535"/>
                  <a:pt x="230" y="533"/>
                  <a:pt x="231" y="532"/>
                </a:cubicBezTo>
                <a:cubicBezTo>
                  <a:pt x="233" y="523"/>
                  <a:pt x="239" y="517"/>
                  <a:pt x="245" y="517"/>
                </a:cubicBezTo>
                <a:cubicBezTo>
                  <a:pt x="252" y="518"/>
                  <a:pt x="256" y="525"/>
                  <a:pt x="258" y="534"/>
                </a:cubicBezTo>
                <a:cubicBezTo>
                  <a:pt x="258" y="536"/>
                  <a:pt x="258" y="537"/>
                  <a:pt x="258" y="539"/>
                </a:cubicBezTo>
                <a:cubicBezTo>
                  <a:pt x="262" y="539"/>
                  <a:pt x="267" y="539"/>
                  <a:pt x="271" y="539"/>
                </a:cubicBezTo>
                <a:cubicBezTo>
                  <a:pt x="271" y="538"/>
                  <a:pt x="271" y="536"/>
                  <a:pt x="272" y="535"/>
                </a:cubicBezTo>
                <a:cubicBezTo>
                  <a:pt x="273" y="525"/>
                  <a:pt x="277" y="518"/>
                  <a:pt x="284" y="518"/>
                </a:cubicBezTo>
                <a:cubicBezTo>
                  <a:pt x="290" y="517"/>
                  <a:pt x="296" y="524"/>
                  <a:pt x="299" y="533"/>
                </a:cubicBezTo>
                <a:cubicBezTo>
                  <a:pt x="299" y="534"/>
                  <a:pt x="300" y="536"/>
                  <a:pt x="300" y="537"/>
                </a:cubicBezTo>
                <a:cubicBezTo>
                  <a:pt x="304" y="537"/>
                  <a:pt x="309" y="536"/>
                  <a:pt x="313" y="536"/>
                </a:cubicBezTo>
                <a:cubicBezTo>
                  <a:pt x="313" y="534"/>
                  <a:pt x="313" y="533"/>
                  <a:pt x="313" y="531"/>
                </a:cubicBezTo>
                <a:cubicBezTo>
                  <a:pt x="312" y="521"/>
                  <a:pt x="316" y="513"/>
                  <a:pt x="322" y="512"/>
                </a:cubicBezTo>
                <a:cubicBezTo>
                  <a:pt x="328" y="510"/>
                  <a:pt x="336" y="516"/>
                  <a:pt x="340" y="525"/>
                </a:cubicBezTo>
                <a:cubicBezTo>
                  <a:pt x="340" y="527"/>
                  <a:pt x="341" y="528"/>
                  <a:pt x="341" y="529"/>
                </a:cubicBezTo>
                <a:cubicBezTo>
                  <a:pt x="346" y="528"/>
                  <a:pt x="350" y="527"/>
                  <a:pt x="354" y="526"/>
                </a:cubicBezTo>
                <a:cubicBezTo>
                  <a:pt x="354" y="524"/>
                  <a:pt x="353" y="523"/>
                  <a:pt x="353" y="521"/>
                </a:cubicBezTo>
                <a:cubicBezTo>
                  <a:pt x="350" y="512"/>
                  <a:pt x="353" y="503"/>
                  <a:pt x="359" y="500"/>
                </a:cubicBezTo>
                <a:cubicBezTo>
                  <a:pt x="365" y="497"/>
                  <a:pt x="373" y="502"/>
                  <a:pt x="379" y="511"/>
                </a:cubicBezTo>
                <a:cubicBezTo>
                  <a:pt x="379" y="512"/>
                  <a:pt x="380" y="514"/>
                  <a:pt x="381" y="515"/>
                </a:cubicBezTo>
                <a:cubicBezTo>
                  <a:pt x="385" y="513"/>
                  <a:pt x="389" y="511"/>
                  <a:pt x="393" y="509"/>
                </a:cubicBezTo>
                <a:cubicBezTo>
                  <a:pt x="392" y="508"/>
                  <a:pt x="392" y="507"/>
                  <a:pt x="391" y="505"/>
                </a:cubicBezTo>
                <a:cubicBezTo>
                  <a:pt x="387" y="496"/>
                  <a:pt x="388" y="486"/>
                  <a:pt x="393" y="483"/>
                </a:cubicBezTo>
                <a:cubicBezTo>
                  <a:pt x="400" y="479"/>
                  <a:pt x="411" y="484"/>
                  <a:pt x="418" y="495"/>
                </a:cubicBezTo>
                <a:cubicBezTo>
                  <a:pt x="422" y="492"/>
                  <a:pt x="425" y="490"/>
                  <a:pt x="429" y="487"/>
                </a:cubicBezTo>
                <a:cubicBezTo>
                  <a:pt x="421" y="477"/>
                  <a:pt x="419" y="466"/>
                  <a:pt x="425" y="460"/>
                </a:cubicBezTo>
                <a:cubicBezTo>
                  <a:pt x="431" y="455"/>
                  <a:pt x="442" y="459"/>
                  <a:pt x="451" y="468"/>
                </a:cubicBezTo>
                <a:cubicBezTo>
                  <a:pt x="451" y="469"/>
                  <a:pt x="451" y="469"/>
                  <a:pt x="451" y="469"/>
                </a:cubicBezTo>
                <a:cubicBezTo>
                  <a:pt x="455" y="466"/>
                  <a:pt x="458" y="463"/>
                  <a:pt x="461" y="459"/>
                </a:cubicBezTo>
                <a:cubicBezTo>
                  <a:pt x="461" y="459"/>
                  <a:pt x="461" y="459"/>
                  <a:pt x="461" y="459"/>
                </a:cubicBezTo>
                <a:cubicBezTo>
                  <a:pt x="451" y="451"/>
                  <a:pt x="447" y="439"/>
                  <a:pt x="452" y="433"/>
                </a:cubicBezTo>
                <a:cubicBezTo>
                  <a:pt x="457" y="427"/>
                  <a:pt x="470" y="429"/>
                  <a:pt x="479" y="437"/>
                </a:cubicBezTo>
                <a:cubicBezTo>
                  <a:pt x="480" y="437"/>
                  <a:pt x="480" y="438"/>
                  <a:pt x="480" y="438"/>
                </a:cubicBezTo>
                <a:cubicBezTo>
                  <a:pt x="483" y="434"/>
                  <a:pt x="486" y="431"/>
                  <a:pt x="489" y="427"/>
                </a:cubicBezTo>
                <a:cubicBezTo>
                  <a:pt x="488" y="427"/>
                  <a:pt x="488" y="427"/>
                  <a:pt x="488" y="426"/>
                </a:cubicBezTo>
                <a:cubicBezTo>
                  <a:pt x="477" y="420"/>
                  <a:pt x="471" y="409"/>
                  <a:pt x="475" y="402"/>
                </a:cubicBezTo>
                <a:cubicBezTo>
                  <a:pt x="479" y="395"/>
                  <a:pt x="492" y="395"/>
                  <a:pt x="503" y="402"/>
                </a:cubicBezTo>
                <a:cubicBezTo>
                  <a:pt x="503" y="402"/>
                  <a:pt x="504" y="402"/>
                  <a:pt x="504" y="403"/>
                </a:cubicBezTo>
                <a:cubicBezTo>
                  <a:pt x="507" y="399"/>
                  <a:pt x="509" y="395"/>
                  <a:pt x="511" y="390"/>
                </a:cubicBezTo>
                <a:cubicBezTo>
                  <a:pt x="510" y="390"/>
                  <a:pt x="510" y="390"/>
                  <a:pt x="509" y="390"/>
                </a:cubicBezTo>
                <a:cubicBezTo>
                  <a:pt x="508" y="389"/>
                  <a:pt x="507" y="389"/>
                  <a:pt x="507" y="389"/>
                </a:cubicBezTo>
                <a:cubicBezTo>
                  <a:pt x="507" y="389"/>
                  <a:pt x="507" y="389"/>
                  <a:pt x="507" y="389"/>
                </a:cubicBezTo>
                <a:cubicBezTo>
                  <a:pt x="496" y="383"/>
                  <a:pt x="490" y="375"/>
                  <a:pt x="493" y="368"/>
                </a:cubicBezTo>
                <a:cubicBezTo>
                  <a:pt x="496" y="360"/>
                  <a:pt x="508" y="358"/>
                  <a:pt x="520" y="363"/>
                </a:cubicBezTo>
                <a:cubicBezTo>
                  <a:pt x="521" y="363"/>
                  <a:pt x="521" y="364"/>
                  <a:pt x="522" y="364"/>
                </a:cubicBezTo>
                <a:cubicBezTo>
                  <a:pt x="524" y="360"/>
                  <a:pt x="525" y="355"/>
                  <a:pt x="527" y="351"/>
                </a:cubicBezTo>
                <a:cubicBezTo>
                  <a:pt x="526" y="351"/>
                  <a:pt x="525" y="350"/>
                  <a:pt x="525" y="350"/>
                </a:cubicBezTo>
                <a:cubicBezTo>
                  <a:pt x="524" y="350"/>
                  <a:pt x="523" y="350"/>
                  <a:pt x="522" y="350"/>
                </a:cubicBezTo>
                <a:cubicBezTo>
                  <a:pt x="511" y="346"/>
                  <a:pt x="504" y="338"/>
                  <a:pt x="505" y="331"/>
                </a:cubicBezTo>
                <a:cubicBezTo>
                  <a:pt x="507" y="324"/>
                  <a:pt x="518" y="320"/>
                  <a:pt x="529" y="322"/>
                </a:cubicBezTo>
                <a:cubicBezTo>
                  <a:pt x="529" y="322"/>
                  <a:pt x="529" y="322"/>
                  <a:pt x="529" y="322"/>
                </a:cubicBezTo>
                <a:cubicBezTo>
                  <a:pt x="530" y="322"/>
                  <a:pt x="531" y="322"/>
                  <a:pt x="531" y="322"/>
                </a:cubicBezTo>
                <a:cubicBezTo>
                  <a:pt x="532" y="322"/>
                  <a:pt x="533" y="323"/>
                  <a:pt x="534" y="323"/>
                </a:cubicBezTo>
                <a:cubicBezTo>
                  <a:pt x="535" y="318"/>
                  <a:pt x="536" y="314"/>
                  <a:pt x="536" y="309"/>
                </a:cubicBezTo>
                <a:cubicBezTo>
                  <a:pt x="536" y="309"/>
                  <a:pt x="535" y="309"/>
                  <a:pt x="534" y="309"/>
                </a:cubicBezTo>
                <a:cubicBezTo>
                  <a:pt x="533" y="309"/>
                  <a:pt x="532" y="309"/>
                  <a:pt x="532" y="309"/>
                </a:cubicBezTo>
                <a:cubicBezTo>
                  <a:pt x="532" y="309"/>
                  <a:pt x="532" y="309"/>
                  <a:pt x="532" y="309"/>
                </a:cubicBezTo>
                <a:cubicBezTo>
                  <a:pt x="520" y="307"/>
                  <a:pt x="511" y="300"/>
                  <a:pt x="512" y="293"/>
                </a:cubicBezTo>
                <a:cubicBezTo>
                  <a:pt x="512" y="285"/>
                  <a:pt x="522" y="280"/>
                  <a:pt x="534" y="280"/>
                </a:cubicBezTo>
                <a:cubicBezTo>
                  <a:pt x="534" y="280"/>
                  <a:pt x="534" y="280"/>
                  <a:pt x="534" y="280"/>
                </a:cubicBezTo>
                <a:cubicBezTo>
                  <a:pt x="535" y="280"/>
                  <a:pt x="535" y="280"/>
                  <a:pt x="536" y="280"/>
                </a:cubicBezTo>
                <a:close/>
                <a:moveTo>
                  <a:pt x="447" y="159"/>
                </a:moveTo>
                <a:cubicBezTo>
                  <a:pt x="466" y="190"/>
                  <a:pt x="475" y="224"/>
                  <a:pt x="458" y="235"/>
                </a:cubicBezTo>
                <a:cubicBezTo>
                  <a:pt x="457" y="235"/>
                  <a:pt x="457" y="235"/>
                  <a:pt x="457" y="235"/>
                </a:cubicBezTo>
                <a:cubicBezTo>
                  <a:pt x="448" y="187"/>
                  <a:pt x="421" y="145"/>
                  <a:pt x="382" y="117"/>
                </a:cubicBezTo>
                <a:cubicBezTo>
                  <a:pt x="383" y="116"/>
                  <a:pt x="383" y="116"/>
                  <a:pt x="383" y="116"/>
                </a:cubicBezTo>
                <a:cubicBezTo>
                  <a:pt x="400" y="105"/>
                  <a:pt x="427" y="128"/>
                  <a:pt x="447" y="159"/>
                </a:cubicBezTo>
                <a:close/>
                <a:moveTo>
                  <a:pt x="262" y="61"/>
                </a:moveTo>
                <a:cubicBezTo>
                  <a:pt x="299" y="60"/>
                  <a:pt x="333" y="70"/>
                  <a:pt x="333" y="90"/>
                </a:cubicBezTo>
                <a:cubicBezTo>
                  <a:pt x="333" y="90"/>
                  <a:pt x="333" y="90"/>
                  <a:pt x="333" y="91"/>
                </a:cubicBezTo>
                <a:cubicBezTo>
                  <a:pt x="313" y="84"/>
                  <a:pt x="292" y="80"/>
                  <a:pt x="270" y="80"/>
                </a:cubicBezTo>
                <a:cubicBezTo>
                  <a:pt x="243" y="80"/>
                  <a:pt x="217" y="85"/>
                  <a:pt x="194" y="96"/>
                </a:cubicBezTo>
                <a:cubicBezTo>
                  <a:pt x="194" y="95"/>
                  <a:pt x="193" y="95"/>
                  <a:pt x="193" y="95"/>
                </a:cubicBezTo>
                <a:cubicBezTo>
                  <a:pt x="193" y="75"/>
                  <a:pt x="225" y="63"/>
                  <a:pt x="262" y="61"/>
                </a:cubicBezTo>
                <a:close/>
                <a:moveTo>
                  <a:pt x="86" y="172"/>
                </a:moveTo>
                <a:cubicBezTo>
                  <a:pt x="103" y="139"/>
                  <a:pt x="128" y="115"/>
                  <a:pt x="146" y="125"/>
                </a:cubicBezTo>
                <a:cubicBezTo>
                  <a:pt x="146" y="125"/>
                  <a:pt x="146" y="125"/>
                  <a:pt x="146" y="125"/>
                </a:cubicBezTo>
                <a:cubicBezTo>
                  <a:pt x="111" y="156"/>
                  <a:pt x="86" y="200"/>
                  <a:pt x="81" y="249"/>
                </a:cubicBezTo>
                <a:cubicBezTo>
                  <a:pt x="81" y="249"/>
                  <a:pt x="80" y="249"/>
                  <a:pt x="80" y="248"/>
                </a:cubicBezTo>
                <a:cubicBezTo>
                  <a:pt x="62" y="239"/>
                  <a:pt x="68" y="205"/>
                  <a:pt x="86" y="172"/>
                </a:cubicBezTo>
                <a:close/>
                <a:moveTo>
                  <a:pt x="93" y="381"/>
                </a:moveTo>
                <a:cubicBezTo>
                  <a:pt x="74" y="349"/>
                  <a:pt x="65" y="316"/>
                  <a:pt x="82" y="305"/>
                </a:cubicBezTo>
                <a:cubicBezTo>
                  <a:pt x="83" y="305"/>
                  <a:pt x="83" y="305"/>
                  <a:pt x="83" y="304"/>
                </a:cubicBezTo>
                <a:cubicBezTo>
                  <a:pt x="92" y="353"/>
                  <a:pt x="119" y="395"/>
                  <a:pt x="158" y="423"/>
                </a:cubicBezTo>
                <a:cubicBezTo>
                  <a:pt x="157" y="423"/>
                  <a:pt x="157" y="423"/>
                  <a:pt x="157" y="423"/>
                </a:cubicBezTo>
                <a:cubicBezTo>
                  <a:pt x="140" y="434"/>
                  <a:pt x="113" y="412"/>
                  <a:pt x="93" y="381"/>
                </a:cubicBezTo>
                <a:close/>
                <a:moveTo>
                  <a:pt x="278" y="478"/>
                </a:moveTo>
                <a:cubicBezTo>
                  <a:pt x="241" y="479"/>
                  <a:pt x="207" y="470"/>
                  <a:pt x="207" y="450"/>
                </a:cubicBezTo>
                <a:cubicBezTo>
                  <a:pt x="207" y="449"/>
                  <a:pt x="207" y="449"/>
                  <a:pt x="207" y="449"/>
                </a:cubicBezTo>
                <a:cubicBezTo>
                  <a:pt x="226" y="456"/>
                  <a:pt x="248" y="460"/>
                  <a:pt x="270" y="460"/>
                </a:cubicBezTo>
                <a:cubicBezTo>
                  <a:pt x="297" y="460"/>
                  <a:pt x="323" y="454"/>
                  <a:pt x="346" y="444"/>
                </a:cubicBezTo>
                <a:cubicBezTo>
                  <a:pt x="346" y="444"/>
                  <a:pt x="346" y="444"/>
                  <a:pt x="346" y="445"/>
                </a:cubicBezTo>
                <a:cubicBezTo>
                  <a:pt x="347" y="465"/>
                  <a:pt x="315" y="477"/>
                  <a:pt x="278" y="478"/>
                </a:cubicBezTo>
                <a:close/>
                <a:moveTo>
                  <a:pt x="454" y="367"/>
                </a:moveTo>
                <a:cubicBezTo>
                  <a:pt x="437" y="400"/>
                  <a:pt x="412" y="424"/>
                  <a:pt x="394" y="415"/>
                </a:cubicBezTo>
                <a:cubicBezTo>
                  <a:pt x="394" y="414"/>
                  <a:pt x="394" y="414"/>
                  <a:pt x="393" y="414"/>
                </a:cubicBezTo>
                <a:cubicBezTo>
                  <a:pt x="429" y="383"/>
                  <a:pt x="453" y="340"/>
                  <a:pt x="459" y="291"/>
                </a:cubicBezTo>
                <a:cubicBezTo>
                  <a:pt x="459" y="291"/>
                  <a:pt x="459" y="291"/>
                  <a:pt x="460" y="291"/>
                </a:cubicBezTo>
                <a:cubicBezTo>
                  <a:pt x="477" y="300"/>
                  <a:pt x="472" y="335"/>
                  <a:pt x="454" y="36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" name="Freeform 9"/>
          <p:cNvSpPr>
            <a:spLocks noEditPoints="1"/>
          </p:cNvSpPr>
          <p:nvPr/>
        </p:nvSpPr>
        <p:spPr bwMode="auto">
          <a:xfrm>
            <a:off x="1436560" y="5369070"/>
            <a:ext cx="3657600" cy="3657600"/>
          </a:xfrm>
          <a:custGeom>
            <a:avLst/>
            <a:gdLst>
              <a:gd name="T0" fmla="*/ 396 w 402"/>
              <a:gd name="T1" fmla="*/ 256 h 404"/>
              <a:gd name="T2" fmla="*/ 384 w 402"/>
              <a:gd name="T3" fmla="*/ 226 h 404"/>
              <a:gd name="T4" fmla="*/ 385 w 402"/>
              <a:gd name="T5" fmla="*/ 209 h 404"/>
              <a:gd name="T6" fmla="*/ 402 w 402"/>
              <a:gd name="T7" fmla="*/ 182 h 404"/>
              <a:gd name="T8" fmla="*/ 380 w 402"/>
              <a:gd name="T9" fmla="*/ 159 h 404"/>
              <a:gd name="T10" fmla="*/ 375 w 402"/>
              <a:gd name="T11" fmla="*/ 142 h 404"/>
              <a:gd name="T12" fmla="*/ 381 w 402"/>
              <a:gd name="T13" fmla="*/ 111 h 404"/>
              <a:gd name="T14" fmla="*/ 353 w 402"/>
              <a:gd name="T15" fmla="*/ 97 h 404"/>
              <a:gd name="T16" fmla="*/ 342 w 402"/>
              <a:gd name="T17" fmla="*/ 83 h 404"/>
              <a:gd name="T18" fmla="*/ 336 w 402"/>
              <a:gd name="T19" fmla="*/ 52 h 404"/>
              <a:gd name="T20" fmla="*/ 304 w 402"/>
              <a:gd name="T21" fmla="*/ 49 h 404"/>
              <a:gd name="T22" fmla="*/ 290 w 402"/>
              <a:gd name="T23" fmla="*/ 40 h 404"/>
              <a:gd name="T24" fmla="*/ 273 w 402"/>
              <a:gd name="T25" fmla="*/ 13 h 404"/>
              <a:gd name="T26" fmla="*/ 242 w 402"/>
              <a:gd name="T27" fmla="*/ 22 h 404"/>
              <a:gd name="T28" fmla="*/ 225 w 402"/>
              <a:gd name="T29" fmla="*/ 19 h 404"/>
              <a:gd name="T30" fmla="*/ 200 w 402"/>
              <a:gd name="T31" fmla="*/ 0 h 404"/>
              <a:gd name="T32" fmla="*/ 175 w 402"/>
              <a:gd name="T33" fmla="*/ 19 h 404"/>
              <a:gd name="T34" fmla="*/ 158 w 402"/>
              <a:gd name="T35" fmla="*/ 23 h 404"/>
              <a:gd name="T36" fmla="*/ 127 w 402"/>
              <a:gd name="T37" fmla="*/ 14 h 404"/>
              <a:gd name="T38" fmla="*/ 111 w 402"/>
              <a:gd name="T39" fmla="*/ 41 h 404"/>
              <a:gd name="T40" fmla="*/ 96 w 402"/>
              <a:gd name="T41" fmla="*/ 50 h 404"/>
              <a:gd name="T42" fmla="*/ 64 w 402"/>
              <a:gd name="T43" fmla="*/ 53 h 404"/>
              <a:gd name="T44" fmla="*/ 59 w 402"/>
              <a:gd name="T45" fmla="*/ 85 h 404"/>
              <a:gd name="T46" fmla="*/ 49 w 402"/>
              <a:gd name="T47" fmla="*/ 99 h 404"/>
              <a:gd name="T48" fmla="*/ 20 w 402"/>
              <a:gd name="T49" fmla="*/ 113 h 404"/>
              <a:gd name="T50" fmla="*/ 26 w 402"/>
              <a:gd name="T51" fmla="*/ 144 h 404"/>
              <a:gd name="T52" fmla="*/ 22 w 402"/>
              <a:gd name="T53" fmla="*/ 161 h 404"/>
              <a:gd name="T54" fmla="*/ 0 w 402"/>
              <a:gd name="T55" fmla="*/ 184 h 404"/>
              <a:gd name="T56" fmla="*/ 17 w 402"/>
              <a:gd name="T57" fmla="*/ 211 h 404"/>
              <a:gd name="T58" fmla="*/ 19 w 402"/>
              <a:gd name="T59" fmla="*/ 228 h 404"/>
              <a:gd name="T60" fmla="*/ 7 w 402"/>
              <a:gd name="T61" fmla="*/ 258 h 404"/>
              <a:gd name="T62" fmla="*/ 33 w 402"/>
              <a:gd name="T63" fmla="*/ 277 h 404"/>
              <a:gd name="T64" fmla="*/ 41 w 402"/>
              <a:gd name="T65" fmla="*/ 292 h 404"/>
              <a:gd name="T66" fmla="*/ 41 w 402"/>
              <a:gd name="T67" fmla="*/ 324 h 404"/>
              <a:gd name="T68" fmla="*/ 72 w 402"/>
              <a:gd name="T69" fmla="*/ 332 h 404"/>
              <a:gd name="T70" fmla="*/ 85 w 402"/>
              <a:gd name="T71" fmla="*/ 344 h 404"/>
              <a:gd name="T72" fmla="*/ 96 w 402"/>
              <a:gd name="T73" fmla="*/ 374 h 404"/>
              <a:gd name="T74" fmla="*/ 128 w 402"/>
              <a:gd name="T75" fmla="*/ 370 h 404"/>
              <a:gd name="T76" fmla="*/ 144 w 402"/>
              <a:gd name="T77" fmla="*/ 377 h 404"/>
              <a:gd name="T78" fmla="*/ 165 w 402"/>
              <a:gd name="T79" fmla="*/ 400 h 404"/>
              <a:gd name="T80" fmla="*/ 194 w 402"/>
              <a:gd name="T81" fmla="*/ 386 h 404"/>
              <a:gd name="T82" fmla="*/ 211 w 402"/>
              <a:gd name="T83" fmla="*/ 385 h 404"/>
              <a:gd name="T84" fmla="*/ 239 w 402"/>
              <a:gd name="T85" fmla="*/ 400 h 404"/>
              <a:gd name="T86" fmla="*/ 261 w 402"/>
              <a:gd name="T87" fmla="*/ 376 h 404"/>
              <a:gd name="T88" fmla="*/ 277 w 402"/>
              <a:gd name="T89" fmla="*/ 370 h 404"/>
              <a:gd name="T90" fmla="*/ 309 w 402"/>
              <a:gd name="T91" fmla="*/ 373 h 404"/>
              <a:gd name="T92" fmla="*/ 320 w 402"/>
              <a:gd name="T93" fmla="*/ 343 h 404"/>
              <a:gd name="T94" fmla="*/ 332 w 402"/>
              <a:gd name="T95" fmla="*/ 331 h 404"/>
              <a:gd name="T96" fmla="*/ 363 w 402"/>
              <a:gd name="T97" fmla="*/ 322 h 404"/>
              <a:gd name="T98" fmla="*/ 363 w 402"/>
              <a:gd name="T99" fmla="*/ 290 h 404"/>
              <a:gd name="T100" fmla="*/ 370 w 402"/>
              <a:gd name="T101" fmla="*/ 275 h 404"/>
              <a:gd name="T102" fmla="*/ 57 w 402"/>
              <a:gd name="T103" fmla="*/ 254 h 404"/>
              <a:gd name="T104" fmla="*/ 202 w 402"/>
              <a:gd name="T105" fmla="*/ 48 h 404"/>
              <a:gd name="T106" fmla="*/ 201 w 402"/>
              <a:gd name="T107" fmla="*/ 62 h 404"/>
              <a:gd name="T108" fmla="*/ 74 w 402"/>
              <a:gd name="T109" fmla="*/ 261 h 404"/>
              <a:gd name="T110" fmla="*/ 337 w 402"/>
              <a:gd name="T111" fmla="*/ 272 h 404"/>
              <a:gd name="T112" fmla="*/ 97 w 402"/>
              <a:gd name="T113" fmla="*/ 314 h 404"/>
              <a:gd name="T114" fmla="*/ 201 w 402"/>
              <a:gd name="T115" fmla="*/ 342 h 404"/>
              <a:gd name="T116" fmla="*/ 337 w 402"/>
              <a:gd name="T117" fmla="*/ 272 h 404"/>
              <a:gd name="T118" fmla="*/ 341 w 402"/>
              <a:gd name="T119" fmla="*/ 202 h 404"/>
              <a:gd name="T120" fmla="*/ 272 w 402"/>
              <a:gd name="T121" fmla="*/ 65 h 404"/>
              <a:gd name="T122" fmla="*/ 355 w 402"/>
              <a:gd name="T123" fmla="*/ 202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2" h="404">
                <a:moveTo>
                  <a:pt x="376" y="259"/>
                </a:moveTo>
                <a:cubicBezTo>
                  <a:pt x="396" y="256"/>
                  <a:pt x="396" y="256"/>
                  <a:pt x="396" y="256"/>
                </a:cubicBezTo>
                <a:cubicBezTo>
                  <a:pt x="381" y="243"/>
                  <a:pt x="381" y="243"/>
                  <a:pt x="381" y="243"/>
                </a:cubicBezTo>
                <a:cubicBezTo>
                  <a:pt x="375" y="238"/>
                  <a:pt x="377" y="229"/>
                  <a:pt x="384" y="226"/>
                </a:cubicBezTo>
                <a:cubicBezTo>
                  <a:pt x="402" y="219"/>
                  <a:pt x="402" y="219"/>
                  <a:pt x="402" y="219"/>
                </a:cubicBezTo>
                <a:cubicBezTo>
                  <a:pt x="385" y="209"/>
                  <a:pt x="385" y="209"/>
                  <a:pt x="385" y="209"/>
                </a:cubicBezTo>
                <a:cubicBezTo>
                  <a:pt x="379" y="205"/>
                  <a:pt x="379" y="196"/>
                  <a:pt x="385" y="192"/>
                </a:cubicBezTo>
                <a:cubicBezTo>
                  <a:pt x="402" y="182"/>
                  <a:pt x="402" y="182"/>
                  <a:pt x="402" y="182"/>
                </a:cubicBezTo>
                <a:cubicBezTo>
                  <a:pt x="383" y="175"/>
                  <a:pt x="383" y="175"/>
                  <a:pt x="383" y="175"/>
                </a:cubicBezTo>
                <a:cubicBezTo>
                  <a:pt x="376" y="172"/>
                  <a:pt x="375" y="163"/>
                  <a:pt x="380" y="159"/>
                </a:cubicBezTo>
                <a:cubicBezTo>
                  <a:pt x="395" y="145"/>
                  <a:pt x="395" y="145"/>
                  <a:pt x="395" y="145"/>
                </a:cubicBezTo>
                <a:cubicBezTo>
                  <a:pt x="375" y="142"/>
                  <a:pt x="375" y="142"/>
                  <a:pt x="375" y="142"/>
                </a:cubicBezTo>
                <a:cubicBezTo>
                  <a:pt x="368" y="141"/>
                  <a:pt x="365" y="132"/>
                  <a:pt x="369" y="126"/>
                </a:cubicBezTo>
                <a:cubicBezTo>
                  <a:pt x="381" y="111"/>
                  <a:pt x="381" y="111"/>
                  <a:pt x="381" y="111"/>
                </a:cubicBezTo>
                <a:cubicBezTo>
                  <a:pt x="361" y="111"/>
                  <a:pt x="361" y="111"/>
                  <a:pt x="361" y="111"/>
                </a:cubicBezTo>
                <a:cubicBezTo>
                  <a:pt x="354" y="111"/>
                  <a:pt x="349" y="103"/>
                  <a:pt x="353" y="97"/>
                </a:cubicBezTo>
                <a:cubicBezTo>
                  <a:pt x="362" y="79"/>
                  <a:pt x="362" y="79"/>
                  <a:pt x="362" y="79"/>
                </a:cubicBezTo>
                <a:cubicBezTo>
                  <a:pt x="342" y="83"/>
                  <a:pt x="342" y="83"/>
                  <a:pt x="342" y="83"/>
                </a:cubicBezTo>
                <a:cubicBezTo>
                  <a:pt x="335" y="85"/>
                  <a:pt x="329" y="78"/>
                  <a:pt x="331" y="71"/>
                </a:cubicBezTo>
                <a:cubicBezTo>
                  <a:pt x="336" y="52"/>
                  <a:pt x="336" y="52"/>
                  <a:pt x="336" y="52"/>
                </a:cubicBezTo>
                <a:cubicBezTo>
                  <a:pt x="318" y="59"/>
                  <a:pt x="318" y="59"/>
                  <a:pt x="318" y="59"/>
                </a:cubicBezTo>
                <a:cubicBezTo>
                  <a:pt x="311" y="62"/>
                  <a:pt x="304" y="56"/>
                  <a:pt x="304" y="49"/>
                </a:cubicBezTo>
                <a:cubicBezTo>
                  <a:pt x="306" y="29"/>
                  <a:pt x="306" y="29"/>
                  <a:pt x="306" y="29"/>
                </a:cubicBezTo>
                <a:cubicBezTo>
                  <a:pt x="290" y="40"/>
                  <a:pt x="290" y="40"/>
                  <a:pt x="290" y="40"/>
                </a:cubicBezTo>
                <a:cubicBezTo>
                  <a:pt x="284" y="44"/>
                  <a:pt x="275" y="40"/>
                  <a:pt x="275" y="33"/>
                </a:cubicBezTo>
                <a:cubicBezTo>
                  <a:pt x="273" y="13"/>
                  <a:pt x="273" y="13"/>
                  <a:pt x="273" y="13"/>
                </a:cubicBezTo>
                <a:cubicBezTo>
                  <a:pt x="259" y="27"/>
                  <a:pt x="259" y="27"/>
                  <a:pt x="259" y="27"/>
                </a:cubicBezTo>
                <a:cubicBezTo>
                  <a:pt x="253" y="32"/>
                  <a:pt x="244" y="29"/>
                  <a:pt x="242" y="22"/>
                </a:cubicBezTo>
                <a:cubicBezTo>
                  <a:pt x="237" y="3"/>
                  <a:pt x="237" y="3"/>
                  <a:pt x="237" y="3"/>
                </a:cubicBezTo>
                <a:cubicBezTo>
                  <a:pt x="225" y="19"/>
                  <a:pt x="225" y="19"/>
                  <a:pt x="225" y="19"/>
                </a:cubicBezTo>
                <a:cubicBezTo>
                  <a:pt x="221" y="25"/>
                  <a:pt x="212" y="24"/>
                  <a:pt x="209" y="18"/>
                </a:cubicBezTo>
                <a:cubicBezTo>
                  <a:pt x="200" y="0"/>
                  <a:pt x="200" y="0"/>
                  <a:pt x="200" y="0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88" y="24"/>
                  <a:pt x="179" y="25"/>
                  <a:pt x="175" y="19"/>
                </a:cubicBezTo>
                <a:cubicBezTo>
                  <a:pt x="163" y="3"/>
                  <a:pt x="163" y="3"/>
                  <a:pt x="163" y="3"/>
                </a:cubicBezTo>
                <a:cubicBezTo>
                  <a:pt x="158" y="23"/>
                  <a:pt x="158" y="23"/>
                  <a:pt x="158" y="23"/>
                </a:cubicBezTo>
                <a:cubicBezTo>
                  <a:pt x="156" y="30"/>
                  <a:pt x="147" y="32"/>
                  <a:pt x="142" y="27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6" y="34"/>
                  <a:pt x="126" y="34"/>
                  <a:pt x="126" y="34"/>
                </a:cubicBezTo>
                <a:cubicBezTo>
                  <a:pt x="125" y="41"/>
                  <a:pt x="117" y="45"/>
                  <a:pt x="111" y="41"/>
                </a:cubicBezTo>
                <a:cubicBezTo>
                  <a:pt x="94" y="31"/>
                  <a:pt x="94" y="31"/>
                  <a:pt x="94" y="31"/>
                </a:cubicBezTo>
                <a:cubicBezTo>
                  <a:pt x="96" y="50"/>
                  <a:pt x="96" y="50"/>
                  <a:pt x="96" y="50"/>
                </a:cubicBezTo>
                <a:cubicBezTo>
                  <a:pt x="97" y="58"/>
                  <a:pt x="90" y="63"/>
                  <a:pt x="83" y="61"/>
                </a:cubicBezTo>
                <a:cubicBezTo>
                  <a:pt x="64" y="53"/>
                  <a:pt x="64" y="53"/>
                  <a:pt x="64" y="53"/>
                </a:cubicBezTo>
                <a:cubicBezTo>
                  <a:pt x="70" y="72"/>
                  <a:pt x="70" y="72"/>
                  <a:pt x="70" y="72"/>
                </a:cubicBezTo>
                <a:cubicBezTo>
                  <a:pt x="72" y="79"/>
                  <a:pt x="66" y="86"/>
                  <a:pt x="59" y="85"/>
                </a:cubicBezTo>
                <a:cubicBezTo>
                  <a:pt x="39" y="81"/>
                  <a:pt x="39" y="81"/>
                  <a:pt x="39" y="81"/>
                </a:cubicBezTo>
                <a:cubicBezTo>
                  <a:pt x="49" y="99"/>
                  <a:pt x="49" y="99"/>
                  <a:pt x="49" y="99"/>
                </a:cubicBezTo>
                <a:cubicBezTo>
                  <a:pt x="52" y="105"/>
                  <a:pt x="47" y="113"/>
                  <a:pt x="40" y="113"/>
                </a:cubicBezTo>
                <a:cubicBezTo>
                  <a:pt x="20" y="113"/>
                  <a:pt x="20" y="113"/>
                  <a:pt x="20" y="113"/>
                </a:cubicBezTo>
                <a:cubicBezTo>
                  <a:pt x="32" y="128"/>
                  <a:pt x="32" y="128"/>
                  <a:pt x="32" y="128"/>
                </a:cubicBezTo>
                <a:cubicBezTo>
                  <a:pt x="37" y="134"/>
                  <a:pt x="34" y="143"/>
                  <a:pt x="26" y="144"/>
                </a:cubicBezTo>
                <a:cubicBezTo>
                  <a:pt x="7" y="148"/>
                  <a:pt x="7" y="148"/>
                  <a:pt x="7" y="148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7" y="166"/>
                  <a:pt x="26" y="175"/>
                  <a:pt x="19" y="177"/>
                </a:cubicBezTo>
                <a:cubicBezTo>
                  <a:pt x="0" y="184"/>
                  <a:pt x="0" y="184"/>
                  <a:pt x="0" y="184"/>
                </a:cubicBezTo>
                <a:cubicBezTo>
                  <a:pt x="17" y="194"/>
                  <a:pt x="17" y="194"/>
                  <a:pt x="17" y="194"/>
                </a:cubicBezTo>
                <a:cubicBezTo>
                  <a:pt x="24" y="198"/>
                  <a:pt x="24" y="207"/>
                  <a:pt x="17" y="211"/>
                </a:cubicBezTo>
                <a:cubicBezTo>
                  <a:pt x="0" y="221"/>
                  <a:pt x="0" y="221"/>
                  <a:pt x="0" y="221"/>
                </a:cubicBezTo>
                <a:cubicBezTo>
                  <a:pt x="19" y="228"/>
                  <a:pt x="19" y="228"/>
                  <a:pt x="19" y="228"/>
                </a:cubicBezTo>
                <a:cubicBezTo>
                  <a:pt x="26" y="231"/>
                  <a:pt x="28" y="240"/>
                  <a:pt x="22" y="245"/>
                </a:cubicBezTo>
                <a:cubicBezTo>
                  <a:pt x="7" y="258"/>
                  <a:pt x="7" y="258"/>
                  <a:pt x="7" y="258"/>
                </a:cubicBezTo>
                <a:cubicBezTo>
                  <a:pt x="27" y="261"/>
                  <a:pt x="27" y="261"/>
                  <a:pt x="27" y="261"/>
                </a:cubicBezTo>
                <a:cubicBezTo>
                  <a:pt x="34" y="263"/>
                  <a:pt x="38" y="271"/>
                  <a:pt x="33" y="277"/>
                </a:cubicBezTo>
                <a:cubicBezTo>
                  <a:pt x="21" y="293"/>
                  <a:pt x="21" y="293"/>
                  <a:pt x="21" y="293"/>
                </a:cubicBezTo>
                <a:cubicBezTo>
                  <a:pt x="41" y="292"/>
                  <a:pt x="41" y="292"/>
                  <a:pt x="41" y="292"/>
                </a:cubicBezTo>
                <a:cubicBezTo>
                  <a:pt x="48" y="292"/>
                  <a:pt x="53" y="300"/>
                  <a:pt x="50" y="306"/>
                </a:cubicBezTo>
                <a:cubicBezTo>
                  <a:pt x="41" y="324"/>
                  <a:pt x="41" y="324"/>
                  <a:pt x="41" y="324"/>
                </a:cubicBezTo>
                <a:cubicBezTo>
                  <a:pt x="60" y="320"/>
                  <a:pt x="60" y="320"/>
                  <a:pt x="60" y="320"/>
                </a:cubicBezTo>
                <a:cubicBezTo>
                  <a:pt x="68" y="319"/>
                  <a:pt x="74" y="325"/>
                  <a:pt x="72" y="332"/>
                </a:cubicBezTo>
                <a:cubicBezTo>
                  <a:pt x="66" y="352"/>
                  <a:pt x="66" y="352"/>
                  <a:pt x="66" y="352"/>
                </a:cubicBezTo>
                <a:cubicBezTo>
                  <a:pt x="85" y="344"/>
                  <a:pt x="85" y="344"/>
                  <a:pt x="85" y="344"/>
                </a:cubicBezTo>
                <a:cubicBezTo>
                  <a:pt x="91" y="341"/>
                  <a:pt x="99" y="347"/>
                  <a:pt x="98" y="354"/>
                </a:cubicBezTo>
                <a:cubicBezTo>
                  <a:pt x="96" y="374"/>
                  <a:pt x="96" y="374"/>
                  <a:pt x="96" y="374"/>
                </a:cubicBezTo>
                <a:cubicBezTo>
                  <a:pt x="113" y="363"/>
                  <a:pt x="113" y="363"/>
                  <a:pt x="113" y="363"/>
                </a:cubicBezTo>
                <a:cubicBezTo>
                  <a:pt x="119" y="359"/>
                  <a:pt x="127" y="363"/>
                  <a:pt x="128" y="370"/>
                </a:cubicBezTo>
                <a:cubicBezTo>
                  <a:pt x="129" y="390"/>
                  <a:pt x="129" y="390"/>
                  <a:pt x="129" y="390"/>
                </a:cubicBezTo>
                <a:cubicBezTo>
                  <a:pt x="144" y="377"/>
                  <a:pt x="144" y="377"/>
                  <a:pt x="144" y="377"/>
                </a:cubicBezTo>
                <a:cubicBezTo>
                  <a:pt x="149" y="372"/>
                  <a:pt x="158" y="374"/>
                  <a:pt x="160" y="381"/>
                </a:cubicBezTo>
                <a:cubicBezTo>
                  <a:pt x="165" y="400"/>
                  <a:pt x="165" y="400"/>
                  <a:pt x="165" y="400"/>
                </a:cubicBezTo>
                <a:cubicBezTo>
                  <a:pt x="177" y="384"/>
                  <a:pt x="177" y="384"/>
                  <a:pt x="177" y="384"/>
                </a:cubicBezTo>
                <a:cubicBezTo>
                  <a:pt x="181" y="378"/>
                  <a:pt x="190" y="379"/>
                  <a:pt x="194" y="386"/>
                </a:cubicBezTo>
                <a:cubicBezTo>
                  <a:pt x="202" y="404"/>
                  <a:pt x="202" y="404"/>
                  <a:pt x="202" y="404"/>
                </a:cubicBezTo>
                <a:cubicBezTo>
                  <a:pt x="211" y="385"/>
                  <a:pt x="211" y="385"/>
                  <a:pt x="211" y="385"/>
                </a:cubicBezTo>
                <a:cubicBezTo>
                  <a:pt x="214" y="379"/>
                  <a:pt x="223" y="378"/>
                  <a:pt x="228" y="384"/>
                </a:cubicBezTo>
                <a:cubicBezTo>
                  <a:pt x="239" y="400"/>
                  <a:pt x="239" y="400"/>
                  <a:pt x="239" y="400"/>
                </a:cubicBezTo>
                <a:cubicBezTo>
                  <a:pt x="245" y="381"/>
                  <a:pt x="245" y="381"/>
                  <a:pt x="245" y="381"/>
                </a:cubicBezTo>
                <a:cubicBezTo>
                  <a:pt x="246" y="373"/>
                  <a:pt x="255" y="371"/>
                  <a:pt x="261" y="376"/>
                </a:cubicBezTo>
                <a:cubicBezTo>
                  <a:pt x="275" y="389"/>
                  <a:pt x="275" y="389"/>
                  <a:pt x="275" y="389"/>
                </a:cubicBezTo>
                <a:cubicBezTo>
                  <a:pt x="277" y="370"/>
                  <a:pt x="277" y="370"/>
                  <a:pt x="277" y="370"/>
                </a:cubicBezTo>
                <a:cubicBezTo>
                  <a:pt x="277" y="362"/>
                  <a:pt x="285" y="358"/>
                  <a:pt x="292" y="362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6" y="353"/>
                  <a:pt x="306" y="353"/>
                  <a:pt x="306" y="353"/>
                </a:cubicBezTo>
                <a:cubicBezTo>
                  <a:pt x="305" y="345"/>
                  <a:pt x="313" y="340"/>
                  <a:pt x="320" y="343"/>
                </a:cubicBezTo>
                <a:cubicBezTo>
                  <a:pt x="338" y="350"/>
                  <a:pt x="338" y="350"/>
                  <a:pt x="338" y="350"/>
                </a:cubicBezTo>
                <a:cubicBezTo>
                  <a:pt x="332" y="331"/>
                  <a:pt x="332" y="331"/>
                  <a:pt x="332" y="331"/>
                </a:cubicBezTo>
                <a:cubicBezTo>
                  <a:pt x="330" y="324"/>
                  <a:pt x="336" y="317"/>
                  <a:pt x="343" y="319"/>
                </a:cubicBezTo>
                <a:cubicBezTo>
                  <a:pt x="363" y="322"/>
                  <a:pt x="363" y="322"/>
                  <a:pt x="363" y="322"/>
                </a:cubicBezTo>
                <a:cubicBezTo>
                  <a:pt x="354" y="305"/>
                  <a:pt x="354" y="305"/>
                  <a:pt x="354" y="305"/>
                </a:cubicBezTo>
                <a:cubicBezTo>
                  <a:pt x="350" y="298"/>
                  <a:pt x="355" y="290"/>
                  <a:pt x="363" y="290"/>
                </a:cubicBezTo>
                <a:cubicBezTo>
                  <a:pt x="383" y="291"/>
                  <a:pt x="383" y="291"/>
                  <a:pt x="383" y="291"/>
                </a:cubicBezTo>
                <a:cubicBezTo>
                  <a:pt x="370" y="275"/>
                  <a:pt x="370" y="275"/>
                  <a:pt x="370" y="275"/>
                </a:cubicBezTo>
                <a:cubicBezTo>
                  <a:pt x="366" y="269"/>
                  <a:pt x="369" y="261"/>
                  <a:pt x="376" y="259"/>
                </a:cubicBezTo>
                <a:close/>
                <a:moveTo>
                  <a:pt x="57" y="254"/>
                </a:moveTo>
                <a:cubicBezTo>
                  <a:pt x="33" y="187"/>
                  <a:pt x="57" y="111"/>
                  <a:pt x="120" y="72"/>
                </a:cubicBezTo>
                <a:cubicBezTo>
                  <a:pt x="145" y="56"/>
                  <a:pt x="174" y="48"/>
                  <a:pt x="202" y="48"/>
                </a:cubicBezTo>
                <a:cubicBezTo>
                  <a:pt x="209" y="48"/>
                  <a:pt x="215" y="55"/>
                  <a:pt x="214" y="62"/>
                </a:cubicBezTo>
                <a:cubicBezTo>
                  <a:pt x="210" y="62"/>
                  <a:pt x="206" y="62"/>
                  <a:pt x="201" y="62"/>
                </a:cubicBezTo>
                <a:cubicBezTo>
                  <a:pt x="124" y="62"/>
                  <a:pt x="61" y="124"/>
                  <a:pt x="61" y="202"/>
                </a:cubicBezTo>
                <a:cubicBezTo>
                  <a:pt x="61" y="223"/>
                  <a:pt x="66" y="243"/>
                  <a:pt x="74" y="261"/>
                </a:cubicBezTo>
                <a:cubicBezTo>
                  <a:pt x="68" y="264"/>
                  <a:pt x="59" y="261"/>
                  <a:pt x="57" y="254"/>
                </a:cubicBezTo>
                <a:close/>
                <a:moveTo>
                  <a:pt x="337" y="272"/>
                </a:moveTo>
                <a:cubicBezTo>
                  <a:pt x="325" y="296"/>
                  <a:pt x="307" y="317"/>
                  <a:pt x="283" y="332"/>
                </a:cubicBezTo>
                <a:cubicBezTo>
                  <a:pt x="223" y="369"/>
                  <a:pt x="146" y="360"/>
                  <a:pt x="97" y="314"/>
                </a:cubicBezTo>
                <a:cubicBezTo>
                  <a:pt x="91" y="309"/>
                  <a:pt x="91" y="300"/>
                  <a:pt x="97" y="295"/>
                </a:cubicBezTo>
                <a:cubicBezTo>
                  <a:pt x="123" y="324"/>
                  <a:pt x="160" y="342"/>
                  <a:pt x="201" y="342"/>
                </a:cubicBezTo>
                <a:cubicBezTo>
                  <a:pt x="260" y="342"/>
                  <a:pt x="310" y="306"/>
                  <a:pt x="331" y="255"/>
                </a:cubicBezTo>
                <a:cubicBezTo>
                  <a:pt x="338" y="257"/>
                  <a:pt x="341" y="266"/>
                  <a:pt x="337" y="272"/>
                </a:cubicBezTo>
                <a:close/>
                <a:moveTo>
                  <a:pt x="340" y="215"/>
                </a:moveTo>
                <a:cubicBezTo>
                  <a:pt x="341" y="210"/>
                  <a:pt x="341" y="206"/>
                  <a:pt x="341" y="202"/>
                </a:cubicBezTo>
                <a:cubicBezTo>
                  <a:pt x="341" y="143"/>
                  <a:pt x="305" y="93"/>
                  <a:pt x="254" y="72"/>
                </a:cubicBezTo>
                <a:cubicBezTo>
                  <a:pt x="257" y="65"/>
                  <a:pt x="265" y="62"/>
                  <a:pt x="272" y="65"/>
                </a:cubicBezTo>
                <a:cubicBezTo>
                  <a:pt x="296" y="78"/>
                  <a:pt x="316" y="96"/>
                  <a:pt x="331" y="120"/>
                </a:cubicBezTo>
                <a:cubicBezTo>
                  <a:pt x="347" y="146"/>
                  <a:pt x="355" y="174"/>
                  <a:pt x="355" y="202"/>
                </a:cubicBezTo>
                <a:cubicBezTo>
                  <a:pt x="355" y="210"/>
                  <a:pt x="348" y="215"/>
                  <a:pt x="340" y="2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6" name="Freeform 13"/>
          <p:cNvSpPr>
            <a:spLocks noEditPoints="1"/>
          </p:cNvSpPr>
          <p:nvPr/>
        </p:nvSpPr>
        <p:spPr bwMode="auto">
          <a:xfrm rot="20959773">
            <a:off x="11699972" y="2483536"/>
            <a:ext cx="3657600" cy="3657600"/>
          </a:xfrm>
          <a:custGeom>
            <a:avLst/>
            <a:gdLst>
              <a:gd name="T0" fmla="*/ 469 w 486"/>
              <a:gd name="T1" fmla="*/ 224 h 488"/>
              <a:gd name="T2" fmla="*/ 469 w 486"/>
              <a:gd name="T3" fmla="*/ 193 h 488"/>
              <a:gd name="T4" fmla="*/ 459 w 486"/>
              <a:gd name="T5" fmla="*/ 160 h 488"/>
              <a:gd name="T6" fmla="*/ 441 w 486"/>
              <a:gd name="T7" fmla="*/ 135 h 488"/>
              <a:gd name="T8" fmla="*/ 429 w 486"/>
              <a:gd name="T9" fmla="*/ 86 h 488"/>
              <a:gd name="T10" fmla="*/ 380 w 486"/>
              <a:gd name="T11" fmla="*/ 87 h 488"/>
              <a:gd name="T12" fmla="*/ 369 w 486"/>
              <a:gd name="T13" fmla="*/ 35 h 488"/>
              <a:gd name="T14" fmla="*/ 319 w 486"/>
              <a:gd name="T15" fmla="*/ 30 h 488"/>
              <a:gd name="T16" fmla="*/ 291 w 486"/>
              <a:gd name="T17" fmla="*/ 17 h 488"/>
              <a:gd name="T18" fmla="*/ 256 w 486"/>
              <a:gd name="T19" fmla="*/ 12 h 488"/>
              <a:gd name="T20" fmla="*/ 226 w 486"/>
              <a:gd name="T21" fmla="*/ 18 h 488"/>
              <a:gd name="T22" fmla="*/ 177 w 486"/>
              <a:gd name="T23" fmla="*/ 9 h 488"/>
              <a:gd name="T24" fmla="*/ 151 w 486"/>
              <a:gd name="T25" fmla="*/ 56 h 488"/>
              <a:gd name="T26" fmla="*/ 113 w 486"/>
              <a:gd name="T27" fmla="*/ 37 h 488"/>
              <a:gd name="T28" fmla="*/ 107 w 486"/>
              <a:gd name="T29" fmla="*/ 86 h 488"/>
              <a:gd name="T30" fmla="*/ 54 w 486"/>
              <a:gd name="T31" fmla="*/ 89 h 488"/>
              <a:gd name="T32" fmla="*/ 42 w 486"/>
              <a:gd name="T33" fmla="*/ 138 h 488"/>
              <a:gd name="T34" fmla="*/ 25 w 486"/>
              <a:gd name="T35" fmla="*/ 164 h 488"/>
              <a:gd name="T36" fmla="*/ 16 w 486"/>
              <a:gd name="T37" fmla="*/ 198 h 488"/>
              <a:gd name="T38" fmla="*/ 17 w 486"/>
              <a:gd name="T39" fmla="*/ 228 h 488"/>
              <a:gd name="T40" fmla="*/ 1 w 486"/>
              <a:gd name="T41" fmla="*/ 276 h 488"/>
              <a:gd name="T42" fmla="*/ 44 w 486"/>
              <a:gd name="T43" fmla="*/ 305 h 488"/>
              <a:gd name="T44" fmla="*/ 20 w 486"/>
              <a:gd name="T45" fmla="*/ 343 h 488"/>
              <a:gd name="T46" fmla="*/ 69 w 486"/>
              <a:gd name="T47" fmla="*/ 358 h 488"/>
              <a:gd name="T48" fmla="*/ 63 w 486"/>
              <a:gd name="T49" fmla="*/ 409 h 488"/>
              <a:gd name="T50" fmla="*/ 110 w 486"/>
              <a:gd name="T51" fmla="*/ 427 h 488"/>
              <a:gd name="T52" fmla="*/ 133 w 486"/>
              <a:gd name="T53" fmla="*/ 448 h 488"/>
              <a:gd name="T54" fmla="*/ 167 w 486"/>
              <a:gd name="T55" fmla="*/ 457 h 488"/>
              <a:gd name="T56" fmla="*/ 195 w 486"/>
              <a:gd name="T57" fmla="*/ 471 h 488"/>
              <a:gd name="T58" fmla="*/ 229 w 486"/>
              <a:gd name="T59" fmla="*/ 475 h 488"/>
              <a:gd name="T60" fmla="*/ 260 w 486"/>
              <a:gd name="T61" fmla="*/ 469 h 488"/>
              <a:gd name="T62" fmla="*/ 295 w 486"/>
              <a:gd name="T63" fmla="*/ 469 h 488"/>
              <a:gd name="T64" fmla="*/ 323 w 486"/>
              <a:gd name="T65" fmla="*/ 455 h 488"/>
              <a:gd name="T66" fmla="*/ 372 w 486"/>
              <a:gd name="T67" fmla="*/ 450 h 488"/>
              <a:gd name="T68" fmla="*/ 379 w 486"/>
              <a:gd name="T69" fmla="*/ 424 h 488"/>
              <a:gd name="T70" fmla="*/ 425 w 486"/>
              <a:gd name="T71" fmla="*/ 406 h 488"/>
              <a:gd name="T72" fmla="*/ 419 w 486"/>
              <a:gd name="T73" fmla="*/ 354 h 488"/>
              <a:gd name="T74" fmla="*/ 468 w 486"/>
              <a:gd name="T75" fmla="*/ 338 h 488"/>
              <a:gd name="T76" fmla="*/ 455 w 486"/>
              <a:gd name="T77" fmla="*/ 285 h 488"/>
              <a:gd name="T78" fmla="*/ 474 w 486"/>
              <a:gd name="T79" fmla="*/ 259 h 488"/>
              <a:gd name="T80" fmla="*/ 366 w 486"/>
              <a:gd name="T81" fmla="*/ 153 h 488"/>
              <a:gd name="T82" fmla="*/ 183 w 486"/>
              <a:gd name="T83" fmla="*/ 86 h 488"/>
              <a:gd name="T84" fmla="*/ 243 w 486"/>
              <a:gd name="T85" fmla="*/ 92 h 488"/>
              <a:gd name="T86" fmla="*/ 89 w 486"/>
              <a:gd name="T87" fmla="*/ 175 h 488"/>
              <a:gd name="T88" fmla="*/ 99 w 486"/>
              <a:gd name="T89" fmla="*/ 196 h 488"/>
              <a:gd name="T90" fmla="*/ 87 w 486"/>
              <a:gd name="T91" fmla="*/ 307 h 488"/>
              <a:gd name="T92" fmla="*/ 92 w 486"/>
              <a:gd name="T93" fmla="*/ 244 h 488"/>
              <a:gd name="T94" fmla="*/ 118 w 486"/>
              <a:gd name="T95" fmla="*/ 356 h 488"/>
              <a:gd name="T96" fmla="*/ 201 w 486"/>
              <a:gd name="T97" fmla="*/ 390 h 488"/>
              <a:gd name="T98" fmla="*/ 223 w 486"/>
              <a:gd name="T99" fmla="*/ 395 h 488"/>
              <a:gd name="T100" fmla="*/ 318 w 486"/>
              <a:gd name="T101" fmla="*/ 377 h 488"/>
              <a:gd name="T102" fmla="*/ 337 w 486"/>
              <a:gd name="T103" fmla="*/ 364 h 488"/>
              <a:gd name="T104" fmla="*/ 400 w 486"/>
              <a:gd name="T105" fmla="*/ 306 h 488"/>
              <a:gd name="T106" fmla="*/ 377 w 486"/>
              <a:gd name="T107" fmla="*/ 173 h 488"/>
              <a:gd name="T108" fmla="*/ 395 w 486"/>
              <a:gd name="T109" fmla="*/ 263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6" h="488">
                <a:moveTo>
                  <a:pt x="474" y="259"/>
                </a:moveTo>
                <a:cubicBezTo>
                  <a:pt x="469" y="259"/>
                  <a:pt x="469" y="259"/>
                  <a:pt x="469" y="259"/>
                </a:cubicBezTo>
                <a:cubicBezTo>
                  <a:pt x="460" y="259"/>
                  <a:pt x="453" y="253"/>
                  <a:pt x="451" y="244"/>
                </a:cubicBezTo>
                <a:cubicBezTo>
                  <a:pt x="450" y="233"/>
                  <a:pt x="458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0" y="224"/>
                  <a:pt x="486" y="218"/>
                  <a:pt x="485" y="212"/>
                </a:cubicBezTo>
                <a:cubicBezTo>
                  <a:pt x="484" y="208"/>
                  <a:pt x="484" y="205"/>
                  <a:pt x="483" y="202"/>
                </a:cubicBezTo>
                <a:cubicBezTo>
                  <a:pt x="482" y="196"/>
                  <a:pt x="476" y="191"/>
                  <a:pt x="469" y="193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3"/>
                  <a:pt x="443" y="186"/>
                </a:cubicBezTo>
                <a:cubicBezTo>
                  <a:pt x="438" y="176"/>
                  <a:pt x="444" y="164"/>
                  <a:pt x="454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5" y="158"/>
                  <a:pt x="469" y="151"/>
                  <a:pt x="466" y="145"/>
                </a:cubicBezTo>
                <a:cubicBezTo>
                  <a:pt x="465" y="142"/>
                  <a:pt x="463" y="139"/>
                  <a:pt x="462" y="136"/>
                </a:cubicBezTo>
                <a:cubicBezTo>
                  <a:pt x="459" y="130"/>
                  <a:pt x="452" y="128"/>
                  <a:pt x="446" y="131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7"/>
                  <a:pt x="417" y="129"/>
                </a:cubicBezTo>
                <a:cubicBezTo>
                  <a:pt x="412" y="121"/>
                  <a:pt x="414" y="110"/>
                  <a:pt x="422" y="105"/>
                </a:cubicBezTo>
                <a:cubicBezTo>
                  <a:pt x="426" y="102"/>
                  <a:pt x="426" y="102"/>
                  <a:pt x="426" y="102"/>
                </a:cubicBezTo>
                <a:cubicBezTo>
                  <a:pt x="432" y="99"/>
                  <a:pt x="433" y="91"/>
                  <a:pt x="429" y="86"/>
                </a:cubicBezTo>
                <a:cubicBezTo>
                  <a:pt x="427" y="83"/>
                  <a:pt x="425" y="81"/>
                  <a:pt x="422" y="79"/>
                </a:cubicBezTo>
                <a:cubicBezTo>
                  <a:pt x="418" y="74"/>
                  <a:pt x="410" y="74"/>
                  <a:pt x="406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89"/>
                  <a:pt x="387" y="91"/>
                  <a:pt x="380" y="87"/>
                </a:cubicBezTo>
                <a:cubicBezTo>
                  <a:pt x="370" y="81"/>
                  <a:pt x="369" y="68"/>
                  <a:pt x="376" y="60"/>
                </a:cubicBezTo>
                <a:cubicBezTo>
                  <a:pt x="379" y="56"/>
                  <a:pt x="379" y="56"/>
                  <a:pt x="379" y="56"/>
                </a:cubicBezTo>
                <a:cubicBezTo>
                  <a:pt x="384" y="51"/>
                  <a:pt x="383" y="44"/>
                  <a:pt x="377" y="40"/>
                </a:cubicBezTo>
                <a:cubicBezTo>
                  <a:pt x="374" y="38"/>
                  <a:pt x="371" y="36"/>
                  <a:pt x="369" y="35"/>
                </a:cubicBezTo>
                <a:cubicBezTo>
                  <a:pt x="363" y="31"/>
                  <a:pt x="356" y="34"/>
                  <a:pt x="353" y="39"/>
                </a:cubicBezTo>
                <a:cubicBezTo>
                  <a:pt x="351" y="44"/>
                  <a:pt x="351" y="44"/>
                  <a:pt x="351" y="44"/>
                </a:cubicBezTo>
                <a:cubicBezTo>
                  <a:pt x="347" y="52"/>
                  <a:pt x="338" y="57"/>
                  <a:pt x="330" y="54"/>
                </a:cubicBezTo>
                <a:cubicBezTo>
                  <a:pt x="319" y="51"/>
                  <a:pt x="314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2"/>
                  <a:pt x="314" y="10"/>
                </a:cubicBezTo>
                <a:cubicBezTo>
                  <a:pt x="311" y="9"/>
                  <a:pt x="308" y="9"/>
                  <a:pt x="305" y="8"/>
                </a:cubicBezTo>
                <a:cubicBezTo>
                  <a:pt x="298" y="6"/>
                  <a:pt x="292" y="10"/>
                  <a:pt x="291" y="17"/>
                </a:cubicBezTo>
                <a:cubicBezTo>
                  <a:pt x="290" y="22"/>
                  <a:pt x="290" y="22"/>
                  <a:pt x="290" y="22"/>
                </a:cubicBezTo>
                <a:cubicBezTo>
                  <a:pt x="289" y="31"/>
                  <a:pt x="282" y="37"/>
                  <a:pt x="273" y="37"/>
                </a:cubicBezTo>
                <a:cubicBezTo>
                  <a:pt x="262" y="38"/>
                  <a:pt x="254" y="28"/>
                  <a:pt x="256" y="17"/>
                </a:cubicBezTo>
                <a:cubicBezTo>
                  <a:pt x="256" y="12"/>
                  <a:pt x="256" y="12"/>
                  <a:pt x="256" y="12"/>
                </a:cubicBezTo>
                <a:cubicBezTo>
                  <a:pt x="257" y="6"/>
                  <a:pt x="252" y="0"/>
                  <a:pt x="246" y="0"/>
                </a:cubicBezTo>
                <a:cubicBezTo>
                  <a:pt x="242" y="0"/>
                  <a:pt x="239" y="0"/>
                  <a:pt x="236" y="0"/>
                </a:cubicBezTo>
                <a:cubicBezTo>
                  <a:pt x="229" y="0"/>
                  <a:pt x="224" y="6"/>
                  <a:pt x="225" y="12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7" y="28"/>
                  <a:pt x="220" y="37"/>
                  <a:pt x="211" y="38"/>
                </a:cubicBezTo>
                <a:cubicBezTo>
                  <a:pt x="203" y="43"/>
                  <a:pt x="193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1"/>
                  <a:pt x="183" y="7"/>
                  <a:pt x="177" y="9"/>
                </a:cubicBezTo>
                <a:cubicBezTo>
                  <a:pt x="174" y="10"/>
                  <a:pt x="170" y="11"/>
                  <a:pt x="167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7" y="42"/>
                  <a:pt x="162" y="53"/>
                  <a:pt x="151" y="56"/>
                </a:cubicBezTo>
                <a:cubicBezTo>
                  <a:pt x="143" y="58"/>
                  <a:pt x="134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6" y="36"/>
                  <a:pt x="119" y="33"/>
                  <a:pt x="113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10" y="39"/>
                  <a:pt x="108" y="41"/>
                  <a:pt x="105" y="42"/>
                </a:cubicBezTo>
                <a:cubicBezTo>
                  <a:pt x="100" y="46"/>
                  <a:pt x="99" y="54"/>
                  <a:pt x="103" y="59"/>
                </a:cubicBezTo>
                <a:cubicBezTo>
                  <a:pt x="106" y="63"/>
                  <a:pt x="106" y="63"/>
                  <a:pt x="106" y="63"/>
                </a:cubicBezTo>
                <a:cubicBezTo>
                  <a:pt x="112" y="69"/>
                  <a:pt x="112" y="79"/>
                  <a:pt x="107" y="86"/>
                </a:cubicBezTo>
                <a:cubicBezTo>
                  <a:pt x="100" y="94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2" y="77"/>
                  <a:pt x="65" y="77"/>
                  <a:pt x="60" y="82"/>
                </a:cubicBezTo>
                <a:cubicBezTo>
                  <a:pt x="58" y="84"/>
                  <a:pt x="56" y="87"/>
                  <a:pt x="54" y="89"/>
                </a:cubicBezTo>
                <a:cubicBezTo>
                  <a:pt x="50" y="94"/>
                  <a:pt x="51" y="102"/>
                  <a:pt x="56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3"/>
                  <a:pt x="71" y="123"/>
                  <a:pt x="68" y="130"/>
                </a:cubicBezTo>
                <a:cubicBezTo>
                  <a:pt x="63" y="141"/>
                  <a:pt x="51" y="144"/>
                  <a:pt x="42" y="138"/>
                </a:cubicBezTo>
                <a:cubicBezTo>
                  <a:pt x="38" y="135"/>
                  <a:pt x="38" y="135"/>
                  <a:pt x="38" y="135"/>
                </a:cubicBezTo>
                <a:cubicBezTo>
                  <a:pt x="32" y="132"/>
                  <a:pt x="25" y="134"/>
                  <a:pt x="22" y="140"/>
                </a:cubicBezTo>
                <a:cubicBezTo>
                  <a:pt x="21" y="143"/>
                  <a:pt x="19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5"/>
                  <a:pt x="31" y="165"/>
                  <a:pt x="31" y="165"/>
                </a:cubicBezTo>
                <a:cubicBezTo>
                  <a:pt x="40" y="168"/>
                  <a:pt x="45" y="178"/>
                  <a:pt x="42" y="187"/>
                </a:cubicBezTo>
                <a:cubicBezTo>
                  <a:pt x="47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9" y="196"/>
                  <a:pt x="3" y="200"/>
                  <a:pt x="2" y="206"/>
                </a:cubicBezTo>
                <a:cubicBezTo>
                  <a:pt x="1" y="210"/>
                  <a:pt x="1" y="213"/>
                  <a:pt x="0" y="216"/>
                </a:cubicBezTo>
                <a:cubicBezTo>
                  <a:pt x="0" y="223"/>
                  <a:pt x="5" y="228"/>
                  <a:pt x="11" y="228"/>
                </a:cubicBezTo>
                <a:cubicBezTo>
                  <a:pt x="17" y="228"/>
                  <a:pt x="17" y="228"/>
                  <a:pt x="17" y="228"/>
                </a:cubicBezTo>
                <a:cubicBezTo>
                  <a:pt x="27" y="228"/>
                  <a:pt x="35" y="236"/>
                  <a:pt x="35" y="246"/>
                </a:cubicBezTo>
                <a:cubicBezTo>
                  <a:pt x="34" y="256"/>
                  <a:pt x="26" y="264"/>
                  <a:pt x="17" y="263"/>
                </a:cubicBezTo>
                <a:cubicBezTo>
                  <a:pt x="12" y="263"/>
                  <a:pt x="12" y="263"/>
                  <a:pt x="12" y="263"/>
                </a:cubicBezTo>
                <a:cubicBezTo>
                  <a:pt x="5" y="263"/>
                  <a:pt x="0" y="269"/>
                  <a:pt x="1" y="276"/>
                </a:cubicBezTo>
                <a:cubicBezTo>
                  <a:pt x="1" y="279"/>
                  <a:pt x="2" y="282"/>
                  <a:pt x="2" y="285"/>
                </a:cubicBezTo>
                <a:cubicBezTo>
                  <a:pt x="4" y="292"/>
                  <a:pt x="10" y="296"/>
                  <a:pt x="16" y="294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1" y="290"/>
                  <a:pt x="41" y="295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6" y="314"/>
                  <a:pt x="41" y="324"/>
                  <a:pt x="32" y="326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0" y="329"/>
                  <a:pt x="17" y="336"/>
                  <a:pt x="20" y="343"/>
                </a:cubicBezTo>
                <a:cubicBezTo>
                  <a:pt x="21" y="346"/>
                  <a:pt x="23" y="349"/>
                  <a:pt x="24" y="351"/>
                </a:cubicBezTo>
                <a:cubicBezTo>
                  <a:pt x="27" y="357"/>
                  <a:pt x="34" y="359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0"/>
                  <a:pt x="69" y="358"/>
                </a:cubicBezTo>
                <a:cubicBezTo>
                  <a:pt x="74" y="366"/>
                  <a:pt x="72" y="377"/>
                  <a:pt x="63" y="382"/>
                </a:cubicBezTo>
                <a:cubicBezTo>
                  <a:pt x="59" y="385"/>
                  <a:pt x="59" y="385"/>
                  <a:pt x="59" y="385"/>
                </a:cubicBezTo>
                <a:cubicBezTo>
                  <a:pt x="54" y="389"/>
                  <a:pt x="52" y="396"/>
                  <a:pt x="57" y="401"/>
                </a:cubicBezTo>
                <a:cubicBezTo>
                  <a:pt x="59" y="404"/>
                  <a:pt x="61" y="406"/>
                  <a:pt x="63" y="409"/>
                </a:cubicBezTo>
                <a:cubicBezTo>
                  <a:pt x="68" y="414"/>
                  <a:pt x="75" y="414"/>
                  <a:pt x="80" y="409"/>
                </a:cubicBezTo>
                <a:cubicBezTo>
                  <a:pt x="83" y="405"/>
                  <a:pt x="83" y="405"/>
                  <a:pt x="83" y="405"/>
                </a:cubicBezTo>
                <a:cubicBezTo>
                  <a:pt x="89" y="398"/>
                  <a:pt x="98" y="396"/>
                  <a:pt x="106" y="401"/>
                </a:cubicBezTo>
                <a:cubicBezTo>
                  <a:pt x="115" y="407"/>
                  <a:pt x="117" y="419"/>
                  <a:pt x="110" y="427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1" y="449"/>
                  <a:pt x="114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5" y="443"/>
                  <a:pt x="135" y="443"/>
                  <a:pt x="135" y="443"/>
                </a:cubicBezTo>
                <a:cubicBezTo>
                  <a:pt x="139" y="434"/>
                  <a:pt x="150" y="430"/>
                  <a:pt x="158" y="434"/>
                </a:cubicBezTo>
                <a:cubicBezTo>
                  <a:pt x="158" y="434"/>
                  <a:pt x="158" y="434"/>
                  <a:pt x="158" y="434"/>
                </a:cubicBezTo>
                <a:cubicBezTo>
                  <a:pt x="167" y="438"/>
                  <a:pt x="171" y="449"/>
                  <a:pt x="167" y="457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5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7" y="481"/>
                  <a:pt x="194" y="477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5"/>
                  <a:pt x="206" y="449"/>
                  <a:pt x="216" y="450"/>
                </a:cubicBezTo>
                <a:cubicBezTo>
                  <a:pt x="225" y="452"/>
                  <a:pt x="232" y="461"/>
                  <a:pt x="230" y="470"/>
                </a:cubicBezTo>
                <a:cubicBezTo>
                  <a:pt x="229" y="475"/>
                  <a:pt x="229" y="475"/>
                  <a:pt x="229" y="475"/>
                </a:cubicBezTo>
                <a:cubicBezTo>
                  <a:pt x="228" y="482"/>
                  <a:pt x="233" y="488"/>
                  <a:pt x="240" y="488"/>
                </a:cubicBezTo>
                <a:cubicBezTo>
                  <a:pt x="243" y="488"/>
                  <a:pt x="247" y="488"/>
                  <a:pt x="250" y="488"/>
                </a:cubicBezTo>
                <a:cubicBezTo>
                  <a:pt x="256" y="487"/>
                  <a:pt x="261" y="482"/>
                  <a:pt x="261" y="475"/>
                </a:cubicBezTo>
                <a:cubicBezTo>
                  <a:pt x="260" y="469"/>
                  <a:pt x="260" y="469"/>
                  <a:pt x="260" y="469"/>
                </a:cubicBezTo>
                <a:cubicBezTo>
                  <a:pt x="259" y="460"/>
                  <a:pt x="265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4" y="448"/>
                  <a:pt x="293" y="455"/>
                  <a:pt x="295" y="465"/>
                </a:cubicBezTo>
                <a:cubicBezTo>
                  <a:pt x="295" y="469"/>
                  <a:pt x="295" y="469"/>
                  <a:pt x="295" y="469"/>
                </a:cubicBezTo>
                <a:cubicBezTo>
                  <a:pt x="296" y="476"/>
                  <a:pt x="303" y="480"/>
                  <a:pt x="309" y="479"/>
                </a:cubicBezTo>
                <a:cubicBezTo>
                  <a:pt x="312" y="478"/>
                  <a:pt x="315" y="477"/>
                  <a:pt x="318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5"/>
                  <a:pt x="323" y="455"/>
                  <a:pt x="323" y="455"/>
                </a:cubicBezTo>
                <a:cubicBezTo>
                  <a:pt x="319" y="447"/>
                  <a:pt x="323" y="436"/>
                  <a:pt x="332" y="432"/>
                </a:cubicBezTo>
                <a:cubicBezTo>
                  <a:pt x="340" y="428"/>
                  <a:pt x="351" y="432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59" y="452"/>
                  <a:pt x="367" y="454"/>
                  <a:pt x="372" y="450"/>
                </a:cubicBezTo>
                <a:cubicBezTo>
                  <a:pt x="372" y="450"/>
                  <a:pt x="372" y="450"/>
                  <a:pt x="373" y="450"/>
                </a:cubicBezTo>
                <a:cubicBezTo>
                  <a:pt x="375" y="449"/>
                  <a:pt x="378" y="447"/>
                  <a:pt x="381" y="445"/>
                </a:cubicBezTo>
                <a:cubicBezTo>
                  <a:pt x="386" y="441"/>
                  <a:pt x="387" y="434"/>
                  <a:pt x="383" y="429"/>
                </a:cubicBezTo>
                <a:cubicBezTo>
                  <a:pt x="379" y="424"/>
                  <a:pt x="379" y="424"/>
                  <a:pt x="379" y="424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8" y="393"/>
                  <a:pt x="400" y="394"/>
                  <a:pt x="406" y="402"/>
                </a:cubicBezTo>
                <a:cubicBezTo>
                  <a:pt x="409" y="405"/>
                  <a:pt x="409" y="405"/>
                  <a:pt x="409" y="405"/>
                </a:cubicBezTo>
                <a:cubicBezTo>
                  <a:pt x="413" y="410"/>
                  <a:pt x="421" y="411"/>
                  <a:pt x="425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5"/>
                  <a:pt x="429" y="382"/>
                </a:cubicBezTo>
                <a:cubicBezTo>
                  <a:pt x="424" y="379"/>
                  <a:pt x="424" y="379"/>
                  <a:pt x="424" y="379"/>
                </a:cubicBezTo>
                <a:cubicBezTo>
                  <a:pt x="416" y="373"/>
                  <a:pt x="414" y="362"/>
                  <a:pt x="419" y="354"/>
                </a:cubicBezTo>
                <a:cubicBezTo>
                  <a:pt x="425" y="346"/>
                  <a:pt x="436" y="344"/>
                  <a:pt x="444" y="349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3" y="356"/>
                  <a:pt x="461" y="354"/>
                  <a:pt x="464" y="347"/>
                </a:cubicBezTo>
                <a:cubicBezTo>
                  <a:pt x="465" y="345"/>
                  <a:pt x="466" y="342"/>
                  <a:pt x="468" y="338"/>
                </a:cubicBezTo>
                <a:cubicBezTo>
                  <a:pt x="470" y="332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19"/>
                  <a:pt x="441" y="309"/>
                  <a:pt x="443" y="300"/>
                </a:cubicBezTo>
                <a:cubicBezTo>
                  <a:pt x="438" y="292"/>
                  <a:pt x="446" y="283"/>
                  <a:pt x="455" y="285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6" y="292"/>
                  <a:pt x="483" y="288"/>
                  <a:pt x="484" y="281"/>
                </a:cubicBezTo>
                <a:cubicBezTo>
                  <a:pt x="484" y="278"/>
                  <a:pt x="485" y="275"/>
                  <a:pt x="485" y="271"/>
                </a:cubicBezTo>
                <a:cubicBezTo>
                  <a:pt x="486" y="265"/>
                  <a:pt x="481" y="259"/>
                  <a:pt x="474" y="259"/>
                </a:cubicBezTo>
                <a:close/>
                <a:moveTo>
                  <a:pt x="291" y="99"/>
                </a:moveTo>
                <a:cubicBezTo>
                  <a:pt x="293" y="89"/>
                  <a:pt x="302" y="85"/>
                  <a:pt x="311" y="89"/>
                </a:cubicBezTo>
                <a:cubicBezTo>
                  <a:pt x="368" y="131"/>
                  <a:pt x="368" y="131"/>
                  <a:pt x="368" y="131"/>
                </a:cubicBezTo>
                <a:cubicBezTo>
                  <a:pt x="375" y="138"/>
                  <a:pt x="374" y="147"/>
                  <a:pt x="366" y="153"/>
                </a:cubicBezTo>
                <a:cubicBezTo>
                  <a:pt x="364" y="154"/>
                  <a:pt x="364" y="154"/>
                  <a:pt x="364" y="154"/>
                </a:cubicBezTo>
                <a:cubicBezTo>
                  <a:pt x="346" y="129"/>
                  <a:pt x="321" y="110"/>
                  <a:pt x="291" y="100"/>
                </a:cubicBezTo>
                <a:lnTo>
                  <a:pt x="291" y="99"/>
                </a:lnTo>
                <a:close/>
                <a:moveTo>
                  <a:pt x="183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5"/>
                  <a:pt x="271" y="83"/>
                  <a:pt x="269" y="93"/>
                </a:cubicBezTo>
                <a:cubicBezTo>
                  <a:pt x="268" y="95"/>
                  <a:pt x="268" y="95"/>
                  <a:pt x="268" y="95"/>
                </a:cubicBezTo>
                <a:cubicBezTo>
                  <a:pt x="260" y="93"/>
                  <a:pt x="252" y="92"/>
                  <a:pt x="243" y="92"/>
                </a:cubicBezTo>
                <a:cubicBezTo>
                  <a:pt x="219" y="92"/>
                  <a:pt x="197" y="98"/>
                  <a:pt x="177" y="108"/>
                </a:cubicBezTo>
                <a:cubicBezTo>
                  <a:pt x="176" y="106"/>
                  <a:pt x="176" y="106"/>
                  <a:pt x="176" y="106"/>
                </a:cubicBezTo>
                <a:cubicBezTo>
                  <a:pt x="170" y="98"/>
                  <a:pt x="174" y="89"/>
                  <a:pt x="183" y="86"/>
                </a:cubicBezTo>
                <a:close/>
                <a:moveTo>
                  <a:pt x="89" y="175"/>
                </a:moveTo>
                <a:cubicBezTo>
                  <a:pt x="133" y="116"/>
                  <a:pt x="133" y="116"/>
                  <a:pt x="133" y="116"/>
                </a:cubicBezTo>
                <a:cubicBezTo>
                  <a:pt x="140" y="109"/>
                  <a:pt x="150" y="110"/>
                  <a:pt x="156" y="118"/>
                </a:cubicBezTo>
                <a:cubicBezTo>
                  <a:pt x="157" y="120"/>
                  <a:pt x="157" y="120"/>
                  <a:pt x="157" y="120"/>
                </a:cubicBezTo>
                <a:cubicBezTo>
                  <a:pt x="130" y="138"/>
                  <a:pt x="110" y="165"/>
                  <a:pt x="99" y="196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88" y="193"/>
                  <a:pt x="84" y="184"/>
                  <a:pt x="89" y="175"/>
                </a:cubicBezTo>
                <a:close/>
                <a:moveTo>
                  <a:pt x="108" y="315"/>
                </a:moveTo>
                <a:cubicBezTo>
                  <a:pt x="99" y="320"/>
                  <a:pt x="90" y="317"/>
                  <a:pt x="87" y="307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2" y="218"/>
                </a:cubicBezTo>
                <a:cubicBezTo>
                  <a:pt x="94" y="218"/>
                  <a:pt x="94" y="218"/>
                  <a:pt x="94" y="218"/>
                </a:cubicBezTo>
                <a:cubicBezTo>
                  <a:pt x="92" y="227"/>
                  <a:pt x="92" y="235"/>
                  <a:pt x="92" y="244"/>
                </a:cubicBezTo>
                <a:cubicBezTo>
                  <a:pt x="92" y="269"/>
                  <a:pt x="98" y="293"/>
                  <a:pt x="109" y="314"/>
                </a:cubicBezTo>
                <a:lnTo>
                  <a:pt x="108" y="315"/>
                </a:lnTo>
                <a:close/>
                <a:moveTo>
                  <a:pt x="180" y="400"/>
                </a:moveTo>
                <a:cubicBezTo>
                  <a:pt x="118" y="356"/>
                  <a:pt x="118" y="356"/>
                  <a:pt x="118" y="356"/>
                </a:cubicBezTo>
                <a:cubicBezTo>
                  <a:pt x="111" y="350"/>
                  <a:pt x="112" y="340"/>
                  <a:pt x="120" y="334"/>
                </a:cubicBezTo>
                <a:cubicBezTo>
                  <a:pt x="121" y="334"/>
                  <a:pt x="121" y="334"/>
                  <a:pt x="121" y="334"/>
                </a:cubicBezTo>
                <a:cubicBezTo>
                  <a:pt x="141" y="360"/>
                  <a:pt x="169" y="380"/>
                  <a:pt x="201" y="389"/>
                </a:cubicBezTo>
                <a:cubicBezTo>
                  <a:pt x="201" y="390"/>
                  <a:pt x="201" y="390"/>
                  <a:pt x="201" y="390"/>
                </a:cubicBezTo>
                <a:cubicBezTo>
                  <a:pt x="198" y="400"/>
                  <a:pt x="189" y="404"/>
                  <a:pt x="180" y="400"/>
                </a:cubicBezTo>
                <a:close/>
                <a:moveTo>
                  <a:pt x="311" y="398"/>
                </a:moveTo>
                <a:cubicBezTo>
                  <a:pt x="237" y="412"/>
                  <a:pt x="237" y="412"/>
                  <a:pt x="237" y="412"/>
                </a:cubicBezTo>
                <a:cubicBezTo>
                  <a:pt x="227" y="413"/>
                  <a:pt x="221" y="405"/>
                  <a:pt x="223" y="395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6" y="395"/>
                  <a:pt x="243" y="395"/>
                </a:cubicBezTo>
                <a:cubicBezTo>
                  <a:pt x="270" y="395"/>
                  <a:pt x="295" y="388"/>
                  <a:pt x="317" y="375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3" y="385"/>
                  <a:pt x="320" y="395"/>
                  <a:pt x="311" y="398"/>
                </a:cubicBezTo>
                <a:close/>
                <a:moveTo>
                  <a:pt x="400" y="306"/>
                </a:moveTo>
                <a:cubicBezTo>
                  <a:pt x="359" y="366"/>
                  <a:pt x="359" y="366"/>
                  <a:pt x="359" y="366"/>
                </a:cubicBezTo>
                <a:cubicBezTo>
                  <a:pt x="352" y="373"/>
                  <a:pt x="343" y="372"/>
                  <a:pt x="337" y="364"/>
                </a:cubicBezTo>
                <a:cubicBezTo>
                  <a:pt x="336" y="362"/>
                  <a:pt x="336" y="362"/>
                  <a:pt x="336" y="362"/>
                </a:cubicBezTo>
                <a:cubicBezTo>
                  <a:pt x="361" y="343"/>
                  <a:pt x="379" y="316"/>
                  <a:pt x="388" y="286"/>
                </a:cubicBezTo>
                <a:cubicBezTo>
                  <a:pt x="390" y="286"/>
                  <a:pt x="390" y="286"/>
                  <a:pt x="390" y="286"/>
                </a:cubicBezTo>
                <a:cubicBezTo>
                  <a:pt x="399" y="288"/>
                  <a:pt x="404" y="297"/>
                  <a:pt x="400" y="306"/>
                </a:cubicBezTo>
                <a:close/>
                <a:moveTo>
                  <a:pt x="395" y="263"/>
                </a:moveTo>
                <a:cubicBezTo>
                  <a:pt x="393" y="263"/>
                  <a:pt x="393" y="263"/>
                  <a:pt x="393" y="263"/>
                </a:cubicBezTo>
                <a:cubicBezTo>
                  <a:pt x="394" y="257"/>
                  <a:pt x="394" y="250"/>
                  <a:pt x="394" y="244"/>
                </a:cubicBezTo>
                <a:cubicBezTo>
                  <a:pt x="394" y="218"/>
                  <a:pt x="388" y="194"/>
                  <a:pt x="377" y="173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87" y="167"/>
                  <a:pt x="396" y="171"/>
                  <a:pt x="399" y="180"/>
                </a:cubicBezTo>
                <a:cubicBezTo>
                  <a:pt x="412" y="249"/>
                  <a:pt x="412" y="249"/>
                  <a:pt x="412" y="249"/>
                </a:cubicBezTo>
                <a:cubicBezTo>
                  <a:pt x="412" y="259"/>
                  <a:pt x="404" y="265"/>
                  <a:pt x="395" y="26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9" name="Freeform 17"/>
          <p:cNvSpPr>
            <a:spLocks noEditPoints="1"/>
          </p:cNvSpPr>
          <p:nvPr/>
        </p:nvSpPr>
        <p:spPr bwMode="auto">
          <a:xfrm>
            <a:off x="15120494" y="4101024"/>
            <a:ext cx="3657600" cy="3657600"/>
          </a:xfrm>
          <a:custGeom>
            <a:avLst/>
            <a:gdLst>
              <a:gd name="T0" fmla="*/ 468 w 468"/>
              <a:gd name="T1" fmla="*/ 218 h 467"/>
              <a:gd name="T2" fmla="*/ 444 w 468"/>
              <a:gd name="T3" fmla="*/ 176 h 467"/>
              <a:gd name="T4" fmla="*/ 439 w 468"/>
              <a:gd name="T5" fmla="*/ 147 h 467"/>
              <a:gd name="T6" fmla="*/ 424 w 468"/>
              <a:gd name="T7" fmla="*/ 117 h 467"/>
              <a:gd name="T8" fmla="*/ 402 w 468"/>
              <a:gd name="T9" fmla="*/ 96 h 467"/>
              <a:gd name="T10" fmla="*/ 383 w 468"/>
              <a:gd name="T11" fmla="*/ 53 h 467"/>
              <a:gd name="T12" fmla="*/ 337 w 468"/>
              <a:gd name="T13" fmla="*/ 61 h 467"/>
              <a:gd name="T14" fmla="*/ 317 w 468"/>
              <a:gd name="T15" fmla="*/ 14 h 467"/>
              <a:gd name="T16" fmla="*/ 269 w 468"/>
              <a:gd name="T17" fmla="*/ 19 h 467"/>
              <a:gd name="T18" fmla="*/ 241 w 468"/>
              <a:gd name="T19" fmla="*/ 11 h 467"/>
              <a:gd name="T20" fmla="*/ 207 w 468"/>
              <a:gd name="T21" fmla="*/ 13 h 467"/>
              <a:gd name="T22" fmla="*/ 180 w 468"/>
              <a:gd name="T23" fmla="*/ 23 h 467"/>
              <a:gd name="T24" fmla="*/ 132 w 468"/>
              <a:gd name="T25" fmla="*/ 23 h 467"/>
              <a:gd name="T26" fmla="*/ 116 w 468"/>
              <a:gd name="T27" fmla="*/ 72 h 467"/>
              <a:gd name="T28" fmla="*/ 76 w 468"/>
              <a:gd name="T29" fmla="*/ 60 h 467"/>
              <a:gd name="T30" fmla="*/ 79 w 468"/>
              <a:gd name="T31" fmla="*/ 107 h 467"/>
              <a:gd name="T32" fmla="*/ 29 w 468"/>
              <a:gd name="T33" fmla="*/ 120 h 467"/>
              <a:gd name="T34" fmla="*/ 27 w 468"/>
              <a:gd name="T35" fmla="*/ 168 h 467"/>
              <a:gd name="T36" fmla="*/ 15 w 468"/>
              <a:gd name="T37" fmla="*/ 195 h 467"/>
              <a:gd name="T38" fmla="*/ 12 w 468"/>
              <a:gd name="T39" fmla="*/ 229 h 467"/>
              <a:gd name="T40" fmla="*/ 19 w 468"/>
              <a:gd name="T41" fmla="*/ 257 h 467"/>
              <a:gd name="T42" fmla="*/ 11 w 468"/>
              <a:gd name="T43" fmla="*/ 305 h 467"/>
              <a:gd name="T44" fmla="*/ 57 w 468"/>
              <a:gd name="T45" fmla="*/ 325 h 467"/>
              <a:gd name="T46" fmla="*/ 41 w 468"/>
              <a:gd name="T47" fmla="*/ 365 h 467"/>
              <a:gd name="T48" fmla="*/ 90 w 468"/>
              <a:gd name="T49" fmla="*/ 371 h 467"/>
              <a:gd name="T50" fmla="*/ 86 w 468"/>
              <a:gd name="T51" fmla="*/ 414 h 467"/>
              <a:gd name="T52" fmla="*/ 132 w 468"/>
              <a:gd name="T53" fmla="*/ 405 h 467"/>
              <a:gd name="T54" fmla="*/ 151 w 468"/>
              <a:gd name="T55" fmla="*/ 452 h 467"/>
              <a:gd name="T56" fmla="*/ 187 w 468"/>
              <a:gd name="T57" fmla="*/ 427 h 467"/>
              <a:gd name="T58" fmla="*/ 216 w 468"/>
              <a:gd name="T59" fmla="*/ 467 h 467"/>
              <a:gd name="T60" fmla="*/ 261 w 468"/>
              <a:gd name="T61" fmla="*/ 449 h 467"/>
              <a:gd name="T62" fmla="*/ 291 w 468"/>
              <a:gd name="T63" fmla="*/ 449 h 467"/>
              <a:gd name="T64" fmla="*/ 322 w 468"/>
              <a:gd name="T65" fmla="*/ 437 h 467"/>
              <a:gd name="T66" fmla="*/ 346 w 468"/>
              <a:gd name="T67" fmla="*/ 419 h 467"/>
              <a:gd name="T68" fmla="*/ 392 w 468"/>
              <a:gd name="T69" fmla="*/ 406 h 467"/>
              <a:gd name="T70" fmla="*/ 394 w 468"/>
              <a:gd name="T71" fmla="*/ 380 h 467"/>
              <a:gd name="T72" fmla="*/ 434 w 468"/>
              <a:gd name="T73" fmla="*/ 355 h 467"/>
              <a:gd name="T74" fmla="*/ 420 w 468"/>
              <a:gd name="T75" fmla="*/ 307 h 467"/>
              <a:gd name="T76" fmla="*/ 463 w 468"/>
              <a:gd name="T77" fmla="*/ 284 h 467"/>
              <a:gd name="T78" fmla="*/ 441 w 468"/>
              <a:gd name="T79" fmla="*/ 236 h 467"/>
              <a:gd name="T80" fmla="*/ 371 w 468"/>
              <a:gd name="T81" fmla="*/ 174 h 467"/>
              <a:gd name="T82" fmla="*/ 337 w 468"/>
              <a:gd name="T83" fmla="*/ 125 h 467"/>
              <a:gd name="T84" fmla="*/ 289 w 468"/>
              <a:gd name="T85" fmla="*/ 94 h 467"/>
              <a:gd name="T86" fmla="*/ 233 w 468"/>
              <a:gd name="T87" fmla="*/ 91 h 467"/>
              <a:gd name="T88" fmla="*/ 293 w 468"/>
              <a:gd name="T89" fmla="*/ 84 h 467"/>
              <a:gd name="T90" fmla="*/ 144 w 468"/>
              <a:gd name="T91" fmla="*/ 114 h 467"/>
              <a:gd name="T92" fmla="*/ 101 w 468"/>
              <a:gd name="T93" fmla="*/ 165 h 467"/>
              <a:gd name="T94" fmla="*/ 95 w 468"/>
              <a:gd name="T95" fmla="*/ 179 h 467"/>
              <a:gd name="T96" fmla="*/ 92 w 468"/>
              <a:gd name="T97" fmla="*/ 234 h 467"/>
              <a:gd name="T98" fmla="*/ 85 w 468"/>
              <a:gd name="T99" fmla="*/ 174 h 467"/>
              <a:gd name="T100" fmla="*/ 97 w 468"/>
              <a:gd name="T101" fmla="*/ 293 h 467"/>
              <a:gd name="T102" fmla="*/ 131 w 468"/>
              <a:gd name="T103" fmla="*/ 341 h 467"/>
              <a:gd name="T104" fmla="*/ 179 w 468"/>
              <a:gd name="T105" fmla="*/ 372 h 467"/>
              <a:gd name="T106" fmla="*/ 241 w 468"/>
              <a:gd name="T107" fmla="*/ 375 h 467"/>
              <a:gd name="T108" fmla="*/ 175 w 468"/>
              <a:gd name="T109" fmla="*/ 382 h 467"/>
              <a:gd name="T110" fmla="*/ 330 w 468"/>
              <a:gd name="T111" fmla="*/ 348 h 467"/>
              <a:gd name="T112" fmla="*/ 367 w 468"/>
              <a:gd name="T113" fmla="*/ 301 h 467"/>
              <a:gd name="T114" fmla="*/ 373 w 468"/>
              <a:gd name="T115" fmla="*/ 288 h 467"/>
              <a:gd name="T116" fmla="*/ 376 w 468"/>
              <a:gd name="T117" fmla="*/ 227 h 467"/>
              <a:gd name="T118" fmla="*/ 383 w 468"/>
              <a:gd name="T119" fmla="*/ 292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68" h="467">
                <a:moveTo>
                  <a:pt x="441" y="236"/>
                </a:moveTo>
                <a:cubicBezTo>
                  <a:pt x="456" y="238"/>
                  <a:pt x="456" y="238"/>
                  <a:pt x="456" y="238"/>
                </a:cubicBezTo>
                <a:cubicBezTo>
                  <a:pt x="463" y="239"/>
                  <a:pt x="468" y="234"/>
                  <a:pt x="468" y="227"/>
                </a:cubicBezTo>
                <a:cubicBezTo>
                  <a:pt x="468" y="224"/>
                  <a:pt x="468" y="221"/>
                  <a:pt x="468" y="218"/>
                </a:cubicBezTo>
                <a:cubicBezTo>
                  <a:pt x="467" y="212"/>
                  <a:pt x="462" y="207"/>
                  <a:pt x="455" y="208"/>
                </a:cubicBezTo>
                <a:cubicBezTo>
                  <a:pt x="450" y="209"/>
                  <a:pt x="450" y="209"/>
                  <a:pt x="450" y="209"/>
                </a:cubicBezTo>
                <a:cubicBezTo>
                  <a:pt x="442" y="210"/>
                  <a:pt x="434" y="206"/>
                  <a:pt x="431" y="198"/>
                </a:cubicBezTo>
                <a:cubicBezTo>
                  <a:pt x="428" y="188"/>
                  <a:pt x="434" y="178"/>
                  <a:pt x="444" y="176"/>
                </a:cubicBezTo>
                <a:cubicBezTo>
                  <a:pt x="449" y="175"/>
                  <a:pt x="449" y="175"/>
                  <a:pt x="449" y="175"/>
                </a:cubicBezTo>
                <a:cubicBezTo>
                  <a:pt x="455" y="174"/>
                  <a:pt x="459" y="168"/>
                  <a:pt x="457" y="162"/>
                </a:cubicBezTo>
                <a:cubicBezTo>
                  <a:pt x="456" y="159"/>
                  <a:pt x="455" y="156"/>
                  <a:pt x="454" y="153"/>
                </a:cubicBezTo>
                <a:cubicBezTo>
                  <a:pt x="452" y="147"/>
                  <a:pt x="445" y="144"/>
                  <a:pt x="439" y="147"/>
                </a:cubicBezTo>
                <a:cubicBezTo>
                  <a:pt x="435" y="149"/>
                  <a:pt x="435" y="149"/>
                  <a:pt x="435" y="149"/>
                </a:cubicBezTo>
                <a:cubicBezTo>
                  <a:pt x="427" y="153"/>
                  <a:pt x="418" y="151"/>
                  <a:pt x="413" y="144"/>
                </a:cubicBezTo>
                <a:cubicBezTo>
                  <a:pt x="407" y="136"/>
                  <a:pt x="410" y="124"/>
                  <a:pt x="419" y="119"/>
                </a:cubicBezTo>
                <a:cubicBezTo>
                  <a:pt x="424" y="117"/>
                  <a:pt x="424" y="117"/>
                  <a:pt x="424" y="117"/>
                </a:cubicBezTo>
                <a:cubicBezTo>
                  <a:pt x="429" y="114"/>
                  <a:pt x="431" y="107"/>
                  <a:pt x="428" y="102"/>
                </a:cubicBezTo>
                <a:cubicBezTo>
                  <a:pt x="426" y="99"/>
                  <a:pt x="424" y="97"/>
                  <a:pt x="422" y="94"/>
                </a:cubicBezTo>
                <a:cubicBezTo>
                  <a:pt x="419" y="89"/>
                  <a:pt x="411" y="88"/>
                  <a:pt x="407" y="93"/>
                </a:cubicBezTo>
                <a:cubicBezTo>
                  <a:pt x="402" y="96"/>
                  <a:pt x="402" y="96"/>
                  <a:pt x="402" y="96"/>
                </a:cubicBezTo>
                <a:cubicBezTo>
                  <a:pt x="396" y="103"/>
                  <a:pt x="385" y="102"/>
                  <a:pt x="379" y="95"/>
                </a:cubicBezTo>
                <a:cubicBezTo>
                  <a:pt x="372" y="88"/>
                  <a:pt x="373" y="78"/>
                  <a:pt x="380" y="72"/>
                </a:cubicBezTo>
                <a:cubicBezTo>
                  <a:pt x="383" y="68"/>
                  <a:pt x="383" y="68"/>
                  <a:pt x="383" y="68"/>
                </a:cubicBezTo>
                <a:cubicBezTo>
                  <a:pt x="388" y="64"/>
                  <a:pt x="388" y="57"/>
                  <a:pt x="383" y="53"/>
                </a:cubicBezTo>
                <a:cubicBezTo>
                  <a:pt x="380" y="51"/>
                  <a:pt x="378" y="49"/>
                  <a:pt x="375" y="47"/>
                </a:cubicBezTo>
                <a:cubicBezTo>
                  <a:pt x="370" y="43"/>
                  <a:pt x="363" y="44"/>
                  <a:pt x="360" y="50"/>
                </a:cubicBezTo>
                <a:cubicBezTo>
                  <a:pt x="357" y="54"/>
                  <a:pt x="357" y="54"/>
                  <a:pt x="357" y="54"/>
                </a:cubicBezTo>
                <a:cubicBezTo>
                  <a:pt x="353" y="61"/>
                  <a:pt x="344" y="65"/>
                  <a:pt x="337" y="61"/>
                </a:cubicBezTo>
                <a:cubicBezTo>
                  <a:pt x="327" y="58"/>
                  <a:pt x="323" y="46"/>
                  <a:pt x="328" y="37"/>
                </a:cubicBezTo>
                <a:cubicBezTo>
                  <a:pt x="331" y="33"/>
                  <a:pt x="331" y="33"/>
                  <a:pt x="331" y="33"/>
                </a:cubicBezTo>
                <a:cubicBezTo>
                  <a:pt x="334" y="28"/>
                  <a:pt x="332" y="20"/>
                  <a:pt x="326" y="18"/>
                </a:cubicBezTo>
                <a:cubicBezTo>
                  <a:pt x="323" y="17"/>
                  <a:pt x="320" y="16"/>
                  <a:pt x="317" y="14"/>
                </a:cubicBezTo>
                <a:cubicBezTo>
                  <a:pt x="311" y="12"/>
                  <a:pt x="305" y="16"/>
                  <a:pt x="303" y="22"/>
                </a:cubicBezTo>
                <a:cubicBezTo>
                  <a:pt x="302" y="27"/>
                  <a:pt x="302" y="27"/>
                  <a:pt x="302" y="27"/>
                </a:cubicBezTo>
                <a:cubicBezTo>
                  <a:pt x="300" y="35"/>
                  <a:pt x="292" y="40"/>
                  <a:pt x="284" y="40"/>
                </a:cubicBezTo>
                <a:cubicBezTo>
                  <a:pt x="273" y="39"/>
                  <a:pt x="267" y="28"/>
                  <a:pt x="269" y="19"/>
                </a:cubicBezTo>
                <a:cubicBezTo>
                  <a:pt x="270" y="14"/>
                  <a:pt x="270" y="14"/>
                  <a:pt x="270" y="14"/>
                </a:cubicBezTo>
                <a:cubicBezTo>
                  <a:pt x="272" y="8"/>
                  <a:pt x="268" y="2"/>
                  <a:pt x="262" y="1"/>
                </a:cubicBezTo>
                <a:cubicBezTo>
                  <a:pt x="258" y="1"/>
                  <a:pt x="255" y="0"/>
                  <a:pt x="252" y="0"/>
                </a:cubicBezTo>
                <a:cubicBezTo>
                  <a:pt x="246" y="0"/>
                  <a:pt x="241" y="5"/>
                  <a:pt x="241" y="11"/>
                </a:cubicBezTo>
                <a:cubicBezTo>
                  <a:pt x="241" y="16"/>
                  <a:pt x="241" y="16"/>
                  <a:pt x="241" y="16"/>
                </a:cubicBezTo>
                <a:cubicBezTo>
                  <a:pt x="241" y="24"/>
                  <a:pt x="236" y="32"/>
                  <a:pt x="227" y="33"/>
                </a:cubicBezTo>
                <a:cubicBezTo>
                  <a:pt x="217" y="35"/>
                  <a:pt x="208" y="28"/>
                  <a:pt x="207" y="17"/>
                </a:cubicBezTo>
                <a:cubicBezTo>
                  <a:pt x="207" y="13"/>
                  <a:pt x="207" y="13"/>
                  <a:pt x="207" y="13"/>
                </a:cubicBezTo>
                <a:cubicBezTo>
                  <a:pt x="207" y="6"/>
                  <a:pt x="201" y="2"/>
                  <a:pt x="195" y="3"/>
                </a:cubicBezTo>
                <a:cubicBezTo>
                  <a:pt x="192" y="3"/>
                  <a:pt x="189" y="4"/>
                  <a:pt x="186" y="4"/>
                </a:cubicBezTo>
                <a:cubicBezTo>
                  <a:pt x="180" y="6"/>
                  <a:pt x="176" y="12"/>
                  <a:pt x="178" y="18"/>
                </a:cubicBezTo>
                <a:cubicBezTo>
                  <a:pt x="180" y="23"/>
                  <a:pt x="180" y="23"/>
                  <a:pt x="180" y="23"/>
                </a:cubicBezTo>
                <a:cubicBezTo>
                  <a:pt x="182" y="32"/>
                  <a:pt x="178" y="42"/>
                  <a:pt x="169" y="44"/>
                </a:cubicBezTo>
                <a:cubicBezTo>
                  <a:pt x="162" y="50"/>
                  <a:pt x="152" y="48"/>
                  <a:pt x="149" y="39"/>
                </a:cubicBezTo>
                <a:cubicBezTo>
                  <a:pt x="146" y="29"/>
                  <a:pt x="146" y="29"/>
                  <a:pt x="146" y="29"/>
                </a:cubicBezTo>
                <a:cubicBezTo>
                  <a:pt x="144" y="23"/>
                  <a:pt x="137" y="20"/>
                  <a:pt x="132" y="23"/>
                </a:cubicBezTo>
                <a:cubicBezTo>
                  <a:pt x="129" y="24"/>
                  <a:pt x="126" y="26"/>
                  <a:pt x="123" y="27"/>
                </a:cubicBezTo>
                <a:cubicBezTo>
                  <a:pt x="118" y="30"/>
                  <a:pt x="116" y="37"/>
                  <a:pt x="119" y="43"/>
                </a:cubicBezTo>
                <a:cubicBezTo>
                  <a:pt x="123" y="47"/>
                  <a:pt x="123" y="47"/>
                  <a:pt x="123" y="47"/>
                </a:cubicBezTo>
                <a:cubicBezTo>
                  <a:pt x="128" y="56"/>
                  <a:pt x="125" y="68"/>
                  <a:pt x="116" y="72"/>
                </a:cubicBezTo>
                <a:cubicBezTo>
                  <a:pt x="108" y="75"/>
                  <a:pt x="99" y="73"/>
                  <a:pt x="95" y="66"/>
                </a:cubicBezTo>
                <a:cubicBezTo>
                  <a:pt x="92" y="62"/>
                  <a:pt x="92" y="62"/>
                  <a:pt x="92" y="62"/>
                </a:cubicBezTo>
                <a:cubicBezTo>
                  <a:pt x="89" y="57"/>
                  <a:pt x="81" y="56"/>
                  <a:pt x="77" y="60"/>
                </a:cubicBezTo>
                <a:cubicBezTo>
                  <a:pt x="77" y="60"/>
                  <a:pt x="76" y="60"/>
                  <a:pt x="76" y="60"/>
                </a:cubicBezTo>
                <a:cubicBezTo>
                  <a:pt x="74" y="63"/>
                  <a:pt x="72" y="65"/>
                  <a:pt x="70" y="67"/>
                </a:cubicBezTo>
                <a:cubicBezTo>
                  <a:pt x="65" y="71"/>
                  <a:pt x="66" y="79"/>
                  <a:pt x="70" y="83"/>
                </a:cubicBezTo>
                <a:cubicBezTo>
                  <a:pt x="74" y="86"/>
                  <a:pt x="74" y="86"/>
                  <a:pt x="74" y="86"/>
                </a:cubicBezTo>
                <a:cubicBezTo>
                  <a:pt x="81" y="91"/>
                  <a:pt x="83" y="100"/>
                  <a:pt x="79" y="107"/>
                </a:cubicBezTo>
                <a:cubicBezTo>
                  <a:pt x="73" y="117"/>
                  <a:pt x="61" y="119"/>
                  <a:pt x="53" y="112"/>
                </a:cubicBezTo>
                <a:cubicBezTo>
                  <a:pt x="50" y="109"/>
                  <a:pt x="50" y="109"/>
                  <a:pt x="50" y="109"/>
                </a:cubicBezTo>
                <a:cubicBezTo>
                  <a:pt x="45" y="105"/>
                  <a:pt x="37" y="106"/>
                  <a:pt x="34" y="112"/>
                </a:cubicBezTo>
                <a:cubicBezTo>
                  <a:pt x="33" y="115"/>
                  <a:pt x="31" y="117"/>
                  <a:pt x="29" y="120"/>
                </a:cubicBezTo>
                <a:cubicBezTo>
                  <a:pt x="26" y="125"/>
                  <a:pt x="29" y="132"/>
                  <a:pt x="35" y="135"/>
                </a:cubicBezTo>
                <a:cubicBezTo>
                  <a:pt x="39" y="137"/>
                  <a:pt x="39" y="137"/>
                  <a:pt x="39" y="137"/>
                </a:cubicBezTo>
                <a:cubicBezTo>
                  <a:pt x="47" y="140"/>
                  <a:pt x="52" y="148"/>
                  <a:pt x="50" y="156"/>
                </a:cubicBezTo>
                <a:cubicBezTo>
                  <a:pt x="47" y="167"/>
                  <a:pt x="36" y="172"/>
                  <a:pt x="27" y="168"/>
                </a:cubicBezTo>
                <a:cubicBezTo>
                  <a:pt x="22" y="166"/>
                  <a:pt x="22" y="166"/>
                  <a:pt x="22" y="166"/>
                </a:cubicBezTo>
                <a:cubicBezTo>
                  <a:pt x="16" y="164"/>
                  <a:pt x="10" y="167"/>
                  <a:pt x="8" y="173"/>
                </a:cubicBezTo>
                <a:cubicBezTo>
                  <a:pt x="7" y="176"/>
                  <a:pt x="7" y="179"/>
                  <a:pt x="6" y="182"/>
                </a:cubicBezTo>
                <a:cubicBezTo>
                  <a:pt x="4" y="188"/>
                  <a:pt x="9" y="194"/>
                  <a:pt x="15" y="195"/>
                </a:cubicBezTo>
                <a:cubicBezTo>
                  <a:pt x="21" y="196"/>
                  <a:pt x="21" y="196"/>
                  <a:pt x="21" y="196"/>
                </a:cubicBezTo>
                <a:cubicBezTo>
                  <a:pt x="30" y="197"/>
                  <a:pt x="36" y="205"/>
                  <a:pt x="35" y="214"/>
                </a:cubicBezTo>
                <a:cubicBezTo>
                  <a:pt x="41" y="221"/>
                  <a:pt x="36" y="231"/>
                  <a:pt x="27" y="230"/>
                </a:cubicBezTo>
                <a:cubicBezTo>
                  <a:pt x="12" y="229"/>
                  <a:pt x="12" y="229"/>
                  <a:pt x="12" y="229"/>
                </a:cubicBezTo>
                <a:cubicBezTo>
                  <a:pt x="6" y="228"/>
                  <a:pt x="0" y="233"/>
                  <a:pt x="0" y="239"/>
                </a:cubicBezTo>
                <a:cubicBezTo>
                  <a:pt x="0" y="242"/>
                  <a:pt x="1" y="246"/>
                  <a:pt x="1" y="249"/>
                </a:cubicBezTo>
                <a:cubicBezTo>
                  <a:pt x="1" y="255"/>
                  <a:pt x="7" y="259"/>
                  <a:pt x="13" y="258"/>
                </a:cubicBezTo>
                <a:cubicBezTo>
                  <a:pt x="19" y="257"/>
                  <a:pt x="19" y="257"/>
                  <a:pt x="19" y="257"/>
                </a:cubicBezTo>
                <a:cubicBezTo>
                  <a:pt x="28" y="256"/>
                  <a:pt x="36" y="262"/>
                  <a:pt x="38" y="271"/>
                </a:cubicBezTo>
                <a:cubicBezTo>
                  <a:pt x="40" y="280"/>
                  <a:pt x="33" y="289"/>
                  <a:pt x="24" y="291"/>
                </a:cubicBezTo>
                <a:cubicBezTo>
                  <a:pt x="20" y="291"/>
                  <a:pt x="20" y="291"/>
                  <a:pt x="20" y="291"/>
                </a:cubicBezTo>
                <a:cubicBezTo>
                  <a:pt x="13" y="292"/>
                  <a:pt x="9" y="299"/>
                  <a:pt x="11" y="305"/>
                </a:cubicBezTo>
                <a:cubicBezTo>
                  <a:pt x="12" y="308"/>
                  <a:pt x="13" y="311"/>
                  <a:pt x="15" y="314"/>
                </a:cubicBezTo>
                <a:cubicBezTo>
                  <a:pt x="17" y="320"/>
                  <a:pt x="23" y="322"/>
                  <a:pt x="29" y="320"/>
                </a:cubicBezTo>
                <a:cubicBezTo>
                  <a:pt x="34" y="317"/>
                  <a:pt x="34" y="317"/>
                  <a:pt x="34" y="317"/>
                </a:cubicBezTo>
                <a:cubicBezTo>
                  <a:pt x="43" y="313"/>
                  <a:pt x="53" y="317"/>
                  <a:pt x="57" y="325"/>
                </a:cubicBezTo>
                <a:cubicBezTo>
                  <a:pt x="57" y="325"/>
                  <a:pt x="57" y="325"/>
                  <a:pt x="57" y="325"/>
                </a:cubicBezTo>
                <a:cubicBezTo>
                  <a:pt x="61" y="333"/>
                  <a:pt x="57" y="343"/>
                  <a:pt x="49" y="347"/>
                </a:cubicBezTo>
                <a:cubicBezTo>
                  <a:pt x="45" y="349"/>
                  <a:pt x="45" y="349"/>
                  <a:pt x="45" y="349"/>
                </a:cubicBezTo>
                <a:cubicBezTo>
                  <a:pt x="39" y="352"/>
                  <a:pt x="37" y="360"/>
                  <a:pt x="41" y="365"/>
                </a:cubicBezTo>
                <a:cubicBezTo>
                  <a:pt x="42" y="367"/>
                  <a:pt x="44" y="370"/>
                  <a:pt x="46" y="372"/>
                </a:cubicBezTo>
                <a:cubicBezTo>
                  <a:pt x="50" y="377"/>
                  <a:pt x="57" y="378"/>
                  <a:pt x="62" y="374"/>
                </a:cubicBezTo>
                <a:cubicBezTo>
                  <a:pt x="66" y="370"/>
                  <a:pt x="66" y="370"/>
                  <a:pt x="66" y="370"/>
                </a:cubicBezTo>
                <a:cubicBezTo>
                  <a:pt x="73" y="364"/>
                  <a:pt x="83" y="364"/>
                  <a:pt x="90" y="371"/>
                </a:cubicBezTo>
                <a:cubicBezTo>
                  <a:pt x="90" y="371"/>
                  <a:pt x="90" y="371"/>
                  <a:pt x="90" y="371"/>
                </a:cubicBezTo>
                <a:cubicBezTo>
                  <a:pt x="96" y="378"/>
                  <a:pt x="95" y="389"/>
                  <a:pt x="89" y="395"/>
                </a:cubicBezTo>
                <a:cubicBezTo>
                  <a:pt x="85" y="398"/>
                  <a:pt x="85" y="398"/>
                  <a:pt x="85" y="398"/>
                </a:cubicBezTo>
                <a:cubicBezTo>
                  <a:pt x="80" y="402"/>
                  <a:pt x="81" y="410"/>
                  <a:pt x="86" y="414"/>
                </a:cubicBezTo>
                <a:cubicBezTo>
                  <a:pt x="88" y="416"/>
                  <a:pt x="90" y="418"/>
                  <a:pt x="93" y="420"/>
                </a:cubicBezTo>
                <a:cubicBezTo>
                  <a:pt x="98" y="424"/>
                  <a:pt x="105" y="422"/>
                  <a:pt x="108" y="417"/>
                </a:cubicBezTo>
                <a:cubicBezTo>
                  <a:pt x="111" y="412"/>
                  <a:pt x="111" y="412"/>
                  <a:pt x="111" y="412"/>
                </a:cubicBezTo>
                <a:cubicBezTo>
                  <a:pt x="115" y="405"/>
                  <a:pt x="124" y="402"/>
                  <a:pt x="132" y="405"/>
                </a:cubicBezTo>
                <a:cubicBezTo>
                  <a:pt x="142" y="409"/>
                  <a:pt x="145" y="421"/>
                  <a:pt x="140" y="429"/>
                </a:cubicBezTo>
                <a:cubicBezTo>
                  <a:pt x="138" y="433"/>
                  <a:pt x="138" y="433"/>
                  <a:pt x="138" y="433"/>
                </a:cubicBezTo>
                <a:cubicBezTo>
                  <a:pt x="134" y="439"/>
                  <a:pt x="137" y="446"/>
                  <a:pt x="143" y="449"/>
                </a:cubicBezTo>
                <a:cubicBezTo>
                  <a:pt x="145" y="450"/>
                  <a:pt x="148" y="451"/>
                  <a:pt x="151" y="452"/>
                </a:cubicBezTo>
                <a:cubicBezTo>
                  <a:pt x="157" y="454"/>
                  <a:pt x="164" y="451"/>
                  <a:pt x="165" y="445"/>
                </a:cubicBezTo>
                <a:cubicBezTo>
                  <a:pt x="167" y="439"/>
                  <a:pt x="167" y="439"/>
                  <a:pt x="167" y="439"/>
                </a:cubicBezTo>
                <a:cubicBezTo>
                  <a:pt x="169" y="430"/>
                  <a:pt x="178" y="425"/>
                  <a:pt x="187" y="427"/>
                </a:cubicBezTo>
                <a:cubicBezTo>
                  <a:pt x="187" y="427"/>
                  <a:pt x="187" y="427"/>
                  <a:pt x="187" y="427"/>
                </a:cubicBezTo>
                <a:cubicBezTo>
                  <a:pt x="196" y="430"/>
                  <a:pt x="202" y="439"/>
                  <a:pt x="199" y="448"/>
                </a:cubicBezTo>
                <a:cubicBezTo>
                  <a:pt x="198" y="452"/>
                  <a:pt x="198" y="452"/>
                  <a:pt x="198" y="452"/>
                </a:cubicBezTo>
                <a:cubicBezTo>
                  <a:pt x="196" y="459"/>
                  <a:pt x="201" y="465"/>
                  <a:pt x="207" y="466"/>
                </a:cubicBezTo>
                <a:cubicBezTo>
                  <a:pt x="210" y="466"/>
                  <a:pt x="213" y="466"/>
                  <a:pt x="216" y="467"/>
                </a:cubicBezTo>
                <a:cubicBezTo>
                  <a:pt x="222" y="467"/>
                  <a:pt x="228" y="462"/>
                  <a:pt x="228" y="456"/>
                </a:cubicBezTo>
                <a:cubicBezTo>
                  <a:pt x="227" y="450"/>
                  <a:pt x="227" y="450"/>
                  <a:pt x="227" y="450"/>
                </a:cubicBezTo>
                <a:cubicBezTo>
                  <a:pt x="227" y="441"/>
                  <a:pt x="235" y="433"/>
                  <a:pt x="244" y="433"/>
                </a:cubicBezTo>
                <a:cubicBezTo>
                  <a:pt x="253" y="433"/>
                  <a:pt x="261" y="440"/>
                  <a:pt x="261" y="449"/>
                </a:cubicBezTo>
                <a:cubicBezTo>
                  <a:pt x="261" y="454"/>
                  <a:pt x="261" y="454"/>
                  <a:pt x="261" y="454"/>
                </a:cubicBezTo>
                <a:cubicBezTo>
                  <a:pt x="261" y="460"/>
                  <a:pt x="267" y="465"/>
                  <a:pt x="273" y="464"/>
                </a:cubicBezTo>
                <a:cubicBezTo>
                  <a:pt x="277" y="463"/>
                  <a:pt x="280" y="463"/>
                  <a:pt x="283" y="462"/>
                </a:cubicBezTo>
                <a:cubicBezTo>
                  <a:pt x="289" y="461"/>
                  <a:pt x="292" y="455"/>
                  <a:pt x="291" y="449"/>
                </a:cubicBezTo>
                <a:cubicBezTo>
                  <a:pt x="289" y="443"/>
                  <a:pt x="289" y="443"/>
                  <a:pt x="289" y="443"/>
                </a:cubicBezTo>
                <a:cubicBezTo>
                  <a:pt x="286" y="434"/>
                  <a:pt x="291" y="425"/>
                  <a:pt x="300" y="422"/>
                </a:cubicBezTo>
                <a:cubicBezTo>
                  <a:pt x="308" y="419"/>
                  <a:pt x="318" y="424"/>
                  <a:pt x="321" y="433"/>
                </a:cubicBezTo>
                <a:cubicBezTo>
                  <a:pt x="322" y="437"/>
                  <a:pt x="322" y="437"/>
                  <a:pt x="322" y="437"/>
                </a:cubicBezTo>
                <a:cubicBezTo>
                  <a:pt x="324" y="443"/>
                  <a:pt x="331" y="446"/>
                  <a:pt x="337" y="444"/>
                </a:cubicBezTo>
                <a:cubicBezTo>
                  <a:pt x="340" y="442"/>
                  <a:pt x="342" y="441"/>
                  <a:pt x="345" y="439"/>
                </a:cubicBezTo>
                <a:cubicBezTo>
                  <a:pt x="351" y="436"/>
                  <a:pt x="352" y="429"/>
                  <a:pt x="349" y="424"/>
                </a:cubicBezTo>
                <a:cubicBezTo>
                  <a:pt x="346" y="419"/>
                  <a:pt x="346" y="419"/>
                  <a:pt x="346" y="419"/>
                </a:cubicBezTo>
                <a:cubicBezTo>
                  <a:pt x="341" y="412"/>
                  <a:pt x="343" y="401"/>
                  <a:pt x="350" y="396"/>
                </a:cubicBezTo>
                <a:cubicBezTo>
                  <a:pt x="358" y="391"/>
                  <a:pt x="368" y="393"/>
                  <a:pt x="374" y="400"/>
                </a:cubicBezTo>
                <a:cubicBezTo>
                  <a:pt x="376" y="404"/>
                  <a:pt x="376" y="404"/>
                  <a:pt x="376" y="404"/>
                </a:cubicBezTo>
                <a:cubicBezTo>
                  <a:pt x="380" y="409"/>
                  <a:pt x="387" y="410"/>
                  <a:pt x="392" y="406"/>
                </a:cubicBezTo>
                <a:cubicBezTo>
                  <a:pt x="392" y="406"/>
                  <a:pt x="392" y="406"/>
                  <a:pt x="392" y="406"/>
                </a:cubicBezTo>
                <a:cubicBezTo>
                  <a:pt x="394" y="404"/>
                  <a:pt x="397" y="402"/>
                  <a:pt x="399" y="400"/>
                </a:cubicBezTo>
                <a:cubicBezTo>
                  <a:pt x="403" y="395"/>
                  <a:pt x="403" y="388"/>
                  <a:pt x="398" y="384"/>
                </a:cubicBezTo>
                <a:cubicBezTo>
                  <a:pt x="394" y="380"/>
                  <a:pt x="394" y="380"/>
                  <a:pt x="394" y="380"/>
                </a:cubicBezTo>
                <a:cubicBezTo>
                  <a:pt x="386" y="374"/>
                  <a:pt x="385" y="364"/>
                  <a:pt x="391" y="357"/>
                </a:cubicBezTo>
                <a:cubicBezTo>
                  <a:pt x="397" y="350"/>
                  <a:pt x="408" y="349"/>
                  <a:pt x="415" y="354"/>
                </a:cubicBezTo>
                <a:cubicBezTo>
                  <a:pt x="419" y="357"/>
                  <a:pt x="419" y="357"/>
                  <a:pt x="419" y="357"/>
                </a:cubicBezTo>
                <a:cubicBezTo>
                  <a:pt x="424" y="361"/>
                  <a:pt x="431" y="360"/>
                  <a:pt x="434" y="355"/>
                </a:cubicBezTo>
                <a:cubicBezTo>
                  <a:pt x="436" y="352"/>
                  <a:pt x="437" y="349"/>
                  <a:pt x="439" y="347"/>
                </a:cubicBezTo>
                <a:cubicBezTo>
                  <a:pt x="442" y="341"/>
                  <a:pt x="440" y="334"/>
                  <a:pt x="434" y="332"/>
                </a:cubicBezTo>
                <a:cubicBezTo>
                  <a:pt x="429" y="329"/>
                  <a:pt x="429" y="329"/>
                  <a:pt x="429" y="329"/>
                </a:cubicBezTo>
                <a:cubicBezTo>
                  <a:pt x="420" y="326"/>
                  <a:pt x="416" y="316"/>
                  <a:pt x="420" y="307"/>
                </a:cubicBezTo>
                <a:cubicBezTo>
                  <a:pt x="423" y="299"/>
                  <a:pt x="433" y="295"/>
                  <a:pt x="442" y="299"/>
                </a:cubicBezTo>
                <a:cubicBezTo>
                  <a:pt x="446" y="300"/>
                  <a:pt x="446" y="300"/>
                  <a:pt x="446" y="300"/>
                </a:cubicBezTo>
                <a:cubicBezTo>
                  <a:pt x="452" y="303"/>
                  <a:pt x="459" y="300"/>
                  <a:pt x="460" y="293"/>
                </a:cubicBezTo>
                <a:cubicBezTo>
                  <a:pt x="461" y="290"/>
                  <a:pt x="462" y="287"/>
                  <a:pt x="463" y="284"/>
                </a:cubicBezTo>
                <a:cubicBezTo>
                  <a:pt x="464" y="278"/>
                  <a:pt x="460" y="272"/>
                  <a:pt x="453" y="271"/>
                </a:cubicBezTo>
                <a:cubicBezTo>
                  <a:pt x="448" y="271"/>
                  <a:pt x="448" y="271"/>
                  <a:pt x="448" y="271"/>
                </a:cubicBezTo>
                <a:cubicBezTo>
                  <a:pt x="439" y="270"/>
                  <a:pt x="432" y="261"/>
                  <a:pt x="433" y="252"/>
                </a:cubicBezTo>
                <a:cubicBezTo>
                  <a:pt x="427" y="246"/>
                  <a:pt x="432" y="235"/>
                  <a:pt x="441" y="236"/>
                </a:cubicBezTo>
                <a:close/>
                <a:moveTo>
                  <a:pt x="307" y="90"/>
                </a:moveTo>
                <a:cubicBezTo>
                  <a:pt x="323" y="99"/>
                  <a:pt x="339" y="110"/>
                  <a:pt x="353" y="125"/>
                </a:cubicBezTo>
                <a:cubicBezTo>
                  <a:pt x="365" y="139"/>
                  <a:pt x="374" y="154"/>
                  <a:pt x="381" y="170"/>
                </a:cubicBezTo>
                <a:cubicBezTo>
                  <a:pt x="371" y="174"/>
                  <a:pt x="371" y="174"/>
                  <a:pt x="371" y="174"/>
                </a:cubicBezTo>
                <a:cubicBezTo>
                  <a:pt x="366" y="162"/>
                  <a:pt x="359" y="151"/>
                  <a:pt x="351" y="140"/>
                </a:cubicBezTo>
                <a:cubicBezTo>
                  <a:pt x="346" y="145"/>
                  <a:pt x="346" y="145"/>
                  <a:pt x="346" y="145"/>
                </a:cubicBezTo>
                <a:cubicBezTo>
                  <a:pt x="341" y="140"/>
                  <a:pt x="337" y="135"/>
                  <a:pt x="332" y="130"/>
                </a:cubicBezTo>
                <a:cubicBezTo>
                  <a:pt x="337" y="125"/>
                  <a:pt x="337" y="125"/>
                  <a:pt x="337" y="125"/>
                </a:cubicBezTo>
                <a:cubicBezTo>
                  <a:pt x="327" y="115"/>
                  <a:pt x="315" y="107"/>
                  <a:pt x="302" y="100"/>
                </a:cubicBezTo>
                <a:lnTo>
                  <a:pt x="307" y="90"/>
                </a:lnTo>
                <a:close/>
                <a:moveTo>
                  <a:pt x="293" y="84"/>
                </a:moveTo>
                <a:cubicBezTo>
                  <a:pt x="289" y="94"/>
                  <a:pt x="289" y="94"/>
                  <a:pt x="289" y="94"/>
                </a:cubicBezTo>
                <a:cubicBezTo>
                  <a:pt x="278" y="90"/>
                  <a:pt x="266" y="87"/>
                  <a:pt x="254" y="85"/>
                </a:cubicBezTo>
                <a:cubicBezTo>
                  <a:pt x="253" y="93"/>
                  <a:pt x="253" y="93"/>
                  <a:pt x="253" y="93"/>
                </a:cubicBezTo>
                <a:cubicBezTo>
                  <a:pt x="247" y="92"/>
                  <a:pt x="241" y="91"/>
                  <a:pt x="234" y="91"/>
                </a:cubicBezTo>
                <a:cubicBezTo>
                  <a:pt x="234" y="91"/>
                  <a:pt x="233" y="91"/>
                  <a:pt x="233" y="91"/>
                </a:cubicBezTo>
                <a:cubicBezTo>
                  <a:pt x="233" y="84"/>
                  <a:pt x="233" y="84"/>
                  <a:pt x="233" y="84"/>
                </a:cubicBezTo>
                <a:cubicBezTo>
                  <a:pt x="218" y="84"/>
                  <a:pt x="203" y="86"/>
                  <a:pt x="188" y="91"/>
                </a:cubicBezTo>
                <a:cubicBezTo>
                  <a:pt x="184" y="81"/>
                  <a:pt x="184" y="81"/>
                  <a:pt x="184" y="81"/>
                </a:cubicBezTo>
                <a:cubicBezTo>
                  <a:pt x="220" y="69"/>
                  <a:pt x="259" y="71"/>
                  <a:pt x="293" y="84"/>
                </a:cubicBezTo>
                <a:close/>
                <a:moveTo>
                  <a:pt x="126" y="115"/>
                </a:moveTo>
                <a:cubicBezTo>
                  <a:pt x="140" y="103"/>
                  <a:pt x="155" y="93"/>
                  <a:pt x="171" y="86"/>
                </a:cubicBezTo>
                <a:cubicBezTo>
                  <a:pt x="175" y="96"/>
                  <a:pt x="175" y="96"/>
                  <a:pt x="175" y="96"/>
                </a:cubicBezTo>
                <a:cubicBezTo>
                  <a:pt x="164" y="101"/>
                  <a:pt x="154" y="107"/>
                  <a:pt x="144" y="114"/>
                </a:cubicBezTo>
                <a:cubicBezTo>
                  <a:pt x="149" y="120"/>
                  <a:pt x="149" y="120"/>
                  <a:pt x="149" y="120"/>
                </a:cubicBezTo>
                <a:cubicBezTo>
                  <a:pt x="144" y="124"/>
                  <a:pt x="139" y="128"/>
                  <a:pt x="134" y="133"/>
                </a:cubicBezTo>
                <a:cubicBezTo>
                  <a:pt x="129" y="127"/>
                  <a:pt x="129" y="127"/>
                  <a:pt x="129" y="127"/>
                </a:cubicBezTo>
                <a:cubicBezTo>
                  <a:pt x="117" y="139"/>
                  <a:pt x="108" y="152"/>
                  <a:pt x="101" y="165"/>
                </a:cubicBezTo>
                <a:cubicBezTo>
                  <a:pt x="91" y="161"/>
                  <a:pt x="91" y="161"/>
                  <a:pt x="91" y="161"/>
                </a:cubicBezTo>
                <a:cubicBezTo>
                  <a:pt x="100" y="144"/>
                  <a:pt x="111" y="128"/>
                  <a:pt x="126" y="115"/>
                </a:cubicBezTo>
                <a:close/>
                <a:moveTo>
                  <a:pt x="85" y="174"/>
                </a:moveTo>
                <a:cubicBezTo>
                  <a:pt x="95" y="179"/>
                  <a:pt x="95" y="179"/>
                  <a:pt x="95" y="179"/>
                </a:cubicBezTo>
                <a:cubicBezTo>
                  <a:pt x="91" y="190"/>
                  <a:pt x="88" y="202"/>
                  <a:pt x="86" y="214"/>
                </a:cubicBezTo>
                <a:cubicBezTo>
                  <a:pt x="94" y="214"/>
                  <a:pt x="94" y="214"/>
                  <a:pt x="94" y="214"/>
                </a:cubicBezTo>
                <a:cubicBezTo>
                  <a:pt x="93" y="220"/>
                  <a:pt x="92" y="227"/>
                  <a:pt x="92" y="233"/>
                </a:cubicBezTo>
                <a:cubicBezTo>
                  <a:pt x="92" y="234"/>
                  <a:pt x="92" y="234"/>
                  <a:pt x="92" y="234"/>
                </a:cubicBezTo>
                <a:cubicBezTo>
                  <a:pt x="85" y="234"/>
                  <a:pt x="85" y="234"/>
                  <a:pt x="85" y="234"/>
                </a:cubicBezTo>
                <a:cubicBezTo>
                  <a:pt x="85" y="249"/>
                  <a:pt x="87" y="265"/>
                  <a:pt x="92" y="279"/>
                </a:cubicBezTo>
                <a:cubicBezTo>
                  <a:pt x="82" y="283"/>
                  <a:pt x="82" y="283"/>
                  <a:pt x="82" y="283"/>
                </a:cubicBezTo>
                <a:cubicBezTo>
                  <a:pt x="70" y="248"/>
                  <a:pt x="72" y="209"/>
                  <a:pt x="85" y="174"/>
                </a:cubicBezTo>
                <a:close/>
                <a:moveTo>
                  <a:pt x="162" y="376"/>
                </a:moveTo>
                <a:cubicBezTo>
                  <a:pt x="145" y="368"/>
                  <a:pt x="129" y="356"/>
                  <a:pt x="116" y="341"/>
                </a:cubicBezTo>
                <a:cubicBezTo>
                  <a:pt x="104" y="328"/>
                  <a:pt x="94" y="313"/>
                  <a:pt x="87" y="297"/>
                </a:cubicBezTo>
                <a:cubicBezTo>
                  <a:pt x="97" y="293"/>
                  <a:pt x="97" y="293"/>
                  <a:pt x="97" y="293"/>
                </a:cubicBezTo>
                <a:cubicBezTo>
                  <a:pt x="102" y="305"/>
                  <a:pt x="109" y="316"/>
                  <a:pt x="117" y="326"/>
                </a:cubicBezTo>
                <a:cubicBezTo>
                  <a:pt x="123" y="321"/>
                  <a:pt x="123" y="321"/>
                  <a:pt x="123" y="321"/>
                </a:cubicBezTo>
                <a:cubicBezTo>
                  <a:pt x="127" y="326"/>
                  <a:pt x="132" y="331"/>
                  <a:pt x="137" y="336"/>
                </a:cubicBezTo>
                <a:cubicBezTo>
                  <a:pt x="131" y="341"/>
                  <a:pt x="131" y="341"/>
                  <a:pt x="131" y="341"/>
                </a:cubicBezTo>
                <a:cubicBezTo>
                  <a:pt x="142" y="351"/>
                  <a:pt x="154" y="360"/>
                  <a:pt x="166" y="366"/>
                </a:cubicBezTo>
                <a:lnTo>
                  <a:pt x="162" y="376"/>
                </a:lnTo>
                <a:close/>
                <a:moveTo>
                  <a:pt x="175" y="382"/>
                </a:moveTo>
                <a:cubicBezTo>
                  <a:pt x="179" y="372"/>
                  <a:pt x="179" y="372"/>
                  <a:pt x="179" y="372"/>
                </a:cubicBezTo>
                <a:cubicBezTo>
                  <a:pt x="193" y="377"/>
                  <a:pt x="206" y="381"/>
                  <a:pt x="220" y="382"/>
                </a:cubicBezTo>
                <a:cubicBezTo>
                  <a:pt x="220" y="374"/>
                  <a:pt x="220" y="374"/>
                  <a:pt x="220" y="374"/>
                </a:cubicBezTo>
                <a:cubicBezTo>
                  <a:pt x="225" y="375"/>
                  <a:pt x="229" y="375"/>
                  <a:pt x="234" y="375"/>
                </a:cubicBezTo>
                <a:cubicBezTo>
                  <a:pt x="236" y="375"/>
                  <a:pt x="238" y="375"/>
                  <a:pt x="241" y="375"/>
                </a:cubicBezTo>
                <a:cubicBezTo>
                  <a:pt x="240" y="382"/>
                  <a:pt x="240" y="382"/>
                  <a:pt x="240" y="382"/>
                </a:cubicBezTo>
                <a:cubicBezTo>
                  <a:pt x="254" y="382"/>
                  <a:pt x="267" y="380"/>
                  <a:pt x="280" y="375"/>
                </a:cubicBezTo>
                <a:cubicBezTo>
                  <a:pt x="284" y="386"/>
                  <a:pt x="284" y="386"/>
                  <a:pt x="284" y="386"/>
                </a:cubicBezTo>
                <a:cubicBezTo>
                  <a:pt x="249" y="397"/>
                  <a:pt x="210" y="396"/>
                  <a:pt x="175" y="382"/>
                </a:cubicBezTo>
                <a:close/>
                <a:moveTo>
                  <a:pt x="342" y="352"/>
                </a:moveTo>
                <a:cubicBezTo>
                  <a:pt x="329" y="364"/>
                  <a:pt x="314" y="374"/>
                  <a:pt x="298" y="380"/>
                </a:cubicBezTo>
                <a:cubicBezTo>
                  <a:pt x="294" y="370"/>
                  <a:pt x="294" y="370"/>
                  <a:pt x="294" y="370"/>
                </a:cubicBezTo>
                <a:cubicBezTo>
                  <a:pt x="307" y="365"/>
                  <a:pt x="319" y="357"/>
                  <a:pt x="330" y="348"/>
                </a:cubicBezTo>
                <a:cubicBezTo>
                  <a:pt x="325" y="342"/>
                  <a:pt x="325" y="342"/>
                  <a:pt x="325" y="342"/>
                </a:cubicBezTo>
                <a:cubicBezTo>
                  <a:pt x="330" y="338"/>
                  <a:pt x="335" y="333"/>
                  <a:pt x="340" y="328"/>
                </a:cubicBezTo>
                <a:cubicBezTo>
                  <a:pt x="345" y="334"/>
                  <a:pt x="345" y="334"/>
                  <a:pt x="345" y="334"/>
                </a:cubicBezTo>
                <a:cubicBezTo>
                  <a:pt x="354" y="324"/>
                  <a:pt x="361" y="313"/>
                  <a:pt x="367" y="301"/>
                </a:cubicBezTo>
                <a:cubicBezTo>
                  <a:pt x="377" y="306"/>
                  <a:pt x="377" y="306"/>
                  <a:pt x="377" y="306"/>
                </a:cubicBezTo>
                <a:cubicBezTo>
                  <a:pt x="369" y="322"/>
                  <a:pt x="357" y="338"/>
                  <a:pt x="342" y="352"/>
                </a:cubicBezTo>
                <a:close/>
                <a:moveTo>
                  <a:pt x="383" y="292"/>
                </a:moveTo>
                <a:cubicBezTo>
                  <a:pt x="373" y="288"/>
                  <a:pt x="373" y="288"/>
                  <a:pt x="373" y="288"/>
                </a:cubicBezTo>
                <a:cubicBezTo>
                  <a:pt x="378" y="275"/>
                  <a:pt x="382" y="261"/>
                  <a:pt x="383" y="248"/>
                </a:cubicBezTo>
                <a:cubicBezTo>
                  <a:pt x="375" y="247"/>
                  <a:pt x="375" y="247"/>
                  <a:pt x="375" y="247"/>
                </a:cubicBezTo>
                <a:cubicBezTo>
                  <a:pt x="376" y="243"/>
                  <a:pt x="376" y="238"/>
                  <a:pt x="376" y="233"/>
                </a:cubicBezTo>
                <a:cubicBezTo>
                  <a:pt x="376" y="231"/>
                  <a:pt x="376" y="229"/>
                  <a:pt x="376" y="227"/>
                </a:cubicBezTo>
                <a:cubicBezTo>
                  <a:pt x="383" y="227"/>
                  <a:pt x="383" y="227"/>
                  <a:pt x="383" y="227"/>
                </a:cubicBezTo>
                <a:cubicBezTo>
                  <a:pt x="383" y="214"/>
                  <a:pt x="380" y="200"/>
                  <a:pt x="376" y="187"/>
                </a:cubicBezTo>
                <a:cubicBezTo>
                  <a:pt x="386" y="183"/>
                  <a:pt x="386" y="183"/>
                  <a:pt x="386" y="183"/>
                </a:cubicBezTo>
                <a:cubicBezTo>
                  <a:pt x="398" y="219"/>
                  <a:pt x="397" y="258"/>
                  <a:pt x="383" y="29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2" name="Freeform 21"/>
          <p:cNvSpPr>
            <a:spLocks noEditPoints="1"/>
          </p:cNvSpPr>
          <p:nvPr/>
        </p:nvSpPr>
        <p:spPr bwMode="auto">
          <a:xfrm rot="21283744">
            <a:off x="8427458" y="4921394"/>
            <a:ext cx="3657600" cy="3657600"/>
          </a:xfrm>
          <a:custGeom>
            <a:avLst/>
            <a:gdLst>
              <a:gd name="T0" fmla="*/ 497 w 526"/>
              <a:gd name="T1" fmla="*/ 319 h 528"/>
              <a:gd name="T2" fmla="*/ 503 w 526"/>
              <a:gd name="T3" fmla="*/ 275 h 528"/>
              <a:gd name="T4" fmla="*/ 501 w 526"/>
              <a:gd name="T5" fmla="*/ 230 h 528"/>
              <a:gd name="T6" fmla="*/ 491 w 526"/>
              <a:gd name="T7" fmla="*/ 187 h 528"/>
              <a:gd name="T8" fmla="*/ 473 w 526"/>
              <a:gd name="T9" fmla="*/ 147 h 528"/>
              <a:gd name="T10" fmla="*/ 448 w 526"/>
              <a:gd name="T11" fmla="*/ 110 h 528"/>
              <a:gd name="T12" fmla="*/ 416 w 526"/>
              <a:gd name="T13" fmla="*/ 79 h 528"/>
              <a:gd name="T14" fmla="*/ 379 w 526"/>
              <a:gd name="T15" fmla="*/ 53 h 528"/>
              <a:gd name="T16" fmla="*/ 339 w 526"/>
              <a:gd name="T17" fmla="*/ 36 h 528"/>
              <a:gd name="T18" fmla="*/ 296 w 526"/>
              <a:gd name="T19" fmla="*/ 25 h 528"/>
              <a:gd name="T20" fmla="*/ 251 w 526"/>
              <a:gd name="T21" fmla="*/ 24 h 528"/>
              <a:gd name="T22" fmla="*/ 207 w 526"/>
              <a:gd name="T23" fmla="*/ 30 h 528"/>
              <a:gd name="T24" fmla="*/ 165 w 526"/>
              <a:gd name="T25" fmla="*/ 44 h 528"/>
              <a:gd name="T26" fmla="*/ 126 w 526"/>
              <a:gd name="T27" fmla="*/ 66 h 528"/>
              <a:gd name="T28" fmla="*/ 92 w 526"/>
              <a:gd name="T29" fmla="*/ 94 h 528"/>
              <a:gd name="T30" fmla="*/ 64 w 526"/>
              <a:gd name="T31" fmla="*/ 128 h 528"/>
              <a:gd name="T32" fmla="*/ 42 w 526"/>
              <a:gd name="T33" fmla="*/ 167 h 528"/>
              <a:gd name="T34" fmla="*/ 28 w 526"/>
              <a:gd name="T35" fmla="*/ 209 h 528"/>
              <a:gd name="T36" fmla="*/ 22 w 526"/>
              <a:gd name="T37" fmla="*/ 253 h 528"/>
              <a:gd name="T38" fmla="*/ 24 w 526"/>
              <a:gd name="T39" fmla="*/ 298 h 528"/>
              <a:gd name="T40" fmla="*/ 34 w 526"/>
              <a:gd name="T41" fmla="*/ 341 h 528"/>
              <a:gd name="T42" fmla="*/ 52 w 526"/>
              <a:gd name="T43" fmla="*/ 382 h 528"/>
              <a:gd name="T44" fmla="*/ 78 w 526"/>
              <a:gd name="T45" fmla="*/ 418 h 528"/>
              <a:gd name="T46" fmla="*/ 109 w 526"/>
              <a:gd name="T47" fmla="*/ 450 h 528"/>
              <a:gd name="T48" fmla="*/ 146 w 526"/>
              <a:gd name="T49" fmla="*/ 475 h 528"/>
              <a:gd name="T50" fmla="*/ 186 w 526"/>
              <a:gd name="T51" fmla="*/ 493 h 528"/>
              <a:gd name="T52" fmla="*/ 230 w 526"/>
              <a:gd name="T53" fmla="*/ 503 h 528"/>
              <a:gd name="T54" fmla="*/ 274 w 526"/>
              <a:gd name="T55" fmla="*/ 505 h 528"/>
              <a:gd name="T56" fmla="*/ 318 w 526"/>
              <a:gd name="T57" fmla="*/ 498 h 528"/>
              <a:gd name="T58" fmla="*/ 360 w 526"/>
              <a:gd name="T59" fmla="*/ 484 h 528"/>
              <a:gd name="T60" fmla="*/ 399 w 526"/>
              <a:gd name="T61" fmla="*/ 463 h 528"/>
              <a:gd name="T62" fmla="*/ 433 w 526"/>
              <a:gd name="T63" fmla="*/ 434 h 528"/>
              <a:gd name="T64" fmla="*/ 462 w 526"/>
              <a:gd name="T65" fmla="*/ 400 h 528"/>
              <a:gd name="T66" fmla="*/ 483 w 526"/>
              <a:gd name="T67" fmla="*/ 361 h 528"/>
              <a:gd name="T68" fmla="*/ 425 w 526"/>
              <a:gd name="T69" fmla="*/ 113 h 528"/>
              <a:gd name="T70" fmla="*/ 415 w 526"/>
              <a:gd name="T71" fmla="*/ 150 h 528"/>
              <a:gd name="T72" fmla="*/ 270 w 526"/>
              <a:gd name="T73" fmla="*/ 43 h 528"/>
              <a:gd name="T74" fmla="*/ 290 w 526"/>
              <a:gd name="T75" fmla="*/ 76 h 528"/>
              <a:gd name="T76" fmla="*/ 253 w 526"/>
              <a:gd name="T77" fmla="*/ 58 h 528"/>
              <a:gd name="T78" fmla="*/ 115 w 526"/>
              <a:gd name="T79" fmla="*/ 99 h 528"/>
              <a:gd name="T80" fmla="*/ 121 w 526"/>
              <a:gd name="T81" fmla="*/ 137 h 528"/>
              <a:gd name="T82" fmla="*/ 56 w 526"/>
              <a:gd name="T83" fmla="*/ 273 h 528"/>
              <a:gd name="T84" fmla="*/ 58 w 526"/>
              <a:gd name="T85" fmla="*/ 236 h 528"/>
              <a:gd name="T86" fmla="*/ 73 w 526"/>
              <a:gd name="T87" fmla="*/ 274 h 528"/>
              <a:gd name="T88" fmla="*/ 101 w 526"/>
              <a:gd name="T89" fmla="*/ 416 h 528"/>
              <a:gd name="T90" fmla="*/ 110 w 526"/>
              <a:gd name="T91" fmla="*/ 378 h 528"/>
              <a:gd name="T92" fmla="*/ 255 w 526"/>
              <a:gd name="T93" fmla="*/ 486 h 528"/>
              <a:gd name="T94" fmla="*/ 235 w 526"/>
              <a:gd name="T95" fmla="*/ 452 h 528"/>
              <a:gd name="T96" fmla="*/ 272 w 526"/>
              <a:gd name="T97" fmla="*/ 470 h 528"/>
              <a:gd name="T98" fmla="*/ 410 w 526"/>
              <a:gd name="T99" fmla="*/ 430 h 528"/>
              <a:gd name="T100" fmla="*/ 404 w 526"/>
              <a:gd name="T101" fmla="*/ 391 h 528"/>
              <a:gd name="T102" fmla="*/ 467 w 526"/>
              <a:gd name="T103" fmla="*/ 292 h 528"/>
              <a:gd name="T104" fmla="*/ 452 w 526"/>
              <a:gd name="T105" fmla="*/ 254 h 528"/>
              <a:gd name="T106" fmla="*/ 484 w 526"/>
              <a:gd name="T107" fmla="*/ 277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26" h="528">
                <a:moveTo>
                  <a:pt x="491" y="341"/>
                </a:moveTo>
                <a:cubicBezTo>
                  <a:pt x="517" y="336"/>
                  <a:pt x="517" y="336"/>
                  <a:pt x="517" y="336"/>
                </a:cubicBezTo>
                <a:cubicBezTo>
                  <a:pt x="497" y="319"/>
                  <a:pt x="497" y="319"/>
                  <a:pt x="497" y="319"/>
                </a:cubicBezTo>
                <a:cubicBezTo>
                  <a:pt x="490" y="312"/>
                  <a:pt x="492" y="301"/>
                  <a:pt x="501" y="297"/>
                </a:cubicBezTo>
                <a:cubicBezTo>
                  <a:pt x="526" y="288"/>
                  <a:pt x="526" y="288"/>
                  <a:pt x="526" y="288"/>
                </a:cubicBezTo>
                <a:cubicBezTo>
                  <a:pt x="503" y="275"/>
                  <a:pt x="503" y="275"/>
                  <a:pt x="503" y="275"/>
                </a:cubicBezTo>
                <a:cubicBezTo>
                  <a:pt x="495" y="270"/>
                  <a:pt x="495" y="258"/>
                  <a:pt x="503" y="253"/>
                </a:cubicBezTo>
                <a:cubicBezTo>
                  <a:pt x="526" y="240"/>
                  <a:pt x="526" y="240"/>
                  <a:pt x="526" y="240"/>
                </a:cubicBezTo>
                <a:cubicBezTo>
                  <a:pt x="501" y="230"/>
                  <a:pt x="501" y="230"/>
                  <a:pt x="501" y="230"/>
                </a:cubicBezTo>
                <a:cubicBezTo>
                  <a:pt x="492" y="227"/>
                  <a:pt x="490" y="215"/>
                  <a:pt x="497" y="209"/>
                </a:cubicBezTo>
                <a:cubicBezTo>
                  <a:pt x="517" y="192"/>
                  <a:pt x="517" y="192"/>
                  <a:pt x="517" y="192"/>
                </a:cubicBezTo>
                <a:cubicBezTo>
                  <a:pt x="491" y="187"/>
                  <a:pt x="491" y="187"/>
                  <a:pt x="491" y="187"/>
                </a:cubicBezTo>
                <a:cubicBezTo>
                  <a:pt x="481" y="186"/>
                  <a:pt x="477" y="174"/>
                  <a:pt x="483" y="167"/>
                </a:cubicBezTo>
                <a:cubicBezTo>
                  <a:pt x="499" y="146"/>
                  <a:pt x="499" y="146"/>
                  <a:pt x="499" y="146"/>
                </a:cubicBezTo>
                <a:cubicBezTo>
                  <a:pt x="473" y="147"/>
                  <a:pt x="473" y="147"/>
                  <a:pt x="473" y="147"/>
                </a:cubicBezTo>
                <a:cubicBezTo>
                  <a:pt x="463" y="147"/>
                  <a:pt x="457" y="137"/>
                  <a:pt x="461" y="128"/>
                </a:cubicBezTo>
                <a:cubicBezTo>
                  <a:pt x="473" y="105"/>
                  <a:pt x="473" y="105"/>
                  <a:pt x="473" y="105"/>
                </a:cubicBezTo>
                <a:cubicBezTo>
                  <a:pt x="448" y="110"/>
                  <a:pt x="448" y="110"/>
                  <a:pt x="448" y="110"/>
                </a:cubicBezTo>
                <a:cubicBezTo>
                  <a:pt x="438" y="112"/>
                  <a:pt x="430" y="103"/>
                  <a:pt x="433" y="94"/>
                </a:cubicBezTo>
                <a:cubicBezTo>
                  <a:pt x="440" y="69"/>
                  <a:pt x="440" y="69"/>
                  <a:pt x="440" y="69"/>
                </a:cubicBezTo>
                <a:cubicBezTo>
                  <a:pt x="416" y="79"/>
                  <a:pt x="416" y="79"/>
                  <a:pt x="416" y="79"/>
                </a:cubicBezTo>
                <a:cubicBezTo>
                  <a:pt x="407" y="82"/>
                  <a:pt x="398" y="75"/>
                  <a:pt x="399" y="65"/>
                </a:cubicBezTo>
                <a:cubicBezTo>
                  <a:pt x="401" y="39"/>
                  <a:pt x="401" y="39"/>
                  <a:pt x="401" y="39"/>
                </a:cubicBezTo>
                <a:cubicBezTo>
                  <a:pt x="379" y="53"/>
                  <a:pt x="379" y="53"/>
                  <a:pt x="379" y="53"/>
                </a:cubicBezTo>
                <a:cubicBezTo>
                  <a:pt x="371" y="59"/>
                  <a:pt x="361" y="53"/>
                  <a:pt x="360" y="44"/>
                </a:cubicBezTo>
                <a:cubicBezTo>
                  <a:pt x="358" y="18"/>
                  <a:pt x="358" y="18"/>
                  <a:pt x="358" y="18"/>
                </a:cubicBezTo>
                <a:cubicBezTo>
                  <a:pt x="339" y="36"/>
                  <a:pt x="339" y="36"/>
                  <a:pt x="339" y="36"/>
                </a:cubicBezTo>
                <a:cubicBezTo>
                  <a:pt x="332" y="42"/>
                  <a:pt x="320" y="39"/>
                  <a:pt x="318" y="30"/>
                </a:cubicBezTo>
                <a:cubicBezTo>
                  <a:pt x="311" y="4"/>
                  <a:pt x="311" y="4"/>
                  <a:pt x="311" y="4"/>
                </a:cubicBezTo>
                <a:cubicBezTo>
                  <a:pt x="296" y="25"/>
                  <a:pt x="296" y="25"/>
                  <a:pt x="296" y="25"/>
                </a:cubicBezTo>
                <a:cubicBezTo>
                  <a:pt x="290" y="33"/>
                  <a:pt x="278" y="32"/>
                  <a:pt x="274" y="23"/>
                </a:cubicBezTo>
                <a:cubicBezTo>
                  <a:pt x="262" y="0"/>
                  <a:pt x="262" y="0"/>
                  <a:pt x="262" y="0"/>
                </a:cubicBezTo>
                <a:cubicBezTo>
                  <a:pt x="251" y="24"/>
                  <a:pt x="251" y="24"/>
                  <a:pt x="251" y="24"/>
                </a:cubicBezTo>
                <a:cubicBezTo>
                  <a:pt x="247" y="32"/>
                  <a:pt x="235" y="33"/>
                  <a:pt x="229" y="26"/>
                </a:cubicBezTo>
                <a:cubicBezTo>
                  <a:pt x="214" y="4"/>
                  <a:pt x="214" y="4"/>
                  <a:pt x="214" y="4"/>
                </a:cubicBezTo>
                <a:cubicBezTo>
                  <a:pt x="207" y="30"/>
                  <a:pt x="207" y="30"/>
                  <a:pt x="207" y="30"/>
                </a:cubicBezTo>
                <a:cubicBezTo>
                  <a:pt x="205" y="39"/>
                  <a:pt x="193" y="42"/>
                  <a:pt x="186" y="36"/>
                </a:cubicBezTo>
                <a:cubicBezTo>
                  <a:pt x="167" y="18"/>
                  <a:pt x="167" y="18"/>
                  <a:pt x="167" y="18"/>
                </a:cubicBezTo>
                <a:cubicBezTo>
                  <a:pt x="165" y="44"/>
                  <a:pt x="165" y="44"/>
                  <a:pt x="165" y="44"/>
                </a:cubicBezTo>
                <a:cubicBezTo>
                  <a:pt x="164" y="53"/>
                  <a:pt x="154" y="59"/>
                  <a:pt x="145" y="54"/>
                </a:cubicBezTo>
                <a:cubicBezTo>
                  <a:pt x="123" y="40"/>
                  <a:pt x="123" y="40"/>
                  <a:pt x="123" y="40"/>
                </a:cubicBezTo>
                <a:cubicBezTo>
                  <a:pt x="126" y="66"/>
                  <a:pt x="126" y="66"/>
                  <a:pt x="126" y="66"/>
                </a:cubicBezTo>
                <a:cubicBezTo>
                  <a:pt x="127" y="75"/>
                  <a:pt x="118" y="82"/>
                  <a:pt x="109" y="79"/>
                </a:cubicBezTo>
                <a:cubicBezTo>
                  <a:pt x="85" y="69"/>
                  <a:pt x="85" y="69"/>
                  <a:pt x="85" y="69"/>
                </a:cubicBezTo>
                <a:cubicBezTo>
                  <a:pt x="92" y="94"/>
                  <a:pt x="92" y="94"/>
                  <a:pt x="92" y="94"/>
                </a:cubicBezTo>
                <a:cubicBezTo>
                  <a:pt x="95" y="103"/>
                  <a:pt x="87" y="112"/>
                  <a:pt x="77" y="110"/>
                </a:cubicBezTo>
                <a:cubicBezTo>
                  <a:pt x="52" y="105"/>
                  <a:pt x="52" y="105"/>
                  <a:pt x="52" y="105"/>
                </a:cubicBezTo>
                <a:cubicBezTo>
                  <a:pt x="64" y="128"/>
                  <a:pt x="64" y="128"/>
                  <a:pt x="64" y="128"/>
                </a:cubicBezTo>
                <a:cubicBezTo>
                  <a:pt x="68" y="137"/>
                  <a:pt x="62" y="147"/>
                  <a:pt x="52" y="147"/>
                </a:cubicBezTo>
                <a:cubicBezTo>
                  <a:pt x="26" y="147"/>
                  <a:pt x="26" y="147"/>
                  <a:pt x="26" y="147"/>
                </a:cubicBezTo>
                <a:cubicBezTo>
                  <a:pt x="42" y="167"/>
                  <a:pt x="42" y="167"/>
                  <a:pt x="42" y="167"/>
                </a:cubicBezTo>
                <a:cubicBezTo>
                  <a:pt x="48" y="175"/>
                  <a:pt x="44" y="186"/>
                  <a:pt x="34" y="188"/>
                </a:cubicBezTo>
                <a:cubicBezTo>
                  <a:pt x="9" y="192"/>
                  <a:pt x="9" y="192"/>
                  <a:pt x="9" y="192"/>
                </a:cubicBezTo>
                <a:cubicBezTo>
                  <a:pt x="28" y="209"/>
                  <a:pt x="28" y="209"/>
                  <a:pt x="28" y="209"/>
                </a:cubicBezTo>
                <a:cubicBezTo>
                  <a:pt x="35" y="216"/>
                  <a:pt x="33" y="227"/>
                  <a:pt x="24" y="231"/>
                </a:cubicBezTo>
                <a:cubicBezTo>
                  <a:pt x="0" y="240"/>
                  <a:pt x="0" y="240"/>
                  <a:pt x="0" y="240"/>
                </a:cubicBezTo>
                <a:cubicBezTo>
                  <a:pt x="22" y="253"/>
                  <a:pt x="22" y="253"/>
                  <a:pt x="22" y="253"/>
                </a:cubicBezTo>
                <a:cubicBezTo>
                  <a:pt x="30" y="258"/>
                  <a:pt x="30" y="270"/>
                  <a:pt x="22" y="275"/>
                </a:cubicBezTo>
                <a:cubicBezTo>
                  <a:pt x="0" y="289"/>
                  <a:pt x="0" y="289"/>
                  <a:pt x="0" y="289"/>
                </a:cubicBezTo>
                <a:cubicBezTo>
                  <a:pt x="24" y="298"/>
                  <a:pt x="24" y="298"/>
                  <a:pt x="24" y="298"/>
                </a:cubicBezTo>
                <a:cubicBezTo>
                  <a:pt x="33" y="301"/>
                  <a:pt x="35" y="313"/>
                  <a:pt x="28" y="319"/>
                </a:cubicBezTo>
                <a:cubicBezTo>
                  <a:pt x="9" y="337"/>
                  <a:pt x="9" y="337"/>
                  <a:pt x="9" y="337"/>
                </a:cubicBezTo>
                <a:cubicBezTo>
                  <a:pt x="34" y="341"/>
                  <a:pt x="34" y="341"/>
                  <a:pt x="34" y="341"/>
                </a:cubicBezTo>
                <a:cubicBezTo>
                  <a:pt x="44" y="343"/>
                  <a:pt x="48" y="354"/>
                  <a:pt x="42" y="361"/>
                </a:cubicBezTo>
                <a:cubicBezTo>
                  <a:pt x="26" y="382"/>
                  <a:pt x="26" y="382"/>
                  <a:pt x="26" y="382"/>
                </a:cubicBezTo>
                <a:cubicBezTo>
                  <a:pt x="52" y="382"/>
                  <a:pt x="52" y="382"/>
                  <a:pt x="52" y="382"/>
                </a:cubicBezTo>
                <a:cubicBezTo>
                  <a:pt x="62" y="381"/>
                  <a:pt x="68" y="392"/>
                  <a:pt x="64" y="400"/>
                </a:cubicBezTo>
                <a:cubicBezTo>
                  <a:pt x="52" y="423"/>
                  <a:pt x="52" y="423"/>
                  <a:pt x="52" y="423"/>
                </a:cubicBezTo>
                <a:cubicBezTo>
                  <a:pt x="78" y="418"/>
                  <a:pt x="78" y="418"/>
                  <a:pt x="78" y="418"/>
                </a:cubicBezTo>
                <a:cubicBezTo>
                  <a:pt x="87" y="416"/>
                  <a:pt x="95" y="425"/>
                  <a:pt x="92" y="434"/>
                </a:cubicBezTo>
                <a:cubicBezTo>
                  <a:pt x="85" y="459"/>
                  <a:pt x="85" y="459"/>
                  <a:pt x="85" y="459"/>
                </a:cubicBezTo>
                <a:cubicBezTo>
                  <a:pt x="109" y="450"/>
                  <a:pt x="109" y="450"/>
                  <a:pt x="109" y="450"/>
                </a:cubicBezTo>
                <a:cubicBezTo>
                  <a:pt x="118" y="446"/>
                  <a:pt x="128" y="453"/>
                  <a:pt x="127" y="463"/>
                </a:cubicBezTo>
                <a:cubicBezTo>
                  <a:pt x="124" y="489"/>
                  <a:pt x="124" y="489"/>
                  <a:pt x="124" y="489"/>
                </a:cubicBezTo>
                <a:cubicBezTo>
                  <a:pt x="146" y="475"/>
                  <a:pt x="146" y="475"/>
                  <a:pt x="146" y="475"/>
                </a:cubicBezTo>
                <a:cubicBezTo>
                  <a:pt x="154" y="469"/>
                  <a:pt x="165" y="475"/>
                  <a:pt x="165" y="484"/>
                </a:cubicBezTo>
                <a:cubicBezTo>
                  <a:pt x="167" y="510"/>
                  <a:pt x="167" y="510"/>
                  <a:pt x="167" y="510"/>
                </a:cubicBezTo>
                <a:cubicBezTo>
                  <a:pt x="186" y="493"/>
                  <a:pt x="186" y="493"/>
                  <a:pt x="186" y="493"/>
                </a:cubicBezTo>
                <a:cubicBezTo>
                  <a:pt x="193" y="486"/>
                  <a:pt x="205" y="489"/>
                  <a:pt x="207" y="499"/>
                </a:cubicBezTo>
                <a:cubicBezTo>
                  <a:pt x="214" y="524"/>
                  <a:pt x="214" y="524"/>
                  <a:pt x="214" y="524"/>
                </a:cubicBezTo>
                <a:cubicBezTo>
                  <a:pt x="230" y="503"/>
                  <a:pt x="230" y="503"/>
                  <a:pt x="230" y="503"/>
                </a:cubicBezTo>
                <a:cubicBezTo>
                  <a:pt x="235" y="495"/>
                  <a:pt x="247" y="496"/>
                  <a:pt x="251" y="505"/>
                </a:cubicBezTo>
                <a:cubicBezTo>
                  <a:pt x="263" y="528"/>
                  <a:pt x="263" y="528"/>
                  <a:pt x="263" y="528"/>
                </a:cubicBezTo>
                <a:cubicBezTo>
                  <a:pt x="274" y="505"/>
                  <a:pt x="274" y="505"/>
                  <a:pt x="274" y="505"/>
                </a:cubicBezTo>
                <a:cubicBezTo>
                  <a:pt x="278" y="496"/>
                  <a:pt x="290" y="495"/>
                  <a:pt x="296" y="503"/>
                </a:cubicBezTo>
                <a:cubicBezTo>
                  <a:pt x="311" y="524"/>
                  <a:pt x="311" y="524"/>
                  <a:pt x="311" y="524"/>
                </a:cubicBezTo>
                <a:cubicBezTo>
                  <a:pt x="318" y="498"/>
                  <a:pt x="318" y="498"/>
                  <a:pt x="318" y="498"/>
                </a:cubicBezTo>
                <a:cubicBezTo>
                  <a:pt x="321" y="489"/>
                  <a:pt x="332" y="486"/>
                  <a:pt x="339" y="492"/>
                </a:cubicBezTo>
                <a:cubicBezTo>
                  <a:pt x="358" y="510"/>
                  <a:pt x="358" y="510"/>
                  <a:pt x="358" y="510"/>
                </a:cubicBezTo>
                <a:cubicBezTo>
                  <a:pt x="360" y="484"/>
                  <a:pt x="360" y="484"/>
                  <a:pt x="360" y="484"/>
                </a:cubicBezTo>
                <a:cubicBezTo>
                  <a:pt x="361" y="475"/>
                  <a:pt x="372" y="469"/>
                  <a:pt x="380" y="474"/>
                </a:cubicBezTo>
                <a:cubicBezTo>
                  <a:pt x="402" y="489"/>
                  <a:pt x="402" y="489"/>
                  <a:pt x="402" y="489"/>
                </a:cubicBezTo>
                <a:cubicBezTo>
                  <a:pt x="399" y="463"/>
                  <a:pt x="399" y="463"/>
                  <a:pt x="399" y="463"/>
                </a:cubicBezTo>
                <a:cubicBezTo>
                  <a:pt x="398" y="453"/>
                  <a:pt x="408" y="446"/>
                  <a:pt x="416" y="449"/>
                </a:cubicBezTo>
                <a:cubicBezTo>
                  <a:pt x="441" y="459"/>
                  <a:pt x="441" y="459"/>
                  <a:pt x="441" y="459"/>
                </a:cubicBezTo>
                <a:cubicBezTo>
                  <a:pt x="433" y="434"/>
                  <a:pt x="433" y="434"/>
                  <a:pt x="433" y="434"/>
                </a:cubicBezTo>
                <a:cubicBezTo>
                  <a:pt x="430" y="425"/>
                  <a:pt x="438" y="416"/>
                  <a:pt x="448" y="418"/>
                </a:cubicBezTo>
                <a:cubicBezTo>
                  <a:pt x="474" y="423"/>
                  <a:pt x="474" y="423"/>
                  <a:pt x="474" y="423"/>
                </a:cubicBezTo>
                <a:cubicBezTo>
                  <a:pt x="462" y="400"/>
                  <a:pt x="462" y="400"/>
                  <a:pt x="462" y="400"/>
                </a:cubicBezTo>
                <a:cubicBezTo>
                  <a:pt x="457" y="391"/>
                  <a:pt x="463" y="381"/>
                  <a:pt x="473" y="381"/>
                </a:cubicBezTo>
                <a:cubicBezTo>
                  <a:pt x="499" y="382"/>
                  <a:pt x="499" y="382"/>
                  <a:pt x="499" y="382"/>
                </a:cubicBezTo>
                <a:cubicBezTo>
                  <a:pt x="483" y="361"/>
                  <a:pt x="483" y="361"/>
                  <a:pt x="483" y="361"/>
                </a:cubicBezTo>
                <a:cubicBezTo>
                  <a:pt x="477" y="353"/>
                  <a:pt x="481" y="342"/>
                  <a:pt x="491" y="341"/>
                </a:cubicBezTo>
                <a:close/>
                <a:moveTo>
                  <a:pt x="402" y="112"/>
                </a:moveTo>
                <a:cubicBezTo>
                  <a:pt x="408" y="106"/>
                  <a:pt x="419" y="106"/>
                  <a:pt x="425" y="113"/>
                </a:cubicBezTo>
                <a:cubicBezTo>
                  <a:pt x="428" y="117"/>
                  <a:pt x="428" y="117"/>
                  <a:pt x="428" y="117"/>
                </a:cubicBezTo>
                <a:cubicBezTo>
                  <a:pt x="434" y="123"/>
                  <a:pt x="434" y="133"/>
                  <a:pt x="427" y="139"/>
                </a:cubicBezTo>
                <a:cubicBezTo>
                  <a:pt x="415" y="150"/>
                  <a:pt x="415" y="150"/>
                  <a:pt x="415" y="150"/>
                </a:cubicBezTo>
                <a:cubicBezTo>
                  <a:pt x="407" y="140"/>
                  <a:pt x="399" y="131"/>
                  <a:pt x="390" y="123"/>
                </a:cubicBezTo>
                <a:lnTo>
                  <a:pt x="402" y="112"/>
                </a:lnTo>
                <a:close/>
                <a:moveTo>
                  <a:pt x="270" y="43"/>
                </a:moveTo>
                <a:cubicBezTo>
                  <a:pt x="275" y="43"/>
                  <a:pt x="275" y="43"/>
                  <a:pt x="275" y="43"/>
                </a:cubicBezTo>
                <a:cubicBezTo>
                  <a:pt x="284" y="43"/>
                  <a:pt x="291" y="51"/>
                  <a:pt x="291" y="60"/>
                </a:cubicBezTo>
                <a:cubicBezTo>
                  <a:pt x="290" y="76"/>
                  <a:pt x="290" y="76"/>
                  <a:pt x="290" y="76"/>
                </a:cubicBezTo>
                <a:cubicBezTo>
                  <a:pt x="281" y="75"/>
                  <a:pt x="272" y="74"/>
                  <a:pt x="263" y="74"/>
                </a:cubicBezTo>
                <a:cubicBezTo>
                  <a:pt x="259" y="74"/>
                  <a:pt x="256" y="74"/>
                  <a:pt x="252" y="74"/>
                </a:cubicBezTo>
                <a:cubicBezTo>
                  <a:pt x="253" y="58"/>
                  <a:pt x="253" y="58"/>
                  <a:pt x="253" y="58"/>
                </a:cubicBezTo>
                <a:cubicBezTo>
                  <a:pt x="254" y="49"/>
                  <a:pt x="261" y="42"/>
                  <a:pt x="270" y="43"/>
                </a:cubicBezTo>
                <a:close/>
                <a:moveTo>
                  <a:pt x="111" y="102"/>
                </a:moveTo>
                <a:cubicBezTo>
                  <a:pt x="115" y="99"/>
                  <a:pt x="115" y="99"/>
                  <a:pt x="115" y="99"/>
                </a:cubicBezTo>
                <a:cubicBezTo>
                  <a:pt x="122" y="93"/>
                  <a:pt x="132" y="93"/>
                  <a:pt x="138" y="100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39" y="119"/>
                  <a:pt x="130" y="128"/>
                  <a:pt x="121" y="137"/>
                </a:cubicBezTo>
                <a:cubicBezTo>
                  <a:pt x="110" y="125"/>
                  <a:pt x="110" y="125"/>
                  <a:pt x="110" y="125"/>
                </a:cubicBezTo>
                <a:cubicBezTo>
                  <a:pt x="104" y="118"/>
                  <a:pt x="105" y="108"/>
                  <a:pt x="111" y="102"/>
                </a:cubicBezTo>
                <a:close/>
                <a:moveTo>
                  <a:pt x="56" y="273"/>
                </a:moveTo>
                <a:cubicBezTo>
                  <a:pt x="48" y="273"/>
                  <a:pt x="41" y="266"/>
                  <a:pt x="41" y="257"/>
                </a:cubicBezTo>
                <a:cubicBezTo>
                  <a:pt x="41" y="251"/>
                  <a:pt x="41" y="251"/>
                  <a:pt x="41" y="251"/>
                </a:cubicBezTo>
                <a:cubicBezTo>
                  <a:pt x="42" y="243"/>
                  <a:pt x="49" y="236"/>
                  <a:pt x="58" y="236"/>
                </a:cubicBezTo>
                <a:cubicBezTo>
                  <a:pt x="75" y="237"/>
                  <a:pt x="75" y="237"/>
                  <a:pt x="75" y="237"/>
                </a:cubicBezTo>
                <a:cubicBezTo>
                  <a:pt x="73" y="246"/>
                  <a:pt x="73" y="255"/>
                  <a:pt x="73" y="264"/>
                </a:cubicBezTo>
                <a:cubicBezTo>
                  <a:pt x="73" y="267"/>
                  <a:pt x="73" y="271"/>
                  <a:pt x="73" y="274"/>
                </a:cubicBezTo>
                <a:lnTo>
                  <a:pt x="56" y="273"/>
                </a:lnTo>
                <a:close/>
                <a:moveTo>
                  <a:pt x="123" y="417"/>
                </a:moveTo>
                <a:cubicBezTo>
                  <a:pt x="117" y="422"/>
                  <a:pt x="107" y="422"/>
                  <a:pt x="101" y="416"/>
                </a:cubicBezTo>
                <a:cubicBezTo>
                  <a:pt x="97" y="412"/>
                  <a:pt x="97" y="412"/>
                  <a:pt x="97" y="412"/>
                </a:cubicBezTo>
                <a:cubicBezTo>
                  <a:pt x="91" y="405"/>
                  <a:pt x="92" y="395"/>
                  <a:pt x="98" y="389"/>
                </a:cubicBezTo>
                <a:cubicBezTo>
                  <a:pt x="110" y="378"/>
                  <a:pt x="110" y="378"/>
                  <a:pt x="110" y="378"/>
                </a:cubicBezTo>
                <a:cubicBezTo>
                  <a:pt x="118" y="388"/>
                  <a:pt x="126" y="397"/>
                  <a:pt x="136" y="405"/>
                </a:cubicBezTo>
                <a:lnTo>
                  <a:pt x="123" y="417"/>
                </a:lnTo>
                <a:close/>
                <a:moveTo>
                  <a:pt x="255" y="486"/>
                </a:moveTo>
                <a:cubicBezTo>
                  <a:pt x="250" y="485"/>
                  <a:pt x="250" y="485"/>
                  <a:pt x="250" y="485"/>
                </a:cubicBezTo>
                <a:cubicBezTo>
                  <a:pt x="241" y="485"/>
                  <a:pt x="234" y="477"/>
                  <a:pt x="235" y="469"/>
                </a:cubicBezTo>
                <a:cubicBezTo>
                  <a:pt x="235" y="452"/>
                  <a:pt x="235" y="452"/>
                  <a:pt x="235" y="452"/>
                </a:cubicBezTo>
                <a:cubicBezTo>
                  <a:pt x="244" y="453"/>
                  <a:pt x="253" y="454"/>
                  <a:pt x="263" y="454"/>
                </a:cubicBezTo>
                <a:cubicBezTo>
                  <a:pt x="266" y="454"/>
                  <a:pt x="269" y="454"/>
                  <a:pt x="273" y="454"/>
                </a:cubicBezTo>
                <a:cubicBezTo>
                  <a:pt x="272" y="470"/>
                  <a:pt x="272" y="470"/>
                  <a:pt x="272" y="470"/>
                </a:cubicBezTo>
                <a:cubicBezTo>
                  <a:pt x="272" y="479"/>
                  <a:pt x="264" y="486"/>
                  <a:pt x="255" y="486"/>
                </a:cubicBezTo>
                <a:close/>
                <a:moveTo>
                  <a:pt x="414" y="426"/>
                </a:moveTo>
                <a:cubicBezTo>
                  <a:pt x="410" y="430"/>
                  <a:pt x="410" y="430"/>
                  <a:pt x="410" y="430"/>
                </a:cubicBezTo>
                <a:cubicBezTo>
                  <a:pt x="404" y="436"/>
                  <a:pt x="393" y="435"/>
                  <a:pt x="387" y="429"/>
                </a:cubicBezTo>
                <a:cubicBezTo>
                  <a:pt x="376" y="416"/>
                  <a:pt x="376" y="416"/>
                  <a:pt x="376" y="416"/>
                </a:cubicBezTo>
                <a:cubicBezTo>
                  <a:pt x="386" y="409"/>
                  <a:pt x="396" y="400"/>
                  <a:pt x="404" y="391"/>
                </a:cubicBezTo>
                <a:cubicBezTo>
                  <a:pt x="415" y="403"/>
                  <a:pt x="415" y="403"/>
                  <a:pt x="415" y="403"/>
                </a:cubicBezTo>
                <a:cubicBezTo>
                  <a:pt x="421" y="410"/>
                  <a:pt x="421" y="420"/>
                  <a:pt x="414" y="426"/>
                </a:cubicBezTo>
                <a:close/>
                <a:moveTo>
                  <a:pt x="467" y="292"/>
                </a:moveTo>
                <a:cubicBezTo>
                  <a:pt x="451" y="291"/>
                  <a:pt x="451" y="291"/>
                  <a:pt x="451" y="291"/>
                </a:cubicBezTo>
                <a:cubicBezTo>
                  <a:pt x="452" y="282"/>
                  <a:pt x="453" y="273"/>
                  <a:pt x="453" y="264"/>
                </a:cubicBezTo>
                <a:cubicBezTo>
                  <a:pt x="453" y="261"/>
                  <a:pt x="452" y="257"/>
                  <a:pt x="452" y="254"/>
                </a:cubicBezTo>
                <a:cubicBezTo>
                  <a:pt x="469" y="255"/>
                  <a:pt x="469" y="255"/>
                  <a:pt x="469" y="255"/>
                </a:cubicBezTo>
                <a:cubicBezTo>
                  <a:pt x="478" y="255"/>
                  <a:pt x="485" y="263"/>
                  <a:pt x="484" y="271"/>
                </a:cubicBezTo>
                <a:cubicBezTo>
                  <a:pt x="484" y="277"/>
                  <a:pt x="484" y="277"/>
                  <a:pt x="484" y="277"/>
                </a:cubicBezTo>
                <a:cubicBezTo>
                  <a:pt x="484" y="286"/>
                  <a:pt x="476" y="293"/>
                  <a:pt x="467" y="29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1" name="Oval 35"/>
          <p:cNvSpPr>
            <a:spLocks noChangeArrowheads="1"/>
          </p:cNvSpPr>
          <p:nvPr/>
        </p:nvSpPr>
        <p:spPr bwMode="auto">
          <a:xfrm>
            <a:off x="3030067" y="6682911"/>
            <a:ext cx="520706" cy="516558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2" name="Freeform 36"/>
          <p:cNvSpPr>
            <a:spLocks/>
          </p:cNvSpPr>
          <p:nvPr/>
        </p:nvSpPr>
        <p:spPr bwMode="auto">
          <a:xfrm>
            <a:off x="2965757" y="7209841"/>
            <a:ext cx="649326" cy="437726"/>
          </a:xfrm>
          <a:custGeom>
            <a:avLst/>
            <a:gdLst>
              <a:gd name="T0" fmla="*/ 65 w 130"/>
              <a:gd name="T1" fmla="*/ 12 h 88"/>
              <a:gd name="T2" fmla="*/ 24 w 130"/>
              <a:gd name="T3" fmla="*/ 0 h 88"/>
              <a:gd name="T4" fmla="*/ 0 w 130"/>
              <a:gd name="T5" fmla="*/ 88 h 88"/>
              <a:gd name="T6" fmla="*/ 130 w 130"/>
              <a:gd name="T7" fmla="*/ 88 h 88"/>
              <a:gd name="T8" fmla="*/ 106 w 130"/>
              <a:gd name="T9" fmla="*/ 0 h 88"/>
              <a:gd name="T10" fmla="*/ 65 w 130"/>
              <a:gd name="T11" fmla="*/ 1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" h="88">
                <a:moveTo>
                  <a:pt x="65" y="12"/>
                </a:moveTo>
                <a:cubicBezTo>
                  <a:pt x="50" y="12"/>
                  <a:pt x="36" y="7"/>
                  <a:pt x="24" y="0"/>
                </a:cubicBezTo>
                <a:cubicBezTo>
                  <a:pt x="10" y="20"/>
                  <a:pt x="0" y="52"/>
                  <a:pt x="0" y="88"/>
                </a:cubicBezTo>
                <a:cubicBezTo>
                  <a:pt x="130" y="88"/>
                  <a:pt x="130" y="88"/>
                  <a:pt x="130" y="88"/>
                </a:cubicBezTo>
                <a:cubicBezTo>
                  <a:pt x="130" y="52"/>
                  <a:pt x="120" y="20"/>
                  <a:pt x="106" y="0"/>
                </a:cubicBezTo>
                <a:cubicBezTo>
                  <a:pt x="94" y="7"/>
                  <a:pt x="80" y="12"/>
                  <a:pt x="65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5" name="Oval 40"/>
          <p:cNvSpPr>
            <a:spLocks noChangeArrowheads="1"/>
          </p:cNvSpPr>
          <p:nvPr/>
        </p:nvSpPr>
        <p:spPr bwMode="auto">
          <a:xfrm>
            <a:off x="6420715" y="4881043"/>
            <a:ext cx="547514" cy="55193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7" name="Freeform 41"/>
          <p:cNvSpPr>
            <a:spLocks/>
          </p:cNvSpPr>
          <p:nvPr/>
        </p:nvSpPr>
        <p:spPr bwMode="auto">
          <a:xfrm>
            <a:off x="6345652" y="5437386"/>
            <a:ext cx="638032" cy="472452"/>
          </a:xfrm>
          <a:custGeom>
            <a:avLst/>
            <a:gdLst>
              <a:gd name="T0" fmla="*/ 86 w 120"/>
              <a:gd name="T1" fmla="*/ 50 h 89"/>
              <a:gd name="T2" fmla="*/ 114 w 120"/>
              <a:gd name="T3" fmla="*/ 13 h 89"/>
              <a:gd name="T4" fmla="*/ 106 w 120"/>
              <a:gd name="T5" fmla="*/ 0 h 89"/>
              <a:gd name="T6" fmla="*/ 65 w 120"/>
              <a:gd name="T7" fmla="*/ 12 h 89"/>
              <a:gd name="T8" fmla="*/ 24 w 120"/>
              <a:gd name="T9" fmla="*/ 0 h 89"/>
              <a:gd name="T10" fmla="*/ 0 w 120"/>
              <a:gd name="T11" fmla="*/ 89 h 89"/>
              <a:gd name="T12" fmla="*/ 120 w 120"/>
              <a:gd name="T13" fmla="*/ 89 h 89"/>
              <a:gd name="T14" fmla="*/ 86 w 120"/>
              <a:gd name="T15" fmla="*/ 5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0" h="89">
                <a:moveTo>
                  <a:pt x="86" y="50"/>
                </a:moveTo>
                <a:cubicBezTo>
                  <a:pt x="86" y="33"/>
                  <a:pt x="98" y="18"/>
                  <a:pt x="114" y="13"/>
                </a:cubicBezTo>
                <a:cubicBezTo>
                  <a:pt x="112" y="8"/>
                  <a:pt x="109" y="4"/>
                  <a:pt x="106" y="0"/>
                </a:cubicBezTo>
                <a:cubicBezTo>
                  <a:pt x="95" y="8"/>
                  <a:pt x="80" y="12"/>
                  <a:pt x="65" y="12"/>
                </a:cubicBezTo>
                <a:cubicBezTo>
                  <a:pt x="50" y="12"/>
                  <a:pt x="36" y="8"/>
                  <a:pt x="24" y="0"/>
                </a:cubicBezTo>
                <a:cubicBezTo>
                  <a:pt x="10" y="21"/>
                  <a:pt x="1" y="53"/>
                  <a:pt x="0" y="89"/>
                </a:cubicBezTo>
                <a:cubicBezTo>
                  <a:pt x="120" y="89"/>
                  <a:pt x="120" y="89"/>
                  <a:pt x="120" y="89"/>
                </a:cubicBezTo>
                <a:cubicBezTo>
                  <a:pt x="101" y="86"/>
                  <a:pt x="86" y="70"/>
                  <a:pt x="86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8" name="Freeform 42"/>
          <p:cNvSpPr>
            <a:spLocks noEditPoints="1"/>
          </p:cNvSpPr>
          <p:nvPr/>
        </p:nvSpPr>
        <p:spPr bwMode="auto">
          <a:xfrm>
            <a:off x="6862259" y="5554397"/>
            <a:ext cx="295834" cy="298042"/>
          </a:xfrm>
          <a:custGeom>
            <a:avLst/>
            <a:gdLst>
              <a:gd name="T0" fmla="*/ 28 w 56"/>
              <a:gd name="T1" fmla="*/ 0 h 56"/>
              <a:gd name="T2" fmla="*/ 21 w 56"/>
              <a:gd name="T3" fmla="*/ 1 h 56"/>
              <a:gd name="T4" fmla="*/ 0 w 56"/>
              <a:gd name="T5" fmla="*/ 28 h 56"/>
              <a:gd name="T6" fmla="*/ 28 w 56"/>
              <a:gd name="T7" fmla="*/ 56 h 56"/>
              <a:gd name="T8" fmla="*/ 33 w 56"/>
              <a:gd name="T9" fmla="*/ 56 h 56"/>
              <a:gd name="T10" fmla="*/ 56 w 56"/>
              <a:gd name="T11" fmla="*/ 28 h 56"/>
              <a:gd name="T12" fmla="*/ 28 w 56"/>
              <a:gd name="T13" fmla="*/ 0 h 56"/>
              <a:gd name="T14" fmla="*/ 47 w 56"/>
              <a:gd name="T15" fmla="*/ 34 h 56"/>
              <a:gd name="T16" fmla="*/ 33 w 56"/>
              <a:gd name="T17" fmla="*/ 34 h 56"/>
              <a:gd name="T18" fmla="*/ 33 w 56"/>
              <a:gd name="T19" fmla="*/ 48 h 56"/>
              <a:gd name="T20" fmla="*/ 33 w 56"/>
              <a:gd name="T21" fmla="*/ 48 h 56"/>
              <a:gd name="T22" fmla="*/ 22 w 56"/>
              <a:gd name="T23" fmla="*/ 48 h 56"/>
              <a:gd name="T24" fmla="*/ 22 w 56"/>
              <a:gd name="T25" fmla="*/ 34 h 56"/>
              <a:gd name="T26" fmla="*/ 8 w 56"/>
              <a:gd name="T27" fmla="*/ 34 h 56"/>
              <a:gd name="T28" fmla="*/ 8 w 56"/>
              <a:gd name="T29" fmla="*/ 23 h 56"/>
              <a:gd name="T30" fmla="*/ 22 w 56"/>
              <a:gd name="T31" fmla="*/ 23 h 56"/>
              <a:gd name="T32" fmla="*/ 22 w 56"/>
              <a:gd name="T33" fmla="*/ 9 h 56"/>
              <a:gd name="T34" fmla="*/ 24 w 56"/>
              <a:gd name="T35" fmla="*/ 9 h 56"/>
              <a:gd name="T36" fmla="*/ 33 w 56"/>
              <a:gd name="T37" fmla="*/ 9 h 56"/>
              <a:gd name="T38" fmla="*/ 33 w 56"/>
              <a:gd name="T39" fmla="*/ 23 h 56"/>
              <a:gd name="T40" fmla="*/ 47 w 56"/>
              <a:gd name="T41" fmla="*/ 23 h 56"/>
              <a:gd name="T42" fmla="*/ 47 w 56"/>
              <a:gd name="T43" fmla="*/ 3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6" h="56">
                <a:moveTo>
                  <a:pt x="28" y="0"/>
                </a:moveTo>
                <a:cubicBezTo>
                  <a:pt x="26" y="0"/>
                  <a:pt x="23" y="0"/>
                  <a:pt x="21" y="1"/>
                </a:cubicBezTo>
                <a:cubicBezTo>
                  <a:pt x="9" y="4"/>
                  <a:pt x="0" y="15"/>
                  <a:pt x="0" y="28"/>
                </a:cubicBezTo>
                <a:cubicBezTo>
                  <a:pt x="0" y="44"/>
                  <a:pt x="12" y="56"/>
                  <a:pt x="28" y="56"/>
                </a:cubicBezTo>
                <a:cubicBezTo>
                  <a:pt x="30" y="56"/>
                  <a:pt x="31" y="56"/>
                  <a:pt x="33" y="56"/>
                </a:cubicBezTo>
                <a:cubicBezTo>
                  <a:pt x="46" y="53"/>
                  <a:pt x="56" y="42"/>
                  <a:pt x="56" y="28"/>
                </a:cubicBezTo>
                <a:cubicBezTo>
                  <a:pt x="56" y="13"/>
                  <a:pt x="43" y="0"/>
                  <a:pt x="28" y="0"/>
                </a:cubicBezTo>
                <a:close/>
                <a:moveTo>
                  <a:pt x="47" y="34"/>
                </a:moveTo>
                <a:cubicBezTo>
                  <a:pt x="33" y="34"/>
                  <a:pt x="33" y="34"/>
                  <a:pt x="33" y="34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22" y="48"/>
                  <a:pt x="22" y="48"/>
                  <a:pt x="22" y="48"/>
                </a:cubicBezTo>
                <a:cubicBezTo>
                  <a:pt x="22" y="34"/>
                  <a:pt x="22" y="34"/>
                  <a:pt x="22" y="34"/>
                </a:cubicBezTo>
                <a:cubicBezTo>
                  <a:pt x="8" y="34"/>
                  <a:pt x="8" y="34"/>
                  <a:pt x="8" y="34"/>
                </a:cubicBezTo>
                <a:cubicBezTo>
                  <a:pt x="8" y="23"/>
                  <a:pt x="8" y="23"/>
                  <a:pt x="8" y="23"/>
                </a:cubicBezTo>
                <a:cubicBezTo>
                  <a:pt x="22" y="23"/>
                  <a:pt x="22" y="23"/>
                  <a:pt x="22" y="23"/>
                </a:cubicBezTo>
                <a:cubicBezTo>
                  <a:pt x="22" y="9"/>
                  <a:pt x="22" y="9"/>
                  <a:pt x="22" y="9"/>
                </a:cubicBezTo>
                <a:cubicBezTo>
                  <a:pt x="24" y="9"/>
                  <a:pt x="24" y="9"/>
                  <a:pt x="24" y="9"/>
                </a:cubicBezTo>
                <a:cubicBezTo>
                  <a:pt x="33" y="9"/>
                  <a:pt x="33" y="9"/>
                  <a:pt x="33" y="9"/>
                </a:cubicBezTo>
                <a:cubicBezTo>
                  <a:pt x="33" y="23"/>
                  <a:pt x="33" y="23"/>
                  <a:pt x="33" y="23"/>
                </a:cubicBezTo>
                <a:cubicBezTo>
                  <a:pt x="47" y="23"/>
                  <a:pt x="47" y="23"/>
                  <a:pt x="47" y="23"/>
                </a:cubicBezTo>
                <a:lnTo>
                  <a:pt x="47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1" name="Freeform 25"/>
          <p:cNvSpPr>
            <a:spLocks noEditPoints="1"/>
          </p:cNvSpPr>
          <p:nvPr/>
        </p:nvSpPr>
        <p:spPr bwMode="auto">
          <a:xfrm>
            <a:off x="13182217" y="3931715"/>
            <a:ext cx="688410" cy="918662"/>
          </a:xfrm>
          <a:custGeom>
            <a:avLst/>
            <a:gdLst>
              <a:gd name="T0" fmla="*/ 61 w 122"/>
              <a:gd name="T1" fmla="*/ 0 h 163"/>
              <a:gd name="T2" fmla="*/ 0 w 122"/>
              <a:gd name="T3" fmla="*/ 61 h 163"/>
              <a:gd name="T4" fmla="*/ 41 w 122"/>
              <a:gd name="T5" fmla="*/ 118 h 163"/>
              <a:gd name="T6" fmla="*/ 41 w 122"/>
              <a:gd name="T7" fmla="*/ 152 h 163"/>
              <a:gd name="T8" fmla="*/ 47 w 122"/>
              <a:gd name="T9" fmla="*/ 156 h 163"/>
              <a:gd name="T10" fmla="*/ 52 w 122"/>
              <a:gd name="T11" fmla="*/ 163 h 163"/>
              <a:gd name="T12" fmla="*/ 70 w 122"/>
              <a:gd name="T13" fmla="*/ 163 h 163"/>
              <a:gd name="T14" fmla="*/ 75 w 122"/>
              <a:gd name="T15" fmla="*/ 156 h 163"/>
              <a:gd name="T16" fmla="*/ 81 w 122"/>
              <a:gd name="T17" fmla="*/ 152 h 163"/>
              <a:gd name="T18" fmla="*/ 81 w 122"/>
              <a:gd name="T19" fmla="*/ 152 h 163"/>
              <a:gd name="T20" fmla="*/ 81 w 122"/>
              <a:gd name="T21" fmla="*/ 118 h 163"/>
              <a:gd name="T22" fmla="*/ 122 w 122"/>
              <a:gd name="T23" fmla="*/ 61 h 163"/>
              <a:gd name="T24" fmla="*/ 61 w 122"/>
              <a:gd name="T25" fmla="*/ 0 h 163"/>
              <a:gd name="T26" fmla="*/ 61 w 122"/>
              <a:gd name="T27" fmla="*/ 113 h 163"/>
              <a:gd name="T28" fmla="*/ 9 w 122"/>
              <a:gd name="T29" fmla="*/ 61 h 163"/>
              <a:gd name="T30" fmla="*/ 61 w 122"/>
              <a:gd name="T31" fmla="*/ 9 h 163"/>
              <a:gd name="T32" fmla="*/ 113 w 122"/>
              <a:gd name="T33" fmla="*/ 61 h 163"/>
              <a:gd name="T34" fmla="*/ 61 w 122"/>
              <a:gd name="T35" fmla="*/ 11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22" h="163">
                <a:moveTo>
                  <a:pt x="61" y="0"/>
                </a:moveTo>
                <a:cubicBezTo>
                  <a:pt x="28" y="0"/>
                  <a:pt x="0" y="27"/>
                  <a:pt x="0" y="61"/>
                </a:cubicBezTo>
                <a:cubicBezTo>
                  <a:pt x="0" y="87"/>
                  <a:pt x="17" y="110"/>
                  <a:pt x="41" y="118"/>
                </a:cubicBezTo>
                <a:cubicBezTo>
                  <a:pt x="41" y="152"/>
                  <a:pt x="41" y="152"/>
                  <a:pt x="41" y="152"/>
                </a:cubicBezTo>
                <a:cubicBezTo>
                  <a:pt x="47" y="156"/>
                  <a:pt x="47" y="156"/>
                  <a:pt x="47" y="156"/>
                </a:cubicBezTo>
                <a:cubicBezTo>
                  <a:pt x="52" y="163"/>
                  <a:pt x="52" y="163"/>
                  <a:pt x="52" y="163"/>
                </a:cubicBezTo>
                <a:cubicBezTo>
                  <a:pt x="70" y="163"/>
                  <a:pt x="70" y="163"/>
                  <a:pt x="70" y="163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81" y="152"/>
                  <a:pt x="81" y="152"/>
                  <a:pt x="81" y="152"/>
                </a:cubicBezTo>
                <a:cubicBezTo>
                  <a:pt x="81" y="152"/>
                  <a:pt x="81" y="152"/>
                  <a:pt x="81" y="152"/>
                </a:cubicBezTo>
                <a:cubicBezTo>
                  <a:pt x="81" y="118"/>
                  <a:pt x="81" y="118"/>
                  <a:pt x="81" y="118"/>
                </a:cubicBezTo>
                <a:cubicBezTo>
                  <a:pt x="105" y="110"/>
                  <a:pt x="122" y="87"/>
                  <a:pt x="122" y="61"/>
                </a:cubicBezTo>
                <a:cubicBezTo>
                  <a:pt x="122" y="27"/>
                  <a:pt x="95" y="0"/>
                  <a:pt x="61" y="0"/>
                </a:cubicBezTo>
                <a:close/>
                <a:moveTo>
                  <a:pt x="61" y="113"/>
                </a:moveTo>
                <a:cubicBezTo>
                  <a:pt x="32" y="113"/>
                  <a:pt x="9" y="89"/>
                  <a:pt x="9" y="61"/>
                </a:cubicBezTo>
                <a:cubicBezTo>
                  <a:pt x="9" y="32"/>
                  <a:pt x="32" y="9"/>
                  <a:pt x="61" y="9"/>
                </a:cubicBezTo>
                <a:cubicBezTo>
                  <a:pt x="90" y="9"/>
                  <a:pt x="113" y="32"/>
                  <a:pt x="113" y="61"/>
                </a:cubicBezTo>
                <a:cubicBezTo>
                  <a:pt x="113" y="89"/>
                  <a:pt x="90" y="113"/>
                  <a:pt x="61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3" name="Freeform 26"/>
          <p:cNvSpPr>
            <a:spLocks/>
          </p:cNvSpPr>
          <p:nvPr/>
        </p:nvSpPr>
        <p:spPr bwMode="auto">
          <a:xfrm>
            <a:off x="13006003" y="4427463"/>
            <a:ext cx="157418" cy="96330"/>
          </a:xfrm>
          <a:custGeom>
            <a:avLst/>
            <a:gdLst>
              <a:gd name="T0" fmla="*/ 0 w 28"/>
              <a:gd name="T1" fmla="*/ 7 h 17"/>
              <a:gd name="T2" fmla="*/ 4 w 28"/>
              <a:gd name="T3" fmla="*/ 17 h 17"/>
              <a:gd name="T4" fmla="*/ 28 w 28"/>
              <a:gd name="T5" fmla="*/ 5 h 17"/>
              <a:gd name="T6" fmla="*/ 26 w 28"/>
              <a:gd name="T7" fmla="*/ 0 h 17"/>
              <a:gd name="T8" fmla="*/ 0 w 28"/>
              <a:gd name="T9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0" y="7"/>
                </a:moveTo>
                <a:cubicBezTo>
                  <a:pt x="1" y="11"/>
                  <a:pt x="3" y="14"/>
                  <a:pt x="4" y="17"/>
                </a:cubicBezTo>
                <a:cubicBezTo>
                  <a:pt x="28" y="5"/>
                  <a:pt x="28" y="5"/>
                  <a:pt x="28" y="5"/>
                </a:cubicBezTo>
                <a:cubicBezTo>
                  <a:pt x="27" y="3"/>
                  <a:pt x="27" y="2"/>
                  <a:pt x="26" y="0"/>
                </a:cubicBezTo>
                <a:lnTo>
                  <a:pt x="0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4" name="Freeform 27"/>
          <p:cNvSpPr>
            <a:spLocks/>
          </p:cNvSpPr>
          <p:nvPr/>
        </p:nvSpPr>
        <p:spPr bwMode="auto">
          <a:xfrm>
            <a:off x="13891772" y="4060939"/>
            <a:ext cx="159768" cy="96330"/>
          </a:xfrm>
          <a:custGeom>
            <a:avLst/>
            <a:gdLst>
              <a:gd name="T0" fmla="*/ 28 w 28"/>
              <a:gd name="T1" fmla="*/ 10 h 17"/>
              <a:gd name="T2" fmla="*/ 24 w 28"/>
              <a:gd name="T3" fmla="*/ 0 h 17"/>
              <a:gd name="T4" fmla="*/ 0 w 28"/>
              <a:gd name="T5" fmla="*/ 12 h 17"/>
              <a:gd name="T6" fmla="*/ 2 w 28"/>
              <a:gd name="T7" fmla="*/ 17 h 17"/>
              <a:gd name="T8" fmla="*/ 28 w 28"/>
              <a:gd name="T9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28" y="10"/>
                </a:moveTo>
                <a:cubicBezTo>
                  <a:pt x="27" y="6"/>
                  <a:pt x="25" y="3"/>
                  <a:pt x="24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1" y="14"/>
                  <a:pt x="1" y="15"/>
                  <a:pt x="2" y="17"/>
                </a:cubicBezTo>
                <a:lnTo>
                  <a:pt x="28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5" name="Freeform 28"/>
          <p:cNvSpPr>
            <a:spLocks/>
          </p:cNvSpPr>
          <p:nvPr/>
        </p:nvSpPr>
        <p:spPr bwMode="auto">
          <a:xfrm>
            <a:off x="13006003" y="4056238"/>
            <a:ext cx="157418" cy="101028"/>
          </a:xfrm>
          <a:custGeom>
            <a:avLst/>
            <a:gdLst>
              <a:gd name="T0" fmla="*/ 0 w 28"/>
              <a:gd name="T1" fmla="*/ 10 h 18"/>
              <a:gd name="T2" fmla="*/ 26 w 28"/>
              <a:gd name="T3" fmla="*/ 18 h 18"/>
              <a:gd name="T4" fmla="*/ 28 w 28"/>
              <a:gd name="T5" fmla="*/ 13 h 18"/>
              <a:gd name="T6" fmla="*/ 4 w 28"/>
              <a:gd name="T7" fmla="*/ 0 h 18"/>
              <a:gd name="T8" fmla="*/ 0 w 28"/>
              <a:gd name="T9" fmla="*/ 1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8">
                <a:moveTo>
                  <a:pt x="0" y="10"/>
                </a:moveTo>
                <a:cubicBezTo>
                  <a:pt x="26" y="18"/>
                  <a:pt x="26" y="18"/>
                  <a:pt x="26" y="18"/>
                </a:cubicBezTo>
                <a:cubicBezTo>
                  <a:pt x="27" y="16"/>
                  <a:pt x="27" y="15"/>
                  <a:pt x="28" y="13"/>
                </a:cubicBezTo>
                <a:cubicBezTo>
                  <a:pt x="4" y="0"/>
                  <a:pt x="4" y="0"/>
                  <a:pt x="4" y="0"/>
                </a:cubicBezTo>
                <a:cubicBezTo>
                  <a:pt x="3" y="4"/>
                  <a:pt x="1" y="7"/>
                  <a:pt x="0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auto">
          <a:xfrm>
            <a:off x="13891772" y="4432163"/>
            <a:ext cx="159768" cy="96330"/>
          </a:xfrm>
          <a:custGeom>
            <a:avLst/>
            <a:gdLst>
              <a:gd name="T0" fmla="*/ 0 w 28"/>
              <a:gd name="T1" fmla="*/ 4 h 17"/>
              <a:gd name="T2" fmla="*/ 23 w 28"/>
              <a:gd name="T3" fmla="*/ 17 h 17"/>
              <a:gd name="T4" fmla="*/ 28 w 28"/>
              <a:gd name="T5" fmla="*/ 7 h 17"/>
              <a:gd name="T6" fmla="*/ 2 w 28"/>
              <a:gd name="T7" fmla="*/ 0 h 17"/>
              <a:gd name="T8" fmla="*/ 0 w 28"/>
              <a:gd name="T9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17">
                <a:moveTo>
                  <a:pt x="0" y="4"/>
                </a:moveTo>
                <a:cubicBezTo>
                  <a:pt x="23" y="17"/>
                  <a:pt x="23" y="17"/>
                  <a:pt x="23" y="17"/>
                </a:cubicBezTo>
                <a:cubicBezTo>
                  <a:pt x="25" y="13"/>
                  <a:pt x="26" y="10"/>
                  <a:pt x="28" y="7"/>
                </a:cubicBezTo>
                <a:cubicBezTo>
                  <a:pt x="2" y="0"/>
                  <a:pt x="2" y="0"/>
                  <a:pt x="2" y="0"/>
                </a:cubicBezTo>
                <a:cubicBezTo>
                  <a:pt x="1" y="1"/>
                  <a:pt x="1" y="2"/>
                  <a:pt x="0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auto">
          <a:xfrm>
            <a:off x="13294994" y="3774297"/>
            <a:ext cx="93980" cy="150370"/>
          </a:xfrm>
          <a:custGeom>
            <a:avLst/>
            <a:gdLst>
              <a:gd name="T0" fmla="*/ 17 w 17"/>
              <a:gd name="T1" fmla="*/ 26 h 27"/>
              <a:gd name="T2" fmla="*/ 10 w 17"/>
              <a:gd name="T3" fmla="*/ 0 h 27"/>
              <a:gd name="T4" fmla="*/ 0 w 17"/>
              <a:gd name="T5" fmla="*/ 4 h 27"/>
              <a:gd name="T6" fmla="*/ 13 w 17"/>
              <a:gd name="T7" fmla="*/ 27 h 27"/>
              <a:gd name="T8" fmla="*/ 17 w 17"/>
              <a:gd name="T9" fmla="*/ 2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7">
                <a:moveTo>
                  <a:pt x="17" y="26"/>
                </a:moveTo>
                <a:cubicBezTo>
                  <a:pt x="10" y="0"/>
                  <a:pt x="10" y="0"/>
                  <a:pt x="10" y="0"/>
                </a:cubicBezTo>
                <a:cubicBezTo>
                  <a:pt x="7" y="1"/>
                  <a:pt x="3" y="2"/>
                  <a:pt x="0" y="4"/>
                </a:cubicBezTo>
                <a:cubicBezTo>
                  <a:pt x="13" y="27"/>
                  <a:pt x="13" y="27"/>
                  <a:pt x="13" y="27"/>
                </a:cubicBezTo>
                <a:cubicBezTo>
                  <a:pt x="14" y="27"/>
                  <a:pt x="16" y="26"/>
                  <a:pt x="17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9" name="Freeform 31"/>
          <p:cNvSpPr>
            <a:spLocks/>
          </p:cNvSpPr>
          <p:nvPr/>
        </p:nvSpPr>
        <p:spPr bwMode="auto">
          <a:xfrm>
            <a:off x="13666218" y="3774297"/>
            <a:ext cx="96332" cy="150370"/>
          </a:xfrm>
          <a:custGeom>
            <a:avLst/>
            <a:gdLst>
              <a:gd name="T0" fmla="*/ 17 w 17"/>
              <a:gd name="T1" fmla="*/ 4 h 27"/>
              <a:gd name="T2" fmla="*/ 7 w 17"/>
              <a:gd name="T3" fmla="*/ 0 h 27"/>
              <a:gd name="T4" fmla="*/ 0 w 17"/>
              <a:gd name="T5" fmla="*/ 26 h 27"/>
              <a:gd name="T6" fmla="*/ 4 w 17"/>
              <a:gd name="T7" fmla="*/ 27 h 27"/>
              <a:gd name="T8" fmla="*/ 17 w 17"/>
              <a:gd name="T9" fmla="*/ 4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7">
                <a:moveTo>
                  <a:pt x="17" y="4"/>
                </a:moveTo>
                <a:cubicBezTo>
                  <a:pt x="14" y="2"/>
                  <a:pt x="10" y="1"/>
                  <a:pt x="7" y="0"/>
                </a:cubicBezTo>
                <a:cubicBezTo>
                  <a:pt x="0" y="26"/>
                  <a:pt x="0" y="26"/>
                  <a:pt x="0" y="26"/>
                </a:cubicBezTo>
                <a:cubicBezTo>
                  <a:pt x="1" y="26"/>
                  <a:pt x="3" y="27"/>
                  <a:pt x="4" y="27"/>
                </a:cubicBezTo>
                <a:lnTo>
                  <a:pt x="17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1" name="Oval 50"/>
          <p:cNvSpPr>
            <a:spLocks noChangeArrowheads="1"/>
          </p:cNvSpPr>
          <p:nvPr/>
        </p:nvSpPr>
        <p:spPr bwMode="auto">
          <a:xfrm>
            <a:off x="9966535" y="6232193"/>
            <a:ext cx="446554" cy="44655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2" name="Freeform 51"/>
          <p:cNvSpPr>
            <a:spLocks/>
          </p:cNvSpPr>
          <p:nvPr/>
        </p:nvSpPr>
        <p:spPr bwMode="auto">
          <a:xfrm>
            <a:off x="9906248" y="6683211"/>
            <a:ext cx="468880" cy="379570"/>
          </a:xfrm>
          <a:custGeom>
            <a:avLst/>
            <a:gdLst>
              <a:gd name="T0" fmla="*/ 87 w 87"/>
              <a:gd name="T1" fmla="*/ 49 h 71"/>
              <a:gd name="T2" fmla="*/ 78 w 87"/>
              <a:gd name="T3" fmla="*/ 24 h 71"/>
              <a:gd name="T4" fmla="*/ 86 w 87"/>
              <a:gd name="T5" fmla="*/ 0 h 71"/>
              <a:gd name="T6" fmla="*/ 85 w 87"/>
              <a:gd name="T7" fmla="*/ 0 h 71"/>
              <a:gd name="T8" fmla="*/ 53 w 87"/>
              <a:gd name="T9" fmla="*/ 10 h 71"/>
              <a:gd name="T10" fmla="*/ 20 w 87"/>
              <a:gd name="T11" fmla="*/ 0 h 71"/>
              <a:gd name="T12" fmla="*/ 0 w 87"/>
              <a:gd name="T13" fmla="*/ 71 h 71"/>
              <a:gd name="T14" fmla="*/ 76 w 87"/>
              <a:gd name="T15" fmla="*/ 71 h 71"/>
              <a:gd name="T16" fmla="*/ 85 w 87"/>
              <a:gd name="T17" fmla="*/ 52 h 71"/>
              <a:gd name="T18" fmla="*/ 87 w 87"/>
              <a:gd name="T19" fmla="*/ 49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" h="71">
                <a:moveTo>
                  <a:pt x="87" y="49"/>
                </a:moveTo>
                <a:cubicBezTo>
                  <a:pt x="81" y="42"/>
                  <a:pt x="78" y="33"/>
                  <a:pt x="78" y="24"/>
                </a:cubicBezTo>
                <a:cubicBezTo>
                  <a:pt x="78" y="15"/>
                  <a:pt x="81" y="7"/>
                  <a:pt x="86" y="0"/>
                </a:cubicBezTo>
                <a:cubicBezTo>
                  <a:pt x="86" y="0"/>
                  <a:pt x="85" y="0"/>
                  <a:pt x="85" y="0"/>
                </a:cubicBezTo>
                <a:cubicBezTo>
                  <a:pt x="76" y="6"/>
                  <a:pt x="65" y="10"/>
                  <a:pt x="53" y="10"/>
                </a:cubicBezTo>
                <a:cubicBezTo>
                  <a:pt x="40" y="10"/>
                  <a:pt x="29" y="6"/>
                  <a:pt x="20" y="0"/>
                </a:cubicBezTo>
                <a:cubicBezTo>
                  <a:pt x="8" y="17"/>
                  <a:pt x="1" y="42"/>
                  <a:pt x="0" y="71"/>
                </a:cubicBezTo>
                <a:cubicBezTo>
                  <a:pt x="76" y="71"/>
                  <a:pt x="76" y="71"/>
                  <a:pt x="76" y="71"/>
                </a:cubicBezTo>
                <a:cubicBezTo>
                  <a:pt x="78" y="64"/>
                  <a:pt x="81" y="57"/>
                  <a:pt x="85" y="52"/>
                </a:cubicBezTo>
                <a:lnTo>
                  <a:pt x="87" y="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3" name="Freeform 52"/>
          <p:cNvSpPr>
            <a:spLocks/>
          </p:cNvSpPr>
          <p:nvPr/>
        </p:nvSpPr>
        <p:spPr bwMode="auto">
          <a:xfrm>
            <a:off x="10363967" y="6645254"/>
            <a:ext cx="332682" cy="332684"/>
          </a:xfrm>
          <a:custGeom>
            <a:avLst/>
            <a:gdLst>
              <a:gd name="T0" fmla="*/ 0 w 62"/>
              <a:gd name="T1" fmla="*/ 31 h 62"/>
              <a:gd name="T2" fmla="*/ 19 w 62"/>
              <a:gd name="T3" fmla="*/ 59 h 62"/>
              <a:gd name="T4" fmla="*/ 31 w 62"/>
              <a:gd name="T5" fmla="*/ 62 h 62"/>
              <a:gd name="T6" fmla="*/ 62 w 62"/>
              <a:gd name="T7" fmla="*/ 31 h 62"/>
              <a:gd name="T8" fmla="*/ 31 w 62"/>
              <a:gd name="T9" fmla="*/ 0 h 62"/>
              <a:gd name="T10" fmla="*/ 5 w 62"/>
              <a:gd name="T11" fmla="*/ 14 h 62"/>
              <a:gd name="T12" fmla="*/ 0 w 62"/>
              <a:gd name="T13" fmla="*/ 31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" h="62">
                <a:moveTo>
                  <a:pt x="0" y="31"/>
                </a:moveTo>
                <a:cubicBezTo>
                  <a:pt x="0" y="44"/>
                  <a:pt x="7" y="55"/>
                  <a:pt x="19" y="59"/>
                </a:cubicBezTo>
                <a:cubicBezTo>
                  <a:pt x="22" y="61"/>
                  <a:pt x="26" y="62"/>
                  <a:pt x="31" y="62"/>
                </a:cubicBezTo>
                <a:cubicBezTo>
                  <a:pt x="48" y="62"/>
                  <a:pt x="62" y="48"/>
                  <a:pt x="62" y="31"/>
                </a:cubicBezTo>
                <a:cubicBezTo>
                  <a:pt x="62" y="14"/>
                  <a:pt x="48" y="0"/>
                  <a:pt x="31" y="0"/>
                </a:cubicBezTo>
                <a:cubicBezTo>
                  <a:pt x="20" y="0"/>
                  <a:pt x="10" y="5"/>
                  <a:pt x="5" y="14"/>
                </a:cubicBezTo>
                <a:cubicBezTo>
                  <a:pt x="1" y="19"/>
                  <a:pt x="0" y="25"/>
                  <a:pt x="0" y="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4" name="Freeform 53"/>
          <p:cNvSpPr>
            <a:spLocks/>
          </p:cNvSpPr>
          <p:nvPr/>
        </p:nvSpPr>
        <p:spPr bwMode="auto">
          <a:xfrm>
            <a:off x="10314844" y="6982403"/>
            <a:ext cx="426460" cy="285794"/>
          </a:xfrm>
          <a:custGeom>
            <a:avLst/>
            <a:gdLst>
              <a:gd name="T0" fmla="*/ 64 w 79"/>
              <a:gd name="T1" fmla="*/ 0 h 53"/>
              <a:gd name="T2" fmla="*/ 40 w 79"/>
              <a:gd name="T3" fmla="*/ 7 h 53"/>
              <a:gd name="T4" fmla="*/ 28 w 79"/>
              <a:gd name="T5" fmla="*/ 6 h 53"/>
              <a:gd name="T6" fmla="*/ 15 w 79"/>
              <a:gd name="T7" fmla="*/ 0 h 53"/>
              <a:gd name="T8" fmla="*/ 7 w 79"/>
              <a:gd name="T9" fmla="*/ 15 h 53"/>
              <a:gd name="T10" fmla="*/ 0 w 79"/>
              <a:gd name="T11" fmla="*/ 53 h 53"/>
              <a:gd name="T12" fmla="*/ 79 w 79"/>
              <a:gd name="T13" fmla="*/ 53 h 53"/>
              <a:gd name="T14" fmla="*/ 64 w 79"/>
              <a:gd name="T15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9" h="53">
                <a:moveTo>
                  <a:pt x="64" y="0"/>
                </a:moveTo>
                <a:cubicBezTo>
                  <a:pt x="57" y="5"/>
                  <a:pt x="49" y="7"/>
                  <a:pt x="40" y="7"/>
                </a:cubicBezTo>
                <a:cubicBezTo>
                  <a:pt x="36" y="7"/>
                  <a:pt x="32" y="7"/>
                  <a:pt x="28" y="6"/>
                </a:cubicBezTo>
                <a:cubicBezTo>
                  <a:pt x="24" y="5"/>
                  <a:pt x="19" y="3"/>
                  <a:pt x="15" y="0"/>
                </a:cubicBezTo>
                <a:cubicBezTo>
                  <a:pt x="12" y="4"/>
                  <a:pt x="9" y="9"/>
                  <a:pt x="7" y="15"/>
                </a:cubicBezTo>
                <a:cubicBezTo>
                  <a:pt x="3" y="26"/>
                  <a:pt x="1" y="39"/>
                  <a:pt x="0" y="53"/>
                </a:cubicBezTo>
                <a:cubicBezTo>
                  <a:pt x="79" y="53"/>
                  <a:pt x="79" y="53"/>
                  <a:pt x="79" y="53"/>
                </a:cubicBezTo>
                <a:cubicBezTo>
                  <a:pt x="78" y="31"/>
                  <a:pt x="73" y="12"/>
                  <a:pt x="6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6" name="Freeform 46"/>
          <p:cNvSpPr>
            <a:spLocks/>
          </p:cNvSpPr>
          <p:nvPr/>
        </p:nvSpPr>
        <p:spPr bwMode="auto">
          <a:xfrm>
            <a:off x="16733525" y="5808391"/>
            <a:ext cx="505954" cy="611514"/>
          </a:xfrm>
          <a:custGeom>
            <a:avLst/>
            <a:gdLst>
              <a:gd name="T0" fmla="*/ 103 w 115"/>
              <a:gd name="T1" fmla="*/ 29 h 140"/>
              <a:gd name="T2" fmla="*/ 113 w 115"/>
              <a:gd name="T3" fmla="*/ 12 h 140"/>
              <a:gd name="T4" fmla="*/ 96 w 115"/>
              <a:gd name="T5" fmla="*/ 2 h 140"/>
              <a:gd name="T6" fmla="*/ 12 w 115"/>
              <a:gd name="T7" fmla="*/ 25 h 140"/>
              <a:gd name="T8" fmla="*/ 2 w 115"/>
              <a:gd name="T9" fmla="*/ 42 h 140"/>
              <a:gd name="T10" fmla="*/ 20 w 115"/>
              <a:gd name="T11" fmla="*/ 52 h 140"/>
              <a:gd name="T12" fmla="*/ 20 w 115"/>
              <a:gd name="T13" fmla="*/ 52 h 140"/>
              <a:gd name="T14" fmla="*/ 20 w 115"/>
              <a:gd name="T15" fmla="*/ 57 h 140"/>
              <a:gd name="T16" fmla="*/ 13 w 115"/>
              <a:gd name="T17" fmla="*/ 57 h 140"/>
              <a:gd name="T18" fmla="*/ 1 w 115"/>
              <a:gd name="T19" fmla="*/ 72 h 140"/>
              <a:gd name="T20" fmla="*/ 1 w 115"/>
              <a:gd name="T21" fmla="*/ 91 h 140"/>
              <a:gd name="T22" fmla="*/ 13 w 115"/>
              <a:gd name="T23" fmla="*/ 106 h 140"/>
              <a:gd name="T24" fmla="*/ 27 w 115"/>
              <a:gd name="T25" fmla="*/ 106 h 140"/>
              <a:gd name="T26" fmla="*/ 27 w 115"/>
              <a:gd name="T27" fmla="*/ 106 h 140"/>
              <a:gd name="T28" fmla="*/ 27 w 115"/>
              <a:gd name="T29" fmla="*/ 126 h 140"/>
              <a:gd name="T30" fmla="*/ 40 w 115"/>
              <a:gd name="T31" fmla="*/ 140 h 140"/>
              <a:gd name="T32" fmla="*/ 73 w 115"/>
              <a:gd name="T33" fmla="*/ 140 h 140"/>
              <a:gd name="T34" fmla="*/ 86 w 115"/>
              <a:gd name="T35" fmla="*/ 126 h 140"/>
              <a:gd name="T36" fmla="*/ 86 w 115"/>
              <a:gd name="T37" fmla="*/ 106 h 140"/>
              <a:gd name="T38" fmla="*/ 86 w 115"/>
              <a:gd name="T39" fmla="*/ 106 h 140"/>
              <a:gd name="T40" fmla="*/ 99 w 115"/>
              <a:gd name="T41" fmla="*/ 106 h 140"/>
              <a:gd name="T42" fmla="*/ 112 w 115"/>
              <a:gd name="T43" fmla="*/ 91 h 140"/>
              <a:gd name="T44" fmla="*/ 112 w 115"/>
              <a:gd name="T45" fmla="*/ 72 h 140"/>
              <a:gd name="T46" fmla="*/ 99 w 115"/>
              <a:gd name="T47" fmla="*/ 57 h 140"/>
              <a:gd name="T48" fmla="*/ 94 w 115"/>
              <a:gd name="T49" fmla="*/ 57 h 140"/>
              <a:gd name="T50" fmla="*/ 94 w 115"/>
              <a:gd name="T51" fmla="*/ 56 h 140"/>
              <a:gd name="T52" fmla="*/ 94 w 115"/>
              <a:gd name="T53" fmla="*/ 39 h 140"/>
              <a:gd name="T54" fmla="*/ 94 w 115"/>
              <a:gd name="T55" fmla="*/ 39 h 140"/>
              <a:gd name="T56" fmla="*/ 73 w 115"/>
              <a:gd name="T57" fmla="*/ 44 h 140"/>
              <a:gd name="T58" fmla="*/ 73 w 115"/>
              <a:gd name="T59" fmla="*/ 56 h 140"/>
              <a:gd name="T60" fmla="*/ 73 w 115"/>
              <a:gd name="T61" fmla="*/ 57 h 140"/>
              <a:gd name="T62" fmla="*/ 41 w 115"/>
              <a:gd name="T63" fmla="*/ 57 h 140"/>
              <a:gd name="T64" fmla="*/ 41 w 115"/>
              <a:gd name="T65" fmla="*/ 46 h 140"/>
              <a:gd name="T66" fmla="*/ 103 w 115"/>
              <a:gd name="T67" fmla="*/ 29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5" h="140">
                <a:moveTo>
                  <a:pt x="103" y="29"/>
                </a:move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20" y="52"/>
                  <a:pt x="20" y="52"/>
                  <a:pt x="20" y="52"/>
                </a:cubicBezTo>
                <a:cubicBezTo>
                  <a:pt x="20" y="57"/>
                  <a:pt x="20" y="57"/>
                  <a:pt x="20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7" y="57"/>
                  <a:pt x="1" y="64"/>
                  <a:pt x="1" y="72"/>
                </a:cubicBezTo>
                <a:cubicBezTo>
                  <a:pt x="1" y="91"/>
                  <a:pt x="1" y="91"/>
                  <a:pt x="1" y="91"/>
                </a:cubicBezTo>
                <a:cubicBezTo>
                  <a:pt x="1" y="99"/>
                  <a:pt x="7" y="106"/>
                  <a:pt x="13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26"/>
                  <a:pt x="27" y="126"/>
                  <a:pt x="27" y="126"/>
                </a:cubicBezTo>
                <a:cubicBezTo>
                  <a:pt x="27" y="134"/>
                  <a:pt x="37" y="140"/>
                  <a:pt x="40" y="140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76" y="140"/>
                  <a:pt x="86" y="134"/>
                  <a:pt x="86" y="12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86" y="106"/>
                  <a:pt x="86" y="106"/>
                  <a:pt x="86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6" y="106"/>
                  <a:pt x="112" y="99"/>
                  <a:pt x="112" y="91"/>
                </a:cubicBezTo>
                <a:cubicBezTo>
                  <a:pt x="112" y="72"/>
                  <a:pt x="112" y="72"/>
                  <a:pt x="112" y="72"/>
                </a:cubicBezTo>
                <a:cubicBezTo>
                  <a:pt x="112" y="64"/>
                  <a:pt x="106" y="57"/>
                  <a:pt x="99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4" y="57"/>
                  <a:pt x="94" y="56"/>
                  <a:pt x="94" y="56"/>
                </a:cubicBezTo>
                <a:cubicBezTo>
                  <a:pt x="94" y="39"/>
                  <a:pt x="94" y="39"/>
                  <a:pt x="94" y="39"/>
                </a:cubicBezTo>
                <a:cubicBezTo>
                  <a:pt x="94" y="39"/>
                  <a:pt x="94" y="39"/>
                  <a:pt x="94" y="39"/>
                </a:cubicBezTo>
                <a:cubicBezTo>
                  <a:pt x="73" y="44"/>
                  <a:pt x="73" y="44"/>
                  <a:pt x="73" y="44"/>
                </a:cubicBezTo>
                <a:cubicBezTo>
                  <a:pt x="73" y="56"/>
                  <a:pt x="73" y="56"/>
                  <a:pt x="73" y="56"/>
                </a:cubicBezTo>
                <a:cubicBezTo>
                  <a:pt x="73" y="56"/>
                  <a:pt x="73" y="57"/>
                  <a:pt x="73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46"/>
                  <a:pt x="41" y="46"/>
                  <a:pt x="41" y="46"/>
                </a:cubicBezTo>
                <a:lnTo>
                  <a:pt x="103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7" name="Freeform 47"/>
          <p:cNvSpPr>
            <a:spLocks/>
          </p:cNvSpPr>
          <p:nvPr/>
        </p:nvSpPr>
        <p:spPr bwMode="auto">
          <a:xfrm>
            <a:off x="16733525" y="5655513"/>
            <a:ext cx="505954" cy="234778"/>
          </a:xfrm>
          <a:custGeom>
            <a:avLst/>
            <a:gdLst>
              <a:gd name="T0" fmla="*/ 96 w 115"/>
              <a:gd name="T1" fmla="*/ 2 h 54"/>
              <a:gd name="T2" fmla="*/ 12 w 115"/>
              <a:gd name="T3" fmla="*/ 25 h 54"/>
              <a:gd name="T4" fmla="*/ 2 w 115"/>
              <a:gd name="T5" fmla="*/ 42 h 54"/>
              <a:gd name="T6" fmla="*/ 20 w 115"/>
              <a:gd name="T7" fmla="*/ 52 h 54"/>
              <a:gd name="T8" fmla="*/ 103 w 115"/>
              <a:gd name="T9" fmla="*/ 29 h 54"/>
              <a:gd name="T10" fmla="*/ 113 w 115"/>
              <a:gd name="T11" fmla="*/ 12 h 54"/>
              <a:gd name="T12" fmla="*/ 96 w 115"/>
              <a:gd name="T13" fmla="*/ 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4">
                <a:moveTo>
                  <a:pt x="96" y="2"/>
                </a:moveTo>
                <a:cubicBezTo>
                  <a:pt x="12" y="25"/>
                  <a:pt x="12" y="25"/>
                  <a:pt x="12" y="25"/>
                </a:cubicBezTo>
                <a:cubicBezTo>
                  <a:pt x="5" y="27"/>
                  <a:pt x="0" y="35"/>
                  <a:pt x="2" y="42"/>
                </a:cubicBezTo>
                <a:cubicBezTo>
                  <a:pt x="4" y="50"/>
                  <a:pt x="12" y="54"/>
                  <a:pt x="20" y="52"/>
                </a:cubicBezTo>
                <a:cubicBezTo>
                  <a:pt x="103" y="29"/>
                  <a:pt x="103" y="29"/>
                  <a:pt x="103" y="29"/>
                </a:cubicBezTo>
                <a:cubicBezTo>
                  <a:pt x="111" y="27"/>
                  <a:pt x="115" y="19"/>
                  <a:pt x="113" y="12"/>
                </a:cubicBezTo>
                <a:cubicBezTo>
                  <a:pt x="111" y="4"/>
                  <a:pt x="104" y="0"/>
                  <a:pt x="96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8" name="Freeform 48"/>
          <p:cNvSpPr>
            <a:spLocks/>
          </p:cNvSpPr>
          <p:nvPr/>
        </p:nvSpPr>
        <p:spPr bwMode="auto">
          <a:xfrm>
            <a:off x="16733525" y="5502635"/>
            <a:ext cx="505954" cy="240238"/>
          </a:xfrm>
          <a:custGeom>
            <a:avLst/>
            <a:gdLst>
              <a:gd name="T0" fmla="*/ 20 w 115"/>
              <a:gd name="T1" fmla="*/ 53 h 55"/>
              <a:gd name="T2" fmla="*/ 103 w 115"/>
              <a:gd name="T3" fmla="*/ 30 h 55"/>
              <a:gd name="T4" fmla="*/ 113 w 115"/>
              <a:gd name="T5" fmla="*/ 12 h 55"/>
              <a:gd name="T6" fmla="*/ 96 w 115"/>
              <a:gd name="T7" fmla="*/ 3 h 55"/>
              <a:gd name="T8" fmla="*/ 12 w 115"/>
              <a:gd name="T9" fmla="*/ 25 h 55"/>
              <a:gd name="T10" fmla="*/ 2 w 115"/>
              <a:gd name="T11" fmla="*/ 43 h 55"/>
              <a:gd name="T12" fmla="*/ 20 w 115"/>
              <a:gd name="T13" fmla="*/ 5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55">
                <a:moveTo>
                  <a:pt x="20" y="53"/>
                </a:moveTo>
                <a:cubicBezTo>
                  <a:pt x="103" y="30"/>
                  <a:pt x="103" y="30"/>
                  <a:pt x="103" y="30"/>
                </a:cubicBezTo>
                <a:cubicBezTo>
                  <a:pt x="111" y="28"/>
                  <a:pt x="115" y="20"/>
                  <a:pt x="113" y="12"/>
                </a:cubicBezTo>
                <a:cubicBezTo>
                  <a:pt x="111" y="5"/>
                  <a:pt x="104" y="0"/>
                  <a:pt x="96" y="3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8"/>
                  <a:pt x="0" y="35"/>
                  <a:pt x="2" y="43"/>
                </a:cubicBezTo>
                <a:cubicBezTo>
                  <a:pt x="4" y="51"/>
                  <a:pt x="12" y="55"/>
                  <a:pt x="20" y="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39" name="Freeform 49"/>
          <p:cNvSpPr>
            <a:spLocks/>
          </p:cNvSpPr>
          <p:nvPr/>
        </p:nvSpPr>
        <p:spPr bwMode="auto">
          <a:xfrm>
            <a:off x="16833625" y="5509914"/>
            <a:ext cx="256618" cy="70980"/>
          </a:xfrm>
          <a:custGeom>
            <a:avLst/>
            <a:gdLst>
              <a:gd name="T0" fmla="*/ 58 w 58"/>
              <a:gd name="T1" fmla="*/ 0 h 16"/>
              <a:gd name="T2" fmla="*/ 11 w 58"/>
              <a:gd name="T3" fmla="*/ 0 h 16"/>
              <a:gd name="T4" fmla="*/ 3 w 58"/>
              <a:gd name="T5" fmla="*/ 3 h 16"/>
              <a:gd name="T6" fmla="*/ 0 w 58"/>
              <a:gd name="T7" fmla="*/ 12 h 16"/>
              <a:gd name="T8" fmla="*/ 1 w 58"/>
              <a:gd name="T9" fmla="*/ 16 h 16"/>
              <a:gd name="T10" fmla="*/ 58 w 58"/>
              <a:gd name="T11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16">
                <a:moveTo>
                  <a:pt x="58" y="0"/>
                </a:move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5" y="1"/>
                  <a:pt x="3" y="3"/>
                </a:cubicBezTo>
                <a:cubicBezTo>
                  <a:pt x="1" y="5"/>
                  <a:pt x="0" y="8"/>
                  <a:pt x="0" y="12"/>
                </a:cubicBezTo>
                <a:cubicBezTo>
                  <a:pt x="0" y="13"/>
                  <a:pt x="0" y="14"/>
                  <a:pt x="1" y="16"/>
                </a:cubicBezTo>
                <a:lnTo>
                  <a:pt x="5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3362654" y="8404410"/>
            <a:ext cx="0" cy="2075612"/>
          </a:xfrm>
          <a:prstGeom prst="line">
            <a:avLst/>
          </a:prstGeom>
          <a:solidFill>
            <a:schemeClr val="tx1">
              <a:lumMod val="20000"/>
              <a:lumOff val="80000"/>
            </a:schemeClr>
          </a:solidFill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/>
          <p:cNvSpPr/>
          <p:nvPr/>
        </p:nvSpPr>
        <p:spPr>
          <a:xfrm>
            <a:off x="3161412" y="8177036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3161412" y="10308172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6749646" y="6785830"/>
            <a:ext cx="0" cy="2075612"/>
          </a:xfrm>
          <a:prstGeom prst="line">
            <a:avLst/>
          </a:prstGeom>
          <a:solidFill>
            <a:schemeClr val="tx1">
              <a:lumMod val="20000"/>
              <a:lumOff val="80000"/>
            </a:schemeClr>
          </a:solidFill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/>
          <p:cNvSpPr/>
          <p:nvPr/>
        </p:nvSpPr>
        <p:spPr>
          <a:xfrm>
            <a:off x="6548404" y="6558456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6548404" y="8689592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10256258" y="8244624"/>
            <a:ext cx="0" cy="2075612"/>
          </a:xfrm>
          <a:prstGeom prst="line">
            <a:avLst/>
          </a:prstGeom>
          <a:solidFill>
            <a:schemeClr val="tx1">
              <a:lumMod val="20000"/>
              <a:lumOff val="80000"/>
            </a:schemeClr>
          </a:solidFill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/>
          <p:cNvSpPr/>
          <p:nvPr/>
        </p:nvSpPr>
        <p:spPr>
          <a:xfrm>
            <a:off x="10055016" y="8017250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10055016" y="10148386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>
            <a:off x="13601986" y="5517390"/>
            <a:ext cx="0" cy="2075612"/>
          </a:xfrm>
          <a:prstGeom prst="line">
            <a:avLst/>
          </a:prstGeom>
          <a:solidFill>
            <a:schemeClr val="tx1">
              <a:lumMod val="20000"/>
              <a:lumOff val="80000"/>
            </a:schemeClr>
          </a:solidFill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/>
          <p:cNvSpPr/>
          <p:nvPr/>
        </p:nvSpPr>
        <p:spPr>
          <a:xfrm>
            <a:off x="13400744" y="5290016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13400744" y="7421152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16964036" y="6977814"/>
            <a:ext cx="0" cy="2075612"/>
          </a:xfrm>
          <a:prstGeom prst="line">
            <a:avLst/>
          </a:prstGeom>
          <a:solidFill>
            <a:schemeClr val="tx1">
              <a:lumMod val="20000"/>
              <a:lumOff val="80000"/>
            </a:schemeClr>
          </a:solidFill>
          <a:ln w="254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/>
          <p:cNvSpPr/>
          <p:nvPr/>
        </p:nvSpPr>
        <p:spPr>
          <a:xfrm>
            <a:off x="16762794" y="6750440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16762794" y="8881576"/>
            <a:ext cx="402484" cy="40248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413568" y="11405104"/>
            <a:ext cx="37674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897331" y="10864680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2980B9"/>
                </a:solidFill>
                <a:latin typeface="Poppins"/>
              </a:rPr>
              <a:t>DATA TAMPLE</a:t>
            </a:r>
          </a:p>
        </p:txBody>
      </p:sp>
      <p:sp>
        <p:nvSpPr>
          <p:cNvPr id="61" name="Rectangle 60"/>
          <p:cNvSpPr/>
          <p:nvPr/>
        </p:nvSpPr>
        <p:spPr>
          <a:xfrm>
            <a:off x="4858754" y="9670732"/>
            <a:ext cx="37674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342517" y="913030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9BBB59"/>
                </a:solidFill>
                <a:latin typeface="Poppins"/>
              </a:rPr>
              <a:t>DATA TAMPLE</a:t>
            </a:r>
          </a:p>
        </p:txBody>
      </p:sp>
      <p:sp>
        <p:nvSpPr>
          <p:cNvPr id="63" name="Rectangle 62"/>
          <p:cNvSpPr/>
          <p:nvPr/>
        </p:nvSpPr>
        <p:spPr>
          <a:xfrm>
            <a:off x="8351388" y="11166978"/>
            <a:ext cx="37674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835151" y="10626554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1730902" y="8442520"/>
            <a:ext cx="37674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2214665" y="7902096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5080586" y="9930150"/>
            <a:ext cx="37674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5564349" y="9389726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41B176"/>
                </a:solidFill>
                <a:latin typeface="Poppins"/>
              </a:rPr>
              <a:t>DATA TAMPLE</a:t>
            </a:r>
          </a:p>
        </p:txBody>
      </p:sp>
    </p:spTree>
    <p:extLst>
      <p:ext uri="{BB962C8B-B14F-4D97-AF65-F5344CB8AC3E}">
        <p14:creationId xmlns:p14="http://schemas.microsoft.com/office/powerpoint/2010/main" val="230183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/>
        </p:nvGrpSpPr>
        <p:grpSpPr>
          <a:xfrm>
            <a:off x="2693218" y="5426286"/>
            <a:ext cx="7662388" cy="5086524"/>
            <a:chOff x="5441422" y="1420588"/>
            <a:chExt cx="3831194" cy="2543262"/>
          </a:xfrm>
          <a:solidFill>
            <a:schemeClr val="tx1">
              <a:lumMod val="20000"/>
              <a:lumOff val="80000"/>
            </a:schemeClr>
          </a:solidFill>
        </p:grpSpPr>
        <p:grpSp>
          <p:nvGrpSpPr>
            <p:cNvPr id="38" name="Group 37"/>
            <p:cNvGrpSpPr/>
            <p:nvPr/>
          </p:nvGrpSpPr>
          <p:grpSpPr>
            <a:xfrm>
              <a:off x="5441422" y="1420588"/>
              <a:ext cx="2461091" cy="2543262"/>
              <a:chOff x="1386757" y="2233127"/>
              <a:chExt cx="2461091" cy="2543262"/>
            </a:xfrm>
            <a:grpFill/>
          </p:grpSpPr>
          <p:sp>
            <p:nvSpPr>
              <p:cNvPr id="32" name="Rectangle 31"/>
              <p:cNvSpPr/>
              <p:nvPr/>
            </p:nvSpPr>
            <p:spPr>
              <a:xfrm rot="19146890">
                <a:off x="1386757" y="2233127"/>
                <a:ext cx="2461091" cy="4133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33" name="Rectangle 32"/>
              <p:cNvSpPr/>
              <p:nvPr/>
            </p:nvSpPr>
            <p:spPr>
              <a:xfrm rot="2453110" flipH="1">
                <a:off x="1386757" y="4363060"/>
                <a:ext cx="2461091" cy="4133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prstClr val="white"/>
                  </a:solidFill>
                  <a:latin typeface="Open Sans"/>
                </a:endParaRPr>
              </a:p>
            </p:txBody>
          </p:sp>
        </p:grpSp>
        <p:sp>
          <p:nvSpPr>
            <p:cNvPr id="36" name="Rectangle 35"/>
            <p:cNvSpPr/>
            <p:nvPr/>
          </p:nvSpPr>
          <p:spPr>
            <a:xfrm>
              <a:off x="6096693" y="2485555"/>
              <a:ext cx="3175923" cy="4133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white"/>
                </a:solidFill>
                <a:latin typeface="Open San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AR DIAGRAM</a:t>
            </a:r>
          </a:p>
        </p:txBody>
      </p:sp>
      <p:sp>
        <p:nvSpPr>
          <p:cNvPr id="3" name="Oval 2"/>
          <p:cNvSpPr/>
          <p:nvPr/>
        </p:nvSpPr>
        <p:spPr>
          <a:xfrm>
            <a:off x="1407743" y="5930887"/>
            <a:ext cx="4077326" cy="407732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1957452" y="6480596"/>
            <a:ext cx="2977904" cy="2977904"/>
          </a:xfrm>
          <a:custGeom>
            <a:avLst/>
            <a:gdLst>
              <a:gd name="connsiteX0" fmla="*/ 1862114 w 2623419"/>
              <a:gd name="connsiteY0" fmla="*/ 418274 h 2623419"/>
              <a:gd name="connsiteX1" fmla="*/ 2066174 w 2623419"/>
              <a:gd name="connsiteY1" fmla="*/ 247038 h 2623419"/>
              <a:gd name="connsiteX2" fmla="*/ 2229195 w 2623419"/>
              <a:gd name="connsiteY2" fmla="*/ 383828 h 2623419"/>
              <a:gd name="connsiteX3" fmla="*/ 2095995 w 2623419"/>
              <a:gd name="connsiteY3" fmla="*/ 614523 h 2623419"/>
              <a:gd name="connsiteX4" fmla="*/ 2307633 w 2623419"/>
              <a:gd name="connsiteY4" fmla="*/ 981091 h 2623419"/>
              <a:gd name="connsiteX5" fmla="*/ 2574021 w 2623419"/>
              <a:gd name="connsiteY5" fmla="*/ 981084 h 2623419"/>
              <a:gd name="connsiteX6" fmla="*/ 2610975 w 2623419"/>
              <a:gd name="connsiteY6" fmla="*/ 1190660 h 2623419"/>
              <a:gd name="connsiteX7" fmla="*/ 2360650 w 2623419"/>
              <a:gd name="connsiteY7" fmla="*/ 1281763 h 2623419"/>
              <a:gd name="connsiteX8" fmla="*/ 2287149 w 2623419"/>
              <a:gd name="connsiteY8" fmla="*/ 1698609 h 2623419"/>
              <a:gd name="connsiteX9" fmla="*/ 2491218 w 2623419"/>
              <a:gd name="connsiteY9" fmla="*/ 1869834 h 2623419"/>
              <a:gd name="connsiteX10" fmla="*/ 2384814 w 2623419"/>
              <a:gd name="connsiteY10" fmla="*/ 2054131 h 2623419"/>
              <a:gd name="connsiteX11" fmla="*/ 2134494 w 2623419"/>
              <a:gd name="connsiteY11" fmla="*/ 1963015 h 2623419"/>
              <a:gd name="connsiteX12" fmla="*/ 1810246 w 2623419"/>
              <a:gd name="connsiteY12" fmla="*/ 2235092 h 2623419"/>
              <a:gd name="connsiteX13" fmla="*/ 1856510 w 2623419"/>
              <a:gd name="connsiteY13" fmla="*/ 2497431 h 2623419"/>
              <a:gd name="connsiteX14" fmla="*/ 1656535 w 2623419"/>
              <a:gd name="connsiteY14" fmla="*/ 2570216 h 2623419"/>
              <a:gd name="connsiteX15" fmla="*/ 1523348 w 2623419"/>
              <a:gd name="connsiteY15" fmla="*/ 2339514 h 2623419"/>
              <a:gd name="connsiteX16" fmla="*/ 1100072 w 2623419"/>
              <a:gd name="connsiteY16" fmla="*/ 2339514 h 2623419"/>
              <a:gd name="connsiteX17" fmla="*/ 966884 w 2623419"/>
              <a:gd name="connsiteY17" fmla="*/ 2570216 h 2623419"/>
              <a:gd name="connsiteX18" fmla="*/ 766909 w 2623419"/>
              <a:gd name="connsiteY18" fmla="*/ 2497431 h 2623419"/>
              <a:gd name="connsiteX19" fmla="*/ 813174 w 2623419"/>
              <a:gd name="connsiteY19" fmla="*/ 2235092 h 2623419"/>
              <a:gd name="connsiteX20" fmla="*/ 488925 w 2623419"/>
              <a:gd name="connsiteY20" fmla="*/ 1963015 h 2623419"/>
              <a:gd name="connsiteX21" fmla="*/ 238605 w 2623419"/>
              <a:gd name="connsiteY21" fmla="*/ 2054131 h 2623419"/>
              <a:gd name="connsiteX22" fmla="*/ 132201 w 2623419"/>
              <a:gd name="connsiteY22" fmla="*/ 1869834 h 2623419"/>
              <a:gd name="connsiteX23" fmla="*/ 336270 w 2623419"/>
              <a:gd name="connsiteY23" fmla="*/ 1698609 h 2623419"/>
              <a:gd name="connsiteX24" fmla="*/ 262769 w 2623419"/>
              <a:gd name="connsiteY24" fmla="*/ 1281763 h 2623419"/>
              <a:gd name="connsiteX25" fmla="*/ 12444 w 2623419"/>
              <a:gd name="connsiteY25" fmla="*/ 1190660 h 2623419"/>
              <a:gd name="connsiteX26" fmla="*/ 49398 w 2623419"/>
              <a:gd name="connsiteY26" fmla="*/ 981084 h 2623419"/>
              <a:gd name="connsiteX27" fmla="*/ 315786 w 2623419"/>
              <a:gd name="connsiteY27" fmla="*/ 981091 h 2623419"/>
              <a:gd name="connsiteX28" fmla="*/ 527424 w 2623419"/>
              <a:gd name="connsiteY28" fmla="*/ 614523 h 2623419"/>
              <a:gd name="connsiteX29" fmla="*/ 394224 w 2623419"/>
              <a:gd name="connsiteY29" fmla="*/ 383828 h 2623419"/>
              <a:gd name="connsiteX30" fmla="*/ 557245 w 2623419"/>
              <a:gd name="connsiteY30" fmla="*/ 247038 h 2623419"/>
              <a:gd name="connsiteX31" fmla="*/ 761305 w 2623419"/>
              <a:gd name="connsiteY31" fmla="*/ 418274 h 2623419"/>
              <a:gd name="connsiteX32" fmla="*/ 1159055 w 2623419"/>
              <a:gd name="connsiteY32" fmla="*/ 273505 h 2623419"/>
              <a:gd name="connsiteX33" fmla="*/ 1205305 w 2623419"/>
              <a:gd name="connsiteY33" fmla="*/ 11163 h 2623419"/>
              <a:gd name="connsiteX34" fmla="*/ 1418114 w 2623419"/>
              <a:gd name="connsiteY34" fmla="*/ 11163 h 2623419"/>
              <a:gd name="connsiteX35" fmla="*/ 1464365 w 2623419"/>
              <a:gd name="connsiteY35" fmla="*/ 273505 h 2623419"/>
              <a:gd name="connsiteX36" fmla="*/ 1862115 w 2623419"/>
              <a:gd name="connsiteY36" fmla="*/ 418274 h 2623419"/>
              <a:gd name="connsiteX37" fmla="*/ 1862114 w 2623419"/>
              <a:gd name="connsiteY37" fmla="*/ 418274 h 2623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23419" h="2623419">
                <a:moveTo>
                  <a:pt x="1862114" y="418274"/>
                </a:moveTo>
                <a:lnTo>
                  <a:pt x="2066174" y="247038"/>
                </a:lnTo>
                <a:lnTo>
                  <a:pt x="2229195" y="383828"/>
                </a:lnTo>
                <a:lnTo>
                  <a:pt x="2095995" y="614523"/>
                </a:lnTo>
                <a:cubicBezTo>
                  <a:pt x="2190708" y="721068"/>
                  <a:pt x="2262719" y="845795"/>
                  <a:pt x="2307633" y="981091"/>
                </a:cubicBezTo>
                <a:lnTo>
                  <a:pt x="2574021" y="981084"/>
                </a:lnTo>
                <a:lnTo>
                  <a:pt x="2610975" y="1190660"/>
                </a:lnTo>
                <a:lnTo>
                  <a:pt x="2360650" y="1281763"/>
                </a:lnTo>
                <a:cubicBezTo>
                  <a:pt x="2364718" y="1424262"/>
                  <a:pt x="2339709" y="1566095"/>
                  <a:pt x="2287149" y="1698609"/>
                </a:cubicBezTo>
                <a:lnTo>
                  <a:pt x="2491218" y="1869834"/>
                </a:lnTo>
                <a:lnTo>
                  <a:pt x="2384814" y="2054131"/>
                </a:lnTo>
                <a:lnTo>
                  <a:pt x="2134494" y="1963015"/>
                </a:lnTo>
                <a:cubicBezTo>
                  <a:pt x="2046014" y="2074790"/>
                  <a:pt x="1935687" y="2167366"/>
                  <a:pt x="1810246" y="2235092"/>
                </a:cubicBezTo>
                <a:lnTo>
                  <a:pt x="1856510" y="2497431"/>
                </a:lnTo>
                <a:lnTo>
                  <a:pt x="1656535" y="2570216"/>
                </a:lnTo>
                <a:lnTo>
                  <a:pt x="1523348" y="2339514"/>
                </a:lnTo>
                <a:cubicBezTo>
                  <a:pt x="1383721" y="2368265"/>
                  <a:pt x="1239699" y="2368265"/>
                  <a:pt x="1100072" y="2339514"/>
                </a:cubicBezTo>
                <a:lnTo>
                  <a:pt x="966884" y="2570216"/>
                </a:lnTo>
                <a:lnTo>
                  <a:pt x="766909" y="2497431"/>
                </a:lnTo>
                <a:lnTo>
                  <a:pt x="813174" y="2235092"/>
                </a:lnTo>
                <a:cubicBezTo>
                  <a:pt x="687732" y="2167366"/>
                  <a:pt x="577405" y="2074791"/>
                  <a:pt x="488925" y="1963015"/>
                </a:cubicBezTo>
                <a:lnTo>
                  <a:pt x="238605" y="2054131"/>
                </a:lnTo>
                <a:lnTo>
                  <a:pt x="132201" y="1869834"/>
                </a:lnTo>
                <a:lnTo>
                  <a:pt x="336270" y="1698609"/>
                </a:lnTo>
                <a:cubicBezTo>
                  <a:pt x="283710" y="1566095"/>
                  <a:pt x="258701" y="1424262"/>
                  <a:pt x="262769" y="1281763"/>
                </a:cubicBezTo>
                <a:lnTo>
                  <a:pt x="12444" y="1190660"/>
                </a:lnTo>
                <a:lnTo>
                  <a:pt x="49398" y="981084"/>
                </a:lnTo>
                <a:lnTo>
                  <a:pt x="315786" y="981091"/>
                </a:lnTo>
                <a:cubicBezTo>
                  <a:pt x="360701" y="845795"/>
                  <a:pt x="432711" y="721068"/>
                  <a:pt x="527424" y="614523"/>
                </a:cubicBezTo>
                <a:lnTo>
                  <a:pt x="394224" y="383828"/>
                </a:lnTo>
                <a:lnTo>
                  <a:pt x="557245" y="247038"/>
                </a:lnTo>
                <a:lnTo>
                  <a:pt x="761305" y="418274"/>
                </a:lnTo>
                <a:cubicBezTo>
                  <a:pt x="882678" y="343501"/>
                  <a:pt x="1018014" y="294243"/>
                  <a:pt x="1159055" y="273505"/>
                </a:cubicBezTo>
                <a:lnTo>
                  <a:pt x="1205305" y="11163"/>
                </a:lnTo>
                <a:lnTo>
                  <a:pt x="1418114" y="11163"/>
                </a:lnTo>
                <a:lnTo>
                  <a:pt x="1464365" y="273505"/>
                </a:lnTo>
                <a:cubicBezTo>
                  <a:pt x="1605405" y="294243"/>
                  <a:pt x="1740741" y="343501"/>
                  <a:pt x="1862115" y="418274"/>
                </a:cubicBezTo>
                <a:lnTo>
                  <a:pt x="1862114" y="41827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5328" tIns="1259526" rIns="1085328" bIns="1351288" numCol="1" spcCol="1270" anchor="ctr" anchorCtr="0">
            <a:noAutofit/>
          </a:bodyPr>
          <a:lstStyle/>
          <a:p>
            <a:pPr defTabSz="10668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400" kern="1200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8481" y="7410616"/>
            <a:ext cx="18448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rtl="0"/>
            <a:r>
              <a:rPr lang="en-US" sz="2800" b="1" kern="1200" dirty="0">
                <a:solidFill>
                  <a:prstClr val="white"/>
                </a:solidFill>
                <a:latin typeface="Poppins"/>
              </a:rPr>
              <a:t>DATA TAMPLE</a:t>
            </a:r>
          </a:p>
        </p:txBody>
      </p:sp>
      <p:sp>
        <p:nvSpPr>
          <p:cNvPr id="6" name="Oval 5"/>
          <p:cNvSpPr/>
          <p:nvPr/>
        </p:nvSpPr>
        <p:spPr>
          <a:xfrm>
            <a:off x="5683515" y="3169209"/>
            <a:ext cx="2575866" cy="257586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" name="Freeform 5"/>
          <p:cNvSpPr>
            <a:spLocks noEditPoints="1"/>
          </p:cNvSpPr>
          <p:nvPr/>
        </p:nvSpPr>
        <p:spPr bwMode="auto">
          <a:xfrm>
            <a:off x="5209542" y="2730941"/>
            <a:ext cx="3523812" cy="3471946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8" name="Oval 6"/>
          <p:cNvSpPr>
            <a:spLocks noChangeArrowheads="1"/>
          </p:cNvSpPr>
          <p:nvPr/>
        </p:nvSpPr>
        <p:spPr bwMode="auto">
          <a:xfrm>
            <a:off x="6131555" y="3627020"/>
            <a:ext cx="1679790" cy="16797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970365" y="6671845"/>
            <a:ext cx="2575866" cy="257586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8496392" y="6233577"/>
            <a:ext cx="3523812" cy="3471946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15" name="Oval 6"/>
          <p:cNvSpPr>
            <a:spLocks noChangeArrowheads="1"/>
          </p:cNvSpPr>
          <p:nvPr/>
        </p:nvSpPr>
        <p:spPr bwMode="auto">
          <a:xfrm>
            <a:off x="9418405" y="7129656"/>
            <a:ext cx="1679790" cy="167978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9940502" y="7548947"/>
            <a:ext cx="652812" cy="826658"/>
            <a:chOff x="3660259" y="2415473"/>
            <a:chExt cx="503691" cy="637826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17" name="Oval 40"/>
            <p:cNvSpPr>
              <a:spLocks noChangeArrowheads="1"/>
            </p:cNvSpPr>
            <p:nvPr/>
          </p:nvSpPr>
          <p:spPr bwMode="auto">
            <a:xfrm>
              <a:off x="3706796" y="2415473"/>
              <a:ext cx="339444" cy="34218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8" name="Freeform 41"/>
            <p:cNvSpPr>
              <a:spLocks/>
            </p:cNvSpPr>
            <p:nvPr/>
          </p:nvSpPr>
          <p:spPr bwMode="auto">
            <a:xfrm>
              <a:off x="3660259" y="2760392"/>
              <a:ext cx="395562" cy="292907"/>
            </a:xfrm>
            <a:custGeom>
              <a:avLst/>
              <a:gdLst>
                <a:gd name="T0" fmla="*/ 86 w 120"/>
                <a:gd name="T1" fmla="*/ 50 h 89"/>
                <a:gd name="T2" fmla="*/ 114 w 120"/>
                <a:gd name="T3" fmla="*/ 13 h 89"/>
                <a:gd name="T4" fmla="*/ 106 w 120"/>
                <a:gd name="T5" fmla="*/ 0 h 89"/>
                <a:gd name="T6" fmla="*/ 65 w 120"/>
                <a:gd name="T7" fmla="*/ 12 h 89"/>
                <a:gd name="T8" fmla="*/ 24 w 120"/>
                <a:gd name="T9" fmla="*/ 0 h 89"/>
                <a:gd name="T10" fmla="*/ 0 w 120"/>
                <a:gd name="T11" fmla="*/ 89 h 89"/>
                <a:gd name="T12" fmla="*/ 120 w 120"/>
                <a:gd name="T13" fmla="*/ 89 h 89"/>
                <a:gd name="T14" fmla="*/ 86 w 120"/>
                <a:gd name="T15" fmla="*/ 5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89">
                  <a:moveTo>
                    <a:pt x="86" y="50"/>
                  </a:moveTo>
                  <a:cubicBezTo>
                    <a:pt x="86" y="33"/>
                    <a:pt x="98" y="18"/>
                    <a:pt x="114" y="13"/>
                  </a:cubicBezTo>
                  <a:cubicBezTo>
                    <a:pt x="112" y="8"/>
                    <a:pt x="109" y="4"/>
                    <a:pt x="106" y="0"/>
                  </a:cubicBezTo>
                  <a:cubicBezTo>
                    <a:pt x="95" y="8"/>
                    <a:pt x="80" y="12"/>
                    <a:pt x="65" y="12"/>
                  </a:cubicBezTo>
                  <a:cubicBezTo>
                    <a:pt x="50" y="12"/>
                    <a:pt x="36" y="8"/>
                    <a:pt x="24" y="0"/>
                  </a:cubicBezTo>
                  <a:cubicBezTo>
                    <a:pt x="10" y="21"/>
                    <a:pt x="1" y="53"/>
                    <a:pt x="0" y="89"/>
                  </a:cubicBezTo>
                  <a:cubicBezTo>
                    <a:pt x="120" y="89"/>
                    <a:pt x="120" y="89"/>
                    <a:pt x="120" y="89"/>
                  </a:cubicBezTo>
                  <a:cubicBezTo>
                    <a:pt x="101" y="86"/>
                    <a:pt x="86" y="70"/>
                    <a:pt x="8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19" name="Freeform 42"/>
            <p:cNvSpPr>
              <a:spLocks noEditPoints="1"/>
            </p:cNvSpPr>
            <p:nvPr/>
          </p:nvSpPr>
          <p:spPr bwMode="auto">
            <a:xfrm>
              <a:off x="3980541" y="2832935"/>
              <a:ext cx="183409" cy="184778"/>
            </a:xfrm>
            <a:custGeom>
              <a:avLst/>
              <a:gdLst>
                <a:gd name="T0" fmla="*/ 28 w 56"/>
                <a:gd name="T1" fmla="*/ 0 h 56"/>
                <a:gd name="T2" fmla="*/ 21 w 56"/>
                <a:gd name="T3" fmla="*/ 1 h 56"/>
                <a:gd name="T4" fmla="*/ 0 w 56"/>
                <a:gd name="T5" fmla="*/ 28 h 56"/>
                <a:gd name="T6" fmla="*/ 28 w 56"/>
                <a:gd name="T7" fmla="*/ 56 h 56"/>
                <a:gd name="T8" fmla="*/ 33 w 56"/>
                <a:gd name="T9" fmla="*/ 56 h 56"/>
                <a:gd name="T10" fmla="*/ 56 w 56"/>
                <a:gd name="T11" fmla="*/ 28 h 56"/>
                <a:gd name="T12" fmla="*/ 28 w 56"/>
                <a:gd name="T13" fmla="*/ 0 h 56"/>
                <a:gd name="T14" fmla="*/ 47 w 56"/>
                <a:gd name="T15" fmla="*/ 34 h 56"/>
                <a:gd name="T16" fmla="*/ 33 w 56"/>
                <a:gd name="T17" fmla="*/ 34 h 56"/>
                <a:gd name="T18" fmla="*/ 33 w 56"/>
                <a:gd name="T19" fmla="*/ 48 h 56"/>
                <a:gd name="T20" fmla="*/ 33 w 56"/>
                <a:gd name="T21" fmla="*/ 48 h 56"/>
                <a:gd name="T22" fmla="*/ 22 w 56"/>
                <a:gd name="T23" fmla="*/ 48 h 56"/>
                <a:gd name="T24" fmla="*/ 22 w 56"/>
                <a:gd name="T25" fmla="*/ 34 h 56"/>
                <a:gd name="T26" fmla="*/ 8 w 56"/>
                <a:gd name="T27" fmla="*/ 34 h 56"/>
                <a:gd name="T28" fmla="*/ 8 w 56"/>
                <a:gd name="T29" fmla="*/ 23 h 56"/>
                <a:gd name="T30" fmla="*/ 22 w 56"/>
                <a:gd name="T31" fmla="*/ 23 h 56"/>
                <a:gd name="T32" fmla="*/ 22 w 56"/>
                <a:gd name="T33" fmla="*/ 9 h 56"/>
                <a:gd name="T34" fmla="*/ 24 w 56"/>
                <a:gd name="T35" fmla="*/ 9 h 56"/>
                <a:gd name="T36" fmla="*/ 33 w 56"/>
                <a:gd name="T37" fmla="*/ 9 h 56"/>
                <a:gd name="T38" fmla="*/ 33 w 56"/>
                <a:gd name="T39" fmla="*/ 23 h 56"/>
                <a:gd name="T40" fmla="*/ 47 w 56"/>
                <a:gd name="T41" fmla="*/ 23 h 56"/>
                <a:gd name="T42" fmla="*/ 47 w 56"/>
                <a:gd name="T4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26" y="0"/>
                    <a:pt x="23" y="0"/>
                    <a:pt x="21" y="1"/>
                  </a:cubicBezTo>
                  <a:cubicBezTo>
                    <a:pt x="9" y="4"/>
                    <a:pt x="0" y="15"/>
                    <a:pt x="0" y="28"/>
                  </a:cubicBezTo>
                  <a:cubicBezTo>
                    <a:pt x="0" y="44"/>
                    <a:pt x="12" y="56"/>
                    <a:pt x="28" y="56"/>
                  </a:cubicBezTo>
                  <a:cubicBezTo>
                    <a:pt x="30" y="56"/>
                    <a:pt x="31" y="56"/>
                    <a:pt x="33" y="56"/>
                  </a:cubicBezTo>
                  <a:cubicBezTo>
                    <a:pt x="46" y="53"/>
                    <a:pt x="56" y="42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  <a:moveTo>
                    <a:pt x="4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47" y="23"/>
                    <a:pt x="47" y="23"/>
                    <a:pt x="47" y="23"/>
                  </a:cubicBezTo>
                  <a:lnTo>
                    <a:pt x="47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20" name="Oval 19"/>
          <p:cNvSpPr/>
          <p:nvPr/>
        </p:nvSpPr>
        <p:spPr>
          <a:xfrm>
            <a:off x="5683513" y="10186943"/>
            <a:ext cx="2575866" cy="257586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21" name="Freeform 5"/>
          <p:cNvSpPr>
            <a:spLocks noEditPoints="1"/>
          </p:cNvSpPr>
          <p:nvPr/>
        </p:nvSpPr>
        <p:spPr bwMode="auto">
          <a:xfrm>
            <a:off x="5209540" y="9748675"/>
            <a:ext cx="3523812" cy="3471946"/>
          </a:xfrm>
          <a:custGeom>
            <a:avLst/>
            <a:gdLst>
              <a:gd name="T0" fmla="*/ 739 w 818"/>
              <a:gd name="T1" fmla="*/ 400 h 806"/>
              <a:gd name="T2" fmla="*/ 818 w 818"/>
              <a:gd name="T3" fmla="*/ 371 h 806"/>
              <a:gd name="T4" fmla="*/ 807 w 818"/>
              <a:gd name="T5" fmla="*/ 305 h 806"/>
              <a:gd name="T6" fmla="*/ 723 w 818"/>
              <a:gd name="T7" fmla="*/ 305 h 806"/>
              <a:gd name="T8" fmla="*/ 656 w 818"/>
              <a:gd name="T9" fmla="*/ 190 h 806"/>
              <a:gd name="T10" fmla="*/ 698 w 818"/>
              <a:gd name="T11" fmla="*/ 117 h 806"/>
              <a:gd name="T12" fmla="*/ 647 w 818"/>
              <a:gd name="T13" fmla="*/ 74 h 806"/>
              <a:gd name="T14" fmla="*/ 582 w 818"/>
              <a:gd name="T15" fmla="*/ 128 h 806"/>
              <a:gd name="T16" fmla="*/ 457 w 818"/>
              <a:gd name="T17" fmla="*/ 83 h 806"/>
              <a:gd name="T18" fmla="*/ 442 w 818"/>
              <a:gd name="T19" fmla="*/ 0 h 806"/>
              <a:gd name="T20" fmla="*/ 375 w 818"/>
              <a:gd name="T21" fmla="*/ 0 h 806"/>
              <a:gd name="T22" fmla="*/ 361 w 818"/>
              <a:gd name="T23" fmla="*/ 83 h 806"/>
              <a:gd name="T24" fmla="*/ 236 w 818"/>
              <a:gd name="T25" fmla="*/ 128 h 806"/>
              <a:gd name="T26" fmla="*/ 171 w 818"/>
              <a:gd name="T27" fmla="*/ 74 h 806"/>
              <a:gd name="T28" fmla="*/ 120 w 818"/>
              <a:gd name="T29" fmla="*/ 117 h 806"/>
              <a:gd name="T30" fmla="*/ 162 w 818"/>
              <a:gd name="T31" fmla="*/ 190 h 806"/>
              <a:gd name="T32" fmla="*/ 95 w 818"/>
              <a:gd name="T33" fmla="*/ 305 h 806"/>
              <a:gd name="T34" fmla="*/ 11 w 818"/>
              <a:gd name="T35" fmla="*/ 305 h 806"/>
              <a:gd name="T36" fmla="*/ 0 w 818"/>
              <a:gd name="T37" fmla="*/ 371 h 806"/>
              <a:gd name="T38" fmla="*/ 78 w 818"/>
              <a:gd name="T39" fmla="*/ 400 h 806"/>
              <a:gd name="T40" fmla="*/ 102 w 818"/>
              <a:gd name="T41" fmla="*/ 531 h 806"/>
              <a:gd name="T42" fmla="*/ 37 w 818"/>
              <a:gd name="T43" fmla="*/ 585 h 806"/>
              <a:gd name="T44" fmla="*/ 71 w 818"/>
              <a:gd name="T45" fmla="*/ 643 h 806"/>
              <a:gd name="T46" fmla="*/ 150 w 818"/>
              <a:gd name="T47" fmla="*/ 615 h 806"/>
              <a:gd name="T48" fmla="*/ 252 w 818"/>
              <a:gd name="T49" fmla="*/ 700 h 806"/>
              <a:gd name="T50" fmla="*/ 237 w 818"/>
              <a:gd name="T51" fmla="*/ 783 h 806"/>
              <a:gd name="T52" fmla="*/ 300 w 818"/>
              <a:gd name="T53" fmla="*/ 806 h 806"/>
              <a:gd name="T54" fmla="*/ 342 w 818"/>
              <a:gd name="T55" fmla="*/ 733 h 806"/>
              <a:gd name="T56" fmla="*/ 476 w 818"/>
              <a:gd name="T57" fmla="*/ 733 h 806"/>
              <a:gd name="T58" fmla="*/ 518 w 818"/>
              <a:gd name="T59" fmla="*/ 806 h 806"/>
              <a:gd name="T60" fmla="*/ 581 w 818"/>
              <a:gd name="T61" fmla="*/ 783 h 806"/>
              <a:gd name="T62" fmla="*/ 566 w 818"/>
              <a:gd name="T63" fmla="*/ 700 h 806"/>
              <a:gd name="T64" fmla="*/ 668 w 818"/>
              <a:gd name="T65" fmla="*/ 615 h 806"/>
              <a:gd name="T66" fmla="*/ 747 w 818"/>
              <a:gd name="T67" fmla="*/ 643 h 806"/>
              <a:gd name="T68" fmla="*/ 781 w 818"/>
              <a:gd name="T69" fmla="*/ 585 h 806"/>
              <a:gd name="T70" fmla="*/ 716 w 818"/>
              <a:gd name="T71" fmla="*/ 531 h 806"/>
              <a:gd name="T72" fmla="*/ 739 w 818"/>
              <a:gd name="T73" fmla="*/ 400 h 806"/>
              <a:gd name="T74" fmla="*/ 409 w 818"/>
              <a:gd name="T75" fmla="*/ 660 h 806"/>
              <a:gd name="T76" fmla="*/ 152 w 818"/>
              <a:gd name="T77" fmla="*/ 403 h 806"/>
              <a:gd name="T78" fmla="*/ 409 w 818"/>
              <a:gd name="T79" fmla="*/ 146 h 806"/>
              <a:gd name="T80" fmla="*/ 666 w 818"/>
              <a:gd name="T81" fmla="*/ 403 h 806"/>
              <a:gd name="T82" fmla="*/ 409 w 818"/>
              <a:gd name="T83" fmla="*/ 66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18" h="806">
                <a:moveTo>
                  <a:pt x="739" y="400"/>
                </a:moveTo>
                <a:cubicBezTo>
                  <a:pt x="818" y="371"/>
                  <a:pt x="818" y="371"/>
                  <a:pt x="818" y="371"/>
                </a:cubicBezTo>
                <a:cubicBezTo>
                  <a:pt x="807" y="305"/>
                  <a:pt x="807" y="305"/>
                  <a:pt x="807" y="305"/>
                </a:cubicBezTo>
                <a:cubicBezTo>
                  <a:pt x="723" y="305"/>
                  <a:pt x="723" y="305"/>
                  <a:pt x="723" y="305"/>
                </a:cubicBezTo>
                <a:cubicBezTo>
                  <a:pt x="709" y="263"/>
                  <a:pt x="686" y="224"/>
                  <a:pt x="656" y="190"/>
                </a:cubicBezTo>
                <a:cubicBezTo>
                  <a:pt x="698" y="117"/>
                  <a:pt x="698" y="117"/>
                  <a:pt x="698" y="117"/>
                </a:cubicBezTo>
                <a:cubicBezTo>
                  <a:pt x="647" y="74"/>
                  <a:pt x="647" y="74"/>
                  <a:pt x="647" y="74"/>
                </a:cubicBezTo>
                <a:cubicBezTo>
                  <a:pt x="582" y="128"/>
                  <a:pt x="582" y="128"/>
                  <a:pt x="582" y="128"/>
                </a:cubicBezTo>
                <a:cubicBezTo>
                  <a:pt x="544" y="105"/>
                  <a:pt x="501" y="89"/>
                  <a:pt x="457" y="83"/>
                </a:cubicBezTo>
                <a:cubicBezTo>
                  <a:pt x="442" y="0"/>
                  <a:pt x="442" y="0"/>
                  <a:pt x="442" y="0"/>
                </a:cubicBezTo>
                <a:cubicBezTo>
                  <a:pt x="375" y="0"/>
                  <a:pt x="375" y="0"/>
                  <a:pt x="375" y="0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316" y="89"/>
                  <a:pt x="274" y="105"/>
                  <a:pt x="236" y="128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62" y="190"/>
                  <a:pt x="162" y="190"/>
                  <a:pt x="162" y="190"/>
                </a:cubicBezTo>
                <a:cubicBezTo>
                  <a:pt x="132" y="224"/>
                  <a:pt x="109" y="263"/>
                  <a:pt x="95" y="305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0" y="371"/>
                  <a:pt x="0" y="371"/>
                  <a:pt x="0" y="371"/>
                </a:cubicBezTo>
                <a:cubicBezTo>
                  <a:pt x="78" y="400"/>
                  <a:pt x="78" y="400"/>
                  <a:pt x="78" y="400"/>
                </a:cubicBezTo>
                <a:cubicBezTo>
                  <a:pt x="77" y="445"/>
                  <a:pt x="85" y="490"/>
                  <a:pt x="102" y="531"/>
                </a:cubicBezTo>
                <a:cubicBezTo>
                  <a:pt x="37" y="585"/>
                  <a:pt x="37" y="585"/>
                  <a:pt x="37" y="585"/>
                </a:cubicBezTo>
                <a:cubicBezTo>
                  <a:pt x="71" y="643"/>
                  <a:pt x="71" y="643"/>
                  <a:pt x="71" y="643"/>
                </a:cubicBezTo>
                <a:cubicBezTo>
                  <a:pt x="150" y="615"/>
                  <a:pt x="150" y="615"/>
                  <a:pt x="150" y="615"/>
                </a:cubicBezTo>
                <a:cubicBezTo>
                  <a:pt x="178" y="650"/>
                  <a:pt x="212" y="679"/>
                  <a:pt x="252" y="700"/>
                </a:cubicBezTo>
                <a:cubicBezTo>
                  <a:pt x="237" y="783"/>
                  <a:pt x="237" y="783"/>
                  <a:pt x="237" y="783"/>
                </a:cubicBezTo>
                <a:cubicBezTo>
                  <a:pt x="300" y="806"/>
                  <a:pt x="300" y="806"/>
                  <a:pt x="300" y="806"/>
                </a:cubicBezTo>
                <a:cubicBezTo>
                  <a:pt x="342" y="733"/>
                  <a:pt x="342" y="733"/>
                  <a:pt x="342" y="733"/>
                </a:cubicBezTo>
                <a:cubicBezTo>
                  <a:pt x="386" y="742"/>
                  <a:pt x="432" y="742"/>
                  <a:pt x="476" y="733"/>
                </a:cubicBezTo>
                <a:cubicBezTo>
                  <a:pt x="518" y="806"/>
                  <a:pt x="518" y="806"/>
                  <a:pt x="518" y="806"/>
                </a:cubicBezTo>
                <a:cubicBezTo>
                  <a:pt x="581" y="783"/>
                  <a:pt x="581" y="783"/>
                  <a:pt x="581" y="783"/>
                </a:cubicBezTo>
                <a:cubicBezTo>
                  <a:pt x="566" y="700"/>
                  <a:pt x="566" y="700"/>
                  <a:pt x="566" y="700"/>
                </a:cubicBezTo>
                <a:cubicBezTo>
                  <a:pt x="606" y="679"/>
                  <a:pt x="640" y="650"/>
                  <a:pt x="668" y="615"/>
                </a:cubicBezTo>
                <a:cubicBezTo>
                  <a:pt x="747" y="643"/>
                  <a:pt x="747" y="643"/>
                  <a:pt x="747" y="643"/>
                </a:cubicBezTo>
                <a:cubicBezTo>
                  <a:pt x="781" y="585"/>
                  <a:pt x="781" y="585"/>
                  <a:pt x="781" y="585"/>
                </a:cubicBezTo>
                <a:cubicBezTo>
                  <a:pt x="716" y="531"/>
                  <a:pt x="716" y="531"/>
                  <a:pt x="716" y="531"/>
                </a:cubicBezTo>
                <a:cubicBezTo>
                  <a:pt x="733" y="490"/>
                  <a:pt x="741" y="445"/>
                  <a:pt x="739" y="400"/>
                </a:cubicBezTo>
                <a:close/>
                <a:moveTo>
                  <a:pt x="409" y="660"/>
                </a:moveTo>
                <a:cubicBezTo>
                  <a:pt x="267" y="660"/>
                  <a:pt x="152" y="545"/>
                  <a:pt x="152" y="403"/>
                </a:cubicBezTo>
                <a:cubicBezTo>
                  <a:pt x="152" y="261"/>
                  <a:pt x="267" y="146"/>
                  <a:pt x="409" y="146"/>
                </a:cubicBezTo>
                <a:cubicBezTo>
                  <a:pt x="551" y="146"/>
                  <a:pt x="666" y="261"/>
                  <a:pt x="666" y="403"/>
                </a:cubicBezTo>
                <a:cubicBezTo>
                  <a:pt x="666" y="545"/>
                  <a:pt x="551" y="660"/>
                  <a:pt x="409" y="6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22" name="Oval 6"/>
          <p:cNvSpPr>
            <a:spLocks noChangeArrowheads="1"/>
          </p:cNvSpPr>
          <p:nvPr/>
        </p:nvSpPr>
        <p:spPr bwMode="auto">
          <a:xfrm>
            <a:off x="6131553" y="10644754"/>
            <a:ext cx="1679790" cy="16797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pPr algn="l" defTabSz="1828800" rtl="0"/>
            <a:endParaRPr lang="en-US" sz="3600" kern="1200">
              <a:solidFill>
                <a:srgbClr val="3F3F3F"/>
              </a:solidFill>
              <a:latin typeface="Open Sans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6763749" y="4069580"/>
            <a:ext cx="521746" cy="775120"/>
            <a:chOff x="1299545" y="2435356"/>
            <a:chExt cx="402565" cy="598061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41" name="Oval 35"/>
            <p:cNvSpPr>
              <a:spLocks noChangeArrowheads="1"/>
            </p:cNvSpPr>
            <p:nvPr/>
          </p:nvSpPr>
          <p:spPr bwMode="auto">
            <a:xfrm>
              <a:off x="1339415" y="2435356"/>
              <a:ext cx="322824" cy="32025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2" name="Freeform 36"/>
            <p:cNvSpPr>
              <a:spLocks/>
            </p:cNvSpPr>
            <p:nvPr/>
          </p:nvSpPr>
          <p:spPr bwMode="auto">
            <a:xfrm>
              <a:off x="1299545" y="2762039"/>
              <a:ext cx="402565" cy="271378"/>
            </a:xfrm>
            <a:custGeom>
              <a:avLst/>
              <a:gdLst>
                <a:gd name="T0" fmla="*/ 65 w 130"/>
                <a:gd name="T1" fmla="*/ 12 h 88"/>
                <a:gd name="T2" fmla="*/ 24 w 130"/>
                <a:gd name="T3" fmla="*/ 0 h 88"/>
                <a:gd name="T4" fmla="*/ 0 w 130"/>
                <a:gd name="T5" fmla="*/ 88 h 88"/>
                <a:gd name="T6" fmla="*/ 130 w 130"/>
                <a:gd name="T7" fmla="*/ 88 h 88"/>
                <a:gd name="T8" fmla="*/ 106 w 130"/>
                <a:gd name="T9" fmla="*/ 0 h 88"/>
                <a:gd name="T10" fmla="*/ 65 w 130"/>
                <a:gd name="T11" fmla="*/ 1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88">
                  <a:moveTo>
                    <a:pt x="65" y="12"/>
                  </a:moveTo>
                  <a:cubicBezTo>
                    <a:pt x="50" y="12"/>
                    <a:pt x="36" y="7"/>
                    <a:pt x="24" y="0"/>
                  </a:cubicBezTo>
                  <a:cubicBezTo>
                    <a:pt x="10" y="20"/>
                    <a:pt x="0" y="52"/>
                    <a:pt x="0" y="88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30" y="52"/>
                    <a:pt x="120" y="20"/>
                    <a:pt x="106" y="0"/>
                  </a:cubicBezTo>
                  <a:cubicBezTo>
                    <a:pt x="94" y="7"/>
                    <a:pt x="80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6652776" y="11088629"/>
            <a:ext cx="670984" cy="832450"/>
            <a:chOff x="5854905" y="2413239"/>
            <a:chExt cx="517713" cy="642295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44" name="Oval 50"/>
            <p:cNvSpPr>
              <a:spLocks noChangeArrowheads="1"/>
            </p:cNvSpPr>
            <p:nvPr/>
          </p:nvSpPr>
          <p:spPr bwMode="auto">
            <a:xfrm>
              <a:off x="5892280" y="2413239"/>
              <a:ext cx="276851" cy="27685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5" name="Freeform 51"/>
            <p:cNvSpPr>
              <a:spLocks/>
            </p:cNvSpPr>
            <p:nvPr/>
          </p:nvSpPr>
          <p:spPr bwMode="auto">
            <a:xfrm>
              <a:off x="5854905" y="2692859"/>
              <a:ext cx="290694" cy="235324"/>
            </a:xfrm>
            <a:custGeom>
              <a:avLst/>
              <a:gdLst>
                <a:gd name="T0" fmla="*/ 87 w 87"/>
                <a:gd name="T1" fmla="*/ 49 h 71"/>
                <a:gd name="T2" fmla="*/ 78 w 87"/>
                <a:gd name="T3" fmla="*/ 24 h 71"/>
                <a:gd name="T4" fmla="*/ 86 w 87"/>
                <a:gd name="T5" fmla="*/ 0 h 71"/>
                <a:gd name="T6" fmla="*/ 85 w 87"/>
                <a:gd name="T7" fmla="*/ 0 h 71"/>
                <a:gd name="T8" fmla="*/ 53 w 87"/>
                <a:gd name="T9" fmla="*/ 10 h 71"/>
                <a:gd name="T10" fmla="*/ 20 w 87"/>
                <a:gd name="T11" fmla="*/ 0 h 71"/>
                <a:gd name="T12" fmla="*/ 0 w 87"/>
                <a:gd name="T13" fmla="*/ 71 h 71"/>
                <a:gd name="T14" fmla="*/ 76 w 87"/>
                <a:gd name="T15" fmla="*/ 71 h 71"/>
                <a:gd name="T16" fmla="*/ 85 w 87"/>
                <a:gd name="T17" fmla="*/ 52 h 71"/>
                <a:gd name="T18" fmla="*/ 87 w 87"/>
                <a:gd name="T19" fmla="*/ 4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87" y="49"/>
                  </a:moveTo>
                  <a:cubicBezTo>
                    <a:pt x="81" y="42"/>
                    <a:pt x="78" y="33"/>
                    <a:pt x="78" y="24"/>
                  </a:cubicBezTo>
                  <a:cubicBezTo>
                    <a:pt x="78" y="15"/>
                    <a:pt x="81" y="7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76" y="6"/>
                    <a:pt x="65" y="10"/>
                    <a:pt x="53" y="10"/>
                  </a:cubicBezTo>
                  <a:cubicBezTo>
                    <a:pt x="40" y="10"/>
                    <a:pt x="29" y="6"/>
                    <a:pt x="20" y="0"/>
                  </a:cubicBezTo>
                  <a:cubicBezTo>
                    <a:pt x="8" y="17"/>
                    <a:pt x="1" y="42"/>
                    <a:pt x="0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8" y="64"/>
                    <a:pt x="81" y="57"/>
                    <a:pt x="85" y="52"/>
                  </a:cubicBezTo>
                  <a:lnTo>
                    <a:pt x="8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6" name="Freeform 52"/>
            <p:cNvSpPr>
              <a:spLocks/>
            </p:cNvSpPr>
            <p:nvPr/>
          </p:nvSpPr>
          <p:spPr bwMode="auto">
            <a:xfrm>
              <a:off x="6138678" y="2669327"/>
              <a:ext cx="206255" cy="206255"/>
            </a:xfrm>
            <a:custGeom>
              <a:avLst/>
              <a:gdLst>
                <a:gd name="T0" fmla="*/ 0 w 62"/>
                <a:gd name="T1" fmla="*/ 31 h 62"/>
                <a:gd name="T2" fmla="*/ 19 w 62"/>
                <a:gd name="T3" fmla="*/ 59 h 62"/>
                <a:gd name="T4" fmla="*/ 31 w 62"/>
                <a:gd name="T5" fmla="*/ 62 h 62"/>
                <a:gd name="T6" fmla="*/ 62 w 62"/>
                <a:gd name="T7" fmla="*/ 31 h 62"/>
                <a:gd name="T8" fmla="*/ 31 w 62"/>
                <a:gd name="T9" fmla="*/ 0 h 62"/>
                <a:gd name="T10" fmla="*/ 5 w 62"/>
                <a:gd name="T11" fmla="*/ 14 h 62"/>
                <a:gd name="T12" fmla="*/ 0 w 62"/>
                <a:gd name="T13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62">
                  <a:moveTo>
                    <a:pt x="0" y="31"/>
                  </a:moveTo>
                  <a:cubicBezTo>
                    <a:pt x="0" y="44"/>
                    <a:pt x="7" y="55"/>
                    <a:pt x="19" y="59"/>
                  </a:cubicBezTo>
                  <a:cubicBezTo>
                    <a:pt x="22" y="61"/>
                    <a:pt x="26" y="62"/>
                    <a:pt x="31" y="62"/>
                  </a:cubicBezTo>
                  <a:cubicBezTo>
                    <a:pt x="48" y="62"/>
                    <a:pt x="62" y="48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20" y="0"/>
                    <a:pt x="10" y="5"/>
                    <a:pt x="5" y="14"/>
                  </a:cubicBezTo>
                  <a:cubicBezTo>
                    <a:pt x="1" y="19"/>
                    <a:pt x="0" y="25"/>
                    <a:pt x="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  <p:sp>
          <p:nvSpPr>
            <p:cNvPr id="47" name="Freeform 53"/>
            <p:cNvSpPr>
              <a:spLocks/>
            </p:cNvSpPr>
            <p:nvPr/>
          </p:nvSpPr>
          <p:spPr bwMode="auto">
            <a:xfrm>
              <a:off x="6108224" y="2878349"/>
              <a:ext cx="264394" cy="177185"/>
            </a:xfrm>
            <a:custGeom>
              <a:avLst/>
              <a:gdLst>
                <a:gd name="T0" fmla="*/ 64 w 79"/>
                <a:gd name="T1" fmla="*/ 0 h 53"/>
                <a:gd name="T2" fmla="*/ 40 w 79"/>
                <a:gd name="T3" fmla="*/ 7 h 53"/>
                <a:gd name="T4" fmla="*/ 28 w 79"/>
                <a:gd name="T5" fmla="*/ 6 h 53"/>
                <a:gd name="T6" fmla="*/ 15 w 79"/>
                <a:gd name="T7" fmla="*/ 0 h 53"/>
                <a:gd name="T8" fmla="*/ 7 w 79"/>
                <a:gd name="T9" fmla="*/ 15 h 53"/>
                <a:gd name="T10" fmla="*/ 0 w 79"/>
                <a:gd name="T11" fmla="*/ 53 h 53"/>
                <a:gd name="T12" fmla="*/ 79 w 79"/>
                <a:gd name="T13" fmla="*/ 53 h 53"/>
                <a:gd name="T14" fmla="*/ 64 w 7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53">
                  <a:moveTo>
                    <a:pt x="64" y="0"/>
                  </a:moveTo>
                  <a:cubicBezTo>
                    <a:pt x="57" y="5"/>
                    <a:pt x="49" y="7"/>
                    <a:pt x="40" y="7"/>
                  </a:cubicBezTo>
                  <a:cubicBezTo>
                    <a:pt x="36" y="7"/>
                    <a:pt x="32" y="7"/>
                    <a:pt x="28" y="6"/>
                  </a:cubicBezTo>
                  <a:cubicBezTo>
                    <a:pt x="24" y="5"/>
                    <a:pt x="19" y="3"/>
                    <a:pt x="15" y="0"/>
                  </a:cubicBezTo>
                  <a:cubicBezTo>
                    <a:pt x="12" y="4"/>
                    <a:pt x="9" y="9"/>
                    <a:pt x="7" y="15"/>
                  </a:cubicBezTo>
                  <a:cubicBezTo>
                    <a:pt x="3" y="26"/>
                    <a:pt x="1" y="39"/>
                    <a:pt x="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8" y="31"/>
                    <a:pt x="73" y="12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algn="l" defTabSz="1828800" rtl="0"/>
              <a:endParaRPr lang="en-US" sz="3600" kern="1200">
                <a:solidFill>
                  <a:srgbClr val="3F3F3F"/>
                </a:solidFill>
                <a:latin typeface="Open Sans"/>
              </a:endParaRPr>
            </a:p>
          </p:txBody>
        </p:sp>
      </p:grpSp>
      <p:sp>
        <p:nvSpPr>
          <p:cNvPr id="48" name="Rectangle 47"/>
          <p:cNvSpPr/>
          <p:nvPr/>
        </p:nvSpPr>
        <p:spPr>
          <a:xfrm>
            <a:off x="9320547" y="3516660"/>
            <a:ext cx="531630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344811" y="303479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C0392B"/>
                </a:solidFill>
                <a:latin typeface="Poppins"/>
              </a:rPr>
              <a:t>DATA TAMPL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2349171" y="7276924"/>
            <a:ext cx="531630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2373435" y="6795062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F39C12"/>
                </a:solidFill>
                <a:latin typeface="Poppins"/>
              </a:rPr>
              <a:t>DATA TAMPL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9324351" y="11232940"/>
            <a:ext cx="531630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rtl="0"/>
            <a:r>
              <a:rPr lang="id-ID" sz="2400" kern="1200" dirty="0">
                <a:solidFill>
                  <a:srgbClr val="3F3F3F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Suitable for all categories business and personal presentation, eaque ipsa quae ab illo inventore veritatis et quasi</a:t>
            </a:r>
            <a:endParaRPr lang="en-US" sz="2400" kern="1200" dirty="0">
              <a:solidFill>
                <a:srgbClr val="3F3F3F"/>
              </a:solidFill>
              <a:latin typeface="Open Sans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9348615" y="10751078"/>
            <a:ext cx="2241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828800" rtl="0"/>
            <a:r>
              <a:rPr lang="en-US" sz="2800" b="1" kern="1200" dirty="0">
                <a:solidFill>
                  <a:srgbClr val="9BBB59"/>
                </a:solidFill>
                <a:latin typeface="Poppins"/>
              </a:rPr>
              <a:t>DATA TAMPLE</a:t>
            </a:r>
          </a:p>
        </p:txBody>
      </p:sp>
    </p:spTree>
    <p:extLst>
      <p:ext uri="{BB962C8B-B14F-4D97-AF65-F5344CB8AC3E}">
        <p14:creationId xmlns:p14="http://schemas.microsoft.com/office/powerpoint/2010/main" val="374768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422视频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eKsZR4iUOkkT7XaTW_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eKsZR4iUOkkT7XaTW_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8.png"/></Relationships>
</file>

<file path=ppt/theme/theme1.xml><?xml version="1.0" encoding="utf-8"?>
<a:theme xmlns:a="http://schemas.openxmlformats.org/drawingml/2006/main" name="1_Office Theme">
  <a:themeElements>
    <a:clrScheme name="纸张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11">
      <a:majorFont>
        <a:latin typeface="Poppi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纸张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Modern Automotive">
      <a:majorFont>
        <a:latin typeface="Montserrat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纸张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11">
      <a:majorFont>
        <a:latin typeface="Poppi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52</TotalTime>
  <Words>2691</Words>
  <Application>Microsoft Office PowerPoint</Application>
  <PresentationFormat>自定义</PresentationFormat>
  <Paragraphs>922</Paragraphs>
  <Slides>40</Slides>
  <Notes>40</Notes>
  <HiddenSlides>0</HiddenSlides>
  <MMClips>1</MMClips>
  <ScaleCrop>false</ScaleCrop>
  <HeadingPairs>
    <vt:vector size="6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3</vt:i4>
      </vt:variant>
      <vt:variant>
        <vt:lpstr>幻灯片标题</vt:lpstr>
      </vt:variant>
      <vt:variant>
        <vt:i4>40</vt:i4>
      </vt:variant>
    </vt:vector>
  </HeadingPairs>
  <TitlesOfParts>
    <vt:vector size="62" baseType="lpstr">
      <vt:lpstr>Advent Pro</vt:lpstr>
      <vt:lpstr>Caviar Dreams</vt:lpstr>
      <vt:lpstr>Gill Sans</vt:lpstr>
      <vt:lpstr>Helvetica Neue</vt:lpstr>
      <vt:lpstr>Lato</vt:lpstr>
      <vt:lpstr>Lato Regular</vt:lpstr>
      <vt:lpstr>Montserrat</vt:lpstr>
      <vt:lpstr>Open Sans</vt:lpstr>
      <vt:lpstr>Open Sans Light</vt:lpstr>
      <vt:lpstr>Poppins</vt:lpstr>
      <vt:lpstr>Roboto</vt:lpstr>
      <vt:lpstr>Roboto Black</vt:lpstr>
      <vt:lpstr>Ubuntu</vt:lpstr>
      <vt:lpstr>等线</vt:lpstr>
      <vt:lpstr>造字工房博黑（非商用）常规体</vt:lpstr>
      <vt:lpstr>Arial</vt:lpstr>
      <vt:lpstr>Calibri</vt:lpstr>
      <vt:lpstr>Source Sans Pro</vt:lpstr>
      <vt:lpstr>Source Sans Pro Light</vt:lpstr>
      <vt:lpstr>1_Office Theme</vt:lpstr>
      <vt:lpstr>Office Theme</vt:lpstr>
      <vt:lpstr>2_Office Theme</vt:lpstr>
      <vt:lpstr>PowerPoint 演示文稿</vt:lpstr>
      <vt:lpstr>GEAR DIAGRAM</vt:lpstr>
      <vt:lpstr>GEAR DIAGRAM</vt:lpstr>
      <vt:lpstr>GEAR DIAGRAM</vt:lpstr>
      <vt:lpstr>GEAR DIAGRAM</vt:lpstr>
      <vt:lpstr>GEAR DIAGRAM</vt:lpstr>
      <vt:lpstr>GEAR DIAGRAM</vt:lpstr>
      <vt:lpstr>GEAR DIAGRAM</vt:lpstr>
      <vt:lpstr>GEAR DIAGRAM</vt:lpstr>
      <vt:lpstr>GEAR DIAGRAM</vt:lpstr>
      <vt:lpstr>GEAR DIAGRAM</vt:lpstr>
      <vt:lpstr>GEAR DIAGRAM</vt:lpstr>
      <vt:lpstr>GEAR DIAGRAM</vt:lpstr>
      <vt:lpstr>GEAR DIAGRAM</vt:lpstr>
      <vt:lpstr>Gears</vt:lpstr>
      <vt:lpstr>GEAR DIAGRAM</vt:lpstr>
      <vt:lpstr>SIX STAGES GEAR DIAGRAM</vt:lpstr>
      <vt:lpstr>GEAR DIAGRAM</vt:lpstr>
      <vt:lpstr>GEAR DIAGRAM</vt:lpstr>
      <vt:lpstr>BULB &amp; GEAR</vt:lpstr>
      <vt:lpstr>BRAIN GEAR</vt:lpstr>
      <vt:lpstr>GANTT CHART – 3 MONTH</vt:lpstr>
      <vt:lpstr>GANTT CHART</vt:lpstr>
      <vt:lpstr>GANTT CHART – 3 MONTH</vt:lpstr>
      <vt:lpstr>GANTT CHART 6 MONTH</vt:lpstr>
      <vt:lpstr>GANTT CHART WITH PERIOD</vt:lpstr>
      <vt:lpstr>GANTT CHART WITH PERIOD</vt:lpstr>
      <vt:lpstr>GANTT CHART TWO YEAR</vt:lpstr>
      <vt:lpstr>GANTT CHART 4 QUARTER</vt:lpstr>
      <vt:lpstr>GANTT CHART</vt:lpstr>
      <vt:lpstr>GANTT CHART</vt:lpstr>
      <vt:lpstr>GANTT CHART</vt:lpstr>
      <vt:lpstr>GANTT CHART - 1 WEEK</vt:lpstr>
      <vt:lpstr>GANTT CHART - 1 WEEK</vt:lpstr>
      <vt:lpstr>GANTT CHART - 2 WEEK</vt:lpstr>
      <vt:lpstr>GANTT CHART - 2 WEEK</vt:lpstr>
      <vt:lpstr>GANTT CHART - 1 MONTH</vt:lpstr>
      <vt:lpstr>GANTT CHART - 1 MONTH</vt:lpstr>
      <vt:lpstr>GANTT CHART - 1 MONTH</vt:lpstr>
      <vt:lpstr>GANTT CHART - 1 YEA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422视频</dc:title>
  <dc:creator>Administrator</dc:creator>
  <cp:lastModifiedBy>July Summer</cp:lastModifiedBy>
  <cp:revision>677</cp:revision>
  <dcterms:modified xsi:type="dcterms:W3CDTF">2019-07-24T04:02:27Z</dcterms:modified>
</cp:coreProperties>
</file>